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s/slide118.xml" ContentType="application/vnd.openxmlformats-officedocument.presentationml.slide+xml"/>
  <Override PartName="/ppt/slides/slide119.xml" ContentType="application/vnd.openxmlformats-officedocument.presentationml.slide+xml"/>
  <Override PartName="/ppt/slides/slide120.xml" ContentType="application/vnd.openxmlformats-officedocument.presentationml.slide+xml"/>
  <Override PartName="/ppt/slides/slide121.xml" ContentType="application/vnd.openxmlformats-officedocument.presentationml.slide+xml"/>
  <Override PartName="/ppt/slides/slide122.xml" ContentType="application/vnd.openxmlformats-officedocument.presentationml.slide+xml"/>
  <Override PartName="/ppt/slides/slide123.xml" ContentType="application/vnd.openxmlformats-officedocument.presentationml.slide+xml"/>
  <Override PartName="/ppt/slides/slide124.xml" ContentType="application/vnd.openxmlformats-officedocument.presentationml.slide+xml"/>
  <Override PartName="/ppt/slides/slide125.xml" ContentType="application/vnd.openxmlformats-officedocument.presentationml.slide+xml"/>
  <Override PartName="/ppt/slides/slide126.xml" ContentType="application/vnd.openxmlformats-officedocument.presentationml.slide+xml"/>
  <Override PartName="/ppt/slides/slide127.xml" ContentType="application/vnd.openxmlformats-officedocument.presentationml.slide+xml"/>
  <Override PartName="/ppt/slides/slide128.xml" ContentType="application/vnd.openxmlformats-officedocument.presentationml.slide+xml"/>
  <Override PartName="/ppt/slides/slide129.xml" ContentType="application/vnd.openxmlformats-officedocument.presentationml.slide+xml"/>
  <Override PartName="/ppt/slides/slide130.xml" ContentType="application/vnd.openxmlformats-officedocument.presentationml.slide+xml"/>
  <Override PartName="/ppt/slides/slide131.xml" ContentType="application/vnd.openxmlformats-officedocument.presentationml.slide+xml"/>
  <Override PartName="/ppt/slides/slide132.xml" ContentType="application/vnd.openxmlformats-officedocument.presentationml.slide+xml"/>
  <Override PartName="/ppt/slides/slide133.xml" ContentType="application/vnd.openxmlformats-officedocument.presentationml.slide+xml"/>
  <Override PartName="/ppt/slides/slide134.xml" ContentType="application/vnd.openxmlformats-officedocument.presentationml.slide+xml"/>
  <Override PartName="/ppt/slides/slide135.xml" ContentType="application/vnd.openxmlformats-officedocument.presentationml.slide+xml"/>
  <Override PartName="/ppt/slides/slide136.xml" ContentType="application/vnd.openxmlformats-officedocument.presentationml.slide+xml"/>
  <Override PartName="/ppt/slides/slide137.xml" ContentType="application/vnd.openxmlformats-officedocument.presentationml.slide+xml"/>
  <Override PartName="/ppt/slides/slide138.xml" ContentType="application/vnd.openxmlformats-officedocument.presentationml.slide+xml"/>
  <Override PartName="/ppt/slides/slide139.xml" ContentType="application/vnd.openxmlformats-officedocument.presentationml.slide+xml"/>
  <Override PartName="/ppt/slides/slide140.xml" ContentType="application/vnd.openxmlformats-officedocument.presentationml.slide+xml"/>
  <Override PartName="/ppt/slides/slide141.xml" ContentType="application/vnd.openxmlformats-officedocument.presentationml.slide+xml"/>
  <Override PartName="/ppt/slides/slide142.xml" ContentType="application/vnd.openxmlformats-officedocument.presentationml.slide+xml"/>
  <Override PartName="/ppt/slides/slide143.xml" ContentType="application/vnd.openxmlformats-officedocument.presentationml.slide+xml"/>
  <Override PartName="/ppt/slides/slide144.xml" ContentType="application/vnd.openxmlformats-officedocument.presentationml.slide+xml"/>
  <Override PartName="/ppt/slides/slide145.xml" ContentType="application/vnd.openxmlformats-officedocument.presentationml.slide+xml"/>
  <Override PartName="/ppt/slides/slide146.xml" ContentType="application/vnd.openxmlformats-officedocument.presentationml.slide+xml"/>
  <Override PartName="/ppt/slides/slide147.xml" ContentType="application/vnd.openxmlformats-officedocument.presentationml.slide+xml"/>
  <Override PartName="/ppt/slides/slide148.xml" ContentType="application/vnd.openxmlformats-officedocument.presentationml.slide+xml"/>
  <Override PartName="/ppt/slides/slide149.xml" ContentType="application/vnd.openxmlformats-officedocument.presentationml.slide+xml"/>
  <Override PartName="/ppt/slides/slide150.xml" ContentType="application/vnd.openxmlformats-officedocument.presentationml.slide+xml"/>
  <Override PartName="/ppt/slides/slide151.xml" ContentType="application/vnd.openxmlformats-officedocument.presentationml.slide+xml"/>
  <Override PartName="/ppt/slides/slide152.xml" ContentType="application/vnd.openxmlformats-officedocument.presentationml.slide+xml"/>
  <Override PartName="/ppt/slides/slide153.xml" ContentType="application/vnd.openxmlformats-officedocument.presentationml.slide+xml"/>
  <Override PartName="/ppt/slides/slide154.xml" ContentType="application/vnd.openxmlformats-officedocument.presentationml.slide+xml"/>
  <Override PartName="/ppt/slides/slide155.xml" ContentType="application/vnd.openxmlformats-officedocument.presentationml.slide+xml"/>
  <Override PartName="/ppt/slides/slide156.xml" ContentType="application/vnd.openxmlformats-officedocument.presentationml.slide+xml"/>
  <Override PartName="/ppt/slides/slide157.xml" ContentType="application/vnd.openxmlformats-officedocument.presentationml.slide+xml"/>
  <Override PartName="/ppt/slides/slide158.xml" ContentType="application/vnd.openxmlformats-officedocument.presentationml.slide+xml"/>
  <Override PartName="/ppt/slides/slide159.xml" ContentType="application/vnd.openxmlformats-officedocument.presentationml.slide+xml"/>
  <Override PartName="/ppt/slides/slide160.xml" ContentType="application/vnd.openxmlformats-officedocument.presentationml.slide+xml"/>
  <Override PartName="/ppt/slides/slide161.xml" ContentType="application/vnd.openxmlformats-officedocument.presentationml.slide+xml"/>
  <Override PartName="/ppt/slides/slide162.xml" ContentType="application/vnd.openxmlformats-officedocument.presentationml.slide+xml"/>
  <Override PartName="/ppt/slides/slide163.xml" ContentType="application/vnd.openxmlformats-officedocument.presentationml.slide+xml"/>
  <Override PartName="/ppt/slides/slide164.xml" ContentType="application/vnd.openxmlformats-officedocument.presentationml.slide+xml"/>
  <Override PartName="/ppt/slides/slide165.xml" ContentType="application/vnd.openxmlformats-officedocument.presentationml.slide+xml"/>
  <Override PartName="/ppt/slides/slide166.xml" ContentType="application/vnd.openxmlformats-officedocument.presentationml.slide+xml"/>
  <Override PartName="/ppt/slides/slide167.xml" ContentType="application/vnd.openxmlformats-officedocument.presentationml.slide+xml"/>
  <Override PartName="/ppt/slides/slide168.xml" ContentType="application/vnd.openxmlformats-officedocument.presentationml.slide+xml"/>
  <Override PartName="/ppt/slides/slide169.xml" ContentType="application/vnd.openxmlformats-officedocument.presentationml.slide+xml"/>
  <Override PartName="/ppt/slides/slide170.xml" ContentType="application/vnd.openxmlformats-officedocument.presentationml.slide+xml"/>
  <Override PartName="/ppt/slides/slide171.xml" ContentType="application/vnd.openxmlformats-officedocument.presentationml.slide+xml"/>
  <Override PartName="/ppt/slides/slide172.xml" ContentType="application/vnd.openxmlformats-officedocument.presentationml.slide+xml"/>
  <Override PartName="/ppt/slides/slide173.xml" ContentType="application/vnd.openxmlformats-officedocument.presentationml.slide+xml"/>
  <Override PartName="/ppt/slides/slide174.xml" ContentType="application/vnd.openxmlformats-officedocument.presentationml.slide+xml"/>
  <Override PartName="/ppt/slides/slide175.xml" ContentType="application/vnd.openxmlformats-officedocument.presentationml.slide+xml"/>
  <Override PartName="/ppt/slides/slide176.xml" ContentType="application/vnd.openxmlformats-officedocument.presentationml.slide+xml"/>
  <Override PartName="/ppt/slides/slide177.xml" ContentType="application/vnd.openxmlformats-officedocument.presentationml.slide+xml"/>
  <Override PartName="/ppt/slides/slide178.xml" ContentType="application/vnd.openxmlformats-officedocument.presentationml.slide+xml"/>
  <Override PartName="/ppt/slides/slide179.xml" ContentType="application/vnd.openxmlformats-officedocument.presentationml.slide+xml"/>
  <Override PartName="/ppt/slides/slide180.xml" ContentType="application/vnd.openxmlformats-officedocument.presentationml.slide+xml"/>
  <Override PartName="/ppt/slides/slide181.xml" ContentType="application/vnd.openxmlformats-officedocument.presentationml.slide+xml"/>
  <Override PartName="/ppt/slides/slide182.xml" ContentType="application/vnd.openxmlformats-officedocument.presentationml.slide+xml"/>
  <Override PartName="/ppt/slides/slide183.xml" ContentType="application/vnd.openxmlformats-officedocument.presentationml.slide+xml"/>
  <Override PartName="/ppt/slides/slide184.xml" ContentType="application/vnd.openxmlformats-officedocument.presentationml.slide+xml"/>
  <Override PartName="/ppt/slides/slide185.xml" ContentType="application/vnd.openxmlformats-officedocument.presentationml.slide+xml"/>
  <Override PartName="/ppt/slides/slide186.xml" ContentType="application/vnd.openxmlformats-officedocument.presentationml.slide+xml"/>
  <Override PartName="/ppt/slides/slide187.xml" ContentType="application/vnd.openxmlformats-officedocument.presentationml.slide+xml"/>
  <Override PartName="/ppt/slides/slide188.xml" ContentType="application/vnd.openxmlformats-officedocument.presentationml.slide+xml"/>
  <Override PartName="/ppt/slides/slide189.xml" ContentType="application/vnd.openxmlformats-officedocument.presentationml.slide+xml"/>
  <Override PartName="/ppt/slides/slide190.xml" ContentType="application/vnd.openxmlformats-officedocument.presentationml.slide+xml"/>
  <Override PartName="/ppt/slides/slide191.xml" ContentType="application/vnd.openxmlformats-officedocument.presentationml.slide+xml"/>
  <Override PartName="/ppt/slides/slide192.xml" ContentType="application/vnd.openxmlformats-officedocument.presentationml.slide+xml"/>
  <Override PartName="/ppt/slides/slide193.xml" ContentType="application/vnd.openxmlformats-officedocument.presentationml.slide+xml"/>
  <Override PartName="/ppt/slides/slide194.xml" ContentType="application/vnd.openxmlformats-officedocument.presentationml.slide+xml"/>
  <Override PartName="/ppt/slides/slide195.xml" ContentType="application/vnd.openxmlformats-officedocument.presentationml.slide+xml"/>
  <Override PartName="/ppt/slides/slide196.xml" ContentType="application/vnd.openxmlformats-officedocument.presentationml.slide+xml"/>
  <Override PartName="/ppt/slides/slide197.xml" ContentType="application/vnd.openxmlformats-officedocument.presentationml.slide+xml"/>
  <Override PartName="/ppt/slides/slide198.xml" ContentType="application/vnd.openxmlformats-officedocument.presentationml.slide+xml"/>
  <Override PartName="/ppt/slides/slide199.xml" ContentType="application/vnd.openxmlformats-officedocument.presentationml.slide+xml"/>
  <Override PartName="/ppt/slides/slide200.xml" ContentType="application/vnd.openxmlformats-officedocument.presentationml.slide+xml"/>
  <Override PartName="/ppt/slides/slide201.xml" ContentType="application/vnd.openxmlformats-officedocument.presentationml.slide+xml"/>
  <Override PartName="/ppt/slides/slide202.xml" ContentType="application/vnd.openxmlformats-officedocument.presentationml.slide+xml"/>
  <Override PartName="/ppt/slides/slide203.xml" ContentType="application/vnd.openxmlformats-officedocument.presentationml.slide+xml"/>
  <Override PartName="/ppt/slides/slide204.xml" ContentType="application/vnd.openxmlformats-officedocument.presentationml.slide+xml"/>
  <Override PartName="/ppt/slides/slide205.xml" ContentType="application/vnd.openxmlformats-officedocument.presentationml.slide+xml"/>
  <Override PartName="/ppt/slides/slide206.xml" ContentType="application/vnd.openxmlformats-officedocument.presentationml.slide+xml"/>
  <Override PartName="/ppt/slides/slide207.xml" ContentType="application/vnd.openxmlformats-officedocument.presentationml.slide+xml"/>
  <Override PartName="/ppt/slides/slide208.xml" ContentType="application/vnd.openxmlformats-officedocument.presentationml.slide+xml"/>
  <Override PartName="/ppt/slides/slide209.xml" ContentType="application/vnd.openxmlformats-officedocument.presentationml.slide+xml"/>
  <Override PartName="/ppt/slides/slide210.xml" ContentType="application/vnd.openxmlformats-officedocument.presentationml.slide+xml"/>
  <Override PartName="/ppt/slides/slide211.xml" ContentType="application/vnd.openxmlformats-officedocument.presentationml.slide+xml"/>
  <Override PartName="/ppt/slides/slide2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238.xml" ContentType="application/vnd.openxmlformats-officedocument.presentationml.tags+xml"/>
  <Override PartName="/ppt/charts/chart2.xml" ContentType="application/vnd.openxmlformats-officedocument.drawingml.chart+xml"/>
  <Override PartName="/ppt/drawings/drawing1.xml" ContentType="application/vnd.openxmlformats-officedocument.drawingml.chartshapes+xml"/>
  <Override PartName="/ppt/tags/tag239.xml" ContentType="application/vnd.openxmlformats-officedocument.presentationml.tags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240.xml" ContentType="application/vnd.openxmlformats-officedocument.presentationml.tags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tags/tag241.xml" ContentType="application/vnd.openxmlformats-officedocument.presentationml.tags+xml"/>
  <Override PartName="/ppt/charts/chartEx1.xml" ContentType="application/vnd.ms-office.chartex+xml"/>
  <Override PartName="/ppt/charts/style3.xml" ContentType="application/vnd.ms-office.chartstyle+xml"/>
  <Override PartName="/ppt/charts/colors3.xml" ContentType="application/vnd.ms-office.chartcolorstyle+xml"/>
  <Override PartName="/ppt/tags/tag242.xml" ContentType="application/vnd.openxmlformats-officedocument.presentationml.tags+xml"/>
  <Override PartName="/ppt/charts/chart7.xml" ContentType="application/vnd.openxmlformats-officedocument.drawingml.chart+xml"/>
  <Override PartName="/ppt/tags/tag243.xml" ContentType="application/vnd.openxmlformats-officedocument.presentationml.tags+xml"/>
  <Override PartName="/ppt/charts/chart8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244.xml" ContentType="application/vnd.openxmlformats-officedocument.presentationml.tags+xml"/>
  <Override PartName="/ppt/charts/chart9.xml" ContentType="application/vnd.openxmlformats-officedocument.drawingml.chart+xml"/>
  <Override PartName="/ppt/tags/tag245.xml" ContentType="application/vnd.openxmlformats-officedocument.presentationml.tags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charts/chart16.xml" ContentType="application/vnd.openxmlformats-officedocument.drawingml.chart+xml"/>
  <Override PartName="/ppt/tags/tag246.xml" ContentType="application/vnd.openxmlformats-officedocument.presentationml.tags+xml"/>
  <Override PartName="/ppt/charts/chart17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18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19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20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247.xml" ContentType="application/vnd.openxmlformats-officedocument.presentationml.tags+xml"/>
  <Override PartName="/ppt/charts/chart21.xml" ContentType="application/vnd.openxmlformats-officedocument.drawingml.chart+xml"/>
  <Override PartName="/ppt/tags/tag248.xml" ContentType="application/vnd.openxmlformats-officedocument.presentationml.tags+xml"/>
  <Override PartName="/ppt/charts/chart22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249.xml" ContentType="application/vnd.openxmlformats-officedocument.presentationml.tags+xml"/>
  <Override PartName="/ppt/charts/chart23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250.xml" ContentType="application/vnd.openxmlformats-officedocument.presentationml.tags+xml"/>
  <Override PartName="/ppt/charts/chart24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25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heme/themeOverride1.xml" ContentType="application/vnd.openxmlformats-officedocument.themeOverride+xml"/>
  <Override PartName="/ppt/charts/chart26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heme/themeOverride2.xml" ContentType="application/vnd.openxmlformats-officedocument.themeOverride+xml"/>
  <Override PartName="/ppt/charts/chart27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ags/tag251.xml" ContentType="application/vnd.openxmlformats-officedocument.presentationml.tags+xml"/>
  <Override PartName="/ppt/charts/chart28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tags/tag252.xml" ContentType="application/vnd.openxmlformats-officedocument.presentationml.tags+xml"/>
  <Override PartName="/ppt/charts/chart29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tags/tag253.xml" ContentType="application/vnd.openxmlformats-officedocument.presentationml.tags+xml"/>
  <Override PartName="/ppt/charts/chart30.xml" ContentType="application/vnd.openxmlformats-officedocument.drawingml.chart+xml"/>
  <Override PartName="/ppt/tags/tag254.xml" ContentType="application/vnd.openxmlformats-officedocument.presentationml.tags+xml"/>
  <Override PartName="/ppt/charts/chart31.xml" ContentType="application/vnd.openxmlformats-officedocument.drawingml.chart+xml"/>
  <Override PartName="/ppt/tags/tag255.xml" ContentType="application/vnd.openxmlformats-officedocument.presentationml.tags+xml"/>
  <Override PartName="/ppt/charts/chart32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tags/tag256.xml" ContentType="application/vnd.openxmlformats-officedocument.presentationml.tags+xml"/>
  <Override PartName="/ppt/charts/chart33.xml" ContentType="application/vnd.openxmlformats-officedocument.drawingml.chart+xml"/>
  <Override PartName="/ppt/charts/chart34.xml" ContentType="application/vnd.openxmlformats-officedocument.drawingml.chart+xml"/>
  <Override PartName="/ppt/tags/tag257.xml" ContentType="application/vnd.openxmlformats-officedocument.presentationml.tags+xml"/>
  <Override PartName="/ppt/charts/chart35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charts/chart36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charts/chart37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tags/tag258.xml" ContentType="application/vnd.openxmlformats-officedocument.presentationml.tags+xml"/>
  <Override PartName="/ppt/charts/chart38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tags/tag259.xml" ContentType="application/vnd.openxmlformats-officedocument.presentationml.tags+xml"/>
  <Override PartName="/ppt/charts/chart39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charts/chart40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charts/chart41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charts/chart42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14"/>
  </p:notesMasterIdLst>
  <p:handoutMasterIdLst>
    <p:handoutMasterId r:id="rId215"/>
  </p:handoutMasterIdLst>
  <p:sldIdLst>
    <p:sldId id="2147374984" r:id="rId2"/>
    <p:sldId id="2147375360" r:id="rId3"/>
    <p:sldId id="2147375359" r:id="rId4"/>
    <p:sldId id="2147374997" r:id="rId5"/>
    <p:sldId id="2147374999" r:id="rId6"/>
    <p:sldId id="2147375000" r:id="rId7"/>
    <p:sldId id="2147375033" r:id="rId8"/>
    <p:sldId id="2147375001" r:id="rId9"/>
    <p:sldId id="2147375002" r:id="rId10"/>
    <p:sldId id="2147375004" r:id="rId11"/>
    <p:sldId id="2147375005" r:id="rId12"/>
    <p:sldId id="2147375034" r:id="rId13"/>
    <p:sldId id="2147375006" r:id="rId14"/>
    <p:sldId id="2147375007" r:id="rId15"/>
    <p:sldId id="2147375008" r:id="rId16"/>
    <p:sldId id="2147375009" r:id="rId17"/>
    <p:sldId id="2147375013" r:id="rId18"/>
    <p:sldId id="2147375016" r:id="rId19"/>
    <p:sldId id="2147375017" r:id="rId20"/>
    <p:sldId id="2147374881" r:id="rId21"/>
    <p:sldId id="2147374882" r:id="rId22"/>
    <p:sldId id="2147374883" r:id="rId23"/>
    <p:sldId id="2147374884" r:id="rId24"/>
    <p:sldId id="2147375133" r:id="rId25"/>
    <p:sldId id="2147375134" r:id="rId26"/>
    <p:sldId id="2147375135" r:id="rId27"/>
    <p:sldId id="2147374959" r:id="rId28"/>
    <p:sldId id="2147374960" r:id="rId29"/>
    <p:sldId id="2147374961" r:id="rId30"/>
    <p:sldId id="2147374963" r:id="rId31"/>
    <p:sldId id="2147374964" r:id="rId32"/>
    <p:sldId id="2147374983" r:id="rId33"/>
    <p:sldId id="2147374962" r:id="rId34"/>
    <p:sldId id="2147374965" r:id="rId35"/>
    <p:sldId id="2147374966" r:id="rId36"/>
    <p:sldId id="2147374967" r:id="rId37"/>
    <p:sldId id="2147374968" r:id="rId38"/>
    <p:sldId id="2147374969" r:id="rId39"/>
    <p:sldId id="2147375132" r:id="rId40"/>
    <p:sldId id="2147374970" r:id="rId41"/>
    <p:sldId id="2147374971" r:id="rId42"/>
    <p:sldId id="2147374972" r:id="rId43"/>
    <p:sldId id="2147374973" r:id="rId44"/>
    <p:sldId id="2147374974" r:id="rId45"/>
    <p:sldId id="2147374977" r:id="rId46"/>
    <p:sldId id="2147374975" r:id="rId47"/>
    <p:sldId id="2147374976" r:id="rId48"/>
    <p:sldId id="2147374978" r:id="rId49"/>
    <p:sldId id="2147374979" r:id="rId50"/>
    <p:sldId id="2147374980" r:id="rId51"/>
    <p:sldId id="2147374981" r:id="rId52"/>
    <p:sldId id="2147375128" r:id="rId53"/>
    <p:sldId id="2147375129" r:id="rId54"/>
    <p:sldId id="2147375130" r:id="rId55"/>
    <p:sldId id="2147375131" r:id="rId56"/>
    <p:sldId id="2147374928" r:id="rId57"/>
    <p:sldId id="2147374929" r:id="rId58"/>
    <p:sldId id="2147374930" r:id="rId59"/>
    <p:sldId id="2147374931" r:id="rId60"/>
    <p:sldId id="2147374886" r:id="rId61"/>
    <p:sldId id="2147374887" r:id="rId62"/>
    <p:sldId id="2147374888" r:id="rId63"/>
    <p:sldId id="2147374889" r:id="rId64"/>
    <p:sldId id="2147374890" r:id="rId65"/>
    <p:sldId id="2147374891" r:id="rId66"/>
    <p:sldId id="2147374910" r:id="rId67"/>
    <p:sldId id="2147374911" r:id="rId68"/>
    <p:sldId id="2147374912" r:id="rId69"/>
    <p:sldId id="2147374914" r:id="rId70"/>
    <p:sldId id="2147374913" r:id="rId71"/>
    <p:sldId id="2147374915" r:id="rId72"/>
    <p:sldId id="2147375363" r:id="rId73"/>
    <p:sldId id="2147374876" r:id="rId74"/>
    <p:sldId id="2147374877" r:id="rId75"/>
    <p:sldId id="2147374878" r:id="rId76"/>
    <p:sldId id="2147374879" r:id="rId77"/>
    <p:sldId id="2147375018" r:id="rId78"/>
    <p:sldId id="2147375020" r:id="rId79"/>
    <p:sldId id="2147375019" r:id="rId80"/>
    <p:sldId id="2147375022" r:id="rId81"/>
    <p:sldId id="2147375036" r:id="rId82"/>
    <p:sldId id="2147375051" r:id="rId83"/>
    <p:sldId id="2147375052" r:id="rId84"/>
    <p:sldId id="2147374925" r:id="rId85"/>
    <p:sldId id="2147374922" r:id="rId86"/>
    <p:sldId id="2147374923" r:id="rId87"/>
    <p:sldId id="2147374924" r:id="rId88"/>
    <p:sldId id="2147374926" r:id="rId89"/>
    <p:sldId id="2147374904" r:id="rId90"/>
    <p:sldId id="2147374905" r:id="rId91"/>
    <p:sldId id="2147374906" r:id="rId92"/>
    <p:sldId id="2147374907" r:id="rId93"/>
    <p:sldId id="2147374908" r:id="rId94"/>
    <p:sldId id="2147375047" r:id="rId95"/>
    <p:sldId id="2147374917" r:id="rId96"/>
    <p:sldId id="2147374918" r:id="rId97"/>
    <p:sldId id="2147374919" r:id="rId98"/>
    <p:sldId id="2147374920" r:id="rId99"/>
    <p:sldId id="2147375048" r:id="rId100"/>
    <p:sldId id="2147375049" r:id="rId101"/>
    <p:sldId id="2147375053" r:id="rId102"/>
    <p:sldId id="2147375057" r:id="rId103"/>
    <p:sldId id="2147375058" r:id="rId104"/>
    <p:sldId id="2147375023" r:id="rId105"/>
    <p:sldId id="2147375024" r:id="rId106"/>
    <p:sldId id="2147375025" r:id="rId107"/>
    <p:sldId id="2147375026" r:id="rId108"/>
    <p:sldId id="2147375027" r:id="rId109"/>
    <p:sldId id="2147375028" r:id="rId110"/>
    <p:sldId id="2147375029" r:id="rId111"/>
    <p:sldId id="2147375030" r:id="rId112"/>
    <p:sldId id="2147375037" r:id="rId113"/>
    <p:sldId id="2147375042" r:id="rId114"/>
    <p:sldId id="2147375039" r:id="rId115"/>
    <p:sldId id="2147375054" r:id="rId116"/>
    <p:sldId id="2147375055" r:id="rId117"/>
    <p:sldId id="2147375031" r:id="rId118"/>
    <p:sldId id="2147375076" r:id="rId119"/>
    <p:sldId id="2147375077" r:id="rId120"/>
    <p:sldId id="2147375078" r:id="rId121"/>
    <p:sldId id="2147375079" r:id="rId122"/>
    <p:sldId id="2147375080" r:id="rId123"/>
    <p:sldId id="2147375081" r:id="rId124"/>
    <p:sldId id="2147375082" r:id="rId125"/>
    <p:sldId id="2147375040" r:id="rId126"/>
    <p:sldId id="2147375041" r:id="rId127"/>
    <p:sldId id="2147375043" r:id="rId128"/>
    <p:sldId id="2147375044" r:id="rId129"/>
    <p:sldId id="2147375045" r:id="rId130"/>
    <p:sldId id="2147374867" r:id="rId131"/>
    <p:sldId id="2147375046" r:id="rId132"/>
    <p:sldId id="2147374871" r:id="rId133"/>
    <p:sldId id="2147374872" r:id="rId134"/>
    <p:sldId id="2147374874" r:id="rId135"/>
    <p:sldId id="2147375155" r:id="rId136"/>
    <p:sldId id="2147375059" r:id="rId137"/>
    <p:sldId id="2147375060" r:id="rId138"/>
    <p:sldId id="2147375061" r:id="rId139"/>
    <p:sldId id="2147375062" r:id="rId140"/>
    <p:sldId id="2147375063" r:id="rId141"/>
    <p:sldId id="2147375071" r:id="rId142"/>
    <p:sldId id="2147375072" r:id="rId143"/>
    <p:sldId id="2147375073" r:id="rId144"/>
    <p:sldId id="2147375074" r:id="rId145"/>
    <p:sldId id="2147375075" r:id="rId146"/>
    <p:sldId id="2147375050" r:id="rId147"/>
    <p:sldId id="2147374865" r:id="rId148"/>
    <p:sldId id="2147374866" r:id="rId149"/>
    <p:sldId id="2147374868" r:id="rId150"/>
    <p:sldId id="2147374869" r:id="rId151"/>
    <p:sldId id="2147375056" r:id="rId152"/>
    <p:sldId id="2147375064" r:id="rId153"/>
    <p:sldId id="2147375065" r:id="rId154"/>
    <p:sldId id="2147375066" r:id="rId155"/>
    <p:sldId id="2147375067" r:id="rId156"/>
    <p:sldId id="2147375068" r:id="rId157"/>
    <p:sldId id="2147375069" r:id="rId158"/>
    <p:sldId id="2147375070" r:id="rId159"/>
    <p:sldId id="2147375084" r:id="rId160"/>
    <p:sldId id="2147375085" r:id="rId161"/>
    <p:sldId id="2147375083" r:id="rId162"/>
    <p:sldId id="2147375086" r:id="rId163"/>
    <p:sldId id="2147375087" r:id="rId164"/>
    <p:sldId id="2147375088" r:id="rId165"/>
    <p:sldId id="2147375089" r:id="rId166"/>
    <p:sldId id="2147375090" r:id="rId167"/>
    <p:sldId id="2147375091" r:id="rId168"/>
    <p:sldId id="2147375092" r:id="rId169"/>
    <p:sldId id="2147375093" r:id="rId170"/>
    <p:sldId id="2147375094" r:id="rId171"/>
    <p:sldId id="2147375095" r:id="rId172"/>
    <p:sldId id="2147375368" r:id="rId173"/>
    <p:sldId id="2147375137" r:id="rId174"/>
    <p:sldId id="2147374933" r:id="rId175"/>
    <p:sldId id="2147374954" r:id="rId176"/>
    <p:sldId id="2147374941" r:id="rId177"/>
    <p:sldId id="2147375138" r:id="rId178"/>
    <p:sldId id="2147374940" r:id="rId179"/>
    <p:sldId id="2147374947" r:id="rId180"/>
    <p:sldId id="2147374957" r:id="rId181"/>
    <p:sldId id="2147374958" r:id="rId182"/>
    <p:sldId id="2147374948" r:id="rId183"/>
    <p:sldId id="2147374934" r:id="rId184"/>
    <p:sldId id="2147374949" r:id="rId185"/>
    <p:sldId id="2147374944" r:id="rId186"/>
    <p:sldId id="2147374951" r:id="rId187"/>
    <p:sldId id="2147375376" r:id="rId188"/>
    <p:sldId id="2147374938" r:id="rId189"/>
    <p:sldId id="2147374939" r:id="rId190"/>
    <p:sldId id="2147374935" r:id="rId191"/>
    <p:sldId id="2147374936" r:id="rId192"/>
    <p:sldId id="2147374937" r:id="rId193"/>
    <p:sldId id="2147374942" r:id="rId194"/>
    <p:sldId id="2147374950" r:id="rId195"/>
    <p:sldId id="2147374956" r:id="rId196"/>
    <p:sldId id="2147374893" r:id="rId197"/>
    <p:sldId id="2147374894" r:id="rId198"/>
    <p:sldId id="2147374895" r:id="rId199"/>
    <p:sldId id="2147374896" r:id="rId200"/>
    <p:sldId id="2147374898" r:id="rId201"/>
    <p:sldId id="2147374899" r:id="rId202"/>
    <p:sldId id="2147374900" r:id="rId203"/>
    <p:sldId id="2147374901" r:id="rId204"/>
    <p:sldId id="2147374903" r:id="rId205"/>
    <p:sldId id="2147375375" r:id="rId206"/>
    <p:sldId id="2147375100" r:id="rId207"/>
    <p:sldId id="2147375101" r:id="rId208"/>
    <p:sldId id="2147375123" r:id="rId209"/>
    <p:sldId id="2147375124" r:id="rId210"/>
    <p:sldId id="2147375125" r:id="rId211"/>
    <p:sldId id="2147375126" r:id="rId212"/>
    <p:sldId id="2147375127" r:id="rId213"/>
  </p:sldIdLst>
  <p:sldSz cx="12192000" cy="6858000"/>
  <p:notesSz cx="6858000" cy="9144000"/>
  <p:custDataLst>
    <p:tags r:id="rId2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A5C"/>
    <a:srgbClr val="2683C6"/>
    <a:srgbClr val="FF3902"/>
    <a:srgbClr val="2B4871"/>
    <a:srgbClr val="FF8867"/>
    <a:srgbClr val="05BADD"/>
    <a:srgbClr val="FEF1DA"/>
    <a:srgbClr val="FFB404"/>
    <a:srgbClr val="F2F2F2"/>
    <a:srgbClr val="FF8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5" autoAdjust="0"/>
    <p:restoredTop sz="94719"/>
  </p:normalViewPr>
  <p:slideViewPr>
    <p:cSldViewPr snapToGrid="0">
      <p:cViewPr varScale="1">
        <p:scale>
          <a:sx n="134" d="100"/>
          <a:sy n="134" d="100"/>
        </p:scale>
        <p:origin x="904" y="48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17" Type="http://schemas.openxmlformats.org/officeDocument/2006/relationships/slide" Target="slides/slide116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63" Type="http://schemas.openxmlformats.org/officeDocument/2006/relationships/slide" Target="slides/slide62.xml"/><Relationship Id="rId84" Type="http://schemas.openxmlformats.org/officeDocument/2006/relationships/slide" Target="slides/slide83.xml"/><Relationship Id="rId138" Type="http://schemas.openxmlformats.org/officeDocument/2006/relationships/slide" Target="slides/slide137.xml"/><Relationship Id="rId159" Type="http://schemas.openxmlformats.org/officeDocument/2006/relationships/slide" Target="slides/slide158.xml"/><Relationship Id="rId170" Type="http://schemas.openxmlformats.org/officeDocument/2006/relationships/slide" Target="slides/slide169.xml"/><Relationship Id="rId191" Type="http://schemas.openxmlformats.org/officeDocument/2006/relationships/slide" Target="slides/slide190.xml"/><Relationship Id="rId205" Type="http://schemas.openxmlformats.org/officeDocument/2006/relationships/slide" Target="slides/slide204.xml"/><Relationship Id="rId107" Type="http://schemas.openxmlformats.org/officeDocument/2006/relationships/slide" Target="slides/slide106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53" Type="http://schemas.openxmlformats.org/officeDocument/2006/relationships/slide" Target="slides/slide52.xml"/><Relationship Id="rId74" Type="http://schemas.openxmlformats.org/officeDocument/2006/relationships/slide" Target="slides/slide73.xml"/><Relationship Id="rId128" Type="http://schemas.openxmlformats.org/officeDocument/2006/relationships/slide" Target="slides/slide127.xml"/><Relationship Id="rId149" Type="http://schemas.openxmlformats.org/officeDocument/2006/relationships/slide" Target="slides/slide148.xml"/><Relationship Id="rId5" Type="http://schemas.openxmlformats.org/officeDocument/2006/relationships/slide" Target="slides/slide4.xml"/><Relationship Id="rId95" Type="http://schemas.openxmlformats.org/officeDocument/2006/relationships/slide" Target="slides/slide94.xml"/><Relationship Id="rId160" Type="http://schemas.openxmlformats.org/officeDocument/2006/relationships/slide" Target="slides/slide159.xml"/><Relationship Id="rId181" Type="http://schemas.openxmlformats.org/officeDocument/2006/relationships/slide" Target="slides/slide180.xml"/><Relationship Id="rId216" Type="http://schemas.openxmlformats.org/officeDocument/2006/relationships/tags" Target="tags/tag1.xml"/><Relationship Id="rId22" Type="http://schemas.openxmlformats.org/officeDocument/2006/relationships/slide" Target="slides/slide21.xml"/><Relationship Id="rId43" Type="http://schemas.openxmlformats.org/officeDocument/2006/relationships/slide" Target="slides/slide42.xml"/><Relationship Id="rId64" Type="http://schemas.openxmlformats.org/officeDocument/2006/relationships/slide" Target="slides/slide63.xml"/><Relationship Id="rId118" Type="http://schemas.openxmlformats.org/officeDocument/2006/relationships/slide" Target="slides/slide117.xml"/><Relationship Id="rId139" Type="http://schemas.openxmlformats.org/officeDocument/2006/relationships/slide" Target="slides/slide138.xml"/><Relationship Id="rId85" Type="http://schemas.openxmlformats.org/officeDocument/2006/relationships/slide" Target="slides/slide84.xml"/><Relationship Id="rId150" Type="http://schemas.openxmlformats.org/officeDocument/2006/relationships/slide" Target="slides/slide149.xml"/><Relationship Id="rId171" Type="http://schemas.openxmlformats.org/officeDocument/2006/relationships/slide" Target="slides/slide170.xml"/><Relationship Id="rId192" Type="http://schemas.openxmlformats.org/officeDocument/2006/relationships/slide" Target="slides/slide191.xml"/><Relationship Id="rId206" Type="http://schemas.openxmlformats.org/officeDocument/2006/relationships/slide" Target="slides/slide205.xml"/><Relationship Id="rId12" Type="http://schemas.openxmlformats.org/officeDocument/2006/relationships/slide" Target="slides/slide11.xml"/><Relationship Id="rId33" Type="http://schemas.openxmlformats.org/officeDocument/2006/relationships/slide" Target="slides/slide32.xml"/><Relationship Id="rId108" Type="http://schemas.openxmlformats.org/officeDocument/2006/relationships/slide" Target="slides/slide107.xml"/><Relationship Id="rId129" Type="http://schemas.openxmlformats.org/officeDocument/2006/relationships/slide" Target="slides/slide128.xml"/><Relationship Id="rId54" Type="http://schemas.openxmlformats.org/officeDocument/2006/relationships/slide" Target="slides/slide53.xml"/><Relationship Id="rId75" Type="http://schemas.openxmlformats.org/officeDocument/2006/relationships/slide" Target="slides/slide74.xml"/><Relationship Id="rId96" Type="http://schemas.openxmlformats.org/officeDocument/2006/relationships/slide" Target="slides/slide95.xml"/><Relationship Id="rId140" Type="http://schemas.openxmlformats.org/officeDocument/2006/relationships/slide" Target="slides/slide139.xml"/><Relationship Id="rId161" Type="http://schemas.openxmlformats.org/officeDocument/2006/relationships/slide" Target="slides/slide160.xml"/><Relationship Id="rId182" Type="http://schemas.openxmlformats.org/officeDocument/2006/relationships/slide" Target="slides/slide181.xml"/><Relationship Id="rId217" Type="http://schemas.openxmlformats.org/officeDocument/2006/relationships/presProps" Target="presProps.xml"/><Relationship Id="rId6" Type="http://schemas.openxmlformats.org/officeDocument/2006/relationships/slide" Target="slides/slide5.xml"/><Relationship Id="rId23" Type="http://schemas.openxmlformats.org/officeDocument/2006/relationships/slide" Target="slides/slide22.xml"/><Relationship Id="rId119" Type="http://schemas.openxmlformats.org/officeDocument/2006/relationships/slide" Target="slides/slide118.xml"/><Relationship Id="rId44" Type="http://schemas.openxmlformats.org/officeDocument/2006/relationships/slide" Target="slides/slide43.xml"/><Relationship Id="rId65" Type="http://schemas.openxmlformats.org/officeDocument/2006/relationships/slide" Target="slides/slide64.xml"/><Relationship Id="rId86" Type="http://schemas.openxmlformats.org/officeDocument/2006/relationships/slide" Target="slides/slide85.xml"/><Relationship Id="rId130" Type="http://schemas.openxmlformats.org/officeDocument/2006/relationships/slide" Target="slides/slide129.xml"/><Relationship Id="rId151" Type="http://schemas.openxmlformats.org/officeDocument/2006/relationships/slide" Target="slides/slide150.xml"/><Relationship Id="rId172" Type="http://schemas.openxmlformats.org/officeDocument/2006/relationships/slide" Target="slides/slide171.xml"/><Relationship Id="rId193" Type="http://schemas.openxmlformats.org/officeDocument/2006/relationships/slide" Target="slides/slide192.xml"/><Relationship Id="rId207" Type="http://schemas.openxmlformats.org/officeDocument/2006/relationships/slide" Target="slides/slide206.xml"/><Relationship Id="rId13" Type="http://schemas.openxmlformats.org/officeDocument/2006/relationships/slide" Target="slides/slide12.xml"/><Relationship Id="rId109" Type="http://schemas.openxmlformats.org/officeDocument/2006/relationships/slide" Target="slides/slide108.xml"/><Relationship Id="rId34" Type="http://schemas.openxmlformats.org/officeDocument/2006/relationships/slide" Target="slides/slide33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97" Type="http://schemas.openxmlformats.org/officeDocument/2006/relationships/slide" Target="slides/slide96.xml"/><Relationship Id="rId120" Type="http://schemas.openxmlformats.org/officeDocument/2006/relationships/slide" Target="slides/slide119.xml"/><Relationship Id="rId141" Type="http://schemas.openxmlformats.org/officeDocument/2006/relationships/slide" Target="slides/slide140.xml"/><Relationship Id="rId7" Type="http://schemas.openxmlformats.org/officeDocument/2006/relationships/slide" Target="slides/slide6.xml"/><Relationship Id="rId162" Type="http://schemas.openxmlformats.org/officeDocument/2006/relationships/slide" Target="slides/slide161.xml"/><Relationship Id="rId183" Type="http://schemas.openxmlformats.org/officeDocument/2006/relationships/slide" Target="slides/slide182.xml"/><Relationship Id="rId218" Type="http://schemas.openxmlformats.org/officeDocument/2006/relationships/viewProps" Target="viewProps.xml"/><Relationship Id="rId24" Type="http://schemas.openxmlformats.org/officeDocument/2006/relationships/slide" Target="slides/slide23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slide" Target="slides/slide86.xml"/><Relationship Id="rId110" Type="http://schemas.openxmlformats.org/officeDocument/2006/relationships/slide" Target="slides/slide109.xml"/><Relationship Id="rId131" Type="http://schemas.openxmlformats.org/officeDocument/2006/relationships/slide" Target="slides/slide130.xml"/><Relationship Id="rId152" Type="http://schemas.openxmlformats.org/officeDocument/2006/relationships/slide" Target="slides/slide151.xml"/><Relationship Id="rId173" Type="http://schemas.openxmlformats.org/officeDocument/2006/relationships/slide" Target="slides/slide172.xml"/><Relationship Id="rId194" Type="http://schemas.openxmlformats.org/officeDocument/2006/relationships/slide" Target="slides/slide193.xml"/><Relationship Id="rId208" Type="http://schemas.openxmlformats.org/officeDocument/2006/relationships/slide" Target="slides/slide207.xml"/><Relationship Id="rId14" Type="http://schemas.openxmlformats.org/officeDocument/2006/relationships/slide" Target="slides/slide13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56" Type="http://schemas.openxmlformats.org/officeDocument/2006/relationships/slide" Target="slides/slide55.xml"/><Relationship Id="rId77" Type="http://schemas.openxmlformats.org/officeDocument/2006/relationships/slide" Target="slides/slide76.xml"/><Relationship Id="rId100" Type="http://schemas.openxmlformats.org/officeDocument/2006/relationships/slide" Target="slides/slide99.xml"/><Relationship Id="rId105" Type="http://schemas.openxmlformats.org/officeDocument/2006/relationships/slide" Target="slides/slide104.xml"/><Relationship Id="rId126" Type="http://schemas.openxmlformats.org/officeDocument/2006/relationships/slide" Target="slides/slide125.xml"/><Relationship Id="rId147" Type="http://schemas.openxmlformats.org/officeDocument/2006/relationships/slide" Target="slides/slide146.xml"/><Relationship Id="rId168" Type="http://schemas.openxmlformats.org/officeDocument/2006/relationships/slide" Target="slides/slide167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93" Type="http://schemas.openxmlformats.org/officeDocument/2006/relationships/slide" Target="slides/slide92.xml"/><Relationship Id="rId98" Type="http://schemas.openxmlformats.org/officeDocument/2006/relationships/slide" Target="slides/slide97.xml"/><Relationship Id="rId121" Type="http://schemas.openxmlformats.org/officeDocument/2006/relationships/slide" Target="slides/slide120.xml"/><Relationship Id="rId142" Type="http://schemas.openxmlformats.org/officeDocument/2006/relationships/slide" Target="slides/slide141.xml"/><Relationship Id="rId163" Type="http://schemas.openxmlformats.org/officeDocument/2006/relationships/slide" Target="slides/slide162.xml"/><Relationship Id="rId184" Type="http://schemas.openxmlformats.org/officeDocument/2006/relationships/slide" Target="slides/slide183.xml"/><Relationship Id="rId189" Type="http://schemas.openxmlformats.org/officeDocument/2006/relationships/slide" Target="slides/slide188.xml"/><Relationship Id="rId219" Type="http://schemas.openxmlformats.org/officeDocument/2006/relationships/theme" Target="theme/theme1.xml"/><Relationship Id="rId3" Type="http://schemas.openxmlformats.org/officeDocument/2006/relationships/slide" Target="slides/slide2.xml"/><Relationship Id="rId214" Type="http://schemas.openxmlformats.org/officeDocument/2006/relationships/notesMaster" Target="notesMasters/notesMaster1.xml"/><Relationship Id="rId25" Type="http://schemas.openxmlformats.org/officeDocument/2006/relationships/slide" Target="slides/slide24.xml"/><Relationship Id="rId46" Type="http://schemas.openxmlformats.org/officeDocument/2006/relationships/slide" Target="slides/slide45.xml"/><Relationship Id="rId67" Type="http://schemas.openxmlformats.org/officeDocument/2006/relationships/slide" Target="slides/slide66.xml"/><Relationship Id="rId116" Type="http://schemas.openxmlformats.org/officeDocument/2006/relationships/slide" Target="slides/slide115.xml"/><Relationship Id="rId137" Type="http://schemas.openxmlformats.org/officeDocument/2006/relationships/slide" Target="slides/slide136.xml"/><Relationship Id="rId158" Type="http://schemas.openxmlformats.org/officeDocument/2006/relationships/slide" Target="slides/slide157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62" Type="http://schemas.openxmlformats.org/officeDocument/2006/relationships/slide" Target="slides/slide61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111" Type="http://schemas.openxmlformats.org/officeDocument/2006/relationships/slide" Target="slides/slide110.xml"/><Relationship Id="rId132" Type="http://schemas.openxmlformats.org/officeDocument/2006/relationships/slide" Target="slides/slide131.xml"/><Relationship Id="rId153" Type="http://schemas.openxmlformats.org/officeDocument/2006/relationships/slide" Target="slides/slide152.xml"/><Relationship Id="rId174" Type="http://schemas.openxmlformats.org/officeDocument/2006/relationships/slide" Target="slides/slide173.xml"/><Relationship Id="rId179" Type="http://schemas.openxmlformats.org/officeDocument/2006/relationships/slide" Target="slides/slide178.xml"/><Relationship Id="rId195" Type="http://schemas.openxmlformats.org/officeDocument/2006/relationships/slide" Target="slides/slide194.xml"/><Relationship Id="rId209" Type="http://schemas.openxmlformats.org/officeDocument/2006/relationships/slide" Target="slides/slide208.xml"/><Relationship Id="rId190" Type="http://schemas.openxmlformats.org/officeDocument/2006/relationships/slide" Target="slides/slide189.xml"/><Relationship Id="rId204" Type="http://schemas.openxmlformats.org/officeDocument/2006/relationships/slide" Target="slides/slide203.xml"/><Relationship Id="rId220" Type="http://schemas.openxmlformats.org/officeDocument/2006/relationships/tableStyles" Target="tableStyles.xml"/><Relationship Id="rId15" Type="http://schemas.openxmlformats.org/officeDocument/2006/relationships/slide" Target="slides/slide14.xml"/><Relationship Id="rId36" Type="http://schemas.openxmlformats.org/officeDocument/2006/relationships/slide" Target="slides/slide35.xml"/><Relationship Id="rId57" Type="http://schemas.openxmlformats.org/officeDocument/2006/relationships/slide" Target="slides/slide56.xml"/><Relationship Id="rId106" Type="http://schemas.openxmlformats.org/officeDocument/2006/relationships/slide" Target="slides/slide105.xml"/><Relationship Id="rId127" Type="http://schemas.openxmlformats.org/officeDocument/2006/relationships/slide" Target="slides/slide12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52" Type="http://schemas.openxmlformats.org/officeDocument/2006/relationships/slide" Target="slides/slide51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94" Type="http://schemas.openxmlformats.org/officeDocument/2006/relationships/slide" Target="slides/slide93.xml"/><Relationship Id="rId99" Type="http://schemas.openxmlformats.org/officeDocument/2006/relationships/slide" Target="slides/slide98.xml"/><Relationship Id="rId101" Type="http://schemas.openxmlformats.org/officeDocument/2006/relationships/slide" Target="slides/slide100.xml"/><Relationship Id="rId122" Type="http://schemas.openxmlformats.org/officeDocument/2006/relationships/slide" Target="slides/slide121.xml"/><Relationship Id="rId143" Type="http://schemas.openxmlformats.org/officeDocument/2006/relationships/slide" Target="slides/slide142.xml"/><Relationship Id="rId148" Type="http://schemas.openxmlformats.org/officeDocument/2006/relationships/slide" Target="slides/slide147.xml"/><Relationship Id="rId164" Type="http://schemas.openxmlformats.org/officeDocument/2006/relationships/slide" Target="slides/slide163.xml"/><Relationship Id="rId169" Type="http://schemas.openxmlformats.org/officeDocument/2006/relationships/slide" Target="slides/slide168.xml"/><Relationship Id="rId185" Type="http://schemas.openxmlformats.org/officeDocument/2006/relationships/slide" Target="slides/slide184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80" Type="http://schemas.openxmlformats.org/officeDocument/2006/relationships/slide" Target="slides/slide179.xml"/><Relationship Id="rId210" Type="http://schemas.openxmlformats.org/officeDocument/2006/relationships/slide" Target="slides/slide209.xml"/><Relationship Id="rId215" Type="http://schemas.openxmlformats.org/officeDocument/2006/relationships/handoutMaster" Target="handoutMasters/handoutMaster1.xml"/><Relationship Id="rId26" Type="http://schemas.openxmlformats.org/officeDocument/2006/relationships/slide" Target="slides/slide25.xml"/><Relationship Id="rId47" Type="http://schemas.openxmlformats.org/officeDocument/2006/relationships/slide" Target="slides/slide46.xml"/><Relationship Id="rId68" Type="http://schemas.openxmlformats.org/officeDocument/2006/relationships/slide" Target="slides/slide67.xml"/><Relationship Id="rId89" Type="http://schemas.openxmlformats.org/officeDocument/2006/relationships/slide" Target="slides/slide88.xml"/><Relationship Id="rId112" Type="http://schemas.openxmlformats.org/officeDocument/2006/relationships/slide" Target="slides/slide111.xml"/><Relationship Id="rId133" Type="http://schemas.openxmlformats.org/officeDocument/2006/relationships/slide" Target="slides/slide132.xml"/><Relationship Id="rId154" Type="http://schemas.openxmlformats.org/officeDocument/2006/relationships/slide" Target="slides/slide153.xml"/><Relationship Id="rId175" Type="http://schemas.openxmlformats.org/officeDocument/2006/relationships/slide" Target="slides/slide174.xml"/><Relationship Id="rId196" Type="http://schemas.openxmlformats.org/officeDocument/2006/relationships/slide" Target="slides/slide195.xml"/><Relationship Id="rId200" Type="http://schemas.openxmlformats.org/officeDocument/2006/relationships/slide" Target="slides/slide199.xml"/><Relationship Id="rId16" Type="http://schemas.openxmlformats.org/officeDocument/2006/relationships/slide" Target="slides/slide15.xml"/><Relationship Id="rId37" Type="http://schemas.openxmlformats.org/officeDocument/2006/relationships/slide" Target="slides/slide36.xml"/><Relationship Id="rId58" Type="http://schemas.openxmlformats.org/officeDocument/2006/relationships/slide" Target="slides/slide57.xml"/><Relationship Id="rId79" Type="http://schemas.openxmlformats.org/officeDocument/2006/relationships/slide" Target="slides/slide78.xml"/><Relationship Id="rId102" Type="http://schemas.openxmlformats.org/officeDocument/2006/relationships/slide" Target="slides/slide101.xml"/><Relationship Id="rId123" Type="http://schemas.openxmlformats.org/officeDocument/2006/relationships/slide" Target="slides/slide122.xml"/><Relationship Id="rId144" Type="http://schemas.openxmlformats.org/officeDocument/2006/relationships/slide" Target="slides/slide143.xml"/><Relationship Id="rId90" Type="http://schemas.openxmlformats.org/officeDocument/2006/relationships/slide" Target="slides/slide89.xml"/><Relationship Id="rId165" Type="http://schemas.openxmlformats.org/officeDocument/2006/relationships/slide" Target="slides/slide164.xml"/><Relationship Id="rId186" Type="http://schemas.openxmlformats.org/officeDocument/2006/relationships/slide" Target="slides/slide185.xml"/><Relationship Id="rId211" Type="http://schemas.openxmlformats.org/officeDocument/2006/relationships/slide" Target="slides/slide210.xml"/><Relationship Id="rId27" Type="http://schemas.openxmlformats.org/officeDocument/2006/relationships/slide" Target="slides/slide26.xml"/><Relationship Id="rId48" Type="http://schemas.openxmlformats.org/officeDocument/2006/relationships/slide" Target="slides/slide47.xml"/><Relationship Id="rId69" Type="http://schemas.openxmlformats.org/officeDocument/2006/relationships/slide" Target="slides/slide68.xml"/><Relationship Id="rId113" Type="http://schemas.openxmlformats.org/officeDocument/2006/relationships/slide" Target="slides/slide112.xml"/><Relationship Id="rId134" Type="http://schemas.openxmlformats.org/officeDocument/2006/relationships/slide" Target="slides/slide133.xml"/><Relationship Id="rId80" Type="http://schemas.openxmlformats.org/officeDocument/2006/relationships/slide" Target="slides/slide79.xml"/><Relationship Id="rId155" Type="http://schemas.openxmlformats.org/officeDocument/2006/relationships/slide" Target="slides/slide154.xml"/><Relationship Id="rId176" Type="http://schemas.openxmlformats.org/officeDocument/2006/relationships/slide" Target="slides/slide175.xml"/><Relationship Id="rId197" Type="http://schemas.openxmlformats.org/officeDocument/2006/relationships/slide" Target="slides/slide196.xml"/><Relationship Id="rId201" Type="http://schemas.openxmlformats.org/officeDocument/2006/relationships/slide" Target="slides/slide200.xml"/><Relationship Id="rId17" Type="http://schemas.openxmlformats.org/officeDocument/2006/relationships/slide" Target="slides/slide16.xml"/><Relationship Id="rId38" Type="http://schemas.openxmlformats.org/officeDocument/2006/relationships/slide" Target="slides/slide37.xml"/><Relationship Id="rId59" Type="http://schemas.openxmlformats.org/officeDocument/2006/relationships/slide" Target="slides/slide58.xml"/><Relationship Id="rId103" Type="http://schemas.openxmlformats.org/officeDocument/2006/relationships/slide" Target="slides/slide102.xml"/><Relationship Id="rId124" Type="http://schemas.openxmlformats.org/officeDocument/2006/relationships/slide" Target="slides/slide123.xml"/><Relationship Id="rId70" Type="http://schemas.openxmlformats.org/officeDocument/2006/relationships/slide" Target="slides/slide69.xml"/><Relationship Id="rId91" Type="http://schemas.openxmlformats.org/officeDocument/2006/relationships/slide" Target="slides/slide90.xml"/><Relationship Id="rId145" Type="http://schemas.openxmlformats.org/officeDocument/2006/relationships/slide" Target="slides/slide144.xml"/><Relationship Id="rId166" Type="http://schemas.openxmlformats.org/officeDocument/2006/relationships/slide" Target="slides/slide165.xml"/><Relationship Id="rId187" Type="http://schemas.openxmlformats.org/officeDocument/2006/relationships/slide" Target="slides/slide186.xml"/><Relationship Id="rId1" Type="http://schemas.openxmlformats.org/officeDocument/2006/relationships/slideMaster" Target="slideMasters/slideMaster1.xml"/><Relationship Id="rId212" Type="http://schemas.openxmlformats.org/officeDocument/2006/relationships/slide" Target="slides/slide211.xml"/><Relationship Id="rId28" Type="http://schemas.openxmlformats.org/officeDocument/2006/relationships/slide" Target="slides/slide27.xml"/><Relationship Id="rId49" Type="http://schemas.openxmlformats.org/officeDocument/2006/relationships/slide" Target="slides/slide48.xml"/><Relationship Id="rId114" Type="http://schemas.openxmlformats.org/officeDocument/2006/relationships/slide" Target="slides/slide113.xml"/><Relationship Id="rId60" Type="http://schemas.openxmlformats.org/officeDocument/2006/relationships/slide" Target="slides/slide59.xml"/><Relationship Id="rId81" Type="http://schemas.openxmlformats.org/officeDocument/2006/relationships/slide" Target="slides/slide80.xml"/><Relationship Id="rId135" Type="http://schemas.openxmlformats.org/officeDocument/2006/relationships/slide" Target="slides/slide134.xml"/><Relationship Id="rId156" Type="http://schemas.openxmlformats.org/officeDocument/2006/relationships/slide" Target="slides/slide155.xml"/><Relationship Id="rId177" Type="http://schemas.openxmlformats.org/officeDocument/2006/relationships/slide" Target="slides/slide176.xml"/><Relationship Id="rId198" Type="http://schemas.openxmlformats.org/officeDocument/2006/relationships/slide" Target="slides/slide197.xml"/><Relationship Id="rId202" Type="http://schemas.openxmlformats.org/officeDocument/2006/relationships/slide" Target="slides/slide201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50" Type="http://schemas.openxmlformats.org/officeDocument/2006/relationships/slide" Target="slides/slide49.xml"/><Relationship Id="rId104" Type="http://schemas.openxmlformats.org/officeDocument/2006/relationships/slide" Target="slides/slide103.xml"/><Relationship Id="rId125" Type="http://schemas.openxmlformats.org/officeDocument/2006/relationships/slide" Target="slides/slide124.xml"/><Relationship Id="rId146" Type="http://schemas.openxmlformats.org/officeDocument/2006/relationships/slide" Target="slides/slide145.xml"/><Relationship Id="rId167" Type="http://schemas.openxmlformats.org/officeDocument/2006/relationships/slide" Target="slides/slide166.xml"/><Relationship Id="rId188" Type="http://schemas.openxmlformats.org/officeDocument/2006/relationships/slide" Target="slides/slide187.xml"/><Relationship Id="rId71" Type="http://schemas.openxmlformats.org/officeDocument/2006/relationships/slide" Target="slides/slide70.xml"/><Relationship Id="rId92" Type="http://schemas.openxmlformats.org/officeDocument/2006/relationships/slide" Target="slides/slide91.xml"/><Relationship Id="rId213" Type="http://schemas.openxmlformats.org/officeDocument/2006/relationships/slide" Target="slides/slide212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40" Type="http://schemas.openxmlformats.org/officeDocument/2006/relationships/slide" Target="slides/slide39.xml"/><Relationship Id="rId115" Type="http://schemas.openxmlformats.org/officeDocument/2006/relationships/slide" Target="slides/slide114.xml"/><Relationship Id="rId136" Type="http://schemas.openxmlformats.org/officeDocument/2006/relationships/slide" Target="slides/slide135.xml"/><Relationship Id="rId157" Type="http://schemas.openxmlformats.org/officeDocument/2006/relationships/slide" Target="slides/slide156.xml"/><Relationship Id="rId178" Type="http://schemas.openxmlformats.org/officeDocument/2006/relationships/slide" Target="slides/slide177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99" Type="http://schemas.openxmlformats.org/officeDocument/2006/relationships/slide" Target="slides/slide198.xml"/><Relationship Id="rId203" Type="http://schemas.openxmlformats.org/officeDocument/2006/relationships/slide" Target="slides/slide202.xml"/><Relationship Id="rId19" Type="http://schemas.openxmlformats.org/officeDocument/2006/relationships/slide" Target="slides/slide18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.xlsx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1.xlsx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1.xlsx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2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3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4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2.xml"/><Relationship Id="rId1" Type="http://schemas.microsoft.com/office/2011/relationships/chartStyle" Target="style12.xml"/><Relationship Id="rId4" Type="http://schemas.openxmlformats.org/officeDocument/2006/relationships/package" Target="../embeddings/Microsoft_Excel_Worksheet25.xlsx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13.xml"/><Relationship Id="rId1" Type="http://schemas.microsoft.com/office/2011/relationships/chartStyle" Target="style13.xml"/><Relationship Id="rId4" Type="http://schemas.openxmlformats.org/officeDocument/2006/relationships/package" Target="../embeddings/Microsoft_Excel_Worksheet26.xlsx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7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8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9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0.xlsx"/></Relationships>
</file>

<file path=ppt/charts/_rels/chart3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1.xlsx"/></Relationships>
</file>

<file path=ppt/charts/_rels/chart3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2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3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3.xlsx"/></Relationships>
</file>

<file path=ppt/charts/_rels/chart3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4.xlsx"/></Relationships>
</file>

<file path=ppt/charts/_rels/chart3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5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3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6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3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7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3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8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3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9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4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0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4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1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4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2.xlsx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3.xml"/><Relationship Id="rId2" Type="http://schemas.microsoft.com/office/2011/relationships/chartStyle" Target="style3.xml"/><Relationship Id="rId1" Type="http://schemas.openxmlformats.org/officeDocument/2006/relationships/package" Target="../embeddings/Microsoft_Excel_Worksheet6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area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cat>
            <c:numRef>
              <c:f>Sheet1!$A$2:$A$6</c:f>
              <c:numCache>
                <c:formatCode>m/d/yyyy</c:formatCode>
                <c:ptCount val="5"/>
                <c:pt idx="0">
                  <c:v>37377</c:v>
                </c:pt>
                <c:pt idx="1">
                  <c:v>37408</c:v>
                </c:pt>
                <c:pt idx="2">
                  <c:v>37438</c:v>
                </c:pt>
                <c:pt idx="3">
                  <c:v>37469</c:v>
                </c:pt>
                <c:pt idx="4">
                  <c:v>37500</c:v>
                </c:pt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32</c:v>
                </c:pt>
                <c:pt idx="1">
                  <c:v>32</c:v>
                </c:pt>
                <c:pt idx="2">
                  <c:v>28</c:v>
                </c:pt>
                <c:pt idx="3">
                  <c:v>12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C44-B541-B789-4F94487C4A1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cat>
            <c:numRef>
              <c:f>Sheet1!$A$2:$A$6</c:f>
              <c:numCache>
                <c:formatCode>m/d/yyyy</c:formatCode>
                <c:ptCount val="5"/>
                <c:pt idx="0">
                  <c:v>37377</c:v>
                </c:pt>
                <c:pt idx="1">
                  <c:v>37408</c:v>
                </c:pt>
                <c:pt idx="2">
                  <c:v>37438</c:v>
                </c:pt>
                <c:pt idx="3">
                  <c:v>37469</c:v>
                </c:pt>
                <c:pt idx="4">
                  <c:v>37500</c:v>
                </c:pt>
              </c:numCache>
            </c:numRef>
          </c:cat>
          <c:val>
            <c:numRef>
              <c:f>Sheet1!$C$2:$C$6</c:f>
              <c:numCache>
                <c:formatCode>General</c:formatCode>
                <c:ptCount val="5"/>
                <c:pt idx="0">
                  <c:v>12</c:v>
                </c:pt>
                <c:pt idx="1">
                  <c:v>12</c:v>
                </c:pt>
                <c:pt idx="2">
                  <c:v>12</c:v>
                </c:pt>
                <c:pt idx="3">
                  <c:v>21</c:v>
                </c:pt>
                <c:pt idx="4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C44-B541-B789-4F94487C4A1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2944559"/>
        <c:axId val="12945519"/>
      </c:areaChart>
      <c:dateAx>
        <c:axId val="12944559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945519"/>
        <c:crosses val="autoZero"/>
        <c:auto val="1"/>
        <c:lblOffset val="100"/>
        <c:baseTimeUnit val="months"/>
      </c:dateAx>
      <c:valAx>
        <c:axId val="12945519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944559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8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0.99912352356944534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70B5-44D1-A627-89C67CE85E85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70B5-44D1-A627-89C67CE85E85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70B5-44D1-A627-89C67CE85E85}"/>
              </c:ext>
            </c:extLst>
          </c:dPt>
          <c:dLbls>
            <c:dLbl>
              <c:idx val="0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2238007392480642"/>
                      <c:h val="0.1293662180470900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70B5-44D1-A627-89C67CE85E85}"/>
                </c:ext>
              </c:extLst>
            </c:dLbl>
            <c:dLbl>
              <c:idx val="1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3661362520705893"/>
                      <c:h val="0.1293662180470900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70B5-44D1-A627-89C67CE85E85}"/>
                </c:ext>
              </c:extLst>
            </c:dLbl>
            <c:dLbl>
              <c:idx val="2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107612372206243"/>
                      <c:h val="9.946382282876925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70B5-44D1-A627-89C67CE85E85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Category 4</c:v>
                </c:pt>
                <c:pt idx="1">
                  <c:v>Category 4</c:v>
                </c:pt>
                <c:pt idx="2">
                  <c:v>Category 4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1500</c:v>
                </c:pt>
                <c:pt idx="1">
                  <c:v>1100</c:v>
                </c:pt>
                <c:pt idx="2">
                  <c:v>7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0B5-44D1-A627-89C67CE85E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394669455"/>
        <c:axId val="394646159"/>
      </c:barChart>
      <c:catAx>
        <c:axId val="39466945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394646159"/>
        <c:crosses val="autoZero"/>
        <c:auto val="1"/>
        <c:lblAlgn val="ctr"/>
        <c:lblOffset val="100"/>
        <c:noMultiLvlLbl val="0"/>
      </c:catAx>
      <c:valAx>
        <c:axId val="394646159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39466945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800">
          <a:solidFill>
            <a:srgbClr val="FFFFFF"/>
          </a:solidFill>
          <a:latin typeface="+mn-lt"/>
          <a:ea typeface="Arial"/>
          <a:cs typeface="Arial"/>
        </a:defRPr>
      </a:pPr>
      <a:endParaRPr lang="en-US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0.99912352356944534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33F5-490D-8120-09546BAF2D19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33F5-490D-8120-09546BAF2D19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33F5-490D-8120-09546BAF2D19}"/>
              </c:ext>
            </c:extLst>
          </c:dPt>
          <c:dLbls>
            <c:dLbl>
              <c:idx val="0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2238007392480642"/>
                      <c:h val="0.1293662180470900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33F5-490D-8120-09546BAF2D19}"/>
                </c:ext>
              </c:extLst>
            </c:dLbl>
            <c:dLbl>
              <c:idx val="1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9391297136030162"/>
                      <c:h val="0.1293662180470900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33F5-490D-8120-09546BAF2D19}"/>
                </c:ext>
              </c:extLst>
            </c:dLbl>
            <c:dLbl>
              <c:idx val="2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107612372206243"/>
                      <c:h val="9.946382282876925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33F5-490D-8120-09546BAF2D19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Category 4</c:v>
                </c:pt>
                <c:pt idx="1">
                  <c:v>Category 4</c:v>
                </c:pt>
                <c:pt idx="2">
                  <c:v>Category 4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1050</c:v>
                </c:pt>
                <c:pt idx="1">
                  <c:v>1010</c:v>
                </c:pt>
                <c:pt idx="2">
                  <c:v>7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3F5-490D-8120-09546BAF2D1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394669455"/>
        <c:axId val="394646159"/>
      </c:barChart>
      <c:catAx>
        <c:axId val="39466945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394646159"/>
        <c:crosses val="autoZero"/>
        <c:auto val="1"/>
        <c:lblAlgn val="ctr"/>
        <c:lblOffset val="100"/>
        <c:noMultiLvlLbl val="0"/>
      </c:catAx>
      <c:valAx>
        <c:axId val="394646159"/>
        <c:scaling>
          <c:orientation val="minMax"/>
          <c:max val="2000"/>
        </c:scaling>
        <c:delete val="1"/>
        <c:axPos val="b"/>
        <c:numFmt formatCode="General" sourceLinked="1"/>
        <c:majorTickMark val="out"/>
        <c:minorTickMark val="none"/>
        <c:tickLblPos val="nextTo"/>
        <c:crossAx val="394669455"/>
        <c:crosses val="autoZero"/>
        <c:crossBetween val="between"/>
        <c:majorUnit val="5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800">
          <a:solidFill>
            <a:srgbClr val="FFFFFF"/>
          </a:solidFill>
          <a:latin typeface="+mn-lt"/>
          <a:ea typeface="Arial"/>
          <a:cs typeface="Arial"/>
        </a:defRPr>
      </a:pPr>
      <a:endParaRPr lang="en-US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0.99912352356944534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90D-4185-BDEE-6B7971651CF5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90D-4185-BDEE-6B7971651CF5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090D-4185-BDEE-6B7971651CF5}"/>
              </c:ext>
            </c:extLst>
          </c:dPt>
          <c:dLbls>
            <c:dLbl>
              <c:idx val="0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9391297136030162"/>
                      <c:h val="0.1293662180470900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090D-4185-BDEE-6B7971651CF5}"/>
                </c:ext>
              </c:extLst>
            </c:dLbl>
            <c:dLbl>
              <c:idx val="1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2238007392480642"/>
                      <c:h val="0.1293662180470900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090D-4185-BDEE-6B7971651CF5}"/>
                </c:ext>
              </c:extLst>
            </c:dLbl>
            <c:dLbl>
              <c:idx val="2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1954322628656734"/>
                      <c:h val="9.946382282876925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090D-4185-BDEE-6B7971651CF5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Category 4</c:v>
                </c:pt>
                <c:pt idx="1">
                  <c:v>Category 4</c:v>
                </c:pt>
                <c:pt idx="2">
                  <c:v>Category 4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1350</c:v>
                </c:pt>
                <c:pt idx="1">
                  <c:v>1000</c:v>
                </c:pt>
                <c:pt idx="2">
                  <c:v>8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90D-4185-BDEE-6B7971651CF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394669455"/>
        <c:axId val="394646159"/>
      </c:barChart>
      <c:catAx>
        <c:axId val="39466945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394646159"/>
        <c:crosses val="autoZero"/>
        <c:auto val="1"/>
        <c:lblAlgn val="ctr"/>
        <c:lblOffset val="100"/>
        <c:noMultiLvlLbl val="0"/>
      </c:catAx>
      <c:valAx>
        <c:axId val="394646159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39466945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800">
          <a:solidFill>
            <a:srgbClr val="FFFFFF"/>
          </a:solidFill>
          <a:latin typeface="+mn-lt"/>
          <a:ea typeface="Arial"/>
          <a:cs typeface="Arial"/>
        </a:defRPr>
      </a:pPr>
      <a:endParaRPr lang="en-US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0.99912352356944534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C267-47EB-9119-1AF569E9D81C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C267-47EB-9119-1AF569E9D81C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C267-47EB-9119-1AF569E9D81C}"/>
              </c:ext>
            </c:extLst>
          </c:dPt>
          <c:dLbls>
            <c:dLbl>
              <c:idx val="0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0814652264255402"/>
                      <c:h val="0.1293662180470900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C267-47EB-9119-1AF569E9D81C}"/>
                </c:ext>
              </c:extLst>
            </c:dLbl>
            <c:dLbl>
              <c:idx val="1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0814652264255402"/>
                      <c:h val="0.1293662180470900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C267-47EB-9119-1AF569E9D81C}"/>
                </c:ext>
              </c:extLst>
            </c:dLbl>
            <c:dLbl>
              <c:idx val="2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0814652264255402"/>
                      <c:h val="0.1293662180470900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C267-47EB-9119-1AF569E9D81C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Category 4</c:v>
                </c:pt>
                <c:pt idx="1">
                  <c:v>Category 4</c:v>
                </c:pt>
                <c:pt idx="2">
                  <c:v>Category 4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1000</c:v>
                </c:pt>
                <c:pt idx="1">
                  <c:v>1200</c:v>
                </c:pt>
                <c:pt idx="2">
                  <c:v>15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267-47EB-9119-1AF569E9D8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394669455"/>
        <c:axId val="394646159"/>
      </c:barChart>
      <c:catAx>
        <c:axId val="39466945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394646159"/>
        <c:crosses val="autoZero"/>
        <c:auto val="1"/>
        <c:lblAlgn val="ctr"/>
        <c:lblOffset val="100"/>
        <c:noMultiLvlLbl val="0"/>
      </c:catAx>
      <c:valAx>
        <c:axId val="394646159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39466945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800">
          <a:solidFill>
            <a:srgbClr val="FFFFFF"/>
          </a:solidFill>
          <a:latin typeface="+mn-lt"/>
          <a:ea typeface="Arial"/>
          <a:cs typeface="Arial"/>
        </a:defRPr>
      </a:pPr>
      <a:endParaRPr lang="en-US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0.99912352356944534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3246-490E-B5FB-32992B5DB9FF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3246-490E-B5FB-32992B5DB9FF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3246-490E-B5FB-32992B5DB9FF}"/>
              </c:ext>
            </c:extLst>
          </c:dPt>
          <c:dLbls>
            <c:dLbl>
              <c:idx val="0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7967942007804917"/>
                      <c:h val="0.1293662180470900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3246-490E-B5FB-32992B5DB9FF}"/>
                </c:ext>
              </c:extLst>
            </c:dLbl>
            <c:dLbl>
              <c:idx val="1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7967942007804917"/>
                      <c:h val="0.1293662180470900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3246-490E-B5FB-32992B5DB9FF}"/>
                </c:ext>
              </c:extLst>
            </c:dLbl>
            <c:dLbl>
              <c:idx val="2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107612372206243"/>
                      <c:h val="9.946382282876925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3246-490E-B5FB-32992B5DB9FF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Category 4</c:v>
                </c:pt>
                <c:pt idx="1">
                  <c:v>Category 4</c:v>
                </c:pt>
                <c:pt idx="2">
                  <c:v>Category 4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1500</c:v>
                </c:pt>
                <c:pt idx="1">
                  <c:v>1100</c:v>
                </c:pt>
                <c:pt idx="2">
                  <c:v>7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246-490E-B5FB-32992B5DB9F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394669455"/>
        <c:axId val="394646159"/>
      </c:barChart>
      <c:catAx>
        <c:axId val="39466945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394646159"/>
        <c:crosses val="autoZero"/>
        <c:auto val="1"/>
        <c:lblAlgn val="ctr"/>
        <c:lblOffset val="100"/>
        <c:noMultiLvlLbl val="0"/>
      </c:catAx>
      <c:valAx>
        <c:axId val="394646159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39466945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800">
          <a:solidFill>
            <a:srgbClr val="FFFFFF"/>
          </a:solidFill>
          <a:latin typeface="+mn-lt"/>
          <a:ea typeface="Arial"/>
          <a:cs typeface="Arial"/>
        </a:defRPr>
      </a:pPr>
      <a:endParaRPr lang="en-US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0.99912352356944534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9382-4022-A40F-D809B4CBF68D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9382-4022-A40F-D809B4CBF68D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9382-4022-A40F-D809B4CBF68D}"/>
              </c:ext>
            </c:extLst>
          </c:dPt>
          <c:dLbls>
            <c:dLbl>
              <c:idx val="0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2238007392480642"/>
                      <c:h val="0.1293662180470900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9382-4022-A40F-D809B4CBF68D}"/>
                </c:ext>
              </c:extLst>
            </c:dLbl>
            <c:dLbl>
              <c:idx val="1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6508072777156384"/>
                      <c:h val="0.1293662180470900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9382-4022-A40F-D809B4CBF68D}"/>
                </c:ext>
              </c:extLst>
            </c:dLbl>
            <c:dLbl>
              <c:idx val="2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0814652264255402"/>
                      <c:h val="0.1293662180470900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9382-4022-A40F-D809B4CBF68D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Category 4</c:v>
                </c:pt>
                <c:pt idx="1">
                  <c:v>Category 4</c:v>
                </c:pt>
                <c:pt idx="2">
                  <c:v>Category 4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1100</c:v>
                </c:pt>
                <c:pt idx="1">
                  <c:v>1600</c:v>
                </c:pt>
                <c:pt idx="2">
                  <c:v>1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382-4022-A40F-D809B4CBF68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394669455"/>
        <c:axId val="394646159"/>
      </c:barChart>
      <c:catAx>
        <c:axId val="39466945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394646159"/>
        <c:crosses val="autoZero"/>
        <c:auto val="1"/>
        <c:lblAlgn val="ctr"/>
        <c:lblOffset val="100"/>
        <c:noMultiLvlLbl val="0"/>
      </c:catAx>
      <c:valAx>
        <c:axId val="394646159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39466945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800">
          <a:solidFill>
            <a:srgbClr val="FFFFFF"/>
          </a:solidFill>
          <a:latin typeface="+mn-lt"/>
          <a:ea typeface="Arial"/>
          <a:cs typeface="Arial"/>
        </a:defRPr>
      </a:pPr>
      <a:endParaRPr lang="en-US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0.99912352356944534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AB86-47BF-A105-5B6EFFA73ADF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AB86-47BF-A105-5B6EFFA73ADF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AB86-47BF-A105-5B6EFFA73ADF}"/>
              </c:ext>
            </c:extLst>
          </c:dPt>
          <c:dLbls>
            <c:dLbl>
              <c:idx val="0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3661362520705893"/>
                      <c:h val="0.1293662180470900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AB86-47BF-A105-5B6EFFA73ADF}"/>
                </c:ext>
              </c:extLst>
            </c:dLbl>
            <c:dLbl>
              <c:idx val="1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3661362520705893"/>
                      <c:h val="0.1293662180470900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AB86-47BF-A105-5B6EFFA73ADF}"/>
                </c:ext>
              </c:extLst>
            </c:dLbl>
            <c:dLbl>
              <c:idx val="2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107612372206243"/>
                      <c:h val="9.946382282876925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AB86-47BF-A105-5B6EFFA73ADF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Category 4</c:v>
                </c:pt>
                <c:pt idx="1">
                  <c:v>Category 4</c:v>
                </c:pt>
                <c:pt idx="2">
                  <c:v>Category 4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1500</c:v>
                </c:pt>
                <c:pt idx="1">
                  <c:v>1100</c:v>
                </c:pt>
                <c:pt idx="2">
                  <c:v>7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B86-47BF-A105-5B6EFFA73AD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394669455"/>
        <c:axId val="394646159"/>
      </c:barChart>
      <c:catAx>
        <c:axId val="39466945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394646159"/>
        <c:crosses val="autoZero"/>
        <c:auto val="1"/>
        <c:lblAlgn val="ctr"/>
        <c:lblOffset val="100"/>
        <c:noMultiLvlLbl val="0"/>
      </c:catAx>
      <c:valAx>
        <c:axId val="394646159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39466945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800">
          <a:solidFill>
            <a:srgbClr val="FFFFFF"/>
          </a:solidFill>
          <a:latin typeface="+mn-lt"/>
          <a:ea typeface="Arial"/>
          <a:cs typeface="Arial"/>
        </a:defRPr>
      </a:pPr>
      <a:endParaRPr lang="en-US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2012-4C4A-8E6E-160E0C596559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2012-4C4A-8E6E-160E0C596559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2012-4C4A-8E6E-160E0C596559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2012-4C4A-8E6E-160E0C596559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2012-4C4A-8E6E-160E0C596559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2012-4C4A-8E6E-160E0C596559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2012-4C4A-8E6E-160E0C596559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2012-4C4A-8E6E-160E0C596559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2012-4C4A-8E6E-160E0C596559}"/>
              </c:ext>
            </c:extLst>
          </c:dPt>
          <c:dLbls>
            <c:delete val="1"/>
          </c:dLbls>
          <c:cat>
            <c:strRef>
              <c:f>Sheet1!$A$2:$A$10</c:f>
              <c:strCache>
                <c:ptCount val="9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  <c:pt idx="3">
                  <c:v>Text</c:v>
                </c:pt>
                <c:pt idx="4">
                  <c:v>Text</c:v>
                </c:pt>
                <c:pt idx="5">
                  <c:v>Text</c:v>
                </c:pt>
                <c:pt idx="6">
                  <c:v>Text</c:v>
                </c:pt>
                <c:pt idx="7">
                  <c:v>Text</c:v>
                </c:pt>
                <c:pt idx="8">
                  <c:v>Text</c:v>
                </c:pt>
              </c:strCache>
            </c:strRef>
          </c:cat>
          <c:val>
            <c:numRef>
              <c:f>Sheet1!$B$2:$B$10</c:f>
              <c:numCache>
                <c:formatCode>General</c:formatCode>
                <c:ptCount val="9"/>
                <c:pt idx="0">
                  <c:v>5</c:v>
                </c:pt>
                <c:pt idx="1">
                  <c:v>30</c:v>
                </c:pt>
                <c:pt idx="2">
                  <c:v>55</c:v>
                </c:pt>
                <c:pt idx="3">
                  <c:v>40</c:v>
                </c:pt>
                <c:pt idx="4">
                  <c:v>70</c:v>
                </c:pt>
                <c:pt idx="5">
                  <c:v>2</c:v>
                </c:pt>
                <c:pt idx="6">
                  <c:v>25</c:v>
                </c:pt>
                <c:pt idx="7">
                  <c:v>80</c:v>
                </c:pt>
                <c:pt idx="8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2012-4C4A-8E6E-160E0C596559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47"/>
        <c:overlap val="100"/>
        <c:axId val="716886672"/>
        <c:axId val="716894216"/>
      </c:barChart>
      <c:catAx>
        <c:axId val="716886672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Neue Haas Unica"/>
                <a:cs typeface="Neue Haas Unica"/>
              </a:defRPr>
            </a:pPr>
            <a:endParaRPr lang="en-US"/>
          </a:p>
        </c:txPr>
        <c:crossAx val="716894216"/>
        <c:crosses val="autoZero"/>
        <c:auto val="1"/>
        <c:lblAlgn val="ctr"/>
        <c:lblOffset val="100"/>
        <c:noMultiLvlLbl val="0"/>
      </c:catAx>
      <c:valAx>
        <c:axId val="71689421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Neue Haas Unica"/>
                <a:cs typeface="Neue Haas Unica"/>
              </a:defRPr>
            </a:pPr>
            <a:endParaRPr lang="en-US"/>
          </a:p>
        </c:txPr>
        <c:crossAx val="716886672"/>
        <c:crosses val="max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+mj-lt"/>
          <a:ea typeface="Neue Haas Unica"/>
          <a:cs typeface="Neue Haas Unica"/>
        </a:defRPr>
      </a:pPr>
      <a:endParaRPr lang="en-US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accent2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>
                <a:solidFill>
                  <a:schemeClr val="accent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C00-4913-8160-191A5CCDC7B2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solidFill>
                  <a:schemeClr val="accent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C00-4913-8160-191A5CCDC7B2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/>
              </a:solidFill>
              <a:ln>
                <a:solidFill>
                  <a:schemeClr val="accent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AC00-4913-8160-191A5CCDC7B2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/>
              </a:solidFill>
              <a:ln>
                <a:solidFill>
                  <a:schemeClr val="accent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AC00-4913-8160-191A5CCDC7B2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/>
              </a:solidFill>
              <a:ln>
                <a:solidFill>
                  <a:schemeClr val="accent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AC00-4913-8160-191A5CCDC7B2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2"/>
              </a:solidFill>
              <a:ln>
                <a:solidFill>
                  <a:schemeClr val="accent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AC00-4913-8160-191A5CCDC7B2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2"/>
              </a:solidFill>
              <a:ln>
                <a:solidFill>
                  <a:schemeClr val="accent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AC00-4913-8160-191A5CCDC7B2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2"/>
              </a:solidFill>
              <a:ln>
                <a:solidFill>
                  <a:schemeClr val="accent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AC00-4913-8160-191A5CCDC7B2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2"/>
              </a:solidFill>
              <a:ln>
                <a:solidFill>
                  <a:schemeClr val="accent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AC00-4913-8160-191A5CCDC7B2}"/>
              </c:ext>
            </c:extLst>
          </c:dPt>
          <c:dLbls>
            <c:delete val="1"/>
          </c:dLbls>
          <c:cat>
            <c:strRef>
              <c:f>Sheet1!$A$2:$A$10</c:f>
              <c:strCache>
                <c:ptCount val="9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  <c:pt idx="3">
                  <c:v>Text</c:v>
                </c:pt>
                <c:pt idx="4">
                  <c:v>Text</c:v>
                </c:pt>
                <c:pt idx="5">
                  <c:v>Text</c:v>
                </c:pt>
                <c:pt idx="6">
                  <c:v>Text</c:v>
                </c:pt>
                <c:pt idx="7">
                  <c:v>Text</c:v>
                </c:pt>
                <c:pt idx="8">
                  <c:v>Text</c:v>
                </c:pt>
              </c:strCache>
            </c:strRef>
          </c:cat>
          <c:val>
            <c:numRef>
              <c:f>Sheet1!$B$2:$B$10</c:f>
              <c:numCache>
                <c:formatCode>General</c:formatCode>
                <c:ptCount val="9"/>
                <c:pt idx="0">
                  <c:v>5</c:v>
                </c:pt>
                <c:pt idx="1">
                  <c:v>30</c:v>
                </c:pt>
                <c:pt idx="2">
                  <c:v>55</c:v>
                </c:pt>
                <c:pt idx="3">
                  <c:v>40</c:v>
                </c:pt>
                <c:pt idx="4">
                  <c:v>70</c:v>
                </c:pt>
                <c:pt idx="5">
                  <c:v>2</c:v>
                </c:pt>
                <c:pt idx="6">
                  <c:v>25</c:v>
                </c:pt>
                <c:pt idx="7">
                  <c:v>80</c:v>
                </c:pt>
                <c:pt idx="8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AC00-4913-8160-191A5CCDC7B2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47"/>
        <c:overlap val="100"/>
        <c:axId val="716886672"/>
        <c:axId val="716894216"/>
      </c:barChart>
      <c:catAx>
        <c:axId val="716886672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Neue Haas Unica"/>
                <a:cs typeface="Neue Haas Unica"/>
              </a:defRPr>
            </a:pPr>
            <a:endParaRPr lang="en-US"/>
          </a:p>
        </c:txPr>
        <c:crossAx val="716894216"/>
        <c:crosses val="autoZero"/>
        <c:auto val="1"/>
        <c:lblAlgn val="ctr"/>
        <c:lblOffset val="100"/>
        <c:noMultiLvlLbl val="0"/>
      </c:catAx>
      <c:valAx>
        <c:axId val="71689421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Neue Haas Unica"/>
                <a:cs typeface="Neue Haas Unica"/>
              </a:defRPr>
            </a:pPr>
            <a:endParaRPr lang="en-US"/>
          </a:p>
        </c:txPr>
        <c:crossAx val="716886672"/>
        <c:crosses val="max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+mj-lt"/>
          <a:ea typeface="Neue Haas Unica"/>
          <a:cs typeface="Neue Haas Unica"/>
        </a:defRPr>
      </a:pPr>
      <a:endParaRPr lang="en-US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accent3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6E5-4756-93F8-511C98615ED7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6E5-4756-93F8-511C98615ED7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96E5-4756-93F8-511C98615ED7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96E5-4756-93F8-511C98615ED7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96E5-4756-93F8-511C98615ED7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96E5-4756-93F8-511C98615ED7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96E5-4756-93F8-511C98615ED7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96E5-4756-93F8-511C98615ED7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96E5-4756-93F8-511C98615ED7}"/>
              </c:ext>
            </c:extLst>
          </c:dPt>
          <c:dLbls>
            <c:delete val="1"/>
          </c:dLbls>
          <c:cat>
            <c:strRef>
              <c:f>Sheet1!$A$2:$A$10</c:f>
              <c:strCache>
                <c:ptCount val="9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  <c:pt idx="3">
                  <c:v>Text</c:v>
                </c:pt>
                <c:pt idx="4">
                  <c:v>Text</c:v>
                </c:pt>
                <c:pt idx="5">
                  <c:v>Text</c:v>
                </c:pt>
                <c:pt idx="6">
                  <c:v>Text</c:v>
                </c:pt>
                <c:pt idx="7">
                  <c:v>Text</c:v>
                </c:pt>
                <c:pt idx="8">
                  <c:v>Text</c:v>
                </c:pt>
              </c:strCache>
            </c:strRef>
          </c:cat>
          <c:val>
            <c:numRef>
              <c:f>Sheet1!$B$2:$B$10</c:f>
              <c:numCache>
                <c:formatCode>General</c:formatCode>
                <c:ptCount val="9"/>
                <c:pt idx="0">
                  <c:v>5</c:v>
                </c:pt>
                <c:pt idx="1">
                  <c:v>30</c:v>
                </c:pt>
                <c:pt idx="2">
                  <c:v>55</c:v>
                </c:pt>
                <c:pt idx="3">
                  <c:v>40</c:v>
                </c:pt>
                <c:pt idx="4">
                  <c:v>70</c:v>
                </c:pt>
                <c:pt idx="5">
                  <c:v>2</c:v>
                </c:pt>
                <c:pt idx="6">
                  <c:v>25</c:v>
                </c:pt>
                <c:pt idx="7">
                  <c:v>80</c:v>
                </c:pt>
                <c:pt idx="8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96E5-4756-93F8-511C98615ED7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47"/>
        <c:overlap val="100"/>
        <c:axId val="716886672"/>
        <c:axId val="716894216"/>
      </c:barChart>
      <c:catAx>
        <c:axId val="716886672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Neue Haas Unica"/>
                <a:cs typeface="Neue Haas Unica"/>
              </a:defRPr>
            </a:pPr>
            <a:endParaRPr lang="en-US"/>
          </a:p>
        </c:txPr>
        <c:crossAx val="716894216"/>
        <c:crosses val="autoZero"/>
        <c:auto val="1"/>
        <c:lblAlgn val="ctr"/>
        <c:lblOffset val="100"/>
        <c:noMultiLvlLbl val="0"/>
      </c:catAx>
      <c:valAx>
        <c:axId val="71689421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Neue Haas Unica"/>
                <a:cs typeface="Neue Haas Unica"/>
              </a:defRPr>
            </a:pPr>
            <a:endParaRPr lang="en-US"/>
          </a:p>
        </c:txPr>
        <c:crossAx val="716886672"/>
        <c:crosses val="max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+mj-lt"/>
          <a:ea typeface="Neue Haas Unica"/>
          <a:cs typeface="Neue Haas Unica"/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areaChart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cat>
            <c:numRef>
              <c:f>Sheet1!$A$2:$A$6</c:f>
              <c:numCache>
                <c:formatCode>m/d/yyyy</c:formatCode>
                <c:ptCount val="5"/>
                <c:pt idx="0">
                  <c:v>37377</c:v>
                </c:pt>
                <c:pt idx="1">
                  <c:v>37408</c:v>
                </c:pt>
                <c:pt idx="2">
                  <c:v>37438</c:v>
                </c:pt>
                <c:pt idx="3">
                  <c:v>37469</c:v>
                </c:pt>
                <c:pt idx="4">
                  <c:v>37500</c:v>
                </c:pt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32</c:v>
                </c:pt>
                <c:pt idx="1">
                  <c:v>32</c:v>
                </c:pt>
                <c:pt idx="2">
                  <c:v>28</c:v>
                </c:pt>
                <c:pt idx="3">
                  <c:v>12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945-4618-A3C6-654213004B6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cat>
            <c:numRef>
              <c:f>Sheet1!$A$2:$A$6</c:f>
              <c:numCache>
                <c:formatCode>m/d/yyyy</c:formatCode>
                <c:ptCount val="5"/>
                <c:pt idx="0">
                  <c:v>37377</c:v>
                </c:pt>
                <c:pt idx="1">
                  <c:v>37408</c:v>
                </c:pt>
                <c:pt idx="2">
                  <c:v>37438</c:v>
                </c:pt>
                <c:pt idx="3">
                  <c:v>37469</c:v>
                </c:pt>
                <c:pt idx="4">
                  <c:v>37500</c:v>
                </c:pt>
              </c:numCache>
            </c:numRef>
          </c:cat>
          <c:val>
            <c:numRef>
              <c:f>Sheet1!$C$2:$C$6</c:f>
              <c:numCache>
                <c:formatCode>General</c:formatCode>
                <c:ptCount val="5"/>
                <c:pt idx="0">
                  <c:v>12</c:v>
                </c:pt>
                <c:pt idx="1">
                  <c:v>12</c:v>
                </c:pt>
                <c:pt idx="2">
                  <c:v>12</c:v>
                </c:pt>
                <c:pt idx="3">
                  <c:v>21</c:v>
                </c:pt>
                <c:pt idx="4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945-4618-A3C6-654213004B65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 w="25372">
              <a:noFill/>
            </a:ln>
            <a:effectLst/>
          </c:spPr>
          <c:cat>
            <c:numRef>
              <c:f>Sheet1!$A$2:$A$6</c:f>
              <c:numCache>
                <c:formatCode>m/d/yyyy</c:formatCode>
                <c:ptCount val="5"/>
                <c:pt idx="0">
                  <c:v>37377</c:v>
                </c:pt>
                <c:pt idx="1">
                  <c:v>37408</c:v>
                </c:pt>
                <c:pt idx="2">
                  <c:v>37438</c:v>
                </c:pt>
                <c:pt idx="3">
                  <c:v>37469</c:v>
                </c:pt>
                <c:pt idx="4">
                  <c:v>37500</c:v>
                </c:pt>
              </c:numCache>
            </c:numRef>
          </c:cat>
          <c:val>
            <c:numRef>
              <c:f>Sheet1!$D$2:$D$6</c:f>
              <c:numCache>
                <c:formatCode>General</c:formatCode>
                <c:ptCount val="5"/>
                <c:pt idx="0">
                  <c:v>10</c:v>
                </c:pt>
                <c:pt idx="1">
                  <c:v>11</c:v>
                </c:pt>
                <c:pt idx="2">
                  <c:v>30</c:v>
                </c:pt>
                <c:pt idx="3">
                  <c:v>10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945-4618-A3C6-654213004B65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ries 4</c:v>
                </c:pt>
              </c:strCache>
            </c:strRef>
          </c:tx>
          <c:spPr>
            <a:solidFill>
              <a:schemeClr val="accent4"/>
            </a:solidFill>
            <a:ln w="25372">
              <a:noFill/>
            </a:ln>
            <a:effectLst/>
          </c:spPr>
          <c:cat>
            <c:numRef>
              <c:f>Sheet1!$A$2:$A$6</c:f>
              <c:numCache>
                <c:formatCode>m/d/yyyy</c:formatCode>
                <c:ptCount val="5"/>
                <c:pt idx="0">
                  <c:v>37377</c:v>
                </c:pt>
                <c:pt idx="1">
                  <c:v>37408</c:v>
                </c:pt>
                <c:pt idx="2">
                  <c:v>37438</c:v>
                </c:pt>
                <c:pt idx="3">
                  <c:v>37469</c:v>
                </c:pt>
                <c:pt idx="4">
                  <c:v>37500</c:v>
                </c:pt>
              </c:numCache>
            </c:numRef>
          </c:cat>
          <c:val>
            <c:numRef>
              <c:f>Sheet1!$E$2:$E$6</c:f>
              <c:numCache>
                <c:formatCode>General</c:formatCode>
                <c:ptCount val="5"/>
                <c:pt idx="0">
                  <c:v>12</c:v>
                </c:pt>
                <c:pt idx="1">
                  <c:v>15</c:v>
                </c:pt>
                <c:pt idx="2">
                  <c:v>20</c:v>
                </c:pt>
                <c:pt idx="3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945-4618-A3C6-654213004B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363318287"/>
        <c:axId val="1"/>
      </c:areaChart>
      <c:dateAx>
        <c:axId val="1363318287"/>
        <c:scaling>
          <c:orientation val="minMax"/>
        </c:scaling>
        <c:delete val="0"/>
        <c:axPos val="b"/>
        <c:numFmt formatCode="m/d/yyyy" sourceLinked="0"/>
        <c:majorTickMark val="out"/>
        <c:minorTickMark val="none"/>
        <c:tickLblPos val="nextTo"/>
        <c:spPr>
          <a:noFill/>
          <a:ln w="9514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6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"/>
        <c:crosses val="autoZero"/>
        <c:auto val="1"/>
        <c:lblOffset val="100"/>
        <c:baseTimeUnit val="months"/>
      </c:dateAx>
      <c:valAx>
        <c:axId val="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6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63318287"/>
        <c:crosses val="autoZero"/>
        <c:crossBetween val="midCat"/>
      </c:valAx>
      <c:spPr>
        <a:noFill/>
        <a:ln w="25372">
          <a:noFill/>
        </a:ln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  <c:userShapes r:id="rId2"/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4"/>
            </a:solidFill>
            <a:ln>
              <a:solidFill>
                <a:schemeClr val="accent4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4"/>
              </a:solidFill>
              <a:ln>
                <a:solidFill>
                  <a:schemeClr val="accent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D8E-435A-AA6C-1856A0B81F21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4"/>
              </a:solidFill>
              <a:ln>
                <a:solidFill>
                  <a:schemeClr val="accent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D8E-435A-AA6C-1856A0B81F21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4"/>
              </a:solidFill>
              <a:ln>
                <a:solidFill>
                  <a:schemeClr val="accent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8D8E-435A-AA6C-1856A0B81F21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4"/>
              </a:solidFill>
              <a:ln>
                <a:solidFill>
                  <a:schemeClr val="accent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8D8E-435A-AA6C-1856A0B81F21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4"/>
              </a:solidFill>
              <a:ln>
                <a:solidFill>
                  <a:schemeClr val="accent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8D8E-435A-AA6C-1856A0B81F21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4"/>
              </a:solidFill>
              <a:ln>
                <a:solidFill>
                  <a:schemeClr val="accent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8D8E-435A-AA6C-1856A0B81F21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4"/>
              </a:solidFill>
              <a:ln>
                <a:solidFill>
                  <a:schemeClr val="accent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8D8E-435A-AA6C-1856A0B81F21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4"/>
              </a:solidFill>
              <a:ln>
                <a:solidFill>
                  <a:schemeClr val="accent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8D8E-435A-AA6C-1856A0B81F21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4"/>
              </a:solidFill>
              <a:ln>
                <a:solidFill>
                  <a:schemeClr val="accent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8D8E-435A-AA6C-1856A0B81F21}"/>
              </c:ext>
            </c:extLst>
          </c:dPt>
          <c:dLbls>
            <c:delete val="1"/>
          </c:dLbls>
          <c:cat>
            <c:strRef>
              <c:f>Sheet1!$A$2:$A$10</c:f>
              <c:strCache>
                <c:ptCount val="9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  <c:pt idx="3">
                  <c:v>Text</c:v>
                </c:pt>
                <c:pt idx="4">
                  <c:v>Text</c:v>
                </c:pt>
                <c:pt idx="5">
                  <c:v>Text</c:v>
                </c:pt>
                <c:pt idx="6">
                  <c:v>Text</c:v>
                </c:pt>
                <c:pt idx="7">
                  <c:v>Text</c:v>
                </c:pt>
                <c:pt idx="8">
                  <c:v>Text</c:v>
                </c:pt>
              </c:strCache>
            </c:strRef>
          </c:cat>
          <c:val>
            <c:numRef>
              <c:f>Sheet1!$B$2:$B$10</c:f>
              <c:numCache>
                <c:formatCode>General</c:formatCode>
                <c:ptCount val="9"/>
                <c:pt idx="0">
                  <c:v>5</c:v>
                </c:pt>
                <c:pt idx="1">
                  <c:v>30</c:v>
                </c:pt>
                <c:pt idx="2">
                  <c:v>55</c:v>
                </c:pt>
                <c:pt idx="3">
                  <c:v>40</c:v>
                </c:pt>
                <c:pt idx="4">
                  <c:v>70</c:v>
                </c:pt>
                <c:pt idx="5">
                  <c:v>2</c:v>
                </c:pt>
                <c:pt idx="6">
                  <c:v>25</c:v>
                </c:pt>
                <c:pt idx="7">
                  <c:v>80</c:v>
                </c:pt>
                <c:pt idx="8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8D8E-435A-AA6C-1856A0B81F21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47"/>
        <c:overlap val="100"/>
        <c:axId val="716886672"/>
        <c:axId val="716894216"/>
      </c:barChart>
      <c:catAx>
        <c:axId val="716886672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Neue Haas Unica"/>
                <a:cs typeface="Neue Haas Unica"/>
              </a:defRPr>
            </a:pPr>
            <a:endParaRPr lang="en-US"/>
          </a:p>
        </c:txPr>
        <c:crossAx val="716894216"/>
        <c:crosses val="autoZero"/>
        <c:auto val="1"/>
        <c:lblAlgn val="ctr"/>
        <c:lblOffset val="100"/>
        <c:noMultiLvlLbl val="0"/>
      </c:catAx>
      <c:valAx>
        <c:axId val="71689421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Neue Haas Unica"/>
                <a:cs typeface="Neue Haas Unica"/>
              </a:defRPr>
            </a:pPr>
            <a:endParaRPr lang="en-US"/>
          </a:p>
        </c:txPr>
        <c:crossAx val="716886672"/>
        <c:crosses val="max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+mj-lt"/>
          <a:ea typeface="Neue Haas Unica"/>
          <a:cs typeface="Neue Haas Unica"/>
        </a:defRPr>
      </a:pPr>
      <a:endParaRPr lang="en-US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5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FC8-4FED-8FAC-26D9EB6B45E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5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FC8-4FED-8FAC-26D9EB6B45E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FC8-4FED-8FAC-26D9EB6B45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201696608"/>
        <c:axId val="1"/>
      </c:barChart>
      <c:catAx>
        <c:axId val="120169660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12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5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"/>
        <c:crosses val="autoZero"/>
        <c:auto val="1"/>
        <c:lblAlgn val="ctr"/>
        <c:lblOffset val="100"/>
        <c:noMultiLvlLbl val="0"/>
      </c:catAx>
      <c:valAx>
        <c:axId val="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5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01696608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12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1195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</c:dTable>
      <c:spPr>
        <a:noFill/>
        <a:ln w="25366">
          <a:noFill/>
        </a:ln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7435465445799004E-2"/>
          <c:y val="0"/>
          <c:w val="0.88550052578048233"/>
          <c:h val="0.81287970164236589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sert Text Here 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B77-496A-9CEB-38BD93A09C51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B77-496A-9CEB-38BD93A09C51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BB77-496A-9CEB-38BD93A09C51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BB77-496A-9CEB-38BD93A09C51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BB77-496A-9CEB-38BD93A09C51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BB77-496A-9CEB-38BD93A09C51}"/>
              </c:ext>
            </c:extLst>
          </c:dPt>
          <c:cat>
            <c:strRef>
              <c:f>Sheet1!$A$2:$A$7</c:f>
              <c:strCache>
                <c:ptCount val="6"/>
                <c:pt idx="0">
                  <c:v>Text 1</c:v>
                </c:pt>
                <c:pt idx="1">
                  <c:v>Text 2</c:v>
                </c:pt>
                <c:pt idx="2">
                  <c:v>Text 3</c:v>
                </c:pt>
                <c:pt idx="3">
                  <c:v>Text 4</c:v>
                </c:pt>
                <c:pt idx="4">
                  <c:v>Text 5</c:v>
                </c:pt>
                <c:pt idx="5">
                  <c:v>Text 6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35</c:v>
                </c:pt>
                <c:pt idx="1">
                  <c:v>37</c:v>
                </c:pt>
                <c:pt idx="2">
                  <c:v>26</c:v>
                </c:pt>
                <c:pt idx="3">
                  <c:v>22</c:v>
                </c:pt>
                <c:pt idx="4">
                  <c:v>15</c:v>
                </c:pt>
                <c:pt idx="5">
                  <c:v>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BB77-496A-9CEB-38BD93A09C5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Insert Text Here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accent2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>
                <a:solidFill>
                  <a:schemeClr val="accent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E-BB77-496A-9CEB-38BD93A09C51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solidFill>
                  <a:schemeClr val="accent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0-BB77-496A-9CEB-38BD93A09C51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/>
              </a:solidFill>
              <a:ln>
                <a:solidFill>
                  <a:schemeClr val="accent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2-BB77-496A-9CEB-38BD93A09C51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/>
              </a:solidFill>
              <a:ln>
                <a:solidFill>
                  <a:schemeClr val="accent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4-BB77-496A-9CEB-38BD93A09C51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/>
              </a:solidFill>
              <a:ln>
                <a:solidFill>
                  <a:schemeClr val="accent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6-BB77-496A-9CEB-38BD93A09C51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2"/>
              </a:solidFill>
              <a:ln>
                <a:solidFill>
                  <a:schemeClr val="accent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8-BB77-496A-9CEB-38BD93A09C51}"/>
              </c:ext>
            </c:extLst>
          </c:dPt>
          <c:cat>
            <c:strRef>
              <c:f>Sheet1!$A$2:$A$7</c:f>
              <c:strCache>
                <c:ptCount val="6"/>
                <c:pt idx="0">
                  <c:v>Text 1</c:v>
                </c:pt>
                <c:pt idx="1">
                  <c:v>Text 2</c:v>
                </c:pt>
                <c:pt idx="2">
                  <c:v>Text 3</c:v>
                </c:pt>
                <c:pt idx="3">
                  <c:v>Text 4</c:v>
                </c:pt>
                <c:pt idx="4">
                  <c:v>Text 5</c:v>
                </c:pt>
                <c:pt idx="5">
                  <c:v>Text 6</c:v>
                </c:pt>
              </c:strCache>
            </c:strRef>
          </c:cat>
          <c:val>
            <c:numRef>
              <c:f>Sheet1!$C$2:$C$7</c:f>
              <c:numCache>
                <c:formatCode>General</c:formatCode>
                <c:ptCount val="6"/>
                <c:pt idx="0">
                  <c:v>30</c:v>
                </c:pt>
                <c:pt idx="1">
                  <c:v>28</c:v>
                </c:pt>
                <c:pt idx="2">
                  <c:v>24</c:v>
                </c:pt>
                <c:pt idx="3">
                  <c:v>21</c:v>
                </c:pt>
                <c:pt idx="4">
                  <c:v>15</c:v>
                </c:pt>
                <c:pt idx="5">
                  <c:v>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9-BB77-496A-9CEB-38BD93A09C5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Insert Text Here 2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accent3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B-BB77-496A-9CEB-38BD93A09C51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D-BB77-496A-9CEB-38BD93A09C51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F-BB77-496A-9CEB-38BD93A09C51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1-BB77-496A-9CEB-38BD93A09C51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3-BB77-496A-9CEB-38BD93A09C51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5-BB77-496A-9CEB-38BD93A09C51}"/>
              </c:ext>
            </c:extLst>
          </c:dPt>
          <c:cat>
            <c:strRef>
              <c:f>Sheet1!$A$2:$A$7</c:f>
              <c:strCache>
                <c:ptCount val="6"/>
                <c:pt idx="0">
                  <c:v>Text 1</c:v>
                </c:pt>
                <c:pt idx="1">
                  <c:v>Text 2</c:v>
                </c:pt>
                <c:pt idx="2">
                  <c:v>Text 3</c:v>
                </c:pt>
                <c:pt idx="3">
                  <c:v>Text 4</c:v>
                </c:pt>
                <c:pt idx="4">
                  <c:v>Text 5</c:v>
                </c:pt>
                <c:pt idx="5">
                  <c:v>Text 6</c:v>
                </c:pt>
              </c:strCache>
            </c:strRef>
          </c:cat>
          <c:val>
            <c:numRef>
              <c:f>Sheet1!$D$2:$D$7</c:f>
              <c:numCache>
                <c:formatCode>General</c:formatCode>
                <c:ptCount val="6"/>
                <c:pt idx="0">
                  <c:v>35</c:v>
                </c:pt>
                <c:pt idx="1">
                  <c:v>35</c:v>
                </c:pt>
                <c:pt idx="2">
                  <c:v>50</c:v>
                </c:pt>
                <c:pt idx="3">
                  <c:v>57</c:v>
                </c:pt>
                <c:pt idx="4">
                  <c:v>69</c:v>
                </c:pt>
                <c:pt idx="5">
                  <c:v>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6-BB77-496A-9CEB-38BD93A09C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642994959"/>
        <c:axId val="231303903"/>
      </c:barChart>
      <c:catAx>
        <c:axId val="164299495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Neue Haas Unica"/>
                <a:cs typeface="Neue Haas Unica"/>
              </a:defRPr>
            </a:pPr>
            <a:endParaRPr lang="en-US"/>
          </a:p>
        </c:txPr>
        <c:crossAx val="231303903"/>
        <c:crosses val="autoZero"/>
        <c:auto val="1"/>
        <c:lblAlgn val="ctr"/>
        <c:lblOffset val="100"/>
        <c:noMultiLvlLbl val="0"/>
      </c:catAx>
      <c:valAx>
        <c:axId val="231303903"/>
        <c:scaling>
          <c:orientation val="minMax"/>
        </c:scaling>
        <c:delete val="0"/>
        <c:axPos val="b"/>
        <c:numFmt formatCode="0%" sourceLinked="1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Neue Haas Unica"/>
                <a:cs typeface="Neue Haas Unica"/>
              </a:defRPr>
            </a:pPr>
            <a:endParaRPr lang="en-US"/>
          </a:p>
        </c:txPr>
        <c:crossAx val="1642994959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Neue Haas Unica"/>
              <a:cs typeface="Neue Haas Unica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600">
          <a:solidFill>
            <a:schemeClr val="tx1"/>
          </a:solidFill>
          <a:latin typeface="+mn-lt"/>
          <a:ea typeface="Neue Haas Unica"/>
          <a:cs typeface="Neue Haas Unica"/>
        </a:defRPr>
      </a:pPr>
      <a:endParaRPr lang="en-US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accent3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24C-40A3-BBA4-655FE36067A2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24C-40A3-BBA4-655FE36067A2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124C-40A3-BBA4-655FE36067A2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124C-40A3-BBA4-655FE36067A2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124C-40A3-BBA4-655FE36067A2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124C-40A3-BBA4-655FE36067A2}"/>
              </c:ext>
            </c:extLst>
          </c:dPt>
          <c:dLbls>
            <c:delete val="1"/>
          </c:dLbls>
          <c:cat>
            <c:strRef>
              <c:f>Sheet1!$A$2:$A$7</c:f>
              <c:strCache>
                <c:ptCount val="6"/>
                <c:pt idx="0">
                  <c:v>Ja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15</c:v>
                </c:pt>
                <c:pt idx="1">
                  <c:v>18</c:v>
                </c:pt>
                <c:pt idx="2">
                  <c:v>30</c:v>
                </c:pt>
                <c:pt idx="3">
                  <c:v>28</c:v>
                </c:pt>
                <c:pt idx="4">
                  <c:v>37</c:v>
                </c:pt>
                <c:pt idx="5">
                  <c:v>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124C-40A3-BBA4-655FE36067A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E-124C-40A3-BBA4-655FE36067A2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0-124C-40A3-BBA4-655FE36067A2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2-124C-40A3-BBA4-655FE36067A2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4-124C-40A3-BBA4-655FE36067A2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6-124C-40A3-BBA4-655FE36067A2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8-124C-40A3-BBA4-655FE36067A2}"/>
              </c:ext>
            </c:extLst>
          </c:dPt>
          <c:dLbls>
            <c:delete val="1"/>
          </c:dLbls>
          <c:cat>
            <c:strRef>
              <c:f>Sheet1!$A$2:$A$7</c:f>
              <c:strCache>
                <c:ptCount val="6"/>
                <c:pt idx="0">
                  <c:v>Ja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</c:strCache>
            </c:strRef>
          </c:cat>
          <c:val>
            <c:numRef>
              <c:f>Sheet1!$C$2:$C$7</c:f>
              <c:numCache>
                <c:formatCode>General</c:formatCode>
                <c:ptCount val="6"/>
                <c:pt idx="0">
                  <c:v>20</c:v>
                </c:pt>
                <c:pt idx="1">
                  <c:v>25</c:v>
                </c:pt>
                <c:pt idx="2">
                  <c:v>35</c:v>
                </c:pt>
                <c:pt idx="3">
                  <c:v>45</c:v>
                </c:pt>
                <c:pt idx="4">
                  <c:v>55</c:v>
                </c:pt>
                <c:pt idx="5">
                  <c:v>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9-124C-40A3-BBA4-655FE36067A2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431586248"/>
        <c:axId val="431589856"/>
      </c:barChart>
      <c:catAx>
        <c:axId val="4315862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Neue Haas Unica"/>
                <a:cs typeface="Neue Haas Unica"/>
              </a:defRPr>
            </a:pPr>
            <a:endParaRPr lang="en-US"/>
          </a:p>
        </c:txPr>
        <c:crossAx val="431589856"/>
        <c:crosses val="autoZero"/>
        <c:auto val="1"/>
        <c:lblAlgn val="ctr"/>
        <c:lblOffset val="100"/>
        <c:noMultiLvlLbl val="0"/>
      </c:catAx>
      <c:valAx>
        <c:axId val="4315898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Neue Haas Unica"/>
                <a:cs typeface="Neue Haas Unica"/>
              </a:defRPr>
            </a:pPr>
            <a:endParaRPr lang="en-US"/>
          </a:p>
        </c:txPr>
        <c:crossAx val="4315862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800" baseline="0">
          <a:solidFill>
            <a:schemeClr val="tx1"/>
          </a:solidFill>
          <a:latin typeface="+mj-lt"/>
          <a:ea typeface="Neue Haas Unica"/>
          <a:cs typeface="Neue Haas Unica"/>
        </a:defRPr>
      </a:pPr>
      <a:endParaRPr lang="en-US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94C-48E7-B893-A33A2872F23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accent2"/>
              </a:solidFill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94C-48E7-B893-A33A2872F23F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accent3"/>
              </a:solidFill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94C-48E7-B893-A33A2872F2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98"/>
        <c:axId val="1019445808"/>
        <c:axId val="509701792"/>
      </c:barChart>
      <c:catAx>
        <c:axId val="10194458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Arial"/>
                <a:cs typeface="Arial"/>
              </a:defRPr>
            </a:pPr>
            <a:endParaRPr lang="en-US"/>
          </a:p>
        </c:txPr>
        <c:crossAx val="509701792"/>
        <c:crosses val="autoZero"/>
        <c:auto val="1"/>
        <c:lblAlgn val="ctr"/>
        <c:lblOffset val="100"/>
        <c:noMultiLvlLbl val="0"/>
      </c:catAx>
      <c:valAx>
        <c:axId val="50970179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Arial"/>
                <a:cs typeface="Arial"/>
              </a:defRPr>
            </a:pPr>
            <a:endParaRPr lang="en-US"/>
          </a:p>
        </c:txPr>
        <c:crossAx val="10194458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900" baseline="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3886125636338198"/>
          <c:y val="0.11269655343768857"/>
          <c:w val="0.80744110172032335"/>
          <c:h val="0.77460689312462283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2B4871"/>
            </a:solidFill>
            <a:ln>
              <a:solidFill>
                <a:srgbClr val="2B487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2B4871"/>
              </a:solidFill>
              <a:ln>
                <a:solidFill>
                  <a:srgbClr val="2B487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0-11BB-442F-923A-F2187BB696A3}"/>
              </c:ext>
            </c:extLst>
          </c:dPt>
          <c:cat>
            <c:strRef>
              <c:f>Sheet1!$A$2</c:f>
              <c:strCache>
                <c:ptCount val="1"/>
                <c:pt idx="0">
                  <c:v>XX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1BB-442F-923A-F2187BB696A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bg1">
                <a:lumMod val="9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11BB-442F-923A-F2187BB696A3}"/>
              </c:ext>
            </c:extLst>
          </c:dPt>
          <c:cat>
            <c:strRef>
              <c:f>Sheet1!$A$2</c:f>
              <c:strCache>
                <c:ptCount val="1"/>
                <c:pt idx="0">
                  <c:v>XX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2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1BB-442F-923A-F2187BB696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28040464"/>
        <c:axId val="509907296"/>
      </c:barChart>
      <c:catAx>
        <c:axId val="92804046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D9D9D9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509907296"/>
        <c:crosses val="autoZero"/>
        <c:auto val="1"/>
        <c:lblAlgn val="ctr"/>
        <c:lblOffset val="100"/>
        <c:noMultiLvlLbl val="0"/>
      </c:catAx>
      <c:valAx>
        <c:axId val="50990729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9280404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600" baseline="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4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3886125636338198"/>
          <c:y val="0.11269655343768857"/>
          <c:w val="0.80744110172032335"/>
          <c:h val="0.77460689312462283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2B4871"/>
            </a:solidFill>
            <a:ln>
              <a:solidFill>
                <a:srgbClr val="2B4871"/>
              </a:solidFill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8A70-40FE-9535-4EE35A0046A0}"/>
              </c:ext>
            </c:extLst>
          </c:dPt>
          <c:cat>
            <c:strRef>
              <c:f>Sheet1!$A$2</c:f>
              <c:strCache>
                <c:ptCount val="1"/>
                <c:pt idx="0">
                  <c:v>XX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A70-40FE-9535-4EE35A0046A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bg1">
                <a:lumMod val="9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A70-40FE-9535-4EE35A0046A0}"/>
              </c:ext>
            </c:extLst>
          </c:dPt>
          <c:cat>
            <c:strRef>
              <c:f>Sheet1!$A$2</c:f>
              <c:strCache>
                <c:ptCount val="1"/>
                <c:pt idx="0">
                  <c:v>XX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2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A70-40FE-9535-4EE35A004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28040464"/>
        <c:axId val="509907296"/>
      </c:barChart>
      <c:catAx>
        <c:axId val="92804046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D9D9D9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509907296"/>
        <c:crosses val="autoZero"/>
        <c:auto val="1"/>
        <c:lblAlgn val="ctr"/>
        <c:lblOffset val="100"/>
        <c:noMultiLvlLbl val="0"/>
      </c:catAx>
      <c:valAx>
        <c:axId val="50990729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9280404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600" baseline="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4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FAF-45DC-9C02-DD880C6F498E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accent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FAF-45DC-9C02-DD880C6F498E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FFAF-45DC-9C02-DD880C6F498E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FFAF-45DC-9C02-DD880C6F498E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FFAF-45DC-9C02-DD880C6F498E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FFAF-45DC-9C02-DD880C6F498E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FFAF-45DC-9C02-DD880C6F498E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FFAF-45DC-9C02-DD880C6F498E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FFAF-45DC-9C02-DD880C6F498E}"/>
              </c:ext>
            </c:extLst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FFAF-45DC-9C02-DD880C6F498E}"/>
              </c:ext>
            </c:extLst>
          </c:dPt>
          <c:dPt>
            <c:idx val="10"/>
            <c:bubble3D val="0"/>
            <c:spPr>
              <a:solidFill>
                <a:schemeClr val="accent5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5-FFAF-45DC-9C02-DD880C6F498E}"/>
              </c:ext>
            </c:extLst>
          </c:dPt>
          <c:cat>
            <c:strRef>
              <c:f>Sheet1!$A$2:$A$12</c:f>
              <c:strCache>
                <c:ptCount val="3"/>
                <c:pt idx="0">
                  <c:v>xxx</c:v>
                </c:pt>
                <c:pt idx="1">
                  <c:v>xxx</c:v>
                </c:pt>
                <c:pt idx="2">
                  <c:v>xxx</c:v>
                </c:pt>
              </c:strCache>
            </c:strRef>
          </c:cat>
          <c:val>
            <c:numRef>
              <c:f>Sheet1!$B$2:$B$12</c:f>
              <c:numCache>
                <c:formatCode>General</c:formatCode>
                <c:ptCount val="11"/>
                <c:pt idx="0">
                  <c:v>8.1999999999999993</c:v>
                </c:pt>
                <c:pt idx="1">
                  <c:v>3.2</c:v>
                </c:pt>
                <c:pt idx="2">
                  <c:v>1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6-FFAF-45DC-9C02-DD880C6F49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egendEntry>
        <c:idx val="3"/>
        <c:delete val="1"/>
      </c:legendEntry>
      <c:legendEntry>
        <c:idx val="4"/>
        <c:delete val="1"/>
      </c:legendEntry>
      <c:legendEntry>
        <c:idx val="5"/>
        <c:delete val="1"/>
      </c:legendEntry>
      <c:legendEntry>
        <c:idx val="6"/>
        <c:delete val="1"/>
      </c:legendEntry>
      <c:legendEntry>
        <c:idx val="7"/>
        <c:delete val="1"/>
      </c:legendEntry>
      <c:legendEntry>
        <c:idx val="8"/>
        <c:delete val="1"/>
      </c:legendEntry>
      <c:legendEntry>
        <c:idx val="9"/>
        <c:delete val="1"/>
      </c:legendEntry>
      <c:legendEntry>
        <c:idx val="10"/>
        <c:delete val="1"/>
      </c:legendEntry>
      <c:layout>
        <c:manualLayout>
          <c:xMode val="edge"/>
          <c:yMode val="edge"/>
          <c:x val="0.73746200583472044"/>
          <c:y val="0.33858780104552516"/>
          <c:w val="0.11655359242990973"/>
          <c:h val="0.3306315590164576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+mn-lt"/>
              <a:ea typeface="Arial"/>
              <a:cs typeface="Arial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900" baseline="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3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ext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9</c:f>
              <c:strCache>
                <c:ptCount val="8"/>
                <c:pt idx="0">
                  <c:v>Year 1</c:v>
                </c:pt>
                <c:pt idx="1">
                  <c:v>Year 2</c:v>
                </c:pt>
                <c:pt idx="2">
                  <c:v>Year 3</c:v>
                </c:pt>
                <c:pt idx="3">
                  <c:v>Year 4</c:v>
                </c:pt>
                <c:pt idx="4">
                  <c:v>Year 5</c:v>
                </c:pt>
                <c:pt idx="5">
                  <c:v>Year 6</c:v>
                </c:pt>
                <c:pt idx="6">
                  <c:v>Year 7</c:v>
                </c:pt>
                <c:pt idx="7">
                  <c:v>Year 8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0">
                  <c:v>400</c:v>
                </c:pt>
                <c:pt idx="1">
                  <c:v>445</c:v>
                </c:pt>
                <c:pt idx="2">
                  <c:v>490</c:v>
                </c:pt>
                <c:pt idx="3">
                  <c:v>535</c:v>
                </c:pt>
                <c:pt idx="4">
                  <c:v>580</c:v>
                </c:pt>
                <c:pt idx="5">
                  <c:v>625</c:v>
                </c:pt>
                <c:pt idx="6">
                  <c:v>670</c:v>
                </c:pt>
                <c:pt idx="7">
                  <c:v>7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B84-4371-8836-7A5F60140C9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Text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9</c:f>
              <c:strCache>
                <c:ptCount val="8"/>
                <c:pt idx="0">
                  <c:v>Year 1</c:v>
                </c:pt>
                <c:pt idx="1">
                  <c:v>Year 2</c:v>
                </c:pt>
                <c:pt idx="2">
                  <c:v>Year 3</c:v>
                </c:pt>
                <c:pt idx="3">
                  <c:v>Year 4</c:v>
                </c:pt>
                <c:pt idx="4">
                  <c:v>Year 5</c:v>
                </c:pt>
                <c:pt idx="5">
                  <c:v>Year 6</c:v>
                </c:pt>
                <c:pt idx="6">
                  <c:v>Year 7</c:v>
                </c:pt>
                <c:pt idx="7">
                  <c:v>Year 8</c:v>
                </c:pt>
              </c:strCache>
            </c:strRef>
          </c:cat>
          <c:val>
            <c:numRef>
              <c:f>Sheet1!$C$2:$C$9</c:f>
              <c:numCache>
                <c:formatCode>General</c:formatCode>
                <c:ptCount val="8"/>
                <c:pt idx="0">
                  <c:v>350</c:v>
                </c:pt>
                <c:pt idx="1">
                  <c:v>395</c:v>
                </c:pt>
                <c:pt idx="2">
                  <c:v>440</c:v>
                </c:pt>
                <c:pt idx="3">
                  <c:v>485</c:v>
                </c:pt>
                <c:pt idx="4">
                  <c:v>530</c:v>
                </c:pt>
                <c:pt idx="5">
                  <c:v>575</c:v>
                </c:pt>
                <c:pt idx="6">
                  <c:v>620</c:v>
                </c:pt>
                <c:pt idx="7">
                  <c:v>6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B84-4371-8836-7A5F60140C90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Text 3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Sheet1!$A$2:$A$9</c:f>
              <c:strCache>
                <c:ptCount val="8"/>
                <c:pt idx="0">
                  <c:v>Year 1</c:v>
                </c:pt>
                <c:pt idx="1">
                  <c:v>Year 2</c:v>
                </c:pt>
                <c:pt idx="2">
                  <c:v>Year 3</c:v>
                </c:pt>
                <c:pt idx="3">
                  <c:v>Year 4</c:v>
                </c:pt>
                <c:pt idx="4">
                  <c:v>Year 5</c:v>
                </c:pt>
                <c:pt idx="5">
                  <c:v>Year 6</c:v>
                </c:pt>
                <c:pt idx="6">
                  <c:v>Year 7</c:v>
                </c:pt>
                <c:pt idx="7">
                  <c:v>Year 8</c:v>
                </c:pt>
              </c:strCache>
            </c:strRef>
          </c:cat>
          <c:val>
            <c:numRef>
              <c:f>Sheet1!$D$2:$D$9</c:f>
              <c:numCache>
                <c:formatCode>General</c:formatCode>
                <c:ptCount val="8"/>
                <c:pt idx="0">
                  <c:v>250</c:v>
                </c:pt>
                <c:pt idx="1">
                  <c:v>295</c:v>
                </c:pt>
                <c:pt idx="2">
                  <c:v>340</c:v>
                </c:pt>
                <c:pt idx="3">
                  <c:v>385</c:v>
                </c:pt>
                <c:pt idx="4">
                  <c:v>430</c:v>
                </c:pt>
                <c:pt idx="5">
                  <c:v>475</c:v>
                </c:pt>
                <c:pt idx="6">
                  <c:v>520</c:v>
                </c:pt>
                <c:pt idx="7">
                  <c:v>5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B84-4371-8836-7A5F60140C90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Text 4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2B84-4371-8836-7A5F60140C90}"/>
              </c:ext>
            </c:extLst>
          </c:dPt>
          <c:cat>
            <c:strRef>
              <c:f>Sheet1!$A$2:$A$9</c:f>
              <c:strCache>
                <c:ptCount val="8"/>
                <c:pt idx="0">
                  <c:v>Year 1</c:v>
                </c:pt>
                <c:pt idx="1">
                  <c:v>Year 2</c:v>
                </c:pt>
                <c:pt idx="2">
                  <c:v>Year 3</c:v>
                </c:pt>
                <c:pt idx="3">
                  <c:v>Year 4</c:v>
                </c:pt>
                <c:pt idx="4">
                  <c:v>Year 5</c:v>
                </c:pt>
                <c:pt idx="5">
                  <c:v>Year 6</c:v>
                </c:pt>
                <c:pt idx="6">
                  <c:v>Year 7</c:v>
                </c:pt>
                <c:pt idx="7">
                  <c:v>Year 8</c:v>
                </c:pt>
              </c:strCache>
            </c:strRef>
          </c:cat>
          <c:val>
            <c:numRef>
              <c:f>Sheet1!$E$2:$E$9</c:f>
              <c:numCache>
                <c:formatCode>General</c:formatCode>
                <c:ptCount val="8"/>
                <c:pt idx="0">
                  <c:v>50</c:v>
                </c:pt>
                <c:pt idx="1">
                  <c:v>95</c:v>
                </c:pt>
                <c:pt idx="2">
                  <c:v>140</c:v>
                </c:pt>
                <c:pt idx="3">
                  <c:v>185</c:v>
                </c:pt>
                <c:pt idx="4">
                  <c:v>230</c:v>
                </c:pt>
                <c:pt idx="5">
                  <c:v>275</c:v>
                </c:pt>
                <c:pt idx="6">
                  <c:v>320</c:v>
                </c:pt>
                <c:pt idx="7">
                  <c:v>3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B84-4371-8836-7A5F60140C90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Text 5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strRef>
              <c:f>Sheet1!$A$2:$A$9</c:f>
              <c:strCache>
                <c:ptCount val="8"/>
                <c:pt idx="0">
                  <c:v>Year 1</c:v>
                </c:pt>
                <c:pt idx="1">
                  <c:v>Year 2</c:v>
                </c:pt>
                <c:pt idx="2">
                  <c:v>Year 3</c:v>
                </c:pt>
                <c:pt idx="3">
                  <c:v>Year 4</c:v>
                </c:pt>
                <c:pt idx="4">
                  <c:v>Year 5</c:v>
                </c:pt>
                <c:pt idx="5">
                  <c:v>Year 6</c:v>
                </c:pt>
                <c:pt idx="6">
                  <c:v>Year 7</c:v>
                </c:pt>
                <c:pt idx="7">
                  <c:v>Year 8</c:v>
                </c:pt>
              </c:strCache>
            </c:strRef>
          </c:cat>
          <c:val>
            <c:numRef>
              <c:f>Sheet1!$F$2:$F$9</c:f>
              <c:numCache>
                <c:formatCode>General</c:formatCode>
                <c:ptCount val="8"/>
                <c:pt idx="0">
                  <c:v>20</c:v>
                </c:pt>
                <c:pt idx="1">
                  <c:v>65</c:v>
                </c:pt>
                <c:pt idx="2">
                  <c:v>110</c:v>
                </c:pt>
                <c:pt idx="3">
                  <c:v>155</c:v>
                </c:pt>
                <c:pt idx="4">
                  <c:v>200</c:v>
                </c:pt>
                <c:pt idx="5">
                  <c:v>245</c:v>
                </c:pt>
                <c:pt idx="6">
                  <c:v>290</c:v>
                </c:pt>
                <c:pt idx="7">
                  <c:v>3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2B84-4371-8836-7A5F60140C9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061912975"/>
        <c:axId val="231295167"/>
      </c:barChart>
      <c:catAx>
        <c:axId val="106191297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0" b="0" i="0" u="none" strike="noStrike" kern="1200" baseline="0">
                <a:solidFill>
                  <a:schemeClr val="tx1"/>
                </a:solidFill>
                <a:latin typeface="+mn-lt"/>
                <a:ea typeface="Neue Haas Unica"/>
                <a:cs typeface="Neue Haas Unica"/>
              </a:defRPr>
            </a:pPr>
            <a:endParaRPr lang="en-US"/>
          </a:p>
        </c:txPr>
        <c:crossAx val="231295167"/>
        <c:crosses val="autoZero"/>
        <c:auto val="1"/>
        <c:lblAlgn val="ctr"/>
        <c:lblOffset val="100"/>
        <c:noMultiLvlLbl val="0"/>
      </c:catAx>
      <c:valAx>
        <c:axId val="231295167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0" b="0" i="0" u="none" strike="noStrike" kern="1200" baseline="0">
                <a:solidFill>
                  <a:schemeClr val="tx1"/>
                </a:solidFill>
                <a:latin typeface="+mn-lt"/>
                <a:ea typeface="Neue Haas Unica"/>
                <a:cs typeface="Neue Haas Unica"/>
              </a:defRPr>
            </a:pPr>
            <a:endParaRPr lang="en-US"/>
          </a:p>
        </c:txPr>
        <c:crossAx val="106191297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7127948024537581"/>
          <c:y val="0.93406517447110005"/>
          <c:w val="0.64725814801185111"/>
          <c:h val="6.593482552889995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Neue Haas Unica"/>
              <a:cs typeface="Neue Haas Unica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800">
          <a:solidFill>
            <a:schemeClr val="tx1"/>
          </a:solidFill>
          <a:latin typeface="+mn-lt"/>
          <a:ea typeface="Neue Haas Unica"/>
          <a:cs typeface="Neue Haas Unica"/>
        </a:defRPr>
      </a:pPr>
      <a:endParaRPr lang="en-US"/>
    </a:p>
  </c:txPr>
  <c:externalData r:id="rId3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4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63A-43DF-A87F-71A306C36F6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accent2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4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63A-43DF-A87F-71A306C36F6A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accent3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4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63A-43DF-A87F-71A306C36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506023087"/>
        <c:axId val="1"/>
      </c:barChart>
      <c:catAx>
        <c:axId val="5060230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669" cap="flat" cmpd="sng" algn="ctr">
            <a:solidFill>
              <a:schemeClr val="tx1"/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4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"/>
        <c:crosses val="autoZero"/>
        <c:auto val="1"/>
        <c:lblAlgn val="ctr"/>
        <c:lblOffset val="100"/>
        <c:noMultiLvlLbl val="0"/>
      </c:catAx>
      <c:valAx>
        <c:axId val="1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 w="6350" cap="flat" cmpd="sng" algn="ctr">
            <a:solidFill>
              <a:schemeClr val="tx1"/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4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06023087"/>
        <c:crosses val="autoZero"/>
        <c:crossBetween val="between"/>
      </c:valAx>
      <c:spPr>
        <a:noFill/>
        <a:ln w="25339">
          <a:noFill/>
        </a:ln>
        <a:effectLst/>
      </c:spPr>
    </c:plotArea>
    <c:legend>
      <c:legendPos val="b"/>
      <c:layout>
        <c:manualLayout>
          <c:xMode val="edge"/>
          <c:yMode val="edge"/>
          <c:x val="0.18394736842105261"/>
          <c:y val="0.92481442749343834"/>
          <c:w val="0.75115295620942113"/>
          <c:h val="6.979761318897637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6350" cap="flat" cmpd="sng" algn="ctr">
      <a:noFill/>
      <a:prstDash val="solid"/>
      <a:miter lim="800000"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40" b="0" i="0" u="none" strike="noStrike" kern="1200" spc="0" baseline="0">
                <a:solidFill>
                  <a:schemeClr val="tx1"/>
                </a:solidFill>
                <a:latin typeface="+mn-lt"/>
                <a:ea typeface="Arial"/>
                <a:cs typeface="Arial"/>
              </a:defRPr>
            </a:pPr>
            <a:r>
              <a:rPr lang="en-IN"/>
              <a:t>Titl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40" b="0" i="0" u="none" strike="noStrike" kern="1200" spc="0" baseline="0">
              <a:solidFill>
                <a:schemeClr val="tx1"/>
              </a:solidFill>
              <a:latin typeface="+mn-lt"/>
              <a:ea typeface="Arial"/>
              <a:cs typeface="Arial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6.5355356826037825E-2"/>
          <c:y val="8.873691122260699E-2"/>
          <c:w val="0.93364257579821452"/>
          <c:h val="0.72342046095813939"/>
        </c:manualLayout>
      </c:layout>
      <c:areaChart>
        <c:grouping val="percentStack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Insert text here</c:v>
                </c:pt>
              </c:strCache>
            </c:strRef>
          </c:tx>
          <c:spPr>
            <a:solidFill>
              <a:schemeClr val="bg2"/>
            </a:solidFill>
            <a:ln>
              <a:solidFill>
                <a:schemeClr val="bg2"/>
              </a:solidFill>
            </a:ln>
            <a:effectLst/>
          </c:spPr>
          <c:cat>
            <c:strRef>
              <c:f>Sheet1!$B$1:$M$1</c:f>
              <c:strCache>
                <c:ptCount val="12"/>
                <c:pt idx="0">
                  <c:v>Q1 2019</c:v>
                </c:pt>
                <c:pt idx="1">
                  <c:v>Q2 2019</c:v>
                </c:pt>
                <c:pt idx="2">
                  <c:v>Q3 2019</c:v>
                </c:pt>
                <c:pt idx="3">
                  <c:v>Q4 2019</c:v>
                </c:pt>
                <c:pt idx="4">
                  <c:v>Q1 2020</c:v>
                </c:pt>
                <c:pt idx="5">
                  <c:v>Q2 2020</c:v>
                </c:pt>
                <c:pt idx="6">
                  <c:v>Q3 2020</c:v>
                </c:pt>
                <c:pt idx="7">
                  <c:v>Q4 2020</c:v>
                </c:pt>
                <c:pt idx="8">
                  <c:v>Q1 2021</c:v>
                </c:pt>
                <c:pt idx="9">
                  <c:v>Q2 2021</c:v>
                </c:pt>
                <c:pt idx="10">
                  <c:v>Q3 2021</c:v>
                </c:pt>
                <c:pt idx="11">
                  <c:v>Q4 2021</c:v>
                </c:pt>
              </c:strCache>
            </c:strRef>
          </c:cat>
          <c:val>
            <c:numRef>
              <c:f>Sheet1!$B$2:$M$2</c:f>
              <c:numCache>
                <c:formatCode>0%</c:formatCode>
                <c:ptCount val="12"/>
                <c:pt idx="0">
                  <c:v>0</c:v>
                </c:pt>
                <c:pt idx="1">
                  <c:v>0.05</c:v>
                </c:pt>
                <c:pt idx="2">
                  <c:v>0.1</c:v>
                </c:pt>
                <c:pt idx="3">
                  <c:v>0.15</c:v>
                </c:pt>
                <c:pt idx="4">
                  <c:v>0.18</c:v>
                </c:pt>
                <c:pt idx="5">
                  <c:v>0.2</c:v>
                </c:pt>
                <c:pt idx="6">
                  <c:v>0.23</c:v>
                </c:pt>
                <c:pt idx="7">
                  <c:v>0.28000000000000003</c:v>
                </c:pt>
                <c:pt idx="8">
                  <c:v>0.3</c:v>
                </c:pt>
                <c:pt idx="9">
                  <c:v>0.35</c:v>
                </c:pt>
                <c:pt idx="10">
                  <c:v>0.32</c:v>
                </c:pt>
                <c:pt idx="11">
                  <c:v>0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C0E-4915-9E52-43A7FCCDBA97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Insert text here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accent3"/>
              </a:solidFill>
            </a:ln>
            <a:effectLst/>
          </c:spPr>
          <c:cat>
            <c:strRef>
              <c:f>Sheet1!$B$1:$M$1</c:f>
              <c:strCache>
                <c:ptCount val="12"/>
                <c:pt idx="0">
                  <c:v>Q1 2019</c:v>
                </c:pt>
                <c:pt idx="1">
                  <c:v>Q2 2019</c:v>
                </c:pt>
                <c:pt idx="2">
                  <c:v>Q3 2019</c:v>
                </c:pt>
                <c:pt idx="3">
                  <c:v>Q4 2019</c:v>
                </c:pt>
                <c:pt idx="4">
                  <c:v>Q1 2020</c:v>
                </c:pt>
                <c:pt idx="5">
                  <c:v>Q2 2020</c:v>
                </c:pt>
                <c:pt idx="6">
                  <c:v>Q3 2020</c:v>
                </c:pt>
                <c:pt idx="7">
                  <c:v>Q4 2020</c:v>
                </c:pt>
                <c:pt idx="8">
                  <c:v>Q1 2021</c:v>
                </c:pt>
                <c:pt idx="9">
                  <c:v>Q2 2021</c:v>
                </c:pt>
                <c:pt idx="10">
                  <c:v>Q3 2021</c:v>
                </c:pt>
                <c:pt idx="11">
                  <c:v>Q4 2021</c:v>
                </c:pt>
              </c:strCache>
            </c:strRef>
          </c:cat>
          <c:val>
            <c:numRef>
              <c:f>Sheet1!$B$3:$M$3</c:f>
              <c:numCache>
                <c:formatCode>0%</c:formatCode>
                <c:ptCount val="12"/>
                <c:pt idx="0">
                  <c:v>0.12</c:v>
                </c:pt>
                <c:pt idx="1">
                  <c:v>0.1</c:v>
                </c:pt>
                <c:pt idx="2">
                  <c:v>0.12</c:v>
                </c:pt>
                <c:pt idx="3">
                  <c:v>0.1</c:v>
                </c:pt>
                <c:pt idx="4">
                  <c:v>0.12</c:v>
                </c:pt>
                <c:pt idx="5">
                  <c:v>0.1</c:v>
                </c:pt>
                <c:pt idx="6">
                  <c:v>0.12</c:v>
                </c:pt>
                <c:pt idx="7">
                  <c:v>0.1</c:v>
                </c:pt>
                <c:pt idx="8">
                  <c:v>0.12</c:v>
                </c:pt>
                <c:pt idx="9">
                  <c:v>0.14000000000000001</c:v>
                </c:pt>
                <c:pt idx="10">
                  <c:v>0.09</c:v>
                </c:pt>
                <c:pt idx="11">
                  <c:v>7.000000000000000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C0E-4915-9E52-43A7FCCDBA97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Insert text here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cat>
            <c:strRef>
              <c:f>Sheet1!$B$1:$M$1</c:f>
              <c:strCache>
                <c:ptCount val="12"/>
                <c:pt idx="0">
                  <c:v>Q1 2019</c:v>
                </c:pt>
                <c:pt idx="1">
                  <c:v>Q2 2019</c:v>
                </c:pt>
                <c:pt idx="2">
                  <c:v>Q3 2019</c:v>
                </c:pt>
                <c:pt idx="3">
                  <c:v>Q4 2019</c:v>
                </c:pt>
                <c:pt idx="4">
                  <c:v>Q1 2020</c:v>
                </c:pt>
                <c:pt idx="5">
                  <c:v>Q2 2020</c:v>
                </c:pt>
                <c:pt idx="6">
                  <c:v>Q3 2020</c:v>
                </c:pt>
                <c:pt idx="7">
                  <c:v>Q4 2020</c:v>
                </c:pt>
                <c:pt idx="8">
                  <c:v>Q1 2021</c:v>
                </c:pt>
                <c:pt idx="9">
                  <c:v>Q2 2021</c:v>
                </c:pt>
                <c:pt idx="10">
                  <c:v>Q3 2021</c:v>
                </c:pt>
                <c:pt idx="11">
                  <c:v>Q4 2021</c:v>
                </c:pt>
              </c:strCache>
            </c:strRef>
          </c:cat>
          <c:val>
            <c:numRef>
              <c:f>Sheet1!$B$4:$M$4</c:f>
              <c:numCache>
                <c:formatCode>0%</c:formatCode>
                <c:ptCount val="12"/>
                <c:pt idx="0">
                  <c:v>0.27</c:v>
                </c:pt>
                <c:pt idx="1">
                  <c:v>0.28000000000000003</c:v>
                </c:pt>
                <c:pt idx="2">
                  <c:v>0.25</c:v>
                </c:pt>
                <c:pt idx="3">
                  <c:v>0.24</c:v>
                </c:pt>
                <c:pt idx="4">
                  <c:v>0.27</c:v>
                </c:pt>
                <c:pt idx="5">
                  <c:v>0.28000000000000003</c:v>
                </c:pt>
                <c:pt idx="6">
                  <c:v>0.25</c:v>
                </c:pt>
                <c:pt idx="7">
                  <c:v>0.24</c:v>
                </c:pt>
                <c:pt idx="8">
                  <c:v>0.28999999999999998</c:v>
                </c:pt>
                <c:pt idx="9">
                  <c:v>0.25</c:v>
                </c:pt>
                <c:pt idx="10">
                  <c:v>0.23</c:v>
                </c:pt>
                <c:pt idx="11">
                  <c:v>0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C0E-4915-9E52-43A7FCCDBA97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Insert text here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accent2"/>
              </a:solidFill>
            </a:ln>
            <a:effectLst/>
          </c:spPr>
          <c:cat>
            <c:strRef>
              <c:f>Sheet1!$B$1:$M$1</c:f>
              <c:strCache>
                <c:ptCount val="12"/>
                <c:pt idx="0">
                  <c:v>Q1 2019</c:v>
                </c:pt>
                <c:pt idx="1">
                  <c:v>Q2 2019</c:v>
                </c:pt>
                <c:pt idx="2">
                  <c:v>Q3 2019</c:v>
                </c:pt>
                <c:pt idx="3">
                  <c:v>Q4 2019</c:v>
                </c:pt>
                <c:pt idx="4">
                  <c:v>Q1 2020</c:v>
                </c:pt>
                <c:pt idx="5">
                  <c:v>Q2 2020</c:v>
                </c:pt>
                <c:pt idx="6">
                  <c:v>Q3 2020</c:v>
                </c:pt>
                <c:pt idx="7">
                  <c:v>Q4 2020</c:v>
                </c:pt>
                <c:pt idx="8">
                  <c:v>Q1 2021</c:v>
                </c:pt>
                <c:pt idx="9">
                  <c:v>Q2 2021</c:v>
                </c:pt>
                <c:pt idx="10">
                  <c:v>Q3 2021</c:v>
                </c:pt>
                <c:pt idx="11">
                  <c:v>Q4 2021</c:v>
                </c:pt>
              </c:strCache>
            </c:strRef>
          </c:cat>
          <c:val>
            <c:numRef>
              <c:f>Sheet1!$B$5:$M$5</c:f>
              <c:numCache>
                <c:formatCode>0%</c:formatCode>
                <c:ptCount val="12"/>
                <c:pt idx="0">
                  <c:v>0.25</c:v>
                </c:pt>
                <c:pt idx="1">
                  <c:v>0.28000000000000003</c:v>
                </c:pt>
                <c:pt idx="2">
                  <c:v>0.23</c:v>
                </c:pt>
                <c:pt idx="3">
                  <c:v>0.22</c:v>
                </c:pt>
                <c:pt idx="4">
                  <c:v>0.25</c:v>
                </c:pt>
                <c:pt idx="5">
                  <c:v>0.28000000000000003</c:v>
                </c:pt>
                <c:pt idx="6">
                  <c:v>0.23</c:v>
                </c:pt>
                <c:pt idx="7">
                  <c:v>0.22</c:v>
                </c:pt>
                <c:pt idx="8">
                  <c:v>0.2</c:v>
                </c:pt>
                <c:pt idx="9">
                  <c:v>0.24</c:v>
                </c:pt>
                <c:pt idx="10">
                  <c:v>0.23</c:v>
                </c:pt>
                <c:pt idx="11">
                  <c:v>0.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C0E-4915-9E52-43A7FCCDBA97}"/>
            </c:ext>
          </c:extLst>
        </c:ser>
        <c:ser>
          <c:idx val="4"/>
          <c:order val="4"/>
          <c:tx>
            <c:strRef>
              <c:f>Sheet1!$A$6</c:f>
              <c:strCache>
                <c:ptCount val="1"/>
                <c:pt idx="0">
                  <c:v>Insert text here</c:v>
                </c:pt>
              </c:strCache>
            </c:strRef>
          </c:tx>
          <c:spPr>
            <a:solidFill>
              <a:schemeClr val="accent4"/>
            </a:solidFill>
            <a:ln>
              <a:solidFill>
                <a:schemeClr val="accent4"/>
              </a:solidFill>
            </a:ln>
            <a:effectLst/>
          </c:spPr>
          <c:cat>
            <c:strRef>
              <c:f>Sheet1!$B$1:$M$1</c:f>
              <c:strCache>
                <c:ptCount val="12"/>
                <c:pt idx="0">
                  <c:v>Q1 2019</c:v>
                </c:pt>
                <c:pt idx="1">
                  <c:v>Q2 2019</c:v>
                </c:pt>
                <c:pt idx="2">
                  <c:v>Q3 2019</c:v>
                </c:pt>
                <c:pt idx="3">
                  <c:v>Q4 2019</c:v>
                </c:pt>
                <c:pt idx="4">
                  <c:v>Q1 2020</c:v>
                </c:pt>
                <c:pt idx="5">
                  <c:v>Q2 2020</c:v>
                </c:pt>
                <c:pt idx="6">
                  <c:v>Q3 2020</c:v>
                </c:pt>
                <c:pt idx="7">
                  <c:v>Q4 2020</c:v>
                </c:pt>
                <c:pt idx="8">
                  <c:v>Q1 2021</c:v>
                </c:pt>
                <c:pt idx="9">
                  <c:v>Q2 2021</c:v>
                </c:pt>
                <c:pt idx="10">
                  <c:v>Q3 2021</c:v>
                </c:pt>
                <c:pt idx="11">
                  <c:v>Q4 2021</c:v>
                </c:pt>
              </c:strCache>
            </c:strRef>
          </c:cat>
          <c:val>
            <c:numRef>
              <c:f>Sheet1!$B$6:$M$6</c:f>
              <c:numCache>
                <c:formatCode>0%</c:formatCode>
                <c:ptCount val="12"/>
                <c:pt idx="0">
                  <c:v>0.36</c:v>
                </c:pt>
                <c:pt idx="1">
                  <c:v>0.28999999999999992</c:v>
                </c:pt>
                <c:pt idx="2">
                  <c:v>0.30000000000000004</c:v>
                </c:pt>
                <c:pt idx="3">
                  <c:v>0.29000000000000004</c:v>
                </c:pt>
                <c:pt idx="4">
                  <c:v>0.17999999999999994</c:v>
                </c:pt>
                <c:pt idx="5">
                  <c:v>0.1399999999999999</c:v>
                </c:pt>
                <c:pt idx="6">
                  <c:v>0.17000000000000004</c:v>
                </c:pt>
                <c:pt idx="7">
                  <c:v>0.16000000000000003</c:v>
                </c:pt>
                <c:pt idx="8">
                  <c:v>9.000000000000008E-2</c:v>
                </c:pt>
                <c:pt idx="9">
                  <c:v>2.0000000000000018E-2</c:v>
                </c:pt>
                <c:pt idx="10">
                  <c:v>0.13</c:v>
                </c:pt>
                <c:pt idx="11">
                  <c:v>0.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C0E-4915-9E52-43A7FCCDBA9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366611312"/>
        <c:axId val="1366617392"/>
      </c:areaChart>
      <c:catAx>
        <c:axId val="136661131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accent6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Arial"/>
                <a:cs typeface="Arial"/>
              </a:defRPr>
            </a:pPr>
            <a:endParaRPr lang="en-US"/>
          </a:p>
        </c:txPr>
        <c:crossAx val="1366617392"/>
        <c:crosses val="autoZero"/>
        <c:auto val="1"/>
        <c:lblAlgn val="ctr"/>
        <c:lblOffset val="100"/>
        <c:noMultiLvlLbl val="0"/>
      </c:catAx>
      <c:valAx>
        <c:axId val="1366617392"/>
        <c:scaling>
          <c:orientation val="minMax"/>
        </c:scaling>
        <c:delete val="0"/>
        <c:axPos val="l"/>
        <c:numFmt formatCode="0%" sourceLinked="1"/>
        <c:majorTickMark val="out"/>
        <c:minorTickMark val="none"/>
        <c:tickLblPos val="nextTo"/>
        <c:spPr>
          <a:noFill/>
          <a:ln>
            <a:solidFill>
              <a:schemeClr val="accent6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Arial"/>
                <a:cs typeface="Arial"/>
              </a:defRPr>
            </a:pPr>
            <a:endParaRPr lang="en-US"/>
          </a:p>
        </c:txPr>
        <c:crossAx val="1366611312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5.776643797973087E-2"/>
          <c:y val="0.91959586211251831"/>
          <c:w val="0.89177366937015556"/>
          <c:h val="5.52256738802532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Arial"/>
              <a:cs typeface="Arial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+mn-lt"/>
          <a:ea typeface="Arial"/>
          <a:cs typeface="Arial"/>
        </a:defRPr>
      </a:pPr>
      <a:endParaRPr lang="en-US"/>
    </a:p>
  </c:txPr>
  <c:externalData r:id="rId3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0AB-4019-9F5A-EA81CCC028D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0AB-4019-9F5A-EA81CCC028DA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0AB-4019-9F5A-EA81CCC028D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37382943"/>
        <c:axId val="1"/>
      </c:barChart>
      <c:catAx>
        <c:axId val="33738294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496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3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"/>
        <c:crosses val="autoZero"/>
        <c:auto val="1"/>
        <c:lblAlgn val="ctr"/>
        <c:lblOffset val="100"/>
        <c:noMultiLvlLbl val="0"/>
      </c:catAx>
      <c:valAx>
        <c:axId val="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3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37382943"/>
        <c:crosses val="autoZero"/>
        <c:crossBetween val="between"/>
      </c:valAx>
      <c:spPr>
        <a:noFill/>
        <a:ln w="25324">
          <a:noFill/>
        </a:ln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  <a:sp3d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66A1-43EB-B614-57B1425AFACA}"/>
              </c:ext>
            </c:extLst>
          </c:dPt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21E-43B4-8733-C49606CB93E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  <a:sp3d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21E-43B4-8733-C49606CB93E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  <a:sp3d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21E-43B4-8733-C49606CB93EE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ries 4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E$2:$E$5</c:f>
              <c:numCache>
                <c:formatCode>General</c:formatCode>
                <c:ptCount val="4"/>
                <c:pt idx="0">
                  <c:v>2</c:v>
                </c:pt>
                <c:pt idx="1">
                  <c:v>3</c:v>
                </c:pt>
                <c:pt idx="2">
                  <c:v>1</c:v>
                </c:pt>
                <c:pt idx="3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21E-43B4-8733-C49606CB93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35253552"/>
        <c:axId val="1"/>
      </c:barChart>
      <c:catAx>
        <c:axId val="9352535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660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3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"/>
        <c:crosses val="autoZero"/>
        <c:auto val="1"/>
        <c:lblAlgn val="ctr"/>
        <c:lblOffset val="100"/>
        <c:noMultiLvlLbl val="0"/>
      </c:catAx>
      <c:valAx>
        <c:axId val="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ln w="6335">
            <a:noFill/>
          </a:ln>
        </c:spPr>
        <c:txPr>
          <a:bodyPr rot="-60000000" spcFirstLastPara="1" vertOverflow="ellipsis" vert="horz" wrap="square" anchor="ctr" anchorCtr="1"/>
          <a:lstStyle/>
          <a:p>
            <a:pPr>
              <a:defRPr sz="1193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35253552"/>
        <c:crosses val="autoZero"/>
        <c:crossBetween val="between"/>
      </c:valAx>
      <c:spPr>
        <a:noFill/>
        <a:ln w="25400">
          <a:noFill/>
        </a:ln>
      </c:spPr>
    </c:plotArea>
    <c:legend>
      <c:legendPos val="b"/>
      <c:layout>
        <c:manualLayout>
          <c:xMode val="edge"/>
          <c:yMode val="edge"/>
          <c:x val="0.12473420189350272"/>
          <c:y val="0.89999045166322611"/>
          <c:w val="0.35505677392361001"/>
          <c:h val="7.3368343901504193E-2"/>
        </c:manualLayout>
      </c:layout>
      <c:overlay val="0"/>
      <c:spPr>
        <a:noFill/>
        <a:ln w="25340">
          <a:noFill/>
        </a:ln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Sheet1!$B$1</c15:sqref>
                        </c15:formulaRef>
                      </c:ext>
                    </c:extLst>
                    <c:strCache>
                      <c:ptCount val="1"/>
                      <c:pt idx="0">
                        <c:v>Series 1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:$A$5</c15:sqref>
                        </c15:formulaRef>
                      </c:ext>
                    </c:extLst>
                    <c:strCache>
                      <c:ptCount val="4"/>
                      <c:pt idx="0">
                        <c:v>Category 1</c:v>
                      </c:pt>
                      <c:pt idx="1">
                        <c:v>Category 2</c:v>
                      </c:pt>
                      <c:pt idx="2">
                        <c:v>Category 3</c:v>
                      </c:pt>
                      <c:pt idx="3">
                        <c:v>Category 4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0-1BD1-4D20-9EA5-5CAC5768AEEA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Sheet1!$C$1</c15:sqref>
                        </c15:formulaRef>
                      </c:ext>
                    </c:extLst>
                    <c:strCache>
                      <c:ptCount val="1"/>
                      <c:pt idx="0">
                        <c:v>Series 2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:$A$5</c15:sqref>
                        </c15:formulaRef>
                      </c:ext>
                    </c:extLst>
                    <c:strCache>
                      <c:ptCount val="4"/>
                      <c:pt idx="0">
                        <c:v>Category 1</c:v>
                      </c:pt>
                      <c:pt idx="1">
                        <c:v>Category 2</c:v>
                      </c:pt>
                      <c:pt idx="2">
                        <c:v>Category 3</c:v>
                      </c:pt>
                      <c:pt idx="3">
                        <c:v>Category 4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1-1BD1-4D20-9EA5-5CAC5768AEEA}"/>
            </c:ext>
          </c:extLst>
        </c:ser>
        <c:ser>
          <c:idx val="2"/>
          <c:order val="2"/>
          <c:spPr>
            <a:solidFill>
              <a:schemeClr val="accent3"/>
            </a:solidFill>
            <a:ln>
              <a:noFill/>
            </a:ln>
            <a:effectLst/>
            <a:sp3d/>
          </c:spPr>
          <c:invertIfNegative val="0"/>
          <c:dPt>
            <c:idx val="0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3-1BD1-4D20-9EA5-5CAC5768AEE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Sheet1!$D$1</c15:sqref>
                        </c15:formulaRef>
                      </c:ext>
                    </c:extLst>
                    <c:strCache>
                      <c:ptCount val="1"/>
                      <c:pt idx="0">
                        <c:v>Series 3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:$A$5</c15:sqref>
                        </c15:formulaRef>
                      </c:ext>
                    </c:extLst>
                    <c:strCache>
                      <c:ptCount val="4"/>
                      <c:pt idx="0">
                        <c:v>Category 1</c:v>
                      </c:pt>
                      <c:pt idx="1">
                        <c:v>Category 2</c:v>
                      </c:pt>
                      <c:pt idx="2">
                        <c:v>Category 3</c:v>
                      </c:pt>
                      <c:pt idx="3">
                        <c:v>Category 4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2-1BD1-4D20-9EA5-5CAC5768AEE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1304799"/>
        <c:axId val="1"/>
      </c:barChart>
      <c:catAx>
        <c:axId val="4130479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680" cap="flat" cmpd="sng" algn="ctr">
            <a:solidFill>
              <a:schemeClr val="tx1"/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"/>
        <c:crosses val="autoZero"/>
        <c:auto val="1"/>
        <c:lblAlgn val="ctr"/>
        <c:lblOffset val="100"/>
        <c:noMultiLvlLbl val="0"/>
      </c:catAx>
      <c:valAx>
        <c:axId val="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6350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130479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6628123010909674"/>
          <c:y val="0.92539391498088719"/>
          <c:w val="0.25047844994502877"/>
          <c:h val="5.700464156954247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6350" cap="flat" cmpd="sng" algn="ctr">
      <a:noFill/>
      <a:prstDash val="solid"/>
      <a:miter lim="800000"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6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E0F-44A8-BAB8-96D7FDD9E74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6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E0F-44A8-BAB8-96D7FDD9E747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6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E0F-44A8-BAB8-96D7FDD9E747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ries 4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6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E$2:$E$5</c:f>
              <c:numCache>
                <c:formatCode>General</c:formatCode>
                <c:ptCount val="4"/>
                <c:pt idx="0">
                  <c:v>4</c:v>
                </c:pt>
                <c:pt idx="1">
                  <c:v>5</c:v>
                </c:pt>
                <c:pt idx="2">
                  <c:v>4</c:v>
                </c:pt>
                <c:pt idx="3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E0F-44A8-BAB8-96D7FDD9E7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092138271"/>
        <c:axId val="1"/>
      </c:barChart>
      <c:catAx>
        <c:axId val="109213827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14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6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"/>
        <c:crosses val="autoZero"/>
        <c:auto val="1"/>
        <c:lblAlgn val="ctr"/>
        <c:lblOffset val="100"/>
        <c:noMultiLvlLbl val="0"/>
      </c:catAx>
      <c:valAx>
        <c:axId val="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92138271"/>
        <c:crosses val="autoZero"/>
        <c:crossBetween val="between"/>
      </c:valAx>
      <c:spPr>
        <a:noFill/>
        <a:ln w="25370">
          <a:noFill/>
        </a:ln>
      </c:spPr>
    </c:plotArea>
    <c:legend>
      <c:legendPos val="b"/>
      <c:layout>
        <c:manualLayout>
          <c:xMode val="edge"/>
          <c:yMode val="edge"/>
          <c:x val="0.11410390745289602"/>
          <c:y val="0.92172936329978616"/>
          <c:w val="0.80297063903281518"/>
          <c:h val="6.861475648877224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25348">
                <a:solidFill>
                  <a:schemeClr val="accen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BF01-459E-9FBB-38F2E4F7A7C5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25348">
                <a:solidFill>
                  <a:schemeClr val="accent2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BF01-459E-9FBB-38F2E4F7A7C5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25348">
                <a:solidFill>
                  <a:schemeClr val="accent3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BF01-459E-9FBB-38F2E4F7A7C5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25348">
                <a:solidFill>
                  <a:schemeClr val="accent4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7-BF01-459E-9FBB-38F2E4F7A7C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796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0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6</c:v>
                </c:pt>
                <c:pt idx="1">
                  <c:v>0.3</c:v>
                </c:pt>
                <c:pt idx="2">
                  <c:v>0.2</c:v>
                </c:pt>
                <c:pt idx="3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BF01-459E-9FBB-38F2E4F7A7C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accent2"/>
            </a:solidFill>
          </c:spPr>
          <c:dPt>
            <c:idx val="0"/>
            <c:bubble3D val="0"/>
            <c:spPr>
              <a:solidFill>
                <a:schemeClr val="accent3"/>
              </a:solidFill>
              <a:ln w="19050"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C729-4D61-83FF-3E495448E3ED}"/>
              </c:ext>
            </c:extLst>
          </c:dPt>
          <c:dPt>
            <c:idx val="1"/>
            <c:bubble3D val="0"/>
            <c:spPr>
              <a:solidFill>
                <a:schemeClr val="accent4"/>
              </a:solidFill>
              <a:ln w="19050">
                <a:solidFill>
                  <a:schemeClr val="accent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C729-4D61-83FF-3E495448E3ED}"/>
              </c:ext>
            </c:extLst>
          </c:dPt>
          <c:dPt>
            <c:idx val="2"/>
            <c:bubble3D val="0"/>
            <c:spPr>
              <a:solidFill>
                <a:schemeClr val="accent2"/>
              </a:solidFill>
              <a:ln w="19050">
                <a:solidFill>
                  <a:schemeClr val="accent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C729-4D61-83FF-3E495448E3E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/>
                    </a:solidFill>
                    <a:latin typeface="+mn-lt"/>
                    <a:ea typeface="Neue Haas Unica"/>
                    <a:cs typeface="Neue Haas Unica"/>
                  </a:defRPr>
                </a:pPr>
                <a:endParaRPr lang="en-US"/>
              </a:p>
            </c:txPr>
            <c:dLblPos val="outEnd"/>
            <c:showLegendKey val="0"/>
            <c:showVal val="0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48</c:v>
                </c:pt>
                <c:pt idx="1">
                  <c:v>20</c:v>
                </c:pt>
                <c:pt idx="2">
                  <c:v>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C729-4D61-83FF-3E495448E3E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2000">
          <a:solidFill>
            <a:schemeClr val="tx1"/>
          </a:solidFill>
          <a:latin typeface="+mn-lt"/>
          <a:ea typeface="Neue Haas Unica"/>
          <a:cs typeface="Neue Haas Unica"/>
        </a:defRPr>
      </a:pPr>
      <a:endParaRPr lang="en-US"/>
    </a:p>
  </c:txPr>
  <c:externalData r:id="rId3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3.2962332100332906E-2"/>
          <c:w val="1"/>
          <c:h val="0.93407533579933422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ext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accent3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6A90-4847-9B9A-93502F0480D4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6A90-4847-9B9A-93502F0480D4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6A90-4847-9B9A-93502F0480D4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6A90-4847-9B9A-93502F0480D4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6A90-4847-9B9A-93502F0480D4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6A90-4847-9B9A-93502F0480D4}"/>
              </c:ext>
            </c:extLst>
          </c:dPt>
          <c:cat>
            <c:strRef>
              <c:f>Sheet1!$A$2:$A$7</c:f>
              <c:strCache>
                <c:ptCount val="6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  <c:pt idx="3">
                  <c:v>Text</c:v>
                </c:pt>
                <c:pt idx="4">
                  <c:v>Text</c:v>
                </c:pt>
                <c:pt idx="5">
                  <c:v>Text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-20</c:v>
                </c:pt>
                <c:pt idx="1">
                  <c:v>-15</c:v>
                </c:pt>
                <c:pt idx="2">
                  <c:v>-12</c:v>
                </c:pt>
                <c:pt idx="3">
                  <c:v>-10</c:v>
                </c:pt>
                <c:pt idx="4">
                  <c:v>-6</c:v>
                </c:pt>
                <c:pt idx="5">
                  <c:v>-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6A90-4847-9B9A-93502F0480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586957424"/>
        <c:axId val="586954800"/>
      </c:barChart>
      <c:catAx>
        <c:axId val="58695742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high"/>
        <c:crossAx val="586954800"/>
        <c:crosses val="autoZero"/>
        <c:auto val="1"/>
        <c:lblAlgn val="ctr"/>
        <c:lblOffset val="200"/>
        <c:noMultiLvlLbl val="0"/>
      </c:catAx>
      <c:valAx>
        <c:axId val="586954800"/>
        <c:scaling>
          <c:orientation val="minMax"/>
          <c:max val="0"/>
        </c:scaling>
        <c:delete val="1"/>
        <c:axPos val="b"/>
        <c:numFmt formatCode="General" sourceLinked="1"/>
        <c:majorTickMark val="none"/>
        <c:minorTickMark val="none"/>
        <c:tickLblPos val="low"/>
        <c:crossAx val="5869574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latin typeface="Neue Haas Unica"/>
          <a:ea typeface="Neue Haas Unica"/>
          <a:cs typeface="Neue Haas Unica"/>
        </a:defRPr>
      </a:pPr>
      <a:endParaRPr lang="en-US"/>
    </a:p>
  </c:txPr>
  <c:externalData r:id="rId3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1814138479925315E-2"/>
          <c:y val="3.2962332100332906E-2"/>
          <c:w val="0.9781858615200747"/>
          <c:h val="0.93407533579933422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ext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accent3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49B-49AB-841F-C54BF62CEE43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49B-49AB-841F-C54BF62CEE43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349B-49AB-841F-C54BF62CEE43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349B-49AB-841F-C54BF62CEE43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349B-49AB-841F-C54BF62CEE43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349B-49AB-841F-C54BF62CEE43}"/>
              </c:ext>
            </c:extLst>
          </c:dPt>
          <c:cat>
            <c:strRef>
              <c:f>Sheet1!$A$2:$A$7</c:f>
              <c:strCache>
                <c:ptCount val="6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  <c:pt idx="3">
                  <c:v>Text</c:v>
                </c:pt>
                <c:pt idx="4">
                  <c:v>Text</c:v>
                </c:pt>
                <c:pt idx="5">
                  <c:v>Text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20</c:v>
                </c:pt>
                <c:pt idx="1">
                  <c:v>15</c:v>
                </c:pt>
                <c:pt idx="2">
                  <c:v>12</c:v>
                </c:pt>
                <c:pt idx="3">
                  <c:v>10</c:v>
                </c:pt>
                <c:pt idx="4">
                  <c:v>6</c:v>
                </c:pt>
                <c:pt idx="5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349B-49AB-841F-C54BF62CEE4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586957424"/>
        <c:axId val="586954800"/>
      </c:barChart>
      <c:catAx>
        <c:axId val="58695742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one"/>
        <c:spPr>
          <a:noFill/>
          <a:ln w="9525" cap="flat" cmpd="sng" algn="ctr">
            <a:solidFill>
              <a:schemeClr val="accent6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Neue Haas Unica"/>
                <a:ea typeface="Neue Haas Unica"/>
                <a:cs typeface="Neue Haas Unica"/>
              </a:defRPr>
            </a:pPr>
            <a:endParaRPr lang="en-US"/>
          </a:p>
        </c:txPr>
        <c:crossAx val="586954800"/>
        <c:crosses val="autoZero"/>
        <c:auto val="1"/>
        <c:lblAlgn val="ctr"/>
        <c:lblOffset val="100"/>
        <c:noMultiLvlLbl val="0"/>
      </c:catAx>
      <c:valAx>
        <c:axId val="586954800"/>
        <c:scaling>
          <c:orientation val="minMax"/>
          <c:max val="20"/>
        </c:scaling>
        <c:delete val="0"/>
        <c:axPos val="b"/>
        <c:numFmt formatCode="General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Neue Haas Unica"/>
                <a:ea typeface="Neue Haas Unica"/>
                <a:cs typeface="Neue Haas Unica"/>
              </a:defRPr>
            </a:pPr>
            <a:endParaRPr lang="en-US"/>
          </a:p>
        </c:txPr>
        <c:crossAx val="5869574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latin typeface="Neue Haas Unica"/>
          <a:ea typeface="Neue Haas Unica"/>
          <a:cs typeface="Neue Haas Unica"/>
        </a:defRPr>
      </a:pPr>
      <a:endParaRPr lang="en-US"/>
    </a:p>
  </c:txPr>
  <c:externalData r:id="rId3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2.5968596173074704E-2"/>
          <c:w val="1"/>
          <c:h val="0.97056561530804319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0A7-49E5-A6F4-56DB23F52B2A}"/>
              </c:ext>
            </c:extLst>
          </c:dPt>
          <c:dPt>
            <c:idx val="1"/>
            <c:bubble3D val="0"/>
            <c:explosion val="1"/>
            <c:spPr>
              <a:solidFill>
                <a:schemeClr val="accent2"/>
              </a:solidFill>
              <a:ln w="19050">
                <a:solidFill>
                  <a:schemeClr val="accent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0A7-49E5-A6F4-56DB23F52B2A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30A7-49E5-A6F4-56DB23F52B2A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30A7-49E5-A6F4-56DB23F52B2A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30A7-49E5-A6F4-56DB23F52B2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bg1"/>
                    </a:solidFill>
                    <a:latin typeface="+mn-lt"/>
                    <a:ea typeface="Arial"/>
                    <a:cs typeface="Arial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33300000000000002</c:v>
                </c:pt>
                <c:pt idx="1">
                  <c:v>0.33300000000000002</c:v>
                </c:pt>
                <c:pt idx="2">
                  <c:v>0.333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30A7-49E5-A6F4-56DB23F52B2A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64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baseline="0">
          <a:latin typeface="Arial"/>
          <a:ea typeface="Arial"/>
          <a:cs typeface="Arial"/>
        </a:defRPr>
      </a:pPr>
      <a:endParaRPr lang="en-US"/>
    </a:p>
  </c:txPr>
  <c:externalData r:id="rId3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9B1-459F-B2E8-2C93EF387CA0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9B1-459F-B2E8-2C93EF387CA0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99B1-459F-B2E8-2C93EF387CA0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99B1-459F-B2E8-2C93EF387CA0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99B1-459F-B2E8-2C93EF387CA0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99B1-459F-B2E8-2C93EF387CA0}"/>
              </c:ext>
            </c:extLst>
          </c:dPt>
          <c:cat>
            <c:strRef>
              <c:f>Sheet1!$A$2:$A$7</c:f>
              <c:strCache>
                <c:ptCount val="6"/>
                <c:pt idx="0">
                  <c:v>Year 1</c:v>
                </c:pt>
                <c:pt idx="1">
                  <c:v>Year 2</c:v>
                </c:pt>
                <c:pt idx="2">
                  <c:v>Year 3</c:v>
                </c:pt>
                <c:pt idx="3">
                  <c:v>Year 4</c:v>
                </c:pt>
                <c:pt idx="4">
                  <c:v>Year 5</c:v>
                </c:pt>
                <c:pt idx="5">
                  <c:v>Year 6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50</c:v>
                </c:pt>
                <c:pt idx="1">
                  <c:v>60</c:v>
                </c:pt>
                <c:pt idx="2">
                  <c:v>45</c:v>
                </c:pt>
                <c:pt idx="3">
                  <c:v>55</c:v>
                </c:pt>
                <c:pt idx="4">
                  <c:v>70</c:v>
                </c:pt>
                <c:pt idx="5">
                  <c:v>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99B1-459F-B2E8-2C93EF387C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4"/>
        <c:overlap val="-39"/>
        <c:axId val="81654815"/>
        <c:axId val="461216463"/>
      </c:barChart>
      <c:catAx>
        <c:axId val="81654815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61216463"/>
        <c:crosses val="autoZero"/>
        <c:auto val="1"/>
        <c:lblAlgn val="ctr"/>
        <c:lblOffset val="100"/>
        <c:noMultiLvlLbl val="0"/>
      </c:catAx>
      <c:valAx>
        <c:axId val="461216463"/>
        <c:scaling>
          <c:orientation val="minMax"/>
          <c:max val="8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81654815"/>
        <c:crosses val="autoZero"/>
        <c:crossBetween val="between"/>
        <c:majorUnit val="20"/>
      </c:valAx>
      <c:spPr>
        <a:noFill/>
        <a:ln>
          <a:noFill/>
        </a:ln>
        <a:effectLst/>
      </c:spPr>
    </c:plotArea>
    <c:plotVisOnly val="1"/>
    <c:dispBlanksAs val="gap"/>
    <c:showDLblsOverMax val="0"/>
    <c:extLst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C417-4DBD-BC2E-CC429AE05F9D}"/>
              </c:ext>
            </c:extLst>
          </c:dPt>
          <c:dPt>
            <c:idx val="1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417-4DBD-BC2E-CC429AE05F9D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35</c:v>
                </c:pt>
                <c:pt idx="1">
                  <c:v>0.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417-4DBD-BC2E-CC429AE05F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 w="25344">
          <a:noFill/>
        </a:ln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Pt>
            <c:idx val="0"/>
            <c:marker>
              <c:symbol val="circle"/>
              <c:size val="10"/>
              <c:spPr>
                <a:solidFill>
                  <a:schemeClr val="accent1"/>
                </a:solidFill>
                <a:ln w="9525">
                  <a:solidFill>
                    <a:schemeClr val="accent1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accent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E0E3-443B-80CE-D9BBCE85A8DB}"/>
              </c:ext>
            </c:extLst>
          </c:dPt>
          <c:dPt>
            <c:idx val="1"/>
            <c:marker>
              <c:symbol val="circle"/>
              <c:size val="10"/>
              <c:spPr>
                <a:solidFill>
                  <a:schemeClr val="accent1"/>
                </a:solidFill>
                <a:ln w="9525">
                  <a:solidFill>
                    <a:schemeClr val="accent1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accent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E0E3-443B-80CE-D9BBCE85A8DB}"/>
              </c:ext>
            </c:extLst>
          </c:dPt>
          <c:dPt>
            <c:idx val="2"/>
            <c:marker>
              <c:symbol val="circle"/>
              <c:size val="10"/>
              <c:spPr>
                <a:solidFill>
                  <a:schemeClr val="accent1"/>
                </a:solidFill>
                <a:ln w="9525">
                  <a:solidFill>
                    <a:schemeClr val="accent1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accent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5-E0E3-443B-80CE-D9BBCE85A8DB}"/>
              </c:ext>
            </c:extLst>
          </c:dPt>
          <c:dPt>
            <c:idx val="3"/>
            <c:marker>
              <c:symbol val="circle"/>
              <c:size val="10"/>
              <c:spPr>
                <a:solidFill>
                  <a:schemeClr val="accent1"/>
                </a:solidFill>
                <a:ln w="9525">
                  <a:solidFill>
                    <a:schemeClr val="accent1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accent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7-E0E3-443B-80CE-D9BBCE85A8DB}"/>
              </c:ext>
            </c:extLst>
          </c:dPt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0</c:v>
                </c:pt>
                <c:pt idx="1">
                  <c:v>2</c:v>
                </c:pt>
                <c:pt idx="2">
                  <c:v>1</c:v>
                </c:pt>
                <c:pt idx="3">
                  <c:v>4.5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8-E0E3-443B-80CE-D9BBCE85A8D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dPt>
            <c:idx val="0"/>
            <c:marker>
              <c:symbol val="circle"/>
              <c:size val="10"/>
              <c:spPr>
                <a:solidFill>
                  <a:schemeClr val="accent2"/>
                </a:solidFill>
                <a:ln w="9525">
                  <a:solidFill>
                    <a:schemeClr val="accent2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accent2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A-E0E3-443B-80CE-D9BBCE85A8DB}"/>
              </c:ext>
            </c:extLst>
          </c:dPt>
          <c:dPt>
            <c:idx val="1"/>
            <c:marker>
              <c:symbol val="circle"/>
              <c:size val="10"/>
              <c:spPr>
                <a:solidFill>
                  <a:schemeClr val="accent2"/>
                </a:solidFill>
                <a:ln w="9525">
                  <a:solidFill>
                    <a:schemeClr val="accent2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accent2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C-E0E3-443B-80CE-D9BBCE85A8DB}"/>
              </c:ext>
            </c:extLst>
          </c:dPt>
          <c:dPt>
            <c:idx val="2"/>
            <c:marker>
              <c:symbol val="circle"/>
              <c:size val="10"/>
              <c:spPr>
                <a:solidFill>
                  <a:schemeClr val="accent2"/>
                </a:solidFill>
                <a:ln w="9525">
                  <a:solidFill>
                    <a:schemeClr val="accent2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accent2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E-E0E3-443B-80CE-D9BBCE85A8DB}"/>
              </c:ext>
            </c:extLst>
          </c:dPt>
          <c:dPt>
            <c:idx val="3"/>
            <c:marker>
              <c:symbol val="circle"/>
              <c:size val="10"/>
              <c:spPr>
                <a:solidFill>
                  <a:schemeClr val="accent2"/>
                </a:solidFill>
                <a:ln w="9525">
                  <a:solidFill>
                    <a:schemeClr val="accent2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accent2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10-E0E3-443B-80CE-D9BBCE85A8DB}"/>
              </c:ext>
            </c:extLst>
          </c:dPt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0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11-E0E3-443B-80CE-D9BBCE85A8D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dPt>
            <c:idx val="0"/>
            <c:marker>
              <c:symbol val="circle"/>
              <c:size val="10"/>
              <c:spPr>
                <a:solidFill>
                  <a:schemeClr val="accent3"/>
                </a:solidFill>
                <a:ln w="9525">
                  <a:solidFill>
                    <a:schemeClr val="accent3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accent3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13-E0E3-443B-80CE-D9BBCE85A8DB}"/>
              </c:ext>
            </c:extLst>
          </c:dPt>
          <c:dPt>
            <c:idx val="1"/>
            <c:marker>
              <c:symbol val="circle"/>
              <c:size val="10"/>
              <c:spPr>
                <a:solidFill>
                  <a:schemeClr val="accent3"/>
                </a:solidFill>
                <a:ln w="9525">
                  <a:solidFill>
                    <a:schemeClr val="accent3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accent3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15-E0E3-443B-80CE-D9BBCE85A8DB}"/>
              </c:ext>
            </c:extLst>
          </c:dPt>
          <c:dPt>
            <c:idx val="2"/>
            <c:marker>
              <c:symbol val="circle"/>
              <c:size val="10"/>
              <c:spPr>
                <a:solidFill>
                  <a:schemeClr val="accent3"/>
                </a:solidFill>
                <a:ln w="9525">
                  <a:solidFill>
                    <a:schemeClr val="accent3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accent3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17-E0E3-443B-80CE-D9BBCE85A8DB}"/>
              </c:ext>
            </c:extLst>
          </c:dPt>
          <c:dPt>
            <c:idx val="3"/>
            <c:marker>
              <c:symbol val="circle"/>
              <c:size val="10"/>
              <c:spPr>
                <a:solidFill>
                  <a:schemeClr val="accent3"/>
                </a:solidFill>
                <a:ln w="9525">
                  <a:solidFill>
                    <a:schemeClr val="accent3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accent3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19-E0E3-443B-80CE-D9BBCE85A8DB}"/>
              </c:ext>
            </c:extLst>
          </c:dPt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0</c:v>
                </c:pt>
                <c:pt idx="1">
                  <c:v>3</c:v>
                </c:pt>
                <c:pt idx="2">
                  <c:v>2</c:v>
                </c:pt>
                <c:pt idx="3">
                  <c:v>5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1A-E0E3-443B-80CE-D9BBCE85A8DB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ries 4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E$2:$E$5</c:f>
              <c:numCache>
                <c:formatCode>General</c:formatCode>
                <c:ptCount val="4"/>
                <c:pt idx="0">
                  <c:v>0</c:v>
                </c:pt>
                <c:pt idx="1">
                  <c:v>6.1</c:v>
                </c:pt>
                <c:pt idx="2">
                  <c:v>4</c:v>
                </c:pt>
                <c:pt idx="3">
                  <c:v>7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1B-E0E3-443B-80CE-D9BBCE85A8DB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Series 5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chemeClr val="accent5"/>
              </a:solidFill>
              <a:ln w="9525">
                <a:solidFill>
                  <a:schemeClr val="accent5"/>
                </a:solidFill>
              </a:ln>
              <a:effectLst/>
            </c:spPr>
          </c:marker>
          <c:dPt>
            <c:idx val="0"/>
            <c:marker>
              <c:symbol val="circle"/>
              <c:size val="10"/>
              <c:spPr>
                <a:solidFill>
                  <a:schemeClr val="accent5"/>
                </a:solidFill>
                <a:ln w="9525">
                  <a:solidFill>
                    <a:schemeClr val="accent5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accent5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1D-E0E3-443B-80CE-D9BBCE85A8DB}"/>
              </c:ext>
            </c:extLst>
          </c:dPt>
          <c:dPt>
            <c:idx val="1"/>
            <c:marker>
              <c:symbol val="circle"/>
              <c:size val="10"/>
              <c:spPr>
                <a:solidFill>
                  <a:schemeClr val="accent5"/>
                </a:solidFill>
                <a:ln w="9525">
                  <a:solidFill>
                    <a:schemeClr val="accent5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accent5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1F-E0E3-443B-80CE-D9BBCE85A8DB}"/>
              </c:ext>
            </c:extLst>
          </c:dPt>
          <c:dPt>
            <c:idx val="2"/>
            <c:marker>
              <c:symbol val="circle"/>
              <c:size val="10"/>
              <c:spPr>
                <a:solidFill>
                  <a:schemeClr val="accent5"/>
                </a:solidFill>
                <a:ln w="9525">
                  <a:solidFill>
                    <a:schemeClr val="accent5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accent5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21-E0E3-443B-80CE-D9BBCE85A8DB}"/>
              </c:ext>
            </c:extLst>
          </c:dPt>
          <c:dPt>
            <c:idx val="3"/>
            <c:marker>
              <c:symbol val="circle"/>
              <c:size val="10"/>
              <c:spPr>
                <a:solidFill>
                  <a:schemeClr val="accent5"/>
                </a:solidFill>
                <a:ln w="9525">
                  <a:solidFill>
                    <a:schemeClr val="accent5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accent5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23-E0E3-443B-80CE-D9BBCE85A8DB}"/>
              </c:ext>
            </c:extLst>
          </c:dPt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F$2:$F$5</c:f>
              <c:numCache>
                <c:formatCode>General</c:formatCode>
                <c:ptCount val="4"/>
                <c:pt idx="0">
                  <c:v>0</c:v>
                </c:pt>
                <c:pt idx="1">
                  <c:v>7</c:v>
                </c:pt>
                <c:pt idx="2">
                  <c:v>5</c:v>
                </c:pt>
                <c:pt idx="3">
                  <c:v>9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24-E0E3-443B-80CE-D9BBCE85A8DB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Series 6</c:v>
                </c:pt>
              </c:strCache>
            </c:strRef>
          </c:tx>
          <c:spPr>
            <a:ln w="28575" cap="rnd">
              <a:solidFill>
                <a:schemeClr val="bg2"/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chemeClr val="bg2"/>
              </a:solidFill>
              <a:ln w="9525">
                <a:solidFill>
                  <a:schemeClr val="bg2"/>
                </a:solidFill>
              </a:ln>
              <a:effectLst/>
            </c:spPr>
          </c:marker>
          <c:dPt>
            <c:idx val="0"/>
            <c:marker>
              <c:symbol val="circle"/>
              <c:size val="10"/>
              <c:spPr>
                <a:solidFill>
                  <a:schemeClr val="bg2"/>
                </a:solidFill>
                <a:ln w="9525">
                  <a:solidFill>
                    <a:schemeClr val="bg2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bg2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26-E0E3-443B-80CE-D9BBCE85A8DB}"/>
              </c:ext>
            </c:extLst>
          </c:dPt>
          <c:dPt>
            <c:idx val="1"/>
            <c:marker>
              <c:symbol val="circle"/>
              <c:size val="10"/>
              <c:spPr>
                <a:solidFill>
                  <a:schemeClr val="bg2"/>
                </a:solidFill>
                <a:ln w="9525">
                  <a:solidFill>
                    <a:schemeClr val="bg2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bg2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28-E0E3-443B-80CE-D9BBCE85A8DB}"/>
              </c:ext>
            </c:extLst>
          </c:dPt>
          <c:dPt>
            <c:idx val="2"/>
            <c:marker>
              <c:symbol val="circle"/>
              <c:size val="10"/>
              <c:spPr>
                <a:solidFill>
                  <a:schemeClr val="bg2"/>
                </a:solidFill>
                <a:ln w="9525">
                  <a:solidFill>
                    <a:schemeClr val="bg2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bg2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2A-E0E3-443B-80CE-D9BBCE85A8DB}"/>
              </c:ext>
            </c:extLst>
          </c:dPt>
          <c:dPt>
            <c:idx val="3"/>
            <c:marker>
              <c:symbol val="circle"/>
              <c:size val="10"/>
              <c:spPr>
                <a:solidFill>
                  <a:schemeClr val="bg2"/>
                </a:solidFill>
                <a:ln w="9525">
                  <a:solidFill>
                    <a:schemeClr val="bg2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bg2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2C-E0E3-443B-80CE-D9BBCE85A8DB}"/>
              </c:ext>
            </c:extLst>
          </c:dPt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G$2:$G$5</c:f>
              <c:numCache>
                <c:formatCode>General</c:formatCode>
                <c:ptCount val="4"/>
                <c:pt idx="0">
                  <c:v>0</c:v>
                </c:pt>
                <c:pt idx="1">
                  <c:v>5</c:v>
                </c:pt>
                <c:pt idx="2">
                  <c:v>6</c:v>
                </c:pt>
                <c:pt idx="3">
                  <c:v>8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2D-E0E3-443B-80CE-D9BBCE85A8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2449919"/>
        <c:axId val="1999047327"/>
      </c:lineChart>
      <c:catAx>
        <c:axId val="2244991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Arial"/>
                <a:cs typeface="Arial"/>
              </a:defRPr>
            </a:pPr>
            <a:endParaRPr lang="en-US"/>
          </a:p>
        </c:txPr>
        <c:crossAx val="1999047327"/>
        <c:crosses val="autoZero"/>
        <c:auto val="1"/>
        <c:lblAlgn val="ctr"/>
        <c:lblOffset val="100"/>
        <c:noMultiLvlLbl val="0"/>
      </c:catAx>
      <c:valAx>
        <c:axId val="1999047327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Arial"/>
                <a:cs typeface="Arial"/>
              </a:defRPr>
            </a:pPr>
            <a:endParaRPr lang="en-US"/>
          </a:p>
        </c:txPr>
        <c:crossAx val="22449919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  <c:extLst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3">
    <c:autoUpdate val="0"/>
  </c:externalData>
</c:chartSpace>
</file>

<file path=ppt/charts/chart4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320" b="1" i="0" u="none" strike="noStrike" kern="1200" spc="0" baseline="0">
                <a:solidFill>
                  <a:schemeClr val="tx1"/>
                </a:solidFill>
                <a:latin typeface="+mn-lt"/>
                <a:ea typeface="Arial"/>
                <a:cs typeface="Arial"/>
              </a:defRPr>
            </a:pPr>
            <a:r>
              <a:rPr lang="en-IN" b="1">
                <a:solidFill>
                  <a:schemeClr val="tx1"/>
                </a:solidFill>
                <a:latin typeface="+mn-lt"/>
              </a:rPr>
              <a:t>Title</a:t>
            </a:r>
          </a:p>
        </c:rich>
      </c:tx>
      <c:layout>
        <c:manualLayout>
          <c:xMode val="edge"/>
          <c:yMode val="edge"/>
          <c:x val="0.45498223551633615"/>
          <c:y val="2.396185725148063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320" b="1" i="0" u="none" strike="noStrike" kern="1200" spc="0" baseline="0">
              <a:solidFill>
                <a:schemeClr val="tx1"/>
              </a:solidFill>
              <a:latin typeface="+mn-lt"/>
              <a:ea typeface="Arial"/>
              <a:cs typeface="Arial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4.8251545891767368E-2"/>
          <c:y val="0.14237777094351228"/>
          <c:w val="0.92916428888978697"/>
          <c:h val="0.560833872632351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Insert Text Here</c:v>
                </c:pt>
                <c:pt idx="1">
                  <c:v>Insert Text Here</c:v>
                </c:pt>
                <c:pt idx="2">
                  <c:v>Insert Text Here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AEF-4D30-AEEA-45825892609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accent2"/>
              </a:solidFill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Insert Text Here</c:v>
                </c:pt>
                <c:pt idx="1">
                  <c:v>Insert Text Here</c:v>
                </c:pt>
                <c:pt idx="2">
                  <c:v>Insert Text Here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AEF-4D30-AEEA-4582589260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64246255"/>
        <c:axId val="12568959"/>
      </c:barChart>
      <c:catAx>
        <c:axId val="46424625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6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Arial"/>
                <a:cs typeface="Arial"/>
              </a:defRPr>
            </a:pPr>
            <a:endParaRPr lang="en-US"/>
          </a:p>
        </c:txPr>
        <c:crossAx val="12568959"/>
        <c:crosses val="autoZero"/>
        <c:auto val="1"/>
        <c:lblAlgn val="ctr"/>
        <c:lblOffset val="100"/>
        <c:noMultiLvlLbl val="0"/>
      </c:catAx>
      <c:valAx>
        <c:axId val="12568959"/>
        <c:scaling>
          <c:orientation val="minMax"/>
          <c:max val="5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Arial"/>
                <a:cs typeface="Arial"/>
              </a:defRPr>
            </a:pPr>
            <a:endParaRPr lang="en-US"/>
          </a:p>
        </c:txPr>
        <c:crossAx val="464246255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548373002640692"/>
          <c:y val="0.88895071990491603"/>
          <c:w val="0.50675002958412163"/>
          <c:h val="0.1088288123409225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Arial"/>
              <a:cs typeface="Arial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1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4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sert text here</c:v>
                </c:pt>
              </c:strCache>
            </c:strRef>
          </c:tx>
          <c:spPr>
            <a:solidFill>
              <a:schemeClr val="accent4"/>
            </a:solidFill>
            <a:ln>
              <a:solidFill>
                <a:schemeClr val="accent4"/>
              </a:solidFill>
            </a:ln>
            <a:effectLst/>
          </c:spPr>
          <c:invertIfNegative val="0"/>
          <c:cat>
            <c:numRef>
              <c:f>Sheet1!$A$2:$A$4</c:f>
              <c:numCache>
                <c:formatCode>General</c:formatCode>
                <c:ptCount val="3"/>
                <c:pt idx="0">
                  <c:v>1</c:v>
                </c:pt>
                <c:pt idx="1">
                  <c:v>2</c:v>
                </c:pt>
                <c:pt idx="2">
                  <c:v>3</c:v>
                </c:pt>
              </c:numCache>
            </c:numRef>
          </c:cat>
          <c:val>
            <c:numRef>
              <c:f>Sheet1!$B$2:$B$4</c:f>
              <c:numCache>
                <c:formatCode>General</c:formatCode>
                <c:ptCount val="3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8FF-4242-8783-CC61BAC491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520784616"/>
        <c:axId val="520784288"/>
      </c:barChart>
      <c:catAx>
        <c:axId val="5207846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20784288"/>
        <c:crosses val="autoZero"/>
        <c:auto val="1"/>
        <c:lblAlgn val="ctr"/>
        <c:lblOffset val="100"/>
        <c:noMultiLvlLbl val="0"/>
      </c:catAx>
      <c:valAx>
        <c:axId val="52078428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2078461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25299">
                <a:noFill/>
              </a:ln>
            </c:spPr>
            <c:extLst>
              <c:ext xmlns:c16="http://schemas.microsoft.com/office/drawing/2014/chart" uri="{C3380CC4-5D6E-409C-BE32-E72D297353CC}">
                <c16:uniqueId val="{00000000-1097-4BBC-B654-6CC18FC5492D}"/>
              </c:ext>
            </c:extLst>
          </c:dPt>
          <c:dPt>
            <c:idx val="1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1097-4BBC-B654-6CC18FC5492D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5</c:v>
                </c:pt>
                <c:pt idx="1">
                  <c:v>0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097-4BBC-B654-6CC18FC5492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 w="25299">
          <a:noFill/>
        </a:ln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areaChart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  <a:sp3d/>
          </c:spPr>
          <c:cat>
            <c:numRef>
              <c:f>Sheet1!$A$2:$A$6</c:f>
              <c:numCache>
                <c:formatCode>m/d/yyyy</c:formatCode>
                <c:ptCount val="5"/>
                <c:pt idx="0">
                  <c:v>37377</c:v>
                </c:pt>
                <c:pt idx="1">
                  <c:v>37408</c:v>
                </c:pt>
                <c:pt idx="2">
                  <c:v>37438</c:v>
                </c:pt>
                <c:pt idx="3">
                  <c:v>37469</c:v>
                </c:pt>
                <c:pt idx="4">
                  <c:v>37500</c:v>
                </c:pt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32</c:v>
                </c:pt>
                <c:pt idx="1">
                  <c:v>32</c:v>
                </c:pt>
                <c:pt idx="2">
                  <c:v>28</c:v>
                </c:pt>
                <c:pt idx="3">
                  <c:v>12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568-48F3-8783-5F673FA3E3A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  <a:sp3d/>
          </c:spPr>
          <c:cat>
            <c:numRef>
              <c:f>Sheet1!$A$2:$A$6</c:f>
              <c:numCache>
                <c:formatCode>m/d/yyyy</c:formatCode>
                <c:ptCount val="5"/>
                <c:pt idx="0">
                  <c:v>37377</c:v>
                </c:pt>
                <c:pt idx="1">
                  <c:v>37408</c:v>
                </c:pt>
                <c:pt idx="2">
                  <c:v>37438</c:v>
                </c:pt>
                <c:pt idx="3">
                  <c:v>37469</c:v>
                </c:pt>
                <c:pt idx="4">
                  <c:v>37500</c:v>
                </c:pt>
              </c:numCache>
            </c:numRef>
          </c:cat>
          <c:val>
            <c:numRef>
              <c:f>Sheet1!$C$2:$C$6</c:f>
              <c:numCache>
                <c:formatCode>General</c:formatCode>
                <c:ptCount val="5"/>
                <c:pt idx="0">
                  <c:v>12</c:v>
                </c:pt>
                <c:pt idx="1">
                  <c:v>12</c:v>
                </c:pt>
                <c:pt idx="2">
                  <c:v>12</c:v>
                </c:pt>
                <c:pt idx="3">
                  <c:v>21</c:v>
                </c:pt>
                <c:pt idx="4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568-48F3-8783-5F673FA3E3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005038480"/>
        <c:axId val="1"/>
      </c:areaChart>
      <c:dateAx>
        <c:axId val="2005038480"/>
        <c:scaling>
          <c:orientation val="minMax"/>
        </c:scaling>
        <c:delete val="0"/>
        <c:axPos val="b"/>
        <c:numFmt formatCode="m/d/yyyy" sourceLinked="0"/>
        <c:majorTickMark val="out"/>
        <c:minorTickMark val="none"/>
        <c:tickLblPos val="nextTo"/>
        <c:spPr>
          <a:noFill/>
          <a:ln w="9510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5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"/>
        <c:crosses val="autoZero"/>
        <c:auto val="1"/>
        <c:lblOffset val="100"/>
        <c:baseTimeUnit val="months"/>
      </c:dateAx>
      <c:valAx>
        <c:axId val="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5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05038480"/>
        <c:crosses val="autoZero"/>
        <c:crossBetween val="midCat"/>
      </c:valAx>
      <c:spPr>
        <a:noFill/>
        <a:ln>
          <a:noFill/>
        </a:ln>
        <a:effectLst/>
        <a:sp3d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2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302-405D-B894-0433916C447F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2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E302-405D-B894-0433916C447F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2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E302-405D-B894-0433916C447F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2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E302-405D-B894-0433916C447F}"/>
              </c:ext>
            </c:extLst>
          </c:dPt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15</c:v>
                </c:pt>
                <c:pt idx="1">
                  <c:v>0.2</c:v>
                </c:pt>
                <c:pt idx="2">
                  <c:v>0.3</c:v>
                </c:pt>
                <c:pt idx="3">
                  <c:v>0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E302-405D-B894-0433916C447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 w="25359">
          <a:noFill/>
        </a:ln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5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1B0-4A72-8419-B5D68B671700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1B0-4A72-8419-B5D68B671700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41B0-4A72-8419-B5D68B671700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41B0-4A72-8419-B5D68B671700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41B0-4A72-8419-B5D68B671700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41B0-4A72-8419-B5D68B671700}"/>
              </c:ext>
            </c:extLst>
          </c:dPt>
          <c:dLbls>
            <c:delete val="1"/>
          </c:dLbls>
          <c:cat>
            <c:strRef>
              <c:f>Sheet1!$A$2:$A$7</c:f>
              <c:strCache>
                <c:ptCount val="6"/>
                <c:pt idx="0">
                  <c:v>Logo</c:v>
                </c:pt>
                <c:pt idx="1">
                  <c:v>Logo</c:v>
                </c:pt>
                <c:pt idx="2">
                  <c:v>Logo</c:v>
                </c:pt>
                <c:pt idx="3">
                  <c:v>Logo</c:v>
                </c:pt>
                <c:pt idx="4">
                  <c:v>Logo</c:v>
                </c:pt>
                <c:pt idx="5">
                  <c:v>Logo</c:v>
                </c:pt>
              </c:strCache>
            </c:strRef>
          </c:cat>
          <c:val>
            <c:numRef>
              <c:f>Sheet1!$B$2:$B$7</c:f>
              <c:numCache>
                <c:formatCode>0%</c:formatCode>
                <c:ptCount val="6"/>
                <c:pt idx="0">
                  <c:v>0.24</c:v>
                </c:pt>
                <c:pt idx="1">
                  <c:v>0.51</c:v>
                </c:pt>
                <c:pt idx="2">
                  <c:v>0.78</c:v>
                </c:pt>
                <c:pt idx="3">
                  <c:v>0.8</c:v>
                </c:pt>
                <c:pt idx="4">
                  <c:v>0.83</c:v>
                </c:pt>
                <c:pt idx="5">
                  <c:v>0.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41B0-4A72-8419-B5D68B671700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15"/>
        <c:overlap val="100"/>
        <c:axId val="744375864"/>
        <c:axId val="744376520"/>
      </c:barChart>
      <c:catAx>
        <c:axId val="74437586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600" b="0" i="0" u="none" strike="noStrike" kern="1200" baseline="0">
                <a:solidFill>
                  <a:schemeClr val="tx1"/>
                </a:solidFill>
                <a:latin typeface="+mn-lt"/>
                <a:ea typeface="Neue Haas Unica"/>
                <a:cs typeface="Neue Haas Unica"/>
              </a:defRPr>
            </a:pPr>
            <a:endParaRPr lang="en-US"/>
          </a:p>
        </c:txPr>
        <c:crossAx val="744376520"/>
        <c:crosses val="autoZero"/>
        <c:auto val="1"/>
        <c:lblAlgn val="ctr"/>
        <c:lblOffset val="100"/>
        <c:noMultiLvlLbl val="0"/>
      </c:catAx>
      <c:valAx>
        <c:axId val="744376520"/>
        <c:scaling>
          <c:orientation val="minMax"/>
        </c:scaling>
        <c:delete val="0"/>
        <c:axPos val="b"/>
        <c:numFmt formatCode="0%" sourceLinked="1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600" b="0" i="0" u="none" strike="noStrike" kern="1200" baseline="0">
                <a:solidFill>
                  <a:schemeClr val="tx1"/>
                </a:solidFill>
                <a:latin typeface="+mn-lt"/>
                <a:ea typeface="Neue Haas Unica"/>
                <a:cs typeface="Neue Haas Unica"/>
              </a:defRPr>
            </a:pPr>
            <a:endParaRPr lang="en-US"/>
          </a:p>
        </c:txPr>
        <c:crossAx val="7443758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lang="en-US" sz="1600" b="0" i="0" u="none" strike="noStrike" kern="1200" baseline="0">
          <a:solidFill>
            <a:schemeClr val="tx1"/>
          </a:solidFill>
          <a:latin typeface="+mn-lt"/>
          <a:ea typeface="Neue Haas Unica"/>
          <a:cs typeface="Neue Haas Unica"/>
        </a:defRPr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75DB-4EAB-95EB-6A45D97F5FE9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75DB-4EAB-95EB-6A45D97F5FE9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75DB-4EAB-95EB-6A45D97F5FE9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75DB-4EAB-95EB-6A45D97F5FE9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75DB-4EAB-95EB-6A45D97F5FE9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75DB-4EAB-95EB-6A45D97F5FE9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75DB-4EAB-95EB-6A45D97F5FE9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75DB-4EAB-95EB-6A45D97F5FE9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75DB-4EAB-95EB-6A45D97F5FE9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75DB-4EAB-95EB-6A45D97F5FE9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A-75DB-4EAB-95EB-6A45D97F5FE9}"/>
              </c:ext>
            </c:extLst>
          </c:dPt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B-75DB-4EAB-95EB-6A45D97F5FE9}"/>
              </c:ext>
            </c:extLst>
          </c:dPt>
          <c:dLbls>
            <c:spPr>
              <a:noFill/>
              <a:ln>
                <a:noFill/>
              </a:ln>
            </c:spPr>
            <c:txPr>
              <a:bodyPr rot="0" vert="horz"/>
              <a:lstStyle/>
              <a:p>
                <a:pPr>
                  <a:defRPr>
                    <a:latin typeface="+mn-lt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Sheet1!$A$2:$A$13</c:f>
              <c:strCache>
                <c:ptCount val="12"/>
                <c:pt idx="0">
                  <c:v>December</c:v>
                </c:pt>
                <c:pt idx="1">
                  <c:v>November</c:v>
                </c:pt>
                <c:pt idx="2">
                  <c:v>October</c:v>
                </c:pt>
                <c:pt idx="3">
                  <c:v>September</c:v>
                </c:pt>
                <c:pt idx="4">
                  <c:v>August</c:v>
                </c:pt>
                <c:pt idx="5">
                  <c:v>July</c:v>
                </c:pt>
                <c:pt idx="6">
                  <c:v>June</c:v>
                </c:pt>
                <c:pt idx="7">
                  <c:v>May</c:v>
                </c:pt>
                <c:pt idx="8">
                  <c:v>April</c:v>
                </c:pt>
                <c:pt idx="9">
                  <c:v>March</c:v>
                </c:pt>
                <c:pt idx="10">
                  <c:v>February</c:v>
                </c:pt>
                <c:pt idx="11">
                  <c:v>January</c:v>
                </c:pt>
              </c:strCache>
            </c:strRef>
          </c:cat>
          <c:val>
            <c:numRef>
              <c:f>Sheet1!$B$2:$B$13</c:f>
              <c:numCache>
                <c:formatCode>0%</c:formatCode>
                <c:ptCount val="12"/>
                <c:pt idx="0">
                  <c:v>0.25</c:v>
                </c:pt>
                <c:pt idx="1">
                  <c:v>0.36</c:v>
                </c:pt>
                <c:pt idx="2">
                  <c:v>0.85</c:v>
                </c:pt>
                <c:pt idx="3">
                  <c:v>0.41</c:v>
                </c:pt>
                <c:pt idx="4">
                  <c:v>0.62</c:v>
                </c:pt>
                <c:pt idx="5">
                  <c:v>0.75</c:v>
                </c:pt>
                <c:pt idx="6">
                  <c:v>0.46</c:v>
                </c:pt>
                <c:pt idx="7">
                  <c:v>0.55000000000000004</c:v>
                </c:pt>
                <c:pt idx="8">
                  <c:v>0.2</c:v>
                </c:pt>
                <c:pt idx="9">
                  <c:v>0.15</c:v>
                </c:pt>
                <c:pt idx="10">
                  <c:v>0.3</c:v>
                </c:pt>
                <c:pt idx="11">
                  <c:v>0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75DB-4EAB-95EB-6A45D97F5FE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1"/>
        <c:axId val="484980879"/>
        <c:axId val="461215631"/>
      </c:barChart>
      <c:catAx>
        <c:axId val="484980879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ln>
            <a:solidFill>
              <a:schemeClr val="tx1"/>
            </a:solidFill>
          </a:ln>
        </c:spPr>
        <c:txPr>
          <a:bodyPr rot="-60000000" vert="horz"/>
          <a:lstStyle/>
          <a:p>
            <a:pPr>
              <a:defRPr>
                <a:latin typeface="+mn-lt"/>
              </a:defRPr>
            </a:pPr>
            <a:endParaRPr lang="en-US"/>
          </a:p>
        </c:txPr>
        <c:crossAx val="461215631"/>
        <c:crosses val="autoZero"/>
        <c:auto val="1"/>
        <c:lblAlgn val="ctr"/>
        <c:lblOffset val="100"/>
        <c:noMultiLvlLbl val="0"/>
      </c:catAx>
      <c:valAx>
        <c:axId val="461215631"/>
        <c:scaling>
          <c:orientation val="minMax"/>
        </c:scaling>
        <c:delete val="0"/>
        <c:axPos val="b"/>
        <c:numFmt formatCode="0%" sourceLinked="1"/>
        <c:majorTickMark val="none"/>
        <c:minorTickMark val="none"/>
        <c:tickLblPos val="nextTo"/>
        <c:spPr>
          <a:ln>
            <a:solidFill>
              <a:schemeClr val="tx1"/>
            </a:solidFill>
          </a:ln>
        </c:spPr>
        <c:txPr>
          <a:bodyPr rot="-60000000" vert="horz"/>
          <a:lstStyle/>
          <a:p>
            <a:pPr>
              <a:defRPr>
                <a:latin typeface="+mn-lt"/>
              </a:defRPr>
            </a:pPr>
            <a:endParaRPr lang="en-US"/>
          </a:p>
        </c:txPr>
        <c:crossAx val="484980879"/>
        <c:crosses val="autoZero"/>
        <c:crossBetween val="between"/>
      </c:valAx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txPr>
    <a:bodyPr/>
    <a:lstStyle/>
    <a:p>
      <a:pPr>
        <a:defRPr sz="110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1">
    <c:autoUpdate val="0"/>
  </c:externalData>
</c:chartSpace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A$9</cx:f>
        <cx:lvl ptCount="8">
          <cx:pt idx="0">Category 1</cx:pt>
          <cx:pt idx="1">Category 2</cx:pt>
          <cx:pt idx="2">Category 3</cx:pt>
          <cx:pt idx="3">Category 4</cx:pt>
          <cx:pt idx="4">Category 5</cx:pt>
          <cx:pt idx="5">Category 6</cx:pt>
          <cx:pt idx="6">Category 7</cx:pt>
          <cx:pt idx="7">Category 8</cx:pt>
        </cx:lvl>
      </cx:strDim>
      <cx:numDim type="val">
        <cx:f>Sheet1!$B$2:$B$9</cx:f>
        <cx:lvl ptCount="8" formatCode="General">
          <cx:pt idx="0">100</cx:pt>
          <cx:pt idx="1">20</cx:pt>
          <cx:pt idx="2">50</cx:pt>
          <cx:pt idx="3">-40</cx:pt>
          <cx:pt idx="4">130</cx:pt>
          <cx:pt idx="5">-60</cx:pt>
          <cx:pt idx="6">70</cx:pt>
          <cx:pt idx="7">140</cx:pt>
        </cx:lvl>
      </cx:numDim>
    </cx:data>
  </cx:chartData>
  <cx:chart>
    <cx:plotArea>
      <cx:plotAreaRegion>
        <cx:series layoutId="waterfall" uniqueId="{ED37DDC8-A966-42E2-AA58-D98C2AE2572F}">
          <cx:tx>
            <cx:txData>
              <cx:f>Sheet1!$B$1</cx:f>
              <cx:v>Series1</cx:v>
            </cx:txData>
          </cx:tx>
          <cx:spPr>
            <a:ln>
              <a:noFill/>
            </a:ln>
          </cx:spPr>
          <cx:dataLabels pos="outEnd">
            <cx:txPr>
              <a:bodyPr vertOverflow="overflow" horzOverflow="overflow" wrap="square" lIns="0" tIns="0" rIns="0" bIns="0"/>
              <a:lstStyle/>
              <a:p>
                <a:pPr algn="ctr" rtl="0">
                  <a:defRPr sz="1400" b="0" i="0">
                    <a:solidFill>
                      <a:schemeClr val="tx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defRPr>
                </a:pPr>
                <a:endParaRPr lang="en-US" sz="1400">
                  <a:solidFill>
                    <a:schemeClr val="tx1"/>
                  </a:solidFill>
                </a:endParaRPr>
              </a:p>
            </cx:txPr>
            <cx:visibility seriesName="0" categoryName="0" value="1"/>
          </cx:dataLabels>
          <cx:dataId val="0"/>
          <cx:layoutPr>
            <cx:subtotals>
              <cx:idx val="0"/>
              <cx:idx val="4"/>
              <cx:idx val="7"/>
            </cx:subtotals>
          </cx:layoutPr>
        </cx:series>
      </cx:plotAreaRegion>
      <cx:axis id="0">
        <cx:catScaling gapWidth="0.5"/>
        <cx:majorTickMarks type="out"/>
        <cx:tickLabels/>
        <cx:spPr>
          <a:ln>
            <a:solidFill>
              <a:schemeClr val="tx1"/>
            </a:solidFill>
          </a:ln>
        </cx:spPr>
        <cx:txPr>
          <a:bodyPr vertOverflow="overflow" horzOverflow="overflow" wrap="square" lIns="0" tIns="0" rIns="0" bIns="0"/>
          <a:lstStyle/>
          <a:p>
            <a:pPr algn="ctr" rtl="0">
              <a:defRPr sz="1400" b="0" i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pPr>
            <a:endParaRPr lang="en-US" sz="1400">
              <a:solidFill>
                <a:schemeClr val="tx1"/>
              </a:solidFill>
            </a:endParaRPr>
          </a:p>
        </cx:txPr>
      </cx:axis>
      <cx:axis id="1">
        <cx:valScaling/>
        <cx:majorTickMarks type="out"/>
        <cx:tickLabels/>
        <cx:spPr>
          <a:ln>
            <a:solidFill>
              <a:schemeClr val="tx1"/>
            </a:solidFill>
          </a:ln>
        </cx:spPr>
        <cx:txPr>
          <a:bodyPr vertOverflow="overflow" horzOverflow="overflow" wrap="square" lIns="0" tIns="0" rIns="0" bIns="0"/>
          <a:lstStyle/>
          <a:p>
            <a:pPr algn="ctr" rtl="0">
              <a:defRPr sz="1400" b="0" i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pPr>
            <a:endParaRPr lang="en-US" sz="1400">
              <a:solidFill>
                <a:schemeClr val="tx1"/>
              </a:solidFill>
            </a:endParaRPr>
          </a:p>
        </cx:txPr>
      </cx:axis>
    </cx:plotArea>
    <cx:legend pos="b" align="ctr" overlay="0">
      <cx:txPr>
        <a:bodyPr spcFirstLastPara="1" vertOverflow="ellipsis" horzOverflow="overflow" wrap="square" lIns="0" tIns="0" rIns="0" bIns="0" anchor="ctr" anchorCtr="1"/>
        <a:lstStyle/>
        <a:p>
          <a:pPr algn="ctr" rtl="0">
            <a:defRPr sz="1400">
              <a:solidFill>
                <a:schemeClr val="tx1"/>
              </a:solidFill>
            </a:defRPr>
          </a:pPr>
          <a:endParaRPr lang="en-US" sz="1400" b="0" i="0" u="none" strike="noStrike" baseline="0">
            <a:solidFill>
              <a:schemeClr val="tx1"/>
            </a:solidFill>
            <a:latin typeface="Arial"/>
          </a:endParaRPr>
        </a:p>
      </cx:txPr>
    </cx:legend>
  </cx:chart>
  <cx:fmtOvrs>
    <cx:fmtOvr idx="0">
      <cx:spPr>
        <a:solidFill>
          <a:schemeClr val="accent2"/>
        </a:solidFill>
      </cx:spPr>
    </cx:fmtOvr>
    <cx:fmtOvr idx="1">
      <cx:spPr>
        <a:solidFill>
          <a:schemeClr val="accent5"/>
        </a:solidFill>
      </cx:spPr>
    </cx:fmtOvr>
    <cx:fmtOvr idx="2">
      <cx:spPr>
        <a:solidFill>
          <a:schemeClr val="accent1"/>
        </a:solidFill>
      </cx:spPr>
    </cx:fmtOvr>
  </cx:fmtOvrs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17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1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39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6825</cdr:x>
      <cdr:y>0.62292</cdr:y>
    </cdr:from>
    <cdr:to>
      <cdr:x>0.21294</cdr:x>
      <cdr:y>0.73484</cdr:y>
    </cdr:to>
    <cdr:sp macro="" textlink="">
      <cdr:nvSpPr>
        <cdr:cNvPr id="2" name="Oval 1"/>
        <cdr:cNvSpPr/>
      </cdr:nvSpPr>
      <cdr:spPr>
        <a:xfrm xmlns:a="http://schemas.openxmlformats.org/drawingml/2006/main">
          <a:off x="1908693" y="2482120"/>
          <a:ext cx="506967" cy="445959"/>
        </a:xfrm>
        <a:prstGeom xmlns:a="http://schemas.openxmlformats.org/drawingml/2006/main" prst="ellipse">
          <a:avLst/>
        </a:prstGeom>
        <a:solidFill xmlns:a="http://schemas.openxmlformats.org/drawingml/2006/main">
          <a:schemeClr val="bg1"/>
        </a:solidFill>
        <a:ln xmlns:a="http://schemas.openxmlformats.org/drawingml/2006/main">
          <a:solidFill>
            <a:schemeClr val="accent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en-US"/>
        </a:p>
      </cdr:txBody>
    </cdr:sp>
  </cdr:relSizeAnchor>
  <cdr:relSizeAnchor xmlns:cdr="http://schemas.openxmlformats.org/drawingml/2006/chartDrawing">
    <cdr:from>
      <cdr:x>0.39975</cdr:x>
      <cdr:y>0.33147</cdr:y>
    </cdr:from>
    <cdr:to>
      <cdr:x>0.44444</cdr:x>
      <cdr:y>0.44339</cdr:y>
    </cdr:to>
    <cdr:sp macro="" textlink="">
      <cdr:nvSpPr>
        <cdr:cNvPr id="3" name="Oval 2"/>
        <cdr:cNvSpPr/>
      </cdr:nvSpPr>
      <cdr:spPr>
        <a:xfrm xmlns:a="http://schemas.openxmlformats.org/drawingml/2006/main">
          <a:off x="4534773" y="1320800"/>
          <a:ext cx="506968" cy="445959"/>
        </a:xfrm>
        <a:prstGeom xmlns:a="http://schemas.openxmlformats.org/drawingml/2006/main" prst="ellipse">
          <a:avLst/>
        </a:prstGeom>
        <a:solidFill xmlns:a="http://schemas.openxmlformats.org/drawingml/2006/main">
          <a:schemeClr val="bg1"/>
        </a:solidFill>
        <a:ln xmlns:a="http://schemas.openxmlformats.org/drawingml/2006/main">
          <a:solidFill>
            <a:schemeClr val="accent3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en-US" dirty="0"/>
        </a:p>
      </cdr:txBody>
    </cdr:sp>
  </cdr:relSizeAnchor>
  <cdr:relSizeAnchor xmlns:cdr="http://schemas.openxmlformats.org/drawingml/2006/chartDrawing">
    <cdr:from>
      <cdr:x>0.61871</cdr:x>
      <cdr:y>0.27551</cdr:y>
    </cdr:from>
    <cdr:to>
      <cdr:x>0.66315</cdr:x>
      <cdr:y>0.38743</cdr:y>
    </cdr:to>
    <cdr:sp macro="" textlink="">
      <cdr:nvSpPr>
        <cdr:cNvPr id="4" name="Oval 3"/>
        <cdr:cNvSpPr/>
      </cdr:nvSpPr>
      <cdr:spPr>
        <a:xfrm xmlns:a="http://schemas.openxmlformats.org/drawingml/2006/main">
          <a:off x="7018685" y="1097820"/>
          <a:ext cx="504133" cy="445959"/>
        </a:xfrm>
        <a:prstGeom xmlns:a="http://schemas.openxmlformats.org/drawingml/2006/main" prst="ellipse">
          <a:avLst/>
        </a:prstGeom>
        <a:solidFill xmlns:a="http://schemas.openxmlformats.org/drawingml/2006/main">
          <a:schemeClr val="bg1"/>
        </a:solidFill>
        <a:ln xmlns:a="http://schemas.openxmlformats.org/drawingml/2006/main">
          <a:solidFill>
            <a:schemeClr val="accent4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en-US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4/10/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4/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C448E-F1E7-1AAF-02B4-CCDFE06164CF}"/>
              </a:ext>
            </a:extLst>
          </p:cNvPr>
          <p:cNvCxnSpPr/>
          <p:nvPr userDrawn="1"/>
        </p:nvCxnSpPr>
        <p:spPr>
          <a:xfrm>
            <a:off x="419099" y="841797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5" Type="http://schemas.openxmlformats.org/officeDocument/2006/relationships/hyperlink" Target="https://forms.gle/SxJr94sSaBxajwPN6" TargetMode="External"/><Relationship Id="rId4" Type="http://schemas.openxmlformats.org/officeDocument/2006/relationships/image" Target="../media/image2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2.xml"/><Relationship Id="rId4" Type="http://schemas.openxmlformats.org/officeDocument/2006/relationships/image" Target="../media/image2.emf"/></Relationships>
</file>

<file path=ppt/slides/_rels/slide1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46.xml"/><Relationship Id="rId4" Type="http://schemas.openxmlformats.org/officeDocument/2006/relationships/image" Target="../media/image2.emf"/></Relationships>
</file>

<file path=ppt/slides/_rels/slide1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47.xml"/><Relationship Id="rId4" Type="http://schemas.openxmlformats.org/officeDocument/2006/relationships/image" Target="../media/image2.emf"/></Relationships>
</file>

<file path=ppt/slides/_rels/slide1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48.xml"/><Relationship Id="rId4" Type="http://schemas.openxmlformats.org/officeDocument/2006/relationships/image" Target="../media/image2.emf"/></Relationships>
</file>

<file path=ppt/slides/_rels/slide1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49.xml"/><Relationship Id="rId4" Type="http://schemas.openxmlformats.org/officeDocument/2006/relationships/image" Target="../media/image2.emf"/></Relationships>
</file>

<file path=ppt/slides/_rels/slide1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50.xml"/><Relationship Id="rId4" Type="http://schemas.openxmlformats.org/officeDocument/2006/relationships/image" Target="../media/image2.emf"/></Relationships>
</file>

<file path=ppt/slides/_rels/slide1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4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51.xml"/><Relationship Id="rId4" Type="http://schemas.openxmlformats.org/officeDocument/2006/relationships/image" Target="../media/image2.emf"/></Relationships>
</file>

<file path=ppt/slides/_rels/slide1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52.xml"/><Relationship Id="rId4" Type="http://schemas.openxmlformats.org/officeDocument/2006/relationships/image" Target="../media/image2.emf"/></Relationships>
</file>

<file path=ppt/slides/_rels/slide1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53.xml"/><Relationship Id="rId4" Type="http://schemas.openxmlformats.org/officeDocument/2006/relationships/image" Target="../media/image2.emf"/></Relationships>
</file>

<file path=ppt/slides/_rels/slide1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7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54.xml"/><Relationship Id="rId4" Type="http://schemas.openxmlformats.org/officeDocument/2006/relationships/image" Target="../media/image2.emf"/></Relationships>
</file>

<file path=ppt/slides/_rels/slide1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55.xml"/><Relationship Id="rId4" Type="http://schemas.openxmlformats.org/officeDocument/2006/relationships/image" Target="../media/image2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3.xml"/><Relationship Id="rId4" Type="http://schemas.openxmlformats.org/officeDocument/2006/relationships/image" Target="../media/image2.emf"/></Relationships>
</file>

<file path=ppt/slides/_rels/slide1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9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56.xml"/><Relationship Id="rId4" Type="http://schemas.openxmlformats.org/officeDocument/2006/relationships/image" Target="../media/image2.emf"/></Relationships>
</file>

<file path=ppt/slides/_rels/slide1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0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57.xml"/><Relationship Id="rId4" Type="http://schemas.openxmlformats.org/officeDocument/2006/relationships/image" Target="../media/image2.emf"/></Relationships>
</file>

<file path=ppt/slides/_rels/slide1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1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58.xml"/><Relationship Id="rId4" Type="http://schemas.openxmlformats.org/officeDocument/2006/relationships/image" Target="../media/image2.emf"/></Relationships>
</file>

<file path=ppt/slides/_rels/slide1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59.xml"/><Relationship Id="rId4" Type="http://schemas.openxmlformats.org/officeDocument/2006/relationships/image" Target="../media/image2.emf"/></Relationships>
</file>

<file path=ppt/slides/_rels/slide1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60.xml"/><Relationship Id="rId4" Type="http://schemas.openxmlformats.org/officeDocument/2006/relationships/image" Target="../media/image2.emf"/></Relationships>
</file>

<file path=ppt/slides/_rels/slide1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4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61.xml"/><Relationship Id="rId4" Type="http://schemas.openxmlformats.org/officeDocument/2006/relationships/image" Target="../media/image2.emf"/></Relationships>
</file>

<file path=ppt/slides/_rels/slide1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62.xml"/><Relationship Id="rId4" Type="http://schemas.openxmlformats.org/officeDocument/2006/relationships/image" Target="../media/image2.emf"/></Relationships>
</file>

<file path=ppt/slides/_rels/slide1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63.xml"/><Relationship Id="rId4" Type="http://schemas.openxmlformats.org/officeDocument/2006/relationships/image" Target="../media/image2.emf"/></Relationships>
</file>

<file path=ppt/slides/_rels/slide1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7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64.xml"/><Relationship Id="rId4" Type="http://schemas.openxmlformats.org/officeDocument/2006/relationships/image" Target="../media/image2.emf"/></Relationships>
</file>

<file path=ppt/slides/_rels/slide1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8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65.xml"/><Relationship Id="rId4" Type="http://schemas.openxmlformats.org/officeDocument/2006/relationships/image" Target="../media/image2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4.xml"/><Relationship Id="rId4" Type="http://schemas.openxmlformats.org/officeDocument/2006/relationships/image" Target="../media/image2.emf"/></Relationships>
</file>

<file path=ppt/slides/_rels/slide1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66.xml"/><Relationship Id="rId4" Type="http://schemas.openxmlformats.org/officeDocument/2006/relationships/image" Target="../media/image2.emf"/></Relationships>
</file>

<file path=ppt/slides/_rels/slide1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67.xml"/><Relationship Id="rId4" Type="http://schemas.openxmlformats.org/officeDocument/2006/relationships/image" Target="../media/image2.emf"/></Relationships>
</file>

<file path=ppt/slides/_rels/slide1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1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68.xml"/><Relationship Id="rId4" Type="http://schemas.openxmlformats.org/officeDocument/2006/relationships/image" Target="../media/image2.emf"/></Relationships>
</file>

<file path=ppt/slides/_rels/slide1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69.xml"/><Relationship Id="rId4" Type="http://schemas.openxmlformats.org/officeDocument/2006/relationships/image" Target="../media/image2.emf"/></Relationships>
</file>

<file path=ppt/slides/_rels/slide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70.xml"/><Relationship Id="rId4" Type="http://schemas.openxmlformats.org/officeDocument/2006/relationships/image" Target="../media/image2.emf"/></Relationships>
</file>

<file path=ppt/slides/_rels/slide1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4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71.xml"/><Relationship Id="rId4" Type="http://schemas.openxmlformats.org/officeDocument/2006/relationships/image" Target="../media/image2.emf"/></Relationships>
</file>

<file path=ppt/slides/_rels/slide1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5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72.xml"/><Relationship Id="rId4" Type="http://schemas.openxmlformats.org/officeDocument/2006/relationships/image" Target="../media/image2.emf"/></Relationships>
</file>

<file path=ppt/slides/_rels/slide1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73.xml"/><Relationship Id="rId4" Type="http://schemas.openxmlformats.org/officeDocument/2006/relationships/image" Target="../media/image2.emf"/></Relationships>
</file>

<file path=ppt/slides/_rels/slide1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7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74.xml"/><Relationship Id="rId4" Type="http://schemas.openxmlformats.org/officeDocument/2006/relationships/image" Target="../media/image2.emf"/></Relationships>
</file>

<file path=ppt/slides/_rels/slide1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oleObject" Target="../embeddings/oleObject78.bin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75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2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5.xml"/><Relationship Id="rId4" Type="http://schemas.openxmlformats.org/officeDocument/2006/relationships/image" Target="../media/image2.emf"/></Relationships>
</file>

<file path=ppt/slides/_rels/slide1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9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76.xml"/><Relationship Id="rId4" Type="http://schemas.openxmlformats.org/officeDocument/2006/relationships/image" Target="../media/image2.emf"/></Relationships>
</file>

<file path=ppt/slides/_rels/slide1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0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77.xml"/><Relationship Id="rId4" Type="http://schemas.openxmlformats.org/officeDocument/2006/relationships/image" Target="../media/image2.emf"/></Relationships>
</file>

<file path=ppt/slides/_rels/slide1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1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78.xml"/><Relationship Id="rId4" Type="http://schemas.openxmlformats.org/officeDocument/2006/relationships/image" Target="../media/image2.emf"/></Relationships>
</file>

<file path=ppt/slides/_rels/slide1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1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79.xml"/><Relationship Id="rId4" Type="http://schemas.openxmlformats.org/officeDocument/2006/relationships/image" Target="../media/image2.emf"/></Relationships>
</file>

<file path=ppt/slides/_rels/slide1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1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80.xml"/><Relationship Id="rId4" Type="http://schemas.openxmlformats.org/officeDocument/2006/relationships/image" Target="../media/image2.emf"/></Relationships>
</file>

<file path=ppt/slides/_rels/slide1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81.xml"/><Relationship Id="rId4" Type="http://schemas.openxmlformats.org/officeDocument/2006/relationships/image" Target="../media/image2.emf"/></Relationships>
</file>

<file path=ppt/slides/_rels/slide1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82.xml"/><Relationship Id="rId4" Type="http://schemas.openxmlformats.org/officeDocument/2006/relationships/image" Target="../media/image2.emf"/></Relationships>
</file>

<file path=ppt/slides/_rels/slide1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4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83.xml"/><Relationship Id="rId4" Type="http://schemas.openxmlformats.org/officeDocument/2006/relationships/image" Target="../media/image2.emf"/></Relationships>
</file>

<file path=ppt/slides/_rels/slide1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84.xml"/><Relationship Id="rId4" Type="http://schemas.openxmlformats.org/officeDocument/2006/relationships/image" Target="../media/image2.emf"/></Relationships>
</file>

<file path=ppt/slides/_rels/slide1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5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85.xml"/><Relationship Id="rId4" Type="http://schemas.openxmlformats.org/officeDocument/2006/relationships/image" Target="../media/image2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6.xml"/><Relationship Id="rId4" Type="http://schemas.openxmlformats.org/officeDocument/2006/relationships/image" Target="../media/image2.emf"/></Relationships>
</file>

<file path=ppt/slides/_rels/slide1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86.xml"/><Relationship Id="rId4" Type="http://schemas.openxmlformats.org/officeDocument/2006/relationships/image" Target="../media/image2.emf"/></Relationships>
</file>

<file path=ppt/slides/_rels/slide141.xml.rels><?xml version="1.0" encoding="UTF-8" standalone="yes"?>
<Relationships xmlns="http://schemas.openxmlformats.org/package/2006/relationships"><Relationship Id="rId3" Type="http://schemas.openxmlformats.org/officeDocument/2006/relationships/tags" Target="../tags/tag189.xml"/><Relationship Id="rId2" Type="http://schemas.openxmlformats.org/officeDocument/2006/relationships/tags" Target="../tags/tag188.xml"/><Relationship Id="rId1" Type="http://schemas.openxmlformats.org/officeDocument/2006/relationships/tags" Target="../tags/tag187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7.bin"/><Relationship Id="rId4" Type="http://schemas.openxmlformats.org/officeDocument/2006/relationships/slideLayout" Target="../slideLayouts/slideLayout1.xml"/></Relationships>
</file>

<file path=ppt/slides/_rels/slide142.xml.rels><?xml version="1.0" encoding="UTF-8" standalone="yes"?>
<Relationships xmlns="http://schemas.openxmlformats.org/package/2006/relationships"><Relationship Id="rId3" Type="http://schemas.openxmlformats.org/officeDocument/2006/relationships/tags" Target="../tags/tag192.xml"/><Relationship Id="rId7" Type="http://schemas.openxmlformats.org/officeDocument/2006/relationships/image" Target="../media/image2.emf"/><Relationship Id="rId2" Type="http://schemas.openxmlformats.org/officeDocument/2006/relationships/tags" Target="../tags/tag191.xml"/><Relationship Id="rId1" Type="http://schemas.openxmlformats.org/officeDocument/2006/relationships/tags" Target="../tags/tag190.xml"/><Relationship Id="rId6" Type="http://schemas.openxmlformats.org/officeDocument/2006/relationships/oleObject" Target="../embeddings/oleObject88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193.xml"/></Relationships>
</file>

<file path=ppt/slides/_rels/slide1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9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94.xml"/><Relationship Id="rId4" Type="http://schemas.openxmlformats.org/officeDocument/2006/relationships/image" Target="../media/image2.emf"/></Relationships>
</file>

<file path=ppt/slides/_rels/slide14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0.bin"/><Relationship Id="rId3" Type="http://schemas.openxmlformats.org/officeDocument/2006/relationships/tags" Target="../tags/tag197.xml"/><Relationship Id="rId7" Type="http://schemas.openxmlformats.org/officeDocument/2006/relationships/slideLayout" Target="../slideLayouts/slideLayout1.xml"/><Relationship Id="rId2" Type="http://schemas.openxmlformats.org/officeDocument/2006/relationships/tags" Target="../tags/tag196.xml"/><Relationship Id="rId1" Type="http://schemas.openxmlformats.org/officeDocument/2006/relationships/tags" Target="../tags/tag195.xml"/><Relationship Id="rId6" Type="http://schemas.openxmlformats.org/officeDocument/2006/relationships/tags" Target="../tags/tag200.xml"/><Relationship Id="rId5" Type="http://schemas.openxmlformats.org/officeDocument/2006/relationships/tags" Target="../tags/tag199.xml"/><Relationship Id="rId4" Type="http://schemas.openxmlformats.org/officeDocument/2006/relationships/tags" Target="../tags/tag198.xml"/><Relationship Id="rId9" Type="http://schemas.openxmlformats.org/officeDocument/2006/relationships/image" Target="../media/image2.emf"/></Relationships>
</file>

<file path=ppt/slides/_rels/slide14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.xml"/><Relationship Id="rId3" Type="http://schemas.openxmlformats.org/officeDocument/2006/relationships/tags" Target="../tags/tag203.xml"/><Relationship Id="rId7" Type="http://schemas.openxmlformats.org/officeDocument/2006/relationships/tags" Target="../tags/tag207.xml"/><Relationship Id="rId2" Type="http://schemas.openxmlformats.org/officeDocument/2006/relationships/tags" Target="../tags/tag202.xml"/><Relationship Id="rId1" Type="http://schemas.openxmlformats.org/officeDocument/2006/relationships/tags" Target="../tags/tag201.xml"/><Relationship Id="rId6" Type="http://schemas.openxmlformats.org/officeDocument/2006/relationships/tags" Target="../tags/tag206.xml"/><Relationship Id="rId5" Type="http://schemas.openxmlformats.org/officeDocument/2006/relationships/tags" Target="../tags/tag205.xml"/><Relationship Id="rId10" Type="http://schemas.openxmlformats.org/officeDocument/2006/relationships/image" Target="../media/image2.emf"/><Relationship Id="rId4" Type="http://schemas.openxmlformats.org/officeDocument/2006/relationships/tags" Target="../tags/tag204.xml"/><Relationship Id="rId9" Type="http://schemas.openxmlformats.org/officeDocument/2006/relationships/oleObject" Target="../embeddings/oleObject91.bin"/></Relationships>
</file>

<file path=ppt/slides/_rels/slide1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08.xml"/><Relationship Id="rId4" Type="http://schemas.openxmlformats.org/officeDocument/2006/relationships/image" Target="../media/image2.emf"/></Relationships>
</file>

<file path=ppt/slides/_rels/slide1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09.xml"/><Relationship Id="rId4" Type="http://schemas.openxmlformats.org/officeDocument/2006/relationships/image" Target="../media/image2.emf"/></Relationships>
</file>

<file path=ppt/slides/_rels/slide1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10.xml"/><Relationship Id="rId4" Type="http://schemas.openxmlformats.org/officeDocument/2006/relationships/image" Target="../media/image2.emf"/></Relationships>
</file>

<file path=ppt/slides/_rels/slide1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11.xml"/><Relationship Id="rId4" Type="http://schemas.openxmlformats.org/officeDocument/2006/relationships/image" Target="../media/image2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7.xml"/><Relationship Id="rId4" Type="http://schemas.openxmlformats.org/officeDocument/2006/relationships/image" Target="../media/image2.emf"/></Relationships>
</file>

<file path=ppt/slides/_rels/slide1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12.xml"/><Relationship Id="rId4" Type="http://schemas.openxmlformats.org/officeDocument/2006/relationships/image" Target="../media/image2.emf"/></Relationships>
</file>

<file path=ppt/slides/_rels/slide1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4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13.xml"/><Relationship Id="rId4" Type="http://schemas.openxmlformats.org/officeDocument/2006/relationships/image" Target="../media/image2.emf"/></Relationships>
</file>

<file path=ppt/slides/_rels/slide1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5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14.xml"/><Relationship Id="rId4" Type="http://schemas.openxmlformats.org/officeDocument/2006/relationships/image" Target="../media/image2.emf"/></Relationships>
</file>

<file path=ppt/slides/_rels/slide1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15.xml"/><Relationship Id="rId4" Type="http://schemas.openxmlformats.org/officeDocument/2006/relationships/image" Target="../media/image2.emf"/></Relationships>
</file>

<file path=ppt/slides/_rels/slide1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7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16.xml"/><Relationship Id="rId4" Type="http://schemas.openxmlformats.org/officeDocument/2006/relationships/image" Target="../media/image2.emf"/></Relationships>
</file>

<file path=ppt/slides/_rels/slide1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8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17.xml"/><Relationship Id="rId4" Type="http://schemas.openxmlformats.org/officeDocument/2006/relationships/image" Target="../media/image2.emf"/></Relationships>
</file>

<file path=ppt/slides/_rels/slide1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9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18.xml"/><Relationship Id="rId4" Type="http://schemas.openxmlformats.org/officeDocument/2006/relationships/image" Target="../media/image2.emf"/></Relationships>
</file>

<file path=ppt/slides/_rels/slide1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0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19.xml"/><Relationship Id="rId4" Type="http://schemas.openxmlformats.org/officeDocument/2006/relationships/image" Target="../media/image2.emf"/></Relationships>
</file>

<file path=ppt/slides/_rels/slide158.xml.rels><?xml version="1.0" encoding="UTF-8" standalone="yes"?>
<Relationships xmlns="http://schemas.openxmlformats.org/package/2006/relationships"><Relationship Id="rId3" Type="http://schemas.openxmlformats.org/officeDocument/2006/relationships/tags" Target="../tags/tag222.xml"/><Relationship Id="rId7" Type="http://schemas.openxmlformats.org/officeDocument/2006/relationships/image" Target="../media/image2.emf"/><Relationship Id="rId2" Type="http://schemas.openxmlformats.org/officeDocument/2006/relationships/tags" Target="../tags/tag221.xml"/><Relationship Id="rId1" Type="http://schemas.openxmlformats.org/officeDocument/2006/relationships/tags" Target="../tags/tag220.xml"/><Relationship Id="rId6" Type="http://schemas.openxmlformats.org/officeDocument/2006/relationships/oleObject" Target="../embeddings/oleObject101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223.xml"/></Relationships>
</file>

<file path=ppt/slides/_rels/slide1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24.xml"/><Relationship Id="rId4" Type="http://schemas.openxmlformats.org/officeDocument/2006/relationships/image" Target="../media/image2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8.xml"/><Relationship Id="rId4" Type="http://schemas.openxmlformats.org/officeDocument/2006/relationships/image" Target="../media/image2.emf"/></Relationships>
</file>

<file path=ppt/slides/_rels/slide1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25.xml"/><Relationship Id="rId4" Type="http://schemas.openxmlformats.org/officeDocument/2006/relationships/image" Target="../media/image2.emf"/></Relationships>
</file>

<file path=ppt/slides/_rels/slide1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4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26.xml"/><Relationship Id="rId4" Type="http://schemas.openxmlformats.org/officeDocument/2006/relationships/image" Target="../media/image2.emf"/></Relationships>
</file>

<file path=ppt/slides/_rels/slide1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5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27.xml"/><Relationship Id="rId4" Type="http://schemas.openxmlformats.org/officeDocument/2006/relationships/image" Target="../media/image2.emf"/></Relationships>
</file>

<file path=ppt/slides/_rels/slide1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28.xml"/><Relationship Id="rId4" Type="http://schemas.openxmlformats.org/officeDocument/2006/relationships/image" Target="../media/image2.emf"/></Relationships>
</file>

<file path=ppt/slides/_rels/slide1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7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29.xml"/><Relationship Id="rId4" Type="http://schemas.openxmlformats.org/officeDocument/2006/relationships/image" Target="../media/image2.emf"/></Relationships>
</file>

<file path=ppt/slides/_rels/slide1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8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30.xml"/><Relationship Id="rId4" Type="http://schemas.openxmlformats.org/officeDocument/2006/relationships/image" Target="../media/image2.emf"/></Relationships>
</file>

<file path=ppt/slides/_rels/slide1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9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31.xml"/><Relationship Id="rId4" Type="http://schemas.openxmlformats.org/officeDocument/2006/relationships/image" Target="../media/image2.emf"/></Relationships>
</file>

<file path=ppt/slides/_rels/slide1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0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32.xml"/><Relationship Id="rId4" Type="http://schemas.openxmlformats.org/officeDocument/2006/relationships/image" Target="../media/image2.emf"/></Relationships>
</file>

<file path=ppt/slides/_rels/slide1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1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33.xml"/><Relationship Id="rId4" Type="http://schemas.openxmlformats.org/officeDocument/2006/relationships/image" Target="../media/image2.emf"/></Relationships>
</file>

<file path=ppt/slides/_rels/slide1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34.xml"/><Relationship Id="rId4" Type="http://schemas.openxmlformats.org/officeDocument/2006/relationships/image" Target="../media/image2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9.xml"/><Relationship Id="rId4" Type="http://schemas.openxmlformats.org/officeDocument/2006/relationships/image" Target="../media/image2.emf"/></Relationships>
</file>

<file path=ppt/slides/_rels/slide1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35.xml"/><Relationship Id="rId4" Type="http://schemas.openxmlformats.org/officeDocument/2006/relationships/image" Target="../media/image2.emf"/></Relationships>
</file>

<file path=ppt/slides/_rels/slide1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4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36.xml"/><Relationship Id="rId4" Type="http://schemas.openxmlformats.org/officeDocument/2006/relationships/image" Target="../media/image2.emf"/></Relationships>
</file>

<file path=ppt/slides/_rels/slide1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37.xml"/><Relationship Id="rId5" Type="http://schemas.openxmlformats.org/officeDocument/2006/relationships/chart" Target="../charts/chart1.xml"/><Relationship Id="rId4" Type="http://schemas.openxmlformats.org/officeDocument/2006/relationships/image" Target="../media/image2.emf"/></Relationships>
</file>

<file path=ppt/slides/_rels/slide1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5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38.xml"/><Relationship Id="rId5" Type="http://schemas.openxmlformats.org/officeDocument/2006/relationships/chart" Target="../charts/chart2.xml"/><Relationship Id="rId4" Type="http://schemas.openxmlformats.org/officeDocument/2006/relationships/image" Target="../media/image2.emf"/></Relationships>
</file>

<file path=ppt/slides/_rels/slide1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39.xml"/><Relationship Id="rId5" Type="http://schemas.openxmlformats.org/officeDocument/2006/relationships/chart" Target="../charts/chart3.xml"/><Relationship Id="rId4" Type="http://schemas.openxmlformats.org/officeDocument/2006/relationships/image" Target="../media/image2.emf"/></Relationships>
</file>

<file path=ppt/slides/_rels/slide1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7.bin"/><Relationship Id="rId7" Type="http://schemas.openxmlformats.org/officeDocument/2006/relationships/chart" Target="../charts/chart6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40.xml"/><Relationship Id="rId6" Type="http://schemas.openxmlformats.org/officeDocument/2006/relationships/chart" Target="../charts/chart5.xml"/><Relationship Id="rId5" Type="http://schemas.openxmlformats.org/officeDocument/2006/relationships/chart" Target="../charts/chart4.xml"/><Relationship Id="rId4" Type="http://schemas.openxmlformats.org/officeDocument/2006/relationships/image" Target="../media/image2.emf"/></Relationships>
</file>

<file path=ppt/slides/_rels/slide1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41.xml"/><Relationship Id="rId6" Type="http://schemas.openxmlformats.org/officeDocument/2006/relationships/image" Target="../media/image10.png"/><Relationship Id="rId5" Type="http://schemas.microsoft.com/office/2014/relationships/chartEx" Target="../charts/chartEx1.xml"/><Relationship Id="rId4" Type="http://schemas.openxmlformats.org/officeDocument/2006/relationships/image" Target="../media/image2.emf"/></Relationships>
</file>

<file path=ppt/slides/_rels/slide1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42.xml"/><Relationship Id="rId5" Type="http://schemas.openxmlformats.org/officeDocument/2006/relationships/chart" Target="../charts/chart7.xml"/><Relationship Id="rId4" Type="http://schemas.openxmlformats.org/officeDocument/2006/relationships/image" Target="../media/image2.emf"/></Relationships>
</file>

<file path=ppt/slides/_rels/slide1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43.xml"/><Relationship Id="rId5" Type="http://schemas.openxmlformats.org/officeDocument/2006/relationships/chart" Target="../charts/chart8.xml"/><Relationship Id="rId4" Type="http://schemas.openxmlformats.org/officeDocument/2006/relationships/image" Target="../media/image2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0.xml"/><Relationship Id="rId4" Type="http://schemas.openxmlformats.org/officeDocument/2006/relationships/image" Target="../media/image2.emf"/></Relationships>
</file>

<file path=ppt/slides/_rels/slide1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44.xml"/><Relationship Id="rId5" Type="http://schemas.openxmlformats.org/officeDocument/2006/relationships/chart" Target="../charts/chart9.xml"/><Relationship Id="rId4" Type="http://schemas.openxmlformats.org/officeDocument/2006/relationships/image" Target="../media/image2.emf"/></Relationships>
</file>

<file path=ppt/slides/_rels/slide18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3.xml"/><Relationship Id="rId3" Type="http://schemas.openxmlformats.org/officeDocument/2006/relationships/oleObject" Target="../embeddings/oleObject116.bin"/><Relationship Id="rId7" Type="http://schemas.openxmlformats.org/officeDocument/2006/relationships/chart" Target="../charts/chart12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45.xml"/><Relationship Id="rId6" Type="http://schemas.openxmlformats.org/officeDocument/2006/relationships/chart" Target="../charts/chart11.xml"/><Relationship Id="rId11" Type="http://schemas.openxmlformats.org/officeDocument/2006/relationships/chart" Target="../charts/chart16.xml"/><Relationship Id="rId5" Type="http://schemas.openxmlformats.org/officeDocument/2006/relationships/chart" Target="../charts/chart10.xml"/><Relationship Id="rId10" Type="http://schemas.openxmlformats.org/officeDocument/2006/relationships/chart" Target="../charts/chart15.xml"/><Relationship Id="rId4" Type="http://schemas.openxmlformats.org/officeDocument/2006/relationships/image" Target="../media/image2.emf"/><Relationship Id="rId9" Type="http://schemas.openxmlformats.org/officeDocument/2006/relationships/chart" Target="../charts/chart14.xml"/></Relationships>
</file>

<file path=ppt/slides/_rels/slide18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0.xml"/><Relationship Id="rId3" Type="http://schemas.openxmlformats.org/officeDocument/2006/relationships/oleObject" Target="../embeddings/oleObject116.bin"/><Relationship Id="rId7" Type="http://schemas.openxmlformats.org/officeDocument/2006/relationships/chart" Target="../charts/chart19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46.xml"/><Relationship Id="rId6" Type="http://schemas.openxmlformats.org/officeDocument/2006/relationships/chart" Target="../charts/chart18.xml"/><Relationship Id="rId5" Type="http://schemas.openxmlformats.org/officeDocument/2006/relationships/chart" Target="../charts/chart17.xml"/><Relationship Id="rId4" Type="http://schemas.openxmlformats.org/officeDocument/2006/relationships/image" Target="../media/image2.emf"/></Relationships>
</file>

<file path=ppt/slides/_rels/slide1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47.xml"/><Relationship Id="rId5" Type="http://schemas.openxmlformats.org/officeDocument/2006/relationships/chart" Target="../charts/chart21.xml"/><Relationship Id="rId4" Type="http://schemas.openxmlformats.org/officeDocument/2006/relationships/image" Target="../media/image2.emf"/></Relationships>
</file>

<file path=ppt/slides/_rels/slide1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48.xml"/><Relationship Id="rId5" Type="http://schemas.openxmlformats.org/officeDocument/2006/relationships/chart" Target="../charts/chart22.xml"/><Relationship Id="rId4" Type="http://schemas.openxmlformats.org/officeDocument/2006/relationships/image" Target="../media/image2.emf"/></Relationships>
</file>

<file path=ppt/slides/_rels/slide1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49.xml"/><Relationship Id="rId5" Type="http://schemas.openxmlformats.org/officeDocument/2006/relationships/chart" Target="../charts/chart23.xml"/><Relationship Id="rId4" Type="http://schemas.openxmlformats.org/officeDocument/2006/relationships/image" Target="../media/image2.emf"/></Relationships>
</file>

<file path=ppt/slides/_rels/slide18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7.xml"/><Relationship Id="rId3" Type="http://schemas.openxmlformats.org/officeDocument/2006/relationships/oleObject" Target="../embeddings/oleObject116.bin"/><Relationship Id="rId7" Type="http://schemas.openxmlformats.org/officeDocument/2006/relationships/chart" Target="../charts/chart26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50.xml"/><Relationship Id="rId6" Type="http://schemas.openxmlformats.org/officeDocument/2006/relationships/chart" Target="../charts/chart25.xml"/><Relationship Id="rId5" Type="http://schemas.openxmlformats.org/officeDocument/2006/relationships/chart" Target="../charts/chart24.xml"/><Relationship Id="rId4" Type="http://schemas.openxmlformats.org/officeDocument/2006/relationships/image" Target="../media/image2.emf"/></Relationships>
</file>

<file path=ppt/slides/_rels/slide1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51.xml"/><Relationship Id="rId5" Type="http://schemas.openxmlformats.org/officeDocument/2006/relationships/chart" Target="../charts/chart28.xml"/><Relationship Id="rId4" Type="http://schemas.openxmlformats.org/officeDocument/2006/relationships/image" Target="../media/image2.emf"/></Relationships>
</file>

<file path=ppt/slides/_rels/slide1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52.xml"/><Relationship Id="rId5" Type="http://schemas.openxmlformats.org/officeDocument/2006/relationships/chart" Target="../charts/chart29.xml"/><Relationship Id="rId4" Type="http://schemas.openxmlformats.org/officeDocument/2006/relationships/image" Target="../media/image2.emf"/></Relationships>
</file>

<file path=ppt/slides/_rels/slide1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53.xml"/><Relationship Id="rId5" Type="http://schemas.openxmlformats.org/officeDocument/2006/relationships/chart" Target="../charts/chart30.xml"/><Relationship Id="rId4" Type="http://schemas.openxmlformats.org/officeDocument/2006/relationships/image" Target="../media/image2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1.xml"/><Relationship Id="rId4" Type="http://schemas.openxmlformats.org/officeDocument/2006/relationships/image" Target="../media/image2.emf"/></Relationships>
</file>

<file path=ppt/slides/_rels/slide1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54.xml"/><Relationship Id="rId5" Type="http://schemas.openxmlformats.org/officeDocument/2006/relationships/chart" Target="../charts/chart31.xml"/><Relationship Id="rId4" Type="http://schemas.openxmlformats.org/officeDocument/2006/relationships/image" Target="../media/image2.emf"/></Relationships>
</file>

<file path=ppt/slides/_rels/slide1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55.xml"/><Relationship Id="rId5" Type="http://schemas.openxmlformats.org/officeDocument/2006/relationships/chart" Target="../charts/chart32.xml"/><Relationship Id="rId4" Type="http://schemas.openxmlformats.org/officeDocument/2006/relationships/image" Target="../media/image2.emf"/></Relationships>
</file>

<file path=ppt/slides/_rels/slide1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56.xml"/><Relationship Id="rId6" Type="http://schemas.openxmlformats.org/officeDocument/2006/relationships/chart" Target="../charts/chart34.xml"/><Relationship Id="rId5" Type="http://schemas.openxmlformats.org/officeDocument/2006/relationships/chart" Target="../charts/chart33.xml"/><Relationship Id="rId4" Type="http://schemas.openxmlformats.org/officeDocument/2006/relationships/image" Target="../media/image2.emf"/></Relationships>
</file>

<file path=ppt/slides/_rels/slide1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6.bin"/><Relationship Id="rId7" Type="http://schemas.openxmlformats.org/officeDocument/2006/relationships/chart" Target="../charts/chart37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57.xml"/><Relationship Id="rId6" Type="http://schemas.openxmlformats.org/officeDocument/2006/relationships/chart" Target="../charts/chart36.xml"/><Relationship Id="rId5" Type="http://schemas.openxmlformats.org/officeDocument/2006/relationships/chart" Target="../charts/chart35.xml"/><Relationship Id="rId4" Type="http://schemas.openxmlformats.org/officeDocument/2006/relationships/image" Target="../media/image2.emf"/></Relationships>
</file>

<file path=ppt/slides/_rels/slide1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58.xml"/><Relationship Id="rId5" Type="http://schemas.openxmlformats.org/officeDocument/2006/relationships/chart" Target="../charts/chart38.xml"/><Relationship Id="rId4" Type="http://schemas.openxmlformats.org/officeDocument/2006/relationships/image" Target="../media/image2.emf"/></Relationships>
</file>

<file path=ppt/slides/_rels/slide1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59.xml"/><Relationship Id="rId6" Type="http://schemas.openxmlformats.org/officeDocument/2006/relationships/chart" Target="../charts/chart40.xml"/><Relationship Id="rId5" Type="http://schemas.openxmlformats.org/officeDocument/2006/relationships/chart" Target="../charts/chart39.xml"/><Relationship Id="rId4" Type="http://schemas.openxmlformats.org/officeDocument/2006/relationships/image" Target="../media/image2.emf"/></Relationships>
</file>

<file path=ppt/slides/_rels/slide1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8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60.xml"/><Relationship Id="rId4" Type="http://schemas.openxmlformats.org/officeDocument/2006/relationships/image" Target="../media/image2.emf"/></Relationships>
</file>

<file path=ppt/slides/_rels/slide1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8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61.xml"/><Relationship Id="rId4" Type="http://schemas.openxmlformats.org/officeDocument/2006/relationships/image" Target="../media/image2.emf"/></Relationships>
</file>

<file path=ppt/slides/_rels/slide1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8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62.xml"/><Relationship Id="rId4" Type="http://schemas.openxmlformats.org/officeDocument/2006/relationships/image" Target="../media/image2.emf"/></Relationships>
</file>

<file path=ppt/slides/_rels/slide1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8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63.xml"/><Relationship Id="rId4" Type="http://schemas.openxmlformats.org/officeDocument/2006/relationships/image" Target="../media/image2.e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2.xml"/><Relationship Id="rId4" Type="http://schemas.openxmlformats.org/officeDocument/2006/relationships/image" Target="../media/image2.emf"/></Relationships>
</file>

<file path=ppt/slides/_rels/slide2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9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64.xml"/><Relationship Id="rId5" Type="http://schemas.openxmlformats.org/officeDocument/2006/relationships/chart" Target="../charts/chart41.xml"/><Relationship Id="rId4" Type="http://schemas.openxmlformats.org/officeDocument/2006/relationships/image" Target="../media/image2.emf"/></Relationships>
</file>

<file path=ppt/slides/_rels/slide2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0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65.xml"/><Relationship Id="rId4" Type="http://schemas.openxmlformats.org/officeDocument/2006/relationships/image" Target="../media/image2.emf"/></Relationships>
</file>

<file path=ppt/slides/_rels/slide2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1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66.xml"/><Relationship Id="rId4" Type="http://schemas.openxmlformats.org/officeDocument/2006/relationships/image" Target="../media/image2.emf"/></Relationships>
</file>

<file path=ppt/slides/_rels/slide2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67.xml"/><Relationship Id="rId5" Type="http://schemas.openxmlformats.org/officeDocument/2006/relationships/chart" Target="../charts/chart42.xml"/><Relationship Id="rId4" Type="http://schemas.openxmlformats.org/officeDocument/2006/relationships/image" Target="../media/image2.emf"/></Relationships>
</file>

<file path=ppt/slides/_rels/slide2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68.xml"/><Relationship Id="rId4" Type="http://schemas.openxmlformats.org/officeDocument/2006/relationships/image" Target="../media/image2.emf"/></Relationships>
</file>

<file path=ppt/slides/_rels/slide20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4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69.xml"/><Relationship Id="rId4" Type="http://schemas.openxmlformats.org/officeDocument/2006/relationships/image" Target="../media/image2.emf"/></Relationships>
</file>

<file path=ppt/slides/_rels/slide2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5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70.xml"/><Relationship Id="rId4" Type="http://schemas.openxmlformats.org/officeDocument/2006/relationships/image" Target="../media/image2.emf"/></Relationships>
</file>

<file path=ppt/slides/_rels/slide2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71.xml"/><Relationship Id="rId4" Type="http://schemas.openxmlformats.org/officeDocument/2006/relationships/image" Target="../media/image2.emf"/></Relationships>
</file>

<file path=ppt/slides/_rels/slide2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7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72.xml"/><Relationship Id="rId4" Type="http://schemas.openxmlformats.org/officeDocument/2006/relationships/image" Target="../media/image2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3.xml"/><Relationship Id="rId4" Type="http://schemas.openxmlformats.org/officeDocument/2006/relationships/image" Target="../media/image2.emf"/></Relationships>
</file>

<file path=ppt/slides/_rels/slide2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8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73.xml"/><Relationship Id="rId4" Type="http://schemas.openxmlformats.org/officeDocument/2006/relationships/image" Target="../media/image2.emf"/></Relationships>
</file>

<file path=ppt/slides/_rels/slide2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9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74.xml"/><Relationship Id="rId4" Type="http://schemas.openxmlformats.org/officeDocument/2006/relationships/image" Target="../media/image2.emf"/></Relationships>
</file>

<file path=ppt/slides/_rels/slide2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0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75.xml"/><Relationship Id="rId4" Type="http://schemas.openxmlformats.org/officeDocument/2006/relationships/image" Target="../media/image2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4.xml"/><Relationship Id="rId4" Type="http://schemas.openxmlformats.org/officeDocument/2006/relationships/image" Target="../media/image2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5.xml"/><Relationship Id="rId4" Type="http://schemas.openxmlformats.org/officeDocument/2006/relationships/image" Target="../media/image2.em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6.xml"/><Relationship Id="rId4" Type="http://schemas.openxmlformats.org/officeDocument/2006/relationships/image" Target="../media/image2.e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7.xml"/><Relationship Id="rId4" Type="http://schemas.openxmlformats.org/officeDocument/2006/relationships/image" Target="../media/image2.em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8.xml"/><Relationship Id="rId4" Type="http://schemas.openxmlformats.org/officeDocument/2006/relationships/image" Target="../media/image2.emf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9.xml"/><Relationship Id="rId4" Type="http://schemas.openxmlformats.org/officeDocument/2006/relationships/image" Target="../media/image2.emf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0.xml"/><Relationship Id="rId4" Type="http://schemas.openxmlformats.org/officeDocument/2006/relationships/image" Target="../media/image2.emf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1.xml"/><Relationship Id="rId4" Type="http://schemas.openxmlformats.org/officeDocument/2006/relationships/image" Target="../media/image2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8.xml"/><Relationship Id="rId7" Type="http://schemas.openxmlformats.org/officeDocument/2006/relationships/oleObject" Target="../embeddings/oleObject4.bin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10.xml"/><Relationship Id="rId4" Type="http://schemas.openxmlformats.org/officeDocument/2006/relationships/tags" Target="../tags/tag9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2.xml"/><Relationship Id="rId4" Type="http://schemas.openxmlformats.org/officeDocument/2006/relationships/image" Target="../media/image2.emf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3.xml"/><Relationship Id="rId4" Type="http://schemas.openxmlformats.org/officeDocument/2006/relationships/image" Target="../media/image2.emf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4.xml"/><Relationship Id="rId4" Type="http://schemas.openxmlformats.org/officeDocument/2006/relationships/image" Target="../media/image2.emf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5.xml"/><Relationship Id="rId4" Type="http://schemas.openxmlformats.org/officeDocument/2006/relationships/image" Target="../media/image2.emf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6.xml"/><Relationship Id="rId4" Type="http://schemas.openxmlformats.org/officeDocument/2006/relationships/image" Target="../media/image2.emf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7.xml"/><Relationship Id="rId4" Type="http://schemas.openxmlformats.org/officeDocument/2006/relationships/image" Target="../media/image2.emf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8.xml"/><Relationship Id="rId4" Type="http://schemas.openxmlformats.org/officeDocument/2006/relationships/image" Target="../media/image2.emf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9.xml"/><Relationship Id="rId4" Type="http://schemas.openxmlformats.org/officeDocument/2006/relationships/image" Target="../media/image2.emf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0.xml"/><Relationship Id="rId4" Type="http://schemas.openxmlformats.org/officeDocument/2006/relationships/image" Target="../media/image2.emf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1.xml"/><Relationship Id="rId4" Type="http://schemas.openxmlformats.org/officeDocument/2006/relationships/image" Target="../media/image2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.xml"/><Relationship Id="rId4" Type="http://schemas.openxmlformats.org/officeDocument/2006/relationships/image" Target="../media/image2.emf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2.xml"/><Relationship Id="rId4" Type="http://schemas.openxmlformats.org/officeDocument/2006/relationships/image" Target="../media/image2.emf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3.xml"/><Relationship Id="rId4" Type="http://schemas.openxmlformats.org/officeDocument/2006/relationships/image" Target="../media/image2.emf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4.xml"/><Relationship Id="rId4" Type="http://schemas.openxmlformats.org/officeDocument/2006/relationships/image" Target="../media/image2.emf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5.xml"/><Relationship Id="rId4" Type="http://schemas.openxmlformats.org/officeDocument/2006/relationships/image" Target="../media/image2.emf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6.xml"/><Relationship Id="rId4" Type="http://schemas.openxmlformats.org/officeDocument/2006/relationships/image" Target="../media/image2.emf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7.xml"/><Relationship Id="rId4" Type="http://schemas.openxmlformats.org/officeDocument/2006/relationships/image" Target="../media/image2.emf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8.xml"/><Relationship Id="rId4" Type="http://schemas.openxmlformats.org/officeDocument/2006/relationships/image" Target="../media/image2.emf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9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0.xml"/><Relationship Id="rId4" Type="http://schemas.openxmlformats.org/officeDocument/2006/relationships/image" Target="../media/image2.emf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1.xml"/><Relationship Id="rId4" Type="http://schemas.openxmlformats.org/officeDocument/2006/relationships/image" Target="../media/image2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13" Type="http://schemas.openxmlformats.org/officeDocument/2006/relationships/oleObject" Target="../embeddings/oleObject6.bin"/><Relationship Id="rId3" Type="http://schemas.openxmlformats.org/officeDocument/2006/relationships/tags" Target="../tags/tag14.xml"/><Relationship Id="rId7" Type="http://schemas.openxmlformats.org/officeDocument/2006/relationships/tags" Target="../tags/tag18.xml"/><Relationship Id="rId12" Type="http://schemas.openxmlformats.org/officeDocument/2006/relationships/slideLayout" Target="../slideLayouts/slideLayout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tags" Target="../tags/tag17.xml"/><Relationship Id="rId11" Type="http://schemas.openxmlformats.org/officeDocument/2006/relationships/tags" Target="../tags/tag22.xml"/><Relationship Id="rId5" Type="http://schemas.openxmlformats.org/officeDocument/2006/relationships/tags" Target="../tags/tag16.xml"/><Relationship Id="rId10" Type="http://schemas.openxmlformats.org/officeDocument/2006/relationships/tags" Target="../tags/tag21.xml"/><Relationship Id="rId4" Type="http://schemas.openxmlformats.org/officeDocument/2006/relationships/tags" Target="../tags/tag15.xml"/><Relationship Id="rId9" Type="http://schemas.openxmlformats.org/officeDocument/2006/relationships/tags" Target="../tags/tag20.xml"/><Relationship Id="rId14" Type="http://schemas.openxmlformats.org/officeDocument/2006/relationships/image" Target="../media/image2.emf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2.xml"/><Relationship Id="rId4" Type="http://schemas.openxmlformats.org/officeDocument/2006/relationships/image" Target="../media/image2.emf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3.xml"/><Relationship Id="rId4" Type="http://schemas.openxmlformats.org/officeDocument/2006/relationships/image" Target="../media/image2.emf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4.xml"/><Relationship Id="rId4" Type="http://schemas.openxmlformats.org/officeDocument/2006/relationships/image" Target="../media/image2.emf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5.xml"/><Relationship Id="rId4" Type="http://schemas.openxmlformats.org/officeDocument/2006/relationships/image" Target="../media/image2.emf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6.xml"/><Relationship Id="rId4" Type="http://schemas.openxmlformats.org/officeDocument/2006/relationships/image" Target="../media/image2.emf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7.xml"/><Relationship Id="rId4" Type="http://schemas.openxmlformats.org/officeDocument/2006/relationships/image" Target="../media/image2.emf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8.xml"/><Relationship Id="rId4" Type="http://schemas.openxmlformats.org/officeDocument/2006/relationships/image" Target="../media/image2.emf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9.xml"/><Relationship Id="rId4" Type="http://schemas.openxmlformats.org/officeDocument/2006/relationships/image" Target="../media/image2.emf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9.bin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1.xml"/><Relationship Id="rId4" Type="http://schemas.openxmlformats.org/officeDocument/2006/relationships/image" Target="../media/image2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3.xml"/><Relationship Id="rId4" Type="http://schemas.openxmlformats.org/officeDocument/2006/relationships/image" Target="../media/image2.emf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2.xml"/><Relationship Id="rId4" Type="http://schemas.openxmlformats.org/officeDocument/2006/relationships/image" Target="../media/image2.emf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3.xml"/><Relationship Id="rId4" Type="http://schemas.openxmlformats.org/officeDocument/2006/relationships/image" Target="../media/image2.emf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4.xml"/><Relationship Id="rId4" Type="http://schemas.openxmlformats.org/officeDocument/2006/relationships/image" Target="../media/image2.emf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5.xml"/><Relationship Id="rId4" Type="http://schemas.openxmlformats.org/officeDocument/2006/relationships/image" Target="../media/image2.emf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6.xml"/><Relationship Id="rId4" Type="http://schemas.openxmlformats.org/officeDocument/2006/relationships/image" Target="../media/image2.emf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7.xml"/><Relationship Id="rId4" Type="http://schemas.openxmlformats.org/officeDocument/2006/relationships/image" Target="../media/image2.emf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8.xml"/><Relationship Id="rId4" Type="http://schemas.openxmlformats.org/officeDocument/2006/relationships/image" Target="../media/image2.emf"/></Relationships>
</file>

<file path=ppt/slides/_rels/slide6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2.bin"/><Relationship Id="rId3" Type="http://schemas.openxmlformats.org/officeDocument/2006/relationships/tags" Target="../tags/tag91.xml"/><Relationship Id="rId7" Type="http://schemas.openxmlformats.org/officeDocument/2006/relationships/slideLayout" Target="../slideLayouts/slideLayout1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6" Type="http://schemas.openxmlformats.org/officeDocument/2006/relationships/tags" Target="../tags/tag94.xml"/><Relationship Id="rId5" Type="http://schemas.openxmlformats.org/officeDocument/2006/relationships/tags" Target="../tags/tag93.xml"/><Relationship Id="rId4" Type="http://schemas.openxmlformats.org/officeDocument/2006/relationships/tags" Target="../tags/tag92.xml"/><Relationship Id="rId9" Type="http://schemas.openxmlformats.org/officeDocument/2006/relationships/image" Target="../media/image2.emf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5.xml"/><Relationship Id="rId4" Type="http://schemas.openxmlformats.org/officeDocument/2006/relationships/image" Target="../media/image2.emf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6.xml"/><Relationship Id="rId4" Type="http://schemas.openxmlformats.org/officeDocument/2006/relationships/image" Target="../media/image2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4.xml"/><Relationship Id="rId4" Type="http://schemas.openxmlformats.org/officeDocument/2006/relationships/image" Target="../media/image2.emf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7.xml"/><Relationship Id="rId4" Type="http://schemas.openxmlformats.org/officeDocument/2006/relationships/image" Target="../media/image2.emf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8.xml"/><Relationship Id="rId4" Type="http://schemas.openxmlformats.org/officeDocument/2006/relationships/image" Target="../media/image2.emf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9.xml"/><Relationship Id="rId4" Type="http://schemas.openxmlformats.org/officeDocument/2006/relationships/image" Target="../media/image2.emf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0.xml"/><Relationship Id="rId5" Type="http://schemas.openxmlformats.org/officeDocument/2006/relationships/image" Target="../media/image5.jpeg"/><Relationship Id="rId4" Type="http://schemas.openxmlformats.org/officeDocument/2006/relationships/image" Target="../media/image2.emf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1.xml"/><Relationship Id="rId4" Type="http://schemas.openxmlformats.org/officeDocument/2006/relationships/image" Target="../media/image2.emf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2.xml"/><Relationship Id="rId4" Type="http://schemas.openxmlformats.org/officeDocument/2006/relationships/image" Target="../media/image2.emf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3.xml"/><Relationship Id="rId4" Type="http://schemas.openxmlformats.org/officeDocument/2006/relationships/image" Target="../media/image2.emf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4.xml"/><Relationship Id="rId4" Type="http://schemas.openxmlformats.org/officeDocument/2006/relationships/image" Target="../media/image2.emf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5.xml"/><Relationship Id="rId4" Type="http://schemas.openxmlformats.org/officeDocument/2006/relationships/image" Target="../media/image2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5.xml"/><Relationship Id="rId4" Type="http://schemas.openxmlformats.org/officeDocument/2006/relationships/image" Target="../media/image2.emf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6.xml"/><Relationship Id="rId4" Type="http://schemas.openxmlformats.org/officeDocument/2006/relationships/image" Target="../media/image2.emf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7.xml"/><Relationship Id="rId4" Type="http://schemas.openxmlformats.org/officeDocument/2006/relationships/image" Target="../media/image2.emf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8.xml"/><Relationship Id="rId4" Type="http://schemas.openxmlformats.org/officeDocument/2006/relationships/image" Target="../media/image2.emf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9.xml"/><Relationship Id="rId4" Type="http://schemas.openxmlformats.org/officeDocument/2006/relationships/image" Target="../media/image2.emf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0.xml"/><Relationship Id="rId4" Type="http://schemas.openxmlformats.org/officeDocument/2006/relationships/image" Target="../media/image2.emf"/></Relationships>
</file>

<file path=ppt/slides/_rels/slide8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13.xml"/><Relationship Id="rId7" Type="http://schemas.openxmlformats.org/officeDocument/2006/relationships/oleObject" Target="../embeddings/oleObject42.bin"/><Relationship Id="rId2" Type="http://schemas.openxmlformats.org/officeDocument/2006/relationships/tags" Target="../tags/tag112.xml"/><Relationship Id="rId1" Type="http://schemas.openxmlformats.org/officeDocument/2006/relationships/tags" Target="../tags/tag111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115.xml"/><Relationship Id="rId4" Type="http://schemas.openxmlformats.org/officeDocument/2006/relationships/tags" Target="../tags/tag114.xml"/></Relationships>
</file>

<file path=ppt/slides/_rels/slide8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1.bin"/><Relationship Id="rId3" Type="http://schemas.openxmlformats.org/officeDocument/2006/relationships/tags" Target="../tags/tag118.xml"/><Relationship Id="rId7" Type="http://schemas.openxmlformats.org/officeDocument/2006/relationships/slideLayout" Target="../slideLayouts/slideLayout1.xml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6" Type="http://schemas.openxmlformats.org/officeDocument/2006/relationships/tags" Target="../tags/tag121.xml"/><Relationship Id="rId5" Type="http://schemas.openxmlformats.org/officeDocument/2006/relationships/tags" Target="../tags/tag120.xml"/><Relationship Id="rId4" Type="http://schemas.openxmlformats.org/officeDocument/2006/relationships/tags" Target="../tags/tag119.xml"/><Relationship Id="rId9" Type="http://schemas.openxmlformats.org/officeDocument/2006/relationships/image" Target="../media/image2.emf"/></Relationships>
</file>

<file path=ppt/slides/_rels/slide8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.xml"/><Relationship Id="rId3" Type="http://schemas.openxmlformats.org/officeDocument/2006/relationships/tags" Target="../tags/tag124.xml"/><Relationship Id="rId7" Type="http://schemas.openxmlformats.org/officeDocument/2006/relationships/tags" Target="../tags/tag128.xml"/><Relationship Id="rId2" Type="http://schemas.openxmlformats.org/officeDocument/2006/relationships/tags" Target="../tags/tag123.xml"/><Relationship Id="rId1" Type="http://schemas.openxmlformats.org/officeDocument/2006/relationships/tags" Target="../tags/tag122.xml"/><Relationship Id="rId6" Type="http://schemas.openxmlformats.org/officeDocument/2006/relationships/tags" Target="../tags/tag127.xml"/><Relationship Id="rId5" Type="http://schemas.openxmlformats.org/officeDocument/2006/relationships/tags" Target="../tags/tag126.xml"/><Relationship Id="rId10" Type="http://schemas.openxmlformats.org/officeDocument/2006/relationships/image" Target="../media/image2.emf"/><Relationship Id="rId4" Type="http://schemas.openxmlformats.org/officeDocument/2006/relationships/tags" Target="../tags/tag125.xml"/><Relationship Id="rId9" Type="http://schemas.openxmlformats.org/officeDocument/2006/relationships/oleObject" Target="../embeddings/oleObject41.bin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29.xml"/><Relationship Id="rId4" Type="http://schemas.openxmlformats.org/officeDocument/2006/relationships/image" Target="../media/image2.emf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30.xml"/><Relationship Id="rId4" Type="http://schemas.openxmlformats.org/officeDocument/2006/relationships/image" Target="../media/image2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3" Type="http://schemas.openxmlformats.org/officeDocument/2006/relationships/tags" Target="../tags/tag28.xml"/><Relationship Id="rId7" Type="http://schemas.openxmlformats.org/officeDocument/2006/relationships/slideLayout" Target="../slideLayouts/slideLayout1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tags" Target="../tags/tag31.xml"/><Relationship Id="rId5" Type="http://schemas.openxmlformats.org/officeDocument/2006/relationships/tags" Target="../tags/tag30.xml"/><Relationship Id="rId4" Type="http://schemas.openxmlformats.org/officeDocument/2006/relationships/tags" Target="../tags/tag29.xml"/><Relationship Id="rId9" Type="http://schemas.openxmlformats.org/officeDocument/2006/relationships/image" Target="../media/image2.emf"/></Relationships>
</file>

<file path=ppt/slides/_rels/slide9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4.bin"/><Relationship Id="rId3" Type="http://schemas.openxmlformats.org/officeDocument/2006/relationships/tags" Target="../tags/tag133.xml"/><Relationship Id="rId7" Type="http://schemas.openxmlformats.org/officeDocument/2006/relationships/slideLayout" Target="../slideLayouts/slideLayout1.xml"/><Relationship Id="rId2" Type="http://schemas.openxmlformats.org/officeDocument/2006/relationships/tags" Target="../tags/tag132.xml"/><Relationship Id="rId1" Type="http://schemas.openxmlformats.org/officeDocument/2006/relationships/tags" Target="../tags/tag131.xml"/><Relationship Id="rId6" Type="http://schemas.openxmlformats.org/officeDocument/2006/relationships/tags" Target="../tags/tag136.xml"/><Relationship Id="rId5" Type="http://schemas.openxmlformats.org/officeDocument/2006/relationships/tags" Target="../tags/tag135.xml"/><Relationship Id="rId4" Type="http://schemas.openxmlformats.org/officeDocument/2006/relationships/tags" Target="../tags/tag134.xml"/><Relationship Id="rId9" Type="http://schemas.openxmlformats.org/officeDocument/2006/relationships/image" Target="../media/image2.emf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37.xml"/><Relationship Id="rId4" Type="http://schemas.openxmlformats.org/officeDocument/2006/relationships/image" Target="../media/image2.emf"/></Relationships>
</file>

<file path=ppt/slides/_rels/slide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38.xml"/><Relationship Id="rId4" Type="http://schemas.openxmlformats.org/officeDocument/2006/relationships/image" Target="../media/image2.emf"/></Relationships>
</file>

<file path=ppt/slides/_rels/slide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39.xml"/><Relationship Id="rId4" Type="http://schemas.openxmlformats.org/officeDocument/2006/relationships/image" Target="../media/image2.emf"/></Relationships>
</file>

<file path=ppt/slides/_rels/slide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40.xml"/><Relationship Id="rId4" Type="http://schemas.openxmlformats.org/officeDocument/2006/relationships/image" Target="../media/image2.emf"/></Relationships>
</file>

<file path=ppt/slides/_rels/slide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41.xml"/><Relationship Id="rId4" Type="http://schemas.openxmlformats.org/officeDocument/2006/relationships/image" Target="../media/image2.emf"/></Relationships>
</file>

<file path=ppt/slides/_rels/slide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42.xml"/><Relationship Id="rId4" Type="http://schemas.openxmlformats.org/officeDocument/2006/relationships/image" Target="../media/image2.emf"/></Relationships>
</file>

<file path=ppt/slides/_rels/slide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43.xml"/><Relationship Id="rId4" Type="http://schemas.openxmlformats.org/officeDocument/2006/relationships/image" Target="../media/image2.emf"/></Relationships>
</file>

<file path=ppt/slides/_rels/slide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44.xml"/><Relationship Id="rId4" Type="http://schemas.openxmlformats.org/officeDocument/2006/relationships/image" Target="../media/image2.emf"/></Relationships>
</file>

<file path=ppt/slides/_rels/slide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45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8E3221-1199-4559-887A-81BFEE9ED6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8266C76-0FB3-315C-8137-B1F693131F6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266C76-0FB3-315C-8137-B1F693131F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EB4FA1B2-6F0A-E84A-6BFB-57AA19577D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How to use this template</a:t>
            </a:r>
          </a:p>
        </p:txBody>
      </p:sp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A91C4ECE-67FC-1F3A-3638-F5DA91BF1D74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A15FC7A-EC7C-D05A-A5CB-D96FD519F1BB}"/>
              </a:ext>
            </a:extLst>
          </p:cNvPr>
          <p:cNvSpPr txBox="1"/>
          <p:nvPr/>
        </p:nvSpPr>
        <p:spPr>
          <a:xfrm>
            <a:off x="609600" y="1633165"/>
            <a:ext cx="7203311" cy="83099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dirty="0"/>
              <a:t>This template is designed for flexibility — customize it to suit your business needs while maintaining the clean, structured design for clarity and consistency.</a:t>
            </a:r>
          </a:p>
        </p:txBody>
      </p:sp>
      <p:sp>
        <p:nvSpPr>
          <p:cNvPr id="38" name="Rectangle: Rounded Corners 19">
            <a:extLst>
              <a:ext uri="{FF2B5EF4-FFF2-40B4-BE49-F238E27FC236}">
                <a16:creationId xmlns:a16="http://schemas.microsoft.com/office/drawing/2014/main" id="{81197C60-B976-BB19-2BF9-90803BD8C38D}"/>
              </a:ext>
            </a:extLst>
          </p:cNvPr>
          <p:cNvSpPr/>
          <p:nvPr/>
        </p:nvSpPr>
        <p:spPr>
          <a:xfrm>
            <a:off x="609600" y="2804612"/>
            <a:ext cx="2074310" cy="2909396"/>
          </a:xfrm>
          <a:prstGeom prst="roundRect">
            <a:avLst>
              <a:gd name="adj" fmla="val 9421"/>
            </a:avLst>
          </a:pr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371600" bIns="182880" rtlCol="0" anchor="t"/>
          <a:lstStyle/>
          <a:p>
            <a:r>
              <a:rPr lang="en-US" sz="1200" dirty="0">
                <a:solidFill>
                  <a:schemeClr val="bg1"/>
                </a:solidFill>
              </a:rPr>
              <a:t>Click on any text box to enter your own titles, subtitles, and content. Follow the existing formatting for a consistent, professional look.</a:t>
            </a:r>
          </a:p>
        </p:txBody>
      </p:sp>
      <p:sp>
        <p:nvSpPr>
          <p:cNvPr id="39" name="Rectangle: Rounded Corners 20">
            <a:extLst>
              <a:ext uri="{FF2B5EF4-FFF2-40B4-BE49-F238E27FC236}">
                <a16:creationId xmlns:a16="http://schemas.microsoft.com/office/drawing/2014/main" id="{AFDE038D-D3B7-B5B8-6AC4-E78DD856EC87}"/>
              </a:ext>
            </a:extLst>
          </p:cNvPr>
          <p:cNvSpPr/>
          <p:nvPr/>
        </p:nvSpPr>
        <p:spPr>
          <a:xfrm>
            <a:off x="2834222" y="2804612"/>
            <a:ext cx="2074310" cy="2909396"/>
          </a:xfrm>
          <a:prstGeom prst="roundRect">
            <a:avLst>
              <a:gd name="adj" fmla="val 9421"/>
            </a:avLst>
          </a:pr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371600" bIns="182880" rtlCol="0" anchor="t"/>
          <a:lstStyle/>
          <a:p>
            <a:r>
              <a:rPr lang="en-US" sz="1200" dirty="0">
                <a:solidFill>
                  <a:schemeClr val="bg1"/>
                </a:solidFill>
              </a:rPr>
              <a:t>Right-click on any chart, select </a:t>
            </a:r>
            <a:r>
              <a:rPr lang="en-US" sz="1200" i="1" dirty="0">
                <a:solidFill>
                  <a:schemeClr val="bg1"/>
                </a:solidFill>
              </a:rPr>
              <a:t>Edit Data</a:t>
            </a:r>
            <a:r>
              <a:rPr lang="en-US" sz="1200" dirty="0">
                <a:solidFill>
                  <a:schemeClr val="bg1"/>
                </a:solidFill>
              </a:rPr>
              <a:t>, and input your actual figures in the linked Excel sheet. The charts will update automatically.</a:t>
            </a:r>
          </a:p>
        </p:txBody>
      </p:sp>
      <p:sp>
        <p:nvSpPr>
          <p:cNvPr id="40" name="Rectangle: Rounded Corners 21">
            <a:extLst>
              <a:ext uri="{FF2B5EF4-FFF2-40B4-BE49-F238E27FC236}">
                <a16:creationId xmlns:a16="http://schemas.microsoft.com/office/drawing/2014/main" id="{326F8A05-6F82-2135-37F0-55D658DA8B44}"/>
              </a:ext>
            </a:extLst>
          </p:cNvPr>
          <p:cNvSpPr/>
          <p:nvPr/>
        </p:nvSpPr>
        <p:spPr>
          <a:xfrm>
            <a:off x="5058845" y="2804612"/>
            <a:ext cx="2074310" cy="2909396"/>
          </a:xfrm>
          <a:prstGeom prst="roundRect">
            <a:avLst>
              <a:gd name="adj" fmla="val 9421"/>
            </a:avLst>
          </a:pr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371600" bIns="182880" rtlCol="0" anchor="t"/>
          <a:lstStyle/>
          <a:p>
            <a:r>
              <a:rPr lang="en-US" sz="1200" dirty="0">
                <a:solidFill>
                  <a:schemeClr val="bg1"/>
                </a:solidFill>
              </a:rPr>
              <a:t>Click on any image placeholder, choose </a:t>
            </a:r>
            <a:r>
              <a:rPr lang="en-US" sz="1200" i="1" dirty="0">
                <a:solidFill>
                  <a:schemeClr val="bg1"/>
                </a:solidFill>
              </a:rPr>
              <a:t>Change Picture</a:t>
            </a:r>
            <a:r>
              <a:rPr lang="en-US" sz="1200" dirty="0">
                <a:solidFill>
                  <a:schemeClr val="bg1"/>
                </a:solidFill>
              </a:rPr>
              <a:t>, and insert your own visuals. Use high-resolution, relevant images for maximum impact.</a:t>
            </a:r>
          </a:p>
        </p:txBody>
      </p:sp>
      <p:sp>
        <p:nvSpPr>
          <p:cNvPr id="41" name="Rectangle: Rounded Corners 22">
            <a:extLst>
              <a:ext uri="{FF2B5EF4-FFF2-40B4-BE49-F238E27FC236}">
                <a16:creationId xmlns:a16="http://schemas.microsoft.com/office/drawing/2014/main" id="{EDEA2AEC-938D-4D37-DAD2-8AFCB4845683}"/>
              </a:ext>
            </a:extLst>
          </p:cNvPr>
          <p:cNvSpPr/>
          <p:nvPr/>
        </p:nvSpPr>
        <p:spPr>
          <a:xfrm>
            <a:off x="7283467" y="2804612"/>
            <a:ext cx="2074310" cy="2909396"/>
          </a:xfrm>
          <a:prstGeom prst="roundRect">
            <a:avLst>
              <a:gd name="adj" fmla="val 9421"/>
            </a:avLst>
          </a:pr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371600" bIns="182880" rtlCol="0" anchor="t"/>
          <a:lstStyle/>
          <a:p>
            <a:r>
              <a:rPr lang="en-US" sz="1200" dirty="0">
                <a:solidFill>
                  <a:schemeClr val="bg1"/>
                </a:solidFill>
              </a:rPr>
              <a:t>If needed, adjust accent colors or fonts via the </a:t>
            </a:r>
            <a:r>
              <a:rPr lang="en-US" sz="1200" i="1" dirty="0">
                <a:solidFill>
                  <a:schemeClr val="bg1"/>
                </a:solidFill>
              </a:rPr>
              <a:t>Design</a:t>
            </a:r>
            <a:r>
              <a:rPr lang="en-US" sz="1200" dirty="0">
                <a:solidFill>
                  <a:schemeClr val="bg1"/>
                </a:solidFill>
              </a:rPr>
              <a:t> or </a:t>
            </a:r>
            <a:r>
              <a:rPr lang="en-US" sz="1200" i="1" dirty="0">
                <a:solidFill>
                  <a:schemeClr val="bg1"/>
                </a:solidFill>
              </a:rPr>
              <a:t>View &gt; Slide Master</a:t>
            </a:r>
            <a:r>
              <a:rPr lang="en-US" sz="1200" dirty="0">
                <a:solidFill>
                  <a:schemeClr val="bg1"/>
                </a:solidFill>
              </a:rPr>
              <a:t> tab to match your brand guidelines.</a:t>
            </a:r>
          </a:p>
        </p:txBody>
      </p:sp>
      <p:sp>
        <p:nvSpPr>
          <p:cNvPr id="42" name="Rectangle: Rounded Corners 23">
            <a:extLst>
              <a:ext uri="{FF2B5EF4-FFF2-40B4-BE49-F238E27FC236}">
                <a16:creationId xmlns:a16="http://schemas.microsoft.com/office/drawing/2014/main" id="{9E9AF51B-E02E-6C5D-0756-378CDB7E15EB}"/>
              </a:ext>
            </a:extLst>
          </p:cNvPr>
          <p:cNvSpPr/>
          <p:nvPr/>
        </p:nvSpPr>
        <p:spPr>
          <a:xfrm>
            <a:off x="9508090" y="2804612"/>
            <a:ext cx="2074310" cy="2909396"/>
          </a:xfrm>
          <a:prstGeom prst="roundRect">
            <a:avLst>
              <a:gd name="adj" fmla="val 9421"/>
            </a:avLst>
          </a:pr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371600" bIns="182880" rtlCol="0" anchor="t"/>
          <a:lstStyle/>
          <a:p>
            <a:r>
              <a:rPr lang="en-US" sz="1200" dirty="0">
                <a:solidFill>
                  <a:schemeClr val="bg1"/>
                </a:solidFill>
              </a:rPr>
              <a:t>Add new sections or remove slides that aren’t relevant by right-clicking in the slide sorter view.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1FCDE4E-24AA-AFA9-736A-3D6CC9513FFA}"/>
              </a:ext>
            </a:extLst>
          </p:cNvPr>
          <p:cNvSpPr txBox="1"/>
          <p:nvPr/>
        </p:nvSpPr>
        <p:spPr>
          <a:xfrm>
            <a:off x="609599" y="3342179"/>
            <a:ext cx="2074309" cy="584775"/>
          </a:xfrm>
          <a:prstGeom prst="rect">
            <a:avLst/>
          </a:prstGeom>
          <a:noFill/>
        </p:spPr>
        <p:txBody>
          <a:bodyPr wrap="square" lIns="182880" rIns="182880">
            <a:spAutoFit/>
          </a:bodyPr>
          <a:lstStyle/>
          <a:p>
            <a:r>
              <a:rPr lang="en-US" sz="1600" b="1" dirty="0">
                <a:solidFill>
                  <a:schemeClr val="bg1"/>
                </a:solidFill>
                <a:latin typeface="+mj-lt"/>
              </a:rPr>
              <a:t>Replace Placeholder text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47C725A7-5B9A-FD7F-9AD0-01242A87FE50}"/>
              </a:ext>
            </a:extLst>
          </p:cNvPr>
          <p:cNvSpPr txBox="1"/>
          <p:nvPr/>
        </p:nvSpPr>
        <p:spPr>
          <a:xfrm>
            <a:off x="2834220" y="3342179"/>
            <a:ext cx="2074309" cy="584775"/>
          </a:xfrm>
          <a:prstGeom prst="rect">
            <a:avLst/>
          </a:prstGeom>
          <a:noFill/>
        </p:spPr>
        <p:txBody>
          <a:bodyPr wrap="square" lIns="182880" rIns="182880">
            <a:spAutoFit/>
          </a:bodyPr>
          <a:lstStyle/>
          <a:p>
            <a:r>
              <a:rPr lang="en-US" sz="1600" b="1" dirty="0">
                <a:solidFill>
                  <a:schemeClr val="bg1"/>
                </a:solidFill>
                <a:latin typeface="+mj-lt"/>
              </a:rPr>
              <a:t>Update Data in Charts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0ADAD050-3D9B-3242-54CE-0DB2C269008D}"/>
              </a:ext>
            </a:extLst>
          </p:cNvPr>
          <p:cNvSpPr txBox="1"/>
          <p:nvPr/>
        </p:nvSpPr>
        <p:spPr>
          <a:xfrm>
            <a:off x="5058839" y="3342179"/>
            <a:ext cx="2074309" cy="338554"/>
          </a:xfrm>
          <a:prstGeom prst="rect">
            <a:avLst/>
          </a:prstGeom>
          <a:noFill/>
        </p:spPr>
        <p:txBody>
          <a:bodyPr wrap="square" lIns="182880" rIns="182880">
            <a:spAutoFit/>
          </a:bodyPr>
          <a:lstStyle/>
          <a:p>
            <a:r>
              <a:rPr lang="en-US" sz="1600" b="1" dirty="0">
                <a:solidFill>
                  <a:schemeClr val="bg1"/>
                </a:solidFill>
                <a:latin typeface="+mj-lt"/>
              </a:rPr>
              <a:t>Swap Out Images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DF9B7432-F20C-48A5-132E-695E7E952313}"/>
              </a:ext>
            </a:extLst>
          </p:cNvPr>
          <p:cNvSpPr txBox="1"/>
          <p:nvPr/>
        </p:nvSpPr>
        <p:spPr>
          <a:xfrm>
            <a:off x="7283468" y="3342179"/>
            <a:ext cx="2074309" cy="584775"/>
          </a:xfrm>
          <a:prstGeom prst="rect">
            <a:avLst/>
          </a:prstGeom>
          <a:noFill/>
        </p:spPr>
        <p:txBody>
          <a:bodyPr wrap="square" lIns="182880" rIns="182880">
            <a:spAutoFit/>
          </a:bodyPr>
          <a:lstStyle/>
          <a:p>
            <a:r>
              <a:rPr lang="en-US" sz="1600" b="1" dirty="0">
                <a:solidFill>
                  <a:schemeClr val="bg1"/>
                </a:solidFill>
                <a:latin typeface="+mj-lt"/>
              </a:rPr>
              <a:t>Adjust Colors and Styles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12D37916-8B9F-19B3-CCDD-C19762EC8C4D}"/>
              </a:ext>
            </a:extLst>
          </p:cNvPr>
          <p:cNvSpPr txBox="1"/>
          <p:nvPr/>
        </p:nvSpPr>
        <p:spPr>
          <a:xfrm>
            <a:off x="9508091" y="3342179"/>
            <a:ext cx="2074309" cy="584775"/>
          </a:xfrm>
          <a:prstGeom prst="rect">
            <a:avLst/>
          </a:prstGeom>
          <a:noFill/>
        </p:spPr>
        <p:txBody>
          <a:bodyPr wrap="square" lIns="182880" rIns="182880">
            <a:spAutoFit/>
          </a:bodyPr>
          <a:lstStyle/>
          <a:p>
            <a:r>
              <a:rPr lang="en-US" sz="1600" b="1" dirty="0">
                <a:solidFill>
                  <a:schemeClr val="bg1"/>
                </a:solidFill>
                <a:latin typeface="+mj-lt"/>
              </a:rPr>
              <a:t>Duplicate or Remove Slides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92DEFB1B-31F5-59B8-ACBB-CC23420C40D8}"/>
              </a:ext>
            </a:extLst>
          </p:cNvPr>
          <p:cNvSpPr txBox="1"/>
          <p:nvPr/>
        </p:nvSpPr>
        <p:spPr>
          <a:xfrm>
            <a:off x="609600" y="3033833"/>
            <a:ext cx="625121" cy="369332"/>
          </a:xfrm>
          <a:prstGeom prst="rect">
            <a:avLst/>
          </a:prstGeom>
          <a:noFill/>
        </p:spPr>
        <p:txBody>
          <a:bodyPr wrap="square" lIns="182880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  <a:latin typeface="+mj-lt"/>
              </a:rPr>
              <a:t>1.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86F882FB-6DA0-9989-0073-D7F828ACF95C}"/>
              </a:ext>
            </a:extLst>
          </p:cNvPr>
          <p:cNvSpPr txBox="1"/>
          <p:nvPr/>
        </p:nvSpPr>
        <p:spPr>
          <a:xfrm>
            <a:off x="2834213" y="3033833"/>
            <a:ext cx="625121" cy="369332"/>
          </a:xfrm>
          <a:prstGeom prst="rect">
            <a:avLst/>
          </a:prstGeom>
          <a:noFill/>
        </p:spPr>
        <p:txBody>
          <a:bodyPr wrap="square" lIns="182880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  <a:latin typeface="+mj-lt"/>
              </a:rPr>
              <a:t>2.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6B891F3B-1576-2F50-2C81-B2736F3CE3B6}"/>
              </a:ext>
            </a:extLst>
          </p:cNvPr>
          <p:cNvSpPr txBox="1"/>
          <p:nvPr/>
        </p:nvSpPr>
        <p:spPr>
          <a:xfrm>
            <a:off x="5058832" y="3033833"/>
            <a:ext cx="625121" cy="369332"/>
          </a:xfrm>
          <a:prstGeom prst="rect">
            <a:avLst/>
          </a:prstGeom>
          <a:noFill/>
        </p:spPr>
        <p:txBody>
          <a:bodyPr wrap="square" lIns="182880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  <a:latin typeface="+mj-lt"/>
              </a:rPr>
              <a:t>3.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3DBD2FF5-E44E-5DF3-1F91-9FE2CC175878}"/>
              </a:ext>
            </a:extLst>
          </p:cNvPr>
          <p:cNvSpPr txBox="1"/>
          <p:nvPr/>
        </p:nvSpPr>
        <p:spPr>
          <a:xfrm>
            <a:off x="7283455" y="3033833"/>
            <a:ext cx="625121" cy="369332"/>
          </a:xfrm>
          <a:prstGeom prst="rect">
            <a:avLst/>
          </a:prstGeom>
          <a:noFill/>
        </p:spPr>
        <p:txBody>
          <a:bodyPr wrap="square" lIns="182880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  <a:latin typeface="+mj-lt"/>
              </a:rPr>
              <a:t>4.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7BEE9CE7-13BD-0C16-3FFB-304F13061EF5}"/>
              </a:ext>
            </a:extLst>
          </p:cNvPr>
          <p:cNvSpPr txBox="1"/>
          <p:nvPr/>
        </p:nvSpPr>
        <p:spPr>
          <a:xfrm>
            <a:off x="9508089" y="3033833"/>
            <a:ext cx="625121" cy="369332"/>
          </a:xfrm>
          <a:prstGeom prst="rect">
            <a:avLst/>
          </a:prstGeom>
          <a:noFill/>
        </p:spPr>
        <p:txBody>
          <a:bodyPr wrap="square" lIns="182880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  <a:latin typeface="+mj-lt"/>
              </a:rPr>
              <a:t>5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DB26AE2-27E4-4AE8-3E37-CD11E890097A}"/>
              </a:ext>
            </a:extLst>
          </p:cNvPr>
          <p:cNvSpPr txBox="1"/>
          <p:nvPr/>
        </p:nvSpPr>
        <p:spPr>
          <a:xfrm>
            <a:off x="8098971" y="103374"/>
            <a:ext cx="3981200" cy="22083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100" dirty="0"/>
              <a:t>What could make this template better? Please tell us </a:t>
            </a:r>
            <a:r>
              <a:rPr lang="en-US" sz="1100" dirty="0">
                <a:hlinkClick r:id="rId5"/>
              </a:rPr>
              <a:t>here</a:t>
            </a:r>
            <a:r>
              <a:rPr lang="en-US" sz="11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32486272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37ABC83-2652-2F43-824F-BED35570AB9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think-cell data - do not delete" hidden="1">
            <a:extLst>
              <a:ext uri="{FF2B5EF4-FFF2-40B4-BE49-F238E27FC236}">
                <a16:creationId xmlns:a16="http://schemas.microsoft.com/office/drawing/2014/main" id="{DEBC8A33-D350-0D90-D4F3-CFD8D77784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31089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FA6C3D3-FCB6-1A53-C456-99B8387BC1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x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EC2CFEE-F498-3335-310B-8DD997AFE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A7A13CF7-6930-1DFD-9E02-DE06C26E62B5}"/>
              </a:ext>
            </a:extLst>
          </p:cNvPr>
          <p:cNvSpPr/>
          <p:nvPr/>
        </p:nvSpPr>
        <p:spPr>
          <a:xfrm>
            <a:off x="990600" y="1452177"/>
            <a:ext cx="2667000" cy="2065020"/>
          </a:xfrm>
          <a:custGeom>
            <a:avLst/>
            <a:gdLst>
              <a:gd name="connsiteX0" fmla="*/ 0 w 2667000"/>
              <a:gd name="connsiteY0" fmla="*/ 293370 h 2065020"/>
              <a:gd name="connsiteX1" fmla="*/ 0 w 2667000"/>
              <a:gd name="connsiteY1" fmla="*/ 0 h 2065020"/>
              <a:gd name="connsiteX2" fmla="*/ 2667000 w 2667000"/>
              <a:gd name="connsiteY2" fmla="*/ 0 h 2065020"/>
              <a:gd name="connsiteX3" fmla="*/ 2667000 w 2667000"/>
              <a:gd name="connsiteY3" fmla="*/ 2065020 h 2065020"/>
              <a:gd name="connsiteX4" fmla="*/ 0 w 2667000"/>
              <a:gd name="connsiteY4" fmla="*/ 2065020 h 2065020"/>
              <a:gd name="connsiteX5" fmla="*/ 0 w 2667000"/>
              <a:gd name="connsiteY5" fmla="*/ 1764030 h 2065020"/>
              <a:gd name="connsiteX0" fmla="*/ 0 w 2667000"/>
              <a:gd name="connsiteY0" fmla="*/ 293370 h 2065020"/>
              <a:gd name="connsiteX1" fmla="*/ 0 w 2667000"/>
              <a:gd name="connsiteY1" fmla="*/ 0 h 2065020"/>
              <a:gd name="connsiteX2" fmla="*/ 2667000 w 2667000"/>
              <a:gd name="connsiteY2" fmla="*/ 0 h 2065020"/>
              <a:gd name="connsiteX3" fmla="*/ 2667000 w 2667000"/>
              <a:gd name="connsiteY3" fmla="*/ 2065020 h 2065020"/>
              <a:gd name="connsiteX4" fmla="*/ 0 w 2667000"/>
              <a:gd name="connsiteY4" fmla="*/ 2065020 h 2065020"/>
              <a:gd name="connsiteX5" fmla="*/ 0 w 2667000"/>
              <a:gd name="connsiteY5" fmla="*/ 1889760 h 2065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67000" h="2065020">
                <a:moveTo>
                  <a:pt x="0" y="293370"/>
                </a:moveTo>
                <a:lnTo>
                  <a:pt x="0" y="0"/>
                </a:lnTo>
                <a:lnTo>
                  <a:pt x="2667000" y="0"/>
                </a:lnTo>
                <a:lnTo>
                  <a:pt x="2667000" y="2065020"/>
                </a:lnTo>
                <a:lnTo>
                  <a:pt x="0" y="2065020"/>
                </a:lnTo>
                <a:lnTo>
                  <a:pt x="0" y="1889760"/>
                </a:ln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7C747B0-772E-D215-3507-0376528D900B}"/>
              </a:ext>
            </a:extLst>
          </p:cNvPr>
          <p:cNvSpPr/>
          <p:nvPr/>
        </p:nvSpPr>
        <p:spPr>
          <a:xfrm>
            <a:off x="758386" y="1745547"/>
            <a:ext cx="469284" cy="485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>
                <a:latin typeface="+mj-lt"/>
                <a:cs typeface="Arial" panose="020B0604020202020204" pitchFamily="34" charset="0"/>
              </a:rPr>
              <a:t>01</a:t>
            </a: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7EDE7B84-3B03-C024-01C2-CA622DDF2323}"/>
              </a:ext>
            </a:extLst>
          </p:cNvPr>
          <p:cNvSpPr/>
          <p:nvPr/>
        </p:nvSpPr>
        <p:spPr>
          <a:xfrm>
            <a:off x="4762500" y="1452177"/>
            <a:ext cx="2667000" cy="2065020"/>
          </a:xfrm>
          <a:custGeom>
            <a:avLst/>
            <a:gdLst>
              <a:gd name="connsiteX0" fmla="*/ 0 w 2667000"/>
              <a:gd name="connsiteY0" fmla="*/ 293370 h 2065020"/>
              <a:gd name="connsiteX1" fmla="*/ 0 w 2667000"/>
              <a:gd name="connsiteY1" fmla="*/ 0 h 2065020"/>
              <a:gd name="connsiteX2" fmla="*/ 2667000 w 2667000"/>
              <a:gd name="connsiteY2" fmla="*/ 0 h 2065020"/>
              <a:gd name="connsiteX3" fmla="*/ 2667000 w 2667000"/>
              <a:gd name="connsiteY3" fmla="*/ 2065020 h 2065020"/>
              <a:gd name="connsiteX4" fmla="*/ 0 w 2667000"/>
              <a:gd name="connsiteY4" fmla="*/ 2065020 h 2065020"/>
              <a:gd name="connsiteX5" fmla="*/ 0 w 2667000"/>
              <a:gd name="connsiteY5" fmla="*/ 1764030 h 2065020"/>
              <a:gd name="connsiteX0" fmla="*/ 0 w 2667000"/>
              <a:gd name="connsiteY0" fmla="*/ 293370 h 2065020"/>
              <a:gd name="connsiteX1" fmla="*/ 0 w 2667000"/>
              <a:gd name="connsiteY1" fmla="*/ 0 h 2065020"/>
              <a:gd name="connsiteX2" fmla="*/ 2667000 w 2667000"/>
              <a:gd name="connsiteY2" fmla="*/ 0 h 2065020"/>
              <a:gd name="connsiteX3" fmla="*/ 2667000 w 2667000"/>
              <a:gd name="connsiteY3" fmla="*/ 2065020 h 2065020"/>
              <a:gd name="connsiteX4" fmla="*/ 0 w 2667000"/>
              <a:gd name="connsiteY4" fmla="*/ 2065020 h 2065020"/>
              <a:gd name="connsiteX5" fmla="*/ 0 w 2667000"/>
              <a:gd name="connsiteY5" fmla="*/ 1889760 h 2065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67000" h="2065020">
                <a:moveTo>
                  <a:pt x="0" y="293370"/>
                </a:moveTo>
                <a:lnTo>
                  <a:pt x="0" y="0"/>
                </a:lnTo>
                <a:lnTo>
                  <a:pt x="2667000" y="0"/>
                </a:lnTo>
                <a:lnTo>
                  <a:pt x="2667000" y="2065020"/>
                </a:lnTo>
                <a:lnTo>
                  <a:pt x="0" y="2065020"/>
                </a:lnTo>
                <a:lnTo>
                  <a:pt x="0" y="1889760"/>
                </a:lnTo>
              </a:path>
            </a:pathLst>
          </a:cu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F5786F3-4CC9-9C5C-785F-B3CA3DF29E34}"/>
              </a:ext>
            </a:extLst>
          </p:cNvPr>
          <p:cNvSpPr/>
          <p:nvPr/>
        </p:nvSpPr>
        <p:spPr>
          <a:xfrm>
            <a:off x="4530286" y="1745547"/>
            <a:ext cx="469284" cy="4854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>
                <a:latin typeface="+mj-lt"/>
                <a:cs typeface="Arial" panose="020B0604020202020204" pitchFamily="34" charset="0"/>
              </a:rPr>
              <a:t>02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20F8D6EE-D73E-4087-5A99-7CCBB8F1F6E9}"/>
              </a:ext>
            </a:extLst>
          </p:cNvPr>
          <p:cNvSpPr/>
          <p:nvPr/>
        </p:nvSpPr>
        <p:spPr>
          <a:xfrm>
            <a:off x="8534400" y="1444557"/>
            <a:ext cx="2667000" cy="2065020"/>
          </a:xfrm>
          <a:custGeom>
            <a:avLst/>
            <a:gdLst>
              <a:gd name="connsiteX0" fmla="*/ 0 w 2667000"/>
              <a:gd name="connsiteY0" fmla="*/ 293370 h 2065020"/>
              <a:gd name="connsiteX1" fmla="*/ 0 w 2667000"/>
              <a:gd name="connsiteY1" fmla="*/ 0 h 2065020"/>
              <a:gd name="connsiteX2" fmla="*/ 2667000 w 2667000"/>
              <a:gd name="connsiteY2" fmla="*/ 0 h 2065020"/>
              <a:gd name="connsiteX3" fmla="*/ 2667000 w 2667000"/>
              <a:gd name="connsiteY3" fmla="*/ 2065020 h 2065020"/>
              <a:gd name="connsiteX4" fmla="*/ 0 w 2667000"/>
              <a:gd name="connsiteY4" fmla="*/ 2065020 h 2065020"/>
              <a:gd name="connsiteX5" fmla="*/ 0 w 2667000"/>
              <a:gd name="connsiteY5" fmla="*/ 1764030 h 2065020"/>
              <a:gd name="connsiteX0" fmla="*/ 0 w 2667000"/>
              <a:gd name="connsiteY0" fmla="*/ 293370 h 2065020"/>
              <a:gd name="connsiteX1" fmla="*/ 0 w 2667000"/>
              <a:gd name="connsiteY1" fmla="*/ 0 h 2065020"/>
              <a:gd name="connsiteX2" fmla="*/ 2667000 w 2667000"/>
              <a:gd name="connsiteY2" fmla="*/ 0 h 2065020"/>
              <a:gd name="connsiteX3" fmla="*/ 2667000 w 2667000"/>
              <a:gd name="connsiteY3" fmla="*/ 2065020 h 2065020"/>
              <a:gd name="connsiteX4" fmla="*/ 0 w 2667000"/>
              <a:gd name="connsiteY4" fmla="*/ 2065020 h 2065020"/>
              <a:gd name="connsiteX5" fmla="*/ 0 w 2667000"/>
              <a:gd name="connsiteY5" fmla="*/ 1889760 h 2065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67000" h="2065020">
                <a:moveTo>
                  <a:pt x="0" y="293370"/>
                </a:moveTo>
                <a:lnTo>
                  <a:pt x="0" y="0"/>
                </a:lnTo>
                <a:lnTo>
                  <a:pt x="2667000" y="0"/>
                </a:lnTo>
                <a:lnTo>
                  <a:pt x="2667000" y="2065020"/>
                </a:lnTo>
                <a:lnTo>
                  <a:pt x="0" y="2065020"/>
                </a:lnTo>
                <a:lnTo>
                  <a:pt x="0" y="1889760"/>
                </a:lnTo>
              </a:path>
            </a:pathLst>
          </a:custGeom>
          <a:noFill/>
          <a:ln w="381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56D2FAD-8A84-268C-2845-7597C310ABB0}"/>
              </a:ext>
            </a:extLst>
          </p:cNvPr>
          <p:cNvSpPr/>
          <p:nvPr/>
        </p:nvSpPr>
        <p:spPr>
          <a:xfrm>
            <a:off x="8302186" y="1737927"/>
            <a:ext cx="469284" cy="48541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>
                <a:latin typeface="+mj-lt"/>
                <a:cs typeface="Arial" panose="020B0604020202020204" pitchFamily="34" charset="0"/>
              </a:rPr>
              <a:t>03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B39027AE-2A3C-75FD-8C51-3E7136197686}"/>
              </a:ext>
            </a:extLst>
          </p:cNvPr>
          <p:cNvSpPr/>
          <p:nvPr/>
        </p:nvSpPr>
        <p:spPr>
          <a:xfrm>
            <a:off x="990600" y="4042977"/>
            <a:ext cx="2667000" cy="2065020"/>
          </a:xfrm>
          <a:custGeom>
            <a:avLst/>
            <a:gdLst>
              <a:gd name="connsiteX0" fmla="*/ 0 w 2667000"/>
              <a:gd name="connsiteY0" fmla="*/ 293370 h 2065020"/>
              <a:gd name="connsiteX1" fmla="*/ 0 w 2667000"/>
              <a:gd name="connsiteY1" fmla="*/ 0 h 2065020"/>
              <a:gd name="connsiteX2" fmla="*/ 2667000 w 2667000"/>
              <a:gd name="connsiteY2" fmla="*/ 0 h 2065020"/>
              <a:gd name="connsiteX3" fmla="*/ 2667000 w 2667000"/>
              <a:gd name="connsiteY3" fmla="*/ 2065020 h 2065020"/>
              <a:gd name="connsiteX4" fmla="*/ 0 w 2667000"/>
              <a:gd name="connsiteY4" fmla="*/ 2065020 h 2065020"/>
              <a:gd name="connsiteX5" fmla="*/ 0 w 2667000"/>
              <a:gd name="connsiteY5" fmla="*/ 1764030 h 2065020"/>
              <a:gd name="connsiteX0" fmla="*/ 0 w 2667000"/>
              <a:gd name="connsiteY0" fmla="*/ 293370 h 2065020"/>
              <a:gd name="connsiteX1" fmla="*/ 0 w 2667000"/>
              <a:gd name="connsiteY1" fmla="*/ 0 h 2065020"/>
              <a:gd name="connsiteX2" fmla="*/ 2667000 w 2667000"/>
              <a:gd name="connsiteY2" fmla="*/ 0 h 2065020"/>
              <a:gd name="connsiteX3" fmla="*/ 2667000 w 2667000"/>
              <a:gd name="connsiteY3" fmla="*/ 2065020 h 2065020"/>
              <a:gd name="connsiteX4" fmla="*/ 0 w 2667000"/>
              <a:gd name="connsiteY4" fmla="*/ 2065020 h 2065020"/>
              <a:gd name="connsiteX5" fmla="*/ 0 w 2667000"/>
              <a:gd name="connsiteY5" fmla="*/ 1889760 h 2065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67000" h="2065020">
                <a:moveTo>
                  <a:pt x="0" y="293370"/>
                </a:moveTo>
                <a:lnTo>
                  <a:pt x="0" y="0"/>
                </a:lnTo>
                <a:lnTo>
                  <a:pt x="2667000" y="0"/>
                </a:lnTo>
                <a:lnTo>
                  <a:pt x="2667000" y="2065020"/>
                </a:lnTo>
                <a:lnTo>
                  <a:pt x="0" y="2065020"/>
                </a:lnTo>
                <a:lnTo>
                  <a:pt x="0" y="1889760"/>
                </a:lnTo>
              </a:path>
            </a:pathLst>
          </a:custGeom>
          <a:noFill/>
          <a:ln w="381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687B59E-F3D0-08B4-D6FC-15F77FC8B1A0}"/>
              </a:ext>
            </a:extLst>
          </p:cNvPr>
          <p:cNvSpPr/>
          <p:nvPr/>
        </p:nvSpPr>
        <p:spPr>
          <a:xfrm>
            <a:off x="758386" y="4336347"/>
            <a:ext cx="469284" cy="48541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>
                <a:latin typeface="+mj-lt"/>
                <a:cs typeface="Arial" panose="020B0604020202020204" pitchFamily="34" charset="0"/>
              </a:rPr>
              <a:t>04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6F649AE8-4A08-9CA0-1341-F74586A4026C}"/>
              </a:ext>
            </a:extLst>
          </p:cNvPr>
          <p:cNvSpPr/>
          <p:nvPr/>
        </p:nvSpPr>
        <p:spPr>
          <a:xfrm>
            <a:off x="4762500" y="4042977"/>
            <a:ext cx="2667000" cy="2065020"/>
          </a:xfrm>
          <a:custGeom>
            <a:avLst/>
            <a:gdLst>
              <a:gd name="connsiteX0" fmla="*/ 0 w 2667000"/>
              <a:gd name="connsiteY0" fmla="*/ 293370 h 2065020"/>
              <a:gd name="connsiteX1" fmla="*/ 0 w 2667000"/>
              <a:gd name="connsiteY1" fmla="*/ 0 h 2065020"/>
              <a:gd name="connsiteX2" fmla="*/ 2667000 w 2667000"/>
              <a:gd name="connsiteY2" fmla="*/ 0 h 2065020"/>
              <a:gd name="connsiteX3" fmla="*/ 2667000 w 2667000"/>
              <a:gd name="connsiteY3" fmla="*/ 2065020 h 2065020"/>
              <a:gd name="connsiteX4" fmla="*/ 0 w 2667000"/>
              <a:gd name="connsiteY4" fmla="*/ 2065020 h 2065020"/>
              <a:gd name="connsiteX5" fmla="*/ 0 w 2667000"/>
              <a:gd name="connsiteY5" fmla="*/ 1764030 h 2065020"/>
              <a:gd name="connsiteX0" fmla="*/ 0 w 2667000"/>
              <a:gd name="connsiteY0" fmla="*/ 293370 h 2065020"/>
              <a:gd name="connsiteX1" fmla="*/ 0 w 2667000"/>
              <a:gd name="connsiteY1" fmla="*/ 0 h 2065020"/>
              <a:gd name="connsiteX2" fmla="*/ 2667000 w 2667000"/>
              <a:gd name="connsiteY2" fmla="*/ 0 h 2065020"/>
              <a:gd name="connsiteX3" fmla="*/ 2667000 w 2667000"/>
              <a:gd name="connsiteY3" fmla="*/ 2065020 h 2065020"/>
              <a:gd name="connsiteX4" fmla="*/ 0 w 2667000"/>
              <a:gd name="connsiteY4" fmla="*/ 2065020 h 2065020"/>
              <a:gd name="connsiteX5" fmla="*/ 0 w 2667000"/>
              <a:gd name="connsiteY5" fmla="*/ 1889760 h 2065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67000" h="2065020">
                <a:moveTo>
                  <a:pt x="0" y="293370"/>
                </a:moveTo>
                <a:lnTo>
                  <a:pt x="0" y="0"/>
                </a:lnTo>
                <a:lnTo>
                  <a:pt x="2667000" y="0"/>
                </a:lnTo>
                <a:lnTo>
                  <a:pt x="2667000" y="2065020"/>
                </a:lnTo>
                <a:lnTo>
                  <a:pt x="0" y="2065020"/>
                </a:lnTo>
                <a:lnTo>
                  <a:pt x="0" y="1889760"/>
                </a:lnTo>
              </a:path>
            </a:pathLst>
          </a:custGeom>
          <a:noFill/>
          <a:ln w="381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4A99964-C00E-199A-9BF2-FA36528C8C13}"/>
              </a:ext>
            </a:extLst>
          </p:cNvPr>
          <p:cNvSpPr/>
          <p:nvPr/>
        </p:nvSpPr>
        <p:spPr>
          <a:xfrm>
            <a:off x="4530286" y="4336347"/>
            <a:ext cx="469284" cy="48541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05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DD753F99-0BC3-8301-421E-BF101DFF353E}"/>
              </a:ext>
            </a:extLst>
          </p:cNvPr>
          <p:cNvSpPr/>
          <p:nvPr/>
        </p:nvSpPr>
        <p:spPr>
          <a:xfrm>
            <a:off x="8534400" y="4042977"/>
            <a:ext cx="2667000" cy="2065020"/>
          </a:xfrm>
          <a:custGeom>
            <a:avLst/>
            <a:gdLst>
              <a:gd name="connsiteX0" fmla="*/ 0 w 2667000"/>
              <a:gd name="connsiteY0" fmla="*/ 293370 h 2065020"/>
              <a:gd name="connsiteX1" fmla="*/ 0 w 2667000"/>
              <a:gd name="connsiteY1" fmla="*/ 0 h 2065020"/>
              <a:gd name="connsiteX2" fmla="*/ 2667000 w 2667000"/>
              <a:gd name="connsiteY2" fmla="*/ 0 h 2065020"/>
              <a:gd name="connsiteX3" fmla="*/ 2667000 w 2667000"/>
              <a:gd name="connsiteY3" fmla="*/ 2065020 h 2065020"/>
              <a:gd name="connsiteX4" fmla="*/ 0 w 2667000"/>
              <a:gd name="connsiteY4" fmla="*/ 2065020 h 2065020"/>
              <a:gd name="connsiteX5" fmla="*/ 0 w 2667000"/>
              <a:gd name="connsiteY5" fmla="*/ 1764030 h 2065020"/>
              <a:gd name="connsiteX0" fmla="*/ 0 w 2667000"/>
              <a:gd name="connsiteY0" fmla="*/ 293370 h 2065020"/>
              <a:gd name="connsiteX1" fmla="*/ 0 w 2667000"/>
              <a:gd name="connsiteY1" fmla="*/ 0 h 2065020"/>
              <a:gd name="connsiteX2" fmla="*/ 2667000 w 2667000"/>
              <a:gd name="connsiteY2" fmla="*/ 0 h 2065020"/>
              <a:gd name="connsiteX3" fmla="*/ 2667000 w 2667000"/>
              <a:gd name="connsiteY3" fmla="*/ 2065020 h 2065020"/>
              <a:gd name="connsiteX4" fmla="*/ 0 w 2667000"/>
              <a:gd name="connsiteY4" fmla="*/ 2065020 h 2065020"/>
              <a:gd name="connsiteX5" fmla="*/ 0 w 2667000"/>
              <a:gd name="connsiteY5" fmla="*/ 1889760 h 2065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67000" h="2065020">
                <a:moveTo>
                  <a:pt x="0" y="293370"/>
                </a:moveTo>
                <a:lnTo>
                  <a:pt x="0" y="0"/>
                </a:lnTo>
                <a:lnTo>
                  <a:pt x="2667000" y="0"/>
                </a:lnTo>
                <a:lnTo>
                  <a:pt x="2667000" y="2065020"/>
                </a:lnTo>
                <a:lnTo>
                  <a:pt x="0" y="2065020"/>
                </a:lnTo>
                <a:lnTo>
                  <a:pt x="0" y="1889760"/>
                </a:lnTo>
              </a:path>
            </a:pathLst>
          </a:custGeom>
          <a:noFill/>
          <a:ln w="381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4BED46F-8DD9-B829-CD8F-7071FE808FAF}"/>
              </a:ext>
            </a:extLst>
          </p:cNvPr>
          <p:cNvSpPr/>
          <p:nvPr/>
        </p:nvSpPr>
        <p:spPr>
          <a:xfrm>
            <a:off x="8302186" y="4336347"/>
            <a:ext cx="469284" cy="48541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06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8260AB72-720D-A4FC-869F-DD869A09B9B9}"/>
              </a:ext>
            </a:extLst>
          </p:cNvPr>
          <p:cNvSpPr txBox="1">
            <a:spLocks/>
          </p:cNvSpPr>
          <p:nvPr/>
        </p:nvSpPr>
        <p:spPr>
          <a:xfrm>
            <a:off x="1312956" y="1745547"/>
            <a:ext cx="2192244" cy="1634490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1800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Title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1600" b="0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007598FC-0DEA-5E05-8105-176EF97F3A05}"/>
              </a:ext>
            </a:extLst>
          </p:cNvPr>
          <p:cNvSpPr txBox="1">
            <a:spLocks/>
          </p:cNvSpPr>
          <p:nvPr/>
        </p:nvSpPr>
        <p:spPr>
          <a:xfrm>
            <a:off x="1312956" y="4336347"/>
            <a:ext cx="2192244" cy="1634490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Tx/>
              <a:buFontTx/>
              <a:buNone/>
              <a:tabLst/>
              <a:defRPr/>
            </a:pP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Titl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68F2EB70-4BCD-CD22-7825-3A681DBE4D41}"/>
              </a:ext>
            </a:extLst>
          </p:cNvPr>
          <p:cNvSpPr txBox="1">
            <a:spLocks/>
          </p:cNvSpPr>
          <p:nvPr/>
        </p:nvSpPr>
        <p:spPr>
          <a:xfrm>
            <a:off x="5081314" y="1745547"/>
            <a:ext cx="2192244" cy="1634490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Tx/>
              <a:buFontTx/>
              <a:buNone/>
              <a:tabLst/>
              <a:defRPr/>
            </a:pP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Titl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8B49D294-0372-18E7-4A42-7820F7DB3C22}"/>
              </a:ext>
            </a:extLst>
          </p:cNvPr>
          <p:cNvSpPr txBox="1">
            <a:spLocks/>
          </p:cNvSpPr>
          <p:nvPr/>
        </p:nvSpPr>
        <p:spPr>
          <a:xfrm>
            <a:off x="5081314" y="4336347"/>
            <a:ext cx="2192244" cy="1634490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Tx/>
              <a:buFontTx/>
              <a:buNone/>
              <a:tabLst/>
              <a:defRPr/>
            </a:pP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Titl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3082C9F9-8BA1-E360-C139-0E4364CF5D57}"/>
              </a:ext>
            </a:extLst>
          </p:cNvPr>
          <p:cNvSpPr txBox="1">
            <a:spLocks/>
          </p:cNvSpPr>
          <p:nvPr/>
        </p:nvSpPr>
        <p:spPr>
          <a:xfrm>
            <a:off x="8849673" y="1745547"/>
            <a:ext cx="2192244" cy="1634490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Tx/>
              <a:buFontTx/>
              <a:buNone/>
              <a:tabLst/>
              <a:defRPr/>
            </a:pP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Titl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9F972A95-6EFE-AD69-72B4-38EA2215F9B3}"/>
              </a:ext>
            </a:extLst>
          </p:cNvPr>
          <p:cNvSpPr txBox="1">
            <a:spLocks/>
          </p:cNvSpPr>
          <p:nvPr/>
        </p:nvSpPr>
        <p:spPr>
          <a:xfrm>
            <a:off x="8849673" y="4336347"/>
            <a:ext cx="2192244" cy="1634490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Tx/>
              <a:buFontTx/>
              <a:buNone/>
              <a:tabLst/>
              <a:defRPr/>
            </a:pP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Titl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Insert Text Here</a:t>
            </a:r>
          </a:p>
        </p:txBody>
      </p:sp>
    </p:spTree>
    <p:extLst>
      <p:ext uri="{BB962C8B-B14F-4D97-AF65-F5344CB8AC3E}">
        <p14:creationId xmlns:p14="http://schemas.microsoft.com/office/powerpoint/2010/main" val="1898792478"/>
      </p:ext>
    </p:extLst>
  </p:cSld>
  <p:clrMapOvr>
    <a:masterClrMapping/>
  </p:clrMapOvr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FF19C6-30A2-F980-4D03-48B91CC28C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think-cell data - do not delete" hidden="1">
            <a:extLst>
              <a:ext uri="{FF2B5EF4-FFF2-40B4-BE49-F238E27FC236}">
                <a16:creationId xmlns:a16="http://schemas.microsoft.com/office/drawing/2014/main" id="{068EDDBA-652E-50E3-08B8-785059686EB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68EDDBA-652E-50E3-08B8-785059686E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8F796C3-35F8-0AF3-3D19-8AFC7B66AA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illar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F0FA35-651D-A873-F3F4-F9ACED861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00</a:t>
            </a:fld>
            <a:endParaRPr lang="en-US" dirty="0"/>
          </a:p>
        </p:txBody>
      </p:sp>
      <p:sp>
        <p:nvSpPr>
          <p:cNvPr id="6" name="Isosceles Triangle 5">
            <a:extLst>
              <a:ext uri="{FF2B5EF4-FFF2-40B4-BE49-F238E27FC236}">
                <a16:creationId xmlns:a16="http://schemas.microsoft.com/office/drawing/2014/main" id="{7B6A61DE-B138-293C-1CC7-393D2CC06975}"/>
              </a:ext>
            </a:extLst>
          </p:cNvPr>
          <p:cNvSpPr/>
          <p:nvPr/>
        </p:nvSpPr>
        <p:spPr>
          <a:xfrm>
            <a:off x="2058494" y="1008405"/>
            <a:ext cx="8075015" cy="1618144"/>
          </a:xfrm>
          <a:prstGeom prst="triangle">
            <a:avLst/>
          </a:prstGeom>
          <a:solidFill>
            <a:schemeClr val="accent1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tIns="0" rtlCol="0" anchor="t"/>
          <a:lstStyle/>
          <a:p>
            <a:pPr algn="ctr" defTabSz="685800">
              <a:defRPr/>
            </a:pPr>
            <a:endParaRPr lang="en-US" sz="1350" b="1" kern="0" dirty="0">
              <a:solidFill>
                <a:prstClr val="white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6A15CFC-B124-6069-8ADB-AD2677A77884}"/>
              </a:ext>
            </a:extLst>
          </p:cNvPr>
          <p:cNvSpPr/>
          <p:nvPr/>
        </p:nvSpPr>
        <p:spPr>
          <a:xfrm>
            <a:off x="2046000" y="2624726"/>
            <a:ext cx="8100000" cy="439884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685800">
              <a:defRPr/>
            </a:pPr>
            <a:endParaRPr lang="en-US" sz="1350" kern="0" dirty="0">
              <a:solidFill>
                <a:prstClr val="white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489C6D9-143F-2822-02A6-5E5D73E4F635}"/>
              </a:ext>
            </a:extLst>
          </p:cNvPr>
          <p:cNvSpPr/>
          <p:nvPr/>
        </p:nvSpPr>
        <p:spPr>
          <a:xfrm>
            <a:off x="3607906" y="1042938"/>
            <a:ext cx="4948696" cy="1384995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defTabSz="685800">
              <a:defRPr/>
            </a:pPr>
            <a:r>
              <a:rPr lang="en-US" sz="6000" b="1" kern="0" dirty="0">
                <a:solidFill>
                  <a:prstClr val="white"/>
                </a:solidFill>
              </a:rPr>
              <a:t>1</a:t>
            </a:r>
          </a:p>
          <a:p>
            <a:pPr algn="ctr" defTabSz="685800">
              <a:defRPr/>
            </a:pPr>
            <a:r>
              <a:rPr lang="en-US" sz="2400" b="1" kern="0" dirty="0">
                <a:solidFill>
                  <a:prstClr val="white"/>
                </a:solidFill>
              </a:rPr>
              <a:t>Header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3665B27-9994-6E5A-BCAF-572D52D53CEF}"/>
              </a:ext>
            </a:extLst>
          </p:cNvPr>
          <p:cNvSpPr/>
          <p:nvPr/>
        </p:nvSpPr>
        <p:spPr>
          <a:xfrm>
            <a:off x="3224362" y="2689341"/>
            <a:ext cx="534598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5800">
              <a:defRPr/>
            </a:pPr>
            <a:r>
              <a:rPr lang="en-US" sz="1400" b="1" kern="0" dirty="0">
                <a:solidFill>
                  <a:prstClr val="white"/>
                </a:solidFill>
              </a:rPr>
              <a:t>Header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CF04269-F115-EA46-BB70-E2599C5B598D}"/>
              </a:ext>
            </a:extLst>
          </p:cNvPr>
          <p:cNvSpPr/>
          <p:nvPr/>
        </p:nvSpPr>
        <p:spPr>
          <a:xfrm>
            <a:off x="2534978" y="3078357"/>
            <a:ext cx="1553341" cy="2631307"/>
          </a:xfrm>
          <a:prstGeom prst="rect">
            <a:avLst/>
          </a:prstGeom>
          <a:solidFill>
            <a:schemeClr val="accent2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tIns="91440" rtlCol="0" anchor="t"/>
          <a:lstStyle/>
          <a:p>
            <a:pPr algn="ctr" defTabSz="685800">
              <a:defRPr/>
            </a:pPr>
            <a:r>
              <a:rPr lang="en-US" sz="1350" kern="0" dirty="0">
                <a:solidFill>
                  <a:prstClr val="white"/>
                </a:solidFill>
              </a:rPr>
              <a:t>Headline</a:t>
            </a:r>
          </a:p>
          <a:p>
            <a:pPr algn="ctr" defTabSz="685800">
              <a:defRPr/>
            </a:pPr>
            <a:endParaRPr lang="en-US" sz="1350" kern="0" dirty="0">
              <a:solidFill>
                <a:prstClr val="white"/>
              </a:solidFill>
            </a:endParaRPr>
          </a:p>
          <a:p>
            <a:pPr algn="ctr" defTabSz="685800">
              <a:defRPr/>
            </a:pPr>
            <a:endParaRPr lang="en-US" sz="1350" kern="0" dirty="0">
              <a:solidFill>
                <a:prstClr val="white"/>
              </a:solidFill>
            </a:endParaRPr>
          </a:p>
          <a:p>
            <a:pPr algn="ctr" defTabSz="685800">
              <a:defRPr/>
            </a:pPr>
            <a:endParaRPr lang="en-US" sz="1350" kern="0" dirty="0">
              <a:solidFill>
                <a:prstClr val="white"/>
              </a:solidFill>
            </a:endParaRPr>
          </a:p>
          <a:p>
            <a:pPr algn="ctr">
              <a:defRPr/>
            </a:pPr>
            <a:r>
              <a:rPr lang="en-US" sz="1400" kern="0" dirty="0">
                <a:solidFill>
                  <a:schemeClr val="bg1"/>
                </a:solidFill>
                <a:cs typeface="Arial"/>
              </a:rPr>
              <a:t>This is a sample text. You simply add your own text </a:t>
            </a:r>
            <a:endParaRPr lang="en-US" sz="1400" kern="0" dirty="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D5A0B12-CA29-68C1-F17A-082AA3379844}"/>
              </a:ext>
            </a:extLst>
          </p:cNvPr>
          <p:cNvSpPr/>
          <p:nvPr/>
        </p:nvSpPr>
        <p:spPr>
          <a:xfrm>
            <a:off x="4339682" y="3078357"/>
            <a:ext cx="1553341" cy="2631307"/>
          </a:xfrm>
          <a:prstGeom prst="rect">
            <a:avLst/>
          </a:prstGeom>
          <a:solidFill>
            <a:schemeClr val="accent4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tIns="91440" rtlCol="0" anchor="t"/>
          <a:lstStyle/>
          <a:p>
            <a:pPr algn="ctr" defTabSz="685800">
              <a:defRPr/>
            </a:pPr>
            <a:r>
              <a:rPr lang="en-US" sz="1350" kern="0" dirty="0">
                <a:solidFill>
                  <a:prstClr val="white"/>
                </a:solidFill>
              </a:rPr>
              <a:t>Headline</a:t>
            </a:r>
          </a:p>
          <a:p>
            <a:pPr algn="ctr" defTabSz="685800">
              <a:defRPr/>
            </a:pPr>
            <a:endParaRPr lang="en-US" sz="1350" kern="0" dirty="0">
              <a:solidFill>
                <a:prstClr val="white"/>
              </a:solidFill>
            </a:endParaRPr>
          </a:p>
          <a:p>
            <a:pPr algn="ctr" defTabSz="685800">
              <a:defRPr/>
            </a:pPr>
            <a:endParaRPr lang="en-US" sz="1350" kern="0" dirty="0">
              <a:solidFill>
                <a:prstClr val="white"/>
              </a:solidFill>
            </a:endParaRPr>
          </a:p>
          <a:p>
            <a:pPr algn="ctr" defTabSz="685800">
              <a:defRPr/>
            </a:pPr>
            <a:endParaRPr lang="en-US" sz="1350" kern="0" dirty="0">
              <a:solidFill>
                <a:prstClr val="white"/>
              </a:solidFill>
            </a:endParaRPr>
          </a:p>
          <a:p>
            <a:pPr algn="ctr">
              <a:defRPr/>
            </a:pPr>
            <a:r>
              <a:rPr lang="en-US" sz="1200" kern="0" dirty="0">
                <a:solidFill>
                  <a:schemeClr val="bg1"/>
                </a:solidFill>
                <a:cs typeface="Arial"/>
              </a:rPr>
              <a:t>This is a sample text. You simply add your own text </a:t>
            </a:r>
            <a:endParaRPr lang="en-US" sz="1200" kern="0" dirty="0">
              <a:solidFill>
                <a:schemeClr val="bg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DBC5237-CE35-6209-C5A4-331F5EE84052}"/>
              </a:ext>
            </a:extLst>
          </p:cNvPr>
          <p:cNvSpPr/>
          <p:nvPr/>
        </p:nvSpPr>
        <p:spPr>
          <a:xfrm>
            <a:off x="6067797" y="3078357"/>
            <a:ext cx="1553341" cy="2631307"/>
          </a:xfrm>
          <a:prstGeom prst="rect">
            <a:avLst/>
          </a:prstGeom>
          <a:solidFill>
            <a:schemeClr val="accent2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tIns="91440" rtlCol="0" anchor="t"/>
          <a:lstStyle/>
          <a:p>
            <a:pPr algn="ctr" defTabSz="685800">
              <a:defRPr/>
            </a:pPr>
            <a:r>
              <a:rPr lang="en-US" sz="1350" kern="0" dirty="0">
                <a:solidFill>
                  <a:prstClr val="white"/>
                </a:solidFill>
              </a:rPr>
              <a:t>Headline</a:t>
            </a:r>
          </a:p>
          <a:p>
            <a:pPr algn="ctr" defTabSz="685800">
              <a:defRPr/>
            </a:pPr>
            <a:endParaRPr lang="en-US" sz="1350" kern="0" dirty="0">
              <a:solidFill>
                <a:prstClr val="white"/>
              </a:solidFill>
            </a:endParaRPr>
          </a:p>
          <a:p>
            <a:pPr algn="ctr" defTabSz="685800">
              <a:defRPr/>
            </a:pPr>
            <a:endParaRPr lang="en-US" sz="1350" kern="0" dirty="0">
              <a:solidFill>
                <a:prstClr val="white"/>
              </a:solidFill>
            </a:endParaRPr>
          </a:p>
          <a:p>
            <a:pPr algn="ctr" defTabSz="685800">
              <a:defRPr/>
            </a:pPr>
            <a:endParaRPr lang="en-US" sz="1350" kern="0" dirty="0">
              <a:solidFill>
                <a:prstClr val="white"/>
              </a:solidFill>
            </a:endParaRPr>
          </a:p>
          <a:p>
            <a:pPr algn="ctr">
              <a:defRPr/>
            </a:pPr>
            <a:r>
              <a:rPr lang="en-US" sz="1200" kern="0" dirty="0">
                <a:solidFill>
                  <a:schemeClr val="bg1"/>
                </a:solidFill>
                <a:cs typeface="Arial"/>
              </a:rPr>
              <a:t>This is a sample text. You simply add your own text </a:t>
            </a:r>
            <a:endParaRPr lang="en-US" sz="1200" kern="0" dirty="0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AD576D5-1363-7FA7-5786-EFEB792CF93F}"/>
              </a:ext>
            </a:extLst>
          </p:cNvPr>
          <p:cNvSpPr/>
          <p:nvPr/>
        </p:nvSpPr>
        <p:spPr>
          <a:xfrm>
            <a:off x="7865627" y="3078357"/>
            <a:ext cx="1553341" cy="2631307"/>
          </a:xfrm>
          <a:prstGeom prst="rect">
            <a:avLst/>
          </a:prstGeom>
          <a:solidFill>
            <a:schemeClr val="accent4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tIns="91440" rtlCol="0" anchor="t"/>
          <a:lstStyle/>
          <a:p>
            <a:pPr algn="ctr" defTabSz="685800">
              <a:defRPr/>
            </a:pPr>
            <a:r>
              <a:rPr lang="en-US" sz="1350" kern="0" dirty="0">
                <a:solidFill>
                  <a:prstClr val="white"/>
                </a:solidFill>
              </a:rPr>
              <a:t>Headline</a:t>
            </a:r>
          </a:p>
          <a:p>
            <a:pPr algn="ctr" defTabSz="685800">
              <a:defRPr/>
            </a:pPr>
            <a:endParaRPr lang="en-US" sz="1350" kern="0" dirty="0">
              <a:solidFill>
                <a:prstClr val="white"/>
              </a:solidFill>
            </a:endParaRPr>
          </a:p>
          <a:p>
            <a:pPr algn="ctr" defTabSz="685800">
              <a:defRPr/>
            </a:pPr>
            <a:endParaRPr lang="en-US" sz="1350" kern="0" dirty="0">
              <a:solidFill>
                <a:prstClr val="white"/>
              </a:solidFill>
            </a:endParaRPr>
          </a:p>
          <a:p>
            <a:pPr algn="ctr" defTabSz="685800">
              <a:defRPr/>
            </a:pPr>
            <a:endParaRPr lang="en-US" sz="1350" kern="0" dirty="0">
              <a:solidFill>
                <a:prstClr val="white"/>
              </a:solidFill>
            </a:endParaRPr>
          </a:p>
          <a:p>
            <a:pPr algn="ctr">
              <a:defRPr/>
            </a:pPr>
            <a:r>
              <a:rPr lang="en-US" sz="1200" kern="0" dirty="0">
                <a:solidFill>
                  <a:schemeClr val="bg1"/>
                </a:solidFill>
                <a:cs typeface="Arial"/>
              </a:rPr>
              <a:t>This is a sample text. You simply add your own text </a:t>
            </a:r>
            <a:endParaRPr lang="en-US" sz="1200" kern="0" dirty="0">
              <a:solidFill>
                <a:schemeClr val="bg1"/>
              </a:solidFill>
            </a:endParaRPr>
          </a:p>
        </p:txBody>
      </p:sp>
      <p:sp>
        <p:nvSpPr>
          <p:cNvPr id="14" name="Freeform 50">
            <a:extLst>
              <a:ext uri="{FF2B5EF4-FFF2-40B4-BE49-F238E27FC236}">
                <a16:creationId xmlns:a16="http://schemas.microsoft.com/office/drawing/2014/main" id="{D381F1BE-F2E0-C67C-E9B6-94C876E9981B}"/>
              </a:ext>
            </a:extLst>
          </p:cNvPr>
          <p:cNvSpPr/>
          <p:nvPr/>
        </p:nvSpPr>
        <p:spPr>
          <a:xfrm>
            <a:off x="2534978" y="3496498"/>
            <a:ext cx="6900682" cy="0"/>
          </a:xfrm>
          <a:custGeom>
            <a:avLst/>
            <a:gdLst>
              <a:gd name="connsiteX0" fmla="*/ 0 w 6375400"/>
              <a:gd name="connsiteY0" fmla="*/ 0 h 0"/>
              <a:gd name="connsiteX1" fmla="*/ 6375400 w 63754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375400">
                <a:moveTo>
                  <a:pt x="0" y="0"/>
                </a:moveTo>
                <a:lnTo>
                  <a:pt x="6375400" y="0"/>
                </a:lnTo>
              </a:path>
            </a:pathLst>
          </a:custGeom>
          <a:noFill/>
          <a:ln w="254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685800">
              <a:defRPr/>
            </a:pPr>
            <a:endParaRPr lang="en-US" sz="1350" kern="0" dirty="0">
              <a:solidFill>
                <a:prstClr val="white"/>
              </a:solidFill>
            </a:endParaRPr>
          </a:p>
        </p:txBody>
      </p:sp>
      <p:sp>
        <p:nvSpPr>
          <p:cNvPr id="15" name="Right Arrow 51">
            <a:extLst>
              <a:ext uri="{FF2B5EF4-FFF2-40B4-BE49-F238E27FC236}">
                <a16:creationId xmlns:a16="http://schemas.microsoft.com/office/drawing/2014/main" id="{6DC68F10-6188-E621-6B35-6DA9620158A5}"/>
              </a:ext>
            </a:extLst>
          </p:cNvPr>
          <p:cNvSpPr/>
          <p:nvPr/>
        </p:nvSpPr>
        <p:spPr>
          <a:xfrm>
            <a:off x="2287543" y="5572200"/>
            <a:ext cx="7794196" cy="948500"/>
          </a:xfrm>
          <a:prstGeom prst="rightArrow">
            <a:avLst>
              <a:gd name="adj1" fmla="val 65000"/>
              <a:gd name="adj2" fmla="val 45158"/>
            </a:avLst>
          </a:prstGeom>
          <a:solidFill>
            <a:schemeClr val="accent5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685800">
              <a:defRPr/>
            </a:pPr>
            <a:endParaRPr lang="en-US" sz="1350" kern="0" dirty="0">
              <a:solidFill>
                <a:prstClr val="white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3271C54-935F-22A9-3769-1F795BD20E11}"/>
              </a:ext>
            </a:extLst>
          </p:cNvPr>
          <p:cNvSpPr/>
          <p:nvPr/>
        </p:nvSpPr>
        <p:spPr>
          <a:xfrm>
            <a:off x="3002355" y="5907376"/>
            <a:ext cx="1486029" cy="3331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5800">
              <a:defRPr/>
            </a:pPr>
            <a:r>
              <a:rPr lang="en-US" sz="1400" b="1" kern="0" dirty="0">
                <a:solidFill>
                  <a:prstClr val="white"/>
                </a:solidFill>
              </a:rPr>
              <a:t>SAMPLE TEXT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41720DA-BE06-B15E-A789-005EA0F79985}"/>
              </a:ext>
            </a:extLst>
          </p:cNvPr>
          <p:cNvSpPr/>
          <p:nvPr/>
        </p:nvSpPr>
        <p:spPr>
          <a:xfrm>
            <a:off x="7497420" y="5907376"/>
            <a:ext cx="1735429" cy="3331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5800">
              <a:defRPr/>
            </a:pPr>
            <a:r>
              <a:rPr lang="en-US" sz="1400" b="1" kern="0" dirty="0">
                <a:solidFill>
                  <a:prstClr val="white"/>
                </a:solidFill>
              </a:rPr>
              <a:t>SAMPLE TEXT</a:t>
            </a:r>
          </a:p>
        </p:txBody>
      </p:sp>
      <p:sp>
        <p:nvSpPr>
          <p:cNvPr id="18" name="Freeform 54">
            <a:extLst>
              <a:ext uri="{FF2B5EF4-FFF2-40B4-BE49-F238E27FC236}">
                <a16:creationId xmlns:a16="http://schemas.microsoft.com/office/drawing/2014/main" id="{8FED7E42-35CA-C542-D50E-F47930695907}"/>
              </a:ext>
            </a:extLst>
          </p:cNvPr>
          <p:cNvSpPr/>
          <p:nvPr/>
        </p:nvSpPr>
        <p:spPr>
          <a:xfrm>
            <a:off x="2562471" y="6067070"/>
            <a:ext cx="494870" cy="0"/>
          </a:xfrm>
          <a:custGeom>
            <a:avLst/>
            <a:gdLst>
              <a:gd name="connsiteX0" fmla="*/ 0 w 6540500"/>
              <a:gd name="connsiteY0" fmla="*/ 0 h 0"/>
              <a:gd name="connsiteX1" fmla="*/ 6540500 w 65405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540500">
                <a:moveTo>
                  <a:pt x="0" y="0"/>
                </a:moveTo>
                <a:lnTo>
                  <a:pt x="6540500" y="0"/>
                </a:lnTo>
              </a:path>
            </a:pathLst>
          </a:custGeom>
          <a:noFill/>
          <a:ln w="12700" cap="flat" cmpd="sng" algn="ctr">
            <a:solidFill>
              <a:schemeClr val="bg1"/>
            </a:solidFill>
            <a:prstDash val="sysDot"/>
            <a:miter lim="800000"/>
          </a:ln>
          <a:effectLst/>
        </p:spPr>
        <p:txBody>
          <a:bodyPr rtlCol="0" anchor="ctr"/>
          <a:lstStyle/>
          <a:p>
            <a:pPr algn="ctr" defTabSz="685800">
              <a:defRPr/>
            </a:pPr>
            <a:endParaRPr lang="en-US" sz="1350" kern="0" dirty="0">
              <a:solidFill>
                <a:prstClr val="white"/>
              </a:solidFill>
            </a:endParaRPr>
          </a:p>
        </p:txBody>
      </p:sp>
      <p:sp>
        <p:nvSpPr>
          <p:cNvPr id="19" name="Freeform 55">
            <a:extLst>
              <a:ext uri="{FF2B5EF4-FFF2-40B4-BE49-F238E27FC236}">
                <a16:creationId xmlns:a16="http://schemas.microsoft.com/office/drawing/2014/main" id="{2DEBD377-59FC-17BE-B641-02AD64B0F275}"/>
              </a:ext>
            </a:extLst>
          </p:cNvPr>
          <p:cNvSpPr/>
          <p:nvPr/>
        </p:nvSpPr>
        <p:spPr>
          <a:xfrm>
            <a:off x="4488384" y="6067070"/>
            <a:ext cx="3068191" cy="0"/>
          </a:xfrm>
          <a:custGeom>
            <a:avLst/>
            <a:gdLst>
              <a:gd name="connsiteX0" fmla="*/ 0 w 6540500"/>
              <a:gd name="connsiteY0" fmla="*/ 0 h 0"/>
              <a:gd name="connsiteX1" fmla="*/ 6540500 w 65405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540500">
                <a:moveTo>
                  <a:pt x="0" y="0"/>
                </a:moveTo>
                <a:lnTo>
                  <a:pt x="6540500" y="0"/>
                </a:lnTo>
              </a:path>
            </a:pathLst>
          </a:custGeom>
          <a:noFill/>
          <a:ln w="12700" cap="flat" cmpd="sng" algn="ctr">
            <a:solidFill>
              <a:schemeClr val="bg1"/>
            </a:solidFill>
            <a:prstDash val="sysDot"/>
            <a:miter lim="800000"/>
          </a:ln>
          <a:effectLst/>
        </p:spPr>
        <p:txBody>
          <a:bodyPr rtlCol="0" anchor="ctr"/>
          <a:lstStyle/>
          <a:p>
            <a:pPr algn="ctr" defTabSz="685800">
              <a:defRPr/>
            </a:pPr>
            <a:endParaRPr lang="en-US" sz="1350" kern="0" dirty="0">
              <a:solidFill>
                <a:prstClr val="white"/>
              </a:solidFill>
            </a:endParaRPr>
          </a:p>
        </p:txBody>
      </p:sp>
      <p:sp>
        <p:nvSpPr>
          <p:cNvPr id="20" name="Freeform 56">
            <a:extLst>
              <a:ext uri="{FF2B5EF4-FFF2-40B4-BE49-F238E27FC236}">
                <a16:creationId xmlns:a16="http://schemas.microsoft.com/office/drawing/2014/main" id="{5461F68F-9A3B-8562-49DD-85FD85D614A8}"/>
              </a:ext>
            </a:extLst>
          </p:cNvPr>
          <p:cNvSpPr/>
          <p:nvPr/>
        </p:nvSpPr>
        <p:spPr>
          <a:xfrm>
            <a:off x="9157787" y="6067070"/>
            <a:ext cx="494870" cy="0"/>
          </a:xfrm>
          <a:custGeom>
            <a:avLst/>
            <a:gdLst>
              <a:gd name="connsiteX0" fmla="*/ 0 w 6540500"/>
              <a:gd name="connsiteY0" fmla="*/ 0 h 0"/>
              <a:gd name="connsiteX1" fmla="*/ 6540500 w 65405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540500">
                <a:moveTo>
                  <a:pt x="0" y="0"/>
                </a:moveTo>
                <a:lnTo>
                  <a:pt x="6540500" y="0"/>
                </a:lnTo>
              </a:path>
            </a:pathLst>
          </a:custGeom>
          <a:noFill/>
          <a:ln w="12700" cap="flat" cmpd="sng" algn="ctr">
            <a:solidFill>
              <a:schemeClr val="bg1"/>
            </a:solidFill>
            <a:prstDash val="sysDot"/>
            <a:miter lim="800000"/>
          </a:ln>
          <a:effectLst/>
        </p:spPr>
        <p:txBody>
          <a:bodyPr rtlCol="0" anchor="ctr"/>
          <a:lstStyle/>
          <a:p>
            <a:pPr algn="ctr" defTabSz="685800">
              <a:defRPr/>
            </a:pPr>
            <a:endParaRPr lang="en-US" sz="1350" kern="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5275088"/>
      </p:ext>
    </p:extLst>
  </p:cSld>
  <p:clrMapOvr>
    <a:masterClrMapping/>
  </p:clrMapOvr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96C561-BD19-807A-AEAC-CF56131E3F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7" name="think-cell data - do not delete" hidden="1">
            <a:extLst>
              <a:ext uri="{FF2B5EF4-FFF2-40B4-BE49-F238E27FC236}">
                <a16:creationId xmlns:a16="http://schemas.microsoft.com/office/drawing/2014/main" id="{05A5445F-992B-CDF9-4125-3CD31F5BAB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A5445F-992B-CDF9-4125-3CD31F5BAB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7D244EA-D9FE-C9F6-0E70-E66CC0CDF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yramid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B9DED32-E748-8397-7A9D-43F6B26444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01</a:t>
            </a:fld>
            <a:endParaRPr lang="en-US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07DD4DF-1CC9-3825-62DA-FC11F576ED03}"/>
              </a:ext>
            </a:extLst>
          </p:cNvPr>
          <p:cNvGrpSpPr/>
          <p:nvPr/>
        </p:nvGrpSpPr>
        <p:grpSpPr>
          <a:xfrm>
            <a:off x="1270683" y="1335480"/>
            <a:ext cx="5605703" cy="4749084"/>
            <a:chOff x="479735" y="1846769"/>
            <a:chExt cx="5102384" cy="4322671"/>
          </a:xfrm>
        </p:grpSpPr>
        <p:sp>
          <p:nvSpPr>
            <p:cNvPr id="31" name="Rectangle 5">
              <a:extLst>
                <a:ext uri="{FF2B5EF4-FFF2-40B4-BE49-F238E27FC236}">
                  <a16:creationId xmlns:a16="http://schemas.microsoft.com/office/drawing/2014/main" id="{118234F0-6F73-F55A-FDF0-63CB6D033B1C}"/>
                </a:ext>
              </a:extLst>
            </p:cNvPr>
            <p:cNvSpPr/>
            <p:nvPr/>
          </p:nvSpPr>
          <p:spPr>
            <a:xfrm>
              <a:off x="877809" y="3724790"/>
              <a:ext cx="4341025" cy="1776119"/>
            </a:xfrm>
            <a:custGeom>
              <a:avLst/>
              <a:gdLst>
                <a:gd name="connsiteX0" fmla="*/ 0 w 619125"/>
                <a:gd name="connsiteY0" fmla="*/ 0 h 406400"/>
                <a:gd name="connsiteX1" fmla="*/ 619125 w 619125"/>
                <a:gd name="connsiteY1" fmla="*/ 0 h 406400"/>
                <a:gd name="connsiteX2" fmla="*/ 619125 w 619125"/>
                <a:gd name="connsiteY2" fmla="*/ 406400 h 406400"/>
                <a:gd name="connsiteX3" fmla="*/ 0 w 619125"/>
                <a:gd name="connsiteY3" fmla="*/ 406400 h 406400"/>
                <a:gd name="connsiteX4" fmla="*/ 0 w 619125"/>
                <a:gd name="connsiteY4" fmla="*/ 0 h 406400"/>
                <a:gd name="connsiteX0" fmla="*/ 0 w 962025"/>
                <a:gd name="connsiteY0" fmla="*/ 73025 h 479425"/>
                <a:gd name="connsiteX1" fmla="*/ 962025 w 962025"/>
                <a:gd name="connsiteY1" fmla="*/ 0 h 479425"/>
                <a:gd name="connsiteX2" fmla="*/ 619125 w 962025"/>
                <a:gd name="connsiteY2" fmla="*/ 479425 h 479425"/>
                <a:gd name="connsiteX3" fmla="*/ 0 w 962025"/>
                <a:gd name="connsiteY3" fmla="*/ 479425 h 479425"/>
                <a:gd name="connsiteX4" fmla="*/ 0 w 962025"/>
                <a:gd name="connsiteY4" fmla="*/ 73025 h 479425"/>
                <a:gd name="connsiteX0" fmla="*/ 0 w 1901825"/>
                <a:gd name="connsiteY0" fmla="*/ 73025 h 479425"/>
                <a:gd name="connsiteX1" fmla="*/ 962025 w 1901825"/>
                <a:gd name="connsiteY1" fmla="*/ 0 h 479425"/>
                <a:gd name="connsiteX2" fmla="*/ 1901825 w 1901825"/>
                <a:gd name="connsiteY2" fmla="*/ 104775 h 479425"/>
                <a:gd name="connsiteX3" fmla="*/ 0 w 1901825"/>
                <a:gd name="connsiteY3" fmla="*/ 479425 h 479425"/>
                <a:gd name="connsiteX4" fmla="*/ 0 w 1901825"/>
                <a:gd name="connsiteY4" fmla="*/ 73025 h 479425"/>
                <a:gd name="connsiteX0" fmla="*/ 0 w 1901825"/>
                <a:gd name="connsiteY0" fmla="*/ 73025 h 336550"/>
                <a:gd name="connsiteX1" fmla="*/ 962025 w 1901825"/>
                <a:gd name="connsiteY1" fmla="*/ 0 h 336550"/>
                <a:gd name="connsiteX2" fmla="*/ 1901825 w 1901825"/>
                <a:gd name="connsiteY2" fmla="*/ 104775 h 336550"/>
                <a:gd name="connsiteX3" fmla="*/ 946150 w 1901825"/>
                <a:gd name="connsiteY3" fmla="*/ 336550 h 336550"/>
                <a:gd name="connsiteX4" fmla="*/ 0 w 1901825"/>
                <a:gd name="connsiteY4" fmla="*/ 73025 h 336550"/>
                <a:gd name="connsiteX0" fmla="*/ 0 w 1914525"/>
                <a:gd name="connsiteY0" fmla="*/ 76200 h 339725"/>
                <a:gd name="connsiteX1" fmla="*/ 962025 w 1914525"/>
                <a:gd name="connsiteY1" fmla="*/ 3175 h 339725"/>
                <a:gd name="connsiteX2" fmla="*/ 1914525 w 1914525"/>
                <a:gd name="connsiteY2" fmla="*/ 0 h 339725"/>
                <a:gd name="connsiteX3" fmla="*/ 946150 w 1914525"/>
                <a:gd name="connsiteY3" fmla="*/ 339725 h 339725"/>
                <a:gd name="connsiteX4" fmla="*/ 0 w 1914525"/>
                <a:gd name="connsiteY4" fmla="*/ 76200 h 339725"/>
                <a:gd name="connsiteX0" fmla="*/ 0 w 1895475"/>
                <a:gd name="connsiteY0" fmla="*/ 73025 h 336550"/>
                <a:gd name="connsiteX1" fmla="*/ 962025 w 1895475"/>
                <a:gd name="connsiteY1" fmla="*/ 0 h 336550"/>
                <a:gd name="connsiteX2" fmla="*/ 1895475 w 1895475"/>
                <a:gd name="connsiteY2" fmla="*/ 101600 h 336550"/>
                <a:gd name="connsiteX3" fmla="*/ 946150 w 1895475"/>
                <a:gd name="connsiteY3" fmla="*/ 336550 h 336550"/>
                <a:gd name="connsiteX4" fmla="*/ 0 w 1895475"/>
                <a:gd name="connsiteY4" fmla="*/ 73025 h 336550"/>
                <a:gd name="connsiteX0" fmla="*/ 0 w 2189717"/>
                <a:gd name="connsiteY0" fmla="*/ 249314 h 512839"/>
                <a:gd name="connsiteX1" fmla="*/ 962025 w 2189717"/>
                <a:gd name="connsiteY1" fmla="*/ 176289 h 512839"/>
                <a:gd name="connsiteX2" fmla="*/ 2189717 w 2189717"/>
                <a:gd name="connsiteY2" fmla="*/ 0 h 512839"/>
                <a:gd name="connsiteX3" fmla="*/ 946150 w 2189717"/>
                <a:gd name="connsiteY3" fmla="*/ 512839 h 512839"/>
                <a:gd name="connsiteX4" fmla="*/ 0 w 2189717"/>
                <a:gd name="connsiteY4" fmla="*/ 249314 h 512839"/>
                <a:gd name="connsiteX0" fmla="*/ 0 w 2203729"/>
                <a:gd name="connsiteY0" fmla="*/ 244682 h 508207"/>
                <a:gd name="connsiteX1" fmla="*/ 962025 w 2203729"/>
                <a:gd name="connsiteY1" fmla="*/ 171657 h 508207"/>
                <a:gd name="connsiteX2" fmla="*/ 2203729 w 2203729"/>
                <a:gd name="connsiteY2" fmla="*/ 0 h 508207"/>
                <a:gd name="connsiteX3" fmla="*/ 946150 w 2203729"/>
                <a:gd name="connsiteY3" fmla="*/ 508207 h 508207"/>
                <a:gd name="connsiteX4" fmla="*/ 0 w 2203729"/>
                <a:gd name="connsiteY4" fmla="*/ 244682 h 508207"/>
                <a:gd name="connsiteX0" fmla="*/ 0 w 2490966"/>
                <a:gd name="connsiteY0" fmla="*/ 0 h 513625"/>
                <a:gd name="connsiteX1" fmla="*/ 1249262 w 2490966"/>
                <a:gd name="connsiteY1" fmla="*/ 177075 h 513625"/>
                <a:gd name="connsiteX2" fmla="*/ 2490966 w 2490966"/>
                <a:gd name="connsiteY2" fmla="*/ 5418 h 513625"/>
                <a:gd name="connsiteX3" fmla="*/ 1233387 w 2490966"/>
                <a:gd name="connsiteY3" fmla="*/ 513625 h 513625"/>
                <a:gd name="connsiteX4" fmla="*/ 0 w 2490966"/>
                <a:gd name="connsiteY4" fmla="*/ 0 h 513625"/>
                <a:gd name="connsiteX0" fmla="*/ 0 w 2490966"/>
                <a:gd name="connsiteY0" fmla="*/ 387968 h 901593"/>
                <a:gd name="connsiteX1" fmla="*/ 1277286 w 2490966"/>
                <a:gd name="connsiteY1" fmla="*/ 0 h 901593"/>
                <a:gd name="connsiteX2" fmla="*/ 2490966 w 2490966"/>
                <a:gd name="connsiteY2" fmla="*/ 393386 h 901593"/>
                <a:gd name="connsiteX3" fmla="*/ 1233387 w 2490966"/>
                <a:gd name="connsiteY3" fmla="*/ 901593 h 901593"/>
                <a:gd name="connsiteX4" fmla="*/ 0 w 2490966"/>
                <a:gd name="connsiteY4" fmla="*/ 387968 h 901593"/>
                <a:gd name="connsiteX0" fmla="*/ 0 w 2765918"/>
                <a:gd name="connsiteY0" fmla="*/ 387968 h 901593"/>
                <a:gd name="connsiteX1" fmla="*/ 1277286 w 2765918"/>
                <a:gd name="connsiteY1" fmla="*/ 0 h 901593"/>
                <a:gd name="connsiteX2" fmla="*/ 2765918 w 2765918"/>
                <a:gd name="connsiteY2" fmla="*/ 101755 h 901593"/>
                <a:gd name="connsiteX3" fmla="*/ 1233387 w 2765918"/>
                <a:gd name="connsiteY3" fmla="*/ 901593 h 901593"/>
                <a:gd name="connsiteX4" fmla="*/ 0 w 2765918"/>
                <a:gd name="connsiteY4" fmla="*/ 387968 h 901593"/>
                <a:gd name="connsiteX0" fmla="*/ 0 w 3043891"/>
                <a:gd name="connsiteY0" fmla="*/ 92343 h 901593"/>
                <a:gd name="connsiteX1" fmla="*/ 1555259 w 3043891"/>
                <a:gd name="connsiteY1" fmla="*/ 0 h 901593"/>
                <a:gd name="connsiteX2" fmla="*/ 3043891 w 3043891"/>
                <a:gd name="connsiteY2" fmla="*/ 101755 h 901593"/>
                <a:gd name="connsiteX3" fmla="*/ 1511360 w 3043891"/>
                <a:gd name="connsiteY3" fmla="*/ 901593 h 901593"/>
                <a:gd name="connsiteX4" fmla="*/ 0 w 3043891"/>
                <a:gd name="connsiteY4" fmla="*/ 92343 h 901593"/>
                <a:gd name="connsiteX0" fmla="*/ 0 w 3043891"/>
                <a:gd name="connsiteY0" fmla="*/ 779471 h 1588721"/>
                <a:gd name="connsiteX1" fmla="*/ 1531087 w 3043891"/>
                <a:gd name="connsiteY1" fmla="*/ 0 h 1588721"/>
                <a:gd name="connsiteX2" fmla="*/ 3043891 w 3043891"/>
                <a:gd name="connsiteY2" fmla="*/ 788883 h 1588721"/>
                <a:gd name="connsiteX3" fmla="*/ 1511360 w 3043891"/>
                <a:gd name="connsiteY3" fmla="*/ 1588721 h 1588721"/>
                <a:gd name="connsiteX4" fmla="*/ 0 w 3043891"/>
                <a:gd name="connsiteY4" fmla="*/ 779471 h 1588721"/>
                <a:gd name="connsiteX0" fmla="*/ 0 w 3043891"/>
                <a:gd name="connsiteY0" fmla="*/ 779471 h 1652640"/>
                <a:gd name="connsiteX1" fmla="*/ 1531087 w 3043891"/>
                <a:gd name="connsiteY1" fmla="*/ 0 h 1652640"/>
                <a:gd name="connsiteX2" fmla="*/ 3043891 w 3043891"/>
                <a:gd name="connsiteY2" fmla="*/ 788883 h 1652640"/>
                <a:gd name="connsiteX3" fmla="*/ 1523445 w 3043891"/>
                <a:gd name="connsiteY3" fmla="*/ 1652640 h 1652640"/>
                <a:gd name="connsiteX4" fmla="*/ 0 w 3043891"/>
                <a:gd name="connsiteY4" fmla="*/ 779471 h 1652640"/>
                <a:gd name="connsiteX0" fmla="*/ 0 w 3054947"/>
                <a:gd name="connsiteY0" fmla="*/ 779471 h 1652640"/>
                <a:gd name="connsiteX1" fmla="*/ 1531087 w 3054947"/>
                <a:gd name="connsiteY1" fmla="*/ 0 h 1652640"/>
                <a:gd name="connsiteX2" fmla="*/ 3054947 w 3054947"/>
                <a:gd name="connsiteY2" fmla="*/ 788883 h 1652640"/>
                <a:gd name="connsiteX3" fmla="*/ 1523445 w 3054947"/>
                <a:gd name="connsiteY3" fmla="*/ 1652640 h 1652640"/>
                <a:gd name="connsiteX4" fmla="*/ 0 w 3054947"/>
                <a:gd name="connsiteY4" fmla="*/ 779471 h 1652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54947" h="1652640">
                  <a:moveTo>
                    <a:pt x="0" y="779471"/>
                  </a:moveTo>
                  <a:lnTo>
                    <a:pt x="1531087" y="0"/>
                  </a:lnTo>
                  <a:lnTo>
                    <a:pt x="3054947" y="788883"/>
                  </a:lnTo>
                  <a:lnTo>
                    <a:pt x="1523445" y="1652640"/>
                  </a:lnTo>
                  <a:lnTo>
                    <a:pt x="0" y="779471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  <p:sp>
          <p:nvSpPr>
            <p:cNvPr id="32" name="Rectangle 4">
              <a:extLst>
                <a:ext uri="{FF2B5EF4-FFF2-40B4-BE49-F238E27FC236}">
                  <a16:creationId xmlns:a16="http://schemas.microsoft.com/office/drawing/2014/main" id="{1725360E-610F-F9B9-54EE-F28336A93512}"/>
                </a:ext>
              </a:extLst>
            </p:cNvPr>
            <p:cNvSpPr/>
            <p:nvPr/>
          </p:nvSpPr>
          <p:spPr>
            <a:xfrm>
              <a:off x="3077000" y="4571257"/>
              <a:ext cx="2505119" cy="1598183"/>
            </a:xfrm>
            <a:custGeom>
              <a:avLst/>
              <a:gdLst>
                <a:gd name="connsiteX0" fmla="*/ 0 w 1088347"/>
                <a:gd name="connsiteY0" fmla="*/ 0 h 530225"/>
                <a:gd name="connsiteX1" fmla="*/ 1088347 w 1088347"/>
                <a:gd name="connsiteY1" fmla="*/ 0 h 530225"/>
                <a:gd name="connsiteX2" fmla="*/ 1088347 w 1088347"/>
                <a:gd name="connsiteY2" fmla="*/ 530225 h 530225"/>
                <a:gd name="connsiteX3" fmla="*/ 0 w 1088347"/>
                <a:gd name="connsiteY3" fmla="*/ 530225 h 530225"/>
                <a:gd name="connsiteX4" fmla="*/ 0 w 1088347"/>
                <a:gd name="connsiteY4" fmla="*/ 0 h 530225"/>
                <a:gd name="connsiteX0" fmla="*/ 0 w 1088347"/>
                <a:gd name="connsiteY0" fmla="*/ 92075 h 622300"/>
                <a:gd name="connsiteX1" fmla="*/ 916897 w 1088347"/>
                <a:gd name="connsiteY1" fmla="*/ 0 h 622300"/>
                <a:gd name="connsiteX2" fmla="*/ 1088347 w 1088347"/>
                <a:gd name="connsiteY2" fmla="*/ 622300 h 622300"/>
                <a:gd name="connsiteX3" fmla="*/ 0 w 1088347"/>
                <a:gd name="connsiteY3" fmla="*/ 622300 h 622300"/>
                <a:gd name="connsiteX4" fmla="*/ 0 w 1088347"/>
                <a:gd name="connsiteY4" fmla="*/ 92075 h 622300"/>
                <a:gd name="connsiteX0" fmla="*/ 0 w 1275672"/>
                <a:gd name="connsiteY0" fmla="*/ 92075 h 622300"/>
                <a:gd name="connsiteX1" fmla="*/ 916897 w 1275672"/>
                <a:gd name="connsiteY1" fmla="*/ 0 h 622300"/>
                <a:gd name="connsiteX2" fmla="*/ 1275672 w 1275672"/>
                <a:gd name="connsiteY2" fmla="*/ 441325 h 622300"/>
                <a:gd name="connsiteX3" fmla="*/ 0 w 1275672"/>
                <a:gd name="connsiteY3" fmla="*/ 622300 h 622300"/>
                <a:gd name="connsiteX4" fmla="*/ 0 w 1275672"/>
                <a:gd name="connsiteY4" fmla="*/ 92075 h 622300"/>
                <a:gd name="connsiteX0" fmla="*/ 41275 w 1316947"/>
                <a:gd name="connsiteY0" fmla="*/ 92075 h 669925"/>
                <a:gd name="connsiteX1" fmla="*/ 958172 w 1316947"/>
                <a:gd name="connsiteY1" fmla="*/ 0 h 669925"/>
                <a:gd name="connsiteX2" fmla="*/ 1316947 w 1316947"/>
                <a:gd name="connsiteY2" fmla="*/ 441325 h 669925"/>
                <a:gd name="connsiteX3" fmla="*/ 0 w 1316947"/>
                <a:gd name="connsiteY3" fmla="*/ 669925 h 669925"/>
                <a:gd name="connsiteX4" fmla="*/ 41275 w 1316947"/>
                <a:gd name="connsiteY4" fmla="*/ 92075 h 669925"/>
                <a:gd name="connsiteX0" fmla="*/ 22225 w 1316947"/>
                <a:gd name="connsiteY0" fmla="*/ 120650 h 669925"/>
                <a:gd name="connsiteX1" fmla="*/ 958172 w 1316947"/>
                <a:gd name="connsiteY1" fmla="*/ 0 h 669925"/>
                <a:gd name="connsiteX2" fmla="*/ 1316947 w 1316947"/>
                <a:gd name="connsiteY2" fmla="*/ 441325 h 669925"/>
                <a:gd name="connsiteX3" fmla="*/ 0 w 1316947"/>
                <a:gd name="connsiteY3" fmla="*/ 669925 h 669925"/>
                <a:gd name="connsiteX4" fmla="*/ 22225 w 1316947"/>
                <a:gd name="connsiteY4" fmla="*/ 120650 h 669925"/>
                <a:gd name="connsiteX0" fmla="*/ 15875 w 1316947"/>
                <a:gd name="connsiteY0" fmla="*/ 111125 h 669925"/>
                <a:gd name="connsiteX1" fmla="*/ 958172 w 1316947"/>
                <a:gd name="connsiteY1" fmla="*/ 0 h 669925"/>
                <a:gd name="connsiteX2" fmla="*/ 1316947 w 1316947"/>
                <a:gd name="connsiteY2" fmla="*/ 441325 h 669925"/>
                <a:gd name="connsiteX3" fmla="*/ 0 w 1316947"/>
                <a:gd name="connsiteY3" fmla="*/ 669925 h 669925"/>
                <a:gd name="connsiteX4" fmla="*/ 15875 w 1316947"/>
                <a:gd name="connsiteY4" fmla="*/ 111125 h 669925"/>
                <a:gd name="connsiteX0" fmla="*/ 15875 w 1316947"/>
                <a:gd name="connsiteY0" fmla="*/ 107950 h 666750"/>
                <a:gd name="connsiteX1" fmla="*/ 964522 w 1316947"/>
                <a:gd name="connsiteY1" fmla="*/ 0 h 666750"/>
                <a:gd name="connsiteX2" fmla="*/ 1316947 w 1316947"/>
                <a:gd name="connsiteY2" fmla="*/ 438150 h 666750"/>
                <a:gd name="connsiteX3" fmla="*/ 0 w 1316947"/>
                <a:gd name="connsiteY3" fmla="*/ 666750 h 666750"/>
                <a:gd name="connsiteX4" fmla="*/ 15875 w 1316947"/>
                <a:gd name="connsiteY4" fmla="*/ 107950 h 666750"/>
                <a:gd name="connsiteX0" fmla="*/ 3175 w 1316947"/>
                <a:gd name="connsiteY0" fmla="*/ 114300 h 666750"/>
                <a:gd name="connsiteX1" fmla="*/ 964522 w 1316947"/>
                <a:gd name="connsiteY1" fmla="*/ 0 h 666750"/>
                <a:gd name="connsiteX2" fmla="*/ 1316947 w 1316947"/>
                <a:gd name="connsiteY2" fmla="*/ 438150 h 666750"/>
                <a:gd name="connsiteX3" fmla="*/ 0 w 1316947"/>
                <a:gd name="connsiteY3" fmla="*/ 666750 h 666750"/>
                <a:gd name="connsiteX4" fmla="*/ 3175 w 1316947"/>
                <a:gd name="connsiteY4" fmla="*/ 114300 h 666750"/>
                <a:gd name="connsiteX0" fmla="*/ 7086 w 1316947"/>
                <a:gd name="connsiteY0" fmla="*/ 224719 h 666750"/>
                <a:gd name="connsiteX1" fmla="*/ 964522 w 1316947"/>
                <a:gd name="connsiteY1" fmla="*/ 0 h 666750"/>
                <a:gd name="connsiteX2" fmla="*/ 1316947 w 1316947"/>
                <a:gd name="connsiteY2" fmla="*/ 438150 h 666750"/>
                <a:gd name="connsiteX3" fmla="*/ 0 w 1316947"/>
                <a:gd name="connsiteY3" fmla="*/ 666750 h 666750"/>
                <a:gd name="connsiteX4" fmla="*/ 7086 w 1316947"/>
                <a:gd name="connsiteY4" fmla="*/ 224719 h 666750"/>
                <a:gd name="connsiteX0" fmla="*/ 3175 w 1313036"/>
                <a:gd name="connsiteY0" fmla="*/ 224719 h 777169"/>
                <a:gd name="connsiteX1" fmla="*/ 960611 w 1313036"/>
                <a:gd name="connsiteY1" fmla="*/ 0 h 777169"/>
                <a:gd name="connsiteX2" fmla="*/ 1313036 w 1313036"/>
                <a:gd name="connsiteY2" fmla="*/ 438150 h 777169"/>
                <a:gd name="connsiteX3" fmla="*/ 0 w 1313036"/>
                <a:gd name="connsiteY3" fmla="*/ 777169 h 777169"/>
                <a:gd name="connsiteX4" fmla="*/ 3175 w 1313036"/>
                <a:gd name="connsiteY4" fmla="*/ 224719 h 777169"/>
                <a:gd name="connsiteX0" fmla="*/ 3175 w 1219167"/>
                <a:gd name="connsiteY0" fmla="*/ 224719 h 777169"/>
                <a:gd name="connsiteX1" fmla="*/ 960611 w 1219167"/>
                <a:gd name="connsiteY1" fmla="*/ 0 h 777169"/>
                <a:gd name="connsiteX2" fmla="*/ 1219167 w 1219167"/>
                <a:gd name="connsiteY2" fmla="*/ 418074 h 777169"/>
                <a:gd name="connsiteX3" fmla="*/ 0 w 1219167"/>
                <a:gd name="connsiteY3" fmla="*/ 777169 h 777169"/>
                <a:gd name="connsiteX4" fmla="*/ 3175 w 1219167"/>
                <a:gd name="connsiteY4" fmla="*/ 224719 h 777169"/>
                <a:gd name="connsiteX0" fmla="*/ 3175 w 1168321"/>
                <a:gd name="connsiteY0" fmla="*/ 224719 h 777169"/>
                <a:gd name="connsiteX1" fmla="*/ 960611 w 1168321"/>
                <a:gd name="connsiteY1" fmla="*/ 0 h 777169"/>
                <a:gd name="connsiteX2" fmla="*/ 1168321 w 1168321"/>
                <a:gd name="connsiteY2" fmla="*/ 337769 h 777169"/>
                <a:gd name="connsiteX3" fmla="*/ 0 w 1168321"/>
                <a:gd name="connsiteY3" fmla="*/ 777169 h 777169"/>
                <a:gd name="connsiteX4" fmla="*/ 3175 w 1168321"/>
                <a:gd name="connsiteY4" fmla="*/ 224719 h 777169"/>
                <a:gd name="connsiteX0" fmla="*/ 3175 w 1203522"/>
                <a:gd name="connsiteY0" fmla="*/ 224719 h 777169"/>
                <a:gd name="connsiteX1" fmla="*/ 960611 w 1203522"/>
                <a:gd name="connsiteY1" fmla="*/ 0 h 777169"/>
                <a:gd name="connsiteX2" fmla="*/ 1203522 w 1203522"/>
                <a:gd name="connsiteY2" fmla="*/ 387960 h 777169"/>
                <a:gd name="connsiteX3" fmla="*/ 0 w 1203522"/>
                <a:gd name="connsiteY3" fmla="*/ 777169 h 777169"/>
                <a:gd name="connsiteX4" fmla="*/ 3175 w 1203522"/>
                <a:gd name="connsiteY4" fmla="*/ 224719 h 777169"/>
                <a:gd name="connsiteX0" fmla="*/ 9 w 1200356"/>
                <a:gd name="connsiteY0" fmla="*/ 224719 h 636636"/>
                <a:gd name="connsiteX1" fmla="*/ 957445 w 1200356"/>
                <a:gd name="connsiteY1" fmla="*/ 0 h 636636"/>
                <a:gd name="connsiteX2" fmla="*/ 1200356 w 1200356"/>
                <a:gd name="connsiteY2" fmla="*/ 387960 h 636636"/>
                <a:gd name="connsiteX3" fmla="*/ 90703 w 1200356"/>
                <a:gd name="connsiteY3" fmla="*/ 636636 h 636636"/>
                <a:gd name="connsiteX4" fmla="*/ 9 w 1200356"/>
                <a:gd name="connsiteY4" fmla="*/ 224719 h 636636"/>
                <a:gd name="connsiteX0" fmla="*/ 239 w 1200586"/>
                <a:gd name="connsiteY0" fmla="*/ 224719 h 762112"/>
                <a:gd name="connsiteX1" fmla="*/ 957675 w 1200586"/>
                <a:gd name="connsiteY1" fmla="*/ 0 h 762112"/>
                <a:gd name="connsiteX2" fmla="*/ 1200586 w 1200586"/>
                <a:gd name="connsiteY2" fmla="*/ 387960 h 762112"/>
                <a:gd name="connsiteX3" fmla="*/ 975 w 1200586"/>
                <a:gd name="connsiteY3" fmla="*/ 762112 h 762112"/>
                <a:gd name="connsiteX4" fmla="*/ 239 w 1200586"/>
                <a:gd name="connsiteY4" fmla="*/ 224719 h 762112"/>
                <a:gd name="connsiteX0" fmla="*/ 30790 w 1199611"/>
                <a:gd name="connsiteY0" fmla="*/ 305630 h 762112"/>
                <a:gd name="connsiteX1" fmla="*/ 956700 w 1199611"/>
                <a:gd name="connsiteY1" fmla="*/ 0 h 762112"/>
                <a:gd name="connsiteX2" fmla="*/ 1199611 w 1199611"/>
                <a:gd name="connsiteY2" fmla="*/ 387960 h 762112"/>
                <a:gd name="connsiteX3" fmla="*/ 0 w 1199611"/>
                <a:gd name="connsiteY3" fmla="*/ 762112 h 762112"/>
                <a:gd name="connsiteX4" fmla="*/ 30790 w 1199611"/>
                <a:gd name="connsiteY4" fmla="*/ 305630 h 762112"/>
                <a:gd name="connsiteX0" fmla="*/ 79 w 1207432"/>
                <a:gd name="connsiteY0" fmla="*/ 242700 h 762112"/>
                <a:gd name="connsiteX1" fmla="*/ 964521 w 1207432"/>
                <a:gd name="connsiteY1" fmla="*/ 0 h 762112"/>
                <a:gd name="connsiteX2" fmla="*/ 1207432 w 1207432"/>
                <a:gd name="connsiteY2" fmla="*/ 387960 h 762112"/>
                <a:gd name="connsiteX3" fmla="*/ 7821 w 1207432"/>
                <a:gd name="connsiteY3" fmla="*/ 762112 h 762112"/>
                <a:gd name="connsiteX4" fmla="*/ 79 w 1207432"/>
                <a:gd name="connsiteY4" fmla="*/ 242700 h 762112"/>
                <a:gd name="connsiteX0" fmla="*/ 119 w 1207472"/>
                <a:gd name="connsiteY0" fmla="*/ 242700 h 789082"/>
                <a:gd name="connsiteX1" fmla="*/ 964561 w 1207472"/>
                <a:gd name="connsiteY1" fmla="*/ 0 h 789082"/>
                <a:gd name="connsiteX2" fmla="*/ 1207472 w 1207472"/>
                <a:gd name="connsiteY2" fmla="*/ 387960 h 789082"/>
                <a:gd name="connsiteX3" fmla="*/ 4358 w 1207472"/>
                <a:gd name="connsiteY3" fmla="*/ 789082 h 789082"/>
                <a:gd name="connsiteX4" fmla="*/ 119 w 1207472"/>
                <a:gd name="connsiteY4" fmla="*/ 242700 h 789082"/>
                <a:gd name="connsiteX0" fmla="*/ 119 w 1272816"/>
                <a:gd name="connsiteY0" fmla="*/ 502064 h 1048446"/>
                <a:gd name="connsiteX1" fmla="*/ 1272816 w 1272816"/>
                <a:gd name="connsiteY1" fmla="*/ 0 h 1048446"/>
                <a:gd name="connsiteX2" fmla="*/ 1207472 w 1272816"/>
                <a:gd name="connsiteY2" fmla="*/ 647324 h 1048446"/>
                <a:gd name="connsiteX3" fmla="*/ 4358 w 1272816"/>
                <a:gd name="connsiteY3" fmla="*/ 1048446 h 1048446"/>
                <a:gd name="connsiteX4" fmla="*/ 119 w 1272816"/>
                <a:gd name="connsiteY4" fmla="*/ 502064 h 1048446"/>
                <a:gd name="connsiteX0" fmla="*/ 119 w 1501714"/>
                <a:gd name="connsiteY0" fmla="*/ 502064 h 1048446"/>
                <a:gd name="connsiteX1" fmla="*/ 1272816 w 1501714"/>
                <a:gd name="connsiteY1" fmla="*/ 0 h 1048446"/>
                <a:gd name="connsiteX2" fmla="*/ 1501714 w 1501714"/>
                <a:gd name="connsiteY2" fmla="*/ 364803 h 1048446"/>
                <a:gd name="connsiteX3" fmla="*/ 4358 w 1501714"/>
                <a:gd name="connsiteY3" fmla="*/ 1048446 h 1048446"/>
                <a:gd name="connsiteX4" fmla="*/ 119 w 1501714"/>
                <a:gd name="connsiteY4" fmla="*/ 502064 h 1048446"/>
                <a:gd name="connsiteX0" fmla="*/ 24 w 1501619"/>
                <a:gd name="connsiteY0" fmla="*/ 502064 h 1071604"/>
                <a:gd name="connsiteX1" fmla="*/ 1272721 w 1501619"/>
                <a:gd name="connsiteY1" fmla="*/ 0 h 1071604"/>
                <a:gd name="connsiteX2" fmla="*/ 1501619 w 1501619"/>
                <a:gd name="connsiteY2" fmla="*/ 364803 h 1071604"/>
                <a:gd name="connsiteX3" fmla="*/ 32286 w 1501619"/>
                <a:gd name="connsiteY3" fmla="*/ 1071604 h 1071604"/>
                <a:gd name="connsiteX4" fmla="*/ 24 w 1501619"/>
                <a:gd name="connsiteY4" fmla="*/ 502064 h 1071604"/>
                <a:gd name="connsiteX0" fmla="*/ 48 w 1484129"/>
                <a:gd name="connsiteY0" fmla="*/ 488169 h 1071604"/>
                <a:gd name="connsiteX1" fmla="*/ 1255231 w 1484129"/>
                <a:gd name="connsiteY1" fmla="*/ 0 h 1071604"/>
                <a:gd name="connsiteX2" fmla="*/ 1484129 w 1484129"/>
                <a:gd name="connsiteY2" fmla="*/ 364803 h 1071604"/>
                <a:gd name="connsiteX3" fmla="*/ 14796 w 1484129"/>
                <a:gd name="connsiteY3" fmla="*/ 1071604 h 1071604"/>
                <a:gd name="connsiteX4" fmla="*/ 48 w 1484129"/>
                <a:gd name="connsiteY4" fmla="*/ 488169 h 1071604"/>
                <a:gd name="connsiteX0" fmla="*/ 0 w 1484081"/>
                <a:gd name="connsiteY0" fmla="*/ 488169 h 1071604"/>
                <a:gd name="connsiteX1" fmla="*/ 1255183 w 1484081"/>
                <a:gd name="connsiteY1" fmla="*/ 0 h 1071604"/>
                <a:gd name="connsiteX2" fmla="*/ 1484081 w 1484081"/>
                <a:gd name="connsiteY2" fmla="*/ 364803 h 1071604"/>
                <a:gd name="connsiteX3" fmla="*/ 14748 w 1484081"/>
                <a:gd name="connsiteY3" fmla="*/ 1071604 h 1071604"/>
                <a:gd name="connsiteX4" fmla="*/ 0 w 1484081"/>
                <a:gd name="connsiteY4" fmla="*/ 488169 h 1071604"/>
                <a:gd name="connsiteX0" fmla="*/ 0 w 1484081"/>
                <a:gd name="connsiteY0" fmla="*/ 488169 h 1071604"/>
                <a:gd name="connsiteX1" fmla="*/ 1255183 w 1484081"/>
                <a:gd name="connsiteY1" fmla="*/ 0 h 1071604"/>
                <a:gd name="connsiteX2" fmla="*/ 1484081 w 1484081"/>
                <a:gd name="connsiteY2" fmla="*/ 364803 h 1071604"/>
                <a:gd name="connsiteX3" fmla="*/ 14748 w 1484081"/>
                <a:gd name="connsiteY3" fmla="*/ 1071604 h 1071604"/>
                <a:gd name="connsiteX4" fmla="*/ 0 w 1484081"/>
                <a:gd name="connsiteY4" fmla="*/ 488169 h 1071604"/>
                <a:gd name="connsiteX0" fmla="*/ 0 w 1536178"/>
                <a:gd name="connsiteY0" fmla="*/ 791784 h 1375219"/>
                <a:gd name="connsiteX1" fmla="*/ 1536178 w 1536178"/>
                <a:gd name="connsiteY1" fmla="*/ 0 h 1375219"/>
                <a:gd name="connsiteX2" fmla="*/ 1484081 w 1536178"/>
                <a:gd name="connsiteY2" fmla="*/ 668418 h 1375219"/>
                <a:gd name="connsiteX3" fmla="*/ 14748 w 1536178"/>
                <a:gd name="connsiteY3" fmla="*/ 1375219 h 1375219"/>
                <a:gd name="connsiteX4" fmla="*/ 0 w 1536178"/>
                <a:gd name="connsiteY4" fmla="*/ 791784 h 1375219"/>
                <a:gd name="connsiteX0" fmla="*/ 0 w 1789247"/>
                <a:gd name="connsiteY0" fmla="*/ 791784 h 1375219"/>
                <a:gd name="connsiteX1" fmla="*/ 1536178 w 1789247"/>
                <a:gd name="connsiteY1" fmla="*/ 0 h 1375219"/>
                <a:gd name="connsiteX2" fmla="*/ 1789247 w 1789247"/>
                <a:gd name="connsiteY2" fmla="*/ 420731 h 1375219"/>
                <a:gd name="connsiteX3" fmla="*/ 14748 w 1789247"/>
                <a:gd name="connsiteY3" fmla="*/ 1375219 h 1375219"/>
                <a:gd name="connsiteX4" fmla="*/ 0 w 1789247"/>
                <a:gd name="connsiteY4" fmla="*/ 791784 h 1375219"/>
                <a:gd name="connsiteX0" fmla="*/ 0 w 1789247"/>
                <a:gd name="connsiteY0" fmla="*/ 791784 h 1463108"/>
                <a:gd name="connsiteX1" fmla="*/ 1536178 w 1789247"/>
                <a:gd name="connsiteY1" fmla="*/ 0 h 1463108"/>
                <a:gd name="connsiteX2" fmla="*/ 1789247 w 1789247"/>
                <a:gd name="connsiteY2" fmla="*/ 420731 h 1463108"/>
                <a:gd name="connsiteX3" fmla="*/ 35898 w 1789247"/>
                <a:gd name="connsiteY3" fmla="*/ 1463108 h 1463108"/>
                <a:gd name="connsiteX4" fmla="*/ 0 w 1789247"/>
                <a:gd name="connsiteY4" fmla="*/ 791784 h 1463108"/>
                <a:gd name="connsiteX0" fmla="*/ 0 w 1789247"/>
                <a:gd name="connsiteY0" fmla="*/ 791784 h 1455117"/>
                <a:gd name="connsiteX1" fmla="*/ 1536178 w 1789247"/>
                <a:gd name="connsiteY1" fmla="*/ 0 h 1455117"/>
                <a:gd name="connsiteX2" fmla="*/ 1789247 w 1789247"/>
                <a:gd name="connsiteY2" fmla="*/ 420731 h 1455117"/>
                <a:gd name="connsiteX3" fmla="*/ 23812 w 1789247"/>
                <a:gd name="connsiteY3" fmla="*/ 1455117 h 1455117"/>
                <a:gd name="connsiteX4" fmla="*/ 0 w 1789247"/>
                <a:gd name="connsiteY4" fmla="*/ 791784 h 1455117"/>
                <a:gd name="connsiteX0" fmla="*/ 0 w 1789247"/>
                <a:gd name="connsiteY0" fmla="*/ 791784 h 1263360"/>
                <a:gd name="connsiteX1" fmla="*/ 1536178 w 1789247"/>
                <a:gd name="connsiteY1" fmla="*/ 0 h 1263360"/>
                <a:gd name="connsiteX2" fmla="*/ 1789247 w 1789247"/>
                <a:gd name="connsiteY2" fmla="*/ 420731 h 1263360"/>
                <a:gd name="connsiteX3" fmla="*/ 135605 w 1789247"/>
                <a:gd name="connsiteY3" fmla="*/ 1263360 h 1263360"/>
                <a:gd name="connsiteX4" fmla="*/ 0 w 1789247"/>
                <a:gd name="connsiteY4" fmla="*/ 791784 h 1263360"/>
                <a:gd name="connsiteX0" fmla="*/ 0 w 1789247"/>
                <a:gd name="connsiteY0" fmla="*/ 791784 h 1471097"/>
                <a:gd name="connsiteX1" fmla="*/ 1536178 w 1789247"/>
                <a:gd name="connsiteY1" fmla="*/ 0 h 1471097"/>
                <a:gd name="connsiteX2" fmla="*/ 1789247 w 1789247"/>
                <a:gd name="connsiteY2" fmla="*/ 420731 h 1471097"/>
                <a:gd name="connsiteX3" fmla="*/ 23812 w 1789247"/>
                <a:gd name="connsiteY3" fmla="*/ 1471097 h 1471097"/>
                <a:gd name="connsiteX4" fmla="*/ 0 w 1789247"/>
                <a:gd name="connsiteY4" fmla="*/ 791784 h 1471097"/>
                <a:gd name="connsiteX0" fmla="*/ 31860 w 1766721"/>
                <a:gd name="connsiteY0" fmla="*/ 851708 h 1471097"/>
                <a:gd name="connsiteX1" fmla="*/ 1513652 w 1766721"/>
                <a:gd name="connsiteY1" fmla="*/ 0 h 1471097"/>
                <a:gd name="connsiteX2" fmla="*/ 1766721 w 1766721"/>
                <a:gd name="connsiteY2" fmla="*/ 420731 h 1471097"/>
                <a:gd name="connsiteX3" fmla="*/ 1286 w 1766721"/>
                <a:gd name="connsiteY3" fmla="*/ 1471097 h 1471097"/>
                <a:gd name="connsiteX4" fmla="*/ 31860 w 1766721"/>
                <a:gd name="connsiteY4" fmla="*/ 851708 h 1471097"/>
                <a:gd name="connsiteX0" fmla="*/ 6090 w 1768144"/>
                <a:gd name="connsiteY0" fmla="*/ 827738 h 1471097"/>
                <a:gd name="connsiteX1" fmla="*/ 1515075 w 1768144"/>
                <a:gd name="connsiteY1" fmla="*/ 0 h 1471097"/>
                <a:gd name="connsiteX2" fmla="*/ 1768144 w 1768144"/>
                <a:gd name="connsiteY2" fmla="*/ 420731 h 1471097"/>
                <a:gd name="connsiteX3" fmla="*/ 2709 w 1768144"/>
                <a:gd name="connsiteY3" fmla="*/ 1471097 h 1471097"/>
                <a:gd name="connsiteX4" fmla="*/ 6090 w 1768144"/>
                <a:gd name="connsiteY4" fmla="*/ 827738 h 1471097"/>
                <a:gd name="connsiteX0" fmla="*/ 0 w 1786225"/>
                <a:gd name="connsiteY0" fmla="*/ 791784 h 1471097"/>
                <a:gd name="connsiteX1" fmla="*/ 1533156 w 1786225"/>
                <a:gd name="connsiteY1" fmla="*/ 0 h 1471097"/>
                <a:gd name="connsiteX2" fmla="*/ 1786225 w 1786225"/>
                <a:gd name="connsiteY2" fmla="*/ 420731 h 1471097"/>
                <a:gd name="connsiteX3" fmla="*/ 20790 w 1786225"/>
                <a:gd name="connsiteY3" fmla="*/ 1471097 h 1471097"/>
                <a:gd name="connsiteX4" fmla="*/ 0 w 1786225"/>
                <a:gd name="connsiteY4" fmla="*/ 791784 h 1471097"/>
                <a:gd name="connsiteX0" fmla="*/ 0 w 1786225"/>
                <a:gd name="connsiteY0" fmla="*/ 791784 h 1419162"/>
                <a:gd name="connsiteX1" fmla="*/ 1533156 w 1786225"/>
                <a:gd name="connsiteY1" fmla="*/ 0 h 1419162"/>
                <a:gd name="connsiteX2" fmla="*/ 1786225 w 1786225"/>
                <a:gd name="connsiteY2" fmla="*/ 420731 h 1419162"/>
                <a:gd name="connsiteX3" fmla="*/ 99348 w 1786225"/>
                <a:gd name="connsiteY3" fmla="*/ 1419162 h 1419162"/>
                <a:gd name="connsiteX4" fmla="*/ 0 w 1786225"/>
                <a:gd name="connsiteY4" fmla="*/ 791784 h 1419162"/>
                <a:gd name="connsiteX0" fmla="*/ 0 w 1786225"/>
                <a:gd name="connsiteY0" fmla="*/ 791784 h 1479086"/>
                <a:gd name="connsiteX1" fmla="*/ 1533156 w 1786225"/>
                <a:gd name="connsiteY1" fmla="*/ 0 h 1479086"/>
                <a:gd name="connsiteX2" fmla="*/ 1786225 w 1786225"/>
                <a:gd name="connsiteY2" fmla="*/ 420731 h 1479086"/>
                <a:gd name="connsiteX3" fmla="*/ 35898 w 1786225"/>
                <a:gd name="connsiteY3" fmla="*/ 1479086 h 1479086"/>
                <a:gd name="connsiteX4" fmla="*/ 0 w 1786225"/>
                <a:gd name="connsiteY4" fmla="*/ 791784 h 1479086"/>
                <a:gd name="connsiteX0" fmla="*/ 0 w 1786225"/>
                <a:gd name="connsiteY0" fmla="*/ 791784 h 1487076"/>
                <a:gd name="connsiteX1" fmla="*/ 1533156 w 1786225"/>
                <a:gd name="connsiteY1" fmla="*/ 0 h 1487076"/>
                <a:gd name="connsiteX2" fmla="*/ 1786225 w 1786225"/>
                <a:gd name="connsiteY2" fmla="*/ 420731 h 1487076"/>
                <a:gd name="connsiteX3" fmla="*/ 26833 w 1786225"/>
                <a:gd name="connsiteY3" fmla="*/ 1487076 h 1487076"/>
                <a:gd name="connsiteX4" fmla="*/ 0 w 1786225"/>
                <a:gd name="connsiteY4" fmla="*/ 791784 h 1487076"/>
                <a:gd name="connsiteX0" fmla="*/ 191027 w 1759708"/>
                <a:gd name="connsiteY0" fmla="*/ 879672 h 1487076"/>
                <a:gd name="connsiteX1" fmla="*/ 1506639 w 1759708"/>
                <a:gd name="connsiteY1" fmla="*/ 0 h 1487076"/>
                <a:gd name="connsiteX2" fmla="*/ 1759708 w 1759708"/>
                <a:gd name="connsiteY2" fmla="*/ 420731 h 1487076"/>
                <a:gd name="connsiteX3" fmla="*/ 316 w 1759708"/>
                <a:gd name="connsiteY3" fmla="*/ 1487076 h 1487076"/>
                <a:gd name="connsiteX4" fmla="*/ 191027 w 1759708"/>
                <a:gd name="connsiteY4" fmla="*/ 879672 h 1487076"/>
                <a:gd name="connsiteX0" fmla="*/ 0 w 1789247"/>
                <a:gd name="connsiteY0" fmla="*/ 799774 h 1487076"/>
                <a:gd name="connsiteX1" fmla="*/ 1536178 w 1789247"/>
                <a:gd name="connsiteY1" fmla="*/ 0 h 1487076"/>
                <a:gd name="connsiteX2" fmla="*/ 1789247 w 1789247"/>
                <a:gd name="connsiteY2" fmla="*/ 420731 h 1487076"/>
                <a:gd name="connsiteX3" fmla="*/ 29855 w 1789247"/>
                <a:gd name="connsiteY3" fmla="*/ 1487076 h 1487076"/>
                <a:gd name="connsiteX4" fmla="*/ 0 w 1789247"/>
                <a:gd name="connsiteY4" fmla="*/ 799774 h 1487076"/>
                <a:gd name="connsiteX0" fmla="*/ 465 w 1763148"/>
                <a:gd name="connsiteY0" fmla="*/ 790993 h 1487076"/>
                <a:gd name="connsiteX1" fmla="*/ 1510079 w 1763148"/>
                <a:gd name="connsiteY1" fmla="*/ 0 h 1487076"/>
                <a:gd name="connsiteX2" fmla="*/ 1763148 w 1763148"/>
                <a:gd name="connsiteY2" fmla="*/ 420731 h 1487076"/>
                <a:gd name="connsiteX3" fmla="*/ 3756 w 1763148"/>
                <a:gd name="connsiteY3" fmla="*/ 1487076 h 1487076"/>
                <a:gd name="connsiteX4" fmla="*/ 465 w 1763148"/>
                <a:gd name="connsiteY4" fmla="*/ 790993 h 1487076"/>
                <a:gd name="connsiteX0" fmla="*/ 2280 w 1764963"/>
                <a:gd name="connsiteY0" fmla="*/ 790993 h 1487076"/>
                <a:gd name="connsiteX1" fmla="*/ 1511894 w 1764963"/>
                <a:gd name="connsiteY1" fmla="*/ 0 h 1487076"/>
                <a:gd name="connsiteX2" fmla="*/ 1764963 w 1764963"/>
                <a:gd name="connsiteY2" fmla="*/ 420731 h 1487076"/>
                <a:gd name="connsiteX3" fmla="*/ 5571 w 1764963"/>
                <a:gd name="connsiteY3" fmla="*/ 1487076 h 1487076"/>
                <a:gd name="connsiteX4" fmla="*/ 2280 w 1764963"/>
                <a:gd name="connsiteY4" fmla="*/ 790993 h 1487076"/>
                <a:gd name="connsiteX0" fmla="*/ 264 w 1762947"/>
                <a:gd name="connsiteY0" fmla="*/ 790993 h 1487076"/>
                <a:gd name="connsiteX1" fmla="*/ 1509878 w 1762947"/>
                <a:gd name="connsiteY1" fmla="*/ 0 h 1487076"/>
                <a:gd name="connsiteX2" fmla="*/ 1762947 w 1762947"/>
                <a:gd name="connsiteY2" fmla="*/ 420731 h 1487076"/>
                <a:gd name="connsiteX3" fmla="*/ 3555 w 1762947"/>
                <a:gd name="connsiteY3" fmla="*/ 1487076 h 1487076"/>
                <a:gd name="connsiteX4" fmla="*/ 264 w 1762947"/>
                <a:gd name="connsiteY4" fmla="*/ 790993 h 1487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62947" h="1487076">
                  <a:moveTo>
                    <a:pt x="264" y="790993"/>
                  </a:moveTo>
                  <a:lnTo>
                    <a:pt x="1509878" y="0"/>
                  </a:lnTo>
                  <a:lnTo>
                    <a:pt x="1762947" y="420731"/>
                  </a:lnTo>
                  <a:lnTo>
                    <a:pt x="3555" y="1487076"/>
                  </a:lnTo>
                  <a:cubicBezTo>
                    <a:pt x="983" y="1127063"/>
                    <a:pt x="-669" y="1020958"/>
                    <a:pt x="264" y="790993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  <p:sp>
          <p:nvSpPr>
            <p:cNvPr id="33" name="Rectangle 4">
              <a:extLst>
                <a:ext uri="{FF2B5EF4-FFF2-40B4-BE49-F238E27FC236}">
                  <a16:creationId xmlns:a16="http://schemas.microsoft.com/office/drawing/2014/main" id="{FF744830-B805-F0F8-AF63-000B7619F618}"/>
                </a:ext>
              </a:extLst>
            </p:cNvPr>
            <p:cNvSpPr/>
            <p:nvPr/>
          </p:nvSpPr>
          <p:spPr>
            <a:xfrm flipH="1">
              <a:off x="479735" y="4553913"/>
              <a:ext cx="2608484" cy="1606538"/>
            </a:xfrm>
            <a:custGeom>
              <a:avLst/>
              <a:gdLst>
                <a:gd name="connsiteX0" fmla="*/ 0 w 1088347"/>
                <a:gd name="connsiteY0" fmla="*/ 0 h 530225"/>
                <a:gd name="connsiteX1" fmla="*/ 1088347 w 1088347"/>
                <a:gd name="connsiteY1" fmla="*/ 0 h 530225"/>
                <a:gd name="connsiteX2" fmla="*/ 1088347 w 1088347"/>
                <a:gd name="connsiteY2" fmla="*/ 530225 h 530225"/>
                <a:gd name="connsiteX3" fmla="*/ 0 w 1088347"/>
                <a:gd name="connsiteY3" fmla="*/ 530225 h 530225"/>
                <a:gd name="connsiteX4" fmla="*/ 0 w 1088347"/>
                <a:gd name="connsiteY4" fmla="*/ 0 h 530225"/>
                <a:gd name="connsiteX0" fmla="*/ 0 w 1088347"/>
                <a:gd name="connsiteY0" fmla="*/ 92075 h 622300"/>
                <a:gd name="connsiteX1" fmla="*/ 916897 w 1088347"/>
                <a:gd name="connsiteY1" fmla="*/ 0 h 622300"/>
                <a:gd name="connsiteX2" fmla="*/ 1088347 w 1088347"/>
                <a:gd name="connsiteY2" fmla="*/ 622300 h 622300"/>
                <a:gd name="connsiteX3" fmla="*/ 0 w 1088347"/>
                <a:gd name="connsiteY3" fmla="*/ 622300 h 622300"/>
                <a:gd name="connsiteX4" fmla="*/ 0 w 1088347"/>
                <a:gd name="connsiteY4" fmla="*/ 92075 h 622300"/>
                <a:gd name="connsiteX0" fmla="*/ 0 w 1275672"/>
                <a:gd name="connsiteY0" fmla="*/ 92075 h 622300"/>
                <a:gd name="connsiteX1" fmla="*/ 916897 w 1275672"/>
                <a:gd name="connsiteY1" fmla="*/ 0 h 622300"/>
                <a:gd name="connsiteX2" fmla="*/ 1275672 w 1275672"/>
                <a:gd name="connsiteY2" fmla="*/ 441325 h 622300"/>
                <a:gd name="connsiteX3" fmla="*/ 0 w 1275672"/>
                <a:gd name="connsiteY3" fmla="*/ 622300 h 622300"/>
                <a:gd name="connsiteX4" fmla="*/ 0 w 1275672"/>
                <a:gd name="connsiteY4" fmla="*/ 92075 h 622300"/>
                <a:gd name="connsiteX0" fmla="*/ 41275 w 1316947"/>
                <a:gd name="connsiteY0" fmla="*/ 92075 h 669925"/>
                <a:gd name="connsiteX1" fmla="*/ 958172 w 1316947"/>
                <a:gd name="connsiteY1" fmla="*/ 0 h 669925"/>
                <a:gd name="connsiteX2" fmla="*/ 1316947 w 1316947"/>
                <a:gd name="connsiteY2" fmla="*/ 441325 h 669925"/>
                <a:gd name="connsiteX3" fmla="*/ 0 w 1316947"/>
                <a:gd name="connsiteY3" fmla="*/ 669925 h 669925"/>
                <a:gd name="connsiteX4" fmla="*/ 41275 w 1316947"/>
                <a:gd name="connsiteY4" fmla="*/ 92075 h 669925"/>
                <a:gd name="connsiteX0" fmla="*/ 22225 w 1316947"/>
                <a:gd name="connsiteY0" fmla="*/ 120650 h 669925"/>
                <a:gd name="connsiteX1" fmla="*/ 958172 w 1316947"/>
                <a:gd name="connsiteY1" fmla="*/ 0 h 669925"/>
                <a:gd name="connsiteX2" fmla="*/ 1316947 w 1316947"/>
                <a:gd name="connsiteY2" fmla="*/ 441325 h 669925"/>
                <a:gd name="connsiteX3" fmla="*/ 0 w 1316947"/>
                <a:gd name="connsiteY3" fmla="*/ 669925 h 669925"/>
                <a:gd name="connsiteX4" fmla="*/ 22225 w 1316947"/>
                <a:gd name="connsiteY4" fmla="*/ 120650 h 669925"/>
                <a:gd name="connsiteX0" fmla="*/ 15875 w 1316947"/>
                <a:gd name="connsiteY0" fmla="*/ 111125 h 669925"/>
                <a:gd name="connsiteX1" fmla="*/ 958172 w 1316947"/>
                <a:gd name="connsiteY1" fmla="*/ 0 h 669925"/>
                <a:gd name="connsiteX2" fmla="*/ 1316947 w 1316947"/>
                <a:gd name="connsiteY2" fmla="*/ 441325 h 669925"/>
                <a:gd name="connsiteX3" fmla="*/ 0 w 1316947"/>
                <a:gd name="connsiteY3" fmla="*/ 669925 h 669925"/>
                <a:gd name="connsiteX4" fmla="*/ 15875 w 1316947"/>
                <a:gd name="connsiteY4" fmla="*/ 111125 h 669925"/>
                <a:gd name="connsiteX0" fmla="*/ 15875 w 1316947"/>
                <a:gd name="connsiteY0" fmla="*/ 107950 h 666750"/>
                <a:gd name="connsiteX1" fmla="*/ 964522 w 1316947"/>
                <a:gd name="connsiteY1" fmla="*/ 0 h 666750"/>
                <a:gd name="connsiteX2" fmla="*/ 1316947 w 1316947"/>
                <a:gd name="connsiteY2" fmla="*/ 438150 h 666750"/>
                <a:gd name="connsiteX3" fmla="*/ 0 w 1316947"/>
                <a:gd name="connsiteY3" fmla="*/ 666750 h 666750"/>
                <a:gd name="connsiteX4" fmla="*/ 15875 w 1316947"/>
                <a:gd name="connsiteY4" fmla="*/ 107950 h 666750"/>
                <a:gd name="connsiteX0" fmla="*/ 3175 w 1316947"/>
                <a:gd name="connsiteY0" fmla="*/ 114300 h 666750"/>
                <a:gd name="connsiteX1" fmla="*/ 964522 w 1316947"/>
                <a:gd name="connsiteY1" fmla="*/ 0 h 666750"/>
                <a:gd name="connsiteX2" fmla="*/ 1316947 w 1316947"/>
                <a:gd name="connsiteY2" fmla="*/ 438150 h 666750"/>
                <a:gd name="connsiteX3" fmla="*/ 0 w 1316947"/>
                <a:gd name="connsiteY3" fmla="*/ 666750 h 666750"/>
                <a:gd name="connsiteX4" fmla="*/ 3175 w 1316947"/>
                <a:gd name="connsiteY4" fmla="*/ 114300 h 666750"/>
                <a:gd name="connsiteX0" fmla="*/ 3175 w 1316947"/>
                <a:gd name="connsiteY0" fmla="*/ 139700 h 692150"/>
                <a:gd name="connsiteX1" fmla="*/ 817351 w 1316947"/>
                <a:gd name="connsiteY1" fmla="*/ 0 h 692150"/>
                <a:gd name="connsiteX2" fmla="*/ 1316947 w 1316947"/>
                <a:gd name="connsiteY2" fmla="*/ 463550 h 692150"/>
                <a:gd name="connsiteX3" fmla="*/ 0 w 1316947"/>
                <a:gd name="connsiteY3" fmla="*/ 692150 h 692150"/>
                <a:gd name="connsiteX4" fmla="*/ 3175 w 1316947"/>
                <a:gd name="connsiteY4" fmla="*/ 139700 h 692150"/>
                <a:gd name="connsiteX0" fmla="*/ 3175 w 840003"/>
                <a:gd name="connsiteY0" fmla="*/ 139700 h 692150"/>
                <a:gd name="connsiteX1" fmla="*/ 817351 w 840003"/>
                <a:gd name="connsiteY1" fmla="*/ 0 h 692150"/>
                <a:gd name="connsiteX2" fmla="*/ 840003 w 840003"/>
                <a:gd name="connsiteY2" fmla="*/ 368300 h 692150"/>
                <a:gd name="connsiteX3" fmla="*/ 0 w 840003"/>
                <a:gd name="connsiteY3" fmla="*/ 692150 h 692150"/>
                <a:gd name="connsiteX4" fmla="*/ 3175 w 840003"/>
                <a:gd name="connsiteY4" fmla="*/ 139700 h 692150"/>
                <a:gd name="connsiteX0" fmla="*/ 3175 w 1123444"/>
                <a:gd name="connsiteY0" fmla="*/ 139700 h 692150"/>
                <a:gd name="connsiteX1" fmla="*/ 817351 w 1123444"/>
                <a:gd name="connsiteY1" fmla="*/ 0 h 692150"/>
                <a:gd name="connsiteX2" fmla="*/ 1123444 w 1123444"/>
                <a:gd name="connsiteY2" fmla="*/ 428625 h 692150"/>
                <a:gd name="connsiteX3" fmla="*/ 0 w 1123444"/>
                <a:gd name="connsiteY3" fmla="*/ 692150 h 692150"/>
                <a:gd name="connsiteX4" fmla="*/ 3175 w 1123444"/>
                <a:gd name="connsiteY4" fmla="*/ 139700 h 692150"/>
                <a:gd name="connsiteX0" fmla="*/ 65 w 1120334"/>
                <a:gd name="connsiteY0" fmla="*/ 139700 h 802569"/>
                <a:gd name="connsiteX1" fmla="*/ 814241 w 1120334"/>
                <a:gd name="connsiteY1" fmla="*/ 0 h 802569"/>
                <a:gd name="connsiteX2" fmla="*/ 1120334 w 1120334"/>
                <a:gd name="connsiteY2" fmla="*/ 428625 h 802569"/>
                <a:gd name="connsiteX3" fmla="*/ 10319 w 1120334"/>
                <a:gd name="connsiteY3" fmla="*/ 802569 h 802569"/>
                <a:gd name="connsiteX4" fmla="*/ 65 w 1120334"/>
                <a:gd name="connsiteY4" fmla="*/ 139700 h 802569"/>
                <a:gd name="connsiteX0" fmla="*/ 87 w 1116998"/>
                <a:gd name="connsiteY0" fmla="*/ 265177 h 802569"/>
                <a:gd name="connsiteX1" fmla="*/ 810905 w 1116998"/>
                <a:gd name="connsiteY1" fmla="*/ 0 h 802569"/>
                <a:gd name="connsiteX2" fmla="*/ 1116998 w 1116998"/>
                <a:gd name="connsiteY2" fmla="*/ 428625 h 802569"/>
                <a:gd name="connsiteX3" fmla="*/ 6983 w 1116998"/>
                <a:gd name="connsiteY3" fmla="*/ 802569 h 802569"/>
                <a:gd name="connsiteX4" fmla="*/ 87 w 1116998"/>
                <a:gd name="connsiteY4" fmla="*/ 265177 h 802569"/>
                <a:gd name="connsiteX0" fmla="*/ 51 w 1123677"/>
                <a:gd name="connsiteY0" fmla="*/ 260158 h 802569"/>
                <a:gd name="connsiteX1" fmla="*/ 817584 w 1123677"/>
                <a:gd name="connsiteY1" fmla="*/ 0 h 802569"/>
                <a:gd name="connsiteX2" fmla="*/ 1123677 w 1123677"/>
                <a:gd name="connsiteY2" fmla="*/ 428625 h 802569"/>
                <a:gd name="connsiteX3" fmla="*/ 13662 w 1123677"/>
                <a:gd name="connsiteY3" fmla="*/ 802569 h 802569"/>
                <a:gd name="connsiteX4" fmla="*/ 51 w 1123677"/>
                <a:gd name="connsiteY4" fmla="*/ 260158 h 802569"/>
                <a:gd name="connsiteX0" fmla="*/ 64 w 1123690"/>
                <a:gd name="connsiteY0" fmla="*/ 260158 h 812607"/>
                <a:gd name="connsiteX1" fmla="*/ 817597 w 1123690"/>
                <a:gd name="connsiteY1" fmla="*/ 0 h 812607"/>
                <a:gd name="connsiteX2" fmla="*/ 1123690 w 1123690"/>
                <a:gd name="connsiteY2" fmla="*/ 428625 h 812607"/>
                <a:gd name="connsiteX3" fmla="*/ 10318 w 1123690"/>
                <a:gd name="connsiteY3" fmla="*/ 812607 h 812607"/>
                <a:gd name="connsiteX4" fmla="*/ 64 w 1123690"/>
                <a:gd name="connsiteY4" fmla="*/ 260158 h 812607"/>
                <a:gd name="connsiteX0" fmla="*/ 64 w 1012898"/>
                <a:gd name="connsiteY0" fmla="*/ 260158 h 812607"/>
                <a:gd name="connsiteX1" fmla="*/ 817597 w 1012898"/>
                <a:gd name="connsiteY1" fmla="*/ 0 h 812607"/>
                <a:gd name="connsiteX2" fmla="*/ 1012898 w 1012898"/>
                <a:gd name="connsiteY2" fmla="*/ 378435 h 812607"/>
                <a:gd name="connsiteX3" fmla="*/ 10318 w 1012898"/>
                <a:gd name="connsiteY3" fmla="*/ 812607 h 812607"/>
                <a:gd name="connsiteX4" fmla="*/ 64 w 1012898"/>
                <a:gd name="connsiteY4" fmla="*/ 260158 h 812607"/>
                <a:gd name="connsiteX0" fmla="*/ 64 w 1036400"/>
                <a:gd name="connsiteY0" fmla="*/ 260158 h 812607"/>
                <a:gd name="connsiteX1" fmla="*/ 817597 w 1036400"/>
                <a:gd name="connsiteY1" fmla="*/ 0 h 812607"/>
                <a:gd name="connsiteX2" fmla="*/ 1036400 w 1036400"/>
                <a:gd name="connsiteY2" fmla="*/ 368397 h 812607"/>
                <a:gd name="connsiteX3" fmla="*/ 10318 w 1036400"/>
                <a:gd name="connsiteY3" fmla="*/ 812607 h 812607"/>
                <a:gd name="connsiteX4" fmla="*/ 64 w 1036400"/>
                <a:gd name="connsiteY4" fmla="*/ 260158 h 812607"/>
                <a:gd name="connsiteX0" fmla="*/ 86 w 1036422"/>
                <a:gd name="connsiteY0" fmla="*/ 260158 h 812607"/>
                <a:gd name="connsiteX1" fmla="*/ 817619 w 1036422"/>
                <a:gd name="connsiteY1" fmla="*/ 0 h 812607"/>
                <a:gd name="connsiteX2" fmla="*/ 1036422 w 1036422"/>
                <a:gd name="connsiteY2" fmla="*/ 368397 h 812607"/>
                <a:gd name="connsiteX3" fmla="*/ 6982 w 1036422"/>
                <a:gd name="connsiteY3" fmla="*/ 812607 h 812607"/>
                <a:gd name="connsiteX4" fmla="*/ 86 w 1036422"/>
                <a:gd name="connsiteY4" fmla="*/ 260158 h 812607"/>
                <a:gd name="connsiteX0" fmla="*/ 20165 w 1056501"/>
                <a:gd name="connsiteY0" fmla="*/ 260158 h 826501"/>
                <a:gd name="connsiteX1" fmla="*/ 837698 w 1056501"/>
                <a:gd name="connsiteY1" fmla="*/ 0 h 826501"/>
                <a:gd name="connsiteX2" fmla="*/ 1056501 w 1056501"/>
                <a:gd name="connsiteY2" fmla="*/ 368397 h 826501"/>
                <a:gd name="connsiteX3" fmla="*/ 0 w 1056501"/>
                <a:gd name="connsiteY3" fmla="*/ 826501 h 826501"/>
                <a:gd name="connsiteX4" fmla="*/ 20165 w 1056501"/>
                <a:gd name="connsiteY4" fmla="*/ 260158 h 826501"/>
                <a:gd name="connsiteX0" fmla="*/ 20165 w 1084260"/>
                <a:gd name="connsiteY0" fmla="*/ 510258 h 1076601"/>
                <a:gd name="connsiteX1" fmla="*/ 1084260 w 1084260"/>
                <a:gd name="connsiteY1" fmla="*/ 0 h 1076601"/>
                <a:gd name="connsiteX2" fmla="*/ 1056501 w 1084260"/>
                <a:gd name="connsiteY2" fmla="*/ 618497 h 1076601"/>
                <a:gd name="connsiteX3" fmla="*/ 0 w 1084260"/>
                <a:gd name="connsiteY3" fmla="*/ 1076601 h 1076601"/>
                <a:gd name="connsiteX4" fmla="*/ 20165 w 1084260"/>
                <a:gd name="connsiteY4" fmla="*/ 510258 h 1076601"/>
                <a:gd name="connsiteX0" fmla="*/ 20165 w 1279008"/>
                <a:gd name="connsiteY0" fmla="*/ 510258 h 1076601"/>
                <a:gd name="connsiteX1" fmla="*/ 1084260 w 1279008"/>
                <a:gd name="connsiteY1" fmla="*/ 0 h 1076601"/>
                <a:gd name="connsiteX2" fmla="*/ 1279008 w 1279008"/>
                <a:gd name="connsiteY2" fmla="*/ 377660 h 1076601"/>
                <a:gd name="connsiteX3" fmla="*/ 0 w 1279008"/>
                <a:gd name="connsiteY3" fmla="*/ 1076601 h 1076601"/>
                <a:gd name="connsiteX4" fmla="*/ 20165 w 1279008"/>
                <a:gd name="connsiteY4" fmla="*/ 510258 h 1076601"/>
                <a:gd name="connsiteX0" fmla="*/ 20165 w 1285021"/>
                <a:gd name="connsiteY0" fmla="*/ 510258 h 1076601"/>
                <a:gd name="connsiteX1" fmla="*/ 1084260 w 1285021"/>
                <a:gd name="connsiteY1" fmla="*/ 0 h 1076601"/>
                <a:gd name="connsiteX2" fmla="*/ 1285021 w 1285021"/>
                <a:gd name="connsiteY2" fmla="*/ 368396 h 1076601"/>
                <a:gd name="connsiteX3" fmla="*/ 0 w 1285021"/>
                <a:gd name="connsiteY3" fmla="*/ 1076601 h 1076601"/>
                <a:gd name="connsiteX4" fmla="*/ 20165 w 1285021"/>
                <a:gd name="connsiteY4" fmla="*/ 510258 h 1076601"/>
                <a:gd name="connsiteX0" fmla="*/ 13 w 1264869"/>
                <a:gd name="connsiteY0" fmla="*/ 510258 h 1095127"/>
                <a:gd name="connsiteX1" fmla="*/ 1064108 w 1264869"/>
                <a:gd name="connsiteY1" fmla="*/ 0 h 1095127"/>
                <a:gd name="connsiteX2" fmla="*/ 1264869 w 1264869"/>
                <a:gd name="connsiteY2" fmla="*/ 368396 h 1095127"/>
                <a:gd name="connsiteX3" fmla="*/ 64040 w 1264869"/>
                <a:gd name="connsiteY3" fmla="*/ 1095127 h 1095127"/>
                <a:gd name="connsiteX4" fmla="*/ 13 w 1264869"/>
                <a:gd name="connsiteY4" fmla="*/ 510258 h 1095127"/>
                <a:gd name="connsiteX0" fmla="*/ 2124 w 1266980"/>
                <a:gd name="connsiteY0" fmla="*/ 510258 h 1071969"/>
                <a:gd name="connsiteX1" fmla="*/ 1066219 w 1266980"/>
                <a:gd name="connsiteY1" fmla="*/ 0 h 1071969"/>
                <a:gd name="connsiteX2" fmla="*/ 1266980 w 1266980"/>
                <a:gd name="connsiteY2" fmla="*/ 368396 h 1071969"/>
                <a:gd name="connsiteX3" fmla="*/ 0 w 1266980"/>
                <a:gd name="connsiteY3" fmla="*/ 1071969 h 1071969"/>
                <a:gd name="connsiteX4" fmla="*/ 2124 w 1266980"/>
                <a:gd name="connsiteY4" fmla="*/ 510258 h 1071969"/>
                <a:gd name="connsiteX0" fmla="*/ 2124 w 1299641"/>
                <a:gd name="connsiteY0" fmla="*/ 813874 h 1375585"/>
                <a:gd name="connsiteX1" fmla="*/ 1299641 w 1299641"/>
                <a:gd name="connsiteY1" fmla="*/ 0 h 1375585"/>
                <a:gd name="connsiteX2" fmla="*/ 1266980 w 1299641"/>
                <a:gd name="connsiteY2" fmla="*/ 672012 h 1375585"/>
                <a:gd name="connsiteX3" fmla="*/ 0 w 1299641"/>
                <a:gd name="connsiteY3" fmla="*/ 1375585 h 1375585"/>
                <a:gd name="connsiteX4" fmla="*/ 2124 w 1299641"/>
                <a:gd name="connsiteY4" fmla="*/ 813874 h 1375585"/>
                <a:gd name="connsiteX0" fmla="*/ 2124 w 1544494"/>
                <a:gd name="connsiteY0" fmla="*/ 813874 h 1375585"/>
                <a:gd name="connsiteX1" fmla="*/ 1299641 w 1544494"/>
                <a:gd name="connsiteY1" fmla="*/ 0 h 1375585"/>
                <a:gd name="connsiteX2" fmla="*/ 1544494 w 1544494"/>
                <a:gd name="connsiteY2" fmla="*/ 428321 h 1375585"/>
                <a:gd name="connsiteX3" fmla="*/ 0 w 1544494"/>
                <a:gd name="connsiteY3" fmla="*/ 1375585 h 1375585"/>
                <a:gd name="connsiteX4" fmla="*/ 2124 w 1544494"/>
                <a:gd name="connsiteY4" fmla="*/ 813874 h 1375585"/>
                <a:gd name="connsiteX0" fmla="*/ 33247 w 1575617"/>
                <a:gd name="connsiteY0" fmla="*/ 813874 h 1491438"/>
                <a:gd name="connsiteX1" fmla="*/ 1330764 w 1575617"/>
                <a:gd name="connsiteY1" fmla="*/ 0 h 1491438"/>
                <a:gd name="connsiteX2" fmla="*/ 1575617 w 1575617"/>
                <a:gd name="connsiteY2" fmla="*/ 428321 h 1491438"/>
                <a:gd name="connsiteX3" fmla="*/ 0 w 1575617"/>
                <a:gd name="connsiteY3" fmla="*/ 1491438 h 1491438"/>
                <a:gd name="connsiteX4" fmla="*/ 33247 w 1575617"/>
                <a:gd name="connsiteY4" fmla="*/ 813874 h 1491438"/>
                <a:gd name="connsiteX0" fmla="*/ 33247 w 1575617"/>
                <a:gd name="connsiteY0" fmla="*/ 813874 h 1491438"/>
                <a:gd name="connsiteX1" fmla="*/ 1330764 w 1575617"/>
                <a:gd name="connsiteY1" fmla="*/ 0 h 1491438"/>
                <a:gd name="connsiteX2" fmla="*/ 1575617 w 1575617"/>
                <a:gd name="connsiteY2" fmla="*/ 428321 h 1491438"/>
                <a:gd name="connsiteX3" fmla="*/ 0 w 1575617"/>
                <a:gd name="connsiteY3" fmla="*/ 1491438 h 1491438"/>
                <a:gd name="connsiteX4" fmla="*/ 33247 w 1575617"/>
                <a:gd name="connsiteY4" fmla="*/ 813874 h 1491438"/>
                <a:gd name="connsiteX0" fmla="*/ 33247 w 1575617"/>
                <a:gd name="connsiteY0" fmla="*/ 813874 h 1491438"/>
                <a:gd name="connsiteX1" fmla="*/ 1330764 w 1575617"/>
                <a:gd name="connsiteY1" fmla="*/ 0 h 1491438"/>
                <a:gd name="connsiteX2" fmla="*/ 1575617 w 1575617"/>
                <a:gd name="connsiteY2" fmla="*/ 428321 h 1491438"/>
                <a:gd name="connsiteX3" fmla="*/ 0 w 1575617"/>
                <a:gd name="connsiteY3" fmla="*/ 1491438 h 1491438"/>
                <a:gd name="connsiteX4" fmla="*/ 33247 w 1575617"/>
                <a:gd name="connsiteY4" fmla="*/ 813874 h 1491438"/>
                <a:gd name="connsiteX0" fmla="*/ 33247 w 1575617"/>
                <a:gd name="connsiteY0" fmla="*/ 813874 h 1491438"/>
                <a:gd name="connsiteX1" fmla="*/ 1330764 w 1575617"/>
                <a:gd name="connsiteY1" fmla="*/ 0 h 1491438"/>
                <a:gd name="connsiteX2" fmla="*/ 1575617 w 1575617"/>
                <a:gd name="connsiteY2" fmla="*/ 428321 h 1491438"/>
                <a:gd name="connsiteX3" fmla="*/ 0 w 1575617"/>
                <a:gd name="connsiteY3" fmla="*/ 1491438 h 1491438"/>
                <a:gd name="connsiteX4" fmla="*/ 33247 w 1575617"/>
                <a:gd name="connsiteY4" fmla="*/ 813874 h 1491438"/>
                <a:gd name="connsiteX0" fmla="*/ 33247 w 1575617"/>
                <a:gd name="connsiteY0" fmla="*/ 813874 h 1491438"/>
                <a:gd name="connsiteX1" fmla="*/ 1330764 w 1575617"/>
                <a:gd name="connsiteY1" fmla="*/ 0 h 1491438"/>
                <a:gd name="connsiteX2" fmla="*/ 1575617 w 1575617"/>
                <a:gd name="connsiteY2" fmla="*/ 428321 h 1491438"/>
                <a:gd name="connsiteX3" fmla="*/ 0 w 1575617"/>
                <a:gd name="connsiteY3" fmla="*/ 1491438 h 1491438"/>
                <a:gd name="connsiteX4" fmla="*/ 33247 w 1575617"/>
                <a:gd name="connsiteY4" fmla="*/ 813874 h 1491438"/>
                <a:gd name="connsiteX0" fmla="*/ 33247 w 1575617"/>
                <a:gd name="connsiteY0" fmla="*/ 813874 h 1491438"/>
                <a:gd name="connsiteX1" fmla="*/ 1330764 w 1575617"/>
                <a:gd name="connsiteY1" fmla="*/ 0 h 1491438"/>
                <a:gd name="connsiteX2" fmla="*/ 1575617 w 1575617"/>
                <a:gd name="connsiteY2" fmla="*/ 428321 h 1491438"/>
                <a:gd name="connsiteX3" fmla="*/ 0 w 1575617"/>
                <a:gd name="connsiteY3" fmla="*/ 1491438 h 1491438"/>
                <a:gd name="connsiteX4" fmla="*/ 33247 w 1575617"/>
                <a:gd name="connsiteY4" fmla="*/ 813874 h 1491438"/>
                <a:gd name="connsiteX0" fmla="*/ 25466 w 1575617"/>
                <a:gd name="connsiteY0" fmla="*/ 821864 h 1491438"/>
                <a:gd name="connsiteX1" fmla="*/ 1330764 w 1575617"/>
                <a:gd name="connsiteY1" fmla="*/ 0 h 1491438"/>
                <a:gd name="connsiteX2" fmla="*/ 1575617 w 1575617"/>
                <a:gd name="connsiteY2" fmla="*/ 428321 h 1491438"/>
                <a:gd name="connsiteX3" fmla="*/ 0 w 1575617"/>
                <a:gd name="connsiteY3" fmla="*/ 1491438 h 1491438"/>
                <a:gd name="connsiteX4" fmla="*/ 25466 w 1575617"/>
                <a:gd name="connsiteY4" fmla="*/ 821864 h 1491438"/>
                <a:gd name="connsiteX0" fmla="*/ 8364 w 1575617"/>
                <a:gd name="connsiteY0" fmla="*/ 817474 h 1491438"/>
                <a:gd name="connsiteX1" fmla="*/ 1330764 w 1575617"/>
                <a:gd name="connsiteY1" fmla="*/ 0 h 1491438"/>
                <a:gd name="connsiteX2" fmla="*/ 1575617 w 1575617"/>
                <a:gd name="connsiteY2" fmla="*/ 428321 h 1491438"/>
                <a:gd name="connsiteX3" fmla="*/ 0 w 1575617"/>
                <a:gd name="connsiteY3" fmla="*/ 1491438 h 1491438"/>
                <a:gd name="connsiteX4" fmla="*/ 8364 w 1575617"/>
                <a:gd name="connsiteY4" fmla="*/ 817474 h 1491438"/>
                <a:gd name="connsiteX0" fmla="*/ 69388 w 1575617"/>
                <a:gd name="connsiteY0" fmla="*/ 826570 h 1491438"/>
                <a:gd name="connsiteX1" fmla="*/ 1330764 w 1575617"/>
                <a:gd name="connsiteY1" fmla="*/ 0 h 1491438"/>
                <a:gd name="connsiteX2" fmla="*/ 1575617 w 1575617"/>
                <a:gd name="connsiteY2" fmla="*/ 428321 h 1491438"/>
                <a:gd name="connsiteX3" fmla="*/ 0 w 1575617"/>
                <a:gd name="connsiteY3" fmla="*/ 1491438 h 1491438"/>
                <a:gd name="connsiteX4" fmla="*/ 69388 w 1575617"/>
                <a:gd name="connsiteY4" fmla="*/ 826570 h 1491438"/>
                <a:gd name="connsiteX0" fmla="*/ 8364 w 1575617"/>
                <a:gd name="connsiteY0" fmla="*/ 808377 h 1491438"/>
                <a:gd name="connsiteX1" fmla="*/ 1330764 w 1575617"/>
                <a:gd name="connsiteY1" fmla="*/ 0 h 1491438"/>
                <a:gd name="connsiteX2" fmla="*/ 1575617 w 1575617"/>
                <a:gd name="connsiteY2" fmla="*/ 428321 h 1491438"/>
                <a:gd name="connsiteX3" fmla="*/ 0 w 1575617"/>
                <a:gd name="connsiteY3" fmla="*/ 1491438 h 1491438"/>
                <a:gd name="connsiteX4" fmla="*/ 8364 w 1575617"/>
                <a:gd name="connsiteY4" fmla="*/ 808377 h 1491438"/>
                <a:gd name="connsiteX0" fmla="*/ 8364 w 1575617"/>
                <a:gd name="connsiteY0" fmla="*/ 808377 h 1491438"/>
                <a:gd name="connsiteX1" fmla="*/ 1330764 w 1575617"/>
                <a:gd name="connsiteY1" fmla="*/ 0 h 1491438"/>
                <a:gd name="connsiteX2" fmla="*/ 1575617 w 1575617"/>
                <a:gd name="connsiteY2" fmla="*/ 428321 h 1491438"/>
                <a:gd name="connsiteX3" fmla="*/ 0 w 1575617"/>
                <a:gd name="connsiteY3" fmla="*/ 1491438 h 1491438"/>
                <a:gd name="connsiteX4" fmla="*/ 8364 w 1575617"/>
                <a:gd name="connsiteY4" fmla="*/ 808377 h 1491438"/>
                <a:gd name="connsiteX0" fmla="*/ 12301 w 1579554"/>
                <a:gd name="connsiteY0" fmla="*/ 808377 h 1494470"/>
                <a:gd name="connsiteX1" fmla="*/ 1334701 w 1579554"/>
                <a:gd name="connsiteY1" fmla="*/ 0 h 1494470"/>
                <a:gd name="connsiteX2" fmla="*/ 1579554 w 1579554"/>
                <a:gd name="connsiteY2" fmla="*/ 428321 h 1494470"/>
                <a:gd name="connsiteX3" fmla="*/ 0 w 1579554"/>
                <a:gd name="connsiteY3" fmla="*/ 1494470 h 1494470"/>
                <a:gd name="connsiteX4" fmla="*/ 12301 w 1579554"/>
                <a:gd name="connsiteY4" fmla="*/ 808377 h 1494470"/>
                <a:gd name="connsiteX0" fmla="*/ 12301 w 1579554"/>
                <a:gd name="connsiteY0" fmla="*/ 808377 h 1494470"/>
                <a:gd name="connsiteX1" fmla="*/ 1334701 w 1579554"/>
                <a:gd name="connsiteY1" fmla="*/ 0 h 1494470"/>
                <a:gd name="connsiteX2" fmla="*/ 1579554 w 1579554"/>
                <a:gd name="connsiteY2" fmla="*/ 428321 h 1494470"/>
                <a:gd name="connsiteX3" fmla="*/ 0 w 1579554"/>
                <a:gd name="connsiteY3" fmla="*/ 1494470 h 1494470"/>
                <a:gd name="connsiteX4" fmla="*/ 12301 w 1579554"/>
                <a:gd name="connsiteY4" fmla="*/ 808377 h 1494470"/>
                <a:gd name="connsiteX0" fmla="*/ 12301 w 1579554"/>
                <a:gd name="connsiteY0" fmla="*/ 808377 h 1494470"/>
                <a:gd name="connsiteX1" fmla="*/ 1334701 w 1579554"/>
                <a:gd name="connsiteY1" fmla="*/ 0 h 1494470"/>
                <a:gd name="connsiteX2" fmla="*/ 1579554 w 1579554"/>
                <a:gd name="connsiteY2" fmla="*/ 428321 h 1494470"/>
                <a:gd name="connsiteX3" fmla="*/ 0 w 1579554"/>
                <a:gd name="connsiteY3" fmla="*/ 1494470 h 1494470"/>
                <a:gd name="connsiteX4" fmla="*/ 12301 w 1579554"/>
                <a:gd name="connsiteY4" fmla="*/ 808377 h 1494470"/>
                <a:gd name="connsiteX0" fmla="*/ 12301 w 1579554"/>
                <a:gd name="connsiteY0" fmla="*/ 808377 h 1494470"/>
                <a:gd name="connsiteX1" fmla="*/ 1334701 w 1579554"/>
                <a:gd name="connsiteY1" fmla="*/ 0 h 1494470"/>
                <a:gd name="connsiteX2" fmla="*/ 1579554 w 1579554"/>
                <a:gd name="connsiteY2" fmla="*/ 428321 h 1494470"/>
                <a:gd name="connsiteX3" fmla="*/ 0 w 1579554"/>
                <a:gd name="connsiteY3" fmla="*/ 1494470 h 1494470"/>
                <a:gd name="connsiteX4" fmla="*/ 12301 w 1579554"/>
                <a:gd name="connsiteY4" fmla="*/ 808377 h 1494470"/>
                <a:gd name="connsiteX0" fmla="*/ 12301 w 1579554"/>
                <a:gd name="connsiteY0" fmla="*/ 808377 h 1494470"/>
                <a:gd name="connsiteX1" fmla="*/ 1334701 w 1579554"/>
                <a:gd name="connsiteY1" fmla="*/ 0 h 1494470"/>
                <a:gd name="connsiteX2" fmla="*/ 1579554 w 1579554"/>
                <a:gd name="connsiteY2" fmla="*/ 428321 h 1494470"/>
                <a:gd name="connsiteX3" fmla="*/ 0 w 1579554"/>
                <a:gd name="connsiteY3" fmla="*/ 1494470 h 1494470"/>
                <a:gd name="connsiteX4" fmla="*/ 12301 w 1579554"/>
                <a:gd name="connsiteY4" fmla="*/ 808377 h 1494470"/>
                <a:gd name="connsiteX0" fmla="*/ 1373 w 1568626"/>
                <a:gd name="connsiteY0" fmla="*/ 808377 h 1503566"/>
                <a:gd name="connsiteX1" fmla="*/ 1323773 w 1568626"/>
                <a:gd name="connsiteY1" fmla="*/ 0 h 1503566"/>
                <a:gd name="connsiteX2" fmla="*/ 1568626 w 1568626"/>
                <a:gd name="connsiteY2" fmla="*/ 428321 h 1503566"/>
                <a:gd name="connsiteX3" fmla="*/ 18600 w 1568626"/>
                <a:gd name="connsiteY3" fmla="*/ 1503566 h 1503566"/>
                <a:gd name="connsiteX4" fmla="*/ 1373 w 1568626"/>
                <a:gd name="connsiteY4" fmla="*/ 808377 h 1503566"/>
                <a:gd name="connsiteX0" fmla="*/ 4426 w 1571679"/>
                <a:gd name="connsiteY0" fmla="*/ 808377 h 1503566"/>
                <a:gd name="connsiteX1" fmla="*/ 1326826 w 1571679"/>
                <a:gd name="connsiteY1" fmla="*/ 0 h 1503566"/>
                <a:gd name="connsiteX2" fmla="*/ 1571679 w 1571679"/>
                <a:gd name="connsiteY2" fmla="*/ 428321 h 1503566"/>
                <a:gd name="connsiteX3" fmla="*/ 0 w 1571679"/>
                <a:gd name="connsiteY3" fmla="*/ 1503566 h 1503566"/>
                <a:gd name="connsiteX4" fmla="*/ 4426 w 1571679"/>
                <a:gd name="connsiteY4" fmla="*/ 808377 h 1503566"/>
                <a:gd name="connsiteX0" fmla="*/ 2176 w 1577918"/>
                <a:gd name="connsiteY0" fmla="*/ 808377 h 1503566"/>
                <a:gd name="connsiteX1" fmla="*/ 1333065 w 1577918"/>
                <a:gd name="connsiteY1" fmla="*/ 0 h 1503566"/>
                <a:gd name="connsiteX2" fmla="*/ 1577918 w 1577918"/>
                <a:gd name="connsiteY2" fmla="*/ 428321 h 1503566"/>
                <a:gd name="connsiteX3" fmla="*/ 6239 w 1577918"/>
                <a:gd name="connsiteY3" fmla="*/ 1503566 h 1503566"/>
                <a:gd name="connsiteX4" fmla="*/ 2176 w 1577918"/>
                <a:gd name="connsiteY4" fmla="*/ 808377 h 1503566"/>
                <a:gd name="connsiteX0" fmla="*/ 2176 w 1577918"/>
                <a:gd name="connsiteY0" fmla="*/ 808377 h 1494848"/>
                <a:gd name="connsiteX1" fmla="*/ 1333065 w 1577918"/>
                <a:gd name="connsiteY1" fmla="*/ 0 h 1494848"/>
                <a:gd name="connsiteX2" fmla="*/ 1577918 w 1577918"/>
                <a:gd name="connsiteY2" fmla="*/ 428321 h 1494848"/>
                <a:gd name="connsiteX3" fmla="*/ 6239 w 1577918"/>
                <a:gd name="connsiteY3" fmla="*/ 1494848 h 1494848"/>
                <a:gd name="connsiteX4" fmla="*/ 2176 w 1577918"/>
                <a:gd name="connsiteY4" fmla="*/ 808377 h 1494848"/>
                <a:gd name="connsiteX0" fmla="*/ 2176 w 1577918"/>
                <a:gd name="connsiteY0" fmla="*/ 808377 h 1494848"/>
                <a:gd name="connsiteX1" fmla="*/ 1333065 w 1577918"/>
                <a:gd name="connsiteY1" fmla="*/ 0 h 1494848"/>
                <a:gd name="connsiteX2" fmla="*/ 1577918 w 1577918"/>
                <a:gd name="connsiteY2" fmla="*/ 428321 h 1494848"/>
                <a:gd name="connsiteX3" fmla="*/ 6239 w 1577918"/>
                <a:gd name="connsiteY3" fmla="*/ 1494848 h 1494848"/>
                <a:gd name="connsiteX4" fmla="*/ 2176 w 1577918"/>
                <a:gd name="connsiteY4" fmla="*/ 808377 h 1494848"/>
                <a:gd name="connsiteX0" fmla="*/ 6418 w 1582160"/>
                <a:gd name="connsiteY0" fmla="*/ 808377 h 1494848"/>
                <a:gd name="connsiteX1" fmla="*/ 1337307 w 1582160"/>
                <a:gd name="connsiteY1" fmla="*/ 0 h 1494848"/>
                <a:gd name="connsiteX2" fmla="*/ 1582160 w 1582160"/>
                <a:gd name="connsiteY2" fmla="*/ 428321 h 1494848"/>
                <a:gd name="connsiteX3" fmla="*/ 10481 w 1582160"/>
                <a:gd name="connsiteY3" fmla="*/ 1494848 h 1494848"/>
                <a:gd name="connsiteX4" fmla="*/ 6418 w 1582160"/>
                <a:gd name="connsiteY4" fmla="*/ 808377 h 1494848"/>
                <a:gd name="connsiteX0" fmla="*/ 3866 w 1579608"/>
                <a:gd name="connsiteY0" fmla="*/ 808377 h 1494848"/>
                <a:gd name="connsiteX1" fmla="*/ 1334755 w 1579608"/>
                <a:gd name="connsiteY1" fmla="*/ 0 h 1494848"/>
                <a:gd name="connsiteX2" fmla="*/ 1579608 w 1579608"/>
                <a:gd name="connsiteY2" fmla="*/ 428321 h 1494848"/>
                <a:gd name="connsiteX3" fmla="*/ 7929 w 1579608"/>
                <a:gd name="connsiteY3" fmla="*/ 1494848 h 1494848"/>
                <a:gd name="connsiteX4" fmla="*/ 3866 w 1579608"/>
                <a:gd name="connsiteY4" fmla="*/ 808377 h 1494848"/>
                <a:gd name="connsiteX0" fmla="*/ 0 w 1575742"/>
                <a:gd name="connsiteY0" fmla="*/ 808377 h 1494848"/>
                <a:gd name="connsiteX1" fmla="*/ 1330889 w 1575742"/>
                <a:gd name="connsiteY1" fmla="*/ 0 h 1494848"/>
                <a:gd name="connsiteX2" fmla="*/ 1575742 w 1575742"/>
                <a:gd name="connsiteY2" fmla="*/ 428321 h 1494848"/>
                <a:gd name="connsiteX3" fmla="*/ 4063 w 1575742"/>
                <a:gd name="connsiteY3" fmla="*/ 1494848 h 1494848"/>
                <a:gd name="connsiteX4" fmla="*/ 0 w 1575742"/>
                <a:gd name="connsiteY4" fmla="*/ 808377 h 1494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75742" h="1494848">
                  <a:moveTo>
                    <a:pt x="0" y="808377"/>
                  </a:moveTo>
                  <a:lnTo>
                    <a:pt x="1330889" y="0"/>
                  </a:lnTo>
                  <a:lnTo>
                    <a:pt x="1575742" y="428321"/>
                  </a:lnTo>
                  <a:lnTo>
                    <a:pt x="4063" y="1494848"/>
                  </a:lnTo>
                  <a:cubicBezTo>
                    <a:pt x="-1822" y="1133670"/>
                    <a:pt x="3200" y="1166618"/>
                    <a:pt x="0" y="808377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  <p:sp>
          <p:nvSpPr>
            <p:cNvPr id="34" name="Rectangle 5">
              <a:extLst>
                <a:ext uri="{FF2B5EF4-FFF2-40B4-BE49-F238E27FC236}">
                  <a16:creationId xmlns:a16="http://schemas.microsoft.com/office/drawing/2014/main" id="{964612A2-7383-83A8-23A7-BF6DB9BB78F6}"/>
                </a:ext>
              </a:extLst>
            </p:cNvPr>
            <p:cNvSpPr/>
            <p:nvPr/>
          </p:nvSpPr>
          <p:spPr>
            <a:xfrm>
              <a:off x="1267240" y="3652314"/>
              <a:ext cx="3552730" cy="968957"/>
            </a:xfrm>
            <a:custGeom>
              <a:avLst/>
              <a:gdLst>
                <a:gd name="connsiteX0" fmla="*/ 0 w 619125"/>
                <a:gd name="connsiteY0" fmla="*/ 0 h 406400"/>
                <a:gd name="connsiteX1" fmla="*/ 619125 w 619125"/>
                <a:gd name="connsiteY1" fmla="*/ 0 h 406400"/>
                <a:gd name="connsiteX2" fmla="*/ 619125 w 619125"/>
                <a:gd name="connsiteY2" fmla="*/ 406400 h 406400"/>
                <a:gd name="connsiteX3" fmla="*/ 0 w 619125"/>
                <a:gd name="connsiteY3" fmla="*/ 406400 h 406400"/>
                <a:gd name="connsiteX4" fmla="*/ 0 w 619125"/>
                <a:gd name="connsiteY4" fmla="*/ 0 h 406400"/>
                <a:gd name="connsiteX0" fmla="*/ 0 w 962025"/>
                <a:gd name="connsiteY0" fmla="*/ 73025 h 479425"/>
                <a:gd name="connsiteX1" fmla="*/ 962025 w 962025"/>
                <a:gd name="connsiteY1" fmla="*/ 0 h 479425"/>
                <a:gd name="connsiteX2" fmla="*/ 619125 w 962025"/>
                <a:gd name="connsiteY2" fmla="*/ 479425 h 479425"/>
                <a:gd name="connsiteX3" fmla="*/ 0 w 962025"/>
                <a:gd name="connsiteY3" fmla="*/ 479425 h 479425"/>
                <a:gd name="connsiteX4" fmla="*/ 0 w 962025"/>
                <a:gd name="connsiteY4" fmla="*/ 73025 h 479425"/>
                <a:gd name="connsiteX0" fmla="*/ 0 w 1901825"/>
                <a:gd name="connsiteY0" fmla="*/ 73025 h 479425"/>
                <a:gd name="connsiteX1" fmla="*/ 962025 w 1901825"/>
                <a:gd name="connsiteY1" fmla="*/ 0 h 479425"/>
                <a:gd name="connsiteX2" fmla="*/ 1901825 w 1901825"/>
                <a:gd name="connsiteY2" fmla="*/ 104775 h 479425"/>
                <a:gd name="connsiteX3" fmla="*/ 0 w 1901825"/>
                <a:gd name="connsiteY3" fmla="*/ 479425 h 479425"/>
                <a:gd name="connsiteX4" fmla="*/ 0 w 1901825"/>
                <a:gd name="connsiteY4" fmla="*/ 73025 h 479425"/>
                <a:gd name="connsiteX0" fmla="*/ 0 w 1901825"/>
                <a:gd name="connsiteY0" fmla="*/ 73025 h 336550"/>
                <a:gd name="connsiteX1" fmla="*/ 962025 w 1901825"/>
                <a:gd name="connsiteY1" fmla="*/ 0 h 336550"/>
                <a:gd name="connsiteX2" fmla="*/ 1901825 w 1901825"/>
                <a:gd name="connsiteY2" fmla="*/ 104775 h 336550"/>
                <a:gd name="connsiteX3" fmla="*/ 946150 w 1901825"/>
                <a:gd name="connsiteY3" fmla="*/ 336550 h 336550"/>
                <a:gd name="connsiteX4" fmla="*/ 0 w 1901825"/>
                <a:gd name="connsiteY4" fmla="*/ 73025 h 336550"/>
                <a:gd name="connsiteX0" fmla="*/ 0 w 1914525"/>
                <a:gd name="connsiteY0" fmla="*/ 76200 h 339725"/>
                <a:gd name="connsiteX1" fmla="*/ 962025 w 1914525"/>
                <a:gd name="connsiteY1" fmla="*/ 3175 h 339725"/>
                <a:gd name="connsiteX2" fmla="*/ 1914525 w 1914525"/>
                <a:gd name="connsiteY2" fmla="*/ 0 h 339725"/>
                <a:gd name="connsiteX3" fmla="*/ 946150 w 1914525"/>
                <a:gd name="connsiteY3" fmla="*/ 339725 h 339725"/>
                <a:gd name="connsiteX4" fmla="*/ 0 w 1914525"/>
                <a:gd name="connsiteY4" fmla="*/ 76200 h 339725"/>
                <a:gd name="connsiteX0" fmla="*/ 0 w 1895475"/>
                <a:gd name="connsiteY0" fmla="*/ 73025 h 336550"/>
                <a:gd name="connsiteX1" fmla="*/ 962025 w 1895475"/>
                <a:gd name="connsiteY1" fmla="*/ 0 h 336550"/>
                <a:gd name="connsiteX2" fmla="*/ 1895475 w 1895475"/>
                <a:gd name="connsiteY2" fmla="*/ 101600 h 336550"/>
                <a:gd name="connsiteX3" fmla="*/ 946150 w 1895475"/>
                <a:gd name="connsiteY3" fmla="*/ 336550 h 336550"/>
                <a:gd name="connsiteX4" fmla="*/ 0 w 1895475"/>
                <a:gd name="connsiteY4" fmla="*/ 73025 h 336550"/>
                <a:gd name="connsiteX0" fmla="*/ 0 w 2189717"/>
                <a:gd name="connsiteY0" fmla="*/ 249314 h 512839"/>
                <a:gd name="connsiteX1" fmla="*/ 962025 w 2189717"/>
                <a:gd name="connsiteY1" fmla="*/ 176289 h 512839"/>
                <a:gd name="connsiteX2" fmla="*/ 2189717 w 2189717"/>
                <a:gd name="connsiteY2" fmla="*/ 0 h 512839"/>
                <a:gd name="connsiteX3" fmla="*/ 946150 w 2189717"/>
                <a:gd name="connsiteY3" fmla="*/ 512839 h 512839"/>
                <a:gd name="connsiteX4" fmla="*/ 0 w 2189717"/>
                <a:gd name="connsiteY4" fmla="*/ 249314 h 512839"/>
                <a:gd name="connsiteX0" fmla="*/ 0 w 2203729"/>
                <a:gd name="connsiteY0" fmla="*/ 244682 h 508207"/>
                <a:gd name="connsiteX1" fmla="*/ 962025 w 2203729"/>
                <a:gd name="connsiteY1" fmla="*/ 171657 h 508207"/>
                <a:gd name="connsiteX2" fmla="*/ 2203729 w 2203729"/>
                <a:gd name="connsiteY2" fmla="*/ 0 h 508207"/>
                <a:gd name="connsiteX3" fmla="*/ 946150 w 2203729"/>
                <a:gd name="connsiteY3" fmla="*/ 508207 h 508207"/>
                <a:gd name="connsiteX4" fmla="*/ 0 w 2203729"/>
                <a:gd name="connsiteY4" fmla="*/ 244682 h 508207"/>
                <a:gd name="connsiteX0" fmla="*/ 0 w 2490966"/>
                <a:gd name="connsiteY0" fmla="*/ 0 h 513625"/>
                <a:gd name="connsiteX1" fmla="*/ 1249262 w 2490966"/>
                <a:gd name="connsiteY1" fmla="*/ 177075 h 513625"/>
                <a:gd name="connsiteX2" fmla="*/ 2490966 w 2490966"/>
                <a:gd name="connsiteY2" fmla="*/ 5418 h 513625"/>
                <a:gd name="connsiteX3" fmla="*/ 1233387 w 2490966"/>
                <a:gd name="connsiteY3" fmla="*/ 513625 h 513625"/>
                <a:gd name="connsiteX4" fmla="*/ 0 w 2490966"/>
                <a:gd name="connsiteY4" fmla="*/ 0 h 513625"/>
                <a:gd name="connsiteX0" fmla="*/ 0 w 2490966"/>
                <a:gd name="connsiteY0" fmla="*/ 387968 h 901593"/>
                <a:gd name="connsiteX1" fmla="*/ 1277286 w 2490966"/>
                <a:gd name="connsiteY1" fmla="*/ 0 h 901593"/>
                <a:gd name="connsiteX2" fmla="*/ 2490966 w 2490966"/>
                <a:gd name="connsiteY2" fmla="*/ 393386 h 901593"/>
                <a:gd name="connsiteX3" fmla="*/ 1233387 w 2490966"/>
                <a:gd name="connsiteY3" fmla="*/ 901593 h 901593"/>
                <a:gd name="connsiteX4" fmla="*/ 0 w 2490966"/>
                <a:gd name="connsiteY4" fmla="*/ 387968 h 901593"/>
                <a:gd name="connsiteX0" fmla="*/ 0 w 2496509"/>
                <a:gd name="connsiteY0" fmla="*/ 387968 h 901593"/>
                <a:gd name="connsiteX1" fmla="*/ 1277286 w 2496509"/>
                <a:gd name="connsiteY1" fmla="*/ 0 h 901593"/>
                <a:gd name="connsiteX2" fmla="*/ 2496509 w 2496509"/>
                <a:gd name="connsiteY2" fmla="*/ 415375 h 901593"/>
                <a:gd name="connsiteX3" fmla="*/ 1233387 w 2496509"/>
                <a:gd name="connsiteY3" fmla="*/ 901593 h 901593"/>
                <a:gd name="connsiteX4" fmla="*/ 0 w 2496509"/>
                <a:gd name="connsiteY4" fmla="*/ 387968 h 901593"/>
                <a:gd name="connsiteX0" fmla="*/ 0 w 2430177"/>
                <a:gd name="connsiteY0" fmla="*/ 387968 h 901593"/>
                <a:gd name="connsiteX1" fmla="*/ 1277286 w 2430177"/>
                <a:gd name="connsiteY1" fmla="*/ 0 h 901593"/>
                <a:gd name="connsiteX2" fmla="*/ 2430177 w 2430177"/>
                <a:gd name="connsiteY2" fmla="*/ 600528 h 901593"/>
                <a:gd name="connsiteX3" fmla="*/ 1233387 w 2430177"/>
                <a:gd name="connsiteY3" fmla="*/ 901593 h 901593"/>
                <a:gd name="connsiteX4" fmla="*/ 0 w 2430177"/>
                <a:gd name="connsiteY4" fmla="*/ 387968 h 901593"/>
                <a:gd name="connsiteX0" fmla="*/ 0 w 2492824"/>
                <a:gd name="connsiteY0" fmla="*/ 387968 h 901593"/>
                <a:gd name="connsiteX1" fmla="*/ 1277286 w 2492824"/>
                <a:gd name="connsiteY1" fmla="*/ 0 h 901593"/>
                <a:gd name="connsiteX2" fmla="*/ 2492824 w 2492824"/>
                <a:gd name="connsiteY2" fmla="*/ 415375 h 901593"/>
                <a:gd name="connsiteX3" fmla="*/ 1233387 w 2492824"/>
                <a:gd name="connsiteY3" fmla="*/ 901593 h 901593"/>
                <a:gd name="connsiteX4" fmla="*/ 0 w 2492824"/>
                <a:gd name="connsiteY4" fmla="*/ 387968 h 901593"/>
                <a:gd name="connsiteX0" fmla="*/ 0 w 2489139"/>
                <a:gd name="connsiteY0" fmla="*/ 387968 h 901593"/>
                <a:gd name="connsiteX1" fmla="*/ 1277286 w 2489139"/>
                <a:gd name="connsiteY1" fmla="*/ 0 h 901593"/>
                <a:gd name="connsiteX2" fmla="*/ 2489139 w 2489139"/>
                <a:gd name="connsiteY2" fmla="*/ 571293 h 901593"/>
                <a:gd name="connsiteX3" fmla="*/ 1233387 w 2489139"/>
                <a:gd name="connsiteY3" fmla="*/ 901593 h 901593"/>
                <a:gd name="connsiteX4" fmla="*/ 0 w 2489139"/>
                <a:gd name="connsiteY4" fmla="*/ 387968 h 901593"/>
                <a:gd name="connsiteX0" fmla="*/ 0 w 2496509"/>
                <a:gd name="connsiteY0" fmla="*/ 387968 h 901593"/>
                <a:gd name="connsiteX1" fmla="*/ 1277286 w 2496509"/>
                <a:gd name="connsiteY1" fmla="*/ 0 h 901593"/>
                <a:gd name="connsiteX2" fmla="*/ 2496509 w 2496509"/>
                <a:gd name="connsiteY2" fmla="*/ 410502 h 901593"/>
                <a:gd name="connsiteX3" fmla="*/ 1233387 w 2496509"/>
                <a:gd name="connsiteY3" fmla="*/ 901593 h 901593"/>
                <a:gd name="connsiteX4" fmla="*/ 0 w 2496509"/>
                <a:gd name="connsiteY4" fmla="*/ 387968 h 901593"/>
                <a:gd name="connsiteX0" fmla="*/ 0 w 2500194"/>
                <a:gd name="connsiteY0" fmla="*/ 387968 h 901593"/>
                <a:gd name="connsiteX1" fmla="*/ 1277286 w 2500194"/>
                <a:gd name="connsiteY1" fmla="*/ 0 h 901593"/>
                <a:gd name="connsiteX2" fmla="*/ 2500194 w 2500194"/>
                <a:gd name="connsiteY2" fmla="*/ 410502 h 901593"/>
                <a:gd name="connsiteX3" fmla="*/ 1233387 w 2500194"/>
                <a:gd name="connsiteY3" fmla="*/ 901593 h 901593"/>
                <a:gd name="connsiteX4" fmla="*/ 0 w 2500194"/>
                <a:gd name="connsiteY4" fmla="*/ 387968 h 901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00194" h="901593">
                  <a:moveTo>
                    <a:pt x="0" y="387968"/>
                  </a:moveTo>
                  <a:lnTo>
                    <a:pt x="1277286" y="0"/>
                  </a:lnTo>
                  <a:lnTo>
                    <a:pt x="2500194" y="410502"/>
                  </a:lnTo>
                  <a:lnTo>
                    <a:pt x="1233387" y="901593"/>
                  </a:lnTo>
                  <a:lnTo>
                    <a:pt x="0" y="38796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  <p:sp>
          <p:nvSpPr>
            <p:cNvPr id="35" name="Rectangle 4">
              <a:extLst>
                <a:ext uri="{FF2B5EF4-FFF2-40B4-BE49-F238E27FC236}">
                  <a16:creationId xmlns:a16="http://schemas.microsoft.com/office/drawing/2014/main" id="{E7CE41B8-5993-5FD9-9890-A5B58379B7B2}"/>
                </a:ext>
              </a:extLst>
            </p:cNvPr>
            <p:cNvSpPr/>
            <p:nvPr/>
          </p:nvSpPr>
          <p:spPr>
            <a:xfrm>
              <a:off x="3062190" y="4086614"/>
              <a:ext cx="2080727" cy="1154011"/>
            </a:xfrm>
            <a:custGeom>
              <a:avLst/>
              <a:gdLst>
                <a:gd name="connsiteX0" fmla="*/ 0 w 1088347"/>
                <a:gd name="connsiteY0" fmla="*/ 0 h 530225"/>
                <a:gd name="connsiteX1" fmla="*/ 1088347 w 1088347"/>
                <a:gd name="connsiteY1" fmla="*/ 0 h 530225"/>
                <a:gd name="connsiteX2" fmla="*/ 1088347 w 1088347"/>
                <a:gd name="connsiteY2" fmla="*/ 530225 h 530225"/>
                <a:gd name="connsiteX3" fmla="*/ 0 w 1088347"/>
                <a:gd name="connsiteY3" fmla="*/ 530225 h 530225"/>
                <a:gd name="connsiteX4" fmla="*/ 0 w 1088347"/>
                <a:gd name="connsiteY4" fmla="*/ 0 h 530225"/>
                <a:gd name="connsiteX0" fmla="*/ 0 w 1088347"/>
                <a:gd name="connsiteY0" fmla="*/ 92075 h 622300"/>
                <a:gd name="connsiteX1" fmla="*/ 916897 w 1088347"/>
                <a:gd name="connsiteY1" fmla="*/ 0 h 622300"/>
                <a:gd name="connsiteX2" fmla="*/ 1088347 w 1088347"/>
                <a:gd name="connsiteY2" fmla="*/ 622300 h 622300"/>
                <a:gd name="connsiteX3" fmla="*/ 0 w 1088347"/>
                <a:gd name="connsiteY3" fmla="*/ 622300 h 622300"/>
                <a:gd name="connsiteX4" fmla="*/ 0 w 1088347"/>
                <a:gd name="connsiteY4" fmla="*/ 92075 h 622300"/>
                <a:gd name="connsiteX0" fmla="*/ 0 w 1275672"/>
                <a:gd name="connsiteY0" fmla="*/ 92075 h 622300"/>
                <a:gd name="connsiteX1" fmla="*/ 916897 w 1275672"/>
                <a:gd name="connsiteY1" fmla="*/ 0 h 622300"/>
                <a:gd name="connsiteX2" fmla="*/ 1275672 w 1275672"/>
                <a:gd name="connsiteY2" fmla="*/ 441325 h 622300"/>
                <a:gd name="connsiteX3" fmla="*/ 0 w 1275672"/>
                <a:gd name="connsiteY3" fmla="*/ 622300 h 622300"/>
                <a:gd name="connsiteX4" fmla="*/ 0 w 1275672"/>
                <a:gd name="connsiteY4" fmla="*/ 92075 h 622300"/>
                <a:gd name="connsiteX0" fmla="*/ 41275 w 1316947"/>
                <a:gd name="connsiteY0" fmla="*/ 92075 h 669925"/>
                <a:gd name="connsiteX1" fmla="*/ 958172 w 1316947"/>
                <a:gd name="connsiteY1" fmla="*/ 0 h 669925"/>
                <a:gd name="connsiteX2" fmla="*/ 1316947 w 1316947"/>
                <a:gd name="connsiteY2" fmla="*/ 441325 h 669925"/>
                <a:gd name="connsiteX3" fmla="*/ 0 w 1316947"/>
                <a:gd name="connsiteY3" fmla="*/ 669925 h 669925"/>
                <a:gd name="connsiteX4" fmla="*/ 41275 w 1316947"/>
                <a:gd name="connsiteY4" fmla="*/ 92075 h 669925"/>
                <a:gd name="connsiteX0" fmla="*/ 22225 w 1316947"/>
                <a:gd name="connsiteY0" fmla="*/ 120650 h 669925"/>
                <a:gd name="connsiteX1" fmla="*/ 958172 w 1316947"/>
                <a:gd name="connsiteY1" fmla="*/ 0 h 669925"/>
                <a:gd name="connsiteX2" fmla="*/ 1316947 w 1316947"/>
                <a:gd name="connsiteY2" fmla="*/ 441325 h 669925"/>
                <a:gd name="connsiteX3" fmla="*/ 0 w 1316947"/>
                <a:gd name="connsiteY3" fmla="*/ 669925 h 669925"/>
                <a:gd name="connsiteX4" fmla="*/ 22225 w 1316947"/>
                <a:gd name="connsiteY4" fmla="*/ 120650 h 669925"/>
                <a:gd name="connsiteX0" fmla="*/ 15875 w 1316947"/>
                <a:gd name="connsiteY0" fmla="*/ 111125 h 669925"/>
                <a:gd name="connsiteX1" fmla="*/ 958172 w 1316947"/>
                <a:gd name="connsiteY1" fmla="*/ 0 h 669925"/>
                <a:gd name="connsiteX2" fmla="*/ 1316947 w 1316947"/>
                <a:gd name="connsiteY2" fmla="*/ 441325 h 669925"/>
                <a:gd name="connsiteX3" fmla="*/ 0 w 1316947"/>
                <a:gd name="connsiteY3" fmla="*/ 669925 h 669925"/>
                <a:gd name="connsiteX4" fmla="*/ 15875 w 1316947"/>
                <a:gd name="connsiteY4" fmla="*/ 111125 h 669925"/>
                <a:gd name="connsiteX0" fmla="*/ 15875 w 1316947"/>
                <a:gd name="connsiteY0" fmla="*/ 107950 h 666750"/>
                <a:gd name="connsiteX1" fmla="*/ 964522 w 1316947"/>
                <a:gd name="connsiteY1" fmla="*/ 0 h 666750"/>
                <a:gd name="connsiteX2" fmla="*/ 1316947 w 1316947"/>
                <a:gd name="connsiteY2" fmla="*/ 438150 h 666750"/>
                <a:gd name="connsiteX3" fmla="*/ 0 w 1316947"/>
                <a:gd name="connsiteY3" fmla="*/ 666750 h 666750"/>
                <a:gd name="connsiteX4" fmla="*/ 15875 w 1316947"/>
                <a:gd name="connsiteY4" fmla="*/ 107950 h 666750"/>
                <a:gd name="connsiteX0" fmla="*/ 3175 w 1316947"/>
                <a:gd name="connsiteY0" fmla="*/ 114300 h 666750"/>
                <a:gd name="connsiteX1" fmla="*/ 964522 w 1316947"/>
                <a:gd name="connsiteY1" fmla="*/ 0 h 666750"/>
                <a:gd name="connsiteX2" fmla="*/ 1316947 w 1316947"/>
                <a:gd name="connsiteY2" fmla="*/ 438150 h 666750"/>
                <a:gd name="connsiteX3" fmla="*/ 0 w 1316947"/>
                <a:gd name="connsiteY3" fmla="*/ 666750 h 666750"/>
                <a:gd name="connsiteX4" fmla="*/ 3175 w 1316947"/>
                <a:gd name="connsiteY4" fmla="*/ 114300 h 666750"/>
                <a:gd name="connsiteX0" fmla="*/ 7086 w 1316947"/>
                <a:gd name="connsiteY0" fmla="*/ 224719 h 666750"/>
                <a:gd name="connsiteX1" fmla="*/ 964522 w 1316947"/>
                <a:gd name="connsiteY1" fmla="*/ 0 h 666750"/>
                <a:gd name="connsiteX2" fmla="*/ 1316947 w 1316947"/>
                <a:gd name="connsiteY2" fmla="*/ 438150 h 666750"/>
                <a:gd name="connsiteX3" fmla="*/ 0 w 1316947"/>
                <a:gd name="connsiteY3" fmla="*/ 666750 h 666750"/>
                <a:gd name="connsiteX4" fmla="*/ 7086 w 1316947"/>
                <a:gd name="connsiteY4" fmla="*/ 224719 h 666750"/>
                <a:gd name="connsiteX0" fmla="*/ 3175 w 1313036"/>
                <a:gd name="connsiteY0" fmla="*/ 224719 h 777169"/>
                <a:gd name="connsiteX1" fmla="*/ 960611 w 1313036"/>
                <a:gd name="connsiteY1" fmla="*/ 0 h 777169"/>
                <a:gd name="connsiteX2" fmla="*/ 1313036 w 1313036"/>
                <a:gd name="connsiteY2" fmla="*/ 438150 h 777169"/>
                <a:gd name="connsiteX3" fmla="*/ 0 w 1313036"/>
                <a:gd name="connsiteY3" fmla="*/ 777169 h 777169"/>
                <a:gd name="connsiteX4" fmla="*/ 3175 w 1313036"/>
                <a:gd name="connsiteY4" fmla="*/ 224719 h 777169"/>
                <a:gd name="connsiteX0" fmla="*/ 3175 w 1219167"/>
                <a:gd name="connsiteY0" fmla="*/ 224719 h 777169"/>
                <a:gd name="connsiteX1" fmla="*/ 960611 w 1219167"/>
                <a:gd name="connsiteY1" fmla="*/ 0 h 777169"/>
                <a:gd name="connsiteX2" fmla="*/ 1219167 w 1219167"/>
                <a:gd name="connsiteY2" fmla="*/ 418074 h 777169"/>
                <a:gd name="connsiteX3" fmla="*/ 0 w 1219167"/>
                <a:gd name="connsiteY3" fmla="*/ 777169 h 777169"/>
                <a:gd name="connsiteX4" fmla="*/ 3175 w 1219167"/>
                <a:gd name="connsiteY4" fmla="*/ 224719 h 777169"/>
                <a:gd name="connsiteX0" fmla="*/ 3175 w 1168321"/>
                <a:gd name="connsiteY0" fmla="*/ 224719 h 777169"/>
                <a:gd name="connsiteX1" fmla="*/ 960611 w 1168321"/>
                <a:gd name="connsiteY1" fmla="*/ 0 h 777169"/>
                <a:gd name="connsiteX2" fmla="*/ 1168321 w 1168321"/>
                <a:gd name="connsiteY2" fmla="*/ 337769 h 777169"/>
                <a:gd name="connsiteX3" fmla="*/ 0 w 1168321"/>
                <a:gd name="connsiteY3" fmla="*/ 777169 h 777169"/>
                <a:gd name="connsiteX4" fmla="*/ 3175 w 1168321"/>
                <a:gd name="connsiteY4" fmla="*/ 224719 h 777169"/>
                <a:gd name="connsiteX0" fmla="*/ 3175 w 1203522"/>
                <a:gd name="connsiteY0" fmla="*/ 224719 h 777169"/>
                <a:gd name="connsiteX1" fmla="*/ 960611 w 1203522"/>
                <a:gd name="connsiteY1" fmla="*/ 0 h 777169"/>
                <a:gd name="connsiteX2" fmla="*/ 1203522 w 1203522"/>
                <a:gd name="connsiteY2" fmla="*/ 387960 h 777169"/>
                <a:gd name="connsiteX3" fmla="*/ 0 w 1203522"/>
                <a:gd name="connsiteY3" fmla="*/ 777169 h 777169"/>
                <a:gd name="connsiteX4" fmla="*/ 3175 w 1203522"/>
                <a:gd name="connsiteY4" fmla="*/ 224719 h 777169"/>
                <a:gd name="connsiteX0" fmla="*/ 9 w 1200356"/>
                <a:gd name="connsiteY0" fmla="*/ 224719 h 636636"/>
                <a:gd name="connsiteX1" fmla="*/ 957445 w 1200356"/>
                <a:gd name="connsiteY1" fmla="*/ 0 h 636636"/>
                <a:gd name="connsiteX2" fmla="*/ 1200356 w 1200356"/>
                <a:gd name="connsiteY2" fmla="*/ 387960 h 636636"/>
                <a:gd name="connsiteX3" fmla="*/ 90703 w 1200356"/>
                <a:gd name="connsiteY3" fmla="*/ 636636 h 636636"/>
                <a:gd name="connsiteX4" fmla="*/ 9 w 1200356"/>
                <a:gd name="connsiteY4" fmla="*/ 224719 h 636636"/>
                <a:gd name="connsiteX0" fmla="*/ 239 w 1200586"/>
                <a:gd name="connsiteY0" fmla="*/ 224719 h 762112"/>
                <a:gd name="connsiteX1" fmla="*/ 957675 w 1200586"/>
                <a:gd name="connsiteY1" fmla="*/ 0 h 762112"/>
                <a:gd name="connsiteX2" fmla="*/ 1200586 w 1200586"/>
                <a:gd name="connsiteY2" fmla="*/ 387960 h 762112"/>
                <a:gd name="connsiteX3" fmla="*/ 975 w 1200586"/>
                <a:gd name="connsiteY3" fmla="*/ 762112 h 762112"/>
                <a:gd name="connsiteX4" fmla="*/ 239 w 1200586"/>
                <a:gd name="connsiteY4" fmla="*/ 224719 h 762112"/>
                <a:gd name="connsiteX0" fmla="*/ 30790 w 1199611"/>
                <a:gd name="connsiteY0" fmla="*/ 305630 h 762112"/>
                <a:gd name="connsiteX1" fmla="*/ 956700 w 1199611"/>
                <a:gd name="connsiteY1" fmla="*/ 0 h 762112"/>
                <a:gd name="connsiteX2" fmla="*/ 1199611 w 1199611"/>
                <a:gd name="connsiteY2" fmla="*/ 387960 h 762112"/>
                <a:gd name="connsiteX3" fmla="*/ 0 w 1199611"/>
                <a:gd name="connsiteY3" fmla="*/ 762112 h 762112"/>
                <a:gd name="connsiteX4" fmla="*/ 30790 w 1199611"/>
                <a:gd name="connsiteY4" fmla="*/ 305630 h 762112"/>
                <a:gd name="connsiteX0" fmla="*/ 79 w 1207432"/>
                <a:gd name="connsiteY0" fmla="*/ 242700 h 762112"/>
                <a:gd name="connsiteX1" fmla="*/ 964521 w 1207432"/>
                <a:gd name="connsiteY1" fmla="*/ 0 h 762112"/>
                <a:gd name="connsiteX2" fmla="*/ 1207432 w 1207432"/>
                <a:gd name="connsiteY2" fmla="*/ 387960 h 762112"/>
                <a:gd name="connsiteX3" fmla="*/ 7821 w 1207432"/>
                <a:gd name="connsiteY3" fmla="*/ 762112 h 762112"/>
                <a:gd name="connsiteX4" fmla="*/ 79 w 1207432"/>
                <a:gd name="connsiteY4" fmla="*/ 242700 h 762112"/>
                <a:gd name="connsiteX0" fmla="*/ 119 w 1207472"/>
                <a:gd name="connsiteY0" fmla="*/ 242700 h 789082"/>
                <a:gd name="connsiteX1" fmla="*/ 964561 w 1207472"/>
                <a:gd name="connsiteY1" fmla="*/ 0 h 789082"/>
                <a:gd name="connsiteX2" fmla="*/ 1207472 w 1207472"/>
                <a:gd name="connsiteY2" fmla="*/ 387960 h 789082"/>
                <a:gd name="connsiteX3" fmla="*/ 4358 w 1207472"/>
                <a:gd name="connsiteY3" fmla="*/ 789082 h 789082"/>
                <a:gd name="connsiteX4" fmla="*/ 119 w 1207472"/>
                <a:gd name="connsiteY4" fmla="*/ 242700 h 789082"/>
                <a:gd name="connsiteX0" fmla="*/ 119 w 1272816"/>
                <a:gd name="connsiteY0" fmla="*/ 502064 h 1048446"/>
                <a:gd name="connsiteX1" fmla="*/ 1272816 w 1272816"/>
                <a:gd name="connsiteY1" fmla="*/ 0 h 1048446"/>
                <a:gd name="connsiteX2" fmla="*/ 1207472 w 1272816"/>
                <a:gd name="connsiteY2" fmla="*/ 647324 h 1048446"/>
                <a:gd name="connsiteX3" fmla="*/ 4358 w 1272816"/>
                <a:gd name="connsiteY3" fmla="*/ 1048446 h 1048446"/>
                <a:gd name="connsiteX4" fmla="*/ 119 w 1272816"/>
                <a:gd name="connsiteY4" fmla="*/ 502064 h 1048446"/>
                <a:gd name="connsiteX0" fmla="*/ 119 w 1501714"/>
                <a:gd name="connsiteY0" fmla="*/ 502064 h 1048446"/>
                <a:gd name="connsiteX1" fmla="*/ 1272816 w 1501714"/>
                <a:gd name="connsiteY1" fmla="*/ 0 h 1048446"/>
                <a:gd name="connsiteX2" fmla="*/ 1501714 w 1501714"/>
                <a:gd name="connsiteY2" fmla="*/ 364803 h 1048446"/>
                <a:gd name="connsiteX3" fmla="*/ 4358 w 1501714"/>
                <a:gd name="connsiteY3" fmla="*/ 1048446 h 1048446"/>
                <a:gd name="connsiteX4" fmla="*/ 119 w 1501714"/>
                <a:gd name="connsiteY4" fmla="*/ 502064 h 1048446"/>
                <a:gd name="connsiteX0" fmla="*/ 24 w 1501619"/>
                <a:gd name="connsiteY0" fmla="*/ 502064 h 1071604"/>
                <a:gd name="connsiteX1" fmla="*/ 1272721 w 1501619"/>
                <a:gd name="connsiteY1" fmla="*/ 0 h 1071604"/>
                <a:gd name="connsiteX2" fmla="*/ 1501619 w 1501619"/>
                <a:gd name="connsiteY2" fmla="*/ 364803 h 1071604"/>
                <a:gd name="connsiteX3" fmla="*/ 32286 w 1501619"/>
                <a:gd name="connsiteY3" fmla="*/ 1071604 h 1071604"/>
                <a:gd name="connsiteX4" fmla="*/ 24 w 1501619"/>
                <a:gd name="connsiteY4" fmla="*/ 502064 h 1071604"/>
                <a:gd name="connsiteX0" fmla="*/ 48 w 1484129"/>
                <a:gd name="connsiteY0" fmla="*/ 488169 h 1071604"/>
                <a:gd name="connsiteX1" fmla="*/ 1255231 w 1484129"/>
                <a:gd name="connsiteY1" fmla="*/ 0 h 1071604"/>
                <a:gd name="connsiteX2" fmla="*/ 1484129 w 1484129"/>
                <a:gd name="connsiteY2" fmla="*/ 364803 h 1071604"/>
                <a:gd name="connsiteX3" fmla="*/ 14796 w 1484129"/>
                <a:gd name="connsiteY3" fmla="*/ 1071604 h 1071604"/>
                <a:gd name="connsiteX4" fmla="*/ 48 w 1484129"/>
                <a:gd name="connsiteY4" fmla="*/ 488169 h 1071604"/>
                <a:gd name="connsiteX0" fmla="*/ 0 w 1484081"/>
                <a:gd name="connsiteY0" fmla="*/ 488169 h 1071604"/>
                <a:gd name="connsiteX1" fmla="*/ 1255183 w 1484081"/>
                <a:gd name="connsiteY1" fmla="*/ 0 h 1071604"/>
                <a:gd name="connsiteX2" fmla="*/ 1484081 w 1484081"/>
                <a:gd name="connsiteY2" fmla="*/ 364803 h 1071604"/>
                <a:gd name="connsiteX3" fmla="*/ 14748 w 1484081"/>
                <a:gd name="connsiteY3" fmla="*/ 1071604 h 1071604"/>
                <a:gd name="connsiteX4" fmla="*/ 0 w 1484081"/>
                <a:gd name="connsiteY4" fmla="*/ 488169 h 1071604"/>
                <a:gd name="connsiteX0" fmla="*/ 0 w 1484081"/>
                <a:gd name="connsiteY0" fmla="*/ 488169 h 1071604"/>
                <a:gd name="connsiteX1" fmla="*/ 1255183 w 1484081"/>
                <a:gd name="connsiteY1" fmla="*/ 0 h 1071604"/>
                <a:gd name="connsiteX2" fmla="*/ 1484081 w 1484081"/>
                <a:gd name="connsiteY2" fmla="*/ 364803 h 1071604"/>
                <a:gd name="connsiteX3" fmla="*/ 14748 w 1484081"/>
                <a:gd name="connsiteY3" fmla="*/ 1071604 h 1071604"/>
                <a:gd name="connsiteX4" fmla="*/ 0 w 1484081"/>
                <a:gd name="connsiteY4" fmla="*/ 488169 h 1071604"/>
                <a:gd name="connsiteX0" fmla="*/ 3456 w 1487537"/>
                <a:gd name="connsiteY0" fmla="*/ 488169 h 1087584"/>
                <a:gd name="connsiteX1" fmla="*/ 1258639 w 1487537"/>
                <a:gd name="connsiteY1" fmla="*/ 0 h 1087584"/>
                <a:gd name="connsiteX2" fmla="*/ 1487537 w 1487537"/>
                <a:gd name="connsiteY2" fmla="*/ 364803 h 1087584"/>
                <a:gd name="connsiteX3" fmla="*/ 3097 w 1487537"/>
                <a:gd name="connsiteY3" fmla="*/ 1087584 h 1087584"/>
                <a:gd name="connsiteX4" fmla="*/ 3456 w 1487537"/>
                <a:gd name="connsiteY4" fmla="*/ 488169 h 1087584"/>
                <a:gd name="connsiteX0" fmla="*/ 359 w 1484440"/>
                <a:gd name="connsiteY0" fmla="*/ 488169 h 1087584"/>
                <a:gd name="connsiteX1" fmla="*/ 1255542 w 1484440"/>
                <a:gd name="connsiteY1" fmla="*/ 0 h 1087584"/>
                <a:gd name="connsiteX2" fmla="*/ 1484440 w 1484440"/>
                <a:gd name="connsiteY2" fmla="*/ 364803 h 1087584"/>
                <a:gd name="connsiteX3" fmla="*/ 0 w 1484440"/>
                <a:gd name="connsiteY3" fmla="*/ 1087584 h 1087584"/>
                <a:gd name="connsiteX4" fmla="*/ 359 w 1484440"/>
                <a:gd name="connsiteY4" fmla="*/ 488169 h 1087584"/>
                <a:gd name="connsiteX0" fmla="*/ 0 w 1493145"/>
                <a:gd name="connsiteY0" fmla="*/ 500154 h 1087584"/>
                <a:gd name="connsiteX1" fmla="*/ 1264247 w 1493145"/>
                <a:gd name="connsiteY1" fmla="*/ 0 h 1087584"/>
                <a:gd name="connsiteX2" fmla="*/ 1493145 w 1493145"/>
                <a:gd name="connsiteY2" fmla="*/ 364803 h 1087584"/>
                <a:gd name="connsiteX3" fmla="*/ 8705 w 1493145"/>
                <a:gd name="connsiteY3" fmla="*/ 1087584 h 1087584"/>
                <a:gd name="connsiteX4" fmla="*/ 0 w 1493145"/>
                <a:gd name="connsiteY4" fmla="*/ 500154 h 1087584"/>
                <a:gd name="connsiteX0" fmla="*/ 0 w 1493145"/>
                <a:gd name="connsiteY0" fmla="*/ 500154 h 1091975"/>
                <a:gd name="connsiteX1" fmla="*/ 1264247 w 1493145"/>
                <a:gd name="connsiteY1" fmla="*/ 0 h 1091975"/>
                <a:gd name="connsiteX2" fmla="*/ 1493145 w 1493145"/>
                <a:gd name="connsiteY2" fmla="*/ 364803 h 1091975"/>
                <a:gd name="connsiteX3" fmla="*/ 31948 w 1493145"/>
                <a:gd name="connsiteY3" fmla="*/ 1091975 h 1091975"/>
                <a:gd name="connsiteX4" fmla="*/ 0 w 1493145"/>
                <a:gd name="connsiteY4" fmla="*/ 500154 h 1091975"/>
                <a:gd name="connsiteX0" fmla="*/ 0 w 1466581"/>
                <a:gd name="connsiteY0" fmla="*/ 491373 h 1091975"/>
                <a:gd name="connsiteX1" fmla="*/ 1237683 w 1466581"/>
                <a:gd name="connsiteY1" fmla="*/ 0 h 1091975"/>
                <a:gd name="connsiteX2" fmla="*/ 1466581 w 1466581"/>
                <a:gd name="connsiteY2" fmla="*/ 364803 h 1091975"/>
                <a:gd name="connsiteX3" fmla="*/ 5384 w 1466581"/>
                <a:gd name="connsiteY3" fmla="*/ 1091975 h 1091975"/>
                <a:gd name="connsiteX4" fmla="*/ 0 w 1466581"/>
                <a:gd name="connsiteY4" fmla="*/ 491373 h 1091975"/>
                <a:gd name="connsiteX0" fmla="*/ 24428 w 1461197"/>
                <a:gd name="connsiteY0" fmla="*/ 494405 h 1091975"/>
                <a:gd name="connsiteX1" fmla="*/ 1232299 w 1461197"/>
                <a:gd name="connsiteY1" fmla="*/ 0 h 1091975"/>
                <a:gd name="connsiteX2" fmla="*/ 1461197 w 1461197"/>
                <a:gd name="connsiteY2" fmla="*/ 364803 h 1091975"/>
                <a:gd name="connsiteX3" fmla="*/ 0 w 1461197"/>
                <a:gd name="connsiteY3" fmla="*/ 1091975 h 1091975"/>
                <a:gd name="connsiteX4" fmla="*/ 24428 w 1461197"/>
                <a:gd name="connsiteY4" fmla="*/ 494405 h 1091975"/>
                <a:gd name="connsiteX0" fmla="*/ 1495 w 1461197"/>
                <a:gd name="connsiteY0" fmla="*/ 494405 h 1091975"/>
                <a:gd name="connsiteX1" fmla="*/ 1232299 w 1461197"/>
                <a:gd name="connsiteY1" fmla="*/ 0 h 1091975"/>
                <a:gd name="connsiteX2" fmla="*/ 1461197 w 1461197"/>
                <a:gd name="connsiteY2" fmla="*/ 364803 h 1091975"/>
                <a:gd name="connsiteX3" fmla="*/ 0 w 1461197"/>
                <a:gd name="connsiteY3" fmla="*/ 1091975 h 1091975"/>
                <a:gd name="connsiteX4" fmla="*/ 1495 w 1461197"/>
                <a:gd name="connsiteY4" fmla="*/ 494405 h 1091975"/>
                <a:gd name="connsiteX0" fmla="*/ 1495 w 1461197"/>
                <a:gd name="connsiteY0" fmla="*/ 494405 h 1091975"/>
                <a:gd name="connsiteX1" fmla="*/ 1232299 w 1461197"/>
                <a:gd name="connsiteY1" fmla="*/ 0 h 1091975"/>
                <a:gd name="connsiteX2" fmla="*/ 1461197 w 1461197"/>
                <a:gd name="connsiteY2" fmla="*/ 364803 h 1091975"/>
                <a:gd name="connsiteX3" fmla="*/ 0 w 1461197"/>
                <a:gd name="connsiteY3" fmla="*/ 1091975 h 1091975"/>
                <a:gd name="connsiteX4" fmla="*/ 1495 w 1461197"/>
                <a:gd name="connsiteY4" fmla="*/ 494405 h 1091975"/>
                <a:gd name="connsiteX0" fmla="*/ 3788 w 1463490"/>
                <a:gd name="connsiteY0" fmla="*/ 494405 h 1073782"/>
                <a:gd name="connsiteX1" fmla="*/ 1234592 w 1463490"/>
                <a:gd name="connsiteY1" fmla="*/ 0 h 1073782"/>
                <a:gd name="connsiteX2" fmla="*/ 1463490 w 1463490"/>
                <a:gd name="connsiteY2" fmla="*/ 364803 h 1073782"/>
                <a:gd name="connsiteX3" fmla="*/ 0 w 1463490"/>
                <a:gd name="connsiteY3" fmla="*/ 1073782 h 1073782"/>
                <a:gd name="connsiteX4" fmla="*/ 3788 w 1463490"/>
                <a:gd name="connsiteY4" fmla="*/ 494405 h 1073782"/>
                <a:gd name="connsiteX0" fmla="*/ 0 w 1464288"/>
                <a:gd name="connsiteY0" fmla="*/ 494405 h 1073782"/>
                <a:gd name="connsiteX1" fmla="*/ 1235390 w 1464288"/>
                <a:gd name="connsiteY1" fmla="*/ 0 h 1073782"/>
                <a:gd name="connsiteX2" fmla="*/ 1464288 w 1464288"/>
                <a:gd name="connsiteY2" fmla="*/ 364803 h 1073782"/>
                <a:gd name="connsiteX3" fmla="*/ 798 w 1464288"/>
                <a:gd name="connsiteY3" fmla="*/ 1073782 h 1073782"/>
                <a:gd name="connsiteX4" fmla="*/ 0 w 1464288"/>
                <a:gd name="connsiteY4" fmla="*/ 494405 h 1073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64288" h="1073782">
                  <a:moveTo>
                    <a:pt x="0" y="494405"/>
                  </a:moveTo>
                  <a:lnTo>
                    <a:pt x="1235390" y="0"/>
                  </a:lnTo>
                  <a:lnTo>
                    <a:pt x="1464288" y="364803"/>
                  </a:lnTo>
                  <a:lnTo>
                    <a:pt x="798" y="1073782"/>
                  </a:lnTo>
                  <a:cubicBezTo>
                    <a:pt x="3432" y="869657"/>
                    <a:pt x="1360" y="766819"/>
                    <a:pt x="0" y="49440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  <p:sp>
          <p:nvSpPr>
            <p:cNvPr id="36" name="Rectangle 4">
              <a:extLst>
                <a:ext uri="{FF2B5EF4-FFF2-40B4-BE49-F238E27FC236}">
                  <a16:creationId xmlns:a16="http://schemas.microsoft.com/office/drawing/2014/main" id="{4333D594-FC30-8056-3F78-5DCFA4939FA8}"/>
                </a:ext>
              </a:extLst>
            </p:cNvPr>
            <p:cNvSpPr/>
            <p:nvPr/>
          </p:nvSpPr>
          <p:spPr>
            <a:xfrm flipH="1">
              <a:off x="933568" y="4069270"/>
              <a:ext cx="2136060" cy="1178859"/>
            </a:xfrm>
            <a:custGeom>
              <a:avLst/>
              <a:gdLst>
                <a:gd name="connsiteX0" fmla="*/ 0 w 1088347"/>
                <a:gd name="connsiteY0" fmla="*/ 0 h 530225"/>
                <a:gd name="connsiteX1" fmla="*/ 1088347 w 1088347"/>
                <a:gd name="connsiteY1" fmla="*/ 0 h 530225"/>
                <a:gd name="connsiteX2" fmla="*/ 1088347 w 1088347"/>
                <a:gd name="connsiteY2" fmla="*/ 530225 h 530225"/>
                <a:gd name="connsiteX3" fmla="*/ 0 w 1088347"/>
                <a:gd name="connsiteY3" fmla="*/ 530225 h 530225"/>
                <a:gd name="connsiteX4" fmla="*/ 0 w 1088347"/>
                <a:gd name="connsiteY4" fmla="*/ 0 h 530225"/>
                <a:gd name="connsiteX0" fmla="*/ 0 w 1088347"/>
                <a:gd name="connsiteY0" fmla="*/ 92075 h 622300"/>
                <a:gd name="connsiteX1" fmla="*/ 916897 w 1088347"/>
                <a:gd name="connsiteY1" fmla="*/ 0 h 622300"/>
                <a:gd name="connsiteX2" fmla="*/ 1088347 w 1088347"/>
                <a:gd name="connsiteY2" fmla="*/ 622300 h 622300"/>
                <a:gd name="connsiteX3" fmla="*/ 0 w 1088347"/>
                <a:gd name="connsiteY3" fmla="*/ 622300 h 622300"/>
                <a:gd name="connsiteX4" fmla="*/ 0 w 1088347"/>
                <a:gd name="connsiteY4" fmla="*/ 92075 h 622300"/>
                <a:gd name="connsiteX0" fmla="*/ 0 w 1275672"/>
                <a:gd name="connsiteY0" fmla="*/ 92075 h 622300"/>
                <a:gd name="connsiteX1" fmla="*/ 916897 w 1275672"/>
                <a:gd name="connsiteY1" fmla="*/ 0 h 622300"/>
                <a:gd name="connsiteX2" fmla="*/ 1275672 w 1275672"/>
                <a:gd name="connsiteY2" fmla="*/ 441325 h 622300"/>
                <a:gd name="connsiteX3" fmla="*/ 0 w 1275672"/>
                <a:gd name="connsiteY3" fmla="*/ 622300 h 622300"/>
                <a:gd name="connsiteX4" fmla="*/ 0 w 1275672"/>
                <a:gd name="connsiteY4" fmla="*/ 92075 h 622300"/>
                <a:gd name="connsiteX0" fmla="*/ 41275 w 1316947"/>
                <a:gd name="connsiteY0" fmla="*/ 92075 h 669925"/>
                <a:gd name="connsiteX1" fmla="*/ 958172 w 1316947"/>
                <a:gd name="connsiteY1" fmla="*/ 0 h 669925"/>
                <a:gd name="connsiteX2" fmla="*/ 1316947 w 1316947"/>
                <a:gd name="connsiteY2" fmla="*/ 441325 h 669925"/>
                <a:gd name="connsiteX3" fmla="*/ 0 w 1316947"/>
                <a:gd name="connsiteY3" fmla="*/ 669925 h 669925"/>
                <a:gd name="connsiteX4" fmla="*/ 41275 w 1316947"/>
                <a:gd name="connsiteY4" fmla="*/ 92075 h 669925"/>
                <a:gd name="connsiteX0" fmla="*/ 22225 w 1316947"/>
                <a:gd name="connsiteY0" fmla="*/ 120650 h 669925"/>
                <a:gd name="connsiteX1" fmla="*/ 958172 w 1316947"/>
                <a:gd name="connsiteY1" fmla="*/ 0 h 669925"/>
                <a:gd name="connsiteX2" fmla="*/ 1316947 w 1316947"/>
                <a:gd name="connsiteY2" fmla="*/ 441325 h 669925"/>
                <a:gd name="connsiteX3" fmla="*/ 0 w 1316947"/>
                <a:gd name="connsiteY3" fmla="*/ 669925 h 669925"/>
                <a:gd name="connsiteX4" fmla="*/ 22225 w 1316947"/>
                <a:gd name="connsiteY4" fmla="*/ 120650 h 669925"/>
                <a:gd name="connsiteX0" fmla="*/ 15875 w 1316947"/>
                <a:gd name="connsiteY0" fmla="*/ 111125 h 669925"/>
                <a:gd name="connsiteX1" fmla="*/ 958172 w 1316947"/>
                <a:gd name="connsiteY1" fmla="*/ 0 h 669925"/>
                <a:gd name="connsiteX2" fmla="*/ 1316947 w 1316947"/>
                <a:gd name="connsiteY2" fmla="*/ 441325 h 669925"/>
                <a:gd name="connsiteX3" fmla="*/ 0 w 1316947"/>
                <a:gd name="connsiteY3" fmla="*/ 669925 h 669925"/>
                <a:gd name="connsiteX4" fmla="*/ 15875 w 1316947"/>
                <a:gd name="connsiteY4" fmla="*/ 111125 h 669925"/>
                <a:gd name="connsiteX0" fmla="*/ 15875 w 1316947"/>
                <a:gd name="connsiteY0" fmla="*/ 107950 h 666750"/>
                <a:gd name="connsiteX1" fmla="*/ 964522 w 1316947"/>
                <a:gd name="connsiteY1" fmla="*/ 0 h 666750"/>
                <a:gd name="connsiteX2" fmla="*/ 1316947 w 1316947"/>
                <a:gd name="connsiteY2" fmla="*/ 438150 h 666750"/>
                <a:gd name="connsiteX3" fmla="*/ 0 w 1316947"/>
                <a:gd name="connsiteY3" fmla="*/ 666750 h 666750"/>
                <a:gd name="connsiteX4" fmla="*/ 15875 w 1316947"/>
                <a:gd name="connsiteY4" fmla="*/ 107950 h 666750"/>
                <a:gd name="connsiteX0" fmla="*/ 3175 w 1316947"/>
                <a:gd name="connsiteY0" fmla="*/ 114300 h 666750"/>
                <a:gd name="connsiteX1" fmla="*/ 964522 w 1316947"/>
                <a:gd name="connsiteY1" fmla="*/ 0 h 666750"/>
                <a:gd name="connsiteX2" fmla="*/ 1316947 w 1316947"/>
                <a:gd name="connsiteY2" fmla="*/ 438150 h 666750"/>
                <a:gd name="connsiteX3" fmla="*/ 0 w 1316947"/>
                <a:gd name="connsiteY3" fmla="*/ 666750 h 666750"/>
                <a:gd name="connsiteX4" fmla="*/ 3175 w 1316947"/>
                <a:gd name="connsiteY4" fmla="*/ 114300 h 666750"/>
                <a:gd name="connsiteX0" fmla="*/ 3175 w 1316947"/>
                <a:gd name="connsiteY0" fmla="*/ 139700 h 692150"/>
                <a:gd name="connsiteX1" fmla="*/ 817351 w 1316947"/>
                <a:gd name="connsiteY1" fmla="*/ 0 h 692150"/>
                <a:gd name="connsiteX2" fmla="*/ 1316947 w 1316947"/>
                <a:gd name="connsiteY2" fmla="*/ 463550 h 692150"/>
                <a:gd name="connsiteX3" fmla="*/ 0 w 1316947"/>
                <a:gd name="connsiteY3" fmla="*/ 692150 h 692150"/>
                <a:gd name="connsiteX4" fmla="*/ 3175 w 1316947"/>
                <a:gd name="connsiteY4" fmla="*/ 139700 h 692150"/>
                <a:gd name="connsiteX0" fmla="*/ 3175 w 840003"/>
                <a:gd name="connsiteY0" fmla="*/ 139700 h 692150"/>
                <a:gd name="connsiteX1" fmla="*/ 817351 w 840003"/>
                <a:gd name="connsiteY1" fmla="*/ 0 h 692150"/>
                <a:gd name="connsiteX2" fmla="*/ 840003 w 840003"/>
                <a:gd name="connsiteY2" fmla="*/ 368300 h 692150"/>
                <a:gd name="connsiteX3" fmla="*/ 0 w 840003"/>
                <a:gd name="connsiteY3" fmla="*/ 692150 h 692150"/>
                <a:gd name="connsiteX4" fmla="*/ 3175 w 840003"/>
                <a:gd name="connsiteY4" fmla="*/ 139700 h 692150"/>
                <a:gd name="connsiteX0" fmla="*/ 3175 w 1123444"/>
                <a:gd name="connsiteY0" fmla="*/ 139700 h 692150"/>
                <a:gd name="connsiteX1" fmla="*/ 817351 w 1123444"/>
                <a:gd name="connsiteY1" fmla="*/ 0 h 692150"/>
                <a:gd name="connsiteX2" fmla="*/ 1123444 w 1123444"/>
                <a:gd name="connsiteY2" fmla="*/ 428625 h 692150"/>
                <a:gd name="connsiteX3" fmla="*/ 0 w 1123444"/>
                <a:gd name="connsiteY3" fmla="*/ 692150 h 692150"/>
                <a:gd name="connsiteX4" fmla="*/ 3175 w 1123444"/>
                <a:gd name="connsiteY4" fmla="*/ 139700 h 692150"/>
                <a:gd name="connsiteX0" fmla="*/ 65 w 1120334"/>
                <a:gd name="connsiteY0" fmla="*/ 139700 h 802569"/>
                <a:gd name="connsiteX1" fmla="*/ 814241 w 1120334"/>
                <a:gd name="connsiteY1" fmla="*/ 0 h 802569"/>
                <a:gd name="connsiteX2" fmla="*/ 1120334 w 1120334"/>
                <a:gd name="connsiteY2" fmla="*/ 428625 h 802569"/>
                <a:gd name="connsiteX3" fmla="*/ 10319 w 1120334"/>
                <a:gd name="connsiteY3" fmla="*/ 802569 h 802569"/>
                <a:gd name="connsiteX4" fmla="*/ 65 w 1120334"/>
                <a:gd name="connsiteY4" fmla="*/ 139700 h 802569"/>
                <a:gd name="connsiteX0" fmla="*/ 87 w 1116998"/>
                <a:gd name="connsiteY0" fmla="*/ 265177 h 802569"/>
                <a:gd name="connsiteX1" fmla="*/ 810905 w 1116998"/>
                <a:gd name="connsiteY1" fmla="*/ 0 h 802569"/>
                <a:gd name="connsiteX2" fmla="*/ 1116998 w 1116998"/>
                <a:gd name="connsiteY2" fmla="*/ 428625 h 802569"/>
                <a:gd name="connsiteX3" fmla="*/ 6983 w 1116998"/>
                <a:gd name="connsiteY3" fmla="*/ 802569 h 802569"/>
                <a:gd name="connsiteX4" fmla="*/ 87 w 1116998"/>
                <a:gd name="connsiteY4" fmla="*/ 265177 h 802569"/>
                <a:gd name="connsiteX0" fmla="*/ 51 w 1123677"/>
                <a:gd name="connsiteY0" fmla="*/ 260158 h 802569"/>
                <a:gd name="connsiteX1" fmla="*/ 817584 w 1123677"/>
                <a:gd name="connsiteY1" fmla="*/ 0 h 802569"/>
                <a:gd name="connsiteX2" fmla="*/ 1123677 w 1123677"/>
                <a:gd name="connsiteY2" fmla="*/ 428625 h 802569"/>
                <a:gd name="connsiteX3" fmla="*/ 13662 w 1123677"/>
                <a:gd name="connsiteY3" fmla="*/ 802569 h 802569"/>
                <a:gd name="connsiteX4" fmla="*/ 51 w 1123677"/>
                <a:gd name="connsiteY4" fmla="*/ 260158 h 802569"/>
                <a:gd name="connsiteX0" fmla="*/ 64 w 1123690"/>
                <a:gd name="connsiteY0" fmla="*/ 260158 h 812607"/>
                <a:gd name="connsiteX1" fmla="*/ 817597 w 1123690"/>
                <a:gd name="connsiteY1" fmla="*/ 0 h 812607"/>
                <a:gd name="connsiteX2" fmla="*/ 1123690 w 1123690"/>
                <a:gd name="connsiteY2" fmla="*/ 428625 h 812607"/>
                <a:gd name="connsiteX3" fmla="*/ 10318 w 1123690"/>
                <a:gd name="connsiteY3" fmla="*/ 812607 h 812607"/>
                <a:gd name="connsiteX4" fmla="*/ 64 w 1123690"/>
                <a:gd name="connsiteY4" fmla="*/ 260158 h 812607"/>
                <a:gd name="connsiteX0" fmla="*/ 64 w 1012898"/>
                <a:gd name="connsiteY0" fmla="*/ 260158 h 812607"/>
                <a:gd name="connsiteX1" fmla="*/ 817597 w 1012898"/>
                <a:gd name="connsiteY1" fmla="*/ 0 h 812607"/>
                <a:gd name="connsiteX2" fmla="*/ 1012898 w 1012898"/>
                <a:gd name="connsiteY2" fmla="*/ 378435 h 812607"/>
                <a:gd name="connsiteX3" fmla="*/ 10318 w 1012898"/>
                <a:gd name="connsiteY3" fmla="*/ 812607 h 812607"/>
                <a:gd name="connsiteX4" fmla="*/ 64 w 1012898"/>
                <a:gd name="connsiteY4" fmla="*/ 260158 h 812607"/>
                <a:gd name="connsiteX0" fmla="*/ 64 w 1036400"/>
                <a:gd name="connsiteY0" fmla="*/ 260158 h 812607"/>
                <a:gd name="connsiteX1" fmla="*/ 817597 w 1036400"/>
                <a:gd name="connsiteY1" fmla="*/ 0 h 812607"/>
                <a:gd name="connsiteX2" fmla="*/ 1036400 w 1036400"/>
                <a:gd name="connsiteY2" fmla="*/ 368397 h 812607"/>
                <a:gd name="connsiteX3" fmla="*/ 10318 w 1036400"/>
                <a:gd name="connsiteY3" fmla="*/ 812607 h 812607"/>
                <a:gd name="connsiteX4" fmla="*/ 64 w 1036400"/>
                <a:gd name="connsiteY4" fmla="*/ 260158 h 812607"/>
                <a:gd name="connsiteX0" fmla="*/ 86 w 1036422"/>
                <a:gd name="connsiteY0" fmla="*/ 260158 h 812607"/>
                <a:gd name="connsiteX1" fmla="*/ 817619 w 1036422"/>
                <a:gd name="connsiteY1" fmla="*/ 0 h 812607"/>
                <a:gd name="connsiteX2" fmla="*/ 1036422 w 1036422"/>
                <a:gd name="connsiteY2" fmla="*/ 368397 h 812607"/>
                <a:gd name="connsiteX3" fmla="*/ 6982 w 1036422"/>
                <a:gd name="connsiteY3" fmla="*/ 812607 h 812607"/>
                <a:gd name="connsiteX4" fmla="*/ 86 w 1036422"/>
                <a:gd name="connsiteY4" fmla="*/ 260158 h 812607"/>
                <a:gd name="connsiteX0" fmla="*/ 20165 w 1056501"/>
                <a:gd name="connsiteY0" fmla="*/ 260158 h 826501"/>
                <a:gd name="connsiteX1" fmla="*/ 837698 w 1056501"/>
                <a:gd name="connsiteY1" fmla="*/ 0 h 826501"/>
                <a:gd name="connsiteX2" fmla="*/ 1056501 w 1056501"/>
                <a:gd name="connsiteY2" fmla="*/ 368397 h 826501"/>
                <a:gd name="connsiteX3" fmla="*/ 0 w 1056501"/>
                <a:gd name="connsiteY3" fmla="*/ 826501 h 826501"/>
                <a:gd name="connsiteX4" fmla="*/ 20165 w 1056501"/>
                <a:gd name="connsiteY4" fmla="*/ 260158 h 826501"/>
                <a:gd name="connsiteX0" fmla="*/ 20165 w 1084260"/>
                <a:gd name="connsiteY0" fmla="*/ 510258 h 1076601"/>
                <a:gd name="connsiteX1" fmla="*/ 1084260 w 1084260"/>
                <a:gd name="connsiteY1" fmla="*/ 0 h 1076601"/>
                <a:gd name="connsiteX2" fmla="*/ 1056501 w 1084260"/>
                <a:gd name="connsiteY2" fmla="*/ 618497 h 1076601"/>
                <a:gd name="connsiteX3" fmla="*/ 0 w 1084260"/>
                <a:gd name="connsiteY3" fmla="*/ 1076601 h 1076601"/>
                <a:gd name="connsiteX4" fmla="*/ 20165 w 1084260"/>
                <a:gd name="connsiteY4" fmla="*/ 510258 h 1076601"/>
                <a:gd name="connsiteX0" fmla="*/ 20165 w 1279008"/>
                <a:gd name="connsiteY0" fmla="*/ 510258 h 1076601"/>
                <a:gd name="connsiteX1" fmla="*/ 1084260 w 1279008"/>
                <a:gd name="connsiteY1" fmla="*/ 0 h 1076601"/>
                <a:gd name="connsiteX2" fmla="*/ 1279008 w 1279008"/>
                <a:gd name="connsiteY2" fmla="*/ 377660 h 1076601"/>
                <a:gd name="connsiteX3" fmla="*/ 0 w 1279008"/>
                <a:gd name="connsiteY3" fmla="*/ 1076601 h 1076601"/>
                <a:gd name="connsiteX4" fmla="*/ 20165 w 1279008"/>
                <a:gd name="connsiteY4" fmla="*/ 510258 h 1076601"/>
                <a:gd name="connsiteX0" fmla="*/ 20165 w 1285021"/>
                <a:gd name="connsiteY0" fmla="*/ 510258 h 1076601"/>
                <a:gd name="connsiteX1" fmla="*/ 1084260 w 1285021"/>
                <a:gd name="connsiteY1" fmla="*/ 0 h 1076601"/>
                <a:gd name="connsiteX2" fmla="*/ 1285021 w 1285021"/>
                <a:gd name="connsiteY2" fmla="*/ 368396 h 1076601"/>
                <a:gd name="connsiteX3" fmla="*/ 0 w 1285021"/>
                <a:gd name="connsiteY3" fmla="*/ 1076601 h 1076601"/>
                <a:gd name="connsiteX4" fmla="*/ 20165 w 1285021"/>
                <a:gd name="connsiteY4" fmla="*/ 510258 h 1076601"/>
                <a:gd name="connsiteX0" fmla="*/ 13 w 1264869"/>
                <a:gd name="connsiteY0" fmla="*/ 510258 h 1095127"/>
                <a:gd name="connsiteX1" fmla="*/ 1064108 w 1264869"/>
                <a:gd name="connsiteY1" fmla="*/ 0 h 1095127"/>
                <a:gd name="connsiteX2" fmla="*/ 1264869 w 1264869"/>
                <a:gd name="connsiteY2" fmla="*/ 368396 h 1095127"/>
                <a:gd name="connsiteX3" fmla="*/ 64040 w 1264869"/>
                <a:gd name="connsiteY3" fmla="*/ 1095127 h 1095127"/>
                <a:gd name="connsiteX4" fmla="*/ 13 w 1264869"/>
                <a:gd name="connsiteY4" fmla="*/ 510258 h 1095127"/>
                <a:gd name="connsiteX0" fmla="*/ 2124 w 1266980"/>
                <a:gd name="connsiteY0" fmla="*/ 510258 h 1071969"/>
                <a:gd name="connsiteX1" fmla="*/ 1066219 w 1266980"/>
                <a:gd name="connsiteY1" fmla="*/ 0 h 1071969"/>
                <a:gd name="connsiteX2" fmla="*/ 1266980 w 1266980"/>
                <a:gd name="connsiteY2" fmla="*/ 368396 h 1071969"/>
                <a:gd name="connsiteX3" fmla="*/ 0 w 1266980"/>
                <a:gd name="connsiteY3" fmla="*/ 1071969 h 1071969"/>
                <a:gd name="connsiteX4" fmla="*/ 2124 w 1266980"/>
                <a:gd name="connsiteY4" fmla="*/ 510258 h 1071969"/>
                <a:gd name="connsiteX0" fmla="*/ 7312 w 1272168"/>
                <a:gd name="connsiteY0" fmla="*/ 510258 h 1099934"/>
                <a:gd name="connsiteX1" fmla="*/ 1071407 w 1272168"/>
                <a:gd name="connsiteY1" fmla="*/ 0 h 1099934"/>
                <a:gd name="connsiteX2" fmla="*/ 1272168 w 1272168"/>
                <a:gd name="connsiteY2" fmla="*/ 368396 h 1099934"/>
                <a:gd name="connsiteX3" fmla="*/ 0 w 1272168"/>
                <a:gd name="connsiteY3" fmla="*/ 1099934 h 1099934"/>
                <a:gd name="connsiteX4" fmla="*/ 7312 w 1272168"/>
                <a:gd name="connsiteY4" fmla="*/ 510258 h 1099934"/>
                <a:gd name="connsiteX0" fmla="*/ 21564 w 1286420"/>
                <a:gd name="connsiteY0" fmla="*/ 510258 h 1099934"/>
                <a:gd name="connsiteX1" fmla="*/ 1085659 w 1286420"/>
                <a:gd name="connsiteY1" fmla="*/ 0 h 1099934"/>
                <a:gd name="connsiteX2" fmla="*/ 1286420 w 1286420"/>
                <a:gd name="connsiteY2" fmla="*/ 368396 h 1099934"/>
                <a:gd name="connsiteX3" fmla="*/ 0 w 1286420"/>
                <a:gd name="connsiteY3" fmla="*/ 1099934 h 1099934"/>
                <a:gd name="connsiteX4" fmla="*/ 21564 w 1286420"/>
                <a:gd name="connsiteY4" fmla="*/ 510258 h 1099934"/>
                <a:gd name="connsiteX0" fmla="*/ 209 w 1287867"/>
                <a:gd name="connsiteY0" fmla="*/ 510258 h 1099934"/>
                <a:gd name="connsiteX1" fmla="*/ 1087106 w 1287867"/>
                <a:gd name="connsiteY1" fmla="*/ 0 h 1099934"/>
                <a:gd name="connsiteX2" fmla="*/ 1287867 w 1287867"/>
                <a:gd name="connsiteY2" fmla="*/ 368396 h 1099934"/>
                <a:gd name="connsiteX3" fmla="*/ 1447 w 1287867"/>
                <a:gd name="connsiteY3" fmla="*/ 1099934 h 1099934"/>
                <a:gd name="connsiteX4" fmla="*/ 209 w 1287867"/>
                <a:gd name="connsiteY4" fmla="*/ 510258 h 1099934"/>
                <a:gd name="connsiteX0" fmla="*/ 106 w 1287764"/>
                <a:gd name="connsiteY0" fmla="*/ 510258 h 1093869"/>
                <a:gd name="connsiteX1" fmla="*/ 1087003 w 1287764"/>
                <a:gd name="connsiteY1" fmla="*/ 0 h 1093869"/>
                <a:gd name="connsiteX2" fmla="*/ 1287764 w 1287764"/>
                <a:gd name="connsiteY2" fmla="*/ 368396 h 1093869"/>
                <a:gd name="connsiteX3" fmla="*/ 5281 w 1287764"/>
                <a:gd name="connsiteY3" fmla="*/ 1093869 h 1093869"/>
                <a:gd name="connsiteX4" fmla="*/ 106 w 1287764"/>
                <a:gd name="connsiteY4" fmla="*/ 510258 h 1093869"/>
                <a:gd name="connsiteX0" fmla="*/ 2699 w 1290357"/>
                <a:gd name="connsiteY0" fmla="*/ 510258 h 1096902"/>
                <a:gd name="connsiteX1" fmla="*/ 1089596 w 1290357"/>
                <a:gd name="connsiteY1" fmla="*/ 0 h 1096902"/>
                <a:gd name="connsiteX2" fmla="*/ 1290357 w 1290357"/>
                <a:gd name="connsiteY2" fmla="*/ 368396 h 1096902"/>
                <a:gd name="connsiteX3" fmla="*/ 0 w 1290357"/>
                <a:gd name="connsiteY3" fmla="*/ 1096902 h 1096902"/>
                <a:gd name="connsiteX4" fmla="*/ 2699 w 1290357"/>
                <a:gd name="connsiteY4" fmla="*/ 510258 h 1096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357" h="1096902">
                  <a:moveTo>
                    <a:pt x="2699" y="510258"/>
                  </a:moveTo>
                  <a:lnTo>
                    <a:pt x="1089596" y="0"/>
                  </a:lnTo>
                  <a:lnTo>
                    <a:pt x="1290357" y="368396"/>
                  </a:lnTo>
                  <a:lnTo>
                    <a:pt x="0" y="1096902"/>
                  </a:lnTo>
                  <a:cubicBezTo>
                    <a:pt x="1058" y="912752"/>
                    <a:pt x="1641" y="694408"/>
                    <a:pt x="2699" y="510258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  <p:sp>
          <p:nvSpPr>
            <p:cNvPr id="37" name="Rectangle 5">
              <a:extLst>
                <a:ext uri="{FF2B5EF4-FFF2-40B4-BE49-F238E27FC236}">
                  <a16:creationId xmlns:a16="http://schemas.microsoft.com/office/drawing/2014/main" id="{AAE5AADA-8D20-C8E5-39AF-16BEF5CE36D7}"/>
                </a:ext>
              </a:extLst>
            </p:cNvPr>
            <p:cNvSpPr/>
            <p:nvPr/>
          </p:nvSpPr>
          <p:spPr>
            <a:xfrm>
              <a:off x="1695780" y="3471465"/>
              <a:ext cx="2698670" cy="425039"/>
            </a:xfrm>
            <a:custGeom>
              <a:avLst/>
              <a:gdLst>
                <a:gd name="connsiteX0" fmla="*/ 0 w 619125"/>
                <a:gd name="connsiteY0" fmla="*/ 0 h 406400"/>
                <a:gd name="connsiteX1" fmla="*/ 619125 w 619125"/>
                <a:gd name="connsiteY1" fmla="*/ 0 h 406400"/>
                <a:gd name="connsiteX2" fmla="*/ 619125 w 619125"/>
                <a:gd name="connsiteY2" fmla="*/ 406400 h 406400"/>
                <a:gd name="connsiteX3" fmla="*/ 0 w 619125"/>
                <a:gd name="connsiteY3" fmla="*/ 406400 h 406400"/>
                <a:gd name="connsiteX4" fmla="*/ 0 w 619125"/>
                <a:gd name="connsiteY4" fmla="*/ 0 h 406400"/>
                <a:gd name="connsiteX0" fmla="*/ 0 w 962025"/>
                <a:gd name="connsiteY0" fmla="*/ 73025 h 479425"/>
                <a:gd name="connsiteX1" fmla="*/ 962025 w 962025"/>
                <a:gd name="connsiteY1" fmla="*/ 0 h 479425"/>
                <a:gd name="connsiteX2" fmla="*/ 619125 w 962025"/>
                <a:gd name="connsiteY2" fmla="*/ 479425 h 479425"/>
                <a:gd name="connsiteX3" fmla="*/ 0 w 962025"/>
                <a:gd name="connsiteY3" fmla="*/ 479425 h 479425"/>
                <a:gd name="connsiteX4" fmla="*/ 0 w 962025"/>
                <a:gd name="connsiteY4" fmla="*/ 73025 h 479425"/>
                <a:gd name="connsiteX0" fmla="*/ 0 w 1901825"/>
                <a:gd name="connsiteY0" fmla="*/ 73025 h 479425"/>
                <a:gd name="connsiteX1" fmla="*/ 962025 w 1901825"/>
                <a:gd name="connsiteY1" fmla="*/ 0 h 479425"/>
                <a:gd name="connsiteX2" fmla="*/ 1901825 w 1901825"/>
                <a:gd name="connsiteY2" fmla="*/ 104775 h 479425"/>
                <a:gd name="connsiteX3" fmla="*/ 0 w 1901825"/>
                <a:gd name="connsiteY3" fmla="*/ 479425 h 479425"/>
                <a:gd name="connsiteX4" fmla="*/ 0 w 1901825"/>
                <a:gd name="connsiteY4" fmla="*/ 73025 h 479425"/>
                <a:gd name="connsiteX0" fmla="*/ 0 w 1901825"/>
                <a:gd name="connsiteY0" fmla="*/ 73025 h 336550"/>
                <a:gd name="connsiteX1" fmla="*/ 962025 w 1901825"/>
                <a:gd name="connsiteY1" fmla="*/ 0 h 336550"/>
                <a:gd name="connsiteX2" fmla="*/ 1901825 w 1901825"/>
                <a:gd name="connsiteY2" fmla="*/ 104775 h 336550"/>
                <a:gd name="connsiteX3" fmla="*/ 946150 w 1901825"/>
                <a:gd name="connsiteY3" fmla="*/ 336550 h 336550"/>
                <a:gd name="connsiteX4" fmla="*/ 0 w 1901825"/>
                <a:gd name="connsiteY4" fmla="*/ 73025 h 336550"/>
                <a:gd name="connsiteX0" fmla="*/ 0 w 1914525"/>
                <a:gd name="connsiteY0" fmla="*/ 76200 h 339725"/>
                <a:gd name="connsiteX1" fmla="*/ 962025 w 1914525"/>
                <a:gd name="connsiteY1" fmla="*/ 3175 h 339725"/>
                <a:gd name="connsiteX2" fmla="*/ 1914525 w 1914525"/>
                <a:gd name="connsiteY2" fmla="*/ 0 h 339725"/>
                <a:gd name="connsiteX3" fmla="*/ 946150 w 1914525"/>
                <a:gd name="connsiteY3" fmla="*/ 339725 h 339725"/>
                <a:gd name="connsiteX4" fmla="*/ 0 w 1914525"/>
                <a:gd name="connsiteY4" fmla="*/ 76200 h 339725"/>
                <a:gd name="connsiteX0" fmla="*/ 0 w 1895475"/>
                <a:gd name="connsiteY0" fmla="*/ 73025 h 336550"/>
                <a:gd name="connsiteX1" fmla="*/ 962025 w 1895475"/>
                <a:gd name="connsiteY1" fmla="*/ 0 h 336550"/>
                <a:gd name="connsiteX2" fmla="*/ 1895475 w 1895475"/>
                <a:gd name="connsiteY2" fmla="*/ 101600 h 336550"/>
                <a:gd name="connsiteX3" fmla="*/ 946150 w 1895475"/>
                <a:gd name="connsiteY3" fmla="*/ 336550 h 336550"/>
                <a:gd name="connsiteX4" fmla="*/ 0 w 1895475"/>
                <a:gd name="connsiteY4" fmla="*/ 73025 h 336550"/>
                <a:gd name="connsiteX0" fmla="*/ 0 w 1899160"/>
                <a:gd name="connsiteY0" fmla="*/ 77754 h 336550"/>
                <a:gd name="connsiteX1" fmla="*/ 965710 w 1899160"/>
                <a:gd name="connsiteY1" fmla="*/ 0 h 336550"/>
                <a:gd name="connsiteX2" fmla="*/ 1899160 w 1899160"/>
                <a:gd name="connsiteY2" fmla="*/ 101600 h 336550"/>
                <a:gd name="connsiteX3" fmla="*/ 949835 w 1899160"/>
                <a:gd name="connsiteY3" fmla="*/ 336550 h 336550"/>
                <a:gd name="connsiteX4" fmla="*/ 0 w 1899160"/>
                <a:gd name="connsiteY4" fmla="*/ 77754 h 336550"/>
                <a:gd name="connsiteX0" fmla="*/ 0 w 1899160"/>
                <a:gd name="connsiteY0" fmla="*/ 77754 h 383840"/>
                <a:gd name="connsiteX1" fmla="*/ 965710 w 1899160"/>
                <a:gd name="connsiteY1" fmla="*/ 0 h 383840"/>
                <a:gd name="connsiteX2" fmla="*/ 1899160 w 1899160"/>
                <a:gd name="connsiteY2" fmla="*/ 101600 h 383840"/>
                <a:gd name="connsiteX3" fmla="*/ 957205 w 1899160"/>
                <a:gd name="connsiteY3" fmla="*/ 383840 h 383840"/>
                <a:gd name="connsiteX4" fmla="*/ 0 w 1899160"/>
                <a:gd name="connsiteY4" fmla="*/ 77754 h 383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99160" h="383840">
                  <a:moveTo>
                    <a:pt x="0" y="77754"/>
                  </a:moveTo>
                  <a:lnTo>
                    <a:pt x="965710" y="0"/>
                  </a:lnTo>
                  <a:lnTo>
                    <a:pt x="1899160" y="101600"/>
                  </a:lnTo>
                  <a:lnTo>
                    <a:pt x="957205" y="383840"/>
                  </a:lnTo>
                  <a:lnTo>
                    <a:pt x="0" y="77754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  <p:sp>
          <p:nvSpPr>
            <p:cNvPr id="38" name="Rectangle 4">
              <a:extLst>
                <a:ext uri="{FF2B5EF4-FFF2-40B4-BE49-F238E27FC236}">
                  <a16:creationId xmlns:a16="http://schemas.microsoft.com/office/drawing/2014/main" id="{82F45C98-7F6F-0CA3-D569-6FA51FD49060}"/>
                </a:ext>
              </a:extLst>
            </p:cNvPr>
            <p:cNvSpPr/>
            <p:nvPr/>
          </p:nvSpPr>
          <p:spPr>
            <a:xfrm>
              <a:off x="3053349" y="3580456"/>
              <a:ext cx="1697074" cy="869057"/>
            </a:xfrm>
            <a:custGeom>
              <a:avLst/>
              <a:gdLst>
                <a:gd name="connsiteX0" fmla="*/ 0 w 1088347"/>
                <a:gd name="connsiteY0" fmla="*/ 0 h 530225"/>
                <a:gd name="connsiteX1" fmla="*/ 1088347 w 1088347"/>
                <a:gd name="connsiteY1" fmla="*/ 0 h 530225"/>
                <a:gd name="connsiteX2" fmla="*/ 1088347 w 1088347"/>
                <a:gd name="connsiteY2" fmla="*/ 530225 h 530225"/>
                <a:gd name="connsiteX3" fmla="*/ 0 w 1088347"/>
                <a:gd name="connsiteY3" fmla="*/ 530225 h 530225"/>
                <a:gd name="connsiteX4" fmla="*/ 0 w 1088347"/>
                <a:gd name="connsiteY4" fmla="*/ 0 h 530225"/>
                <a:gd name="connsiteX0" fmla="*/ 0 w 1088347"/>
                <a:gd name="connsiteY0" fmla="*/ 92075 h 622300"/>
                <a:gd name="connsiteX1" fmla="*/ 916897 w 1088347"/>
                <a:gd name="connsiteY1" fmla="*/ 0 h 622300"/>
                <a:gd name="connsiteX2" fmla="*/ 1088347 w 1088347"/>
                <a:gd name="connsiteY2" fmla="*/ 622300 h 622300"/>
                <a:gd name="connsiteX3" fmla="*/ 0 w 1088347"/>
                <a:gd name="connsiteY3" fmla="*/ 622300 h 622300"/>
                <a:gd name="connsiteX4" fmla="*/ 0 w 1088347"/>
                <a:gd name="connsiteY4" fmla="*/ 92075 h 622300"/>
                <a:gd name="connsiteX0" fmla="*/ 0 w 1275672"/>
                <a:gd name="connsiteY0" fmla="*/ 92075 h 622300"/>
                <a:gd name="connsiteX1" fmla="*/ 916897 w 1275672"/>
                <a:gd name="connsiteY1" fmla="*/ 0 h 622300"/>
                <a:gd name="connsiteX2" fmla="*/ 1275672 w 1275672"/>
                <a:gd name="connsiteY2" fmla="*/ 441325 h 622300"/>
                <a:gd name="connsiteX3" fmla="*/ 0 w 1275672"/>
                <a:gd name="connsiteY3" fmla="*/ 622300 h 622300"/>
                <a:gd name="connsiteX4" fmla="*/ 0 w 1275672"/>
                <a:gd name="connsiteY4" fmla="*/ 92075 h 622300"/>
                <a:gd name="connsiteX0" fmla="*/ 41275 w 1316947"/>
                <a:gd name="connsiteY0" fmla="*/ 92075 h 669925"/>
                <a:gd name="connsiteX1" fmla="*/ 958172 w 1316947"/>
                <a:gd name="connsiteY1" fmla="*/ 0 h 669925"/>
                <a:gd name="connsiteX2" fmla="*/ 1316947 w 1316947"/>
                <a:gd name="connsiteY2" fmla="*/ 441325 h 669925"/>
                <a:gd name="connsiteX3" fmla="*/ 0 w 1316947"/>
                <a:gd name="connsiteY3" fmla="*/ 669925 h 669925"/>
                <a:gd name="connsiteX4" fmla="*/ 41275 w 1316947"/>
                <a:gd name="connsiteY4" fmla="*/ 92075 h 669925"/>
                <a:gd name="connsiteX0" fmla="*/ 22225 w 1316947"/>
                <a:gd name="connsiteY0" fmla="*/ 120650 h 669925"/>
                <a:gd name="connsiteX1" fmla="*/ 958172 w 1316947"/>
                <a:gd name="connsiteY1" fmla="*/ 0 h 669925"/>
                <a:gd name="connsiteX2" fmla="*/ 1316947 w 1316947"/>
                <a:gd name="connsiteY2" fmla="*/ 441325 h 669925"/>
                <a:gd name="connsiteX3" fmla="*/ 0 w 1316947"/>
                <a:gd name="connsiteY3" fmla="*/ 669925 h 669925"/>
                <a:gd name="connsiteX4" fmla="*/ 22225 w 1316947"/>
                <a:gd name="connsiteY4" fmla="*/ 120650 h 669925"/>
                <a:gd name="connsiteX0" fmla="*/ 15875 w 1316947"/>
                <a:gd name="connsiteY0" fmla="*/ 111125 h 669925"/>
                <a:gd name="connsiteX1" fmla="*/ 958172 w 1316947"/>
                <a:gd name="connsiteY1" fmla="*/ 0 h 669925"/>
                <a:gd name="connsiteX2" fmla="*/ 1316947 w 1316947"/>
                <a:gd name="connsiteY2" fmla="*/ 441325 h 669925"/>
                <a:gd name="connsiteX3" fmla="*/ 0 w 1316947"/>
                <a:gd name="connsiteY3" fmla="*/ 669925 h 669925"/>
                <a:gd name="connsiteX4" fmla="*/ 15875 w 1316947"/>
                <a:gd name="connsiteY4" fmla="*/ 111125 h 669925"/>
                <a:gd name="connsiteX0" fmla="*/ 15875 w 1316947"/>
                <a:gd name="connsiteY0" fmla="*/ 107950 h 666750"/>
                <a:gd name="connsiteX1" fmla="*/ 964522 w 1316947"/>
                <a:gd name="connsiteY1" fmla="*/ 0 h 666750"/>
                <a:gd name="connsiteX2" fmla="*/ 1316947 w 1316947"/>
                <a:gd name="connsiteY2" fmla="*/ 438150 h 666750"/>
                <a:gd name="connsiteX3" fmla="*/ 0 w 1316947"/>
                <a:gd name="connsiteY3" fmla="*/ 666750 h 666750"/>
                <a:gd name="connsiteX4" fmla="*/ 15875 w 1316947"/>
                <a:gd name="connsiteY4" fmla="*/ 107950 h 666750"/>
                <a:gd name="connsiteX0" fmla="*/ 3175 w 1316947"/>
                <a:gd name="connsiteY0" fmla="*/ 114300 h 666750"/>
                <a:gd name="connsiteX1" fmla="*/ 964522 w 1316947"/>
                <a:gd name="connsiteY1" fmla="*/ 0 h 666750"/>
                <a:gd name="connsiteX2" fmla="*/ 1316947 w 1316947"/>
                <a:gd name="connsiteY2" fmla="*/ 438150 h 666750"/>
                <a:gd name="connsiteX3" fmla="*/ 0 w 1316947"/>
                <a:gd name="connsiteY3" fmla="*/ 666750 h 666750"/>
                <a:gd name="connsiteX4" fmla="*/ 3175 w 1316947"/>
                <a:gd name="connsiteY4" fmla="*/ 114300 h 666750"/>
                <a:gd name="connsiteX0" fmla="*/ 7086 w 1316947"/>
                <a:gd name="connsiteY0" fmla="*/ 224719 h 666750"/>
                <a:gd name="connsiteX1" fmla="*/ 964522 w 1316947"/>
                <a:gd name="connsiteY1" fmla="*/ 0 h 666750"/>
                <a:gd name="connsiteX2" fmla="*/ 1316947 w 1316947"/>
                <a:gd name="connsiteY2" fmla="*/ 438150 h 666750"/>
                <a:gd name="connsiteX3" fmla="*/ 0 w 1316947"/>
                <a:gd name="connsiteY3" fmla="*/ 666750 h 666750"/>
                <a:gd name="connsiteX4" fmla="*/ 7086 w 1316947"/>
                <a:gd name="connsiteY4" fmla="*/ 224719 h 666750"/>
                <a:gd name="connsiteX0" fmla="*/ 3175 w 1313036"/>
                <a:gd name="connsiteY0" fmla="*/ 224719 h 777169"/>
                <a:gd name="connsiteX1" fmla="*/ 960611 w 1313036"/>
                <a:gd name="connsiteY1" fmla="*/ 0 h 777169"/>
                <a:gd name="connsiteX2" fmla="*/ 1313036 w 1313036"/>
                <a:gd name="connsiteY2" fmla="*/ 438150 h 777169"/>
                <a:gd name="connsiteX3" fmla="*/ 0 w 1313036"/>
                <a:gd name="connsiteY3" fmla="*/ 777169 h 777169"/>
                <a:gd name="connsiteX4" fmla="*/ 3175 w 1313036"/>
                <a:gd name="connsiteY4" fmla="*/ 224719 h 777169"/>
                <a:gd name="connsiteX0" fmla="*/ 3175 w 1219167"/>
                <a:gd name="connsiteY0" fmla="*/ 224719 h 777169"/>
                <a:gd name="connsiteX1" fmla="*/ 960611 w 1219167"/>
                <a:gd name="connsiteY1" fmla="*/ 0 h 777169"/>
                <a:gd name="connsiteX2" fmla="*/ 1219167 w 1219167"/>
                <a:gd name="connsiteY2" fmla="*/ 418074 h 777169"/>
                <a:gd name="connsiteX3" fmla="*/ 0 w 1219167"/>
                <a:gd name="connsiteY3" fmla="*/ 777169 h 777169"/>
                <a:gd name="connsiteX4" fmla="*/ 3175 w 1219167"/>
                <a:gd name="connsiteY4" fmla="*/ 224719 h 777169"/>
                <a:gd name="connsiteX0" fmla="*/ 3175 w 1168321"/>
                <a:gd name="connsiteY0" fmla="*/ 224719 h 777169"/>
                <a:gd name="connsiteX1" fmla="*/ 960611 w 1168321"/>
                <a:gd name="connsiteY1" fmla="*/ 0 h 777169"/>
                <a:gd name="connsiteX2" fmla="*/ 1168321 w 1168321"/>
                <a:gd name="connsiteY2" fmla="*/ 337769 h 777169"/>
                <a:gd name="connsiteX3" fmla="*/ 0 w 1168321"/>
                <a:gd name="connsiteY3" fmla="*/ 777169 h 777169"/>
                <a:gd name="connsiteX4" fmla="*/ 3175 w 1168321"/>
                <a:gd name="connsiteY4" fmla="*/ 224719 h 777169"/>
                <a:gd name="connsiteX0" fmla="*/ 3175 w 1203522"/>
                <a:gd name="connsiteY0" fmla="*/ 224719 h 777169"/>
                <a:gd name="connsiteX1" fmla="*/ 960611 w 1203522"/>
                <a:gd name="connsiteY1" fmla="*/ 0 h 777169"/>
                <a:gd name="connsiteX2" fmla="*/ 1203522 w 1203522"/>
                <a:gd name="connsiteY2" fmla="*/ 387960 h 777169"/>
                <a:gd name="connsiteX3" fmla="*/ 0 w 1203522"/>
                <a:gd name="connsiteY3" fmla="*/ 777169 h 777169"/>
                <a:gd name="connsiteX4" fmla="*/ 3175 w 1203522"/>
                <a:gd name="connsiteY4" fmla="*/ 224719 h 777169"/>
                <a:gd name="connsiteX0" fmla="*/ 9 w 1200356"/>
                <a:gd name="connsiteY0" fmla="*/ 224719 h 636636"/>
                <a:gd name="connsiteX1" fmla="*/ 957445 w 1200356"/>
                <a:gd name="connsiteY1" fmla="*/ 0 h 636636"/>
                <a:gd name="connsiteX2" fmla="*/ 1200356 w 1200356"/>
                <a:gd name="connsiteY2" fmla="*/ 387960 h 636636"/>
                <a:gd name="connsiteX3" fmla="*/ 90703 w 1200356"/>
                <a:gd name="connsiteY3" fmla="*/ 636636 h 636636"/>
                <a:gd name="connsiteX4" fmla="*/ 9 w 1200356"/>
                <a:gd name="connsiteY4" fmla="*/ 224719 h 636636"/>
                <a:gd name="connsiteX0" fmla="*/ 239 w 1200586"/>
                <a:gd name="connsiteY0" fmla="*/ 224719 h 762112"/>
                <a:gd name="connsiteX1" fmla="*/ 957675 w 1200586"/>
                <a:gd name="connsiteY1" fmla="*/ 0 h 762112"/>
                <a:gd name="connsiteX2" fmla="*/ 1200586 w 1200586"/>
                <a:gd name="connsiteY2" fmla="*/ 387960 h 762112"/>
                <a:gd name="connsiteX3" fmla="*/ 975 w 1200586"/>
                <a:gd name="connsiteY3" fmla="*/ 762112 h 762112"/>
                <a:gd name="connsiteX4" fmla="*/ 239 w 1200586"/>
                <a:gd name="connsiteY4" fmla="*/ 224719 h 762112"/>
                <a:gd name="connsiteX0" fmla="*/ 30790 w 1199611"/>
                <a:gd name="connsiteY0" fmla="*/ 305630 h 762112"/>
                <a:gd name="connsiteX1" fmla="*/ 956700 w 1199611"/>
                <a:gd name="connsiteY1" fmla="*/ 0 h 762112"/>
                <a:gd name="connsiteX2" fmla="*/ 1199611 w 1199611"/>
                <a:gd name="connsiteY2" fmla="*/ 387960 h 762112"/>
                <a:gd name="connsiteX3" fmla="*/ 0 w 1199611"/>
                <a:gd name="connsiteY3" fmla="*/ 762112 h 762112"/>
                <a:gd name="connsiteX4" fmla="*/ 30790 w 1199611"/>
                <a:gd name="connsiteY4" fmla="*/ 305630 h 762112"/>
                <a:gd name="connsiteX0" fmla="*/ 79 w 1207432"/>
                <a:gd name="connsiteY0" fmla="*/ 242700 h 762112"/>
                <a:gd name="connsiteX1" fmla="*/ 964521 w 1207432"/>
                <a:gd name="connsiteY1" fmla="*/ 0 h 762112"/>
                <a:gd name="connsiteX2" fmla="*/ 1207432 w 1207432"/>
                <a:gd name="connsiteY2" fmla="*/ 387960 h 762112"/>
                <a:gd name="connsiteX3" fmla="*/ 7821 w 1207432"/>
                <a:gd name="connsiteY3" fmla="*/ 762112 h 762112"/>
                <a:gd name="connsiteX4" fmla="*/ 79 w 1207432"/>
                <a:gd name="connsiteY4" fmla="*/ 242700 h 762112"/>
                <a:gd name="connsiteX0" fmla="*/ 119 w 1207472"/>
                <a:gd name="connsiteY0" fmla="*/ 242700 h 789082"/>
                <a:gd name="connsiteX1" fmla="*/ 964561 w 1207472"/>
                <a:gd name="connsiteY1" fmla="*/ 0 h 789082"/>
                <a:gd name="connsiteX2" fmla="*/ 1207472 w 1207472"/>
                <a:gd name="connsiteY2" fmla="*/ 387960 h 789082"/>
                <a:gd name="connsiteX3" fmla="*/ 4358 w 1207472"/>
                <a:gd name="connsiteY3" fmla="*/ 789082 h 789082"/>
                <a:gd name="connsiteX4" fmla="*/ 119 w 1207472"/>
                <a:gd name="connsiteY4" fmla="*/ 242700 h 789082"/>
                <a:gd name="connsiteX0" fmla="*/ 50 w 1207403"/>
                <a:gd name="connsiteY0" fmla="*/ 242700 h 784821"/>
                <a:gd name="connsiteX1" fmla="*/ 964492 w 1207403"/>
                <a:gd name="connsiteY1" fmla="*/ 0 h 784821"/>
                <a:gd name="connsiteX2" fmla="*/ 1207403 w 1207403"/>
                <a:gd name="connsiteY2" fmla="*/ 387960 h 784821"/>
                <a:gd name="connsiteX3" fmla="*/ 14250 w 1207403"/>
                <a:gd name="connsiteY3" fmla="*/ 784821 h 784821"/>
                <a:gd name="connsiteX4" fmla="*/ 50 w 1207403"/>
                <a:gd name="connsiteY4" fmla="*/ 242700 h 784821"/>
                <a:gd name="connsiteX0" fmla="*/ 2403 w 1193153"/>
                <a:gd name="connsiteY0" fmla="*/ 246960 h 784821"/>
                <a:gd name="connsiteX1" fmla="*/ 950242 w 1193153"/>
                <a:gd name="connsiteY1" fmla="*/ 0 h 784821"/>
                <a:gd name="connsiteX2" fmla="*/ 1193153 w 1193153"/>
                <a:gd name="connsiteY2" fmla="*/ 387960 h 784821"/>
                <a:gd name="connsiteX3" fmla="*/ 0 w 1193153"/>
                <a:gd name="connsiteY3" fmla="*/ 784821 h 784821"/>
                <a:gd name="connsiteX4" fmla="*/ 2403 w 1193153"/>
                <a:gd name="connsiteY4" fmla="*/ 246960 h 784821"/>
                <a:gd name="connsiteX0" fmla="*/ 227 w 1194297"/>
                <a:gd name="connsiteY0" fmla="*/ 238438 h 784821"/>
                <a:gd name="connsiteX1" fmla="*/ 951386 w 1194297"/>
                <a:gd name="connsiteY1" fmla="*/ 0 h 784821"/>
                <a:gd name="connsiteX2" fmla="*/ 1194297 w 1194297"/>
                <a:gd name="connsiteY2" fmla="*/ 387960 h 784821"/>
                <a:gd name="connsiteX3" fmla="*/ 1144 w 1194297"/>
                <a:gd name="connsiteY3" fmla="*/ 784821 h 784821"/>
                <a:gd name="connsiteX4" fmla="*/ 227 w 1194297"/>
                <a:gd name="connsiteY4" fmla="*/ 238438 h 784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94297" h="784821">
                  <a:moveTo>
                    <a:pt x="227" y="238438"/>
                  </a:moveTo>
                  <a:lnTo>
                    <a:pt x="951386" y="0"/>
                  </a:lnTo>
                  <a:lnTo>
                    <a:pt x="1194297" y="387960"/>
                  </a:lnTo>
                  <a:lnTo>
                    <a:pt x="1144" y="784821"/>
                  </a:lnTo>
                  <a:cubicBezTo>
                    <a:pt x="2202" y="600671"/>
                    <a:pt x="-831" y="422588"/>
                    <a:pt x="227" y="238438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  <p:sp>
          <p:nvSpPr>
            <p:cNvPr id="39" name="Rectangle 4">
              <a:extLst>
                <a:ext uri="{FF2B5EF4-FFF2-40B4-BE49-F238E27FC236}">
                  <a16:creationId xmlns:a16="http://schemas.microsoft.com/office/drawing/2014/main" id="{56D249AB-7A4C-D5B7-820F-7396804A8296}"/>
                </a:ext>
              </a:extLst>
            </p:cNvPr>
            <p:cNvSpPr/>
            <p:nvPr/>
          </p:nvSpPr>
          <p:spPr>
            <a:xfrm flipH="1">
              <a:off x="1337479" y="3552329"/>
              <a:ext cx="1727725" cy="899828"/>
            </a:xfrm>
            <a:custGeom>
              <a:avLst/>
              <a:gdLst>
                <a:gd name="connsiteX0" fmla="*/ 0 w 1088347"/>
                <a:gd name="connsiteY0" fmla="*/ 0 h 530225"/>
                <a:gd name="connsiteX1" fmla="*/ 1088347 w 1088347"/>
                <a:gd name="connsiteY1" fmla="*/ 0 h 530225"/>
                <a:gd name="connsiteX2" fmla="*/ 1088347 w 1088347"/>
                <a:gd name="connsiteY2" fmla="*/ 530225 h 530225"/>
                <a:gd name="connsiteX3" fmla="*/ 0 w 1088347"/>
                <a:gd name="connsiteY3" fmla="*/ 530225 h 530225"/>
                <a:gd name="connsiteX4" fmla="*/ 0 w 1088347"/>
                <a:gd name="connsiteY4" fmla="*/ 0 h 530225"/>
                <a:gd name="connsiteX0" fmla="*/ 0 w 1088347"/>
                <a:gd name="connsiteY0" fmla="*/ 92075 h 622300"/>
                <a:gd name="connsiteX1" fmla="*/ 916897 w 1088347"/>
                <a:gd name="connsiteY1" fmla="*/ 0 h 622300"/>
                <a:gd name="connsiteX2" fmla="*/ 1088347 w 1088347"/>
                <a:gd name="connsiteY2" fmla="*/ 622300 h 622300"/>
                <a:gd name="connsiteX3" fmla="*/ 0 w 1088347"/>
                <a:gd name="connsiteY3" fmla="*/ 622300 h 622300"/>
                <a:gd name="connsiteX4" fmla="*/ 0 w 1088347"/>
                <a:gd name="connsiteY4" fmla="*/ 92075 h 622300"/>
                <a:gd name="connsiteX0" fmla="*/ 0 w 1275672"/>
                <a:gd name="connsiteY0" fmla="*/ 92075 h 622300"/>
                <a:gd name="connsiteX1" fmla="*/ 916897 w 1275672"/>
                <a:gd name="connsiteY1" fmla="*/ 0 h 622300"/>
                <a:gd name="connsiteX2" fmla="*/ 1275672 w 1275672"/>
                <a:gd name="connsiteY2" fmla="*/ 441325 h 622300"/>
                <a:gd name="connsiteX3" fmla="*/ 0 w 1275672"/>
                <a:gd name="connsiteY3" fmla="*/ 622300 h 622300"/>
                <a:gd name="connsiteX4" fmla="*/ 0 w 1275672"/>
                <a:gd name="connsiteY4" fmla="*/ 92075 h 622300"/>
                <a:gd name="connsiteX0" fmla="*/ 41275 w 1316947"/>
                <a:gd name="connsiteY0" fmla="*/ 92075 h 669925"/>
                <a:gd name="connsiteX1" fmla="*/ 958172 w 1316947"/>
                <a:gd name="connsiteY1" fmla="*/ 0 h 669925"/>
                <a:gd name="connsiteX2" fmla="*/ 1316947 w 1316947"/>
                <a:gd name="connsiteY2" fmla="*/ 441325 h 669925"/>
                <a:gd name="connsiteX3" fmla="*/ 0 w 1316947"/>
                <a:gd name="connsiteY3" fmla="*/ 669925 h 669925"/>
                <a:gd name="connsiteX4" fmla="*/ 41275 w 1316947"/>
                <a:gd name="connsiteY4" fmla="*/ 92075 h 669925"/>
                <a:gd name="connsiteX0" fmla="*/ 22225 w 1316947"/>
                <a:gd name="connsiteY0" fmla="*/ 120650 h 669925"/>
                <a:gd name="connsiteX1" fmla="*/ 958172 w 1316947"/>
                <a:gd name="connsiteY1" fmla="*/ 0 h 669925"/>
                <a:gd name="connsiteX2" fmla="*/ 1316947 w 1316947"/>
                <a:gd name="connsiteY2" fmla="*/ 441325 h 669925"/>
                <a:gd name="connsiteX3" fmla="*/ 0 w 1316947"/>
                <a:gd name="connsiteY3" fmla="*/ 669925 h 669925"/>
                <a:gd name="connsiteX4" fmla="*/ 22225 w 1316947"/>
                <a:gd name="connsiteY4" fmla="*/ 120650 h 669925"/>
                <a:gd name="connsiteX0" fmla="*/ 15875 w 1316947"/>
                <a:gd name="connsiteY0" fmla="*/ 111125 h 669925"/>
                <a:gd name="connsiteX1" fmla="*/ 958172 w 1316947"/>
                <a:gd name="connsiteY1" fmla="*/ 0 h 669925"/>
                <a:gd name="connsiteX2" fmla="*/ 1316947 w 1316947"/>
                <a:gd name="connsiteY2" fmla="*/ 441325 h 669925"/>
                <a:gd name="connsiteX3" fmla="*/ 0 w 1316947"/>
                <a:gd name="connsiteY3" fmla="*/ 669925 h 669925"/>
                <a:gd name="connsiteX4" fmla="*/ 15875 w 1316947"/>
                <a:gd name="connsiteY4" fmla="*/ 111125 h 669925"/>
                <a:gd name="connsiteX0" fmla="*/ 15875 w 1316947"/>
                <a:gd name="connsiteY0" fmla="*/ 107950 h 666750"/>
                <a:gd name="connsiteX1" fmla="*/ 964522 w 1316947"/>
                <a:gd name="connsiteY1" fmla="*/ 0 h 666750"/>
                <a:gd name="connsiteX2" fmla="*/ 1316947 w 1316947"/>
                <a:gd name="connsiteY2" fmla="*/ 438150 h 666750"/>
                <a:gd name="connsiteX3" fmla="*/ 0 w 1316947"/>
                <a:gd name="connsiteY3" fmla="*/ 666750 h 666750"/>
                <a:gd name="connsiteX4" fmla="*/ 15875 w 1316947"/>
                <a:gd name="connsiteY4" fmla="*/ 107950 h 666750"/>
                <a:gd name="connsiteX0" fmla="*/ 3175 w 1316947"/>
                <a:gd name="connsiteY0" fmla="*/ 114300 h 666750"/>
                <a:gd name="connsiteX1" fmla="*/ 964522 w 1316947"/>
                <a:gd name="connsiteY1" fmla="*/ 0 h 666750"/>
                <a:gd name="connsiteX2" fmla="*/ 1316947 w 1316947"/>
                <a:gd name="connsiteY2" fmla="*/ 438150 h 666750"/>
                <a:gd name="connsiteX3" fmla="*/ 0 w 1316947"/>
                <a:gd name="connsiteY3" fmla="*/ 666750 h 666750"/>
                <a:gd name="connsiteX4" fmla="*/ 3175 w 1316947"/>
                <a:gd name="connsiteY4" fmla="*/ 114300 h 666750"/>
                <a:gd name="connsiteX0" fmla="*/ 3175 w 1316947"/>
                <a:gd name="connsiteY0" fmla="*/ 139700 h 692150"/>
                <a:gd name="connsiteX1" fmla="*/ 817351 w 1316947"/>
                <a:gd name="connsiteY1" fmla="*/ 0 h 692150"/>
                <a:gd name="connsiteX2" fmla="*/ 1316947 w 1316947"/>
                <a:gd name="connsiteY2" fmla="*/ 463550 h 692150"/>
                <a:gd name="connsiteX3" fmla="*/ 0 w 1316947"/>
                <a:gd name="connsiteY3" fmla="*/ 692150 h 692150"/>
                <a:gd name="connsiteX4" fmla="*/ 3175 w 1316947"/>
                <a:gd name="connsiteY4" fmla="*/ 139700 h 692150"/>
                <a:gd name="connsiteX0" fmla="*/ 3175 w 840003"/>
                <a:gd name="connsiteY0" fmla="*/ 139700 h 692150"/>
                <a:gd name="connsiteX1" fmla="*/ 817351 w 840003"/>
                <a:gd name="connsiteY1" fmla="*/ 0 h 692150"/>
                <a:gd name="connsiteX2" fmla="*/ 840003 w 840003"/>
                <a:gd name="connsiteY2" fmla="*/ 368300 h 692150"/>
                <a:gd name="connsiteX3" fmla="*/ 0 w 840003"/>
                <a:gd name="connsiteY3" fmla="*/ 692150 h 692150"/>
                <a:gd name="connsiteX4" fmla="*/ 3175 w 840003"/>
                <a:gd name="connsiteY4" fmla="*/ 139700 h 692150"/>
                <a:gd name="connsiteX0" fmla="*/ 3175 w 1123444"/>
                <a:gd name="connsiteY0" fmla="*/ 139700 h 692150"/>
                <a:gd name="connsiteX1" fmla="*/ 817351 w 1123444"/>
                <a:gd name="connsiteY1" fmla="*/ 0 h 692150"/>
                <a:gd name="connsiteX2" fmla="*/ 1123444 w 1123444"/>
                <a:gd name="connsiteY2" fmla="*/ 428625 h 692150"/>
                <a:gd name="connsiteX3" fmla="*/ 0 w 1123444"/>
                <a:gd name="connsiteY3" fmla="*/ 692150 h 692150"/>
                <a:gd name="connsiteX4" fmla="*/ 3175 w 1123444"/>
                <a:gd name="connsiteY4" fmla="*/ 139700 h 692150"/>
                <a:gd name="connsiteX0" fmla="*/ 65 w 1120334"/>
                <a:gd name="connsiteY0" fmla="*/ 139700 h 802569"/>
                <a:gd name="connsiteX1" fmla="*/ 814241 w 1120334"/>
                <a:gd name="connsiteY1" fmla="*/ 0 h 802569"/>
                <a:gd name="connsiteX2" fmla="*/ 1120334 w 1120334"/>
                <a:gd name="connsiteY2" fmla="*/ 428625 h 802569"/>
                <a:gd name="connsiteX3" fmla="*/ 10319 w 1120334"/>
                <a:gd name="connsiteY3" fmla="*/ 802569 h 802569"/>
                <a:gd name="connsiteX4" fmla="*/ 65 w 1120334"/>
                <a:gd name="connsiteY4" fmla="*/ 139700 h 802569"/>
                <a:gd name="connsiteX0" fmla="*/ 87 w 1116998"/>
                <a:gd name="connsiteY0" fmla="*/ 265177 h 802569"/>
                <a:gd name="connsiteX1" fmla="*/ 810905 w 1116998"/>
                <a:gd name="connsiteY1" fmla="*/ 0 h 802569"/>
                <a:gd name="connsiteX2" fmla="*/ 1116998 w 1116998"/>
                <a:gd name="connsiteY2" fmla="*/ 428625 h 802569"/>
                <a:gd name="connsiteX3" fmla="*/ 6983 w 1116998"/>
                <a:gd name="connsiteY3" fmla="*/ 802569 h 802569"/>
                <a:gd name="connsiteX4" fmla="*/ 87 w 1116998"/>
                <a:gd name="connsiteY4" fmla="*/ 265177 h 802569"/>
                <a:gd name="connsiteX0" fmla="*/ 51 w 1123677"/>
                <a:gd name="connsiteY0" fmla="*/ 260158 h 802569"/>
                <a:gd name="connsiteX1" fmla="*/ 817584 w 1123677"/>
                <a:gd name="connsiteY1" fmla="*/ 0 h 802569"/>
                <a:gd name="connsiteX2" fmla="*/ 1123677 w 1123677"/>
                <a:gd name="connsiteY2" fmla="*/ 428625 h 802569"/>
                <a:gd name="connsiteX3" fmla="*/ 13662 w 1123677"/>
                <a:gd name="connsiteY3" fmla="*/ 802569 h 802569"/>
                <a:gd name="connsiteX4" fmla="*/ 51 w 1123677"/>
                <a:gd name="connsiteY4" fmla="*/ 260158 h 802569"/>
                <a:gd name="connsiteX0" fmla="*/ 64 w 1123690"/>
                <a:gd name="connsiteY0" fmla="*/ 260158 h 812607"/>
                <a:gd name="connsiteX1" fmla="*/ 817597 w 1123690"/>
                <a:gd name="connsiteY1" fmla="*/ 0 h 812607"/>
                <a:gd name="connsiteX2" fmla="*/ 1123690 w 1123690"/>
                <a:gd name="connsiteY2" fmla="*/ 428625 h 812607"/>
                <a:gd name="connsiteX3" fmla="*/ 10318 w 1123690"/>
                <a:gd name="connsiteY3" fmla="*/ 812607 h 812607"/>
                <a:gd name="connsiteX4" fmla="*/ 64 w 1123690"/>
                <a:gd name="connsiteY4" fmla="*/ 260158 h 812607"/>
                <a:gd name="connsiteX0" fmla="*/ 64 w 1012898"/>
                <a:gd name="connsiteY0" fmla="*/ 260158 h 812607"/>
                <a:gd name="connsiteX1" fmla="*/ 817597 w 1012898"/>
                <a:gd name="connsiteY1" fmla="*/ 0 h 812607"/>
                <a:gd name="connsiteX2" fmla="*/ 1012898 w 1012898"/>
                <a:gd name="connsiteY2" fmla="*/ 378435 h 812607"/>
                <a:gd name="connsiteX3" fmla="*/ 10318 w 1012898"/>
                <a:gd name="connsiteY3" fmla="*/ 812607 h 812607"/>
                <a:gd name="connsiteX4" fmla="*/ 64 w 1012898"/>
                <a:gd name="connsiteY4" fmla="*/ 260158 h 812607"/>
                <a:gd name="connsiteX0" fmla="*/ 64 w 1036400"/>
                <a:gd name="connsiteY0" fmla="*/ 260158 h 812607"/>
                <a:gd name="connsiteX1" fmla="*/ 817597 w 1036400"/>
                <a:gd name="connsiteY1" fmla="*/ 0 h 812607"/>
                <a:gd name="connsiteX2" fmla="*/ 1036400 w 1036400"/>
                <a:gd name="connsiteY2" fmla="*/ 368397 h 812607"/>
                <a:gd name="connsiteX3" fmla="*/ 10318 w 1036400"/>
                <a:gd name="connsiteY3" fmla="*/ 812607 h 812607"/>
                <a:gd name="connsiteX4" fmla="*/ 64 w 1036400"/>
                <a:gd name="connsiteY4" fmla="*/ 260158 h 812607"/>
                <a:gd name="connsiteX0" fmla="*/ 86 w 1036422"/>
                <a:gd name="connsiteY0" fmla="*/ 260158 h 812607"/>
                <a:gd name="connsiteX1" fmla="*/ 817619 w 1036422"/>
                <a:gd name="connsiteY1" fmla="*/ 0 h 812607"/>
                <a:gd name="connsiteX2" fmla="*/ 1036422 w 1036422"/>
                <a:gd name="connsiteY2" fmla="*/ 368397 h 812607"/>
                <a:gd name="connsiteX3" fmla="*/ 6982 w 1036422"/>
                <a:gd name="connsiteY3" fmla="*/ 812607 h 812607"/>
                <a:gd name="connsiteX4" fmla="*/ 86 w 1036422"/>
                <a:gd name="connsiteY4" fmla="*/ 260158 h 812607"/>
                <a:gd name="connsiteX0" fmla="*/ 7355 w 1043691"/>
                <a:gd name="connsiteY0" fmla="*/ 260158 h 812607"/>
                <a:gd name="connsiteX1" fmla="*/ 824888 w 1043691"/>
                <a:gd name="connsiteY1" fmla="*/ 0 h 812607"/>
                <a:gd name="connsiteX2" fmla="*/ 1043691 w 1043691"/>
                <a:gd name="connsiteY2" fmla="*/ 368397 h 812607"/>
                <a:gd name="connsiteX3" fmla="*/ 0 w 1043691"/>
                <a:gd name="connsiteY3" fmla="*/ 812607 h 812607"/>
                <a:gd name="connsiteX4" fmla="*/ 7355 w 1043691"/>
                <a:gd name="connsiteY4" fmla="*/ 260158 h 8126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43691" h="812607">
                  <a:moveTo>
                    <a:pt x="7355" y="260158"/>
                  </a:moveTo>
                  <a:lnTo>
                    <a:pt x="824888" y="0"/>
                  </a:lnTo>
                  <a:lnTo>
                    <a:pt x="1043691" y="368397"/>
                  </a:lnTo>
                  <a:lnTo>
                    <a:pt x="0" y="812607"/>
                  </a:lnTo>
                  <a:cubicBezTo>
                    <a:pt x="1058" y="628457"/>
                    <a:pt x="6297" y="444308"/>
                    <a:pt x="7355" y="260158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  <p:sp>
          <p:nvSpPr>
            <p:cNvPr id="40" name="Rectangle 5">
              <a:extLst>
                <a:ext uri="{FF2B5EF4-FFF2-40B4-BE49-F238E27FC236}">
                  <a16:creationId xmlns:a16="http://schemas.microsoft.com/office/drawing/2014/main" id="{E8D53E3E-BC52-DABE-1AF8-1CEEC5F1C071}"/>
                </a:ext>
              </a:extLst>
            </p:cNvPr>
            <p:cNvSpPr/>
            <p:nvPr/>
          </p:nvSpPr>
          <p:spPr>
            <a:xfrm>
              <a:off x="2100383" y="2950481"/>
              <a:ext cx="1877881" cy="333426"/>
            </a:xfrm>
            <a:custGeom>
              <a:avLst/>
              <a:gdLst>
                <a:gd name="connsiteX0" fmla="*/ 0 w 619125"/>
                <a:gd name="connsiteY0" fmla="*/ 0 h 406400"/>
                <a:gd name="connsiteX1" fmla="*/ 619125 w 619125"/>
                <a:gd name="connsiteY1" fmla="*/ 0 h 406400"/>
                <a:gd name="connsiteX2" fmla="*/ 619125 w 619125"/>
                <a:gd name="connsiteY2" fmla="*/ 406400 h 406400"/>
                <a:gd name="connsiteX3" fmla="*/ 0 w 619125"/>
                <a:gd name="connsiteY3" fmla="*/ 406400 h 406400"/>
                <a:gd name="connsiteX4" fmla="*/ 0 w 619125"/>
                <a:gd name="connsiteY4" fmla="*/ 0 h 406400"/>
                <a:gd name="connsiteX0" fmla="*/ 0 w 962025"/>
                <a:gd name="connsiteY0" fmla="*/ 73025 h 479425"/>
                <a:gd name="connsiteX1" fmla="*/ 962025 w 962025"/>
                <a:gd name="connsiteY1" fmla="*/ 0 h 479425"/>
                <a:gd name="connsiteX2" fmla="*/ 619125 w 962025"/>
                <a:gd name="connsiteY2" fmla="*/ 479425 h 479425"/>
                <a:gd name="connsiteX3" fmla="*/ 0 w 962025"/>
                <a:gd name="connsiteY3" fmla="*/ 479425 h 479425"/>
                <a:gd name="connsiteX4" fmla="*/ 0 w 962025"/>
                <a:gd name="connsiteY4" fmla="*/ 73025 h 479425"/>
                <a:gd name="connsiteX0" fmla="*/ 0 w 1901825"/>
                <a:gd name="connsiteY0" fmla="*/ 73025 h 479425"/>
                <a:gd name="connsiteX1" fmla="*/ 962025 w 1901825"/>
                <a:gd name="connsiteY1" fmla="*/ 0 h 479425"/>
                <a:gd name="connsiteX2" fmla="*/ 1901825 w 1901825"/>
                <a:gd name="connsiteY2" fmla="*/ 104775 h 479425"/>
                <a:gd name="connsiteX3" fmla="*/ 0 w 1901825"/>
                <a:gd name="connsiteY3" fmla="*/ 479425 h 479425"/>
                <a:gd name="connsiteX4" fmla="*/ 0 w 1901825"/>
                <a:gd name="connsiteY4" fmla="*/ 73025 h 479425"/>
                <a:gd name="connsiteX0" fmla="*/ 0 w 1901825"/>
                <a:gd name="connsiteY0" fmla="*/ 73025 h 336550"/>
                <a:gd name="connsiteX1" fmla="*/ 962025 w 1901825"/>
                <a:gd name="connsiteY1" fmla="*/ 0 h 336550"/>
                <a:gd name="connsiteX2" fmla="*/ 1901825 w 1901825"/>
                <a:gd name="connsiteY2" fmla="*/ 104775 h 336550"/>
                <a:gd name="connsiteX3" fmla="*/ 946150 w 1901825"/>
                <a:gd name="connsiteY3" fmla="*/ 336550 h 336550"/>
                <a:gd name="connsiteX4" fmla="*/ 0 w 1901825"/>
                <a:gd name="connsiteY4" fmla="*/ 73025 h 336550"/>
                <a:gd name="connsiteX0" fmla="*/ 0 w 1914525"/>
                <a:gd name="connsiteY0" fmla="*/ 76200 h 339725"/>
                <a:gd name="connsiteX1" fmla="*/ 962025 w 1914525"/>
                <a:gd name="connsiteY1" fmla="*/ 3175 h 339725"/>
                <a:gd name="connsiteX2" fmla="*/ 1914525 w 1914525"/>
                <a:gd name="connsiteY2" fmla="*/ 0 h 339725"/>
                <a:gd name="connsiteX3" fmla="*/ 946150 w 1914525"/>
                <a:gd name="connsiteY3" fmla="*/ 339725 h 339725"/>
                <a:gd name="connsiteX4" fmla="*/ 0 w 1914525"/>
                <a:gd name="connsiteY4" fmla="*/ 76200 h 339725"/>
                <a:gd name="connsiteX0" fmla="*/ 0 w 1895475"/>
                <a:gd name="connsiteY0" fmla="*/ 73025 h 336550"/>
                <a:gd name="connsiteX1" fmla="*/ 962025 w 1895475"/>
                <a:gd name="connsiteY1" fmla="*/ 0 h 336550"/>
                <a:gd name="connsiteX2" fmla="*/ 1895475 w 1895475"/>
                <a:gd name="connsiteY2" fmla="*/ 101600 h 336550"/>
                <a:gd name="connsiteX3" fmla="*/ 946150 w 1895475"/>
                <a:gd name="connsiteY3" fmla="*/ 336550 h 336550"/>
                <a:gd name="connsiteX4" fmla="*/ 0 w 1895475"/>
                <a:gd name="connsiteY4" fmla="*/ 73025 h 336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95475" h="336550">
                  <a:moveTo>
                    <a:pt x="0" y="73025"/>
                  </a:moveTo>
                  <a:lnTo>
                    <a:pt x="962025" y="0"/>
                  </a:lnTo>
                  <a:lnTo>
                    <a:pt x="1895475" y="101600"/>
                  </a:lnTo>
                  <a:lnTo>
                    <a:pt x="946150" y="336550"/>
                  </a:lnTo>
                  <a:lnTo>
                    <a:pt x="0" y="73025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  <p:sp>
          <p:nvSpPr>
            <p:cNvPr id="41" name="Rectangle 4">
              <a:extLst>
                <a:ext uri="{FF2B5EF4-FFF2-40B4-BE49-F238E27FC236}">
                  <a16:creationId xmlns:a16="http://schemas.microsoft.com/office/drawing/2014/main" id="{20C19BFB-A160-F938-DD3E-8150E2861593}"/>
                </a:ext>
              </a:extLst>
            </p:cNvPr>
            <p:cNvSpPr/>
            <p:nvPr/>
          </p:nvSpPr>
          <p:spPr>
            <a:xfrm>
              <a:off x="3030223" y="3047993"/>
              <a:ext cx="1304723" cy="660562"/>
            </a:xfrm>
            <a:custGeom>
              <a:avLst/>
              <a:gdLst>
                <a:gd name="connsiteX0" fmla="*/ 0 w 1088347"/>
                <a:gd name="connsiteY0" fmla="*/ 0 h 530225"/>
                <a:gd name="connsiteX1" fmla="*/ 1088347 w 1088347"/>
                <a:gd name="connsiteY1" fmla="*/ 0 h 530225"/>
                <a:gd name="connsiteX2" fmla="*/ 1088347 w 1088347"/>
                <a:gd name="connsiteY2" fmla="*/ 530225 h 530225"/>
                <a:gd name="connsiteX3" fmla="*/ 0 w 1088347"/>
                <a:gd name="connsiteY3" fmla="*/ 530225 h 530225"/>
                <a:gd name="connsiteX4" fmla="*/ 0 w 1088347"/>
                <a:gd name="connsiteY4" fmla="*/ 0 h 530225"/>
                <a:gd name="connsiteX0" fmla="*/ 0 w 1088347"/>
                <a:gd name="connsiteY0" fmla="*/ 92075 h 622300"/>
                <a:gd name="connsiteX1" fmla="*/ 916897 w 1088347"/>
                <a:gd name="connsiteY1" fmla="*/ 0 h 622300"/>
                <a:gd name="connsiteX2" fmla="*/ 1088347 w 1088347"/>
                <a:gd name="connsiteY2" fmla="*/ 622300 h 622300"/>
                <a:gd name="connsiteX3" fmla="*/ 0 w 1088347"/>
                <a:gd name="connsiteY3" fmla="*/ 622300 h 622300"/>
                <a:gd name="connsiteX4" fmla="*/ 0 w 1088347"/>
                <a:gd name="connsiteY4" fmla="*/ 92075 h 622300"/>
                <a:gd name="connsiteX0" fmla="*/ 0 w 1275672"/>
                <a:gd name="connsiteY0" fmla="*/ 92075 h 622300"/>
                <a:gd name="connsiteX1" fmla="*/ 916897 w 1275672"/>
                <a:gd name="connsiteY1" fmla="*/ 0 h 622300"/>
                <a:gd name="connsiteX2" fmla="*/ 1275672 w 1275672"/>
                <a:gd name="connsiteY2" fmla="*/ 441325 h 622300"/>
                <a:gd name="connsiteX3" fmla="*/ 0 w 1275672"/>
                <a:gd name="connsiteY3" fmla="*/ 622300 h 622300"/>
                <a:gd name="connsiteX4" fmla="*/ 0 w 1275672"/>
                <a:gd name="connsiteY4" fmla="*/ 92075 h 622300"/>
                <a:gd name="connsiteX0" fmla="*/ 41275 w 1316947"/>
                <a:gd name="connsiteY0" fmla="*/ 92075 h 669925"/>
                <a:gd name="connsiteX1" fmla="*/ 958172 w 1316947"/>
                <a:gd name="connsiteY1" fmla="*/ 0 h 669925"/>
                <a:gd name="connsiteX2" fmla="*/ 1316947 w 1316947"/>
                <a:gd name="connsiteY2" fmla="*/ 441325 h 669925"/>
                <a:gd name="connsiteX3" fmla="*/ 0 w 1316947"/>
                <a:gd name="connsiteY3" fmla="*/ 669925 h 669925"/>
                <a:gd name="connsiteX4" fmla="*/ 41275 w 1316947"/>
                <a:gd name="connsiteY4" fmla="*/ 92075 h 669925"/>
                <a:gd name="connsiteX0" fmla="*/ 22225 w 1316947"/>
                <a:gd name="connsiteY0" fmla="*/ 120650 h 669925"/>
                <a:gd name="connsiteX1" fmla="*/ 958172 w 1316947"/>
                <a:gd name="connsiteY1" fmla="*/ 0 h 669925"/>
                <a:gd name="connsiteX2" fmla="*/ 1316947 w 1316947"/>
                <a:gd name="connsiteY2" fmla="*/ 441325 h 669925"/>
                <a:gd name="connsiteX3" fmla="*/ 0 w 1316947"/>
                <a:gd name="connsiteY3" fmla="*/ 669925 h 669925"/>
                <a:gd name="connsiteX4" fmla="*/ 22225 w 1316947"/>
                <a:gd name="connsiteY4" fmla="*/ 120650 h 669925"/>
                <a:gd name="connsiteX0" fmla="*/ 15875 w 1316947"/>
                <a:gd name="connsiteY0" fmla="*/ 111125 h 669925"/>
                <a:gd name="connsiteX1" fmla="*/ 958172 w 1316947"/>
                <a:gd name="connsiteY1" fmla="*/ 0 h 669925"/>
                <a:gd name="connsiteX2" fmla="*/ 1316947 w 1316947"/>
                <a:gd name="connsiteY2" fmla="*/ 441325 h 669925"/>
                <a:gd name="connsiteX3" fmla="*/ 0 w 1316947"/>
                <a:gd name="connsiteY3" fmla="*/ 669925 h 669925"/>
                <a:gd name="connsiteX4" fmla="*/ 15875 w 1316947"/>
                <a:gd name="connsiteY4" fmla="*/ 111125 h 669925"/>
                <a:gd name="connsiteX0" fmla="*/ 15875 w 1316947"/>
                <a:gd name="connsiteY0" fmla="*/ 107950 h 666750"/>
                <a:gd name="connsiteX1" fmla="*/ 964522 w 1316947"/>
                <a:gd name="connsiteY1" fmla="*/ 0 h 666750"/>
                <a:gd name="connsiteX2" fmla="*/ 1316947 w 1316947"/>
                <a:gd name="connsiteY2" fmla="*/ 438150 h 666750"/>
                <a:gd name="connsiteX3" fmla="*/ 0 w 1316947"/>
                <a:gd name="connsiteY3" fmla="*/ 666750 h 666750"/>
                <a:gd name="connsiteX4" fmla="*/ 15875 w 1316947"/>
                <a:gd name="connsiteY4" fmla="*/ 107950 h 666750"/>
                <a:gd name="connsiteX0" fmla="*/ 3175 w 1316947"/>
                <a:gd name="connsiteY0" fmla="*/ 114300 h 666750"/>
                <a:gd name="connsiteX1" fmla="*/ 964522 w 1316947"/>
                <a:gd name="connsiteY1" fmla="*/ 0 h 666750"/>
                <a:gd name="connsiteX2" fmla="*/ 1316947 w 1316947"/>
                <a:gd name="connsiteY2" fmla="*/ 438150 h 666750"/>
                <a:gd name="connsiteX3" fmla="*/ 0 w 1316947"/>
                <a:gd name="connsiteY3" fmla="*/ 666750 h 666750"/>
                <a:gd name="connsiteX4" fmla="*/ 3175 w 1316947"/>
                <a:gd name="connsiteY4" fmla="*/ 114300 h 666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6947" h="666750">
                  <a:moveTo>
                    <a:pt x="3175" y="114300"/>
                  </a:moveTo>
                  <a:lnTo>
                    <a:pt x="964522" y="0"/>
                  </a:lnTo>
                  <a:lnTo>
                    <a:pt x="1316947" y="438150"/>
                  </a:lnTo>
                  <a:lnTo>
                    <a:pt x="0" y="666750"/>
                  </a:lnTo>
                  <a:cubicBezTo>
                    <a:pt x="1058" y="482600"/>
                    <a:pt x="2117" y="298450"/>
                    <a:pt x="3175" y="11430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  <p:sp>
          <p:nvSpPr>
            <p:cNvPr id="42" name="Rectangle 4">
              <a:extLst>
                <a:ext uri="{FF2B5EF4-FFF2-40B4-BE49-F238E27FC236}">
                  <a16:creationId xmlns:a16="http://schemas.microsoft.com/office/drawing/2014/main" id="{D0D1DE4E-6727-41A2-B1E6-6C56A0CD439A}"/>
                </a:ext>
              </a:extLst>
            </p:cNvPr>
            <p:cNvSpPr/>
            <p:nvPr/>
          </p:nvSpPr>
          <p:spPr>
            <a:xfrm flipH="1">
              <a:off x="1746177" y="3022829"/>
              <a:ext cx="1296629" cy="685726"/>
            </a:xfrm>
            <a:custGeom>
              <a:avLst/>
              <a:gdLst>
                <a:gd name="connsiteX0" fmla="*/ 0 w 1088347"/>
                <a:gd name="connsiteY0" fmla="*/ 0 h 530225"/>
                <a:gd name="connsiteX1" fmla="*/ 1088347 w 1088347"/>
                <a:gd name="connsiteY1" fmla="*/ 0 h 530225"/>
                <a:gd name="connsiteX2" fmla="*/ 1088347 w 1088347"/>
                <a:gd name="connsiteY2" fmla="*/ 530225 h 530225"/>
                <a:gd name="connsiteX3" fmla="*/ 0 w 1088347"/>
                <a:gd name="connsiteY3" fmla="*/ 530225 h 530225"/>
                <a:gd name="connsiteX4" fmla="*/ 0 w 1088347"/>
                <a:gd name="connsiteY4" fmla="*/ 0 h 530225"/>
                <a:gd name="connsiteX0" fmla="*/ 0 w 1088347"/>
                <a:gd name="connsiteY0" fmla="*/ 92075 h 622300"/>
                <a:gd name="connsiteX1" fmla="*/ 916897 w 1088347"/>
                <a:gd name="connsiteY1" fmla="*/ 0 h 622300"/>
                <a:gd name="connsiteX2" fmla="*/ 1088347 w 1088347"/>
                <a:gd name="connsiteY2" fmla="*/ 622300 h 622300"/>
                <a:gd name="connsiteX3" fmla="*/ 0 w 1088347"/>
                <a:gd name="connsiteY3" fmla="*/ 622300 h 622300"/>
                <a:gd name="connsiteX4" fmla="*/ 0 w 1088347"/>
                <a:gd name="connsiteY4" fmla="*/ 92075 h 622300"/>
                <a:gd name="connsiteX0" fmla="*/ 0 w 1275672"/>
                <a:gd name="connsiteY0" fmla="*/ 92075 h 622300"/>
                <a:gd name="connsiteX1" fmla="*/ 916897 w 1275672"/>
                <a:gd name="connsiteY1" fmla="*/ 0 h 622300"/>
                <a:gd name="connsiteX2" fmla="*/ 1275672 w 1275672"/>
                <a:gd name="connsiteY2" fmla="*/ 441325 h 622300"/>
                <a:gd name="connsiteX3" fmla="*/ 0 w 1275672"/>
                <a:gd name="connsiteY3" fmla="*/ 622300 h 622300"/>
                <a:gd name="connsiteX4" fmla="*/ 0 w 1275672"/>
                <a:gd name="connsiteY4" fmla="*/ 92075 h 622300"/>
                <a:gd name="connsiteX0" fmla="*/ 41275 w 1316947"/>
                <a:gd name="connsiteY0" fmla="*/ 92075 h 669925"/>
                <a:gd name="connsiteX1" fmla="*/ 958172 w 1316947"/>
                <a:gd name="connsiteY1" fmla="*/ 0 h 669925"/>
                <a:gd name="connsiteX2" fmla="*/ 1316947 w 1316947"/>
                <a:gd name="connsiteY2" fmla="*/ 441325 h 669925"/>
                <a:gd name="connsiteX3" fmla="*/ 0 w 1316947"/>
                <a:gd name="connsiteY3" fmla="*/ 669925 h 669925"/>
                <a:gd name="connsiteX4" fmla="*/ 41275 w 1316947"/>
                <a:gd name="connsiteY4" fmla="*/ 92075 h 669925"/>
                <a:gd name="connsiteX0" fmla="*/ 22225 w 1316947"/>
                <a:gd name="connsiteY0" fmla="*/ 120650 h 669925"/>
                <a:gd name="connsiteX1" fmla="*/ 958172 w 1316947"/>
                <a:gd name="connsiteY1" fmla="*/ 0 h 669925"/>
                <a:gd name="connsiteX2" fmla="*/ 1316947 w 1316947"/>
                <a:gd name="connsiteY2" fmla="*/ 441325 h 669925"/>
                <a:gd name="connsiteX3" fmla="*/ 0 w 1316947"/>
                <a:gd name="connsiteY3" fmla="*/ 669925 h 669925"/>
                <a:gd name="connsiteX4" fmla="*/ 22225 w 1316947"/>
                <a:gd name="connsiteY4" fmla="*/ 120650 h 669925"/>
                <a:gd name="connsiteX0" fmla="*/ 15875 w 1316947"/>
                <a:gd name="connsiteY0" fmla="*/ 111125 h 669925"/>
                <a:gd name="connsiteX1" fmla="*/ 958172 w 1316947"/>
                <a:gd name="connsiteY1" fmla="*/ 0 h 669925"/>
                <a:gd name="connsiteX2" fmla="*/ 1316947 w 1316947"/>
                <a:gd name="connsiteY2" fmla="*/ 441325 h 669925"/>
                <a:gd name="connsiteX3" fmla="*/ 0 w 1316947"/>
                <a:gd name="connsiteY3" fmla="*/ 669925 h 669925"/>
                <a:gd name="connsiteX4" fmla="*/ 15875 w 1316947"/>
                <a:gd name="connsiteY4" fmla="*/ 111125 h 669925"/>
                <a:gd name="connsiteX0" fmla="*/ 15875 w 1316947"/>
                <a:gd name="connsiteY0" fmla="*/ 107950 h 666750"/>
                <a:gd name="connsiteX1" fmla="*/ 964522 w 1316947"/>
                <a:gd name="connsiteY1" fmla="*/ 0 h 666750"/>
                <a:gd name="connsiteX2" fmla="*/ 1316947 w 1316947"/>
                <a:gd name="connsiteY2" fmla="*/ 438150 h 666750"/>
                <a:gd name="connsiteX3" fmla="*/ 0 w 1316947"/>
                <a:gd name="connsiteY3" fmla="*/ 666750 h 666750"/>
                <a:gd name="connsiteX4" fmla="*/ 15875 w 1316947"/>
                <a:gd name="connsiteY4" fmla="*/ 107950 h 666750"/>
                <a:gd name="connsiteX0" fmla="*/ 3175 w 1316947"/>
                <a:gd name="connsiteY0" fmla="*/ 114300 h 666750"/>
                <a:gd name="connsiteX1" fmla="*/ 964522 w 1316947"/>
                <a:gd name="connsiteY1" fmla="*/ 0 h 666750"/>
                <a:gd name="connsiteX2" fmla="*/ 1316947 w 1316947"/>
                <a:gd name="connsiteY2" fmla="*/ 438150 h 666750"/>
                <a:gd name="connsiteX3" fmla="*/ 0 w 1316947"/>
                <a:gd name="connsiteY3" fmla="*/ 666750 h 666750"/>
                <a:gd name="connsiteX4" fmla="*/ 3175 w 1316947"/>
                <a:gd name="connsiteY4" fmla="*/ 114300 h 666750"/>
                <a:gd name="connsiteX0" fmla="*/ 3175 w 1316947"/>
                <a:gd name="connsiteY0" fmla="*/ 139700 h 692150"/>
                <a:gd name="connsiteX1" fmla="*/ 817351 w 1316947"/>
                <a:gd name="connsiteY1" fmla="*/ 0 h 692150"/>
                <a:gd name="connsiteX2" fmla="*/ 1316947 w 1316947"/>
                <a:gd name="connsiteY2" fmla="*/ 463550 h 692150"/>
                <a:gd name="connsiteX3" fmla="*/ 0 w 1316947"/>
                <a:gd name="connsiteY3" fmla="*/ 692150 h 692150"/>
                <a:gd name="connsiteX4" fmla="*/ 3175 w 1316947"/>
                <a:gd name="connsiteY4" fmla="*/ 139700 h 692150"/>
                <a:gd name="connsiteX0" fmla="*/ 3175 w 840003"/>
                <a:gd name="connsiteY0" fmla="*/ 139700 h 692150"/>
                <a:gd name="connsiteX1" fmla="*/ 817351 w 840003"/>
                <a:gd name="connsiteY1" fmla="*/ 0 h 692150"/>
                <a:gd name="connsiteX2" fmla="*/ 840003 w 840003"/>
                <a:gd name="connsiteY2" fmla="*/ 368300 h 692150"/>
                <a:gd name="connsiteX3" fmla="*/ 0 w 840003"/>
                <a:gd name="connsiteY3" fmla="*/ 692150 h 692150"/>
                <a:gd name="connsiteX4" fmla="*/ 3175 w 840003"/>
                <a:gd name="connsiteY4" fmla="*/ 139700 h 692150"/>
                <a:gd name="connsiteX0" fmla="*/ 3175 w 1123444"/>
                <a:gd name="connsiteY0" fmla="*/ 139700 h 692150"/>
                <a:gd name="connsiteX1" fmla="*/ 817351 w 1123444"/>
                <a:gd name="connsiteY1" fmla="*/ 0 h 692150"/>
                <a:gd name="connsiteX2" fmla="*/ 1123444 w 1123444"/>
                <a:gd name="connsiteY2" fmla="*/ 428625 h 692150"/>
                <a:gd name="connsiteX3" fmla="*/ 0 w 1123444"/>
                <a:gd name="connsiteY3" fmla="*/ 692150 h 692150"/>
                <a:gd name="connsiteX4" fmla="*/ 3175 w 1123444"/>
                <a:gd name="connsiteY4" fmla="*/ 139700 h 692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23444" h="692150">
                  <a:moveTo>
                    <a:pt x="3175" y="139700"/>
                  </a:moveTo>
                  <a:lnTo>
                    <a:pt x="817351" y="0"/>
                  </a:lnTo>
                  <a:lnTo>
                    <a:pt x="1123444" y="428625"/>
                  </a:lnTo>
                  <a:lnTo>
                    <a:pt x="0" y="692150"/>
                  </a:lnTo>
                  <a:cubicBezTo>
                    <a:pt x="1058" y="508000"/>
                    <a:pt x="2117" y="323850"/>
                    <a:pt x="3175" y="139700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  <p:sp>
          <p:nvSpPr>
            <p:cNvPr id="43" name="Isosceles Triangle 3">
              <a:extLst>
                <a:ext uri="{FF2B5EF4-FFF2-40B4-BE49-F238E27FC236}">
                  <a16:creationId xmlns:a16="http://schemas.microsoft.com/office/drawing/2014/main" id="{757439E0-FFCD-34AE-DCEB-2790988FFFBB}"/>
                </a:ext>
              </a:extLst>
            </p:cNvPr>
            <p:cNvSpPr/>
            <p:nvPr/>
          </p:nvSpPr>
          <p:spPr>
            <a:xfrm>
              <a:off x="2136739" y="1846769"/>
              <a:ext cx="906067" cy="1235335"/>
            </a:xfrm>
            <a:custGeom>
              <a:avLst/>
              <a:gdLst>
                <a:gd name="connsiteX0" fmla="*/ 0 w 697570"/>
                <a:gd name="connsiteY0" fmla="*/ 1163782 h 1163782"/>
                <a:gd name="connsiteX1" fmla="*/ 348785 w 697570"/>
                <a:gd name="connsiteY1" fmla="*/ 0 h 1163782"/>
                <a:gd name="connsiteX2" fmla="*/ 697570 w 697570"/>
                <a:gd name="connsiteY2" fmla="*/ 1163782 h 1163782"/>
                <a:gd name="connsiteX3" fmla="*/ 0 w 697570"/>
                <a:gd name="connsiteY3" fmla="*/ 1163782 h 1163782"/>
                <a:gd name="connsiteX0" fmla="*/ 0 w 863824"/>
                <a:gd name="connsiteY0" fmla="*/ 1151907 h 1163782"/>
                <a:gd name="connsiteX1" fmla="*/ 515039 w 863824"/>
                <a:gd name="connsiteY1" fmla="*/ 0 h 1163782"/>
                <a:gd name="connsiteX2" fmla="*/ 863824 w 863824"/>
                <a:gd name="connsiteY2" fmla="*/ 1163782 h 1163782"/>
                <a:gd name="connsiteX3" fmla="*/ 0 w 863824"/>
                <a:gd name="connsiteY3" fmla="*/ 1151907 h 1163782"/>
                <a:gd name="connsiteX0" fmla="*/ 0 w 911325"/>
                <a:gd name="connsiteY0" fmla="*/ 1151907 h 1258785"/>
                <a:gd name="connsiteX1" fmla="*/ 515039 w 911325"/>
                <a:gd name="connsiteY1" fmla="*/ 0 h 1258785"/>
                <a:gd name="connsiteX2" fmla="*/ 911325 w 911325"/>
                <a:gd name="connsiteY2" fmla="*/ 1258785 h 1258785"/>
                <a:gd name="connsiteX3" fmla="*/ 0 w 911325"/>
                <a:gd name="connsiteY3" fmla="*/ 1151907 h 1258785"/>
                <a:gd name="connsiteX0" fmla="*/ 0 w 911325"/>
                <a:gd name="connsiteY0" fmla="*/ 1140031 h 1246909"/>
                <a:gd name="connsiteX1" fmla="*/ 871298 w 911325"/>
                <a:gd name="connsiteY1" fmla="*/ 0 h 1246909"/>
                <a:gd name="connsiteX2" fmla="*/ 911325 w 911325"/>
                <a:gd name="connsiteY2" fmla="*/ 1246909 h 1246909"/>
                <a:gd name="connsiteX3" fmla="*/ 0 w 911325"/>
                <a:gd name="connsiteY3" fmla="*/ 1140031 h 1246909"/>
                <a:gd name="connsiteX0" fmla="*/ 0 w 943131"/>
                <a:gd name="connsiteY0" fmla="*/ 1124128 h 1246909"/>
                <a:gd name="connsiteX1" fmla="*/ 903104 w 943131"/>
                <a:gd name="connsiteY1" fmla="*/ 0 h 1246909"/>
                <a:gd name="connsiteX2" fmla="*/ 943131 w 943131"/>
                <a:gd name="connsiteY2" fmla="*/ 1246909 h 1246909"/>
                <a:gd name="connsiteX3" fmla="*/ 0 w 943131"/>
                <a:gd name="connsiteY3" fmla="*/ 1124128 h 1246909"/>
                <a:gd name="connsiteX0" fmla="*/ 0 w 914556"/>
                <a:gd name="connsiteY0" fmla="*/ 1124128 h 1246909"/>
                <a:gd name="connsiteX1" fmla="*/ 903104 w 914556"/>
                <a:gd name="connsiteY1" fmla="*/ 0 h 1246909"/>
                <a:gd name="connsiteX2" fmla="*/ 914556 w 914556"/>
                <a:gd name="connsiteY2" fmla="*/ 1246909 h 1246909"/>
                <a:gd name="connsiteX3" fmla="*/ 0 w 914556"/>
                <a:gd name="connsiteY3" fmla="*/ 1124128 h 1246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556" h="1246909">
                  <a:moveTo>
                    <a:pt x="0" y="1124128"/>
                  </a:moveTo>
                  <a:lnTo>
                    <a:pt x="903104" y="0"/>
                  </a:lnTo>
                  <a:lnTo>
                    <a:pt x="914556" y="1246909"/>
                  </a:lnTo>
                  <a:lnTo>
                    <a:pt x="0" y="1124128"/>
                  </a:ln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  <p:sp>
          <p:nvSpPr>
            <p:cNvPr id="44" name="Isosceles Triangle 3">
              <a:extLst>
                <a:ext uri="{FF2B5EF4-FFF2-40B4-BE49-F238E27FC236}">
                  <a16:creationId xmlns:a16="http://schemas.microsoft.com/office/drawing/2014/main" id="{4E26E81C-C855-0712-4FC6-C3217AD5AE80}"/>
                </a:ext>
              </a:extLst>
            </p:cNvPr>
            <p:cNvSpPr/>
            <p:nvPr/>
          </p:nvSpPr>
          <p:spPr>
            <a:xfrm>
              <a:off x="3030290" y="1853258"/>
              <a:ext cx="945486" cy="1225483"/>
            </a:xfrm>
            <a:custGeom>
              <a:avLst/>
              <a:gdLst>
                <a:gd name="connsiteX0" fmla="*/ 0 w 697570"/>
                <a:gd name="connsiteY0" fmla="*/ 1163782 h 1163782"/>
                <a:gd name="connsiteX1" fmla="*/ 348785 w 697570"/>
                <a:gd name="connsiteY1" fmla="*/ 0 h 1163782"/>
                <a:gd name="connsiteX2" fmla="*/ 697570 w 697570"/>
                <a:gd name="connsiteY2" fmla="*/ 1163782 h 1163782"/>
                <a:gd name="connsiteX3" fmla="*/ 0 w 697570"/>
                <a:gd name="connsiteY3" fmla="*/ 1163782 h 1163782"/>
                <a:gd name="connsiteX0" fmla="*/ 0 w 863824"/>
                <a:gd name="connsiteY0" fmla="*/ 1151907 h 1163782"/>
                <a:gd name="connsiteX1" fmla="*/ 515039 w 863824"/>
                <a:gd name="connsiteY1" fmla="*/ 0 h 1163782"/>
                <a:gd name="connsiteX2" fmla="*/ 863824 w 863824"/>
                <a:gd name="connsiteY2" fmla="*/ 1163782 h 1163782"/>
                <a:gd name="connsiteX3" fmla="*/ 0 w 863824"/>
                <a:gd name="connsiteY3" fmla="*/ 1151907 h 1163782"/>
                <a:gd name="connsiteX0" fmla="*/ 0 w 911325"/>
                <a:gd name="connsiteY0" fmla="*/ 1151907 h 1258785"/>
                <a:gd name="connsiteX1" fmla="*/ 515039 w 911325"/>
                <a:gd name="connsiteY1" fmla="*/ 0 h 1258785"/>
                <a:gd name="connsiteX2" fmla="*/ 911325 w 911325"/>
                <a:gd name="connsiteY2" fmla="*/ 1258785 h 1258785"/>
                <a:gd name="connsiteX3" fmla="*/ 0 w 911325"/>
                <a:gd name="connsiteY3" fmla="*/ 1151907 h 1258785"/>
                <a:gd name="connsiteX0" fmla="*/ 0 w 911325"/>
                <a:gd name="connsiteY0" fmla="*/ 1140031 h 1246909"/>
                <a:gd name="connsiteX1" fmla="*/ 871298 w 911325"/>
                <a:gd name="connsiteY1" fmla="*/ 0 h 1246909"/>
                <a:gd name="connsiteX2" fmla="*/ 911325 w 911325"/>
                <a:gd name="connsiteY2" fmla="*/ 1246909 h 1246909"/>
                <a:gd name="connsiteX3" fmla="*/ 0 w 911325"/>
                <a:gd name="connsiteY3" fmla="*/ 1140031 h 1246909"/>
                <a:gd name="connsiteX0" fmla="*/ 0 w 943131"/>
                <a:gd name="connsiteY0" fmla="*/ 1124128 h 1246909"/>
                <a:gd name="connsiteX1" fmla="*/ 903104 w 943131"/>
                <a:gd name="connsiteY1" fmla="*/ 0 h 1246909"/>
                <a:gd name="connsiteX2" fmla="*/ 943131 w 943131"/>
                <a:gd name="connsiteY2" fmla="*/ 1246909 h 1246909"/>
                <a:gd name="connsiteX3" fmla="*/ 0 w 943131"/>
                <a:gd name="connsiteY3" fmla="*/ 1124128 h 1246909"/>
                <a:gd name="connsiteX0" fmla="*/ 146468 w 1089599"/>
                <a:gd name="connsiteY0" fmla="*/ 1307008 h 1429789"/>
                <a:gd name="connsiteX1" fmla="*/ 0 w 1089599"/>
                <a:gd name="connsiteY1" fmla="*/ 0 h 1429789"/>
                <a:gd name="connsiteX2" fmla="*/ 1089599 w 1089599"/>
                <a:gd name="connsiteY2" fmla="*/ 1429789 h 1429789"/>
                <a:gd name="connsiteX3" fmla="*/ 146468 w 1089599"/>
                <a:gd name="connsiteY3" fmla="*/ 1307008 h 1429789"/>
                <a:gd name="connsiteX0" fmla="*/ 11295 w 1089599"/>
                <a:gd name="connsiteY0" fmla="*/ 1195690 h 1429789"/>
                <a:gd name="connsiteX1" fmla="*/ 0 w 1089599"/>
                <a:gd name="connsiteY1" fmla="*/ 0 h 1429789"/>
                <a:gd name="connsiteX2" fmla="*/ 1089599 w 1089599"/>
                <a:gd name="connsiteY2" fmla="*/ 1429789 h 1429789"/>
                <a:gd name="connsiteX3" fmla="*/ 11295 w 1089599"/>
                <a:gd name="connsiteY3" fmla="*/ 1195690 h 1429789"/>
                <a:gd name="connsiteX0" fmla="*/ 11295 w 906719"/>
                <a:gd name="connsiteY0" fmla="*/ 1195690 h 1195690"/>
                <a:gd name="connsiteX1" fmla="*/ 0 w 906719"/>
                <a:gd name="connsiteY1" fmla="*/ 0 h 1195690"/>
                <a:gd name="connsiteX2" fmla="*/ 906719 w 906719"/>
                <a:gd name="connsiteY2" fmla="*/ 1103785 h 1195690"/>
                <a:gd name="connsiteX3" fmla="*/ 11295 w 906719"/>
                <a:gd name="connsiteY3" fmla="*/ 1195690 h 1195690"/>
                <a:gd name="connsiteX0" fmla="*/ 106545 w 906719"/>
                <a:gd name="connsiteY0" fmla="*/ 1208390 h 1208390"/>
                <a:gd name="connsiteX1" fmla="*/ 0 w 906719"/>
                <a:gd name="connsiteY1" fmla="*/ 0 h 1208390"/>
                <a:gd name="connsiteX2" fmla="*/ 906719 w 906719"/>
                <a:gd name="connsiteY2" fmla="*/ 1103785 h 1208390"/>
                <a:gd name="connsiteX3" fmla="*/ 106545 w 906719"/>
                <a:gd name="connsiteY3" fmla="*/ 1208390 h 1208390"/>
                <a:gd name="connsiteX0" fmla="*/ 17645 w 906719"/>
                <a:gd name="connsiteY0" fmla="*/ 1214740 h 1214740"/>
                <a:gd name="connsiteX1" fmla="*/ 0 w 906719"/>
                <a:gd name="connsiteY1" fmla="*/ 0 h 1214740"/>
                <a:gd name="connsiteX2" fmla="*/ 906719 w 906719"/>
                <a:gd name="connsiteY2" fmla="*/ 1103785 h 1214740"/>
                <a:gd name="connsiteX3" fmla="*/ 17645 w 906719"/>
                <a:gd name="connsiteY3" fmla="*/ 1214740 h 1214740"/>
                <a:gd name="connsiteX0" fmla="*/ 17645 w 938469"/>
                <a:gd name="connsiteY0" fmla="*/ 1214740 h 1214740"/>
                <a:gd name="connsiteX1" fmla="*/ 0 w 938469"/>
                <a:gd name="connsiteY1" fmla="*/ 0 h 1214740"/>
                <a:gd name="connsiteX2" fmla="*/ 938469 w 938469"/>
                <a:gd name="connsiteY2" fmla="*/ 1129185 h 1214740"/>
                <a:gd name="connsiteX3" fmla="*/ 17645 w 938469"/>
                <a:gd name="connsiteY3" fmla="*/ 1214740 h 1214740"/>
                <a:gd name="connsiteX0" fmla="*/ 36695 w 957519"/>
                <a:gd name="connsiteY0" fmla="*/ 1227440 h 1227440"/>
                <a:gd name="connsiteX1" fmla="*/ 0 w 957519"/>
                <a:gd name="connsiteY1" fmla="*/ 0 h 1227440"/>
                <a:gd name="connsiteX2" fmla="*/ 957519 w 957519"/>
                <a:gd name="connsiteY2" fmla="*/ 1141885 h 1227440"/>
                <a:gd name="connsiteX3" fmla="*/ 36695 w 957519"/>
                <a:gd name="connsiteY3" fmla="*/ 1227440 h 1227440"/>
                <a:gd name="connsiteX0" fmla="*/ 306570 w 957519"/>
                <a:gd name="connsiteY0" fmla="*/ 1081390 h 1141885"/>
                <a:gd name="connsiteX1" fmla="*/ 0 w 957519"/>
                <a:gd name="connsiteY1" fmla="*/ 0 h 1141885"/>
                <a:gd name="connsiteX2" fmla="*/ 957519 w 957519"/>
                <a:gd name="connsiteY2" fmla="*/ 1141885 h 1141885"/>
                <a:gd name="connsiteX3" fmla="*/ 306570 w 957519"/>
                <a:gd name="connsiteY3" fmla="*/ 1081390 h 1141885"/>
                <a:gd name="connsiteX0" fmla="*/ 39870 w 957519"/>
                <a:gd name="connsiteY0" fmla="*/ 1236965 h 1236965"/>
                <a:gd name="connsiteX1" fmla="*/ 0 w 957519"/>
                <a:gd name="connsiteY1" fmla="*/ 0 h 1236965"/>
                <a:gd name="connsiteX2" fmla="*/ 957519 w 957519"/>
                <a:gd name="connsiteY2" fmla="*/ 1141885 h 1236965"/>
                <a:gd name="connsiteX3" fmla="*/ 39870 w 957519"/>
                <a:gd name="connsiteY3" fmla="*/ 1236965 h 1236965"/>
                <a:gd name="connsiteX0" fmla="*/ 0 w 917649"/>
                <a:gd name="connsiteY0" fmla="*/ 1214740 h 1214740"/>
                <a:gd name="connsiteX1" fmla="*/ 398280 w 917649"/>
                <a:gd name="connsiteY1" fmla="*/ 0 h 1214740"/>
                <a:gd name="connsiteX2" fmla="*/ 917649 w 917649"/>
                <a:gd name="connsiteY2" fmla="*/ 1119660 h 1214740"/>
                <a:gd name="connsiteX3" fmla="*/ 0 w 917649"/>
                <a:gd name="connsiteY3" fmla="*/ 1214740 h 1214740"/>
                <a:gd name="connsiteX0" fmla="*/ 0 w 917649"/>
                <a:gd name="connsiteY0" fmla="*/ 973440 h 973440"/>
                <a:gd name="connsiteX1" fmla="*/ 77605 w 917649"/>
                <a:gd name="connsiteY1" fmla="*/ 0 h 973440"/>
                <a:gd name="connsiteX2" fmla="*/ 917649 w 917649"/>
                <a:gd name="connsiteY2" fmla="*/ 878360 h 973440"/>
                <a:gd name="connsiteX3" fmla="*/ 0 w 917649"/>
                <a:gd name="connsiteY3" fmla="*/ 973440 h 973440"/>
                <a:gd name="connsiteX0" fmla="*/ 36695 w 954344"/>
                <a:gd name="connsiteY0" fmla="*/ 1240140 h 1240140"/>
                <a:gd name="connsiteX1" fmla="*/ 0 w 954344"/>
                <a:gd name="connsiteY1" fmla="*/ 0 h 1240140"/>
                <a:gd name="connsiteX2" fmla="*/ 954344 w 954344"/>
                <a:gd name="connsiteY2" fmla="*/ 1145060 h 1240140"/>
                <a:gd name="connsiteX3" fmla="*/ 36695 w 954344"/>
                <a:gd name="connsiteY3" fmla="*/ 1240140 h 1240140"/>
                <a:gd name="connsiteX0" fmla="*/ 8120 w 954344"/>
                <a:gd name="connsiteY0" fmla="*/ 1236965 h 1236965"/>
                <a:gd name="connsiteX1" fmla="*/ 0 w 954344"/>
                <a:gd name="connsiteY1" fmla="*/ 0 h 1236965"/>
                <a:gd name="connsiteX2" fmla="*/ 954344 w 954344"/>
                <a:gd name="connsiteY2" fmla="*/ 1145060 h 1236965"/>
                <a:gd name="connsiteX3" fmla="*/ 8120 w 954344"/>
                <a:gd name="connsiteY3" fmla="*/ 1236965 h 1236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4344" h="1236965">
                  <a:moveTo>
                    <a:pt x="8120" y="1236965"/>
                  </a:moveTo>
                  <a:cubicBezTo>
                    <a:pt x="5413" y="824643"/>
                    <a:pt x="2707" y="412322"/>
                    <a:pt x="0" y="0"/>
                  </a:cubicBezTo>
                  <a:lnTo>
                    <a:pt x="954344" y="1145060"/>
                  </a:lnTo>
                  <a:lnTo>
                    <a:pt x="8120" y="123696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</p:grpSp>
      <p:grpSp>
        <p:nvGrpSpPr>
          <p:cNvPr id="7" name="Group 106">
            <a:extLst>
              <a:ext uri="{FF2B5EF4-FFF2-40B4-BE49-F238E27FC236}">
                <a16:creationId xmlns:a16="http://schemas.microsoft.com/office/drawing/2014/main" id="{06FA3F10-E5A0-59B5-32F2-2ED2C7F7F035}"/>
              </a:ext>
            </a:extLst>
          </p:cNvPr>
          <p:cNvGrpSpPr/>
          <p:nvPr/>
        </p:nvGrpSpPr>
        <p:grpSpPr>
          <a:xfrm>
            <a:off x="5416431" y="2537024"/>
            <a:ext cx="5316492" cy="2272845"/>
            <a:chOff x="5336112" y="3064254"/>
            <a:chExt cx="3282277" cy="2068770"/>
          </a:xfrm>
        </p:grpSpPr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4DB6F444-36CF-4968-7FA0-7AEA556A5EB7}"/>
                </a:ext>
              </a:extLst>
            </p:cNvPr>
            <p:cNvCxnSpPr/>
            <p:nvPr/>
          </p:nvCxnSpPr>
          <p:spPr>
            <a:xfrm flipH="1">
              <a:off x="5336112" y="3064254"/>
              <a:ext cx="3282276" cy="5899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0BF130F9-60C0-36AA-A529-E2499D1BF3A0}"/>
                </a:ext>
              </a:extLst>
            </p:cNvPr>
            <p:cNvCxnSpPr/>
            <p:nvPr/>
          </p:nvCxnSpPr>
          <p:spPr>
            <a:xfrm flipH="1">
              <a:off x="5664346" y="3577476"/>
              <a:ext cx="2954041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1076F820-923E-977A-1FD2-8F9159F63D09}"/>
                </a:ext>
              </a:extLst>
            </p:cNvPr>
            <p:cNvCxnSpPr/>
            <p:nvPr/>
          </p:nvCxnSpPr>
          <p:spPr>
            <a:xfrm flipH="1">
              <a:off x="6058414" y="4116429"/>
              <a:ext cx="2559975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EAAA5E99-E59C-B9DF-E1F8-E639AA9D04E1}"/>
                </a:ext>
              </a:extLst>
            </p:cNvPr>
            <p:cNvCxnSpPr/>
            <p:nvPr/>
          </p:nvCxnSpPr>
          <p:spPr>
            <a:xfrm flipH="1">
              <a:off x="6510752" y="4564255"/>
              <a:ext cx="2107636" cy="5899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3CE0A305-6080-2107-8E3F-09907AED87E9}"/>
                </a:ext>
              </a:extLst>
            </p:cNvPr>
            <p:cNvCxnSpPr/>
            <p:nvPr/>
          </p:nvCxnSpPr>
          <p:spPr>
            <a:xfrm flipH="1">
              <a:off x="6922740" y="5112733"/>
              <a:ext cx="1695648" cy="2029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0F9A243C-38AF-25F2-EA53-98F2E7B1B034}"/>
              </a:ext>
            </a:extLst>
          </p:cNvPr>
          <p:cNvSpPr txBox="1"/>
          <p:nvPr/>
        </p:nvSpPr>
        <p:spPr>
          <a:xfrm>
            <a:off x="6735851" y="2066663"/>
            <a:ext cx="418135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b="1" dirty="0"/>
              <a:t>TEXT </a:t>
            </a:r>
          </a:p>
          <a:p>
            <a:pPr algn="r"/>
            <a:r>
              <a:rPr lang="en-US" sz="1000" dirty="0"/>
              <a:t>This is an example text. You can edit it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0152A30-E098-C5AF-0F38-4683B6E5F8A8}"/>
              </a:ext>
            </a:extLst>
          </p:cNvPr>
          <p:cNvSpPr txBox="1"/>
          <p:nvPr/>
        </p:nvSpPr>
        <p:spPr>
          <a:xfrm>
            <a:off x="6105558" y="2637926"/>
            <a:ext cx="48116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b="1" dirty="0"/>
              <a:t>TEXT</a:t>
            </a:r>
          </a:p>
          <a:p>
            <a:pPr algn="r"/>
            <a:r>
              <a:rPr lang="en-US" sz="1000" dirty="0"/>
              <a:t>This is an example text. You can edit it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7FE72C4-3749-0949-977D-44FBA78BEB76}"/>
              </a:ext>
            </a:extLst>
          </p:cNvPr>
          <p:cNvSpPr txBox="1"/>
          <p:nvPr/>
        </p:nvSpPr>
        <p:spPr>
          <a:xfrm>
            <a:off x="6105558" y="3052829"/>
            <a:ext cx="48116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b="1" dirty="0"/>
              <a:t>TEXT</a:t>
            </a:r>
          </a:p>
          <a:p>
            <a:pPr algn="r"/>
            <a:r>
              <a:rPr lang="en-US" sz="1000" dirty="0"/>
              <a:t>This is an example text. You can edit it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858BE3C-8E86-63C8-72E3-2ED2B6BAB71D}"/>
              </a:ext>
            </a:extLst>
          </p:cNvPr>
          <p:cNvSpPr txBox="1"/>
          <p:nvPr/>
        </p:nvSpPr>
        <p:spPr>
          <a:xfrm>
            <a:off x="6105558" y="3717658"/>
            <a:ext cx="48116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b="1" dirty="0"/>
              <a:t>TEXT</a:t>
            </a:r>
          </a:p>
          <a:p>
            <a:pPr algn="r"/>
            <a:r>
              <a:rPr lang="en-US" sz="1000" dirty="0"/>
              <a:t>This is an example text. You can edit it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3DC5A74-E574-A3A5-4F8A-220210E59E65}"/>
              </a:ext>
            </a:extLst>
          </p:cNvPr>
          <p:cNvSpPr txBox="1"/>
          <p:nvPr/>
        </p:nvSpPr>
        <p:spPr>
          <a:xfrm>
            <a:off x="6088063" y="4328934"/>
            <a:ext cx="48116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b="1" dirty="0"/>
              <a:t>TEXT</a:t>
            </a:r>
          </a:p>
          <a:p>
            <a:pPr algn="r"/>
            <a:r>
              <a:rPr lang="en-US" sz="1000" dirty="0"/>
              <a:t>This is an example text. You can edit it.</a:t>
            </a:r>
          </a:p>
        </p:txBody>
      </p:sp>
    </p:spTree>
    <p:extLst>
      <p:ext uri="{BB962C8B-B14F-4D97-AF65-F5344CB8AC3E}">
        <p14:creationId xmlns:p14="http://schemas.microsoft.com/office/powerpoint/2010/main" val="1608181471"/>
      </p:ext>
    </p:extLst>
  </p:cSld>
  <p:clrMapOvr>
    <a:masterClrMapping/>
  </p:clrMapOvr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BD19B39-159E-5963-9CAD-D4CDABFCFB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think-cell data - do not delete" hidden="1">
            <a:extLst>
              <a:ext uri="{FF2B5EF4-FFF2-40B4-BE49-F238E27FC236}">
                <a16:creationId xmlns:a16="http://schemas.microsoft.com/office/drawing/2014/main" id="{EA41CEFF-9D2E-7CD1-866C-B2BDB3DD81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A41CEFF-9D2E-7CD1-866C-B2BDB3DD81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BD4F2B3-9DB7-3C88-8303-2A70BB86FC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imelin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4B152B8-31A2-00EA-EC0A-CDC2CE717C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02</a:t>
            </a:fld>
            <a:endParaRPr lang="en-US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28AE493-5A2B-07CB-D12E-6297052F39D4}"/>
              </a:ext>
            </a:extLst>
          </p:cNvPr>
          <p:cNvCxnSpPr/>
          <p:nvPr/>
        </p:nvCxnSpPr>
        <p:spPr>
          <a:xfrm>
            <a:off x="2677337" y="2105022"/>
            <a:ext cx="0" cy="1062768"/>
          </a:xfrm>
          <a:prstGeom prst="line">
            <a:avLst/>
          </a:prstGeom>
          <a:ln w="12700">
            <a:solidFill>
              <a:schemeClr val="accent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5E84AAA-3A24-19DB-E39B-A7C7795F3FA7}"/>
              </a:ext>
            </a:extLst>
          </p:cNvPr>
          <p:cNvCxnSpPr/>
          <p:nvPr/>
        </p:nvCxnSpPr>
        <p:spPr>
          <a:xfrm>
            <a:off x="6441823" y="2105022"/>
            <a:ext cx="0" cy="1062768"/>
          </a:xfrm>
          <a:prstGeom prst="line">
            <a:avLst/>
          </a:prstGeom>
          <a:ln w="12700">
            <a:solidFill>
              <a:schemeClr val="accent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D330509-9A57-AAAC-1FBA-A3C8AF54BA65}"/>
              </a:ext>
            </a:extLst>
          </p:cNvPr>
          <p:cNvCxnSpPr/>
          <p:nvPr/>
        </p:nvCxnSpPr>
        <p:spPr>
          <a:xfrm>
            <a:off x="10157134" y="2105022"/>
            <a:ext cx="0" cy="1062768"/>
          </a:xfrm>
          <a:prstGeom prst="line">
            <a:avLst/>
          </a:prstGeom>
          <a:ln w="12700">
            <a:solidFill>
              <a:schemeClr val="accent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CB9D24E-0483-C2A1-BBF7-D706EB815F4A}"/>
              </a:ext>
            </a:extLst>
          </p:cNvPr>
          <p:cNvCxnSpPr/>
          <p:nvPr/>
        </p:nvCxnSpPr>
        <p:spPr>
          <a:xfrm>
            <a:off x="4563314" y="4112778"/>
            <a:ext cx="0" cy="1176638"/>
          </a:xfrm>
          <a:prstGeom prst="line">
            <a:avLst/>
          </a:prstGeom>
          <a:ln w="12700">
            <a:solidFill>
              <a:schemeClr val="accent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8F80062-5DBC-6D81-6C42-3B08FCC1C578}"/>
              </a:ext>
            </a:extLst>
          </p:cNvPr>
          <p:cNvCxnSpPr/>
          <p:nvPr/>
        </p:nvCxnSpPr>
        <p:spPr>
          <a:xfrm>
            <a:off x="8320846" y="4112778"/>
            <a:ext cx="0" cy="1176638"/>
          </a:xfrm>
          <a:prstGeom prst="line">
            <a:avLst/>
          </a:prstGeom>
          <a:ln w="12700">
            <a:solidFill>
              <a:schemeClr val="accent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Group 10">
            <a:extLst>
              <a:ext uri="{FF2B5EF4-FFF2-40B4-BE49-F238E27FC236}">
                <a16:creationId xmlns:a16="http://schemas.microsoft.com/office/drawing/2014/main" id="{30FFE693-7531-B4D9-FAEC-580D95D891C3}"/>
              </a:ext>
            </a:extLst>
          </p:cNvPr>
          <p:cNvGrpSpPr/>
          <p:nvPr/>
        </p:nvGrpSpPr>
        <p:grpSpPr>
          <a:xfrm>
            <a:off x="1007550" y="3135161"/>
            <a:ext cx="10176901" cy="977618"/>
            <a:chOff x="378467" y="3032279"/>
            <a:chExt cx="8252089" cy="792714"/>
          </a:xfrm>
        </p:grpSpPr>
        <p:sp>
          <p:nvSpPr>
            <p:cNvPr id="22" name="Chevron 6">
              <a:extLst>
                <a:ext uri="{FF2B5EF4-FFF2-40B4-BE49-F238E27FC236}">
                  <a16:creationId xmlns:a16="http://schemas.microsoft.com/office/drawing/2014/main" id="{C64D77D5-05FB-66E1-63B9-8E4051FEAF72}"/>
                </a:ext>
              </a:extLst>
            </p:cNvPr>
            <p:cNvSpPr/>
            <p:nvPr/>
          </p:nvSpPr>
          <p:spPr>
            <a:xfrm>
              <a:off x="378467" y="3032279"/>
              <a:ext cx="8252089" cy="792714"/>
            </a:xfrm>
            <a:prstGeom prst="chevron">
              <a:avLst>
                <a:gd name="adj" fmla="val 36222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>
                <a:solidFill>
                  <a:prstClr val="black"/>
                </a:solidFill>
              </a:endParaRPr>
            </a:p>
          </p:txBody>
        </p:sp>
        <p:sp>
          <p:nvSpPr>
            <p:cNvPr id="23" name="Chevron 7">
              <a:extLst>
                <a:ext uri="{FF2B5EF4-FFF2-40B4-BE49-F238E27FC236}">
                  <a16:creationId xmlns:a16="http://schemas.microsoft.com/office/drawing/2014/main" id="{460E4329-AA8C-7567-644F-120E76A8190B}"/>
                </a:ext>
              </a:extLst>
            </p:cNvPr>
            <p:cNvSpPr/>
            <p:nvPr/>
          </p:nvSpPr>
          <p:spPr>
            <a:xfrm>
              <a:off x="644301" y="3141097"/>
              <a:ext cx="440968" cy="575310"/>
            </a:xfrm>
            <a:prstGeom prst="chevron">
              <a:avLst/>
            </a:prstGeom>
            <a:solidFill>
              <a:schemeClr val="accent6"/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>
                <a:solidFill>
                  <a:prstClr val="black"/>
                </a:solidFill>
              </a:endParaRPr>
            </a:p>
          </p:txBody>
        </p:sp>
        <p:sp>
          <p:nvSpPr>
            <p:cNvPr id="24" name="Chevron 8">
              <a:extLst>
                <a:ext uri="{FF2B5EF4-FFF2-40B4-BE49-F238E27FC236}">
                  <a16:creationId xmlns:a16="http://schemas.microsoft.com/office/drawing/2014/main" id="{CE3490D5-9C46-A5EB-6BC3-4798BBF21684}"/>
                </a:ext>
              </a:extLst>
            </p:cNvPr>
            <p:cNvSpPr/>
            <p:nvPr/>
          </p:nvSpPr>
          <p:spPr>
            <a:xfrm>
              <a:off x="1121901" y="3141097"/>
              <a:ext cx="440968" cy="575310"/>
            </a:xfrm>
            <a:prstGeom prst="chevron">
              <a:avLst/>
            </a:prstGeom>
            <a:solidFill>
              <a:schemeClr val="accent6"/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>
                <a:solidFill>
                  <a:prstClr val="black"/>
                </a:solidFill>
              </a:endParaRPr>
            </a:p>
          </p:txBody>
        </p:sp>
        <p:sp>
          <p:nvSpPr>
            <p:cNvPr id="25" name="Chevron 9">
              <a:extLst>
                <a:ext uri="{FF2B5EF4-FFF2-40B4-BE49-F238E27FC236}">
                  <a16:creationId xmlns:a16="http://schemas.microsoft.com/office/drawing/2014/main" id="{734044D9-7E2C-B1A6-6F22-62BB90585F1E}"/>
                </a:ext>
              </a:extLst>
            </p:cNvPr>
            <p:cNvSpPr/>
            <p:nvPr/>
          </p:nvSpPr>
          <p:spPr>
            <a:xfrm>
              <a:off x="1599501" y="3086688"/>
              <a:ext cx="524199" cy="683896"/>
            </a:xfrm>
            <a:prstGeom prst="chevron">
              <a:avLst/>
            </a:pr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dirty="0">
                <a:solidFill>
                  <a:prstClr val="black"/>
                </a:solidFill>
              </a:endParaRPr>
            </a:p>
          </p:txBody>
        </p:sp>
        <p:sp>
          <p:nvSpPr>
            <p:cNvPr id="26" name="Chevron 10">
              <a:extLst>
                <a:ext uri="{FF2B5EF4-FFF2-40B4-BE49-F238E27FC236}">
                  <a16:creationId xmlns:a16="http://schemas.microsoft.com/office/drawing/2014/main" id="{D7F67FA8-43EB-6DEB-0BF2-F81C6162E3A1}"/>
                </a:ext>
              </a:extLst>
            </p:cNvPr>
            <p:cNvSpPr/>
            <p:nvPr/>
          </p:nvSpPr>
          <p:spPr>
            <a:xfrm>
              <a:off x="2160332" y="3141097"/>
              <a:ext cx="440968" cy="575310"/>
            </a:xfrm>
            <a:prstGeom prst="chevron">
              <a:avLst/>
            </a:prstGeom>
            <a:solidFill>
              <a:schemeClr val="accent6"/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>
                <a:solidFill>
                  <a:prstClr val="black"/>
                </a:solidFill>
              </a:endParaRPr>
            </a:p>
          </p:txBody>
        </p:sp>
        <p:sp>
          <p:nvSpPr>
            <p:cNvPr id="27" name="Chevron 11">
              <a:extLst>
                <a:ext uri="{FF2B5EF4-FFF2-40B4-BE49-F238E27FC236}">
                  <a16:creationId xmlns:a16="http://schemas.microsoft.com/office/drawing/2014/main" id="{6A89483F-B110-73AE-5EFD-653F4B9F9008}"/>
                </a:ext>
              </a:extLst>
            </p:cNvPr>
            <p:cNvSpPr/>
            <p:nvPr/>
          </p:nvSpPr>
          <p:spPr>
            <a:xfrm>
              <a:off x="2637932" y="3141097"/>
              <a:ext cx="440968" cy="575310"/>
            </a:xfrm>
            <a:prstGeom prst="chevron">
              <a:avLst/>
            </a:prstGeom>
            <a:solidFill>
              <a:schemeClr val="accent6"/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>
                <a:solidFill>
                  <a:prstClr val="black"/>
                </a:solidFill>
              </a:endParaRPr>
            </a:p>
          </p:txBody>
        </p:sp>
        <p:sp>
          <p:nvSpPr>
            <p:cNvPr id="28" name="Chevron 12">
              <a:extLst>
                <a:ext uri="{FF2B5EF4-FFF2-40B4-BE49-F238E27FC236}">
                  <a16:creationId xmlns:a16="http://schemas.microsoft.com/office/drawing/2014/main" id="{AC613359-A326-72F0-7134-A56B2E96047D}"/>
                </a:ext>
              </a:extLst>
            </p:cNvPr>
            <p:cNvSpPr/>
            <p:nvPr/>
          </p:nvSpPr>
          <p:spPr>
            <a:xfrm>
              <a:off x="3115532" y="3086688"/>
              <a:ext cx="524199" cy="683896"/>
            </a:xfrm>
            <a:prstGeom prst="chevron">
              <a:avLst/>
            </a:prstGeom>
            <a:solidFill>
              <a:schemeClr val="accent2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>
                <a:solidFill>
                  <a:prstClr val="black"/>
                </a:solidFill>
              </a:endParaRPr>
            </a:p>
          </p:txBody>
        </p:sp>
        <p:sp>
          <p:nvSpPr>
            <p:cNvPr id="29" name="Chevron 14">
              <a:extLst>
                <a:ext uri="{FF2B5EF4-FFF2-40B4-BE49-F238E27FC236}">
                  <a16:creationId xmlns:a16="http://schemas.microsoft.com/office/drawing/2014/main" id="{8E5B7767-EEF0-062A-D87A-9AB6E83B854D}"/>
                </a:ext>
              </a:extLst>
            </p:cNvPr>
            <p:cNvSpPr/>
            <p:nvPr/>
          </p:nvSpPr>
          <p:spPr>
            <a:xfrm>
              <a:off x="3676363" y="3141097"/>
              <a:ext cx="440968" cy="575310"/>
            </a:xfrm>
            <a:prstGeom prst="chevron">
              <a:avLst/>
            </a:prstGeom>
            <a:solidFill>
              <a:schemeClr val="accent6"/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>
                <a:solidFill>
                  <a:prstClr val="black"/>
                </a:solidFill>
              </a:endParaRPr>
            </a:p>
          </p:txBody>
        </p:sp>
        <p:sp>
          <p:nvSpPr>
            <p:cNvPr id="30" name="Chevron 15">
              <a:extLst>
                <a:ext uri="{FF2B5EF4-FFF2-40B4-BE49-F238E27FC236}">
                  <a16:creationId xmlns:a16="http://schemas.microsoft.com/office/drawing/2014/main" id="{39A1CA85-A87A-83B8-3E21-8F6A841F662C}"/>
                </a:ext>
              </a:extLst>
            </p:cNvPr>
            <p:cNvSpPr/>
            <p:nvPr/>
          </p:nvSpPr>
          <p:spPr>
            <a:xfrm>
              <a:off x="4153963" y="3141097"/>
              <a:ext cx="440968" cy="575310"/>
            </a:xfrm>
            <a:prstGeom prst="chevron">
              <a:avLst/>
            </a:prstGeom>
            <a:solidFill>
              <a:schemeClr val="accent6"/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>
                <a:solidFill>
                  <a:prstClr val="black"/>
                </a:solidFill>
              </a:endParaRPr>
            </a:p>
          </p:txBody>
        </p:sp>
        <p:sp>
          <p:nvSpPr>
            <p:cNvPr id="31" name="Chevron 16">
              <a:extLst>
                <a:ext uri="{FF2B5EF4-FFF2-40B4-BE49-F238E27FC236}">
                  <a16:creationId xmlns:a16="http://schemas.microsoft.com/office/drawing/2014/main" id="{45688B4C-3A6D-998C-25D9-BFFD291240BB}"/>
                </a:ext>
              </a:extLst>
            </p:cNvPr>
            <p:cNvSpPr/>
            <p:nvPr/>
          </p:nvSpPr>
          <p:spPr>
            <a:xfrm>
              <a:off x="4631563" y="3086688"/>
              <a:ext cx="524199" cy="683896"/>
            </a:xfrm>
            <a:prstGeom prst="chevron">
              <a:avLst/>
            </a:prstGeom>
            <a:solidFill>
              <a:schemeClr val="accent3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dirty="0">
                <a:solidFill>
                  <a:prstClr val="black"/>
                </a:solidFill>
              </a:endParaRPr>
            </a:p>
          </p:txBody>
        </p:sp>
        <p:sp>
          <p:nvSpPr>
            <p:cNvPr id="32" name="Chevron 17">
              <a:extLst>
                <a:ext uri="{FF2B5EF4-FFF2-40B4-BE49-F238E27FC236}">
                  <a16:creationId xmlns:a16="http://schemas.microsoft.com/office/drawing/2014/main" id="{C0660B7F-5CDF-EED6-8107-321A254AEE23}"/>
                </a:ext>
              </a:extLst>
            </p:cNvPr>
            <p:cNvSpPr/>
            <p:nvPr/>
          </p:nvSpPr>
          <p:spPr>
            <a:xfrm>
              <a:off x="5192394" y="3141097"/>
              <a:ext cx="440968" cy="575310"/>
            </a:xfrm>
            <a:prstGeom prst="chevron">
              <a:avLst/>
            </a:prstGeom>
            <a:solidFill>
              <a:schemeClr val="accent6"/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>
                <a:solidFill>
                  <a:prstClr val="black"/>
                </a:solidFill>
              </a:endParaRPr>
            </a:p>
          </p:txBody>
        </p:sp>
        <p:sp>
          <p:nvSpPr>
            <p:cNvPr id="33" name="Chevron 18">
              <a:extLst>
                <a:ext uri="{FF2B5EF4-FFF2-40B4-BE49-F238E27FC236}">
                  <a16:creationId xmlns:a16="http://schemas.microsoft.com/office/drawing/2014/main" id="{E5327702-798C-9C5C-C64A-EA40EEEB80B5}"/>
                </a:ext>
              </a:extLst>
            </p:cNvPr>
            <p:cNvSpPr/>
            <p:nvPr/>
          </p:nvSpPr>
          <p:spPr>
            <a:xfrm>
              <a:off x="5669994" y="3141097"/>
              <a:ext cx="440968" cy="575310"/>
            </a:xfrm>
            <a:prstGeom prst="chevron">
              <a:avLst/>
            </a:prstGeom>
            <a:solidFill>
              <a:schemeClr val="accent6"/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>
                <a:solidFill>
                  <a:prstClr val="black"/>
                </a:solidFill>
              </a:endParaRPr>
            </a:p>
          </p:txBody>
        </p:sp>
        <p:sp>
          <p:nvSpPr>
            <p:cNvPr id="34" name="Chevron 19">
              <a:extLst>
                <a:ext uri="{FF2B5EF4-FFF2-40B4-BE49-F238E27FC236}">
                  <a16:creationId xmlns:a16="http://schemas.microsoft.com/office/drawing/2014/main" id="{BF3EFDDA-182F-FFD8-4510-499337D72471}"/>
                </a:ext>
              </a:extLst>
            </p:cNvPr>
            <p:cNvSpPr/>
            <p:nvPr/>
          </p:nvSpPr>
          <p:spPr>
            <a:xfrm>
              <a:off x="6147594" y="3086688"/>
              <a:ext cx="524199" cy="683896"/>
            </a:xfrm>
            <a:prstGeom prst="chevron">
              <a:avLst/>
            </a:prstGeom>
            <a:solidFill>
              <a:schemeClr val="accent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dirty="0">
                <a:solidFill>
                  <a:prstClr val="black"/>
                </a:solidFill>
              </a:endParaRPr>
            </a:p>
          </p:txBody>
        </p:sp>
        <p:sp>
          <p:nvSpPr>
            <p:cNvPr id="35" name="Chevron 21">
              <a:extLst>
                <a:ext uri="{FF2B5EF4-FFF2-40B4-BE49-F238E27FC236}">
                  <a16:creationId xmlns:a16="http://schemas.microsoft.com/office/drawing/2014/main" id="{233B48EC-6674-4330-FE42-7942C1E66667}"/>
                </a:ext>
              </a:extLst>
            </p:cNvPr>
            <p:cNvSpPr/>
            <p:nvPr/>
          </p:nvSpPr>
          <p:spPr>
            <a:xfrm>
              <a:off x="6708425" y="3141097"/>
              <a:ext cx="440968" cy="575310"/>
            </a:xfrm>
            <a:prstGeom prst="chevron">
              <a:avLst/>
            </a:prstGeom>
            <a:solidFill>
              <a:schemeClr val="accent6"/>
            </a:solidFill>
            <a:ln w="1270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>
                <a:solidFill>
                  <a:prstClr val="black"/>
                </a:solidFill>
              </a:endParaRPr>
            </a:p>
          </p:txBody>
        </p:sp>
        <p:sp>
          <p:nvSpPr>
            <p:cNvPr id="36" name="Chevron 22">
              <a:extLst>
                <a:ext uri="{FF2B5EF4-FFF2-40B4-BE49-F238E27FC236}">
                  <a16:creationId xmlns:a16="http://schemas.microsoft.com/office/drawing/2014/main" id="{1EC3F2CB-457F-39E7-353D-0960BA09D8D1}"/>
                </a:ext>
              </a:extLst>
            </p:cNvPr>
            <p:cNvSpPr/>
            <p:nvPr/>
          </p:nvSpPr>
          <p:spPr>
            <a:xfrm>
              <a:off x="7186025" y="3141097"/>
              <a:ext cx="440968" cy="575310"/>
            </a:xfrm>
            <a:prstGeom prst="chevron">
              <a:avLst/>
            </a:prstGeom>
            <a:solidFill>
              <a:schemeClr val="accent6"/>
            </a:solidFill>
            <a:ln w="1270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>
                <a:solidFill>
                  <a:prstClr val="black"/>
                </a:solidFill>
              </a:endParaRPr>
            </a:p>
          </p:txBody>
        </p:sp>
        <p:sp>
          <p:nvSpPr>
            <p:cNvPr id="37" name="Chevron 23">
              <a:extLst>
                <a:ext uri="{FF2B5EF4-FFF2-40B4-BE49-F238E27FC236}">
                  <a16:creationId xmlns:a16="http://schemas.microsoft.com/office/drawing/2014/main" id="{123BBDFB-F115-700A-5430-3A628EAB855F}"/>
                </a:ext>
              </a:extLst>
            </p:cNvPr>
            <p:cNvSpPr/>
            <p:nvPr/>
          </p:nvSpPr>
          <p:spPr>
            <a:xfrm>
              <a:off x="7663626" y="3086688"/>
              <a:ext cx="524199" cy="683896"/>
            </a:xfrm>
            <a:prstGeom prst="chevron">
              <a:avLst/>
            </a:prstGeom>
            <a:solidFill>
              <a:schemeClr val="accent5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>
                <a:solidFill>
                  <a:prstClr val="black"/>
                </a:solidFill>
              </a:endParaRPr>
            </a:p>
          </p:txBody>
        </p:sp>
      </p:grp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2395B492-16B8-ABDA-3FB6-61744EA1FF47}"/>
              </a:ext>
            </a:extLst>
          </p:cNvPr>
          <p:cNvSpPr txBox="1">
            <a:spLocks/>
          </p:cNvSpPr>
          <p:nvPr/>
        </p:nvSpPr>
        <p:spPr>
          <a:xfrm>
            <a:off x="3702521" y="5339602"/>
            <a:ext cx="1687275" cy="2215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sz="1400" b="1" kern="1200">
                <a:solidFill>
                  <a:srgbClr val="0D97FF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>
                <a:solidFill>
                  <a:prstClr val="black"/>
                </a:solidFill>
                <a:latin typeface="+mn-lt"/>
              </a:rPr>
              <a:t>Header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8FF2ACF-3DDB-C649-7343-477BB08BC649}"/>
              </a:ext>
            </a:extLst>
          </p:cNvPr>
          <p:cNvSpPr txBox="1">
            <a:spLocks/>
          </p:cNvSpPr>
          <p:nvPr/>
        </p:nvSpPr>
        <p:spPr>
          <a:xfrm>
            <a:off x="3702523" y="5636083"/>
            <a:ext cx="1687275" cy="5168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sz="11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prstClr val="black"/>
                </a:solidFill>
                <a:latin typeface="+mn-lt"/>
              </a:rPr>
              <a:t>This is a sample text.  Replace with </a:t>
            </a:r>
            <a:br>
              <a:rPr lang="en-US" sz="1200" dirty="0">
                <a:solidFill>
                  <a:prstClr val="black"/>
                </a:solidFill>
                <a:latin typeface="+mn-lt"/>
              </a:rPr>
            </a:br>
            <a:r>
              <a:rPr lang="en-US" sz="1200" dirty="0">
                <a:solidFill>
                  <a:prstClr val="black"/>
                </a:solidFill>
                <a:latin typeface="+mn-lt"/>
              </a:rPr>
              <a:t>your own text here. 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1AAEC90A-B92F-16ED-0CE4-9B256C0CBC3B}"/>
              </a:ext>
            </a:extLst>
          </p:cNvPr>
          <p:cNvSpPr txBox="1">
            <a:spLocks/>
          </p:cNvSpPr>
          <p:nvPr/>
        </p:nvSpPr>
        <p:spPr>
          <a:xfrm>
            <a:off x="5609005" y="1232673"/>
            <a:ext cx="1687275" cy="2215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sz="1400" b="1" kern="1200">
                <a:solidFill>
                  <a:srgbClr val="0D97FF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>
                <a:solidFill>
                  <a:prstClr val="black"/>
                </a:solidFill>
                <a:latin typeface="+mn-lt"/>
              </a:rPr>
              <a:t>Header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3427D510-3D40-1701-00D2-26DB3EA20D10}"/>
              </a:ext>
            </a:extLst>
          </p:cNvPr>
          <p:cNvSpPr txBox="1">
            <a:spLocks/>
          </p:cNvSpPr>
          <p:nvPr/>
        </p:nvSpPr>
        <p:spPr>
          <a:xfrm>
            <a:off x="5609006" y="1529155"/>
            <a:ext cx="1687275" cy="5168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sz="11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prstClr val="black"/>
                </a:solidFill>
                <a:latin typeface="+mn-lt"/>
              </a:rPr>
              <a:t>This is a sample text.  Replace with </a:t>
            </a:r>
            <a:br>
              <a:rPr lang="en-US" sz="1200" dirty="0">
                <a:solidFill>
                  <a:prstClr val="black"/>
                </a:solidFill>
                <a:latin typeface="+mn-lt"/>
              </a:rPr>
            </a:br>
            <a:r>
              <a:rPr lang="en-US" sz="1200" dirty="0">
                <a:solidFill>
                  <a:prstClr val="black"/>
                </a:solidFill>
                <a:latin typeface="+mn-lt"/>
              </a:rPr>
              <a:t>your own text here. 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D377DAA8-47A9-8B96-FC5A-06EA41D4EE6E}"/>
              </a:ext>
            </a:extLst>
          </p:cNvPr>
          <p:cNvSpPr txBox="1">
            <a:spLocks/>
          </p:cNvSpPr>
          <p:nvPr/>
        </p:nvSpPr>
        <p:spPr>
          <a:xfrm>
            <a:off x="7477386" y="5258948"/>
            <a:ext cx="1687275" cy="2215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sz="1400" b="1" kern="1200">
                <a:solidFill>
                  <a:srgbClr val="0D97FF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>
                <a:solidFill>
                  <a:prstClr val="black"/>
                </a:solidFill>
                <a:latin typeface="+mn-lt"/>
              </a:rPr>
              <a:t>Header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CCDA55A9-E5D5-00ED-1AE4-59CAEF9F7400}"/>
              </a:ext>
            </a:extLst>
          </p:cNvPr>
          <p:cNvSpPr txBox="1">
            <a:spLocks/>
          </p:cNvSpPr>
          <p:nvPr/>
        </p:nvSpPr>
        <p:spPr>
          <a:xfrm>
            <a:off x="7477387" y="5555430"/>
            <a:ext cx="1687275" cy="5168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sz="11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prstClr val="black"/>
                </a:solidFill>
                <a:latin typeface="+mn-lt"/>
              </a:rPr>
              <a:t>This is a sample text.  Replace with </a:t>
            </a:r>
            <a:br>
              <a:rPr lang="en-US" sz="1200" dirty="0">
                <a:solidFill>
                  <a:prstClr val="black"/>
                </a:solidFill>
                <a:latin typeface="+mn-lt"/>
              </a:rPr>
            </a:br>
            <a:r>
              <a:rPr lang="en-US" sz="1200" dirty="0">
                <a:solidFill>
                  <a:prstClr val="black"/>
                </a:solidFill>
                <a:latin typeface="+mn-lt"/>
              </a:rPr>
              <a:t>your own text here. 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1325A0E-05CA-B749-91F7-8F5E8180FB45}"/>
              </a:ext>
            </a:extLst>
          </p:cNvPr>
          <p:cNvSpPr txBox="1">
            <a:spLocks/>
          </p:cNvSpPr>
          <p:nvPr/>
        </p:nvSpPr>
        <p:spPr>
          <a:xfrm>
            <a:off x="9322716" y="1250861"/>
            <a:ext cx="1687275" cy="4816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sz="1400" b="1" kern="1200">
                <a:solidFill>
                  <a:srgbClr val="0D97FF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>
                <a:solidFill>
                  <a:prstClr val="black"/>
                </a:solidFill>
                <a:latin typeface="+mn-lt"/>
              </a:rPr>
              <a:t>Header</a:t>
            </a:r>
          </a:p>
          <a:p>
            <a:endParaRPr lang="en-US" sz="1600" dirty="0">
              <a:solidFill>
                <a:prstClr val="black"/>
              </a:solidFill>
              <a:latin typeface="+mn-lt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C0BCD93D-E479-4447-4646-A543B3151FD0}"/>
              </a:ext>
            </a:extLst>
          </p:cNvPr>
          <p:cNvSpPr txBox="1">
            <a:spLocks/>
          </p:cNvSpPr>
          <p:nvPr/>
        </p:nvSpPr>
        <p:spPr>
          <a:xfrm>
            <a:off x="9322717" y="1547343"/>
            <a:ext cx="1687275" cy="5168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sz="11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prstClr val="black"/>
                </a:solidFill>
                <a:latin typeface="+mn-lt"/>
              </a:rPr>
              <a:t>This is a sample text.  Replace with </a:t>
            </a:r>
            <a:br>
              <a:rPr lang="en-US" sz="1200" dirty="0">
                <a:solidFill>
                  <a:prstClr val="black"/>
                </a:solidFill>
                <a:latin typeface="+mn-lt"/>
              </a:rPr>
            </a:br>
            <a:r>
              <a:rPr lang="en-US" sz="1200" dirty="0">
                <a:solidFill>
                  <a:prstClr val="black"/>
                </a:solidFill>
                <a:latin typeface="+mn-lt"/>
              </a:rPr>
              <a:t>your own text here. 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451426BA-1DC8-C052-8648-A776C7CC1EA2}"/>
              </a:ext>
            </a:extLst>
          </p:cNvPr>
          <p:cNvSpPr txBox="1">
            <a:spLocks/>
          </p:cNvSpPr>
          <p:nvPr/>
        </p:nvSpPr>
        <p:spPr>
          <a:xfrm>
            <a:off x="1795109" y="1244883"/>
            <a:ext cx="1687275" cy="2215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sz="1400" b="1" kern="1200">
                <a:solidFill>
                  <a:srgbClr val="0D97FF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>
                <a:solidFill>
                  <a:prstClr val="black"/>
                </a:solidFill>
                <a:latin typeface="+mn-lt"/>
              </a:rPr>
              <a:t>Header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DC6AE022-69C1-71AE-52D0-452EE429C33E}"/>
              </a:ext>
            </a:extLst>
          </p:cNvPr>
          <p:cNvSpPr txBox="1">
            <a:spLocks/>
          </p:cNvSpPr>
          <p:nvPr/>
        </p:nvSpPr>
        <p:spPr>
          <a:xfrm>
            <a:off x="1795111" y="1541365"/>
            <a:ext cx="1687275" cy="5168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sz="11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prstClr val="black"/>
                </a:solidFill>
                <a:latin typeface="+mn-lt"/>
              </a:rPr>
              <a:t>This is a sample text.  Replace with </a:t>
            </a:r>
            <a:br>
              <a:rPr lang="en-US" sz="1200" dirty="0">
                <a:solidFill>
                  <a:prstClr val="black"/>
                </a:solidFill>
                <a:latin typeface="+mn-lt"/>
              </a:rPr>
            </a:br>
            <a:r>
              <a:rPr lang="en-US" sz="1200" dirty="0">
                <a:solidFill>
                  <a:prstClr val="black"/>
                </a:solidFill>
                <a:latin typeface="+mn-lt"/>
              </a:rPr>
              <a:t>your own text here. </a:t>
            </a:r>
          </a:p>
        </p:txBody>
      </p:sp>
    </p:spTree>
    <p:extLst>
      <p:ext uri="{BB962C8B-B14F-4D97-AF65-F5344CB8AC3E}">
        <p14:creationId xmlns:p14="http://schemas.microsoft.com/office/powerpoint/2010/main" val="2816804397"/>
      </p:ext>
    </p:extLst>
  </p:cSld>
  <p:clrMapOvr>
    <a:masterClrMapping/>
  </p:clrMapOvr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E4B1E2-9CC9-B433-1869-F9E4874C29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think-cell data - do not delete" hidden="1">
            <a:extLst>
              <a:ext uri="{FF2B5EF4-FFF2-40B4-BE49-F238E27FC236}">
                <a16:creationId xmlns:a16="http://schemas.microsoft.com/office/drawing/2014/main" id="{DB26A0BF-8029-0107-7E9D-48DA60F478E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B26A0BF-8029-0107-7E9D-48DA60F478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57BA2A8-3C9E-065F-F5B6-14552442BD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Vis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F5F6D6F-66AC-45BC-9435-8409F66F27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03</a:t>
            </a:fld>
            <a:endParaRPr lang="en-US" dirty="0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24C26D20-975B-D2A6-B0BF-B5BA259FF9AF}"/>
              </a:ext>
            </a:extLst>
          </p:cNvPr>
          <p:cNvSpPr/>
          <p:nvPr/>
        </p:nvSpPr>
        <p:spPr>
          <a:xfrm>
            <a:off x="1847198" y="1239576"/>
            <a:ext cx="1368152" cy="1368152"/>
          </a:xfrm>
          <a:prstGeom prst="ellipse">
            <a:avLst/>
          </a:prstGeom>
          <a:solidFill>
            <a:schemeClr val="accent1"/>
          </a:solidFill>
          <a:ln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456EA76A-0FFC-1588-9F45-FACAFB83A4EF}"/>
              </a:ext>
            </a:extLst>
          </p:cNvPr>
          <p:cNvSpPr/>
          <p:nvPr/>
        </p:nvSpPr>
        <p:spPr>
          <a:xfrm>
            <a:off x="1847198" y="3183792"/>
            <a:ext cx="1368152" cy="1368152"/>
          </a:xfrm>
          <a:prstGeom prst="ellipse">
            <a:avLst/>
          </a:prstGeom>
          <a:solidFill>
            <a:schemeClr val="accent2"/>
          </a:solidFill>
          <a:ln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DE516823-231B-85C3-8CCA-301F66330166}"/>
              </a:ext>
            </a:extLst>
          </p:cNvPr>
          <p:cNvSpPr/>
          <p:nvPr/>
        </p:nvSpPr>
        <p:spPr>
          <a:xfrm>
            <a:off x="1847198" y="5128008"/>
            <a:ext cx="1368152" cy="1368152"/>
          </a:xfrm>
          <a:prstGeom prst="ellipse">
            <a:avLst/>
          </a:prstGeom>
          <a:solidFill>
            <a:schemeClr val="accent3"/>
          </a:solidFill>
          <a:ln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8" name="Rounded Rectangle 6">
            <a:extLst>
              <a:ext uri="{FF2B5EF4-FFF2-40B4-BE49-F238E27FC236}">
                <a16:creationId xmlns:a16="http://schemas.microsoft.com/office/drawing/2014/main" id="{682FA677-CF35-531A-EE1E-DD411E4A8AC8}"/>
              </a:ext>
            </a:extLst>
          </p:cNvPr>
          <p:cNvSpPr/>
          <p:nvPr/>
        </p:nvSpPr>
        <p:spPr>
          <a:xfrm>
            <a:off x="3402190" y="1268760"/>
            <a:ext cx="7200220" cy="1296144"/>
          </a:xfrm>
          <a:prstGeom prst="roundRect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IN" b="1" dirty="0"/>
              <a:t>VISION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F7EF551-5CA6-2239-E4BA-479FB48D146E}"/>
              </a:ext>
            </a:extLst>
          </p:cNvPr>
          <p:cNvSpPr txBox="1"/>
          <p:nvPr/>
        </p:nvSpPr>
        <p:spPr>
          <a:xfrm>
            <a:off x="3525130" y="1833452"/>
            <a:ext cx="600018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200" dirty="0">
                <a:solidFill>
                  <a:schemeClr val="bg1"/>
                </a:solidFill>
                <a:cs typeface="Calibri" pitchFamily="34" charset="0"/>
              </a:rPr>
              <a:t>Insert text</a:t>
            </a:r>
            <a:endParaRPr lang="en-US" sz="1200" dirty="0">
              <a:solidFill>
                <a:schemeClr val="bg1"/>
              </a:solidFill>
              <a:cs typeface="Calibri" pitchFamily="34" charset="0"/>
            </a:endParaRPr>
          </a:p>
        </p:txBody>
      </p:sp>
      <p:sp>
        <p:nvSpPr>
          <p:cNvPr id="13" name="Rounded Rectangle 13">
            <a:extLst>
              <a:ext uri="{FF2B5EF4-FFF2-40B4-BE49-F238E27FC236}">
                <a16:creationId xmlns:a16="http://schemas.microsoft.com/office/drawing/2014/main" id="{86EEA410-5FEF-514B-0BEB-9A5A9D0D42F4}"/>
              </a:ext>
            </a:extLst>
          </p:cNvPr>
          <p:cNvSpPr/>
          <p:nvPr/>
        </p:nvSpPr>
        <p:spPr>
          <a:xfrm>
            <a:off x="3402190" y="3212976"/>
            <a:ext cx="7200220" cy="1296144"/>
          </a:xfrm>
          <a:prstGeom prst="roundRect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IN" b="1" dirty="0"/>
              <a:t>MISSION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4D6CA46-AE87-5BD1-537B-7C3CC1706A6F}"/>
              </a:ext>
            </a:extLst>
          </p:cNvPr>
          <p:cNvSpPr txBox="1"/>
          <p:nvPr/>
        </p:nvSpPr>
        <p:spPr>
          <a:xfrm>
            <a:off x="3525130" y="3777668"/>
            <a:ext cx="600018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200" dirty="0">
                <a:solidFill>
                  <a:schemeClr val="bg1"/>
                </a:solidFill>
                <a:cs typeface="Calibri" pitchFamily="34" charset="0"/>
              </a:rPr>
              <a:t>Insert text</a:t>
            </a:r>
            <a:endParaRPr lang="en-US" sz="1200" dirty="0">
              <a:solidFill>
                <a:schemeClr val="bg1"/>
              </a:solidFill>
              <a:cs typeface="Calibri" pitchFamily="34" charset="0"/>
            </a:endParaRPr>
          </a:p>
        </p:txBody>
      </p:sp>
      <p:sp>
        <p:nvSpPr>
          <p:cNvPr id="18" name="Rounded Rectangle 18">
            <a:extLst>
              <a:ext uri="{FF2B5EF4-FFF2-40B4-BE49-F238E27FC236}">
                <a16:creationId xmlns:a16="http://schemas.microsoft.com/office/drawing/2014/main" id="{77A13FC6-31A6-DC05-5B3A-CAF9E064E8A0}"/>
              </a:ext>
            </a:extLst>
          </p:cNvPr>
          <p:cNvSpPr/>
          <p:nvPr/>
        </p:nvSpPr>
        <p:spPr>
          <a:xfrm>
            <a:off x="3402190" y="5157192"/>
            <a:ext cx="7200220" cy="1296144"/>
          </a:xfrm>
          <a:prstGeom prst="roundRect">
            <a:avLst/>
          </a:prstGeom>
          <a:solidFill>
            <a:schemeClr val="accent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IN" b="1" dirty="0"/>
              <a:t>GOAL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5063238-CC35-0518-AC50-2A04209C98BB}"/>
              </a:ext>
            </a:extLst>
          </p:cNvPr>
          <p:cNvSpPr txBox="1"/>
          <p:nvPr/>
        </p:nvSpPr>
        <p:spPr>
          <a:xfrm>
            <a:off x="3525130" y="5721884"/>
            <a:ext cx="600018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200" dirty="0">
                <a:solidFill>
                  <a:schemeClr val="bg1"/>
                </a:solidFill>
                <a:cs typeface="Calibri" pitchFamily="34" charset="0"/>
              </a:rPr>
              <a:t>Insert text</a:t>
            </a:r>
            <a:endParaRPr lang="en-US" sz="1200" dirty="0">
              <a:solidFill>
                <a:schemeClr val="bg1"/>
              </a:solidFill>
              <a:cs typeface="Calibri" pitchFamily="34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FC7A8E97-A22C-45FD-1EDA-D241A8849EA6}"/>
              </a:ext>
            </a:extLst>
          </p:cNvPr>
          <p:cNvGrpSpPr/>
          <p:nvPr/>
        </p:nvGrpSpPr>
        <p:grpSpPr>
          <a:xfrm>
            <a:off x="1995817" y="1493009"/>
            <a:ext cx="1110650" cy="814951"/>
            <a:chOff x="2267744" y="933103"/>
            <a:chExt cx="1110650" cy="814951"/>
          </a:xfrm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5F71AD51-9551-B9FA-0C45-14F564484038}"/>
                </a:ext>
              </a:extLst>
            </p:cNvPr>
            <p:cNvSpPr/>
            <p:nvPr/>
          </p:nvSpPr>
          <p:spPr>
            <a:xfrm>
              <a:off x="2627784" y="1124744"/>
              <a:ext cx="432048" cy="43204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01BF8E45-F41C-1263-14D4-B93DF03AAA9E}"/>
                </a:ext>
              </a:extLst>
            </p:cNvPr>
            <p:cNvGrpSpPr/>
            <p:nvPr/>
          </p:nvGrpSpPr>
          <p:grpSpPr>
            <a:xfrm>
              <a:off x="2267744" y="933103"/>
              <a:ext cx="1110650" cy="814951"/>
              <a:chOff x="7084660" y="1237584"/>
              <a:chExt cx="1110650" cy="1111296"/>
            </a:xfrm>
          </p:grpSpPr>
          <p:sp>
            <p:nvSpPr>
              <p:cNvPr id="23" name="Arc 22">
                <a:extLst>
                  <a:ext uri="{FF2B5EF4-FFF2-40B4-BE49-F238E27FC236}">
                    <a16:creationId xmlns:a16="http://schemas.microsoft.com/office/drawing/2014/main" id="{70BD0A26-9559-3B38-EC9F-A7D2E5FBB297}"/>
                  </a:ext>
                </a:extLst>
              </p:cNvPr>
              <p:cNvSpPr/>
              <p:nvPr/>
            </p:nvSpPr>
            <p:spPr>
              <a:xfrm>
                <a:off x="7092280" y="1484785"/>
                <a:ext cx="1080120" cy="864095"/>
              </a:xfrm>
              <a:prstGeom prst="arc">
                <a:avLst>
                  <a:gd name="adj1" fmla="val 11318442"/>
                  <a:gd name="adj2" fmla="val 21097728"/>
                </a:avLst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  <p:sp>
            <p:nvSpPr>
              <p:cNvPr id="24" name="Arc 23">
                <a:extLst>
                  <a:ext uri="{FF2B5EF4-FFF2-40B4-BE49-F238E27FC236}">
                    <a16:creationId xmlns:a16="http://schemas.microsoft.com/office/drawing/2014/main" id="{C737E5F8-83B7-70AE-0218-9C9721105D2C}"/>
                  </a:ext>
                </a:extLst>
              </p:cNvPr>
              <p:cNvSpPr/>
              <p:nvPr/>
            </p:nvSpPr>
            <p:spPr>
              <a:xfrm rot="10800000">
                <a:off x="7084660" y="1237584"/>
                <a:ext cx="1110650" cy="864095"/>
              </a:xfrm>
              <a:prstGeom prst="arc">
                <a:avLst>
                  <a:gd name="adj1" fmla="val 11611316"/>
                  <a:gd name="adj2" fmla="val 20914949"/>
                </a:avLst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</p:grp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48120A67-0CCF-AC7F-8E59-2C3719E0BDCA}"/>
              </a:ext>
            </a:extLst>
          </p:cNvPr>
          <p:cNvGrpSpPr/>
          <p:nvPr/>
        </p:nvGrpSpPr>
        <p:grpSpPr>
          <a:xfrm>
            <a:off x="2063222" y="3392995"/>
            <a:ext cx="936104" cy="936104"/>
            <a:chOff x="2335560" y="2896369"/>
            <a:chExt cx="936104" cy="936104"/>
          </a:xfrm>
        </p:grpSpPr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45C47924-5505-59B1-1A16-EA244B351F4B}"/>
                </a:ext>
              </a:extLst>
            </p:cNvPr>
            <p:cNvGrpSpPr/>
            <p:nvPr/>
          </p:nvGrpSpPr>
          <p:grpSpPr>
            <a:xfrm>
              <a:off x="2373660" y="2934469"/>
              <a:ext cx="864096" cy="864096"/>
              <a:chOff x="7596336" y="2708920"/>
              <a:chExt cx="864096" cy="864096"/>
            </a:xfrm>
          </p:grpSpPr>
          <p:sp>
            <p:nvSpPr>
              <p:cNvPr id="30" name="Oval 29">
                <a:extLst>
                  <a:ext uri="{FF2B5EF4-FFF2-40B4-BE49-F238E27FC236}">
                    <a16:creationId xmlns:a16="http://schemas.microsoft.com/office/drawing/2014/main" id="{7BF6E00C-415C-4BB0-D7FA-06B15F424E42}"/>
                  </a:ext>
                </a:extLst>
              </p:cNvPr>
              <p:cNvSpPr/>
              <p:nvPr/>
            </p:nvSpPr>
            <p:spPr>
              <a:xfrm>
                <a:off x="7596336" y="2708920"/>
                <a:ext cx="864096" cy="864096"/>
              </a:xfrm>
              <a:prstGeom prst="ellipse">
                <a:avLst/>
              </a:pr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  <p:sp>
            <p:nvSpPr>
              <p:cNvPr id="31" name="Oval 30">
                <a:extLst>
                  <a:ext uri="{FF2B5EF4-FFF2-40B4-BE49-F238E27FC236}">
                    <a16:creationId xmlns:a16="http://schemas.microsoft.com/office/drawing/2014/main" id="{97BD99F8-339B-4663-83FE-A8B0BDC9019E}"/>
                  </a:ext>
                </a:extLst>
              </p:cNvPr>
              <p:cNvSpPr/>
              <p:nvPr/>
            </p:nvSpPr>
            <p:spPr>
              <a:xfrm>
                <a:off x="7767042" y="2879626"/>
                <a:ext cx="522684" cy="522684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</p:grp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0527706F-541C-EF52-58E4-852EF368A0E2}"/>
                </a:ext>
              </a:extLst>
            </p:cNvPr>
            <p:cNvGrpSpPr/>
            <p:nvPr/>
          </p:nvGrpSpPr>
          <p:grpSpPr>
            <a:xfrm>
              <a:off x="2335560" y="2896369"/>
              <a:ext cx="936104" cy="936104"/>
              <a:chOff x="7020272" y="2132856"/>
              <a:chExt cx="936104" cy="936104"/>
            </a:xfrm>
          </p:grpSpPr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B9EB22A3-E115-D492-666D-4274DD78093F}"/>
                  </a:ext>
                </a:extLst>
              </p:cNvPr>
              <p:cNvCxnSpPr/>
              <p:nvPr/>
            </p:nvCxnSpPr>
            <p:spPr>
              <a:xfrm>
                <a:off x="7499945" y="2132856"/>
                <a:ext cx="0" cy="936104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5D40E841-9712-44DF-ED78-E797B154C401}"/>
                  </a:ext>
                </a:extLst>
              </p:cNvPr>
              <p:cNvCxnSpPr/>
              <p:nvPr/>
            </p:nvCxnSpPr>
            <p:spPr>
              <a:xfrm rot="16200000">
                <a:off x="7488324" y="2096853"/>
                <a:ext cx="0" cy="936104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2" name="Freeform 18">
            <a:extLst>
              <a:ext uri="{FF2B5EF4-FFF2-40B4-BE49-F238E27FC236}">
                <a16:creationId xmlns:a16="http://schemas.microsoft.com/office/drawing/2014/main" id="{1B5F33B6-67E7-3D3C-CA41-C076F5DBCB22}"/>
              </a:ext>
            </a:extLst>
          </p:cNvPr>
          <p:cNvSpPr>
            <a:spLocks noEditPoints="1"/>
          </p:cNvSpPr>
          <p:nvPr/>
        </p:nvSpPr>
        <p:spPr bwMode="auto">
          <a:xfrm>
            <a:off x="2216737" y="5508387"/>
            <a:ext cx="622708" cy="702932"/>
          </a:xfrm>
          <a:custGeom>
            <a:avLst/>
            <a:gdLst>
              <a:gd name="T0" fmla="*/ 1190 w 1304"/>
              <a:gd name="T1" fmla="*/ 792 h 1472"/>
              <a:gd name="T2" fmla="*/ 954 w 1304"/>
              <a:gd name="T3" fmla="*/ 790 h 1472"/>
              <a:gd name="T4" fmla="*/ 944 w 1304"/>
              <a:gd name="T5" fmla="*/ 838 h 1472"/>
              <a:gd name="T6" fmla="*/ 928 w 1304"/>
              <a:gd name="T7" fmla="*/ 884 h 1472"/>
              <a:gd name="T8" fmla="*/ 904 w 1304"/>
              <a:gd name="T9" fmla="*/ 924 h 1472"/>
              <a:gd name="T10" fmla="*/ 876 w 1304"/>
              <a:gd name="T11" fmla="*/ 962 h 1472"/>
              <a:gd name="T12" fmla="*/ 842 w 1304"/>
              <a:gd name="T13" fmla="*/ 994 h 1472"/>
              <a:gd name="T14" fmla="*/ 802 w 1304"/>
              <a:gd name="T15" fmla="*/ 1020 h 1472"/>
              <a:gd name="T16" fmla="*/ 760 w 1304"/>
              <a:gd name="T17" fmla="*/ 1042 h 1472"/>
              <a:gd name="T18" fmla="*/ 714 w 1304"/>
              <a:gd name="T19" fmla="*/ 1054 h 1472"/>
              <a:gd name="T20" fmla="*/ 716 w 1304"/>
              <a:gd name="T21" fmla="*/ 1104 h 1472"/>
              <a:gd name="T22" fmla="*/ 716 w 1304"/>
              <a:gd name="T23" fmla="*/ 1156 h 1472"/>
              <a:gd name="T24" fmla="*/ 708 w 1304"/>
              <a:gd name="T25" fmla="*/ 1306 h 1472"/>
              <a:gd name="T26" fmla="*/ 698 w 1304"/>
              <a:gd name="T27" fmla="*/ 1366 h 1472"/>
              <a:gd name="T28" fmla="*/ 684 w 1304"/>
              <a:gd name="T29" fmla="*/ 1414 h 1472"/>
              <a:gd name="T30" fmla="*/ 812 w 1304"/>
              <a:gd name="T31" fmla="*/ 1472 h 1472"/>
              <a:gd name="T32" fmla="*/ 608 w 1304"/>
              <a:gd name="T33" fmla="*/ 1414 h 1472"/>
              <a:gd name="T34" fmla="*/ 614 w 1304"/>
              <a:gd name="T35" fmla="*/ 1414 h 1472"/>
              <a:gd name="T36" fmla="*/ 600 w 1304"/>
              <a:gd name="T37" fmla="*/ 1366 h 1472"/>
              <a:gd name="T38" fmla="*/ 590 w 1304"/>
              <a:gd name="T39" fmla="*/ 1306 h 1472"/>
              <a:gd name="T40" fmla="*/ 582 w 1304"/>
              <a:gd name="T41" fmla="*/ 1156 h 1472"/>
              <a:gd name="T42" fmla="*/ 582 w 1304"/>
              <a:gd name="T43" fmla="*/ 1104 h 1472"/>
              <a:gd name="T44" fmla="*/ 586 w 1304"/>
              <a:gd name="T45" fmla="*/ 1054 h 1472"/>
              <a:gd name="T46" fmla="*/ 540 w 1304"/>
              <a:gd name="T47" fmla="*/ 1040 h 1472"/>
              <a:gd name="T48" fmla="*/ 496 w 1304"/>
              <a:gd name="T49" fmla="*/ 1020 h 1472"/>
              <a:gd name="T50" fmla="*/ 458 w 1304"/>
              <a:gd name="T51" fmla="*/ 994 h 1472"/>
              <a:gd name="T52" fmla="*/ 424 w 1304"/>
              <a:gd name="T53" fmla="*/ 962 h 1472"/>
              <a:gd name="T54" fmla="*/ 396 w 1304"/>
              <a:gd name="T55" fmla="*/ 924 h 1472"/>
              <a:gd name="T56" fmla="*/ 372 w 1304"/>
              <a:gd name="T57" fmla="*/ 882 h 1472"/>
              <a:gd name="T58" fmla="*/ 356 w 1304"/>
              <a:gd name="T59" fmla="*/ 838 h 1472"/>
              <a:gd name="T60" fmla="*/ 348 w 1304"/>
              <a:gd name="T61" fmla="*/ 790 h 1472"/>
              <a:gd name="T62" fmla="*/ 0 w 1304"/>
              <a:gd name="T63" fmla="*/ 254 h 1472"/>
              <a:gd name="T64" fmla="*/ 268 w 1304"/>
              <a:gd name="T65" fmla="*/ 0 h 1472"/>
              <a:gd name="T66" fmla="*/ 1004 w 1304"/>
              <a:gd name="T67" fmla="*/ 254 h 1472"/>
              <a:gd name="T68" fmla="*/ 1304 w 1304"/>
              <a:gd name="T69" fmla="*/ 254 h 1472"/>
              <a:gd name="T70" fmla="*/ 64 w 1304"/>
              <a:gd name="T71" fmla="*/ 306 h 1472"/>
              <a:gd name="T72" fmla="*/ 344 w 1304"/>
              <a:gd name="T73" fmla="*/ 706 h 1472"/>
              <a:gd name="T74" fmla="*/ 298 w 1304"/>
              <a:gd name="T75" fmla="*/ 316 h 1472"/>
              <a:gd name="T76" fmla="*/ 1112 w 1304"/>
              <a:gd name="T77" fmla="*/ 706 h 1472"/>
              <a:gd name="T78" fmla="*/ 1002 w 1304"/>
              <a:gd name="T79" fmla="*/ 316 h 1472"/>
              <a:gd name="T80" fmla="*/ 954 w 1304"/>
              <a:gd name="T81" fmla="*/ 706 h 14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304" h="1472">
                <a:moveTo>
                  <a:pt x="1304" y="254"/>
                </a:moveTo>
                <a:lnTo>
                  <a:pt x="1190" y="792"/>
                </a:lnTo>
                <a:lnTo>
                  <a:pt x="954" y="790"/>
                </a:lnTo>
                <a:lnTo>
                  <a:pt x="954" y="790"/>
                </a:lnTo>
                <a:lnTo>
                  <a:pt x="950" y="814"/>
                </a:lnTo>
                <a:lnTo>
                  <a:pt x="944" y="838"/>
                </a:lnTo>
                <a:lnTo>
                  <a:pt x="936" y="862"/>
                </a:lnTo>
                <a:lnTo>
                  <a:pt x="928" y="884"/>
                </a:lnTo>
                <a:lnTo>
                  <a:pt x="916" y="904"/>
                </a:lnTo>
                <a:lnTo>
                  <a:pt x="904" y="924"/>
                </a:lnTo>
                <a:lnTo>
                  <a:pt x="890" y="944"/>
                </a:lnTo>
                <a:lnTo>
                  <a:pt x="876" y="962"/>
                </a:lnTo>
                <a:lnTo>
                  <a:pt x="858" y="978"/>
                </a:lnTo>
                <a:lnTo>
                  <a:pt x="842" y="994"/>
                </a:lnTo>
                <a:lnTo>
                  <a:pt x="822" y="1008"/>
                </a:lnTo>
                <a:lnTo>
                  <a:pt x="802" y="1020"/>
                </a:lnTo>
                <a:lnTo>
                  <a:pt x="782" y="1032"/>
                </a:lnTo>
                <a:lnTo>
                  <a:pt x="760" y="1042"/>
                </a:lnTo>
                <a:lnTo>
                  <a:pt x="736" y="1048"/>
                </a:lnTo>
                <a:lnTo>
                  <a:pt x="714" y="1054"/>
                </a:lnTo>
                <a:lnTo>
                  <a:pt x="714" y="1054"/>
                </a:lnTo>
                <a:lnTo>
                  <a:pt x="716" y="1104"/>
                </a:lnTo>
                <a:lnTo>
                  <a:pt x="716" y="1156"/>
                </a:lnTo>
                <a:lnTo>
                  <a:pt x="716" y="1156"/>
                </a:lnTo>
                <a:lnTo>
                  <a:pt x="714" y="1234"/>
                </a:lnTo>
                <a:lnTo>
                  <a:pt x="708" y="1306"/>
                </a:lnTo>
                <a:lnTo>
                  <a:pt x="704" y="1338"/>
                </a:lnTo>
                <a:lnTo>
                  <a:pt x="698" y="1366"/>
                </a:lnTo>
                <a:lnTo>
                  <a:pt x="692" y="1392"/>
                </a:lnTo>
                <a:lnTo>
                  <a:pt x="684" y="1414"/>
                </a:lnTo>
                <a:lnTo>
                  <a:pt x="688" y="1414"/>
                </a:lnTo>
                <a:lnTo>
                  <a:pt x="812" y="1472"/>
                </a:lnTo>
                <a:lnTo>
                  <a:pt x="486" y="1472"/>
                </a:lnTo>
                <a:lnTo>
                  <a:pt x="608" y="1414"/>
                </a:lnTo>
                <a:lnTo>
                  <a:pt x="614" y="1414"/>
                </a:lnTo>
                <a:lnTo>
                  <a:pt x="614" y="1414"/>
                </a:lnTo>
                <a:lnTo>
                  <a:pt x="606" y="1392"/>
                </a:lnTo>
                <a:lnTo>
                  <a:pt x="600" y="1366"/>
                </a:lnTo>
                <a:lnTo>
                  <a:pt x="594" y="1338"/>
                </a:lnTo>
                <a:lnTo>
                  <a:pt x="590" y="1306"/>
                </a:lnTo>
                <a:lnTo>
                  <a:pt x="584" y="1234"/>
                </a:lnTo>
                <a:lnTo>
                  <a:pt x="582" y="1156"/>
                </a:lnTo>
                <a:lnTo>
                  <a:pt x="582" y="1156"/>
                </a:lnTo>
                <a:lnTo>
                  <a:pt x="582" y="1104"/>
                </a:lnTo>
                <a:lnTo>
                  <a:pt x="586" y="1054"/>
                </a:lnTo>
                <a:lnTo>
                  <a:pt x="586" y="1054"/>
                </a:lnTo>
                <a:lnTo>
                  <a:pt x="562" y="1048"/>
                </a:lnTo>
                <a:lnTo>
                  <a:pt x="540" y="1040"/>
                </a:lnTo>
                <a:lnTo>
                  <a:pt x="518" y="1030"/>
                </a:lnTo>
                <a:lnTo>
                  <a:pt x="496" y="1020"/>
                </a:lnTo>
                <a:lnTo>
                  <a:pt x="478" y="1008"/>
                </a:lnTo>
                <a:lnTo>
                  <a:pt x="458" y="994"/>
                </a:lnTo>
                <a:lnTo>
                  <a:pt x="440" y="978"/>
                </a:lnTo>
                <a:lnTo>
                  <a:pt x="424" y="962"/>
                </a:lnTo>
                <a:lnTo>
                  <a:pt x="410" y="944"/>
                </a:lnTo>
                <a:lnTo>
                  <a:pt x="396" y="924"/>
                </a:lnTo>
                <a:lnTo>
                  <a:pt x="384" y="904"/>
                </a:lnTo>
                <a:lnTo>
                  <a:pt x="372" y="882"/>
                </a:lnTo>
                <a:lnTo>
                  <a:pt x="364" y="862"/>
                </a:lnTo>
                <a:lnTo>
                  <a:pt x="356" y="838"/>
                </a:lnTo>
                <a:lnTo>
                  <a:pt x="350" y="814"/>
                </a:lnTo>
                <a:lnTo>
                  <a:pt x="348" y="790"/>
                </a:lnTo>
                <a:lnTo>
                  <a:pt x="114" y="792"/>
                </a:lnTo>
                <a:lnTo>
                  <a:pt x="0" y="254"/>
                </a:lnTo>
                <a:lnTo>
                  <a:pt x="294" y="254"/>
                </a:lnTo>
                <a:lnTo>
                  <a:pt x="268" y="0"/>
                </a:lnTo>
                <a:lnTo>
                  <a:pt x="1030" y="0"/>
                </a:lnTo>
                <a:lnTo>
                  <a:pt x="1004" y="254"/>
                </a:lnTo>
                <a:lnTo>
                  <a:pt x="1304" y="254"/>
                </a:lnTo>
                <a:lnTo>
                  <a:pt x="1304" y="254"/>
                </a:lnTo>
                <a:close/>
                <a:moveTo>
                  <a:pt x="298" y="316"/>
                </a:moveTo>
                <a:lnTo>
                  <a:pt x="64" y="306"/>
                </a:lnTo>
                <a:lnTo>
                  <a:pt x="188" y="706"/>
                </a:lnTo>
                <a:lnTo>
                  <a:pt x="344" y="706"/>
                </a:lnTo>
                <a:lnTo>
                  <a:pt x="298" y="316"/>
                </a:lnTo>
                <a:lnTo>
                  <a:pt x="298" y="316"/>
                </a:lnTo>
                <a:close/>
                <a:moveTo>
                  <a:pt x="954" y="706"/>
                </a:moveTo>
                <a:lnTo>
                  <a:pt x="1112" y="706"/>
                </a:lnTo>
                <a:lnTo>
                  <a:pt x="1234" y="306"/>
                </a:lnTo>
                <a:lnTo>
                  <a:pt x="1002" y="316"/>
                </a:lnTo>
                <a:lnTo>
                  <a:pt x="954" y="706"/>
                </a:lnTo>
                <a:lnTo>
                  <a:pt x="954" y="70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/>
          </a:p>
        </p:txBody>
      </p:sp>
    </p:spTree>
    <p:extLst>
      <p:ext uri="{BB962C8B-B14F-4D97-AF65-F5344CB8AC3E}">
        <p14:creationId xmlns:p14="http://schemas.microsoft.com/office/powerpoint/2010/main" val="2756835595"/>
      </p:ext>
    </p:extLst>
  </p:cSld>
  <p:clrMapOvr>
    <a:masterClrMapping/>
  </p:clrMapOvr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6BBFB4E-1798-8572-B294-039E322D6D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0FB032D-8253-0982-1F80-48AA78CB53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732898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457B393-065A-63B5-8865-18FD032107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Factor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33076DE-73B7-632E-5EF5-92D6694628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04</a:t>
            </a:fld>
            <a:endParaRPr lang="en-US" dirty="0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E45EDBAF-CDFB-FC20-32B4-EB83E9095C9C}"/>
              </a:ext>
            </a:extLst>
          </p:cNvPr>
          <p:cNvGrpSpPr/>
          <p:nvPr/>
        </p:nvGrpSpPr>
        <p:grpSpPr>
          <a:xfrm>
            <a:off x="831939" y="1648219"/>
            <a:ext cx="10499801" cy="3561562"/>
            <a:chOff x="2123069" y="5811261"/>
            <a:chExt cx="20131509" cy="6828664"/>
          </a:xfrm>
        </p:grpSpPr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6DBE2D95-8487-55D0-F31D-51EB826ADE5F}"/>
                </a:ext>
              </a:extLst>
            </p:cNvPr>
            <p:cNvSpPr/>
            <p:nvPr/>
          </p:nvSpPr>
          <p:spPr>
            <a:xfrm>
              <a:off x="2123069" y="8912823"/>
              <a:ext cx="3727104" cy="372710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57D9AD44-02E5-9555-87D1-7CF39A726F40}"/>
                </a:ext>
              </a:extLst>
            </p:cNvPr>
            <p:cNvSpPr/>
            <p:nvPr/>
          </p:nvSpPr>
          <p:spPr>
            <a:xfrm>
              <a:off x="7561007" y="5811261"/>
              <a:ext cx="3727104" cy="372710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8FFB9DC7-28F2-EC2E-1D05-23AB76681A90}"/>
                </a:ext>
              </a:extLst>
            </p:cNvPr>
            <p:cNvSpPr/>
            <p:nvPr/>
          </p:nvSpPr>
          <p:spPr>
            <a:xfrm>
              <a:off x="13089535" y="8912823"/>
              <a:ext cx="3727104" cy="3727102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1D3CE9AA-B963-75BD-EF71-B6E3866A7024}"/>
                </a:ext>
              </a:extLst>
            </p:cNvPr>
            <p:cNvSpPr/>
            <p:nvPr/>
          </p:nvSpPr>
          <p:spPr>
            <a:xfrm>
              <a:off x="18527474" y="5811261"/>
              <a:ext cx="3727104" cy="3727102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D5D1FD6E-0EEA-2BDF-7344-B7D0ADF27B8B}"/>
              </a:ext>
            </a:extLst>
          </p:cNvPr>
          <p:cNvSpPr txBox="1"/>
          <p:nvPr/>
        </p:nvSpPr>
        <p:spPr>
          <a:xfrm flipH="1">
            <a:off x="419473" y="2575493"/>
            <a:ext cx="27706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Text </a:t>
            </a:r>
            <a:r>
              <a:rPr lang="en-US" sz="14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4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4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4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4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4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4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4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1CEC3127-3241-E6F0-1EFC-045E5FF647AC}"/>
              </a:ext>
            </a:extLst>
          </p:cNvPr>
          <p:cNvSpPr/>
          <p:nvPr/>
        </p:nvSpPr>
        <p:spPr>
          <a:xfrm flipH="1">
            <a:off x="924144" y="2191997"/>
            <a:ext cx="176131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b="1" dirty="0">
                <a:ea typeface="Roboto Medium" panose="02000000000000000000" pitchFamily="2" charset="0"/>
                <a:cs typeface="Poppins" pitchFamily="2" charset="77"/>
              </a:rPr>
              <a:t>Heading</a:t>
            </a:r>
            <a:endParaRPr lang="en-US" sz="5400" b="1" dirty="0">
              <a:ea typeface="Roboto Medium" panose="02000000000000000000" pitchFamily="2" charset="0"/>
              <a:cs typeface="Poppins" pitchFamily="2" charset="77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CD40F61C-8FA3-2798-B828-83E573F4BBE6}"/>
              </a:ext>
            </a:extLst>
          </p:cNvPr>
          <p:cNvSpPr txBox="1"/>
          <p:nvPr/>
        </p:nvSpPr>
        <p:spPr>
          <a:xfrm flipH="1">
            <a:off x="3264643" y="4097308"/>
            <a:ext cx="27706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Text </a:t>
            </a:r>
            <a:r>
              <a:rPr lang="en-US" sz="14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4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4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4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4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4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4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4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717A4324-67E7-DDED-41A5-F711F197F715}"/>
              </a:ext>
            </a:extLst>
          </p:cNvPr>
          <p:cNvSpPr/>
          <p:nvPr/>
        </p:nvSpPr>
        <p:spPr>
          <a:xfrm flipH="1">
            <a:off x="3769314" y="3713812"/>
            <a:ext cx="176131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b="1" dirty="0">
                <a:ea typeface="Roboto Medium" panose="02000000000000000000" pitchFamily="2" charset="0"/>
                <a:cs typeface="Poppins" pitchFamily="2" charset="77"/>
              </a:rPr>
              <a:t>Heading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8F6E880-4163-D6F7-17AC-2AA0A9FFCCB4}"/>
              </a:ext>
            </a:extLst>
          </p:cNvPr>
          <p:cNvSpPr txBox="1"/>
          <p:nvPr/>
        </p:nvSpPr>
        <p:spPr>
          <a:xfrm flipH="1">
            <a:off x="6138233" y="2575493"/>
            <a:ext cx="27706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Text </a:t>
            </a:r>
            <a:r>
              <a:rPr lang="en-US" sz="14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4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4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4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4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4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4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4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3165289-8366-1C79-A731-CC23217EE93F}"/>
              </a:ext>
            </a:extLst>
          </p:cNvPr>
          <p:cNvSpPr/>
          <p:nvPr/>
        </p:nvSpPr>
        <p:spPr>
          <a:xfrm flipH="1">
            <a:off x="6642904" y="2191996"/>
            <a:ext cx="176131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b="1" dirty="0">
                <a:ea typeface="Roboto Medium" panose="02000000000000000000" pitchFamily="2" charset="0"/>
                <a:cs typeface="Poppins" pitchFamily="2" charset="77"/>
              </a:rPr>
              <a:t>Heading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B4E3502-F8BA-ACAB-1EAB-79066DB6206D}"/>
              </a:ext>
            </a:extLst>
          </p:cNvPr>
          <p:cNvSpPr txBox="1"/>
          <p:nvPr/>
        </p:nvSpPr>
        <p:spPr>
          <a:xfrm flipH="1">
            <a:off x="8992184" y="4097307"/>
            <a:ext cx="27706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Text </a:t>
            </a:r>
            <a:r>
              <a:rPr lang="en-US" sz="14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4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4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4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4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4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4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4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4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B5CA23-2B99-E7C4-5EF7-362D6DD69E75}"/>
              </a:ext>
            </a:extLst>
          </p:cNvPr>
          <p:cNvSpPr/>
          <p:nvPr/>
        </p:nvSpPr>
        <p:spPr>
          <a:xfrm flipH="1">
            <a:off x="9085467" y="3713811"/>
            <a:ext cx="258408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b="1" dirty="0">
                <a:ea typeface="Roboto Medium" panose="02000000000000000000" pitchFamily="2" charset="0"/>
                <a:cs typeface="Poppins" pitchFamily="2" charset="77"/>
              </a:rPr>
              <a:t>Heading</a:t>
            </a:r>
            <a:endParaRPr lang="en-US" sz="3600" dirty="0">
              <a:solidFill>
                <a:schemeClr val="tx2"/>
              </a:solidFill>
              <a:ea typeface="Roboto Medium" panose="02000000000000000000" pitchFamily="2" charset="0"/>
              <a:cs typeface="Poppins" pitchFamily="2" charset="77"/>
            </a:endParaRPr>
          </a:p>
        </p:txBody>
      </p:sp>
      <p:sp>
        <p:nvSpPr>
          <p:cNvPr id="36" name="Forma libre 9">
            <a:extLst>
              <a:ext uri="{FF2B5EF4-FFF2-40B4-BE49-F238E27FC236}">
                <a16:creationId xmlns:a16="http://schemas.microsoft.com/office/drawing/2014/main" id="{BC06FD62-3351-1EF5-FF34-8381413D91ED}"/>
              </a:ext>
            </a:extLst>
          </p:cNvPr>
          <p:cNvSpPr/>
          <p:nvPr/>
        </p:nvSpPr>
        <p:spPr>
          <a:xfrm>
            <a:off x="4336179" y="2311071"/>
            <a:ext cx="651057" cy="624003"/>
          </a:xfrm>
          <a:custGeom>
            <a:avLst/>
            <a:gdLst>
              <a:gd name="connsiteX0" fmla="*/ 530392 w 533104"/>
              <a:gd name="connsiteY0" fmla="*/ 361477 h 510953"/>
              <a:gd name="connsiteX1" fmla="*/ 530171 w 533104"/>
              <a:gd name="connsiteY1" fmla="*/ 360887 h 510953"/>
              <a:gd name="connsiteX2" fmla="*/ 509644 w 533104"/>
              <a:gd name="connsiteY2" fmla="*/ 338292 h 510953"/>
              <a:gd name="connsiteX3" fmla="*/ 479223 w 533104"/>
              <a:gd name="connsiteY3" fmla="*/ 336742 h 510953"/>
              <a:gd name="connsiteX4" fmla="*/ 381389 w 533104"/>
              <a:gd name="connsiteY4" fmla="*/ 374177 h 510953"/>
              <a:gd name="connsiteX5" fmla="*/ 345135 w 533104"/>
              <a:gd name="connsiteY5" fmla="*/ 348039 h 510953"/>
              <a:gd name="connsiteX6" fmla="*/ 344027 w 533104"/>
              <a:gd name="connsiteY6" fmla="*/ 348039 h 510953"/>
              <a:gd name="connsiteX7" fmla="*/ 386853 w 533104"/>
              <a:gd name="connsiteY7" fmla="*/ 256407 h 510953"/>
              <a:gd name="connsiteX8" fmla="*/ 374079 w 533104"/>
              <a:gd name="connsiteY8" fmla="*/ 202653 h 510953"/>
              <a:gd name="connsiteX9" fmla="*/ 387148 w 533104"/>
              <a:gd name="connsiteY9" fmla="*/ 202949 h 510953"/>
              <a:gd name="connsiteX10" fmla="*/ 416757 w 533104"/>
              <a:gd name="connsiteY10" fmla="*/ 202949 h 510953"/>
              <a:gd name="connsiteX11" fmla="*/ 447842 w 533104"/>
              <a:gd name="connsiteY11" fmla="*/ 235511 h 510953"/>
              <a:gd name="connsiteX12" fmla="*/ 489339 w 533104"/>
              <a:gd name="connsiteY12" fmla="*/ 236028 h 510953"/>
              <a:gd name="connsiteX13" fmla="*/ 489486 w 533104"/>
              <a:gd name="connsiteY13" fmla="*/ 236028 h 510953"/>
              <a:gd name="connsiteX14" fmla="*/ 502777 w 533104"/>
              <a:gd name="connsiteY14" fmla="*/ 222885 h 510953"/>
              <a:gd name="connsiteX15" fmla="*/ 489634 w 533104"/>
              <a:gd name="connsiteY15" fmla="*/ 209446 h 510953"/>
              <a:gd name="connsiteX16" fmla="*/ 448137 w 533104"/>
              <a:gd name="connsiteY16" fmla="*/ 208930 h 510953"/>
              <a:gd name="connsiteX17" fmla="*/ 442895 w 533104"/>
              <a:gd name="connsiteY17" fmla="*/ 196599 h 510953"/>
              <a:gd name="connsiteX18" fmla="*/ 444593 w 533104"/>
              <a:gd name="connsiteY18" fmla="*/ 55348 h 510953"/>
              <a:gd name="connsiteX19" fmla="*/ 447621 w 533104"/>
              <a:gd name="connsiteY19" fmla="*/ 45159 h 510953"/>
              <a:gd name="connsiteX20" fmla="*/ 450131 w 533104"/>
              <a:gd name="connsiteY20" fmla="*/ 43165 h 510953"/>
              <a:gd name="connsiteX21" fmla="*/ 450131 w 533104"/>
              <a:gd name="connsiteY21" fmla="*/ 43165 h 510953"/>
              <a:gd name="connsiteX22" fmla="*/ 491628 w 533104"/>
              <a:gd name="connsiteY22" fmla="*/ 43682 h 510953"/>
              <a:gd name="connsiteX23" fmla="*/ 505066 w 533104"/>
              <a:gd name="connsiteY23" fmla="*/ 30539 h 510953"/>
              <a:gd name="connsiteX24" fmla="*/ 491923 w 533104"/>
              <a:gd name="connsiteY24" fmla="*/ 17101 h 510953"/>
              <a:gd name="connsiteX25" fmla="*/ 450426 w 533104"/>
              <a:gd name="connsiteY25" fmla="*/ 16584 h 510953"/>
              <a:gd name="connsiteX26" fmla="*/ 426355 w 533104"/>
              <a:gd name="connsiteY26" fmla="*/ 29210 h 510953"/>
              <a:gd name="connsiteX27" fmla="*/ 418233 w 533104"/>
              <a:gd name="connsiteY27" fmla="*/ 51066 h 510953"/>
              <a:gd name="connsiteX28" fmla="*/ 412548 w 533104"/>
              <a:gd name="connsiteY28" fmla="*/ 50549 h 510953"/>
              <a:gd name="connsiteX29" fmla="*/ 412105 w 533104"/>
              <a:gd name="connsiteY29" fmla="*/ 50549 h 510953"/>
              <a:gd name="connsiteX30" fmla="*/ 320547 w 533104"/>
              <a:gd name="connsiteY30" fmla="*/ 21531 h 510953"/>
              <a:gd name="connsiteX31" fmla="*/ 244642 w 533104"/>
              <a:gd name="connsiteY31" fmla="*/ 1816 h 510953"/>
              <a:gd name="connsiteX32" fmla="*/ 126503 w 533104"/>
              <a:gd name="connsiteY32" fmla="*/ 53133 h 510953"/>
              <a:gd name="connsiteX33" fmla="*/ 25715 w 533104"/>
              <a:gd name="connsiteY33" fmla="*/ 100389 h 510953"/>
              <a:gd name="connsiteX34" fmla="*/ 4302 w 533104"/>
              <a:gd name="connsiteY34" fmla="*/ 120251 h 510953"/>
              <a:gd name="connsiteX35" fmla="*/ 2825 w 533104"/>
              <a:gd name="connsiteY35" fmla="*/ 150081 h 510953"/>
              <a:gd name="connsiteX36" fmla="*/ 3047 w 533104"/>
              <a:gd name="connsiteY36" fmla="*/ 150746 h 510953"/>
              <a:gd name="connsiteX37" fmla="*/ 23573 w 533104"/>
              <a:gd name="connsiteY37" fmla="*/ 173340 h 510953"/>
              <a:gd name="connsiteX38" fmla="*/ 40630 w 533104"/>
              <a:gd name="connsiteY38" fmla="*/ 177180 h 510953"/>
              <a:gd name="connsiteX39" fmla="*/ 53994 w 533104"/>
              <a:gd name="connsiteY39" fmla="*/ 174817 h 510953"/>
              <a:gd name="connsiteX40" fmla="*/ 151829 w 533104"/>
              <a:gd name="connsiteY40" fmla="*/ 137381 h 510953"/>
              <a:gd name="connsiteX41" fmla="*/ 160320 w 533104"/>
              <a:gd name="connsiteY41" fmla="*/ 151041 h 510953"/>
              <a:gd name="connsiteX42" fmla="*/ 188157 w 533104"/>
              <a:gd name="connsiteY42" fmla="*/ 163446 h 510953"/>
              <a:gd name="connsiteX43" fmla="*/ 189264 w 533104"/>
              <a:gd name="connsiteY43" fmla="*/ 163446 h 510953"/>
              <a:gd name="connsiteX44" fmla="*/ 192292 w 533104"/>
              <a:gd name="connsiteY44" fmla="*/ 163298 h 510953"/>
              <a:gd name="connsiteX45" fmla="*/ 147620 w 533104"/>
              <a:gd name="connsiteY45" fmla="*/ 256481 h 510953"/>
              <a:gd name="connsiteX46" fmla="*/ 159729 w 533104"/>
              <a:gd name="connsiteY46" fmla="*/ 308905 h 510953"/>
              <a:gd name="connsiteX47" fmla="*/ 146143 w 533104"/>
              <a:gd name="connsiteY47" fmla="*/ 308610 h 510953"/>
              <a:gd name="connsiteX48" fmla="*/ 116461 w 533104"/>
              <a:gd name="connsiteY48" fmla="*/ 308610 h 510953"/>
              <a:gd name="connsiteX49" fmla="*/ 109151 w 533104"/>
              <a:gd name="connsiteY49" fmla="*/ 289264 h 510953"/>
              <a:gd name="connsiteX50" fmla="*/ 85375 w 533104"/>
              <a:gd name="connsiteY50" fmla="*/ 276048 h 510953"/>
              <a:gd name="connsiteX51" fmla="*/ 43879 w 533104"/>
              <a:gd name="connsiteY51" fmla="*/ 275531 h 510953"/>
              <a:gd name="connsiteX52" fmla="*/ 30440 w 533104"/>
              <a:gd name="connsiteY52" fmla="*/ 288674 h 510953"/>
              <a:gd name="connsiteX53" fmla="*/ 43583 w 533104"/>
              <a:gd name="connsiteY53" fmla="*/ 302112 h 510953"/>
              <a:gd name="connsiteX54" fmla="*/ 85080 w 533104"/>
              <a:gd name="connsiteY54" fmla="*/ 302629 h 510953"/>
              <a:gd name="connsiteX55" fmla="*/ 87517 w 533104"/>
              <a:gd name="connsiteY55" fmla="*/ 304696 h 510953"/>
              <a:gd name="connsiteX56" fmla="*/ 90322 w 533104"/>
              <a:gd name="connsiteY56" fmla="*/ 314960 h 510953"/>
              <a:gd name="connsiteX57" fmla="*/ 88624 w 533104"/>
              <a:gd name="connsiteY57" fmla="*/ 456210 h 510953"/>
              <a:gd name="connsiteX58" fmla="*/ 83086 w 533104"/>
              <a:gd name="connsiteY58" fmla="*/ 468394 h 510953"/>
              <a:gd name="connsiteX59" fmla="*/ 83086 w 533104"/>
              <a:gd name="connsiteY59" fmla="*/ 468394 h 510953"/>
              <a:gd name="connsiteX60" fmla="*/ 41590 w 533104"/>
              <a:gd name="connsiteY60" fmla="*/ 467877 h 510953"/>
              <a:gd name="connsiteX61" fmla="*/ 28151 w 533104"/>
              <a:gd name="connsiteY61" fmla="*/ 481020 h 510953"/>
              <a:gd name="connsiteX62" fmla="*/ 41294 w 533104"/>
              <a:gd name="connsiteY62" fmla="*/ 494458 h 510953"/>
              <a:gd name="connsiteX63" fmla="*/ 82791 w 533104"/>
              <a:gd name="connsiteY63" fmla="*/ 494975 h 510953"/>
              <a:gd name="connsiteX64" fmla="*/ 83160 w 533104"/>
              <a:gd name="connsiteY64" fmla="*/ 494975 h 510953"/>
              <a:gd name="connsiteX65" fmla="*/ 115058 w 533104"/>
              <a:gd name="connsiteY65" fmla="*/ 460493 h 510953"/>
              <a:gd name="connsiteX66" fmla="*/ 120743 w 533104"/>
              <a:gd name="connsiteY66" fmla="*/ 461010 h 510953"/>
              <a:gd name="connsiteX67" fmla="*/ 121186 w 533104"/>
              <a:gd name="connsiteY67" fmla="*/ 461010 h 510953"/>
              <a:gd name="connsiteX68" fmla="*/ 212744 w 533104"/>
              <a:gd name="connsiteY68" fmla="*/ 490028 h 510953"/>
              <a:gd name="connsiteX69" fmla="*/ 276244 w 533104"/>
              <a:gd name="connsiteY69" fmla="*/ 510998 h 510953"/>
              <a:gd name="connsiteX70" fmla="*/ 288649 w 533104"/>
              <a:gd name="connsiteY70" fmla="*/ 509742 h 510953"/>
              <a:gd name="connsiteX71" fmla="*/ 406789 w 533104"/>
              <a:gd name="connsiteY71" fmla="*/ 458426 h 510953"/>
              <a:gd name="connsiteX72" fmla="*/ 507576 w 533104"/>
              <a:gd name="connsiteY72" fmla="*/ 411170 h 510953"/>
              <a:gd name="connsiteX73" fmla="*/ 528989 w 533104"/>
              <a:gd name="connsiteY73" fmla="*/ 391308 h 510953"/>
              <a:gd name="connsiteX74" fmla="*/ 530392 w 533104"/>
              <a:gd name="connsiteY74" fmla="*/ 361477 h 510953"/>
              <a:gd name="connsiteX75" fmla="*/ 188304 w 533104"/>
              <a:gd name="connsiteY75" fmla="*/ 136864 h 510953"/>
              <a:gd name="connsiteX76" fmla="*/ 175900 w 533104"/>
              <a:gd name="connsiteY76" fmla="*/ 123278 h 510953"/>
              <a:gd name="connsiteX77" fmla="*/ 180035 w 533104"/>
              <a:gd name="connsiteY77" fmla="*/ 114049 h 510953"/>
              <a:gd name="connsiteX78" fmla="*/ 189486 w 533104"/>
              <a:gd name="connsiteY78" fmla="*/ 110431 h 510953"/>
              <a:gd name="connsiteX79" fmla="*/ 189633 w 533104"/>
              <a:gd name="connsiteY79" fmla="*/ 110431 h 510953"/>
              <a:gd name="connsiteX80" fmla="*/ 287837 w 533104"/>
              <a:gd name="connsiteY80" fmla="*/ 112129 h 510953"/>
              <a:gd name="connsiteX81" fmla="*/ 298839 w 533104"/>
              <a:gd name="connsiteY81" fmla="*/ 106591 h 510953"/>
              <a:gd name="connsiteX82" fmla="*/ 311539 w 533104"/>
              <a:gd name="connsiteY82" fmla="*/ 88944 h 510953"/>
              <a:gd name="connsiteX83" fmla="*/ 308511 w 533104"/>
              <a:gd name="connsiteY83" fmla="*/ 70411 h 510953"/>
              <a:gd name="connsiteX84" fmla="*/ 289978 w 533104"/>
              <a:gd name="connsiteY84" fmla="*/ 73438 h 510953"/>
              <a:gd name="connsiteX85" fmla="*/ 281339 w 533104"/>
              <a:gd name="connsiteY85" fmla="*/ 85400 h 510953"/>
              <a:gd name="connsiteX86" fmla="*/ 190150 w 533104"/>
              <a:gd name="connsiteY86" fmla="*/ 83776 h 510953"/>
              <a:gd name="connsiteX87" fmla="*/ 161797 w 533104"/>
              <a:gd name="connsiteY87" fmla="*/ 94630 h 510953"/>
              <a:gd name="connsiteX88" fmla="*/ 152346 w 533104"/>
              <a:gd name="connsiteY88" fmla="*/ 108289 h 510953"/>
              <a:gd name="connsiteX89" fmla="*/ 44913 w 533104"/>
              <a:gd name="connsiteY89" fmla="*/ 149564 h 510953"/>
              <a:gd name="connsiteX90" fmla="*/ 34871 w 533104"/>
              <a:gd name="connsiteY90" fmla="*/ 149048 h 510953"/>
              <a:gd name="connsiteX91" fmla="*/ 28004 w 533104"/>
              <a:gd name="connsiteY91" fmla="*/ 141442 h 510953"/>
              <a:gd name="connsiteX92" fmla="*/ 27782 w 533104"/>
              <a:gd name="connsiteY92" fmla="*/ 140778 h 510953"/>
              <a:gd name="connsiteX93" fmla="*/ 28299 w 533104"/>
              <a:gd name="connsiteY93" fmla="*/ 131327 h 510953"/>
              <a:gd name="connsiteX94" fmla="*/ 35314 w 533104"/>
              <a:gd name="connsiteY94" fmla="*/ 124903 h 510953"/>
              <a:gd name="connsiteX95" fmla="*/ 36495 w 533104"/>
              <a:gd name="connsiteY95" fmla="*/ 124386 h 510953"/>
              <a:gd name="connsiteX96" fmla="*/ 249885 w 533104"/>
              <a:gd name="connsiteY96" fmla="*/ 27585 h 510953"/>
              <a:gd name="connsiteX97" fmla="*/ 308733 w 533104"/>
              <a:gd name="connsiteY97" fmla="*/ 45159 h 510953"/>
              <a:gd name="connsiteX98" fmla="*/ 410333 w 533104"/>
              <a:gd name="connsiteY98" fmla="*/ 76835 h 510953"/>
              <a:gd name="connsiteX99" fmla="*/ 417643 w 533104"/>
              <a:gd name="connsiteY99" fmla="*/ 77499 h 510953"/>
              <a:gd name="connsiteX100" fmla="*/ 416461 w 533104"/>
              <a:gd name="connsiteY100" fmla="*/ 176146 h 510953"/>
              <a:gd name="connsiteX101" fmla="*/ 387000 w 533104"/>
              <a:gd name="connsiteY101" fmla="*/ 176146 h 510953"/>
              <a:gd name="connsiteX102" fmla="*/ 353995 w 533104"/>
              <a:gd name="connsiteY102" fmla="*/ 174152 h 510953"/>
              <a:gd name="connsiteX103" fmla="*/ 289461 w 533104"/>
              <a:gd name="connsiteY103" fmla="*/ 138710 h 510953"/>
              <a:gd name="connsiteX104" fmla="*/ 188304 w 533104"/>
              <a:gd name="connsiteY104" fmla="*/ 136864 h 510953"/>
              <a:gd name="connsiteX105" fmla="*/ 267163 w 533104"/>
              <a:gd name="connsiteY105" fmla="*/ 163372 h 510953"/>
              <a:gd name="connsiteX106" fmla="*/ 283702 w 533104"/>
              <a:gd name="connsiteY106" fmla="*/ 164849 h 510953"/>
              <a:gd name="connsiteX107" fmla="*/ 309397 w 533104"/>
              <a:gd name="connsiteY107" fmla="*/ 179838 h 510953"/>
              <a:gd name="connsiteX108" fmla="*/ 339523 w 533104"/>
              <a:gd name="connsiteY108" fmla="*/ 198076 h 510953"/>
              <a:gd name="connsiteX109" fmla="*/ 360124 w 533104"/>
              <a:gd name="connsiteY109" fmla="*/ 256407 h 510953"/>
              <a:gd name="connsiteX110" fmla="*/ 273808 w 533104"/>
              <a:gd name="connsiteY110" fmla="*/ 349220 h 510953"/>
              <a:gd name="connsiteX111" fmla="*/ 249737 w 533104"/>
              <a:gd name="connsiteY111" fmla="*/ 346710 h 510953"/>
              <a:gd name="connsiteX112" fmla="*/ 223599 w 533104"/>
              <a:gd name="connsiteY112" fmla="*/ 331573 h 510953"/>
              <a:gd name="connsiteX113" fmla="*/ 193621 w 533104"/>
              <a:gd name="connsiteY113" fmla="*/ 313409 h 510953"/>
              <a:gd name="connsiteX114" fmla="*/ 174054 w 533104"/>
              <a:gd name="connsiteY114" fmla="*/ 256407 h 510953"/>
              <a:gd name="connsiteX115" fmla="*/ 267163 w 533104"/>
              <a:gd name="connsiteY115" fmla="*/ 163372 h 510953"/>
              <a:gd name="connsiteX116" fmla="*/ 504844 w 533104"/>
              <a:gd name="connsiteY116" fmla="*/ 379937 h 510953"/>
              <a:gd name="connsiteX117" fmla="*/ 497830 w 533104"/>
              <a:gd name="connsiteY117" fmla="*/ 386360 h 510953"/>
              <a:gd name="connsiteX118" fmla="*/ 496648 w 533104"/>
              <a:gd name="connsiteY118" fmla="*/ 386877 h 510953"/>
              <a:gd name="connsiteX119" fmla="*/ 283259 w 533104"/>
              <a:gd name="connsiteY119" fmla="*/ 483678 h 510953"/>
              <a:gd name="connsiteX120" fmla="*/ 224411 w 533104"/>
              <a:gd name="connsiteY120" fmla="*/ 466105 h 510953"/>
              <a:gd name="connsiteX121" fmla="*/ 122811 w 533104"/>
              <a:gd name="connsiteY121" fmla="*/ 434428 h 510953"/>
              <a:gd name="connsiteX122" fmla="*/ 115501 w 533104"/>
              <a:gd name="connsiteY122" fmla="*/ 433764 h 510953"/>
              <a:gd name="connsiteX123" fmla="*/ 116682 w 533104"/>
              <a:gd name="connsiteY123" fmla="*/ 335117 h 510953"/>
              <a:gd name="connsiteX124" fmla="*/ 146143 w 533104"/>
              <a:gd name="connsiteY124" fmla="*/ 335117 h 510953"/>
              <a:gd name="connsiteX125" fmla="*/ 179075 w 533104"/>
              <a:gd name="connsiteY125" fmla="*/ 337111 h 510953"/>
              <a:gd name="connsiteX126" fmla="*/ 267310 w 533104"/>
              <a:gd name="connsiteY126" fmla="*/ 376023 h 510953"/>
              <a:gd name="connsiteX127" fmla="*/ 274620 w 533104"/>
              <a:gd name="connsiteY127" fmla="*/ 375802 h 510953"/>
              <a:gd name="connsiteX128" fmla="*/ 344987 w 533104"/>
              <a:gd name="connsiteY128" fmla="*/ 374620 h 510953"/>
              <a:gd name="connsiteX129" fmla="*/ 357392 w 533104"/>
              <a:gd name="connsiteY129" fmla="*/ 388206 h 510953"/>
              <a:gd name="connsiteX130" fmla="*/ 343805 w 533104"/>
              <a:gd name="connsiteY130" fmla="*/ 401054 h 510953"/>
              <a:gd name="connsiteX131" fmla="*/ 343658 w 533104"/>
              <a:gd name="connsiteY131" fmla="*/ 401054 h 510953"/>
              <a:gd name="connsiteX132" fmla="*/ 245454 w 533104"/>
              <a:gd name="connsiteY132" fmla="*/ 399356 h 510953"/>
              <a:gd name="connsiteX133" fmla="*/ 234453 w 533104"/>
              <a:gd name="connsiteY133" fmla="*/ 404894 h 510953"/>
              <a:gd name="connsiteX134" fmla="*/ 221753 w 533104"/>
              <a:gd name="connsiteY134" fmla="*/ 422541 h 510953"/>
              <a:gd name="connsiteX135" fmla="*/ 224780 w 533104"/>
              <a:gd name="connsiteY135" fmla="*/ 441074 h 510953"/>
              <a:gd name="connsiteX136" fmla="*/ 232533 w 533104"/>
              <a:gd name="connsiteY136" fmla="*/ 443584 h 510953"/>
              <a:gd name="connsiteX137" fmla="*/ 243313 w 533104"/>
              <a:gd name="connsiteY137" fmla="*/ 438046 h 510953"/>
              <a:gd name="connsiteX138" fmla="*/ 251952 w 533104"/>
              <a:gd name="connsiteY138" fmla="*/ 426085 h 510953"/>
              <a:gd name="connsiteX139" fmla="*/ 343141 w 533104"/>
              <a:gd name="connsiteY139" fmla="*/ 427709 h 510953"/>
              <a:gd name="connsiteX140" fmla="*/ 344175 w 533104"/>
              <a:gd name="connsiteY140" fmla="*/ 427709 h 510953"/>
              <a:gd name="connsiteX141" fmla="*/ 380946 w 533104"/>
              <a:gd name="connsiteY141" fmla="*/ 403121 h 510953"/>
              <a:gd name="connsiteX142" fmla="*/ 488379 w 533104"/>
              <a:gd name="connsiteY142" fmla="*/ 361773 h 510953"/>
              <a:gd name="connsiteX143" fmla="*/ 498421 w 533104"/>
              <a:gd name="connsiteY143" fmla="*/ 362289 h 510953"/>
              <a:gd name="connsiteX144" fmla="*/ 505288 w 533104"/>
              <a:gd name="connsiteY144" fmla="*/ 369895 h 510953"/>
              <a:gd name="connsiteX145" fmla="*/ 505509 w 533104"/>
              <a:gd name="connsiteY145" fmla="*/ 370485 h 510953"/>
              <a:gd name="connsiteX146" fmla="*/ 504844 w 533104"/>
              <a:gd name="connsiteY146" fmla="*/ 379937 h 510953"/>
              <a:gd name="connsiteX147" fmla="*/ 214517 w 533104"/>
              <a:gd name="connsiteY147" fmla="*/ 263938 h 510953"/>
              <a:gd name="connsiteX148" fmla="*/ 214664 w 533104"/>
              <a:gd name="connsiteY148" fmla="*/ 245110 h 510953"/>
              <a:gd name="connsiteX149" fmla="*/ 233493 w 533104"/>
              <a:gd name="connsiteY149" fmla="*/ 245257 h 510953"/>
              <a:gd name="connsiteX150" fmla="*/ 250844 w 533104"/>
              <a:gd name="connsiteY150" fmla="*/ 262978 h 510953"/>
              <a:gd name="connsiteX151" fmla="*/ 298691 w 533104"/>
              <a:gd name="connsiteY151" fmla="*/ 203687 h 510953"/>
              <a:gd name="connsiteX152" fmla="*/ 317372 w 533104"/>
              <a:gd name="connsiteY152" fmla="*/ 201694 h 510953"/>
              <a:gd name="connsiteX153" fmla="*/ 319365 w 533104"/>
              <a:gd name="connsiteY153" fmla="*/ 220374 h 510953"/>
              <a:gd name="connsiteX154" fmla="*/ 262142 w 533104"/>
              <a:gd name="connsiteY154" fmla="*/ 291258 h 510953"/>
              <a:gd name="connsiteX155" fmla="*/ 262068 w 533104"/>
              <a:gd name="connsiteY155" fmla="*/ 291332 h 510953"/>
              <a:gd name="connsiteX156" fmla="*/ 261108 w 533104"/>
              <a:gd name="connsiteY156" fmla="*/ 292366 h 510953"/>
              <a:gd name="connsiteX157" fmla="*/ 260886 w 533104"/>
              <a:gd name="connsiteY157" fmla="*/ 292587 h 510953"/>
              <a:gd name="connsiteX158" fmla="*/ 260000 w 533104"/>
              <a:gd name="connsiteY158" fmla="*/ 293326 h 510953"/>
              <a:gd name="connsiteX159" fmla="*/ 259557 w 533104"/>
              <a:gd name="connsiteY159" fmla="*/ 293621 h 510953"/>
              <a:gd name="connsiteX160" fmla="*/ 258819 w 533104"/>
              <a:gd name="connsiteY160" fmla="*/ 294138 h 510953"/>
              <a:gd name="connsiteX161" fmla="*/ 258302 w 533104"/>
              <a:gd name="connsiteY161" fmla="*/ 294433 h 510953"/>
              <a:gd name="connsiteX162" fmla="*/ 257564 w 533104"/>
              <a:gd name="connsiteY162" fmla="*/ 294802 h 510953"/>
              <a:gd name="connsiteX163" fmla="*/ 257047 w 533104"/>
              <a:gd name="connsiteY163" fmla="*/ 295024 h 510953"/>
              <a:gd name="connsiteX164" fmla="*/ 256235 w 533104"/>
              <a:gd name="connsiteY164" fmla="*/ 295319 h 510953"/>
              <a:gd name="connsiteX165" fmla="*/ 255718 w 533104"/>
              <a:gd name="connsiteY165" fmla="*/ 295467 h 510953"/>
              <a:gd name="connsiteX166" fmla="*/ 254832 w 533104"/>
              <a:gd name="connsiteY166" fmla="*/ 295688 h 510953"/>
              <a:gd name="connsiteX167" fmla="*/ 254389 w 533104"/>
              <a:gd name="connsiteY167" fmla="*/ 295762 h 510953"/>
              <a:gd name="connsiteX168" fmla="*/ 253429 w 533104"/>
              <a:gd name="connsiteY168" fmla="*/ 295910 h 510953"/>
              <a:gd name="connsiteX169" fmla="*/ 253060 w 533104"/>
              <a:gd name="connsiteY169" fmla="*/ 295984 h 510953"/>
              <a:gd name="connsiteX170" fmla="*/ 251730 w 533104"/>
              <a:gd name="connsiteY170" fmla="*/ 296058 h 510953"/>
              <a:gd name="connsiteX171" fmla="*/ 251730 w 533104"/>
              <a:gd name="connsiteY171" fmla="*/ 296058 h 510953"/>
              <a:gd name="connsiteX172" fmla="*/ 250549 w 533104"/>
              <a:gd name="connsiteY172" fmla="*/ 295984 h 510953"/>
              <a:gd name="connsiteX173" fmla="*/ 250254 w 533104"/>
              <a:gd name="connsiteY173" fmla="*/ 295910 h 510953"/>
              <a:gd name="connsiteX174" fmla="*/ 249368 w 533104"/>
              <a:gd name="connsiteY174" fmla="*/ 295762 h 510953"/>
              <a:gd name="connsiteX175" fmla="*/ 248999 w 533104"/>
              <a:gd name="connsiteY175" fmla="*/ 295688 h 510953"/>
              <a:gd name="connsiteX176" fmla="*/ 248186 w 533104"/>
              <a:gd name="connsiteY176" fmla="*/ 295467 h 510953"/>
              <a:gd name="connsiteX177" fmla="*/ 247743 w 533104"/>
              <a:gd name="connsiteY177" fmla="*/ 295319 h 510953"/>
              <a:gd name="connsiteX178" fmla="*/ 247005 w 533104"/>
              <a:gd name="connsiteY178" fmla="*/ 295024 h 510953"/>
              <a:gd name="connsiteX179" fmla="*/ 246562 w 533104"/>
              <a:gd name="connsiteY179" fmla="*/ 294876 h 510953"/>
              <a:gd name="connsiteX180" fmla="*/ 245823 w 533104"/>
              <a:gd name="connsiteY180" fmla="*/ 294507 h 510953"/>
              <a:gd name="connsiteX181" fmla="*/ 245381 w 533104"/>
              <a:gd name="connsiteY181" fmla="*/ 294285 h 510953"/>
              <a:gd name="connsiteX182" fmla="*/ 244568 w 533104"/>
              <a:gd name="connsiteY182" fmla="*/ 293842 h 510953"/>
              <a:gd name="connsiteX183" fmla="*/ 244199 w 533104"/>
              <a:gd name="connsiteY183" fmla="*/ 293621 h 510953"/>
              <a:gd name="connsiteX184" fmla="*/ 243387 w 533104"/>
              <a:gd name="connsiteY184" fmla="*/ 293030 h 510953"/>
              <a:gd name="connsiteX185" fmla="*/ 243313 w 533104"/>
              <a:gd name="connsiteY185" fmla="*/ 292956 h 510953"/>
              <a:gd name="connsiteX186" fmla="*/ 242796 w 533104"/>
              <a:gd name="connsiteY186" fmla="*/ 292513 h 510953"/>
              <a:gd name="connsiteX187" fmla="*/ 242279 w 533104"/>
              <a:gd name="connsiteY187" fmla="*/ 291996 h 510953"/>
              <a:gd name="connsiteX188" fmla="*/ 242206 w 533104"/>
              <a:gd name="connsiteY188" fmla="*/ 291923 h 510953"/>
              <a:gd name="connsiteX189" fmla="*/ 214517 w 533104"/>
              <a:gd name="connsiteY189" fmla="*/ 263938 h 510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</a:cxnLst>
            <a:rect l="l" t="t" r="r" b="b"/>
            <a:pathLst>
              <a:path w="533104" h="510953">
                <a:moveTo>
                  <a:pt x="530392" y="361477"/>
                </a:moveTo>
                <a:lnTo>
                  <a:pt x="530171" y="360887"/>
                </a:lnTo>
                <a:cubicBezTo>
                  <a:pt x="526553" y="350845"/>
                  <a:pt x="519317" y="342796"/>
                  <a:pt x="509644" y="338292"/>
                </a:cubicBezTo>
                <a:cubicBezTo>
                  <a:pt x="500045" y="333714"/>
                  <a:pt x="489191" y="333198"/>
                  <a:pt x="479223" y="336742"/>
                </a:cubicBezTo>
                <a:cubicBezTo>
                  <a:pt x="442452" y="349959"/>
                  <a:pt x="400734" y="366424"/>
                  <a:pt x="381389" y="374177"/>
                </a:cubicBezTo>
                <a:cubicBezTo>
                  <a:pt x="375925" y="359336"/>
                  <a:pt x="361896" y="348556"/>
                  <a:pt x="345135" y="348039"/>
                </a:cubicBezTo>
                <a:cubicBezTo>
                  <a:pt x="344765" y="348039"/>
                  <a:pt x="344396" y="348039"/>
                  <a:pt x="344027" y="348039"/>
                </a:cubicBezTo>
                <a:cubicBezTo>
                  <a:pt x="370165" y="326109"/>
                  <a:pt x="386853" y="293178"/>
                  <a:pt x="386853" y="256407"/>
                </a:cubicBezTo>
                <a:cubicBezTo>
                  <a:pt x="386853" y="237062"/>
                  <a:pt x="382201" y="218824"/>
                  <a:pt x="374079" y="202653"/>
                </a:cubicBezTo>
                <a:cubicBezTo>
                  <a:pt x="380724" y="202875"/>
                  <a:pt x="385967" y="202949"/>
                  <a:pt x="387148" y="202949"/>
                </a:cubicBezTo>
                <a:lnTo>
                  <a:pt x="416757" y="202949"/>
                </a:lnTo>
                <a:cubicBezTo>
                  <a:pt x="419046" y="221482"/>
                  <a:pt x="431820" y="235289"/>
                  <a:pt x="447842" y="235511"/>
                </a:cubicBezTo>
                <a:lnTo>
                  <a:pt x="489339" y="236028"/>
                </a:lnTo>
                <a:cubicBezTo>
                  <a:pt x="489413" y="236028"/>
                  <a:pt x="489413" y="236028"/>
                  <a:pt x="489486" y="236028"/>
                </a:cubicBezTo>
                <a:cubicBezTo>
                  <a:pt x="496722" y="236028"/>
                  <a:pt x="502703" y="230195"/>
                  <a:pt x="502777" y="222885"/>
                </a:cubicBezTo>
                <a:cubicBezTo>
                  <a:pt x="502851" y="215575"/>
                  <a:pt x="497018" y="209520"/>
                  <a:pt x="489634" y="209446"/>
                </a:cubicBezTo>
                <a:lnTo>
                  <a:pt x="448137" y="208930"/>
                </a:lnTo>
                <a:cubicBezTo>
                  <a:pt x="446808" y="208930"/>
                  <a:pt x="442821" y="204499"/>
                  <a:pt x="442895" y="196599"/>
                </a:cubicBezTo>
                <a:lnTo>
                  <a:pt x="444593" y="55348"/>
                </a:lnTo>
                <a:cubicBezTo>
                  <a:pt x="444667" y="51361"/>
                  <a:pt x="445775" y="47669"/>
                  <a:pt x="447621" y="45159"/>
                </a:cubicBezTo>
                <a:cubicBezTo>
                  <a:pt x="448728" y="43682"/>
                  <a:pt x="449688" y="43165"/>
                  <a:pt x="450131" y="43165"/>
                </a:cubicBezTo>
                <a:lnTo>
                  <a:pt x="450131" y="43165"/>
                </a:lnTo>
                <a:lnTo>
                  <a:pt x="491628" y="43682"/>
                </a:lnTo>
                <a:cubicBezTo>
                  <a:pt x="498937" y="43756"/>
                  <a:pt x="504992" y="37923"/>
                  <a:pt x="505066" y="30539"/>
                </a:cubicBezTo>
                <a:cubicBezTo>
                  <a:pt x="505140" y="23229"/>
                  <a:pt x="499307" y="17174"/>
                  <a:pt x="491923" y="17101"/>
                </a:cubicBezTo>
                <a:lnTo>
                  <a:pt x="450426" y="16584"/>
                </a:lnTo>
                <a:cubicBezTo>
                  <a:pt x="441271" y="16510"/>
                  <a:pt x="432484" y="21088"/>
                  <a:pt x="426355" y="29210"/>
                </a:cubicBezTo>
                <a:cubicBezTo>
                  <a:pt x="421852" y="35264"/>
                  <a:pt x="418972" y="42870"/>
                  <a:pt x="418233" y="51066"/>
                </a:cubicBezTo>
                <a:lnTo>
                  <a:pt x="412548" y="50549"/>
                </a:lnTo>
                <a:cubicBezTo>
                  <a:pt x="412400" y="50549"/>
                  <a:pt x="412253" y="50549"/>
                  <a:pt x="412105" y="50549"/>
                </a:cubicBezTo>
                <a:cubicBezTo>
                  <a:pt x="375999" y="48629"/>
                  <a:pt x="346538" y="34231"/>
                  <a:pt x="320547" y="21531"/>
                </a:cubicBezTo>
                <a:cubicBezTo>
                  <a:pt x="293227" y="8166"/>
                  <a:pt x="269599" y="-3352"/>
                  <a:pt x="244642" y="1816"/>
                </a:cubicBezTo>
                <a:cubicBezTo>
                  <a:pt x="240729" y="2628"/>
                  <a:pt x="231425" y="4548"/>
                  <a:pt x="126503" y="53133"/>
                </a:cubicBezTo>
                <a:cubicBezTo>
                  <a:pt x="78139" y="75506"/>
                  <a:pt x="31253" y="97805"/>
                  <a:pt x="25715" y="100389"/>
                </a:cubicBezTo>
                <a:cubicBezTo>
                  <a:pt x="16264" y="104007"/>
                  <a:pt x="8658" y="111021"/>
                  <a:pt x="4302" y="120251"/>
                </a:cubicBezTo>
                <a:cubicBezTo>
                  <a:pt x="-128" y="129702"/>
                  <a:pt x="-645" y="140261"/>
                  <a:pt x="2825" y="150081"/>
                </a:cubicBezTo>
                <a:lnTo>
                  <a:pt x="3047" y="150746"/>
                </a:lnTo>
                <a:cubicBezTo>
                  <a:pt x="6665" y="160788"/>
                  <a:pt x="13901" y="168836"/>
                  <a:pt x="23573" y="173340"/>
                </a:cubicBezTo>
                <a:cubicBezTo>
                  <a:pt x="28964" y="175924"/>
                  <a:pt x="34797" y="177180"/>
                  <a:pt x="40630" y="177180"/>
                </a:cubicBezTo>
                <a:cubicBezTo>
                  <a:pt x="45134" y="177180"/>
                  <a:pt x="49638" y="176367"/>
                  <a:pt x="53994" y="174817"/>
                </a:cubicBezTo>
                <a:cubicBezTo>
                  <a:pt x="90692" y="161600"/>
                  <a:pt x="132483" y="145134"/>
                  <a:pt x="151829" y="137381"/>
                </a:cubicBezTo>
                <a:cubicBezTo>
                  <a:pt x="153675" y="142402"/>
                  <a:pt x="156480" y="147054"/>
                  <a:pt x="160320" y="151041"/>
                </a:cubicBezTo>
                <a:cubicBezTo>
                  <a:pt x="167630" y="158794"/>
                  <a:pt x="177524" y="163151"/>
                  <a:pt x="188157" y="163446"/>
                </a:cubicBezTo>
                <a:cubicBezTo>
                  <a:pt x="188526" y="163446"/>
                  <a:pt x="188895" y="163446"/>
                  <a:pt x="189264" y="163446"/>
                </a:cubicBezTo>
                <a:cubicBezTo>
                  <a:pt x="190224" y="163372"/>
                  <a:pt x="191258" y="163298"/>
                  <a:pt x="192292" y="163298"/>
                </a:cubicBezTo>
                <a:cubicBezTo>
                  <a:pt x="165046" y="185228"/>
                  <a:pt x="147620" y="218824"/>
                  <a:pt x="147620" y="256481"/>
                </a:cubicBezTo>
                <a:cubicBezTo>
                  <a:pt x="147620" y="275309"/>
                  <a:pt x="151976" y="293104"/>
                  <a:pt x="159729" y="308905"/>
                </a:cubicBezTo>
                <a:cubicBezTo>
                  <a:pt x="152863" y="308610"/>
                  <a:pt x="147325" y="308610"/>
                  <a:pt x="146143" y="308610"/>
                </a:cubicBezTo>
                <a:lnTo>
                  <a:pt x="116461" y="308610"/>
                </a:lnTo>
                <a:cubicBezTo>
                  <a:pt x="115575" y="301448"/>
                  <a:pt x="113064" y="294728"/>
                  <a:pt x="109151" y="289264"/>
                </a:cubicBezTo>
                <a:cubicBezTo>
                  <a:pt x="103244" y="280995"/>
                  <a:pt x="94605" y="276195"/>
                  <a:pt x="85375" y="276048"/>
                </a:cubicBezTo>
                <a:lnTo>
                  <a:pt x="43879" y="275531"/>
                </a:lnTo>
                <a:cubicBezTo>
                  <a:pt x="36569" y="275457"/>
                  <a:pt x="30514" y="281290"/>
                  <a:pt x="30440" y="288674"/>
                </a:cubicBezTo>
                <a:cubicBezTo>
                  <a:pt x="30366" y="295984"/>
                  <a:pt x="36200" y="302038"/>
                  <a:pt x="43583" y="302112"/>
                </a:cubicBezTo>
                <a:lnTo>
                  <a:pt x="85080" y="302629"/>
                </a:lnTo>
                <a:cubicBezTo>
                  <a:pt x="85449" y="302629"/>
                  <a:pt x="86483" y="303220"/>
                  <a:pt x="87517" y="304696"/>
                </a:cubicBezTo>
                <a:cubicBezTo>
                  <a:pt x="89363" y="307281"/>
                  <a:pt x="90322" y="310973"/>
                  <a:pt x="90322" y="314960"/>
                </a:cubicBezTo>
                <a:lnTo>
                  <a:pt x="88624" y="456210"/>
                </a:lnTo>
                <a:cubicBezTo>
                  <a:pt x="88550" y="464111"/>
                  <a:pt x="84489" y="468394"/>
                  <a:pt x="83086" y="468394"/>
                </a:cubicBezTo>
                <a:lnTo>
                  <a:pt x="83086" y="468394"/>
                </a:lnTo>
                <a:lnTo>
                  <a:pt x="41590" y="467877"/>
                </a:lnTo>
                <a:cubicBezTo>
                  <a:pt x="34280" y="467803"/>
                  <a:pt x="28225" y="473636"/>
                  <a:pt x="28151" y="481020"/>
                </a:cubicBezTo>
                <a:cubicBezTo>
                  <a:pt x="28078" y="488330"/>
                  <a:pt x="33911" y="494384"/>
                  <a:pt x="41294" y="494458"/>
                </a:cubicBezTo>
                <a:lnTo>
                  <a:pt x="82791" y="494975"/>
                </a:lnTo>
                <a:cubicBezTo>
                  <a:pt x="82865" y="494975"/>
                  <a:pt x="83012" y="494975"/>
                  <a:pt x="83160" y="494975"/>
                </a:cubicBezTo>
                <a:cubicBezTo>
                  <a:pt x="99847" y="494975"/>
                  <a:pt x="113212" y="480207"/>
                  <a:pt x="115058" y="460493"/>
                </a:cubicBezTo>
                <a:lnTo>
                  <a:pt x="120743" y="461010"/>
                </a:lnTo>
                <a:cubicBezTo>
                  <a:pt x="120891" y="461010"/>
                  <a:pt x="121039" y="461010"/>
                  <a:pt x="121186" y="461010"/>
                </a:cubicBezTo>
                <a:cubicBezTo>
                  <a:pt x="157293" y="462930"/>
                  <a:pt x="186754" y="477328"/>
                  <a:pt x="212744" y="490028"/>
                </a:cubicBezTo>
                <a:cubicBezTo>
                  <a:pt x="235486" y="501177"/>
                  <a:pt x="255718" y="510998"/>
                  <a:pt x="276244" y="510998"/>
                </a:cubicBezTo>
                <a:cubicBezTo>
                  <a:pt x="280379" y="510998"/>
                  <a:pt x="284514" y="510628"/>
                  <a:pt x="288649" y="509742"/>
                </a:cubicBezTo>
                <a:cubicBezTo>
                  <a:pt x="292562" y="508930"/>
                  <a:pt x="301866" y="507010"/>
                  <a:pt x="406789" y="458426"/>
                </a:cubicBezTo>
                <a:cubicBezTo>
                  <a:pt x="455152" y="436053"/>
                  <a:pt x="502039" y="413754"/>
                  <a:pt x="507576" y="411170"/>
                </a:cubicBezTo>
                <a:cubicBezTo>
                  <a:pt x="517028" y="407552"/>
                  <a:pt x="524633" y="400537"/>
                  <a:pt x="528989" y="391308"/>
                </a:cubicBezTo>
                <a:cubicBezTo>
                  <a:pt x="533346" y="381856"/>
                  <a:pt x="533863" y="371298"/>
                  <a:pt x="530392" y="361477"/>
                </a:cubicBezTo>
                <a:moveTo>
                  <a:pt x="188304" y="136864"/>
                </a:moveTo>
                <a:cubicBezTo>
                  <a:pt x="181216" y="136421"/>
                  <a:pt x="175752" y="130441"/>
                  <a:pt x="175900" y="123278"/>
                </a:cubicBezTo>
                <a:cubicBezTo>
                  <a:pt x="175974" y="119734"/>
                  <a:pt x="177450" y="116485"/>
                  <a:pt x="180035" y="114049"/>
                </a:cubicBezTo>
                <a:cubicBezTo>
                  <a:pt x="182619" y="111612"/>
                  <a:pt x="185942" y="110357"/>
                  <a:pt x="189486" y="110431"/>
                </a:cubicBezTo>
                <a:cubicBezTo>
                  <a:pt x="189560" y="110431"/>
                  <a:pt x="189560" y="110431"/>
                  <a:pt x="189633" y="110431"/>
                </a:cubicBezTo>
                <a:lnTo>
                  <a:pt x="287837" y="112129"/>
                </a:lnTo>
                <a:cubicBezTo>
                  <a:pt x="292193" y="112203"/>
                  <a:pt x="296328" y="110135"/>
                  <a:pt x="298839" y="106591"/>
                </a:cubicBezTo>
                <a:lnTo>
                  <a:pt x="311539" y="88944"/>
                </a:lnTo>
                <a:cubicBezTo>
                  <a:pt x="315821" y="82963"/>
                  <a:pt x="314492" y="74694"/>
                  <a:pt x="308511" y="70411"/>
                </a:cubicBezTo>
                <a:cubicBezTo>
                  <a:pt x="302531" y="66128"/>
                  <a:pt x="294261" y="67457"/>
                  <a:pt x="289978" y="73438"/>
                </a:cubicBezTo>
                <a:lnTo>
                  <a:pt x="281339" y="85400"/>
                </a:lnTo>
                <a:lnTo>
                  <a:pt x="190150" y="83776"/>
                </a:lnTo>
                <a:cubicBezTo>
                  <a:pt x="179518" y="83480"/>
                  <a:pt x="169476" y="87394"/>
                  <a:pt x="161797" y="94630"/>
                </a:cubicBezTo>
                <a:cubicBezTo>
                  <a:pt x="157662" y="98543"/>
                  <a:pt x="154487" y="103195"/>
                  <a:pt x="152346" y="108289"/>
                </a:cubicBezTo>
                <a:cubicBezTo>
                  <a:pt x="148063" y="110062"/>
                  <a:pt x="92242" y="132656"/>
                  <a:pt x="44913" y="149564"/>
                </a:cubicBezTo>
                <a:cubicBezTo>
                  <a:pt x="41590" y="150746"/>
                  <a:pt x="38046" y="150598"/>
                  <a:pt x="34871" y="149048"/>
                </a:cubicBezTo>
                <a:cubicBezTo>
                  <a:pt x="31622" y="147497"/>
                  <a:pt x="29185" y="144839"/>
                  <a:pt x="28004" y="141442"/>
                </a:cubicBezTo>
                <a:lnTo>
                  <a:pt x="27782" y="140778"/>
                </a:lnTo>
                <a:cubicBezTo>
                  <a:pt x="26675" y="137677"/>
                  <a:pt x="26822" y="134280"/>
                  <a:pt x="28299" y="131327"/>
                </a:cubicBezTo>
                <a:cubicBezTo>
                  <a:pt x="29702" y="128299"/>
                  <a:pt x="32212" y="126010"/>
                  <a:pt x="35314" y="124903"/>
                </a:cubicBezTo>
                <a:cubicBezTo>
                  <a:pt x="35757" y="124755"/>
                  <a:pt x="36126" y="124607"/>
                  <a:pt x="36495" y="124386"/>
                </a:cubicBezTo>
                <a:cubicBezTo>
                  <a:pt x="111809" y="88575"/>
                  <a:pt x="236372" y="30613"/>
                  <a:pt x="249885" y="27585"/>
                </a:cubicBezTo>
                <a:cubicBezTo>
                  <a:pt x="265981" y="24263"/>
                  <a:pt x="284883" y="33492"/>
                  <a:pt x="308733" y="45159"/>
                </a:cubicBezTo>
                <a:cubicBezTo>
                  <a:pt x="335610" y="58302"/>
                  <a:pt x="368984" y="74620"/>
                  <a:pt x="410333" y="76835"/>
                </a:cubicBezTo>
                <a:lnTo>
                  <a:pt x="417643" y="77499"/>
                </a:lnTo>
                <a:lnTo>
                  <a:pt x="416461" y="176146"/>
                </a:lnTo>
                <a:lnTo>
                  <a:pt x="387000" y="176146"/>
                </a:lnTo>
                <a:cubicBezTo>
                  <a:pt x="380724" y="176146"/>
                  <a:pt x="362929" y="175703"/>
                  <a:pt x="353995" y="174152"/>
                </a:cubicBezTo>
                <a:cubicBezTo>
                  <a:pt x="337086" y="156210"/>
                  <a:pt x="314640" y="143510"/>
                  <a:pt x="289461" y="138710"/>
                </a:cubicBezTo>
                <a:cubicBezTo>
                  <a:pt x="264947" y="132803"/>
                  <a:pt x="198715" y="136274"/>
                  <a:pt x="188304" y="136864"/>
                </a:cubicBezTo>
                <a:moveTo>
                  <a:pt x="267163" y="163372"/>
                </a:moveTo>
                <a:cubicBezTo>
                  <a:pt x="272848" y="163372"/>
                  <a:pt x="278386" y="163889"/>
                  <a:pt x="283702" y="164849"/>
                </a:cubicBezTo>
                <a:cubicBezTo>
                  <a:pt x="294925" y="167802"/>
                  <a:pt x="301644" y="173340"/>
                  <a:pt x="309397" y="179838"/>
                </a:cubicBezTo>
                <a:cubicBezTo>
                  <a:pt x="317298" y="186409"/>
                  <a:pt x="326085" y="193719"/>
                  <a:pt x="339523" y="198076"/>
                </a:cubicBezTo>
                <a:cubicBezTo>
                  <a:pt x="352445" y="214024"/>
                  <a:pt x="360124" y="234330"/>
                  <a:pt x="360124" y="256407"/>
                </a:cubicBezTo>
                <a:cubicBezTo>
                  <a:pt x="360124" y="305435"/>
                  <a:pt x="321950" y="345750"/>
                  <a:pt x="273808" y="349220"/>
                </a:cubicBezTo>
                <a:cubicBezTo>
                  <a:pt x="263692" y="348851"/>
                  <a:pt x="255053" y="348039"/>
                  <a:pt x="249737" y="346710"/>
                </a:cubicBezTo>
                <a:cubicBezTo>
                  <a:pt x="238292" y="343830"/>
                  <a:pt x="231499" y="338145"/>
                  <a:pt x="223599" y="331573"/>
                </a:cubicBezTo>
                <a:cubicBezTo>
                  <a:pt x="215698" y="325002"/>
                  <a:pt x="206985" y="317766"/>
                  <a:pt x="193621" y="313409"/>
                </a:cubicBezTo>
                <a:cubicBezTo>
                  <a:pt x="181364" y="297608"/>
                  <a:pt x="174054" y="277820"/>
                  <a:pt x="174054" y="256407"/>
                </a:cubicBezTo>
                <a:cubicBezTo>
                  <a:pt x="174128" y="205164"/>
                  <a:pt x="215846" y="163372"/>
                  <a:pt x="267163" y="163372"/>
                </a:cubicBezTo>
                <a:moveTo>
                  <a:pt x="504844" y="379937"/>
                </a:moveTo>
                <a:cubicBezTo>
                  <a:pt x="503442" y="382964"/>
                  <a:pt x="500931" y="385253"/>
                  <a:pt x="497830" y="386360"/>
                </a:cubicBezTo>
                <a:cubicBezTo>
                  <a:pt x="497387" y="386508"/>
                  <a:pt x="497018" y="386656"/>
                  <a:pt x="496648" y="386877"/>
                </a:cubicBezTo>
                <a:cubicBezTo>
                  <a:pt x="421335" y="422688"/>
                  <a:pt x="296771" y="480651"/>
                  <a:pt x="283259" y="483678"/>
                </a:cubicBezTo>
                <a:cubicBezTo>
                  <a:pt x="267163" y="487001"/>
                  <a:pt x="248260" y="477771"/>
                  <a:pt x="224411" y="466105"/>
                </a:cubicBezTo>
                <a:cubicBezTo>
                  <a:pt x="197534" y="452962"/>
                  <a:pt x="164160" y="436644"/>
                  <a:pt x="122811" y="434428"/>
                </a:cubicBezTo>
                <a:lnTo>
                  <a:pt x="115501" y="433764"/>
                </a:lnTo>
                <a:lnTo>
                  <a:pt x="116682" y="335117"/>
                </a:lnTo>
                <a:lnTo>
                  <a:pt x="146143" y="335117"/>
                </a:lnTo>
                <a:cubicBezTo>
                  <a:pt x="152346" y="335117"/>
                  <a:pt x="170140" y="335487"/>
                  <a:pt x="179075" y="337111"/>
                </a:cubicBezTo>
                <a:cubicBezTo>
                  <a:pt x="200930" y="361034"/>
                  <a:pt x="232385" y="376023"/>
                  <a:pt x="267310" y="376023"/>
                </a:cubicBezTo>
                <a:cubicBezTo>
                  <a:pt x="269747" y="376023"/>
                  <a:pt x="272183" y="375949"/>
                  <a:pt x="274620" y="375802"/>
                </a:cubicBezTo>
                <a:cubicBezTo>
                  <a:pt x="303195" y="376835"/>
                  <a:pt x="337677" y="375063"/>
                  <a:pt x="344987" y="374620"/>
                </a:cubicBezTo>
                <a:cubicBezTo>
                  <a:pt x="352075" y="375063"/>
                  <a:pt x="357539" y="381044"/>
                  <a:pt x="357392" y="388206"/>
                </a:cubicBezTo>
                <a:cubicBezTo>
                  <a:pt x="357170" y="395516"/>
                  <a:pt x="351115" y="401276"/>
                  <a:pt x="343805" y="401054"/>
                </a:cubicBezTo>
                <a:cubicBezTo>
                  <a:pt x="343732" y="401054"/>
                  <a:pt x="343732" y="401054"/>
                  <a:pt x="343658" y="401054"/>
                </a:cubicBezTo>
                <a:lnTo>
                  <a:pt x="245454" y="399356"/>
                </a:lnTo>
                <a:cubicBezTo>
                  <a:pt x="241098" y="399282"/>
                  <a:pt x="236963" y="401349"/>
                  <a:pt x="234453" y="404894"/>
                </a:cubicBezTo>
                <a:lnTo>
                  <a:pt x="221753" y="422541"/>
                </a:lnTo>
                <a:cubicBezTo>
                  <a:pt x="217470" y="428521"/>
                  <a:pt x="218799" y="436791"/>
                  <a:pt x="224780" y="441074"/>
                </a:cubicBezTo>
                <a:cubicBezTo>
                  <a:pt x="227143" y="442772"/>
                  <a:pt x="229875" y="443584"/>
                  <a:pt x="232533" y="443584"/>
                </a:cubicBezTo>
                <a:cubicBezTo>
                  <a:pt x="236668" y="443584"/>
                  <a:pt x="240729" y="441664"/>
                  <a:pt x="243313" y="438046"/>
                </a:cubicBezTo>
                <a:lnTo>
                  <a:pt x="251952" y="426085"/>
                </a:lnTo>
                <a:lnTo>
                  <a:pt x="343141" y="427709"/>
                </a:lnTo>
                <a:cubicBezTo>
                  <a:pt x="343510" y="427709"/>
                  <a:pt x="343805" y="427709"/>
                  <a:pt x="344175" y="427709"/>
                </a:cubicBezTo>
                <a:cubicBezTo>
                  <a:pt x="360640" y="427709"/>
                  <a:pt x="374891" y="417594"/>
                  <a:pt x="380946" y="403121"/>
                </a:cubicBezTo>
                <a:cubicBezTo>
                  <a:pt x="385081" y="401423"/>
                  <a:pt x="441049" y="378829"/>
                  <a:pt x="488379" y="361773"/>
                </a:cubicBezTo>
                <a:cubicBezTo>
                  <a:pt x="491701" y="360591"/>
                  <a:pt x="495246" y="360739"/>
                  <a:pt x="498421" y="362289"/>
                </a:cubicBezTo>
                <a:cubicBezTo>
                  <a:pt x="501669" y="363840"/>
                  <a:pt x="504106" y="366498"/>
                  <a:pt x="505288" y="369895"/>
                </a:cubicBezTo>
                <a:lnTo>
                  <a:pt x="505509" y="370485"/>
                </a:lnTo>
                <a:cubicBezTo>
                  <a:pt x="506469" y="373587"/>
                  <a:pt x="506247" y="376909"/>
                  <a:pt x="504844" y="379937"/>
                </a:cubicBezTo>
                <a:moveTo>
                  <a:pt x="214517" y="263938"/>
                </a:moveTo>
                <a:cubicBezTo>
                  <a:pt x="209348" y="258696"/>
                  <a:pt x="209422" y="250278"/>
                  <a:pt x="214664" y="245110"/>
                </a:cubicBezTo>
                <a:cubicBezTo>
                  <a:pt x="219907" y="239941"/>
                  <a:pt x="228324" y="240015"/>
                  <a:pt x="233493" y="245257"/>
                </a:cubicBezTo>
                <a:lnTo>
                  <a:pt x="250844" y="262978"/>
                </a:lnTo>
                <a:lnTo>
                  <a:pt x="298691" y="203687"/>
                </a:lnTo>
                <a:cubicBezTo>
                  <a:pt x="303269" y="198002"/>
                  <a:pt x="311686" y="197116"/>
                  <a:pt x="317372" y="201694"/>
                </a:cubicBezTo>
                <a:cubicBezTo>
                  <a:pt x="323057" y="206271"/>
                  <a:pt x="323943" y="214689"/>
                  <a:pt x="319365" y="220374"/>
                </a:cubicBezTo>
                <a:lnTo>
                  <a:pt x="262142" y="291258"/>
                </a:lnTo>
                <a:cubicBezTo>
                  <a:pt x="262142" y="291258"/>
                  <a:pt x="262142" y="291258"/>
                  <a:pt x="262068" y="291332"/>
                </a:cubicBezTo>
                <a:cubicBezTo>
                  <a:pt x="261772" y="291701"/>
                  <a:pt x="261477" y="292070"/>
                  <a:pt x="261108" y="292366"/>
                </a:cubicBezTo>
                <a:cubicBezTo>
                  <a:pt x="261034" y="292439"/>
                  <a:pt x="260960" y="292513"/>
                  <a:pt x="260886" y="292587"/>
                </a:cubicBezTo>
                <a:cubicBezTo>
                  <a:pt x="260591" y="292883"/>
                  <a:pt x="260296" y="293104"/>
                  <a:pt x="260000" y="293326"/>
                </a:cubicBezTo>
                <a:cubicBezTo>
                  <a:pt x="259853" y="293473"/>
                  <a:pt x="259705" y="293547"/>
                  <a:pt x="259557" y="293621"/>
                </a:cubicBezTo>
                <a:cubicBezTo>
                  <a:pt x="259336" y="293769"/>
                  <a:pt x="259114" y="293990"/>
                  <a:pt x="258819" y="294138"/>
                </a:cubicBezTo>
                <a:cubicBezTo>
                  <a:pt x="258671" y="294212"/>
                  <a:pt x="258523" y="294359"/>
                  <a:pt x="258302" y="294433"/>
                </a:cubicBezTo>
                <a:cubicBezTo>
                  <a:pt x="258081" y="294581"/>
                  <a:pt x="257785" y="294728"/>
                  <a:pt x="257564" y="294802"/>
                </a:cubicBezTo>
                <a:cubicBezTo>
                  <a:pt x="257416" y="294876"/>
                  <a:pt x="257268" y="294950"/>
                  <a:pt x="257047" y="295024"/>
                </a:cubicBezTo>
                <a:cubicBezTo>
                  <a:pt x="256751" y="295171"/>
                  <a:pt x="256530" y="295245"/>
                  <a:pt x="256235" y="295319"/>
                </a:cubicBezTo>
                <a:cubicBezTo>
                  <a:pt x="256087" y="295393"/>
                  <a:pt x="255939" y="295467"/>
                  <a:pt x="255718" y="295467"/>
                </a:cubicBezTo>
                <a:cubicBezTo>
                  <a:pt x="255422" y="295541"/>
                  <a:pt x="255127" y="295614"/>
                  <a:pt x="254832" y="295688"/>
                </a:cubicBezTo>
                <a:cubicBezTo>
                  <a:pt x="254684" y="295762"/>
                  <a:pt x="254536" y="295762"/>
                  <a:pt x="254389" y="295762"/>
                </a:cubicBezTo>
                <a:cubicBezTo>
                  <a:pt x="254093" y="295836"/>
                  <a:pt x="253724" y="295910"/>
                  <a:pt x="253429" y="295910"/>
                </a:cubicBezTo>
                <a:cubicBezTo>
                  <a:pt x="253281" y="295910"/>
                  <a:pt x="253133" y="295984"/>
                  <a:pt x="253060" y="295984"/>
                </a:cubicBezTo>
                <a:cubicBezTo>
                  <a:pt x="252616" y="296058"/>
                  <a:pt x="252174" y="296058"/>
                  <a:pt x="251730" y="296058"/>
                </a:cubicBezTo>
                <a:cubicBezTo>
                  <a:pt x="251730" y="296058"/>
                  <a:pt x="251730" y="296058"/>
                  <a:pt x="251730" y="296058"/>
                </a:cubicBezTo>
                <a:cubicBezTo>
                  <a:pt x="251361" y="296058"/>
                  <a:pt x="250918" y="296058"/>
                  <a:pt x="250549" y="295984"/>
                </a:cubicBezTo>
                <a:cubicBezTo>
                  <a:pt x="250475" y="295984"/>
                  <a:pt x="250328" y="295984"/>
                  <a:pt x="250254" y="295910"/>
                </a:cubicBezTo>
                <a:cubicBezTo>
                  <a:pt x="249958" y="295910"/>
                  <a:pt x="249663" y="295836"/>
                  <a:pt x="249368" y="295762"/>
                </a:cubicBezTo>
                <a:cubicBezTo>
                  <a:pt x="249220" y="295762"/>
                  <a:pt x="249146" y="295688"/>
                  <a:pt x="248999" y="295688"/>
                </a:cubicBezTo>
                <a:cubicBezTo>
                  <a:pt x="248703" y="295614"/>
                  <a:pt x="248482" y="295541"/>
                  <a:pt x="248186" y="295467"/>
                </a:cubicBezTo>
                <a:cubicBezTo>
                  <a:pt x="248039" y="295393"/>
                  <a:pt x="247891" y="295393"/>
                  <a:pt x="247743" y="295319"/>
                </a:cubicBezTo>
                <a:cubicBezTo>
                  <a:pt x="247522" y="295245"/>
                  <a:pt x="247226" y="295171"/>
                  <a:pt x="247005" y="295024"/>
                </a:cubicBezTo>
                <a:cubicBezTo>
                  <a:pt x="246857" y="294950"/>
                  <a:pt x="246709" y="294950"/>
                  <a:pt x="246562" y="294876"/>
                </a:cubicBezTo>
                <a:cubicBezTo>
                  <a:pt x="246340" y="294802"/>
                  <a:pt x="246119" y="294655"/>
                  <a:pt x="245823" y="294507"/>
                </a:cubicBezTo>
                <a:cubicBezTo>
                  <a:pt x="245676" y="294433"/>
                  <a:pt x="245528" y="294359"/>
                  <a:pt x="245381" y="294285"/>
                </a:cubicBezTo>
                <a:cubicBezTo>
                  <a:pt x="245085" y="294138"/>
                  <a:pt x="244864" y="293990"/>
                  <a:pt x="244568" y="293842"/>
                </a:cubicBezTo>
                <a:cubicBezTo>
                  <a:pt x="244421" y="293769"/>
                  <a:pt x="244347" y="293695"/>
                  <a:pt x="244199" y="293621"/>
                </a:cubicBezTo>
                <a:cubicBezTo>
                  <a:pt x="243904" y="293399"/>
                  <a:pt x="243608" y="293252"/>
                  <a:pt x="243387" y="293030"/>
                </a:cubicBezTo>
                <a:cubicBezTo>
                  <a:pt x="243387" y="293030"/>
                  <a:pt x="243387" y="293030"/>
                  <a:pt x="243313" y="292956"/>
                </a:cubicBezTo>
                <a:cubicBezTo>
                  <a:pt x="243165" y="292809"/>
                  <a:pt x="243018" y="292661"/>
                  <a:pt x="242796" y="292513"/>
                </a:cubicBezTo>
                <a:cubicBezTo>
                  <a:pt x="242648" y="292366"/>
                  <a:pt x="242427" y="292218"/>
                  <a:pt x="242279" y="291996"/>
                </a:cubicBezTo>
                <a:cubicBezTo>
                  <a:pt x="242279" y="291996"/>
                  <a:pt x="242279" y="291996"/>
                  <a:pt x="242206" y="291923"/>
                </a:cubicBezTo>
                <a:lnTo>
                  <a:pt x="214517" y="26393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s-MX" sz="1100" dirty="0"/>
          </a:p>
        </p:txBody>
      </p:sp>
      <p:sp>
        <p:nvSpPr>
          <p:cNvPr id="37" name="Forma libre 63">
            <a:extLst>
              <a:ext uri="{FF2B5EF4-FFF2-40B4-BE49-F238E27FC236}">
                <a16:creationId xmlns:a16="http://schemas.microsoft.com/office/drawing/2014/main" id="{6DA3543E-F224-E06D-0918-E4C50359586E}"/>
              </a:ext>
            </a:extLst>
          </p:cNvPr>
          <p:cNvSpPr/>
          <p:nvPr/>
        </p:nvSpPr>
        <p:spPr>
          <a:xfrm>
            <a:off x="7187673" y="3833853"/>
            <a:ext cx="680478" cy="685401"/>
          </a:xfrm>
          <a:custGeom>
            <a:avLst/>
            <a:gdLst>
              <a:gd name="connsiteX0" fmla="*/ 398942 w 510215"/>
              <a:gd name="connsiteY0" fmla="*/ 133461 h 513906"/>
              <a:gd name="connsiteX1" fmla="*/ 465396 w 510215"/>
              <a:gd name="connsiteY1" fmla="*/ 67007 h 513906"/>
              <a:gd name="connsiteX2" fmla="*/ 398942 w 510215"/>
              <a:gd name="connsiteY2" fmla="*/ 554 h 513906"/>
              <a:gd name="connsiteX3" fmla="*/ 332489 w 510215"/>
              <a:gd name="connsiteY3" fmla="*/ 67007 h 513906"/>
              <a:gd name="connsiteX4" fmla="*/ 398942 w 510215"/>
              <a:gd name="connsiteY4" fmla="*/ 133461 h 513906"/>
              <a:gd name="connsiteX5" fmla="*/ 398942 w 510215"/>
              <a:gd name="connsiteY5" fmla="*/ 27061 h 513906"/>
              <a:gd name="connsiteX6" fmla="*/ 438814 w 510215"/>
              <a:gd name="connsiteY6" fmla="*/ 66933 h 513906"/>
              <a:gd name="connsiteX7" fmla="*/ 398942 w 510215"/>
              <a:gd name="connsiteY7" fmla="*/ 106805 h 513906"/>
              <a:gd name="connsiteX8" fmla="*/ 359070 w 510215"/>
              <a:gd name="connsiteY8" fmla="*/ 66933 h 513906"/>
              <a:gd name="connsiteX9" fmla="*/ 398942 w 510215"/>
              <a:gd name="connsiteY9" fmla="*/ 27061 h 513906"/>
              <a:gd name="connsiteX10" fmla="*/ 510141 w 510215"/>
              <a:gd name="connsiteY10" fmla="*/ 208922 h 513906"/>
              <a:gd name="connsiteX11" fmla="*/ 489393 w 510215"/>
              <a:gd name="connsiteY11" fmla="*/ 168977 h 513906"/>
              <a:gd name="connsiteX12" fmla="*/ 428551 w 510215"/>
              <a:gd name="connsiteY12" fmla="*/ 144019 h 513906"/>
              <a:gd name="connsiteX13" fmla="*/ 426927 w 510215"/>
              <a:gd name="connsiteY13" fmla="*/ 143724 h 513906"/>
              <a:gd name="connsiteX14" fmla="*/ 399016 w 510215"/>
              <a:gd name="connsiteY14" fmla="*/ 141361 h 513906"/>
              <a:gd name="connsiteX15" fmla="*/ 399016 w 510215"/>
              <a:gd name="connsiteY15" fmla="*/ 141361 h 513906"/>
              <a:gd name="connsiteX16" fmla="*/ 399016 w 510215"/>
              <a:gd name="connsiteY16" fmla="*/ 141361 h 513906"/>
              <a:gd name="connsiteX17" fmla="*/ 371179 w 510215"/>
              <a:gd name="connsiteY17" fmla="*/ 143724 h 513906"/>
              <a:gd name="connsiteX18" fmla="*/ 369481 w 510215"/>
              <a:gd name="connsiteY18" fmla="*/ 144019 h 513906"/>
              <a:gd name="connsiteX19" fmla="*/ 309230 w 510215"/>
              <a:gd name="connsiteY19" fmla="*/ 168607 h 513906"/>
              <a:gd name="connsiteX20" fmla="*/ 287965 w 510215"/>
              <a:gd name="connsiteY20" fmla="*/ 209218 h 513906"/>
              <a:gd name="connsiteX21" fmla="*/ 287965 w 510215"/>
              <a:gd name="connsiteY21" fmla="*/ 335332 h 513906"/>
              <a:gd name="connsiteX22" fmla="*/ 301256 w 510215"/>
              <a:gd name="connsiteY22" fmla="*/ 348622 h 513906"/>
              <a:gd name="connsiteX23" fmla="*/ 322890 w 510215"/>
              <a:gd name="connsiteY23" fmla="*/ 348622 h 513906"/>
              <a:gd name="connsiteX24" fmla="*/ 322890 w 510215"/>
              <a:gd name="connsiteY24" fmla="*/ 500653 h 513906"/>
              <a:gd name="connsiteX25" fmla="*/ 336181 w 510215"/>
              <a:gd name="connsiteY25" fmla="*/ 513944 h 513906"/>
              <a:gd name="connsiteX26" fmla="*/ 460744 w 510215"/>
              <a:gd name="connsiteY26" fmla="*/ 513944 h 513906"/>
              <a:gd name="connsiteX27" fmla="*/ 474035 w 510215"/>
              <a:gd name="connsiteY27" fmla="*/ 500653 h 513906"/>
              <a:gd name="connsiteX28" fmla="*/ 474035 w 510215"/>
              <a:gd name="connsiteY28" fmla="*/ 348622 h 513906"/>
              <a:gd name="connsiteX29" fmla="*/ 496998 w 510215"/>
              <a:gd name="connsiteY29" fmla="*/ 348622 h 513906"/>
              <a:gd name="connsiteX30" fmla="*/ 510289 w 510215"/>
              <a:gd name="connsiteY30" fmla="*/ 335332 h 513906"/>
              <a:gd name="connsiteX31" fmla="*/ 510141 w 510215"/>
              <a:gd name="connsiteY31" fmla="*/ 208922 h 513906"/>
              <a:gd name="connsiteX32" fmla="*/ 460744 w 510215"/>
              <a:gd name="connsiteY32" fmla="*/ 321967 h 513906"/>
              <a:gd name="connsiteX33" fmla="*/ 447454 w 510215"/>
              <a:gd name="connsiteY33" fmla="*/ 335258 h 513906"/>
              <a:gd name="connsiteX34" fmla="*/ 447454 w 510215"/>
              <a:gd name="connsiteY34" fmla="*/ 487288 h 513906"/>
              <a:gd name="connsiteX35" fmla="*/ 349471 w 510215"/>
              <a:gd name="connsiteY35" fmla="*/ 487288 h 513906"/>
              <a:gd name="connsiteX36" fmla="*/ 349471 w 510215"/>
              <a:gd name="connsiteY36" fmla="*/ 335258 h 513906"/>
              <a:gd name="connsiteX37" fmla="*/ 336181 w 510215"/>
              <a:gd name="connsiteY37" fmla="*/ 321967 h 513906"/>
              <a:gd name="connsiteX38" fmla="*/ 314547 w 510215"/>
              <a:gd name="connsiteY38" fmla="*/ 321967 h 513906"/>
              <a:gd name="connsiteX39" fmla="*/ 314547 w 510215"/>
              <a:gd name="connsiteY39" fmla="*/ 209144 h 513906"/>
              <a:gd name="connsiteX40" fmla="*/ 324367 w 510215"/>
              <a:gd name="connsiteY40" fmla="*/ 190315 h 513906"/>
              <a:gd name="connsiteX41" fmla="*/ 371179 w 510215"/>
              <a:gd name="connsiteY41" fmla="*/ 170675 h 513906"/>
              <a:gd name="connsiteX42" fmla="*/ 385652 w 510215"/>
              <a:gd name="connsiteY42" fmla="*/ 176434 h 513906"/>
              <a:gd name="connsiteX43" fmla="*/ 385726 w 510215"/>
              <a:gd name="connsiteY43" fmla="*/ 279585 h 513906"/>
              <a:gd name="connsiteX44" fmla="*/ 399016 w 510215"/>
              <a:gd name="connsiteY44" fmla="*/ 292875 h 513906"/>
              <a:gd name="connsiteX45" fmla="*/ 399016 w 510215"/>
              <a:gd name="connsiteY45" fmla="*/ 292875 h 513906"/>
              <a:gd name="connsiteX46" fmla="*/ 412307 w 510215"/>
              <a:gd name="connsiteY46" fmla="*/ 279585 h 513906"/>
              <a:gd name="connsiteX47" fmla="*/ 412233 w 510215"/>
              <a:gd name="connsiteY47" fmla="*/ 176434 h 513906"/>
              <a:gd name="connsiteX48" fmla="*/ 426705 w 510215"/>
              <a:gd name="connsiteY48" fmla="*/ 170675 h 513906"/>
              <a:gd name="connsiteX49" fmla="*/ 474035 w 510215"/>
              <a:gd name="connsiteY49" fmla="*/ 190685 h 513906"/>
              <a:gd name="connsiteX50" fmla="*/ 483560 w 510215"/>
              <a:gd name="connsiteY50" fmla="*/ 209070 h 513906"/>
              <a:gd name="connsiteX51" fmla="*/ 483708 w 510215"/>
              <a:gd name="connsiteY51" fmla="*/ 321967 h 513906"/>
              <a:gd name="connsiteX52" fmla="*/ 460744 w 510215"/>
              <a:gd name="connsiteY52" fmla="*/ 321967 h 513906"/>
              <a:gd name="connsiteX53" fmla="*/ 121240 w 510215"/>
              <a:gd name="connsiteY53" fmla="*/ 346333 h 513906"/>
              <a:gd name="connsiteX54" fmla="*/ 121240 w 510215"/>
              <a:gd name="connsiteY54" fmla="*/ 365162 h 513906"/>
              <a:gd name="connsiteX55" fmla="*/ 111863 w 510215"/>
              <a:gd name="connsiteY55" fmla="*/ 369075 h 513906"/>
              <a:gd name="connsiteX56" fmla="*/ 102486 w 510215"/>
              <a:gd name="connsiteY56" fmla="*/ 365162 h 513906"/>
              <a:gd name="connsiteX57" fmla="*/ 76126 w 510215"/>
              <a:gd name="connsiteY57" fmla="*/ 338802 h 513906"/>
              <a:gd name="connsiteX58" fmla="*/ 76126 w 510215"/>
              <a:gd name="connsiteY58" fmla="*/ 500653 h 513906"/>
              <a:gd name="connsiteX59" fmla="*/ 62836 w 510215"/>
              <a:gd name="connsiteY59" fmla="*/ 513944 h 513906"/>
              <a:gd name="connsiteX60" fmla="*/ 49545 w 510215"/>
              <a:gd name="connsiteY60" fmla="*/ 500653 h 513906"/>
              <a:gd name="connsiteX61" fmla="*/ 49545 w 510215"/>
              <a:gd name="connsiteY61" fmla="*/ 338802 h 513906"/>
              <a:gd name="connsiteX62" fmla="*/ 23185 w 510215"/>
              <a:gd name="connsiteY62" fmla="*/ 365162 h 513906"/>
              <a:gd name="connsiteX63" fmla="*/ 13807 w 510215"/>
              <a:gd name="connsiteY63" fmla="*/ 369075 h 513906"/>
              <a:gd name="connsiteX64" fmla="*/ 4430 w 510215"/>
              <a:gd name="connsiteY64" fmla="*/ 365162 h 513906"/>
              <a:gd name="connsiteX65" fmla="*/ 4430 w 510215"/>
              <a:gd name="connsiteY65" fmla="*/ 346333 h 513906"/>
              <a:gd name="connsiteX66" fmla="*/ 53532 w 510215"/>
              <a:gd name="connsiteY66" fmla="*/ 297232 h 513906"/>
              <a:gd name="connsiteX67" fmla="*/ 54492 w 510215"/>
              <a:gd name="connsiteY67" fmla="*/ 296346 h 513906"/>
              <a:gd name="connsiteX68" fmla="*/ 54935 w 510215"/>
              <a:gd name="connsiteY68" fmla="*/ 295977 h 513906"/>
              <a:gd name="connsiteX69" fmla="*/ 55525 w 510215"/>
              <a:gd name="connsiteY69" fmla="*/ 295533 h 513906"/>
              <a:gd name="connsiteX70" fmla="*/ 56116 w 510215"/>
              <a:gd name="connsiteY70" fmla="*/ 295164 h 513906"/>
              <a:gd name="connsiteX71" fmla="*/ 56633 w 510215"/>
              <a:gd name="connsiteY71" fmla="*/ 294869 h 513906"/>
              <a:gd name="connsiteX72" fmla="*/ 57224 w 510215"/>
              <a:gd name="connsiteY72" fmla="*/ 294573 h 513906"/>
              <a:gd name="connsiteX73" fmla="*/ 57814 w 510215"/>
              <a:gd name="connsiteY73" fmla="*/ 294278 h 513906"/>
              <a:gd name="connsiteX74" fmla="*/ 58405 w 510215"/>
              <a:gd name="connsiteY74" fmla="*/ 294057 h 513906"/>
              <a:gd name="connsiteX75" fmla="*/ 59070 w 510215"/>
              <a:gd name="connsiteY75" fmla="*/ 293835 h 513906"/>
              <a:gd name="connsiteX76" fmla="*/ 59660 w 510215"/>
              <a:gd name="connsiteY76" fmla="*/ 293688 h 513906"/>
              <a:gd name="connsiteX77" fmla="*/ 60325 w 510215"/>
              <a:gd name="connsiteY77" fmla="*/ 293540 h 513906"/>
              <a:gd name="connsiteX78" fmla="*/ 60990 w 510215"/>
              <a:gd name="connsiteY78" fmla="*/ 293466 h 513906"/>
              <a:gd name="connsiteX79" fmla="*/ 61580 w 510215"/>
              <a:gd name="connsiteY79" fmla="*/ 293392 h 513906"/>
              <a:gd name="connsiteX80" fmla="*/ 62836 w 510215"/>
              <a:gd name="connsiteY80" fmla="*/ 293318 h 513906"/>
              <a:gd name="connsiteX81" fmla="*/ 62836 w 510215"/>
              <a:gd name="connsiteY81" fmla="*/ 293318 h 513906"/>
              <a:gd name="connsiteX82" fmla="*/ 62836 w 510215"/>
              <a:gd name="connsiteY82" fmla="*/ 293318 h 513906"/>
              <a:gd name="connsiteX83" fmla="*/ 64091 w 510215"/>
              <a:gd name="connsiteY83" fmla="*/ 293392 h 513906"/>
              <a:gd name="connsiteX84" fmla="*/ 64681 w 510215"/>
              <a:gd name="connsiteY84" fmla="*/ 293466 h 513906"/>
              <a:gd name="connsiteX85" fmla="*/ 65346 w 510215"/>
              <a:gd name="connsiteY85" fmla="*/ 293540 h 513906"/>
              <a:gd name="connsiteX86" fmla="*/ 66010 w 510215"/>
              <a:gd name="connsiteY86" fmla="*/ 293688 h 513906"/>
              <a:gd name="connsiteX87" fmla="*/ 66601 w 510215"/>
              <a:gd name="connsiteY87" fmla="*/ 293835 h 513906"/>
              <a:gd name="connsiteX88" fmla="*/ 67266 w 510215"/>
              <a:gd name="connsiteY88" fmla="*/ 294057 h 513906"/>
              <a:gd name="connsiteX89" fmla="*/ 67856 w 510215"/>
              <a:gd name="connsiteY89" fmla="*/ 294278 h 513906"/>
              <a:gd name="connsiteX90" fmla="*/ 68447 w 510215"/>
              <a:gd name="connsiteY90" fmla="*/ 294573 h 513906"/>
              <a:gd name="connsiteX91" fmla="*/ 69038 w 510215"/>
              <a:gd name="connsiteY91" fmla="*/ 294869 h 513906"/>
              <a:gd name="connsiteX92" fmla="*/ 69554 w 510215"/>
              <a:gd name="connsiteY92" fmla="*/ 295164 h 513906"/>
              <a:gd name="connsiteX93" fmla="*/ 70145 w 510215"/>
              <a:gd name="connsiteY93" fmla="*/ 295533 h 513906"/>
              <a:gd name="connsiteX94" fmla="*/ 70736 w 510215"/>
              <a:gd name="connsiteY94" fmla="*/ 295977 h 513906"/>
              <a:gd name="connsiteX95" fmla="*/ 71179 w 510215"/>
              <a:gd name="connsiteY95" fmla="*/ 296346 h 513906"/>
              <a:gd name="connsiteX96" fmla="*/ 72139 w 510215"/>
              <a:gd name="connsiteY96" fmla="*/ 297232 h 513906"/>
              <a:gd name="connsiteX97" fmla="*/ 121240 w 510215"/>
              <a:gd name="connsiteY97" fmla="*/ 346333 h 513906"/>
              <a:gd name="connsiteX98" fmla="*/ 248979 w 510215"/>
              <a:gd name="connsiteY98" fmla="*/ 210842 h 513906"/>
              <a:gd name="connsiteX99" fmla="*/ 248979 w 510215"/>
              <a:gd name="connsiteY99" fmla="*/ 229671 h 513906"/>
              <a:gd name="connsiteX100" fmla="*/ 239602 w 510215"/>
              <a:gd name="connsiteY100" fmla="*/ 233584 h 513906"/>
              <a:gd name="connsiteX101" fmla="*/ 230224 w 510215"/>
              <a:gd name="connsiteY101" fmla="*/ 229671 h 513906"/>
              <a:gd name="connsiteX102" fmla="*/ 203865 w 510215"/>
              <a:gd name="connsiteY102" fmla="*/ 203311 h 513906"/>
              <a:gd name="connsiteX103" fmla="*/ 203865 w 510215"/>
              <a:gd name="connsiteY103" fmla="*/ 500653 h 513906"/>
              <a:gd name="connsiteX104" fmla="*/ 190574 w 510215"/>
              <a:gd name="connsiteY104" fmla="*/ 513944 h 513906"/>
              <a:gd name="connsiteX105" fmla="*/ 177283 w 510215"/>
              <a:gd name="connsiteY105" fmla="*/ 500653 h 513906"/>
              <a:gd name="connsiteX106" fmla="*/ 177283 w 510215"/>
              <a:gd name="connsiteY106" fmla="*/ 203311 h 513906"/>
              <a:gd name="connsiteX107" fmla="*/ 150923 w 510215"/>
              <a:gd name="connsiteY107" fmla="*/ 229671 h 513906"/>
              <a:gd name="connsiteX108" fmla="*/ 141546 w 510215"/>
              <a:gd name="connsiteY108" fmla="*/ 233584 h 513906"/>
              <a:gd name="connsiteX109" fmla="*/ 132169 w 510215"/>
              <a:gd name="connsiteY109" fmla="*/ 229671 h 513906"/>
              <a:gd name="connsiteX110" fmla="*/ 132169 w 510215"/>
              <a:gd name="connsiteY110" fmla="*/ 210842 h 513906"/>
              <a:gd name="connsiteX111" fmla="*/ 181270 w 510215"/>
              <a:gd name="connsiteY111" fmla="*/ 161740 h 513906"/>
              <a:gd name="connsiteX112" fmla="*/ 181270 w 510215"/>
              <a:gd name="connsiteY112" fmla="*/ 161740 h 513906"/>
              <a:gd name="connsiteX113" fmla="*/ 182230 w 510215"/>
              <a:gd name="connsiteY113" fmla="*/ 160854 h 513906"/>
              <a:gd name="connsiteX114" fmla="*/ 182673 w 510215"/>
              <a:gd name="connsiteY114" fmla="*/ 160485 h 513906"/>
              <a:gd name="connsiteX115" fmla="*/ 183264 w 510215"/>
              <a:gd name="connsiteY115" fmla="*/ 160042 h 513906"/>
              <a:gd name="connsiteX116" fmla="*/ 183855 w 510215"/>
              <a:gd name="connsiteY116" fmla="*/ 159673 h 513906"/>
              <a:gd name="connsiteX117" fmla="*/ 184371 w 510215"/>
              <a:gd name="connsiteY117" fmla="*/ 159378 h 513906"/>
              <a:gd name="connsiteX118" fmla="*/ 184962 w 510215"/>
              <a:gd name="connsiteY118" fmla="*/ 159082 h 513906"/>
              <a:gd name="connsiteX119" fmla="*/ 185553 w 510215"/>
              <a:gd name="connsiteY119" fmla="*/ 158787 h 513906"/>
              <a:gd name="connsiteX120" fmla="*/ 186144 w 510215"/>
              <a:gd name="connsiteY120" fmla="*/ 158565 h 513906"/>
              <a:gd name="connsiteX121" fmla="*/ 186808 w 510215"/>
              <a:gd name="connsiteY121" fmla="*/ 158344 h 513906"/>
              <a:gd name="connsiteX122" fmla="*/ 187399 w 510215"/>
              <a:gd name="connsiteY122" fmla="*/ 158196 h 513906"/>
              <a:gd name="connsiteX123" fmla="*/ 188063 w 510215"/>
              <a:gd name="connsiteY123" fmla="*/ 158048 h 513906"/>
              <a:gd name="connsiteX124" fmla="*/ 188728 w 510215"/>
              <a:gd name="connsiteY124" fmla="*/ 157975 h 513906"/>
              <a:gd name="connsiteX125" fmla="*/ 189319 w 510215"/>
              <a:gd name="connsiteY125" fmla="*/ 157901 h 513906"/>
              <a:gd name="connsiteX126" fmla="*/ 190500 w 510215"/>
              <a:gd name="connsiteY126" fmla="*/ 157827 h 513906"/>
              <a:gd name="connsiteX127" fmla="*/ 190574 w 510215"/>
              <a:gd name="connsiteY127" fmla="*/ 157827 h 513906"/>
              <a:gd name="connsiteX128" fmla="*/ 190647 w 510215"/>
              <a:gd name="connsiteY128" fmla="*/ 157827 h 513906"/>
              <a:gd name="connsiteX129" fmla="*/ 191829 w 510215"/>
              <a:gd name="connsiteY129" fmla="*/ 157901 h 513906"/>
              <a:gd name="connsiteX130" fmla="*/ 192420 w 510215"/>
              <a:gd name="connsiteY130" fmla="*/ 157975 h 513906"/>
              <a:gd name="connsiteX131" fmla="*/ 193084 w 510215"/>
              <a:gd name="connsiteY131" fmla="*/ 158048 h 513906"/>
              <a:gd name="connsiteX132" fmla="*/ 193749 w 510215"/>
              <a:gd name="connsiteY132" fmla="*/ 158196 h 513906"/>
              <a:gd name="connsiteX133" fmla="*/ 194339 w 510215"/>
              <a:gd name="connsiteY133" fmla="*/ 158344 h 513906"/>
              <a:gd name="connsiteX134" fmla="*/ 195004 w 510215"/>
              <a:gd name="connsiteY134" fmla="*/ 158565 h 513906"/>
              <a:gd name="connsiteX135" fmla="*/ 195595 w 510215"/>
              <a:gd name="connsiteY135" fmla="*/ 158787 h 513906"/>
              <a:gd name="connsiteX136" fmla="*/ 196185 w 510215"/>
              <a:gd name="connsiteY136" fmla="*/ 159082 h 513906"/>
              <a:gd name="connsiteX137" fmla="*/ 196776 w 510215"/>
              <a:gd name="connsiteY137" fmla="*/ 159378 h 513906"/>
              <a:gd name="connsiteX138" fmla="*/ 197293 w 510215"/>
              <a:gd name="connsiteY138" fmla="*/ 159673 h 513906"/>
              <a:gd name="connsiteX139" fmla="*/ 197884 w 510215"/>
              <a:gd name="connsiteY139" fmla="*/ 160042 h 513906"/>
              <a:gd name="connsiteX140" fmla="*/ 198474 w 510215"/>
              <a:gd name="connsiteY140" fmla="*/ 160485 h 513906"/>
              <a:gd name="connsiteX141" fmla="*/ 198917 w 510215"/>
              <a:gd name="connsiteY141" fmla="*/ 160854 h 513906"/>
              <a:gd name="connsiteX142" fmla="*/ 199877 w 510215"/>
              <a:gd name="connsiteY142" fmla="*/ 161740 h 513906"/>
              <a:gd name="connsiteX143" fmla="*/ 199877 w 510215"/>
              <a:gd name="connsiteY143" fmla="*/ 161740 h 513906"/>
              <a:gd name="connsiteX144" fmla="*/ 199877 w 510215"/>
              <a:gd name="connsiteY144" fmla="*/ 161740 h 513906"/>
              <a:gd name="connsiteX145" fmla="*/ 248979 w 510215"/>
              <a:gd name="connsiteY145" fmla="*/ 210842 h 513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</a:cxnLst>
            <a:rect l="l" t="t" r="r" b="b"/>
            <a:pathLst>
              <a:path w="510215" h="513906">
                <a:moveTo>
                  <a:pt x="398942" y="133461"/>
                </a:moveTo>
                <a:cubicBezTo>
                  <a:pt x="435640" y="133461"/>
                  <a:pt x="465396" y="103631"/>
                  <a:pt x="465396" y="67007"/>
                </a:cubicBezTo>
                <a:cubicBezTo>
                  <a:pt x="465396" y="30310"/>
                  <a:pt x="435566" y="554"/>
                  <a:pt x="398942" y="554"/>
                </a:cubicBezTo>
                <a:cubicBezTo>
                  <a:pt x="362245" y="554"/>
                  <a:pt x="332489" y="30384"/>
                  <a:pt x="332489" y="67007"/>
                </a:cubicBezTo>
                <a:cubicBezTo>
                  <a:pt x="332489" y="103631"/>
                  <a:pt x="362319" y="133461"/>
                  <a:pt x="398942" y="133461"/>
                </a:cubicBezTo>
                <a:moveTo>
                  <a:pt x="398942" y="27061"/>
                </a:moveTo>
                <a:cubicBezTo>
                  <a:pt x="420946" y="27061"/>
                  <a:pt x="438814" y="44930"/>
                  <a:pt x="438814" y="66933"/>
                </a:cubicBezTo>
                <a:cubicBezTo>
                  <a:pt x="438814" y="88937"/>
                  <a:pt x="420946" y="106805"/>
                  <a:pt x="398942" y="106805"/>
                </a:cubicBezTo>
                <a:cubicBezTo>
                  <a:pt x="376939" y="106805"/>
                  <a:pt x="359070" y="88937"/>
                  <a:pt x="359070" y="66933"/>
                </a:cubicBezTo>
                <a:cubicBezTo>
                  <a:pt x="359070" y="44930"/>
                  <a:pt x="376939" y="27061"/>
                  <a:pt x="398942" y="27061"/>
                </a:cubicBezTo>
                <a:moveTo>
                  <a:pt x="510141" y="208922"/>
                </a:moveTo>
                <a:cubicBezTo>
                  <a:pt x="510067" y="192974"/>
                  <a:pt x="502240" y="178058"/>
                  <a:pt x="489393" y="168977"/>
                </a:cubicBezTo>
                <a:cubicBezTo>
                  <a:pt x="471746" y="156572"/>
                  <a:pt x="450850" y="148006"/>
                  <a:pt x="428551" y="144019"/>
                </a:cubicBezTo>
                <a:cubicBezTo>
                  <a:pt x="428034" y="143872"/>
                  <a:pt x="427444" y="143798"/>
                  <a:pt x="426927" y="143724"/>
                </a:cubicBezTo>
                <a:cubicBezTo>
                  <a:pt x="417771" y="142173"/>
                  <a:pt x="408467" y="141361"/>
                  <a:pt x="399016" y="141361"/>
                </a:cubicBezTo>
                <a:lnTo>
                  <a:pt x="399016" y="141361"/>
                </a:lnTo>
                <a:lnTo>
                  <a:pt x="399016" y="141361"/>
                </a:lnTo>
                <a:cubicBezTo>
                  <a:pt x="389639" y="141361"/>
                  <a:pt x="380262" y="142173"/>
                  <a:pt x="371179" y="143724"/>
                </a:cubicBezTo>
                <a:cubicBezTo>
                  <a:pt x="370589" y="143798"/>
                  <a:pt x="370072" y="143872"/>
                  <a:pt x="369481" y="144019"/>
                </a:cubicBezTo>
                <a:cubicBezTo>
                  <a:pt x="347478" y="148006"/>
                  <a:pt x="326730" y="156424"/>
                  <a:pt x="309230" y="168607"/>
                </a:cubicBezTo>
                <a:cubicBezTo>
                  <a:pt x="295939" y="177911"/>
                  <a:pt x="287965" y="193047"/>
                  <a:pt x="287965" y="209218"/>
                </a:cubicBezTo>
                <a:lnTo>
                  <a:pt x="287965" y="335332"/>
                </a:lnTo>
                <a:cubicBezTo>
                  <a:pt x="287965" y="342641"/>
                  <a:pt x="293946" y="348622"/>
                  <a:pt x="301256" y="348622"/>
                </a:cubicBezTo>
                <a:lnTo>
                  <a:pt x="322890" y="348622"/>
                </a:lnTo>
                <a:lnTo>
                  <a:pt x="322890" y="500653"/>
                </a:lnTo>
                <a:cubicBezTo>
                  <a:pt x="322890" y="507963"/>
                  <a:pt x="328871" y="513944"/>
                  <a:pt x="336181" y="513944"/>
                </a:cubicBezTo>
                <a:lnTo>
                  <a:pt x="460744" y="513944"/>
                </a:lnTo>
                <a:cubicBezTo>
                  <a:pt x="468054" y="513944"/>
                  <a:pt x="474035" y="507963"/>
                  <a:pt x="474035" y="500653"/>
                </a:cubicBezTo>
                <a:lnTo>
                  <a:pt x="474035" y="348622"/>
                </a:lnTo>
                <a:lnTo>
                  <a:pt x="496998" y="348622"/>
                </a:lnTo>
                <a:cubicBezTo>
                  <a:pt x="504308" y="348622"/>
                  <a:pt x="510289" y="342641"/>
                  <a:pt x="510289" y="335332"/>
                </a:cubicBezTo>
                <a:cubicBezTo>
                  <a:pt x="510289" y="321450"/>
                  <a:pt x="510215" y="221992"/>
                  <a:pt x="510141" y="208922"/>
                </a:cubicBezTo>
                <a:moveTo>
                  <a:pt x="460744" y="321967"/>
                </a:moveTo>
                <a:cubicBezTo>
                  <a:pt x="453434" y="321967"/>
                  <a:pt x="447454" y="327948"/>
                  <a:pt x="447454" y="335258"/>
                </a:cubicBezTo>
                <a:lnTo>
                  <a:pt x="447454" y="487288"/>
                </a:lnTo>
                <a:lnTo>
                  <a:pt x="349471" y="487288"/>
                </a:lnTo>
                <a:lnTo>
                  <a:pt x="349471" y="335258"/>
                </a:lnTo>
                <a:cubicBezTo>
                  <a:pt x="349471" y="327948"/>
                  <a:pt x="343490" y="321967"/>
                  <a:pt x="336181" y="321967"/>
                </a:cubicBezTo>
                <a:lnTo>
                  <a:pt x="314547" y="321967"/>
                </a:lnTo>
                <a:lnTo>
                  <a:pt x="314547" y="209144"/>
                </a:lnTo>
                <a:cubicBezTo>
                  <a:pt x="314547" y="201686"/>
                  <a:pt x="318238" y="194672"/>
                  <a:pt x="324367" y="190315"/>
                </a:cubicBezTo>
                <a:cubicBezTo>
                  <a:pt x="337953" y="180790"/>
                  <a:pt x="354049" y="174145"/>
                  <a:pt x="371179" y="170675"/>
                </a:cubicBezTo>
                <a:lnTo>
                  <a:pt x="385652" y="176434"/>
                </a:lnTo>
                <a:lnTo>
                  <a:pt x="385726" y="279585"/>
                </a:lnTo>
                <a:cubicBezTo>
                  <a:pt x="385726" y="286894"/>
                  <a:pt x="391706" y="292875"/>
                  <a:pt x="399016" y="292875"/>
                </a:cubicBezTo>
                <a:lnTo>
                  <a:pt x="399016" y="292875"/>
                </a:lnTo>
                <a:cubicBezTo>
                  <a:pt x="406326" y="292875"/>
                  <a:pt x="412307" y="286894"/>
                  <a:pt x="412307" y="279585"/>
                </a:cubicBezTo>
                <a:lnTo>
                  <a:pt x="412233" y="176434"/>
                </a:lnTo>
                <a:lnTo>
                  <a:pt x="426705" y="170675"/>
                </a:lnTo>
                <a:cubicBezTo>
                  <a:pt x="444057" y="174219"/>
                  <a:pt x="460301" y="181012"/>
                  <a:pt x="474035" y="190685"/>
                </a:cubicBezTo>
                <a:cubicBezTo>
                  <a:pt x="479942" y="194820"/>
                  <a:pt x="483486" y="201760"/>
                  <a:pt x="483560" y="209070"/>
                </a:cubicBezTo>
                <a:cubicBezTo>
                  <a:pt x="483634" y="219924"/>
                  <a:pt x="483708" y="290660"/>
                  <a:pt x="483708" y="321967"/>
                </a:cubicBezTo>
                <a:lnTo>
                  <a:pt x="460744" y="321967"/>
                </a:lnTo>
                <a:close/>
                <a:moveTo>
                  <a:pt x="121240" y="346333"/>
                </a:moveTo>
                <a:cubicBezTo>
                  <a:pt x="126409" y="351502"/>
                  <a:pt x="126409" y="359919"/>
                  <a:pt x="121240" y="365162"/>
                </a:cubicBezTo>
                <a:cubicBezTo>
                  <a:pt x="118656" y="367746"/>
                  <a:pt x="115260" y="369075"/>
                  <a:pt x="111863" y="369075"/>
                </a:cubicBezTo>
                <a:cubicBezTo>
                  <a:pt x="108467" y="369075"/>
                  <a:pt x="105070" y="367746"/>
                  <a:pt x="102486" y="365162"/>
                </a:cubicBezTo>
                <a:lnTo>
                  <a:pt x="76126" y="338802"/>
                </a:lnTo>
                <a:lnTo>
                  <a:pt x="76126" y="500653"/>
                </a:lnTo>
                <a:cubicBezTo>
                  <a:pt x="76126" y="507963"/>
                  <a:pt x="70145" y="513944"/>
                  <a:pt x="62836" y="513944"/>
                </a:cubicBezTo>
                <a:cubicBezTo>
                  <a:pt x="55525" y="513944"/>
                  <a:pt x="49545" y="507963"/>
                  <a:pt x="49545" y="500653"/>
                </a:cubicBezTo>
                <a:lnTo>
                  <a:pt x="49545" y="338802"/>
                </a:lnTo>
                <a:lnTo>
                  <a:pt x="23185" y="365162"/>
                </a:lnTo>
                <a:cubicBezTo>
                  <a:pt x="20601" y="367746"/>
                  <a:pt x="17204" y="369075"/>
                  <a:pt x="13807" y="369075"/>
                </a:cubicBezTo>
                <a:cubicBezTo>
                  <a:pt x="10411" y="369075"/>
                  <a:pt x="7015" y="367746"/>
                  <a:pt x="4430" y="365162"/>
                </a:cubicBezTo>
                <a:cubicBezTo>
                  <a:pt x="-738" y="359993"/>
                  <a:pt x="-738" y="351576"/>
                  <a:pt x="4430" y="346333"/>
                </a:cubicBezTo>
                <a:lnTo>
                  <a:pt x="53532" y="297232"/>
                </a:lnTo>
                <a:cubicBezTo>
                  <a:pt x="53827" y="296936"/>
                  <a:pt x="54196" y="296641"/>
                  <a:pt x="54492" y="296346"/>
                </a:cubicBezTo>
                <a:cubicBezTo>
                  <a:pt x="54640" y="296198"/>
                  <a:pt x="54787" y="296124"/>
                  <a:pt x="54935" y="295977"/>
                </a:cubicBezTo>
                <a:cubicBezTo>
                  <a:pt x="55156" y="295829"/>
                  <a:pt x="55304" y="295681"/>
                  <a:pt x="55525" y="295533"/>
                </a:cubicBezTo>
                <a:cubicBezTo>
                  <a:pt x="55747" y="295386"/>
                  <a:pt x="55895" y="295312"/>
                  <a:pt x="56116" y="295164"/>
                </a:cubicBezTo>
                <a:cubicBezTo>
                  <a:pt x="56264" y="295090"/>
                  <a:pt x="56485" y="294943"/>
                  <a:pt x="56633" y="294869"/>
                </a:cubicBezTo>
                <a:cubicBezTo>
                  <a:pt x="56855" y="294795"/>
                  <a:pt x="57002" y="294647"/>
                  <a:pt x="57224" y="294573"/>
                </a:cubicBezTo>
                <a:cubicBezTo>
                  <a:pt x="57445" y="294500"/>
                  <a:pt x="57593" y="294352"/>
                  <a:pt x="57814" y="294278"/>
                </a:cubicBezTo>
                <a:cubicBezTo>
                  <a:pt x="58036" y="294204"/>
                  <a:pt x="58184" y="294131"/>
                  <a:pt x="58405" y="294057"/>
                </a:cubicBezTo>
                <a:cubicBezTo>
                  <a:pt x="58627" y="293983"/>
                  <a:pt x="58848" y="293909"/>
                  <a:pt x="59070" y="293835"/>
                </a:cubicBezTo>
                <a:cubicBezTo>
                  <a:pt x="59291" y="293761"/>
                  <a:pt x="59439" y="293761"/>
                  <a:pt x="59660" y="293688"/>
                </a:cubicBezTo>
                <a:cubicBezTo>
                  <a:pt x="59882" y="293614"/>
                  <a:pt x="60103" y="293540"/>
                  <a:pt x="60325" y="293540"/>
                </a:cubicBezTo>
                <a:cubicBezTo>
                  <a:pt x="60547" y="293466"/>
                  <a:pt x="60768" y="293466"/>
                  <a:pt x="60990" y="293466"/>
                </a:cubicBezTo>
                <a:cubicBezTo>
                  <a:pt x="61211" y="293466"/>
                  <a:pt x="61359" y="293392"/>
                  <a:pt x="61580" y="293392"/>
                </a:cubicBezTo>
                <a:cubicBezTo>
                  <a:pt x="62023" y="293318"/>
                  <a:pt x="62466" y="293318"/>
                  <a:pt x="62836" y="293318"/>
                </a:cubicBezTo>
                <a:cubicBezTo>
                  <a:pt x="62836" y="293318"/>
                  <a:pt x="62836" y="293318"/>
                  <a:pt x="62836" y="293318"/>
                </a:cubicBezTo>
                <a:cubicBezTo>
                  <a:pt x="62836" y="293318"/>
                  <a:pt x="62836" y="293318"/>
                  <a:pt x="62836" y="293318"/>
                </a:cubicBezTo>
                <a:cubicBezTo>
                  <a:pt x="63278" y="293318"/>
                  <a:pt x="63721" y="293318"/>
                  <a:pt x="64091" y="293392"/>
                </a:cubicBezTo>
                <a:cubicBezTo>
                  <a:pt x="64312" y="293392"/>
                  <a:pt x="64460" y="293466"/>
                  <a:pt x="64681" y="293466"/>
                </a:cubicBezTo>
                <a:cubicBezTo>
                  <a:pt x="64903" y="293466"/>
                  <a:pt x="65124" y="293540"/>
                  <a:pt x="65346" y="293540"/>
                </a:cubicBezTo>
                <a:cubicBezTo>
                  <a:pt x="65567" y="293614"/>
                  <a:pt x="65789" y="293614"/>
                  <a:pt x="66010" y="293688"/>
                </a:cubicBezTo>
                <a:cubicBezTo>
                  <a:pt x="66232" y="293761"/>
                  <a:pt x="66380" y="293761"/>
                  <a:pt x="66601" y="293835"/>
                </a:cubicBezTo>
                <a:cubicBezTo>
                  <a:pt x="66823" y="293909"/>
                  <a:pt x="67044" y="293983"/>
                  <a:pt x="67266" y="294057"/>
                </a:cubicBezTo>
                <a:cubicBezTo>
                  <a:pt x="67487" y="294131"/>
                  <a:pt x="67635" y="294204"/>
                  <a:pt x="67856" y="294278"/>
                </a:cubicBezTo>
                <a:cubicBezTo>
                  <a:pt x="68078" y="294352"/>
                  <a:pt x="68226" y="294426"/>
                  <a:pt x="68447" y="294573"/>
                </a:cubicBezTo>
                <a:cubicBezTo>
                  <a:pt x="68669" y="294647"/>
                  <a:pt x="68816" y="294721"/>
                  <a:pt x="69038" y="294869"/>
                </a:cubicBezTo>
                <a:cubicBezTo>
                  <a:pt x="69259" y="294943"/>
                  <a:pt x="69407" y="295090"/>
                  <a:pt x="69554" y="295164"/>
                </a:cubicBezTo>
                <a:cubicBezTo>
                  <a:pt x="69776" y="295312"/>
                  <a:pt x="69924" y="295386"/>
                  <a:pt x="70145" y="295533"/>
                </a:cubicBezTo>
                <a:cubicBezTo>
                  <a:pt x="70367" y="295681"/>
                  <a:pt x="70515" y="295829"/>
                  <a:pt x="70736" y="295977"/>
                </a:cubicBezTo>
                <a:cubicBezTo>
                  <a:pt x="70884" y="296124"/>
                  <a:pt x="71031" y="296198"/>
                  <a:pt x="71179" y="296346"/>
                </a:cubicBezTo>
                <a:cubicBezTo>
                  <a:pt x="71548" y="296641"/>
                  <a:pt x="71843" y="296936"/>
                  <a:pt x="72139" y="297232"/>
                </a:cubicBezTo>
                <a:lnTo>
                  <a:pt x="121240" y="346333"/>
                </a:lnTo>
                <a:close/>
                <a:moveTo>
                  <a:pt x="248979" y="210842"/>
                </a:moveTo>
                <a:cubicBezTo>
                  <a:pt x="254147" y="216011"/>
                  <a:pt x="254147" y="224428"/>
                  <a:pt x="248979" y="229671"/>
                </a:cubicBezTo>
                <a:cubicBezTo>
                  <a:pt x="246395" y="232255"/>
                  <a:pt x="242998" y="233584"/>
                  <a:pt x="239602" y="233584"/>
                </a:cubicBezTo>
                <a:cubicBezTo>
                  <a:pt x="236205" y="233584"/>
                  <a:pt x="232809" y="232255"/>
                  <a:pt x="230224" y="229671"/>
                </a:cubicBezTo>
                <a:lnTo>
                  <a:pt x="203865" y="203311"/>
                </a:lnTo>
                <a:lnTo>
                  <a:pt x="203865" y="500653"/>
                </a:lnTo>
                <a:cubicBezTo>
                  <a:pt x="203865" y="507963"/>
                  <a:pt x="197884" y="513944"/>
                  <a:pt x="190574" y="513944"/>
                </a:cubicBezTo>
                <a:cubicBezTo>
                  <a:pt x="183264" y="513944"/>
                  <a:pt x="177283" y="507963"/>
                  <a:pt x="177283" y="500653"/>
                </a:cubicBezTo>
                <a:lnTo>
                  <a:pt x="177283" y="203311"/>
                </a:lnTo>
                <a:lnTo>
                  <a:pt x="150923" y="229671"/>
                </a:lnTo>
                <a:cubicBezTo>
                  <a:pt x="148339" y="232255"/>
                  <a:pt x="144942" y="233584"/>
                  <a:pt x="141546" y="233584"/>
                </a:cubicBezTo>
                <a:cubicBezTo>
                  <a:pt x="138149" y="233584"/>
                  <a:pt x="134753" y="232255"/>
                  <a:pt x="132169" y="229671"/>
                </a:cubicBezTo>
                <a:cubicBezTo>
                  <a:pt x="127000" y="224502"/>
                  <a:pt x="127000" y="216085"/>
                  <a:pt x="132169" y="210842"/>
                </a:cubicBezTo>
                <a:lnTo>
                  <a:pt x="181270" y="161740"/>
                </a:lnTo>
                <a:cubicBezTo>
                  <a:pt x="181270" y="161740"/>
                  <a:pt x="181270" y="161740"/>
                  <a:pt x="181270" y="161740"/>
                </a:cubicBezTo>
                <a:cubicBezTo>
                  <a:pt x="181566" y="161445"/>
                  <a:pt x="181935" y="161150"/>
                  <a:pt x="182230" y="160854"/>
                </a:cubicBezTo>
                <a:cubicBezTo>
                  <a:pt x="182378" y="160707"/>
                  <a:pt x="182525" y="160633"/>
                  <a:pt x="182673" y="160485"/>
                </a:cubicBezTo>
                <a:cubicBezTo>
                  <a:pt x="182895" y="160337"/>
                  <a:pt x="183042" y="160190"/>
                  <a:pt x="183264" y="160042"/>
                </a:cubicBezTo>
                <a:cubicBezTo>
                  <a:pt x="183485" y="159894"/>
                  <a:pt x="183633" y="159820"/>
                  <a:pt x="183855" y="159673"/>
                </a:cubicBezTo>
                <a:cubicBezTo>
                  <a:pt x="184002" y="159599"/>
                  <a:pt x="184224" y="159451"/>
                  <a:pt x="184371" y="159378"/>
                </a:cubicBezTo>
                <a:cubicBezTo>
                  <a:pt x="184593" y="159304"/>
                  <a:pt x="184740" y="159156"/>
                  <a:pt x="184962" y="159082"/>
                </a:cubicBezTo>
                <a:cubicBezTo>
                  <a:pt x="185184" y="159009"/>
                  <a:pt x="185331" y="158861"/>
                  <a:pt x="185553" y="158787"/>
                </a:cubicBezTo>
                <a:cubicBezTo>
                  <a:pt x="185774" y="158713"/>
                  <a:pt x="185922" y="158639"/>
                  <a:pt x="186144" y="158565"/>
                </a:cubicBezTo>
                <a:cubicBezTo>
                  <a:pt x="186365" y="158492"/>
                  <a:pt x="186586" y="158418"/>
                  <a:pt x="186808" y="158344"/>
                </a:cubicBezTo>
                <a:cubicBezTo>
                  <a:pt x="187030" y="158270"/>
                  <a:pt x="187177" y="158270"/>
                  <a:pt x="187399" y="158196"/>
                </a:cubicBezTo>
                <a:cubicBezTo>
                  <a:pt x="187620" y="158122"/>
                  <a:pt x="187842" y="158048"/>
                  <a:pt x="188063" y="158048"/>
                </a:cubicBezTo>
                <a:cubicBezTo>
                  <a:pt x="188285" y="157975"/>
                  <a:pt x="188506" y="157975"/>
                  <a:pt x="188728" y="157975"/>
                </a:cubicBezTo>
                <a:cubicBezTo>
                  <a:pt x="188949" y="157975"/>
                  <a:pt x="189171" y="157901"/>
                  <a:pt x="189319" y="157901"/>
                </a:cubicBezTo>
                <a:cubicBezTo>
                  <a:pt x="189688" y="157827"/>
                  <a:pt x="190131" y="157827"/>
                  <a:pt x="190500" y="157827"/>
                </a:cubicBezTo>
                <a:cubicBezTo>
                  <a:pt x="190500" y="157827"/>
                  <a:pt x="190574" y="157827"/>
                  <a:pt x="190574" y="157827"/>
                </a:cubicBezTo>
                <a:cubicBezTo>
                  <a:pt x="190574" y="157827"/>
                  <a:pt x="190647" y="157827"/>
                  <a:pt x="190647" y="157827"/>
                </a:cubicBezTo>
                <a:cubicBezTo>
                  <a:pt x="191017" y="157827"/>
                  <a:pt x="191460" y="157827"/>
                  <a:pt x="191829" y="157901"/>
                </a:cubicBezTo>
                <a:cubicBezTo>
                  <a:pt x="192051" y="157901"/>
                  <a:pt x="192272" y="157975"/>
                  <a:pt x="192420" y="157975"/>
                </a:cubicBezTo>
                <a:cubicBezTo>
                  <a:pt x="192641" y="157975"/>
                  <a:pt x="192863" y="158048"/>
                  <a:pt x="193084" y="158048"/>
                </a:cubicBezTo>
                <a:cubicBezTo>
                  <a:pt x="193306" y="158122"/>
                  <a:pt x="193527" y="158122"/>
                  <a:pt x="193749" y="158196"/>
                </a:cubicBezTo>
                <a:cubicBezTo>
                  <a:pt x="193970" y="158270"/>
                  <a:pt x="194118" y="158270"/>
                  <a:pt x="194339" y="158344"/>
                </a:cubicBezTo>
                <a:cubicBezTo>
                  <a:pt x="194561" y="158418"/>
                  <a:pt x="194782" y="158492"/>
                  <a:pt x="195004" y="158565"/>
                </a:cubicBezTo>
                <a:cubicBezTo>
                  <a:pt x="195226" y="158639"/>
                  <a:pt x="195373" y="158713"/>
                  <a:pt x="195595" y="158787"/>
                </a:cubicBezTo>
                <a:cubicBezTo>
                  <a:pt x="195816" y="158861"/>
                  <a:pt x="195964" y="158935"/>
                  <a:pt x="196185" y="159082"/>
                </a:cubicBezTo>
                <a:cubicBezTo>
                  <a:pt x="196407" y="159156"/>
                  <a:pt x="196554" y="159230"/>
                  <a:pt x="196776" y="159378"/>
                </a:cubicBezTo>
                <a:cubicBezTo>
                  <a:pt x="196998" y="159451"/>
                  <a:pt x="197145" y="159599"/>
                  <a:pt x="197293" y="159673"/>
                </a:cubicBezTo>
                <a:cubicBezTo>
                  <a:pt x="197515" y="159820"/>
                  <a:pt x="197662" y="159894"/>
                  <a:pt x="197884" y="160042"/>
                </a:cubicBezTo>
                <a:cubicBezTo>
                  <a:pt x="198105" y="160190"/>
                  <a:pt x="198253" y="160337"/>
                  <a:pt x="198474" y="160485"/>
                </a:cubicBezTo>
                <a:cubicBezTo>
                  <a:pt x="198622" y="160633"/>
                  <a:pt x="198770" y="160707"/>
                  <a:pt x="198917" y="160854"/>
                </a:cubicBezTo>
                <a:cubicBezTo>
                  <a:pt x="199287" y="161150"/>
                  <a:pt x="199582" y="161445"/>
                  <a:pt x="199877" y="161740"/>
                </a:cubicBezTo>
                <a:cubicBezTo>
                  <a:pt x="199877" y="161740"/>
                  <a:pt x="199877" y="161740"/>
                  <a:pt x="199877" y="161740"/>
                </a:cubicBezTo>
                <a:cubicBezTo>
                  <a:pt x="199877" y="161740"/>
                  <a:pt x="199877" y="161740"/>
                  <a:pt x="199877" y="161740"/>
                </a:cubicBezTo>
                <a:lnTo>
                  <a:pt x="248979" y="210842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s-MX" sz="1100" dirty="0"/>
          </a:p>
        </p:txBody>
      </p:sp>
      <p:grpSp>
        <p:nvGrpSpPr>
          <p:cNvPr id="38" name="Grupo 224">
            <a:extLst>
              <a:ext uri="{FF2B5EF4-FFF2-40B4-BE49-F238E27FC236}">
                <a16:creationId xmlns:a16="http://schemas.microsoft.com/office/drawing/2014/main" id="{C6720A8E-E4C8-A5A5-DAA6-6B647249C1E2}"/>
              </a:ext>
            </a:extLst>
          </p:cNvPr>
          <p:cNvGrpSpPr/>
          <p:nvPr/>
        </p:nvGrpSpPr>
        <p:grpSpPr>
          <a:xfrm>
            <a:off x="9987816" y="2265130"/>
            <a:ext cx="704867" cy="710085"/>
            <a:chOff x="5014564" y="2955589"/>
            <a:chExt cx="939996" cy="946954"/>
          </a:xfrm>
          <a:solidFill>
            <a:schemeClr val="bg1"/>
          </a:solidFill>
        </p:grpSpPr>
        <p:sp>
          <p:nvSpPr>
            <p:cNvPr id="40" name="Forma libre 87">
              <a:extLst>
                <a:ext uri="{FF2B5EF4-FFF2-40B4-BE49-F238E27FC236}">
                  <a16:creationId xmlns:a16="http://schemas.microsoft.com/office/drawing/2014/main" id="{AA05F814-5770-838B-B002-801703060338}"/>
                </a:ext>
              </a:extLst>
            </p:cNvPr>
            <p:cNvSpPr/>
            <p:nvPr/>
          </p:nvSpPr>
          <p:spPr>
            <a:xfrm>
              <a:off x="5014564" y="2955589"/>
              <a:ext cx="483059" cy="483059"/>
            </a:xfrm>
            <a:custGeom>
              <a:avLst/>
              <a:gdLst>
                <a:gd name="connsiteX0" fmla="*/ 242383 w 483059"/>
                <a:gd name="connsiteY0" fmla="*/ 482731 h 483059"/>
                <a:gd name="connsiteX1" fmla="*/ 242777 w 483059"/>
                <a:gd name="connsiteY1" fmla="*/ 482731 h 483059"/>
                <a:gd name="connsiteX2" fmla="*/ 253672 w 483059"/>
                <a:gd name="connsiteY2" fmla="*/ 482469 h 483059"/>
                <a:gd name="connsiteX3" fmla="*/ 482731 w 483059"/>
                <a:gd name="connsiteY3" fmla="*/ 241858 h 483059"/>
                <a:gd name="connsiteX4" fmla="*/ 241858 w 483059"/>
                <a:gd name="connsiteY4" fmla="*/ 984 h 483059"/>
                <a:gd name="connsiteX5" fmla="*/ 984 w 483059"/>
                <a:gd name="connsiteY5" fmla="*/ 241858 h 483059"/>
                <a:gd name="connsiteX6" fmla="*/ 241858 w 483059"/>
                <a:gd name="connsiteY6" fmla="*/ 482731 h 483059"/>
                <a:gd name="connsiteX7" fmla="*/ 242383 w 483059"/>
                <a:gd name="connsiteY7" fmla="*/ 482731 h 483059"/>
                <a:gd name="connsiteX8" fmla="*/ 241070 w 483059"/>
                <a:gd name="connsiteY8" fmla="*/ 278613 h 483059"/>
                <a:gd name="connsiteX9" fmla="*/ 171106 w 483059"/>
                <a:gd name="connsiteY9" fmla="*/ 208648 h 483059"/>
                <a:gd name="connsiteX10" fmla="*/ 241070 w 483059"/>
                <a:gd name="connsiteY10" fmla="*/ 138683 h 483059"/>
                <a:gd name="connsiteX11" fmla="*/ 311035 w 483059"/>
                <a:gd name="connsiteY11" fmla="*/ 208648 h 483059"/>
                <a:gd name="connsiteX12" fmla="*/ 241070 w 483059"/>
                <a:gd name="connsiteY12" fmla="*/ 278613 h 483059"/>
                <a:gd name="connsiteX13" fmla="*/ 241070 w 483059"/>
                <a:gd name="connsiteY13" fmla="*/ 364329 h 483059"/>
                <a:gd name="connsiteX14" fmla="*/ 347659 w 483059"/>
                <a:gd name="connsiteY14" fmla="*/ 395833 h 483059"/>
                <a:gd name="connsiteX15" fmla="*/ 251178 w 483059"/>
                <a:gd name="connsiteY15" fmla="*/ 435344 h 483059"/>
                <a:gd name="connsiteX16" fmla="*/ 242383 w 483059"/>
                <a:gd name="connsiteY16" fmla="*/ 435607 h 483059"/>
                <a:gd name="connsiteX17" fmla="*/ 136451 w 483059"/>
                <a:gd name="connsiteY17" fmla="*/ 394520 h 483059"/>
                <a:gd name="connsiteX18" fmla="*/ 241070 w 483059"/>
                <a:gd name="connsiteY18" fmla="*/ 364329 h 483059"/>
                <a:gd name="connsiteX19" fmla="*/ 48503 w 483059"/>
                <a:gd name="connsiteY19" fmla="*/ 241858 h 483059"/>
                <a:gd name="connsiteX20" fmla="*/ 242121 w 483059"/>
                <a:gd name="connsiteY20" fmla="*/ 48240 h 483059"/>
                <a:gd name="connsiteX21" fmla="*/ 435738 w 483059"/>
                <a:gd name="connsiteY21" fmla="*/ 241858 h 483059"/>
                <a:gd name="connsiteX22" fmla="*/ 388482 w 483059"/>
                <a:gd name="connsiteY22" fmla="*/ 368398 h 483059"/>
                <a:gd name="connsiteX23" fmla="*/ 386645 w 483059"/>
                <a:gd name="connsiteY23" fmla="*/ 366692 h 483059"/>
                <a:gd name="connsiteX24" fmla="*/ 278875 w 483059"/>
                <a:gd name="connsiteY24" fmla="*/ 319699 h 483059"/>
                <a:gd name="connsiteX25" fmla="*/ 358291 w 483059"/>
                <a:gd name="connsiteY25" fmla="*/ 208648 h 483059"/>
                <a:gd name="connsiteX26" fmla="*/ 241070 w 483059"/>
                <a:gd name="connsiteY26" fmla="*/ 91427 h 483059"/>
                <a:gd name="connsiteX27" fmla="*/ 123850 w 483059"/>
                <a:gd name="connsiteY27" fmla="*/ 208648 h 483059"/>
                <a:gd name="connsiteX28" fmla="*/ 203397 w 483059"/>
                <a:gd name="connsiteY28" fmla="*/ 319699 h 483059"/>
                <a:gd name="connsiteX29" fmla="*/ 98121 w 483059"/>
                <a:gd name="connsiteY29" fmla="*/ 364461 h 483059"/>
                <a:gd name="connsiteX30" fmla="*/ 94971 w 483059"/>
                <a:gd name="connsiteY30" fmla="*/ 367611 h 483059"/>
                <a:gd name="connsiteX31" fmla="*/ 48503 w 483059"/>
                <a:gd name="connsiteY31" fmla="*/ 241858 h 483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83059" h="483059">
                  <a:moveTo>
                    <a:pt x="242383" y="482731"/>
                  </a:moveTo>
                  <a:cubicBezTo>
                    <a:pt x="242514" y="482731"/>
                    <a:pt x="242646" y="482731"/>
                    <a:pt x="242777" y="482731"/>
                  </a:cubicBezTo>
                  <a:cubicBezTo>
                    <a:pt x="246452" y="482731"/>
                    <a:pt x="249997" y="482600"/>
                    <a:pt x="253672" y="482469"/>
                  </a:cubicBezTo>
                  <a:cubicBezTo>
                    <a:pt x="381000" y="476299"/>
                    <a:pt x="482731" y="370761"/>
                    <a:pt x="482731" y="241858"/>
                  </a:cubicBezTo>
                  <a:cubicBezTo>
                    <a:pt x="482731" y="109017"/>
                    <a:pt x="374699" y="984"/>
                    <a:pt x="241858" y="984"/>
                  </a:cubicBezTo>
                  <a:cubicBezTo>
                    <a:pt x="109017" y="984"/>
                    <a:pt x="984" y="109017"/>
                    <a:pt x="984" y="241858"/>
                  </a:cubicBezTo>
                  <a:cubicBezTo>
                    <a:pt x="984" y="374699"/>
                    <a:pt x="109017" y="482731"/>
                    <a:pt x="241858" y="482731"/>
                  </a:cubicBezTo>
                  <a:cubicBezTo>
                    <a:pt x="242121" y="482731"/>
                    <a:pt x="242252" y="482731"/>
                    <a:pt x="242383" y="482731"/>
                  </a:cubicBezTo>
                  <a:close/>
                  <a:moveTo>
                    <a:pt x="241070" y="278613"/>
                  </a:moveTo>
                  <a:cubicBezTo>
                    <a:pt x="202478" y="278613"/>
                    <a:pt x="171106" y="247240"/>
                    <a:pt x="171106" y="208648"/>
                  </a:cubicBezTo>
                  <a:cubicBezTo>
                    <a:pt x="171106" y="170055"/>
                    <a:pt x="202478" y="138683"/>
                    <a:pt x="241070" y="138683"/>
                  </a:cubicBezTo>
                  <a:cubicBezTo>
                    <a:pt x="279663" y="138683"/>
                    <a:pt x="311035" y="170055"/>
                    <a:pt x="311035" y="208648"/>
                  </a:cubicBezTo>
                  <a:cubicBezTo>
                    <a:pt x="311035" y="247240"/>
                    <a:pt x="279663" y="278613"/>
                    <a:pt x="241070" y="278613"/>
                  </a:cubicBezTo>
                  <a:close/>
                  <a:moveTo>
                    <a:pt x="241070" y="364329"/>
                  </a:moveTo>
                  <a:cubicBezTo>
                    <a:pt x="282419" y="364329"/>
                    <a:pt x="321537" y="376012"/>
                    <a:pt x="347659" y="395833"/>
                  </a:cubicBezTo>
                  <a:cubicBezTo>
                    <a:pt x="320749" y="419724"/>
                    <a:pt x="287014" y="433507"/>
                    <a:pt x="251178" y="435344"/>
                  </a:cubicBezTo>
                  <a:cubicBezTo>
                    <a:pt x="248290" y="435476"/>
                    <a:pt x="245402" y="435607"/>
                    <a:pt x="242383" y="435607"/>
                  </a:cubicBezTo>
                  <a:cubicBezTo>
                    <a:pt x="202741" y="435476"/>
                    <a:pt x="165461" y="421036"/>
                    <a:pt x="136451" y="394520"/>
                  </a:cubicBezTo>
                  <a:cubicBezTo>
                    <a:pt x="162573" y="375356"/>
                    <a:pt x="200903" y="364329"/>
                    <a:pt x="241070" y="364329"/>
                  </a:cubicBezTo>
                  <a:close/>
                  <a:moveTo>
                    <a:pt x="48503" y="241858"/>
                  </a:moveTo>
                  <a:cubicBezTo>
                    <a:pt x="48503" y="135139"/>
                    <a:pt x="135401" y="48240"/>
                    <a:pt x="242121" y="48240"/>
                  </a:cubicBezTo>
                  <a:cubicBezTo>
                    <a:pt x="348840" y="48240"/>
                    <a:pt x="435738" y="135139"/>
                    <a:pt x="435738" y="241858"/>
                  </a:cubicBezTo>
                  <a:cubicBezTo>
                    <a:pt x="435738" y="290164"/>
                    <a:pt x="417886" y="334532"/>
                    <a:pt x="388482" y="368398"/>
                  </a:cubicBezTo>
                  <a:cubicBezTo>
                    <a:pt x="387958" y="367742"/>
                    <a:pt x="387301" y="367217"/>
                    <a:pt x="386645" y="366692"/>
                  </a:cubicBezTo>
                  <a:cubicBezTo>
                    <a:pt x="359604" y="342145"/>
                    <a:pt x="321537" y="325868"/>
                    <a:pt x="278875" y="319699"/>
                  </a:cubicBezTo>
                  <a:cubicBezTo>
                    <a:pt x="325081" y="303947"/>
                    <a:pt x="358291" y="260104"/>
                    <a:pt x="358291" y="208648"/>
                  </a:cubicBezTo>
                  <a:cubicBezTo>
                    <a:pt x="358291" y="143933"/>
                    <a:pt x="305653" y="91427"/>
                    <a:pt x="241070" y="91427"/>
                  </a:cubicBezTo>
                  <a:cubicBezTo>
                    <a:pt x="176488" y="91427"/>
                    <a:pt x="123850" y="144065"/>
                    <a:pt x="123850" y="208648"/>
                  </a:cubicBezTo>
                  <a:cubicBezTo>
                    <a:pt x="123850" y="260104"/>
                    <a:pt x="157191" y="303947"/>
                    <a:pt x="203397" y="319699"/>
                  </a:cubicBezTo>
                  <a:cubicBezTo>
                    <a:pt x="162179" y="325606"/>
                    <a:pt x="125031" y="341226"/>
                    <a:pt x="98121" y="364461"/>
                  </a:cubicBezTo>
                  <a:cubicBezTo>
                    <a:pt x="96940" y="365379"/>
                    <a:pt x="95890" y="366429"/>
                    <a:pt x="94971" y="367611"/>
                  </a:cubicBezTo>
                  <a:cubicBezTo>
                    <a:pt x="65961" y="333613"/>
                    <a:pt x="48503" y="289770"/>
                    <a:pt x="48503" y="24185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MX" sz="1100" dirty="0"/>
            </a:p>
          </p:txBody>
        </p:sp>
        <p:sp>
          <p:nvSpPr>
            <p:cNvPr id="41" name="Forma libre 88">
              <a:extLst>
                <a:ext uri="{FF2B5EF4-FFF2-40B4-BE49-F238E27FC236}">
                  <a16:creationId xmlns:a16="http://schemas.microsoft.com/office/drawing/2014/main" id="{F7C9E687-2833-5AB8-6503-F7476B86D208}"/>
                </a:ext>
              </a:extLst>
            </p:cNvPr>
            <p:cNvSpPr/>
            <p:nvPr/>
          </p:nvSpPr>
          <p:spPr>
            <a:xfrm>
              <a:off x="5471501" y="3141199"/>
              <a:ext cx="483059" cy="761344"/>
            </a:xfrm>
            <a:custGeom>
              <a:avLst/>
              <a:gdLst>
                <a:gd name="connsiteX0" fmla="*/ 482863 w 483059"/>
                <a:gd name="connsiteY0" fmla="*/ 520667 h 761343"/>
                <a:gd name="connsiteX1" fmla="*/ 255641 w 483059"/>
                <a:gd name="connsiteY1" fmla="*/ 280188 h 761343"/>
                <a:gd name="connsiteX2" fmla="*/ 256429 w 483059"/>
                <a:gd name="connsiteY2" fmla="*/ 279925 h 761343"/>
                <a:gd name="connsiteX3" fmla="*/ 257478 w 483059"/>
                <a:gd name="connsiteY3" fmla="*/ 279663 h 761343"/>
                <a:gd name="connsiteX4" fmla="*/ 258660 w 483059"/>
                <a:gd name="connsiteY4" fmla="*/ 279269 h 761343"/>
                <a:gd name="connsiteX5" fmla="*/ 259710 w 483059"/>
                <a:gd name="connsiteY5" fmla="*/ 278875 h 761343"/>
                <a:gd name="connsiteX6" fmla="*/ 260760 w 483059"/>
                <a:gd name="connsiteY6" fmla="*/ 278350 h 761343"/>
                <a:gd name="connsiteX7" fmla="*/ 261811 w 483059"/>
                <a:gd name="connsiteY7" fmla="*/ 277825 h 761343"/>
                <a:gd name="connsiteX8" fmla="*/ 262729 w 483059"/>
                <a:gd name="connsiteY8" fmla="*/ 277300 h 761343"/>
                <a:gd name="connsiteX9" fmla="*/ 263780 w 483059"/>
                <a:gd name="connsiteY9" fmla="*/ 276643 h 761343"/>
                <a:gd name="connsiteX10" fmla="*/ 264829 w 483059"/>
                <a:gd name="connsiteY10" fmla="*/ 275856 h 761343"/>
                <a:gd name="connsiteX11" fmla="*/ 265749 w 483059"/>
                <a:gd name="connsiteY11" fmla="*/ 275199 h 761343"/>
                <a:gd name="connsiteX12" fmla="*/ 267455 w 483059"/>
                <a:gd name="connsiteY12" fmla="*/ 273624 h 761343"/>
                <a:gd name="connsiteX13" fmla="*/ 267455 w 483059"/>
                <a:gd name="connsiteY13" fmla="*/ 273624 h 761343"/>
                <a:gd name="connsiteX14" fmla="*/ 324424 w 483059"/>
                <a:gd name="connsiteY14" fmla="*/ 216655 h 761343"/>
                <a:gd name="connsiteX15" fmla="*/ 324424 w 483059"/>
                <a:gd name="connsiteY15" fmla="*/ 183182 h 761343"/>
                <a:gd name="connsiteX16" fmla="*/ 290951 w 483059"/>
                <a:gd name="connsiteY16" fmla="*/ 183182 h 761343"/>
                <a:gd name="connsiteX17" fmla="*/ 274281 w 483059"/>
                <a:gd name="connsiteY17" fmla="*/ 199853 h 761343"/>
                <a:gd name="connsiteX18" fmla="*/ 274281 w 483059"/>
                <a:gd name="connsiteY18" fmla="*/ 128969 h 761343"/>
                <a:gd name="connsiteX19" fmla="*/ 212060 w 483059"/>
                <a:gd name="connsiteY19" fmla="*/ 20018 h 761343"/>
                <a:gd name="connsiteX20" fmla="*/ 69636 w 483059"/>
                <a:gd name="connsiteY20" fmla="*/ 984 h 761343"/>
                <a:gd name="connsiteX21" fmla="*/ 46009 w 483059"/>
                <a:gd name="connsiteY21" fmla="*/ 24612 h 761343"/>
                <a:gd name="connsiteX22" fmla="*/ 69636 w 483059"/>
                <a:gd name="connsiteY22" fmla="*/ 48240 h 761343"/>
                <a:gd name="connsiteX23" fmla="*/ 192370 w 483059"/>
                <a:gd name="connsiteY23" fmla="*/ 62942 h 761343"/>
                <a:gd name="connsiteX24" fmla="*/ 227025 w 483059"/>
                <a:gd name="connsiteY24" fmla="*/ 128838 h 761343"/>
                <a:gd name="connsiteX25" fmla="*/ 227025 w 483059"/>
                <a:gd name="connsiteY25" fmla="*/ 199721 h 761343"/>
                <a:gd name="connsiteX26" fmla="*/ 210354 w 483059"/>
                <a:gd name="connsiteY26" fmla="*/ 183051 h 761343"/>
                <a:gd name="connsiteX27" fmla="*/ 176881 w 483059"/>
                <a:gd name="connsiteY27" fmla="*/ 183051 h 761343"/>
                <a:gd name="connsiteX28" fmla="*/ 176881 w 483059"/>
                <a:gd name="connsiteY28" fmla="*/ 216523 h 761343"/>
                <a:gd name="connsiteX29" fmla="*/ 233851 w 483059"/>
                <a:gd name="connsiteY29" fmla="*/ 273493 h 761343"/>
                <a:gd name="connsiteX30" fmla="*/ 235557 w 483059"/>
                <a:gd name="connsiteY30" fmla="*/ 275068 h 761343"/>
                <a:gd name="connsiteX31" fmla="*/ 236344 w 483059"/>
                <a:gd name="connsiteY31" fmla="*/ 275725 h 761343"/>
                <a:gd name="connsiteX32" fmla="*/ 237395 w 483059"/>
                <a:gd name="connsiteY32" fmla="*/ 276512 h 761343"/>
                <a:gd name="connsiteX33" fmla="*/ 238445 w 483059"/>
                <a:gd name="connsiteY33" fmla="*/ 277168 h 761343"/>
                <a:gd name="connsiteX34" fmla="*/ 239364 w 483059"/>
                <a:gd name="connsiteY34" fmla="*/ 277694 h 761343"/>
                <a:gd name="connsiteX35" fmla="*/ 240414 w 483059"/>
                <a:gd name="connsiteY35" fmla="*/ 278219 h 761343"/>
                <a:gd name="connsiteX36" fmla="*/ 241464 w 483059"/>
                <a:gd name="connsiteY36" fmla="*/ 278744 h 761343"/>
                <a:gd name="connsiteX37" fmla="*/ 242514 w 483059"/>
                <a:gd name="connsiteY37" fmla="*/ 279137 h 761343"/>
                <a:gd name="connsiteX38" fmla="*/ 243695 w 483059"/>
                <a:gd name="connsiteY38" fmla="*/ 279531 h 761343"/>
                <a:gd name="connsiteX39" fmla="*/ 244090 w 483059"/>
                <a:gd name="connsiteY39" fmla="*/ 279663 h 761343"/>
                <a:gd name="connsiteX40" fmla="*/ 241858 w 483059"/>
                <a:gd name="connsiteY40" fmla="*/ 279663 h 761343"/>
                <a:gd name="connsiteX41" fmla="*/ 984 w 483059"/>
                <a:gd name="connsiteY41" fmla="*/ 520536 h 761343"/>
                <a:gd name="connsiteX42" fmla="*/ 241858 w 483059"/>
                <a:gd name="connsiteY42" fmla="*/ 761409 h 761343"/>
                <a:gd name="connsiteX43" fmla="*/ 242251 w 483059"/>
                <a:gd name="connsiteY43" fmla="*/ 761409 h 761343"/>
                <a:gd name="connsiteX44" fmla="*/ 242646 w 483059"/>
                <a:gd name="connsiteY44" fmla="*/ 761409 h 761343"/>
                <a:gd name="connsiteX45" fmla="*/ 253540 w 483059"/>
                <a:gd name="connsiteY45" fmla="*/ 761147 h 761343"/>
                <a:gd name="connsiteX46" fmla="*/ 482863 w 483059"/>
                <a:gd name="connsiteY46" fmla="*/ 520667 h 761343"/>
                <a:gd name="connsiteX47" fmla="*/ 48372 w 483059"/>
                <a:gd name="connsiteY47" fmla="*/ 520667 h 761343"/>
                <a:gd name="connsiteX48" fmla="*/ 241989 w 483059"/>
                <a:gd name="connsiteY48" fmla="*/ 327049 h 761343"/>
                <a:gd name="connsiteX49" fmla="*/ 435607 w 483059"/>
                <a:gd name="connsiteY49" fmla="*/ 520667 h 761343"/>
                <a:gd name="connsiteX50" fmla="*/ 388351 w 483059"/>
                <a:gd name="connsiteY50" fmla="*/ 647208 h 761343"/>
                <a:gd name="connsiteX51" fmla="*/ 386513 w 483059"/>
                <a:gd name="connsiteY51" fmla="*/ 645501 h 761343"/>
                <a:gd name="connsiteX52" fmla="*/ 278744 w 483059"/>
                <a:gd name="connsiteY52" fmla="*/ 598508 h 761343"/>
                <a:gd name="connsiteX53" fmla="*/ 358160 w 483059"/>
                <a:gd name="connsiteY53" fmla="*/ 487457 h 761343"/>
                <a:gd name="connsiteX54" fmla="*/ 240939 w 483059"/>
                <a:gd name="connsiteY54" fmla="*/ 370236 h 761343"/>
                <a:gd name="connsiteX55" fmla="*/ 123718 w 483059"/>
                <a:gd name="connsiteY55" fmla="*/ 487457 h 761343"/>
                <a:gd name="connsiteX56" fmla="*/ 203266 w 483059"/>
                <a:gd name="connsiteY56" fmla="*/ 598508 h 761343"/>
                <a:gd name="connsiteX57" fmla="*/ 97990 w 483059"/>
                <a:gd name="connsiteY57" fmla="*/ 643270 h 761343"/>
                <a:gd name="connsiteX58" fmla="*/ 94840 w 483059"/>
                <a:gd name="connsiteY58" fmla="*/ 646420 h 761343"/>
                <a:gd name="connsiteX59" fmla="*/ 48372 w 483059"/>
                <a:gd name="connsiteY59" fmla="*/ 520667 h 761343"/>
                <a:gd name="connsiteX60" fmla="*/ 242383 w 483059"/>
                <a:gd name="connsiteY60" fmla="*/ 714285 h 761343"/>
                <a:gd name="connsiteX61" fmla="*/ 136451 w 483059"/>
                <a:gd name="connsiteY61" fmla="*/ 673199 h 761343"/>
                <a:gd name="connsiteX62" fmla="*/ 241070 w 483059"/>
                <a:gd name="connsiteY62" fmla="*/ 643138 h 761343"/>
                <a:gd name="connsiteX63" fmla="*/ 347659 w 483059"/>
                <a:gd name="connsiteY63" fmla="*/ 674642 h 761343"/>
                <a:gd name="connsiteX64" fmla="*/ 251178 w 483059"/>
                <a:gd name="connsiteY64" fmla="*/ 714154 h 761343"/>
                <a:gd name="connsiteX65" fmla="*/ 242383 w 483059"/>
                <a:gd name="connsiteY65" fmla="*/ 714285 h 761343"/>
                <a:gd name="connsiteX66" fmla="*/ 240939 w 483059"/>
                <a:gd name="connsiteY66" fmla="*/ 557553 h 761343"/>
                <a:gd name="connsiteX67" fmla="*/ 170974 w 483059"/>
                <a:gd name="connsiteY67" fmla="*/ 487588 h 761343"/>
                <a:gd name="connsiteX68" fmla="*/ 240939 w 483059"/>
                <a:gd name="connsiteY68" fmla="*/ 417623 h 761343"/>
                <a:gd name="connsiteX69" fmla="*/ 310904 w 483059"/>
                <a:gd name="connsiteY69" fmla="*/ 487588 h 761343"/>
                <a:gd name="connsiteX70" fmla="*/ 240939 w 483059"/>
                <a:gd name="connsiteY70" fmla="*/ 557553 h 761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483059" h="761343">
                  <a:moveTo>
                    <a:pt x="482863" y="520667"/>
                  </a:moveTo>
                  <a:cubicBezTo>
                    <a:pt x="482863" y="392420"/>
                    <a:pt x="382181" y="287276"/>
                    <a:pt x="255641" y="280188"/>
                  </a:cubicBezTo>
                  <a:cubicBezTo>
                    <a:pt x="255904" y="280188"/>
                    <a:pt x="256166" y="280056"/>
                    <a:pt x="256429" y="279925"/>
                  </a:cubicBezTo>
                  <a:cubicBezTo>
                    <a:pt x="256822" y="279794"/>
                    <a:pt x="257085" y="279794"/>
                    <a:pt x="257478" y="279663"/>
                  </a:cubicBezTo>
                  <a:cubicBezTo>
                    <a:pt x="257873" y="279531"/>
                    <a:pt x="258266" y="279400"/>
                    <a:pt x="258660" y="279269"/>
                  </a:cubicBezTo>
                  <a:cubicBezTo>
                    <a:pt x="259054" y="279137"/>
                    <a:pt x="259316" y="279006"/>
                    <a:pt x="259710" y="278875"/>
                  </a:cubicBezTo>
                  <a:cubicBezTo>
                    <a:pt x="260104" y="278744"/>
                    <a:pt x="260367" y="278612"/>
                    <a:pt x="260760" y="278350"/>
                  </a:cubicBezTo>
                  <a:cubicBezTo>
                    <a:pt x="261154" y="278219"/>
                    <a:pt x="261548" y="277956"/>
                    <a:pt x="261811" y="277825"/>
                  </a:cubicBezTo>
                  <a:cubicBezTo>
                    <a:pt x="262073" y="277694"/>
                    <a:pt x="262467" y="277431"/>
                    <a:pt x="262729" y="277300"/>
                  </a:cubicBezTo>
                  <a:cubicBezTo>
                    <a:pt x="263123" y="277037"/>
                    <a:pt x="263385" y="276906"/>
                    <a:pt x="263780" y="276643"/>
                  </a:cubicBezTo>
                  <a:cubicBezTo>
                    <a:pt x="264173" y="276381"/>
                    <a:pt x="264436" y="276118"/>
                    <a:pt x="264829" y="275856"/>
                  </a:cubicBezTo>
                  <a:cubicBezTo>
                    <a:pt x="265092" y="275593"/>
                    <a:pt x="265354" y="275462"/>
                    <a:pt x="265749" y="275199"/>
                  </a:cubicBezTo>
                  <a:cubicBezTo>
                    <a:pt x="266405" y="274674"/>
                    <a:pt x="266930" y="274149"/>
                    <a:pt x="267455" y="273624"/>
                  </a:cubicBezTo>
                  <a:cubicBezTo>
                    <a:pt x="267455" y="273624"/>
                    <a:pt x="267455" y="273624"/>
                    <a:pt x="267455" y="273624"/>
                  </a:cubicBezTo>
                  <a:lnTo>
                    <a:pt x="324424" y="216655"/>
                  </a:lnTo>
                  <a:cubicBezTo>
                    <a:pt x="333613" y="207466"/>
                    <a:pt x="333613" y="192502"/>
                    <a:pt x="324424" y="183182"/>
                  </a:cubicBezTo>
                  <a:cubicBezTo>
                    <a:pt x="315236" y="173993"/>
                    <a:pt x="300271" y="173993"/>
                    <a:pt x="290951" y="183182"/>
                  </a:cubicBezTo>
                  <a:lnTo>
                    <a:pt x="274281" y="199853"/>
                  </a:lnTo>
                  <a:lnTo>
                    <a:pt x="274281" y="128969"/>
                  </a:lnTo>
                  <a:cubicBezTo>
                    <a:pt x="274281" y="74887"/>
                    <a:pt x="253935" y="39314"/>
                    <a:pt x="212060" y="20018"/>
                  </a:cubicBezTo>
                  <a:cubicBezTo>
                    <a:pt x="177537" y="4135"/>
                    <a:pt x="131988" y="984"/>
                    <a:pt x="69636" y="984"/>
                  </a:cubicBezTo>
                  <a:cubicBezTo>
                    <a:pt x="56641" y="984"/>
                    <a:pt x="46009" y="11617"/>
                    <a:pt x="46009" y="24612"/>
                  </a:cubicBezTo>
                  <a:cubicBezTo>
                    <a:pt x="46009" y="37608"/>
                    <a:pt x="56641" y="48240"/>
                    <a:pt x="69636" y="48240"/>
                  </a:cubicBezTo>
                  <a:cubicBezTo>
                    <a:pt x="123981" y="48240"/>
                    <a:pt x="165724" y="50734"/>
                    <a:pt x="192370" y="62942"/>
                  </a:cubicBezTo>
                  <a:cubicBezTo>
                    <a:pt x="209566" y="70818"/>
                    <a:pt x="227025" y="84732"/>
                    <a:pt x="227025" y="128838"/>
                  </a:cubicBezTo>
                  <a:lnTo>
                    <a:pt x="227025" y="199721"/>
                  </a:lnTo>
                  <a:lnTo>
                    <a:pt x="210354" y="183051"/>
                  </a:lnTo>
                  <a:cubicBezTo>
                    <a:pt x="201165" y="173862"/>
                    <a:pt x="186201" y="173862"/>
                    <a:pt x="176881" y="183051"/>
                  </a:cubicBezTo>
                  <a:cubicBezTo>
                    <a:pt x="167693" y="192239"/>
                    <a:pt x="167693" y="207204"/>
                    <a:pt x="176881" y="216523"/>
                  </a:cubicBezTo>
                  <a:lnTo>
                    <a:pt x="233851" y="273493"/>
                  </a:lnTo>
                  <a:cubicBezTo>
                    <a:pt x="234375" y="274018"/>
                    <a:pt x="235032" y="274543"/>
                    <a:pt x="235557" y="275068"/>
                  </a:cubicBezTo>
                  <a:cubicBezTo>
                    <a:pt x="235820" y="275331"/>
                    <a:pt x="236082" y="275462"/>
                    <a:pt x="236344" y="275725"/>
                  </a:cubicBezTo>
                  <a:cubicBezTo>
                    <a:pt x="236739" y="275987"/>
                    <a:pt x="237001" y="276250"/>
                    <a:pt x="237395" y="276512"/>
                  </a:cubicBezTo>
                  <a:cubicBezTo>
                    <a:pt x="237789" y="276775"/>
                    <a:pt x="238051" y="276906"/>
                    <a:pt x="238445" y="277168"/>
                  </a:cubicBezTo>
                  <a:cubicBezTo>
                    <a:pt x="238708" y="277300"/>
                    <a:pt x="239101" y="277562"/>
                    <a:pt x="239364" y="277694"/>
                  </a:cubicBezTo>
                  <a:cubicBezTo>
                    <a:pt x="239758" y="277825"/>
                    <a:pt x="240020" y="278087"/>
                    <a:pt x="240414" y="278219"/>
                  </a:cubicBezTo>
                  <a:cubicBezTo>
                    <a:pt x="240808" y="278350"/>
                    <a:pt x="241070" y="278612"/>
                    <a:pt x="241464" y="278744"/>
                  </a:cubicBezTo>
                  <a:cubicBezTo>
                    <a:pt x="241858" y="278875"/>
                    <a:pt x="242121" y="279006"/>
                    <a:pt x="242514" y="279137"/>
                  </a:cubicBezTo>
                  <a:cubicBezTo>
                    <a:pt x="242908" y="279269"/>
                    <a:pt x="243302" y="279400"/>
                    <a:pt x="243695" y="279531"/>
                  </a:cubicBezTo>
                  <a:cubicBezTo>
                    <a:pt x="243827" y="279531"/>
                    <a:pt x="243958" y="279663"/>
                    <a:pt x="244090" y="279663"/>
                  </a:cubicBezTo>
                  <a:cubicBezTo>
                    <a:pt x="243302" y="279663"/>
                    <a:pt x="242646" y="279663"/>
                    <a:pt x="241858" y="279663"/>
                  </a:cubicBezTo>
                  <a:cubicBezTo>
                    <a:pt x="109016" y="279663"/>
                    <a:pt x="984" y="387695"/>
                    <a:pt x="984" y="520536"/>
                  </a:cubicBezTo>
                  <a:cubicBezTo>
                    <a:pt x="984" y="653377"/>
                    <a:pt x="109016" y="761409"/>
                    <a:pt x="241858" y="761409"/>
                  </a:cubicBezTo>
                  <a:cubicBezTo>
                    <a:pt x="241989" y="761409"/>
                    <a:pt x="242121" y="761409"/>
                    <a:pt x="242251" y="761409"/>
                  </a:cubicBezTo>
                  <a:cubicBezTo>
                    <a:pt x="242383" y="761409"/>
                    <a:pt x="242514" y="761409"/>
                    <a:pt x="242646" y="761409"/>
                  </a:cubicBezTo>
                  <a:cubicBezTo>
                    <a:pt x="246321" y="761409"/>
                    <a:pt x="249865" y="761278"/>
                    <a:pt x="253540" y="761147"/>
                  </a:cubicBezTo>
                  <a:cubicBezTo>
                    <a:pt x="381131" y="755109"/>
                    <a:pt x="482863" y="649571"/>
                    <a:pt x="482863" y="520667"/>
                  </a:cubicBezTo>
                  <a:close/>
                  <a:moveTo>
                    <a:pt x="48372" y="520667"/>
                  </a:moveTo>
                  <a:cubicBezTo>
                    <a:pt x="48372" y="413948"/>
                    <a:pt x="135270" y="327049"/>
                    <a:pt x="241989" y="327049"/>
                  </a:cubicBezTo>
                  <a:cubicBezTo>
                    <a:pt x="348708" y="327049"/>
                    <a:pt x="435607" y="413948"/>
                    <a:pt x="435607" y="520667"/>
                  </a:cubicBezTo>
                  <a:cubicBezTo>
                    <a:pt x="435607" y="568973"/>
                    <a:pt x="417755" y="613341"/>
                    <a:pt x="388351" y="647208"/>
                  </a:cubicBezTo>
                  <a:cubicBezTo>
                    <a:pt x="387826" y="646551"/>
                    <a:pt x="387170" y="646026"/>
                    <a:pt x="386513" y="645501"/>
                  </a:cubicBezTo>
                  <a:cubicBezTo>
                    <a:pt x="359472" y="620955"/>
                    <a:pt x="321405" y="604677"/>
                    <a:pt x="278744" y="598508"/>
                  </a:cubicBezTo>
                  <a:cubicBezTo>
                    <a:pt x="324949" y="582756"/>
                    <a:pt x="358160" y="538913"/>
                    <a:pt x="358160" y="487457"/>
                  </a:cubicBezTo>
                  <a:cubicBezTo>
                    <a:pt x="358160" y="422743"/>
                    <a:pt x="305522" y="370236"/>
                    <a:pt x="240939" y="370236"/>
                  </a:cubicBezTo>
                  <a:cubicBezTo>
                    <a:pt x="176356" y="370236"/>
                    <a:pt x="123718" y="422874"/>
                    <a:pt x="123718" y="487457"/>
                  </a:cubicBezTo>
                  <a:cubicBezTo>
                    <a:pt x="123718" y="538913"/>
                    <a:pt x="157060" y="582756"/>
                    <a:pt x="203266" y="598508"/>
                  </a:cubicBezTo>
                  <a:cubicBezTo>
                    <a:pt x="162048" y="604415"/>
                    <a:pt x="124900" y="620036"/>
                    <a:pt x="97990" y="643270"/>
                  </a:cubicBezTo>
                  <a:cubicBezTo>
                    <a:pt x="96809" y="644189"/>
                    <a:pt x="95759" y="645239"/>
                    <a:pt x="94840" y="646420"/>
                  </a:cubicBezTo>
                  <a:cubicBezTo>
                    <a:pt x="65961" y="612553"/>
                    <a:pt x="48372" y="568579"/>
                    <a:pt x="48372" y="520667"/>
                  </a:cubicBezTo>
                  <a:close/>
                  <a:moveTo>
                    <a:pt x="242383" y="714285"/>
                  </a:moveTo>
                  <a:cubicBezTo>
                    <a:pt x="202741" y="714154"/>
                    <a:pt x="165461" y="699714"/>
                    <a:pt x="136451" y="673199"/>
                  </a:cubicBezTo>
                  <a:cubicBezTo>
                    <a:pt x="162573" y="654296"/>
                    <a:pt x="200903" y="643138"/>
                    <a:pt x="241070" y="643138"/>
                  </a:cubicBezTo>
                  <a:cubicBezTo>
                    <a:pt x="282419" y="643138"/>
                    <a:pt x="321537" y="654821"/>
                    <a:pt x="347659" y="674642"/>
                  </a:cubicBezTo>
                  <a:cubicBezTo>
                    <a:pt x="320749" y="698533"/>
                    <a:pt x="287013" y="712316"/>
                    <a:pt x="251178" y="714154"/>
                  </a:cubicBezTo>
                  <a:cubicBezTo>
                    <a:pt x="248290" y="714154"/>
                    <a:pt x="245271" y="714285"/>
                    <a:pt x="242383" y="714285"/>
                  </a:cubicBezTo>
                  <a:close/>
                  <a:moveTo>
                    <a:pt x="240939" y="557553"/>
                  </a:moveTo>
                  <a:cubicBezTo>
                    <a:pt x="202347" y="557553"/>
                    <a:pt x="170974" y="526181"/>
                    <a:pt x="170974" y="487588"/>
                  </a:cubicBezTo>
                  <a:cubicBezTo>
                    <a:pt x="170974" y="448996"/>
                    <a:pt x="202347" y="417623"/>
                    <a:pt x="240939" y="417623"/>
                  </a:cubicBezTo>
                  <a:cubicBezTo>
                    <a:pt x="279532" y="417623"/>
                    <a:pt x="310904" y="448996"/>
                    <a:pt x="310904" y="487588"/>
                  </a:cubicBezTo>
                  <a:cubicBezTo>
                    <a:pt x="310904" y="526049"/>
                    <a:pt x="279532" y="557553"/>
                    <a:pt x="240939" y="55755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MX" sz="1100" dirty="0"/>
            </a:p>
          </p:txBody>
        </p:sp>
        <p:sp>
          <p:nvSpPr>
            <p:cNvPr id="42" name="Forma libre 89">
              <a:extLst>
                <a:ext uri="{FF2B5EF4-FFF2-40B4-BE49-F238E27FC236}">
                  <a16:creationId xmlns:a16="http://schemas.microsoft.com/office/drawing/2014/main" id="{4FB91A1B-3E64-0B05-72A4-FF48116C7D61}"/>
                </a:ext>
              </a:extLst>
            </p:cNvPr>
            <p:cNvSpPr/>
            <p:nvPr/>
          </p:nvSpPr>
          <p:spPr>
            <a:xfrm>
              <a:off x="5165585" y="3443899"/>
              <a:ext cx="286160" cy="280910"/>
            </a:xfrm>
            <a:custGeom>
              <a:avLst/>
              <a:gdLst>
                <a:gd name="connsiteX0" fmla="*/ 262926 w 286160"/>
                <a:gd name="connsiteY0" fmla="*/ 233063 h 280909"/>
                <a:gd name="connsiteX1" fmla="*/ 140192 w 286160"/>
                <a:gd name="connsiteY1" fmla="*/ 218361 h 280909"/>
                <a:gd name="connsiteX2" fmla="*/ 105538 w 286160"/>
                <a:gd name="connsiteY2" fmla="*/ 152466 h 280909"/>
                <a:gd name="connsiteX3" fmla="*/ 105538 w 286160"/>
                <a:gd name="connsiteY3" fmla="*/ 81582 h 280909"/>
                <a:gd name="connsiteX4" fmla="*/ 122209 w 286160"/>
                <a:gd name="connsiteY4" fmla="*/ 98253 h 280909"/>
                <a:gd name="connsiteX5" fmla="*/ 138880 w 286160"/>
                <a:gd name="connsiteY5" fmla="*/ 105210 h 280909"/>
                <a:gd name="connsiteX6" fmla="*/ 155550 w 286160"/>
                <a:gd name="connsiteY6" fmla="*/ 98253 h 280909"/>
                <a:gd name="connsiteX7" fmla="*/ 155550 w 286160"/>
                <a:gd name="connsiteY7" fmla="*/ 64780 h 280909"/>
                <a:gd name="connsiteX8" fmla="*/ 98581 w 286160"/>
                <a:gd name="connsiteY8" fmla="*/ 7810 h 280909"/>
                <a:gd name="connsiteX9" fmla="*/ 98450 w 286160"/>
                <a:gd name="connsiteY9" fmla="*/ 7810 h 280909"/>
                <a:gd name="connsiteX10" fmla="*/ 96743 w 286160"/>
                <a:gd name="connsiteY10" fmla="*/ 6366 h 280909"/>
                <a:gd name="connsiteX11" fmla="*/ 95956 w 286160"/>
                <a:gd name="connsiteY11" fmla="*/ 5710 h 280909"/>
                <a:gd name="connsiteX12" fmla="*/ 94905 w 286160"/>
                <a:gd name="connsiteY12" fmla="*/ 4922 h 280909"/>
                <a:gd name="connsiteX13" fmla="*/ 93855 w 286160"/>
                <a:gd name="connsiteY13" fmla="*/ 4266 h 280909"/>
                <a:gd name="connsiteX14" fmla="*/ 92937 w 286160"/>
                <a:gd name="connsiteY14" fmla="*/ 3741 h 280909"/>
                <a:gd name="connsiteX15" fmla="*/ 91886 w 286160"/>
                <a:gd name="connsiteY15" fmla="*/ 3216 h 280909"/>
                <a:gd name="connsiteX16" fmla="*/ 90836 w 286160"/>
                <a:gd name="connsiteY16" fmla="*/ 2691 h 280909"/>
                <a:gd name="connsiteX17" fmla="*/ 89786 w 286160"/>
                <a:gd name="connsiteY17" fmla="*/ 2297 h 280909"/>
                <a:gd name="connsiteX18" fmla="*/ 88605 w 286160"/>
                <a:gd name="connsiteY18" fmla="*/ 1903 h 280909"/>
                <a:gd name="connsiteX19" fmla="*/ 87554 w 286160"/>
                <a:gd name="connsiteY19" fmla="*/ 1641 h 280909"/>
                <a:gd name="connsiteX20" fmla="*/ 86373 w 286160"/>
                <a:gd name="connsiteY20" fmla="*/ 1378 h 280909"/>
                <a:gd name="connsiteX21" fmla="*/ 85192 w 286160"/>
                <a:gd name="connsiteY21" fmla="*/ 1247 h 280909"/>
                <a:gd name="connsiteX22" fmla="*/ 84142 w 286160"/>
                <a:gd name="connsiteY22" fmla="*/ 1116 h 280909"/>
                <a:gd name="connsiteX23" fmla="*/ 81779 w 286160"/>
                <a:gd name="connsiteY23" fmla="*/ 984 h 280909"/>
                <a:gd name="connsiteX24" fmla="*/ 81779 w 286160"/>
                <a:gd name="connsiteY24" fmla="*/ 984 h 280909"/>
                <a:gd name="connsiteX25" fmla="*/ 81779 w 286160"/>
                <a:gd name="connsiteY25" fmla="*/ 984 h 280909"/>
                <a:gd name="connsiteX26" fmla="*/ 81779 w 286160"/>
                <a:gd name="connsiteY26" fmla="*/ 984 h 280909"/>
                <a:gd name="connsiteX27" fmla="*/ 79416 w 286160"/>
                <a:gd name="connsiteY27" fmla="*/ 1116 h 280909"/>
                <a:gd name="connsiteX28" fmla="*/ 78366 w 286160"/>
                <a:gd name="connsiteY28" fmla="*/ 1247 h 280909"/>
                <a:gd name="connsiteX29" fmla="*/ 77053 w 286160"/>
                <a:gd name="connsiteY29" fmla="*/ 1378 h 280909"/>
                <a:gd name="connsiteX30" fmla="*/ 75872 w 286160"/>
                <a:gd name="connsiteY30" fmla="*/ 1641 h 280909"/>
                <a:gd name="connsiteX31" fmla="*/ 74691 w 286160"/>
                <a:gd name="connsiteY31" fmla="*/ 1903 h 280909"/>
                <a:gd name="connsiteX32" fmla="*/ 73640 w 286160"/>
                <a:gd name="connsiteY32" fmla="*/ 2297 h 280909"/>
                <a:gd name="connsiteX33" fmla="*/ 72590 w 286160"/>
                <a:gd name="connsiteY33" fmla="*/ 2691 h 280909"/>
                <a:gd name="connsiteX34" fmla="*/ 71671 w 286160"/>
                <a:gd name="connsiteY34" fmla="*/ 3085 h 280909"/>
                <a:gd name="connsiteX35" fmla="*/ 70490 w 286160"/>
                <a:gd name="connsiteY35" fmla="*/ 3610 h 280909"/>
                <a:gd name="connsiteX36" fmla="*/ 69571 w 286160"/>
                <a:gd name="connsiteY36" fmla="*/ 4135 h 280909"/>
                <a:gd name="connsiteX37" fmla="*/ 68521 w 286160"/>
                <a:gd name="connsiteY37" fmla="*/ 4791 h 280909"/>
                <a:gd name="connsiteX38" fmla="*/ 67602 w 286160"/>
                <a:gd name="connsiteY38" fmla="*/ 5447 h 280909"/>
                <a:gd name="connsiteX39" fmla="*/ 66815 w 286160"/>
                <a:gd name="connsiteY39" fmla="*/ 6104 h 280909"/>
                <a:gd name="connsiteX40" fmla="*/ 66683 w 286160"/>
                <a:gd name="connsiteY40" fmla="*/ 6104 h 280909"/>
                <a:gd name="connsiteX41" fmla="*/ 64977 w 286160"/>
                <a:gd name="connsiteY41" fmla="*/ 7548 h 280909"/>
                <a:gd name="connsiteX42" fmla="*/ 64846 w 286160"/>
                <a:gd name="connsiteY42" fmla="*/ 7679 h 280909"/>
                <a:gd name="connsiteX43" fmla="*/ 7876 w 286160"/>
                <a:gd name="connsiteY43" fmla="*/ 64649 h 280909"/>
                <a:gd name="connsiteX44" fmla="*/ 7876 w 286160"/>
                <a:gd name="connsiteY44" fmla="*/ 98121 h 280909"/>
                <a:gd name="connsiteX45" fmla="*/ 24547 w 286160"/>
                <a:gd name="connsiteY45" fmla="*/ 105078 h 280909"/>
                <a:gd name="connsiteX46" fmla="*/ 41218 w 286160"/>
                <a:gd name="connsiteY46" fmla="*/ 98121 h 280909"/>
                <a:gd name="connsiteX47" fmla="*/ 57889 w 286160"/>
                <a:gd name="connsiteY47" fmla="*/ 81450 h 280909"/>
                <a:gd name="connsiteX48" fmla="*/ 57889 w 286160"/>
                <a:gd name="connsiteY48" fmla="*/ 152334 h 280909"/>
                <a:gd name="connsiteX49" fmla="*/ 120109 w 286160"/>
                <a:gd name="connsiteY49" fmla="*/ 261285 h 280909"/>
                <a:gd name="connsiteX50" fmla="*/ 262533 w 286160"/>
                <a:gd name="connsiteY50" fmla="*/ 280319 h 280909"/>
                <a:gd name="connsiteX51" fmla="*/ 286161 w 286160"/>
                <a:gd name="connsiteY51" fmla="*/ 256691 h 280909"/>
                <a:gd name="connsiteX52" fmla="*/ 262926 w 286160"/>
                <a:gd name="connsiteY52" fmla="*/ 233063 h 280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286160" h="280909">
                  <a:moveTo>
                    <a:pt x="262926" y="233063"/>
                  </a:moveTo>
                  <a:cubicBezTo>
                    <a:pt x="208582" y="233063"/>
                    <a:pt x="166839" y="230569"/>
                    <a:pt x="140192" y="218361"/>
                  </a:cubicBezTo>
                  <a:cubicBezTo>
                    <a:pt x="122996" y="210485"/>
                    <a:pt x="105538" y="196571"/>
                    <a:pt x="105538" y="152466"/>
                  </a:cubicBezTo>
                  <a:lnTo>
                    <a:pt x="105538" y="81582"/>
                  </a:lnTo>
                  <a:lnTo>
                    <a:pt x="122209" y="98253"/>
                  </a:lnTo>
                  <a:cubicBezTo>
                    <a:pt x="126803" y="102847"/>
                    <a:pt x="132841" y="105210"/>
                    <a:pt x="138880" y="105210"/>
                  </a:cubicBezTo>
                  <a:cubicBezTo>
                    <a:pt x="144918" y="105210"/>
                    <a:pt x="150956" y="102847"/>
                    <a:pt x="155550" y="98253"/>
                  </a:cubicBezTo>
                  <a:cubicBezTo>
                    <a:pt x="164739" y="89064"/>
                    <a:pt x="164739" y="74100"/>
                    <a:pt x="155550" y="64780"/>
                  </a:cubicBezTo>
                  <a:lnTo>
                    <a:pt x="98581" y="7810"/>
                  </a:lnTo>
                  <a:cubicBezTo>
                    <a:pt x="98581" y="7810"/>
                    <a:pt x="98581" y="7810"/>
                    <a:pt x="98450" y="7810"/>
                  </a:cubicBezTo>
                  <a:cubicBezTo>
                    <a:pt x="97925" y="7285"/>
                    <a:pt x="97399" y="6760"/>
                    <a:pt x="96743" y="6366"/>
                  </a:cubicBezTo>
                  <a:cubicBezTo>
                    <a:pt x="96481" y="6104"/>
                    <a:pt x="96218" y="5972"/>
                    <a:pt x="95956" y="5710"/>
                  </a:cubicBezTo>
                  <a:cubicBezTo>
                    <a:pt x="95562" y="5447"/>
                    <a:pt x="95299" y="5185"/>
                    <a:pt x="94905" y="4922"/>
                  </a:cubicBezTo>
                  <a:cubicBezTo>
                    <a:pt x="94512" y="4660"/>
                    <a:pt x="94249" y="4529"/>
                    <a:pt x="93855" y="4266"/>
                  </a:cubicBezTo>
                  <a:cubicBezTo>
                    <a:pt x="93593" y="4135"/>
                    <a:pt x="93199" y="3872"/>
                    <a:pt x="92937" y="3741"/>
                  </a:cubicBezTo>
                  <a:cubicBezTo>
                    <a:pt x="92543" y="3610"/>
                    <a:pt x="92280" y="3347"/>
                    <a:pt x="91886" y="3216"/>
                  </a:cubicBezTo>
                  <a:cubicBezTo>
                    <a:pt x="91492" y="3085"/>
                    <a:pt x="91230" y="2822"/>
                    <a:pt x="90836" y="2691"/>
                  </a:cubicBezTo>
                  <a:cubicBezTo>
                    <a:pt x="90443" y="2560"/>
                    <a:pt x="90180" y="2428"/>
                    <a:pt x="89786" y="2297"/>
                  </a:cubicBezTo>
                  <a:cubicBezTo>
                    <a:pt x="89392" y="2166"/>
                    <a:pt x="88999" y="2034"/>
                    <a:pt x="88605" y="1903"/>
                  </a:cubicBezTo>
                  <a:cubicBezTo>
                    <a:pt x="88211" y="1772"/>
                    <a:pt x="87948" y="1772"/>
                    <a:pt x="87554" y="1641"/>
                  </a:cubicBezTo>
                  <a:cubicBezTo>
                    <a:pt x="87161" y="1509"/>
                    <a:pt x="86767" y="1378"/>
                    <a:pt x="86373" y="1378"/>
                  </a:cubicBezTo>
                  <a:cubicBezTo>
                    <a:pt x="85979" y="1247"/>
                    <a:pt x="85585" y="1247"/>
                    <a:pt x="85192" y="1247"/>
                  </a:cubicBezTo>
                  <a:cubicBezTo>
                    <a:pt x="84798" y="1247"/>
                    <a:pt x="84536" y="1116"/>
                    <a:pt x="84142" y="1116"/>
                  </a:cubicBezTo>
                  <a:cubicBezTo>
                    <a:pt x="83354" y="984"/>
                    <a:pt x="82567" y="984"/>
                    <a:pt x="81779" y="984"/>
                  </a:cubicBezTo>
                  <a:cubicBezTo>
                    <a:pt x="81779" y="984"/>
                    <a:pt x="81779" y="984"/>
                    <a:pt x="81779" y="984"/>
                  </a:cubicBezTo>
                  <a:cubicBezTo>
                    <a:pt x="81779" y="984"/>
                    <a:pt x="81779" y="984"/>
                    <a:pt x="81779" y="984"/>
                  </a:cubicBezTo>
                  <a:cubicBezTo>
                    <a:pt x="81779" y="984"/>
                    <a:pt x="81779" y="984"/>
                    <a:pt x="81779" y="984"/>
                  </a:cubicBezTo>
                  <a:cubicBezTo>
                    <a:pt x="80991" y="984"/>
                    <a:pt x="80204" y="984"/>
                    <a:pt x="79416" y="1116"/>
                  </a:cubicBezTo>
                  <a:cubicBezTo>
                    <a:pt x="79022" y="1116"/>
                    <a:pt x="78760" y="1247"/>
                    <a:pt x="78366" y="1247"/>
                  </a:cubicBezTo>
                  <a:cubicBezTo>
                    <a:pt x="77972" y="1247"/>
                    <a:pt x="77447" y="1378"/>
                    <a:pt x="77053" y="1378"/>
                  </a:cubicBezTo>
                  <a:cubicBezTo>
                    <a:pt x="76660" y="1509"/>
                    <a:pt x="76266" y="1509"/>
                    <a:pt x="75872" y="1641"/>
                  </a:cubicBezTo>
                  <a:cubicBezTo>
                    <a:pt x="75478" y="1772"/>
                    <a:pt x="75084" y="1772"/>
                    <a:pt x="74691" y="1903"/>
                  </a:cubicBezTo>
                  <a:cubicBezTo>
                    <a:pt x="74297" y="2034"/>
                    <a:pt x="74034" y="2166"/>
                    <a:pt x="73640" y="2297"/>
                  </a:cubicBezTo>
                  <a:cubicBezTo>
                    <a:pt x="73247" y="2428"/>
                    <a:pt x="72853" y="2560"/>
                    <a:pt x="72590" y="2691"/>
                  </a:cubicBezTo>
                  <a:cubicBezTo>
                    <a:pt x="72196" y="2822"/>
                    <a:pt x="71934" y="2953"/>
                    <a:pt x="71671" y="3085"/>
                  </a:cubicBezTo>
                  <a:cubicBezTo>
                    <a:pt x="71278" y="3216"/>
                    <a:pt x="70884" y="3478"/>
                    <a:pt x="70490" y="3610"/>
                  </a:cubicBezTo>
                  <a:cubicBezTo>
                    <a:pt x="70227" y="3741"/>
                    <a:pt x="69834" y="4003"/>
                    <a:pt x="69571" y="4135"/>
                  </a:cubicBezTo>
                  <a:cubicBezTo>
                    <a:pt x="69177" y="4397"/>
                    <a:pt x="68784" y="4529"/>
                    <a:pt x="68521" y="4791"/>
                  </a:cubicBezTo>
                  <a:cubicBezTo>
                    <a:pt x="68258" y="5054"/>
                    <a:pt x="67865" y="5316"/>
                    <a:pt x="67602" y="5447"/>
                  </a:cubicBezTo>
                  <a:cubicBezTo>
                    <a:pt x="67340" y="5710"/>
                    <a:pt x="67077" y="5841"/>
                    <a:pt x="66815" y="6104"/>
                  </a:cubicBezTo>
                  <a:cubicBezTo>
                    <a:pt x="66815" y="6104"/>
                    <a:pt x="66815" y="6104"/>
                    <a:pt x="66683" y="6104"/>
                  </a:cubicBezTo>
                  <a:cubicBezTo>
                    <a:pt x="66158" y="6629"/>
                    <a:pt x="65502" y="7023"/>
                    <a:pt x="64977" y="7548"/>
                  </a:cubicBezTo>
                  <a:cubicBezTo>
                    <a:pt x="64977" y="7548"/>
                    <a:pt x="64977" y="7548"/>
                    <a:pt x="64846" y="7679"/>
                  </a:cubicBezTo>
                  <a:lnTo>
                    <a:pt x="7876" y="64649"/>
                  </a:lnTo>
                  <a:cubicBezTo>
                    <a:pt x="-1313" y="73837"/>
                    <a:pt x="-1313" y="88801"/>
                    <a:pt x="7876" y="98121"/>
                  </a:cubicBezTo>
                  <a:cubicBezTo>
                    <a:pt x="12470" y="102716"/>
                    <a:pt x="18509" y="105078"/>
                    <a:pt x="24547" y="105078"/>
                  </a:cubicBezTo>
                  <a:cubicBezTo>
                    <a:pt x="30585" y="105078"/>
                    <a:pt x="36623" y="102716"/>
                    <a:pt x="41218" y="98121"/>
                  </a:cubicBezTo>
                  <a:lnTo>
                    <a:pt x="57889" y="81450"/>
                  </a:lnTo>
                  <a:lnTo>
                    <a:pt x="57889" y="152334"/>
                  </a:lnTo>
                  <a:cubicBezTo>
                    <a:pt x="57889" y="206416"/>
                    <a:pt x="78235" y="241989"/>
                    <a:pt x="120109" y="261285"/>
                  </a:cubicBezTo>
                  <a:cubicBezTo>
                    <a:pt x="154632" y="277168"/>
                    <a:pt x="200181" y="280319"/>
                    <a:pt x="262533" y="280319"/>
                  </a:cubicBezTo>
                  <a:cubicBezTo>
                    <a:pt x="275528" y="280319"/>
                    <a:pt x="286161" y="269686"/>
                    <a:pt x="286161" y="256691"/>
                  </a:cubicBezTo>
                  <a:cubicBezTo>
                    <a:pt x="286161" y="243695"/>
                    <a:pt x="275921" y="233063"/>
                    <a:pt x="262926" y="23306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MX" sz="1100" dirty="0"/>
            </a:p>
          </p:txBody>
        </p:sp>
      </p:grpSp>
      <p:sp>
        <p:nvSpPr>
          <p:cNvPr id="39" name="Forma libre 6">
            <a:extLst>
              <a:ext uri="{FF2B5EF4-FFF2-40B4-BE49-F238E27FC236}">
                <a16:creationId xmlns:a16="http://schemas.microsoft.com/office/drawing/2014/main" id="{D585D6D1-82B1-EF1A-651D-98A7AD12D710}"/>
              </a:ext>
            </a:extLst>
          </p:cNvPr>
          <p:cNvSpPr/>
          <p:nvPr/>
        </p:nvSpPr>
        <p:spPr>
          <a:xfrm>
            <a:off x="1566635" y="3920254"/>
            <a:ext cx="552766" cy="594244"/>
          </a:xfrm>
          <a:custGeom>
            <a:avLst/>
            <a:gdLst>
              <a:gd name="connsiteX0" fmla="*/ 317463 w 452622"/>
              <a:gd name="connsiteY0" fmla="*/ 34297 h 486587"/>
              <a:gd name="connsiteX1" fmla="*/ 260018 w 452622"/>
              <a:gd name="connsiteY1" fmla="*/ 34224 h 486587"/>
              <a:gd name="connsiteX2" fmla="*/ 255366 w 452622"/>
              <a:gd name="connsiteY2" fmla="*/ 27652 h 486587"/>
              <a:gd name="connsiteX3" fmla="*/ 168829 w 452622"/>
              <a:gd name="connsiteY3" fmla="*/ 554 h 486587"/>
              <a:gd name="connsiteX4" fmla="*/ 82292 w 452622"/>
              <a:gd name="connsiteY4" fmla="*/ 27652 h 486587"/>
              <a:gd name="connsiteX5" fmla="*/ 77640 w 452622"/>
              <a:gd name="connsiteY5" fmla="*/ 34224 h 486587"/>
              <a:gd name="connsiteX6" fmla="*/ 20194 w 452622"/>
              <a:gd name="connsiteY6" fmla="*/ 34224 h 486587"/>
              <a:gd name="connsiteX7" fmla="*/ 554 w 452622"/>
              <a:gd name="connsiteY7" fmla="*/ 60805 h 486587"/>
              <a:gd name="connsiteX8" fmla="*/ 554 w 452622"/>
              <a:gd name="connsiteY8" fmla="*/ 471487 h 486587"/>
              <a:gd name="connsiteX9" fmla="*/ 15174 w 452622"/>
              <a:gd name="connsiteY9" fmla="*/ 486107 h 486587"/>
              <a:gd name="connsiteX10" fmla="*/ 322484 w 452622"/>
              <a:gd name="connsiteY10" fmla="*/ 486181 h 486587"/>
              <a:gd name="connsiteX11" fmla="*/ 337104 w 452622"/>
              <a:gd name="connsiteY11" fmla="*/ 471561 h 486587"/>
              <a:gd name="connsiteX12" fmla="*/ 337104 w 452622"/>
              <a:gd name="connsiteY12" fmla="*/ 60805 h 486587"/>
              <a:gd name="connsiteX13" fmla="*/ 317463 w 452622"/>
              <a:gd name="connsiteY13" fmla="*/ 34297 h 486587"/>
              <a:gd name="connsiteX14" fmla="*/ 103040 w 452622"/>
              <a:gd name="connsiteY14" fmla="*/ 44635 h 486587"/>
              <a:gd name="connsiteX15" fmla="*/ 168829 w 452622"/>
              <a:gd name="connsiteY15" fmla="*/ 27135 h 486587"/>
              <a:gd name="connsiteX16" fmla="*/ 234618 w 452622"/>
              <a:gd name="connsiteY16" fmla="*/ 44635 h 486587"/>
              <a:gd name="connsiteX17" fmla="*/ 234618 w 452622"/>
              <a:gd name="connsiteY17" fmla="*/ 47514 h 486587"/>
              <a:gd name="connsiteX18" fmla="*/ 103040 w 452622"/>
              <a:gd name="connsiteY18" fmla="*/ 47514 h 486587"/>
              <a:gd name="connsiteX19" fmla="*/ 103040 w 452622"/>
              <a:gd name="connsiteY19" fmla="*/ 44635 h 486587"/>
              <a:gd name="connsiteX20" fmla="*/ 310522 w 452622"/>
              <a:gd name="connsiteY20" fmla="*/ 459526 h 486587"/>
              <a:gd name="connsiteX21" fmla="*/ 27209 w 452622"/>
              <a:gd name="connsiteY21" fmla="*/ 459526 h 486587"/>
              <a:gd name="connsiteX22" fmla="*/ 27209 w 452622"/>
              <a:gd name="connsiteY22" fmla="*/ 60805 h 486587"/>
              <a:gd name="connsiteX23" fmla="*/ 76532 w 452622"/>
              <a:gd name="connsiteY23" fmla="*/ 60805 h 486587"/>
              <a:gd name="connsiteX24" fmla="*/ 92703 w 452622"/>
              <a:gd name="connsiteY24" fmla="*/ 74096 h 486587"/>
              <a:gd name="connsiteX25" fmla="*/ 245029 w 452622"/>
              <a:gd name="connsiteY25" fmla="*/ 74096 h 486587"/>
              <a:gd name="connsiteX26" fmla="*/ 261273 w 452622"/>
              <a:gd name="connsiteY26" fmla="*/ 60805 h 486587"/>
              <a:gd name="connsiteX27" fmla="*/ 310596 w 452622"/>
              <a:gd name="connsiteY27" fmla="*/ 60805 h 486587"/>
              <a:gd name="connsiteX28" fmla="*/ 310596 w 452622"/>
              <a:gd name="connsiteY28" fmla="*/ 459526 h 486587"/>
              <a:gd name="connsiteX29" fmla="*/ 268583 w 452622"/>
              <a:gd name="connsiteY29" fmla="*/ 153914 h 486587"/>
              <a:gd name="connsiteX30" fmla="*/ 281874 w 452622"/>
              <a:gd name="connsiteY30" fmla="*/ 167204 h 486587"/>
              <a:gd name="connsiteX31" fmla="*/ 268583 w 452622"/>
              <a:gd name="connsiteY31" fmla="*/ 180495 h 486587"/>
              <a:gd name="connsiteX32" fmla="*/ 162257 w 452622"/>
              <a:gd name="connsiteY32" fmla="*/ 180495 h 486587"/>
              <a:gd name="connsiteX33" fmla="*/ 148967 w 452622"/>
              <a:gd name="connsiteY33" fmla="*/ 167204 h 486587"/>
              <a:gd name="connsiteX34" fmla="*/ 162257 w 452622"/>
              <a:gd name="connsiteY34" fmla="*/ 153914 h 486587"/>
              <a:gd name="connsiteX35" fmla="*/ 268583 w 452622"/>
              <a:gd name="connsiteY35" fmla="*/ 153914 h 486587"/>
              <a:gd name="connsiteX36" fmla="*/ 281874 w 452622"/>
              <a:gd name="connsiteY36" fmla="*/ 273530 h 486587"/>
              <a:gd name="connsiteX37" fmla="*/ 268583 w 452622"/>
              <a:gd name="connsiteY37" fmla="*/ 286821 h 486587"/>
              <a:gd name="connsiteX38" fmla="*/ 162257 w 452622"/>
              <a:gd name="connsiteY38" fmla="*/ 286821 h 486587"/>
              <a:gd name="connsiteX39" fmla="*/ 148967 w 452622"/>
              <a:gd name="connsiteY39" fmla="*/ 273530 h 486587"/>
              <a:gd name="connsiteX40" fmla="*/ 162257 w 452622"/>
              <a:gd name="connsiteY40" fmla="*/ 260239 h 486587"/>
              <a:gd name="connsiteX41" fmla="*/ 268583 w 452622"/>
              <a:gd name="connsiteY41" fmla="*/ 260239 h 486587"/>
              <a:gd name="connsiteX42" fmla="*/ 281874 w 452622"/>
              <a:gd name="connsiteY42" fmla="*/ 273530 h 486587"/>
              <a:gd name="connsiteX43" fmla="*/ 281874 w 452622"/>
              <a:gd name="connsiteY43" fmla="*/ 379856 h 486587"/>
              <a:gd name="connsiteX44" fmla="*/ 268583 w 452622"/>
              <a:gd name="connsiteY44" fmla="*/ 393146 h 486587"/>
              <a:gd name="connsiteX45" fmla="*/ 162257 w 452622"/>
              <a:gd name="connsiteY45" fmla="*/ 393146 h 486587"/>
              <a:gd name="connsiteX46" fmla="*/ 148967 w 452622"/>
              <a:gd name="connsiteY46" fmla="*/ 379856 h 486587"/>
              <a:gd name="connsiteX47" fmla="*/ 162257 w 452622"/>
              <a:gd name="connsiteY47" fmla="*/ 366565 h 486587"/>
              <a:gd name="connsiteX48" fmla="*/ 268583 w 452622"/>
              <a:gd name="connsiteY48" fmla="*/ 366565 h 486587"/>
              <a:gd name="connsiteX49" fmla="*/ 281874 w 452622"/>
              <a:gd name="connsiteY49" fmla="*/ 379856 h 486587"/>
              <a:gd name="connsiteX50" fmla="*/ 69222 w 452622"/>
              <a:gd name="connsiteY50" fmla="*/ 207003 h 486587"/>
              <a:gd name="connsiteX51" fmla="*/ 122385 w 452622"/>
              <a:gd name="connsiteY51" fmla="*/ 207003 h 486587"/>
              <a:gd name="connsiteX52" fmla="*/ 135676 w 452622"/>
              <a:gd name="connsiteY52" fmla="*/ 193712 h 486587"/>
              <a:gd name="connsiteX53" fmla="*/ 135676 w 452622"/>
              <a:gd name="connsiteY53" fmla="*/ 140549 h 486587"/>
              <a:gd name="connsiteX54" fmla="*/ 122385 w 452622"/>
              <a:gd name="connsiteY54" fmla="*/ 127258 h 486587"/>
              <a:gd name="connsiteX55" fmla="*/ 69222 w 452622"/>
              <a:gd name="connsiteY55" fmla="*/ 127258 h 486587"/>
              <a:gd name="connsiteX56" fmla="*/ 55932 w 452622"/>
              <a:gd name="connsiteY56" fmla="*/ 140549 h 486587"/>
              <a:gd name="connsiteX57" fmla="*/ 55932 w 452622"/>
              <a:gd name="connsiteY57" fmla="*/ 193712 h 486587"/>
              <a:gd name="connsiteX58" fmla="*/ 69222 w 452622"/>
              <a:gd name="connsiteY58" fmla="*/ 207003 h 486587"/>
              <a:gd name="connsiteX59" fmla="*/ 82513 w 452622"/>
              <a:gd name="connsiteY59" fmla="*/ 153840 h 486587"/>
              <a:gd name="connsiteX60" fmla="*/ 109094 w 452622"/>
              <a:gd name="connsiteY60" fmla="*/ 153840 h 486587"/>
              <a:gd name="connsiteX61" fmla="*/ 109094 w 452622"/>
              <a:gd name="connsiteY61" fmla="*/ 180421 h 486587"/>
              <a:gd name="connsiteX62" fmla="*/ 82513 w 452622"/>
              <a:gd name="connsiteY62" fmla="*/ 180421 h 486587"/>
              <a:gd name="connsiteX63" fmla="*/ 82513 w 452622"/>
              <a:gd name="connsiteY63" fmla="*/ 153840 h 486587"/>
              <a:gd name="connsiteX64" fmla="*/ 122385 w 452622"/>
              <a:gd name="connsiteY64" fmla="*/ 233658 h 486587"/>
              <a:gd name="connsiteX65" fmla="*/ 69222 w 452622"/>
              <a:gd name="connsiteY65" fmla="*/ 233658 h 486587"/>
              <a:gd name="connsiteX66" fmla="*/ 55932 w 452622"/>
              <a:gd name="connsiteY66" fmla="*/ 246949 h 486587"/>
              <a:gd name="connsiteX67" fmla="*/ 55932 w 452622"/>
              <a:gd name="connsiteY67" fmla="*/ 300111 h 486587"/>
              <a:gd name="connsiteX68" fmla="*/ 69222 w 452622"/>
              <a:gd name="connsiteY68" fmla="*/ 313402 h 486587"/>
              <a:gd name="connsiteX69" fmla="*/ 122385 w 452622"/>
              <a:gd name="connsiteY69" fmla="*/ 313402 h 486587"/>
              <a:gd name="connsiteX70" fmla="*/ 135676 w 452622"/>
              <a:gd name="connsiteY70" fmla="*/ 300111 h 486587"/>
              <a:gd name="connsiteX71" fmla="*/ 135676 w 452622"/>
              <a:gd name="connsiteY71" fmla="*/ 246949 h 486587"/>
              <a:gd name="connsiteX72" fmla="*/ 122385 w 452622"/>
              <a:gd name="connsiteY72" fmla="*/ 233658 h 486587"/>
              <a:gd name="connsiteX73" fmla="*/ 109094 w 452622"/>
              <a:gd name="connsiteY73" fmla="*/ 286821 h 486587"/>
              <a:gd name="connsiteX74" fmla="*/ 82513 w 452622"/>
              <a:gd name="connsiteY74" fmla="*/ 286821 h 486587"/>
              <a:gd name="connsiteX75" fmla="*/ 82513 w 452622"/>
              <a:gd name="connsiteY75" fmla="*/ 260239 h 486587"/>
              <a:gd name="connsiteX76" fmla="*/ 109094 w 452622"/>
              <a:gd name="connsiteY76" fmla="*/ 260239 h 486587"/>
              <a:gd name="connsiteX77" fmla="*/ 109094 w 452622"/>
              <a:gd name="connsiteY77" fmla="*/ 286821 h 486587"/>
              <a:gd name="connsiteX78" fmla="*/ 122311 w 452622"/>
              <a:gd name="connsiteY78" fmla="*/ 339983 h 486587"/>
              <a:gd name="connsiteX79" fmla="*/ 69149 w 452622"/>
              <a:gd name="connsiteY79" fmla="*/ 339983 h 486587"/>
              <a:gd name="connsiteX80" fmla="*/ 55858 w 452622"/>
              <a:gd name="connsiteY80" fmla="*/ 353274 h 486587"/>
              <a:gd name="connsiteX81" fmla="*/ 55858 w 452622"/>
              <a:gd name="connsiteY81" fmla="*/ 406437 h 486587"/>
              <a:gd name="connsiteX82" fmla="*/ 69149 w 452622"/>
              <a:gd name="connsiteY82" fmla="*/ 419728 h 486587"/>
              <a:gd name="connsiteX83" fmla="*/ 122311 w 452622"/>
              <a:gd name="connsiteY83" fmla="*/ 419728 h 486587"/>
              <a:gd name="connsiteX84" fmla="*/ 135602 w 452622"/>
              <a:gd name="connsiteY84" fmla="*/ 406437 h 486587"/>
              <a:gd name="connsiteX85" fmla="*/ 135602 w 452622"/>
              <a:gd name="connsiteY85" fmla="*/ 353274 h 486587"/>
              <a:gd name="connsiteX86" fmla="*/ 122311 w 452622"/>
              <a:gd name="connsiteY86" fmla="*/ 339983 h 486587"/>
              <a:gd name="connsiteX87" fmla="*/ 109021 w 452622"/>
              <a:gd name="connsiteY87" fmla="*/ 393146 h 486587"/>
              <a:gd name="connsiteX88" fmla="*/ 82439 w 452622"/>
              <a:gd name="connsiteY88" fmla="*/ 393146 h 486587"/>
              <a:gd name="connsiteX89" fmla="*/ 82439 w 452622"/>
              <a:gd name="connsiteY89" fmla="*/ 366565 h 486587"/>
              <a:gd name="connsiteX90" fmla="*/ 109021 w 452622"/>
              <a:gd name="connsiteY90" fmla="*/ 366565 h 486587"/>
              <a:gd name="connsiteX91" fmla="*/ 109021 w 452622"/>
              <a:gd name="connsiteY91" fmla="*/ 393146 h 486587"/>
              <a:gd name="connsiteX92" fmla="*/ 450296 w 452622"/>
              <a:gd name="connsiteY92" fmla="*/ 169493 h 486587"/>
              <a:gd name="connsiteX93" fmla="*/ 423715 w 452622"/>
              <a:gd name="connsiteY93" fmla="*/ 129621 h 486587"/>
              <a:gd name="connsiteX94" fmla="*/ 412565 w 452622"/>
              <a:gd name="connsiteY94" fmla="*/ 123714 h 486587"/>
              <a:gd name="connsiteX95" fmla="*/ 401490 w 452622"/>
              <a:gd name="connsiteY95" fmla="*/ 129769 h 486587"/>
              <a:gd name="connsiteX96" fmla="*/ 375425 w 452622"/>
              <a:gd name="connsiteY96" fmla="*/ 169641 h 486587"/>
              <a:gd name="connsiteX97" fmla="*/ 373284 w 452622"/>
              <a:gd name="connsiteY97" fmla="*/ 176877 h 486587"/>
              <a:gd name="connsiteX98" fmla="*/ 372767 w 452622"/>
              <a:gd name="connsiteY98" fmla="*/ 469199 h 486587"/>
              <a:gd name="connsiteX99" fmla="*/ 376681 w 452622"/>
              <a:gd name="connsiteY99" fmla="*/ 478576 h 486587"/>
              <a:gd name="connsiteX100" fmla="*/ 386058 w 452622"/>
              <a:gd name="connsiteY100" fmla="*/ 482489 h 486587"/>
              <a:gd name="connsiteX101" fmla="*/ 439221 w 452622"/>
              <a:gd name="connsiteY101" fmla="*/ 482489 h 486587"/>
              <a:gd name="connsiteX102" fmla="*/ 452511 w 452622"/>
              <a:gd name="connsiteY102" fmla="*/ 469199 h 486587"/>
              <a:gd name="connsiteX103" fmla="*/ 452511 w 452622"/>
              <a:gd name="connsiteY103" fmla="*/ 176803 h 486587"/>
              <a:gd name="connsiteX104" fmla="*/ 450296 w 452622"/>
              <a:gd name="connsiteY104" fmla="*/ 169493 h 486587"/>
              <a:gd name="connsiteX105" fmla="*/ 412713 w 452622"/>
              <a:gd name="connsiteY105" fmla="*/ 161076 h 486587"/>
              <a:gd name="connsiteX106" fmla="*/ 425930 w 452622"/>
              <a:gd name="connsiteY106" fmla="*/ 180864 h 486587"/>
              <a:gd name="connsiteX107" fmla="*/ 425930 w 452622"/>
              <a:gd name="connsiteY107" fmla="*/ 416110 h 486587"/>
              <a:gd name="connsiteX108" fmla="*/ 399422 w 452622"/>
              <a:gd name="connsiteY108" fmla="*/ 416110 h 486587"/>
              <a:gd name="connsiteX109" fmla="*/ 399865 w 452622"/>
              <a:gd name="connsiteY109" fmla="*/ 180864 h 486587"/>
              <a:gd name="connsiteX110" fmla="*/ 412713 w 452622"/>
              <a:gd name="connsiteY110" fmla="*/ 161076 h 486587"/>
              <a:gd name="connsiteX111" fmla="*/ 399349 w 452622"/>
              <a:gd name="connsiteY111" fmla="*/ 455982 h 486587"/>
              <a:gd name="connsiteX112" fmla="*/ 399349 w 452622"/>
              <a:gd name="connsiteY112" fmla="*/ 442691 h 486587"/>
              <a:gd name="connsiteX113" fmla="*/ 425856 w 452622"/>
              <a:gd name="connsiteY113" fmla="*/ 442691 h 486587"/>
              <a:gd name="connsiteX114" fmla="*/ 425856 w 452622"/>
              <a:gd name="connsiteY114" fmla="*/ 455982 h 486587"/>
              <a:gd name="connsiteX115" fmla="*/ 399349 w 452622"/>
              <a:gd name="connsiteY115" fmla="*/ 455982 h 4865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</a:cxnLst>
            <a:rect l="l" t="t" r="r" b="b"/>
            <a:pathLst>
              <a:path w="452622" h="486587">
                <a:moveTo>
                  <a:pt x="317463" y="34297"/>
                </a:moveTo>
                <a:lnTo>
                  <a:pt x="260018" y="34224"/>
                </a:lnTo>
                <a:cubicBezTo>
                  <a:pt x="259058" y="32008"/>
                  <a:pt x="257507" y="29793"/>
                  <a:pt x="255366" y="27652"/>
                </a:cubicBezTo>
                <a:cubicBezTo>
                  <a:pt x="238900" y="10965"/>
                  <a:pt x="205747" y="554"/>
                  <a:pt x="168829" y="554"/>
                </a:cubicBezTo>
                <a:cubicBezTo>
                  <a:pt x="131910" y="554"/>
                  <a:pt x="98757" y="10965"/>
                  <a:pt x="82292" y="27652"/>
                </a:cubicBezTo>
                <a:cubicBezTo>
                  <a:pt x="80150" y="29793"/>
                  <a:pt x="78600" y="32008"/>
                  <a:pt x="77640" y="34224"/>
                </a:cubicBezTo>
                <a:lnTo>
                  <a:pt x="20194" y="34224"/>
                </a:lnTo>
                <a:cubicBezTo>
                  <a:pt x="8824" y="34224"/>
                  <a:pt x="554" y="45373"/>
                  <a:pt x="554" y="60805"/>
                </a:cubicBezTo>
                <a:lnTo>
                  <a:pt x="554" y="471487"/>
                </a:lnTo>
                <a:cubicBezTo>
                  <a:pt x="554" y="479536"/>
                  <a:pt x="7125" y="486107"/>
                  <a:pt x="15174" y="486107"/>
                </a:cubicBezTo>
                <a:lnTo>
                  <a:pt x="322484" y="486181"/>
                </a:lnTo>
                <a:cubicBezTo>
                  <a:pt x="330532" y="486181"/>
                  <a:pt x="337104" y="479610"/>
                  <a:pt x="337104" y="471561"/>
                </a:cubicBezTo>
                <a:lnTo>
                  <a:pt x="337104" y="60805"/>
                </a:lnTo>
                <a:cubicBezTo>
                  <a:pt x="337104" y="45447"/>
                  <a:pt x="328834" y="34297"/>
                  <a:pt x="317463" y="34297"/>
                </a:cubicBezTo>
                <a:moveTo>
                  <a:pt x="103040" y="44635"/>
                </a:moveTo>
                <a:cubicBezTo>
                  <a:pt x="113525" y="35700"/>
                  <a:pt x="137153" y="27135"/>
                  <a:pt x="168829" y="27135"/>
                </a:cubicBezTo>
                <a:cubicBezTo>
                  <a:pt x="200505" y="27135"/>
                  <a:pt x="224133" y="35700"/>
                  <a:pt x="234618" y="44635"/>
                </a:cubicBezTo>
                <a:lnTo>
                  <a:pt x="234618" y="47514"/>
                </a:lnTo>
                <a:lnTo>
                  <a:pt x="103040" y="47514"/>
                </a:lnTo>
                <a:lnTo>
                  <a:pt x="103040" y="44635"/>
                </a:lnTo>
                <a:close/>
                <a:moveTo>
                  <a:pt x="310522" y="459526"/>
                </a:moveTo>
                <a:lnTo>
                  <a:pt x="27209" y="459526"/>
                </a:lnTo>
                <a:lnTo>
                  <a:pt x="27209" y="60805"/>
                </a:lnTo>
                <a:lnTo>
                  <a:pt x="76532" y="60805"/>
                </a:lnTo>
                <a:cubicBezTo>
                  <a:pt x="76754" y="66047"/>
                  <a:pt x="80446" y="74096"/>
                  <a:pt x="92703" y="74096"/>
                </a:cubicBezTo>
                <a:lnTo>
                  <a:pt x="245029" y="74096"/>
                </a:lnTo>
                <a:cubicBezTo>
                  <a:pt x="257360" y="74096"/>
                  <a:pt x="260978" y="66047"/>
                  <a:pt x="261273" y="60805"/>
                </a:cubicBezTo>
                <a:lnTo>
                  <a:pt x="310596" y="60805"/>
                </a:lnTo>
                <a:lnTo>
                  <a:pt x="310596" y="459526"/>
                </a:lnTo>
                <a:close/>
                <a:moveTo>
                  <a:pt x="268583" y="153914"/>
                </a:moveTo>
                <a:cubicBezTo>
                  <a:pt x="275893" y="153914"/>
                  <a:pt x="281874" y="159894"/>
                  <a:pt x="281874" y="167204"/>
                </a:cubicBezTo>
                <a:cubicBezTo>
                  <a:pt x="281874" y="174514"/>
                  <a:pt x="275893" y="180495"/>
                  <a:pt x="268583" y="180495"/>
                </a:cubicBezTo>
                <a:lnTo>
                  <a:pt x="162257" y="180495"/>
                </a:lnTo>
                <a:cubicBezTo>
                  <a:pt x="154947" y="180495"/>
                  <a:pt x="148967" y="174514"/>
                  <a:pt x="148967" y="167204"/>
                </a:cubicBezTo>
                <a:cubicBezTo>
                  <a:pt x="148967" y="159894"/>
                  <a:pt x="154947" y="153914"/>
                  <a:pt x="162257" y="153914"/>
                </a:cubicBezTo>
                <a:lnTo>
                  <a:pt x="268583" y="153914"/>
                </a:lnTo>
                <a:close/>
                <a:moveTo>
                  <a:pt x="281874" y="273530"/>
                </a:moveTo>
                <a:cubicBezTo>
                  <a:pt x="281874" y="280840"/>
                  <a:pt x="275893" y="286821"/>
                  <a:pt x="268583" y="286821"/>
                </a:cubicBezTo>
                <a:lnTo>
                  <a:pt x="162257" y="286821"/>
                </a:lnTo>
                <a:cubicBezTo>
                  <a:pt x="154947" y="286821"/>
                  <a:pt x="148967" y="280840"/>
                  <a:pt x="148967" y="273530"/>
                </a:cubicBezTo>
                <a:cubicBezTo>
                  <a:pt x="148967" y="266220"/>
                  <a:pt x="154947" y="260239"/>
                  <a:pt x="162257" y="260239"/>
                </a:cubicBezTo>
                <a:lnTo>
                  <a:pt x="268583" y="260239"/>
                </a:lnTo>
                <a:cubicBezTo>
                  <a:pt x="275893" y="260239"/>
                  <a:pt x="281874" y="266220"/>
                  <a:pt x="281874" y="273530"/>
                </a:cubicBezTo>
                <a:moveTo>
                  <a:pt x="281874" y="379856"/>
                </a:moveTo>
                <a:cubicBezTo>
                  <a:pt x="281874" y="387165"/>
                  <a:pt x="275893" y="393146"/>
                  <a:pt x="268583" y="393146"/>
                </a:cubicBezTo>
                <a:lnTo>
                  <a:pt x="162257" y="393146"/>
                </a:lnTo>
                <a:cubicBezTo>
                  <a:pt x="154947" y="393146"/>
                  <a:pt x="148967" y="387165"/>
                  <a:pt x="148967" y="379856"/>
                </a:cubicBezTo>
                <a:cubicBezTo>
                  <a:pt x="148967" y="372546"/>
                  <a:pt x="154947" y="366565"/>
                  <a:pt x="162257" y="366565"/>
                </a:cubicBezTo>
                <a:lnTo>
                  <a:pt x="268583" y="366565"/>
                </a:lnTo>
                <a:cubicBezTo>
                  <a:pt x="275893" y="366565"/>
                  <a:pt x="281874" y="372546"/>
                  <a:pt x="281874" y="379856"/>
                </a:cubicBezTo>
                <a:moveTo>
                  <a:pt x="69222" y="207003"/>
                </a:moveTo>
                <a:lnTo>
                  <a:pt x="122385" y="207003"/>
                </a:lnTo>
                <a:cubicBezTo>
                  <a:pt x="129695" y="207003"/>
                  <a:pt x="135676" y="201022"/>
                  <a:pt x="135676" y="193712"/>
                </a:cubicBezTo>
                <a:lnTo>
                  <a:pt x="135676" y="140549"/>
                </a:lnTo>
                <a:cubicBezTo>
                  <a:pt x="135676" y="133239"/>
                  <a:pt x="129695" y="127258"/>
                  <a:pt x="122385" y="127258"/>
                </a:cubicBezTo>
                <a:lnTo>
                  <a:pt x="69222" y="127258"/>
                </a:lnTo>
                <a:cubicBezTo>
                  <a:pt x="61913" y="127258"/>
                  <a:pt x="55932" y="133239"/>
                  <a:pt x="55932" y="140549"/>
                </a:cubicBezTo>
                <a:lnTo>
                  <a:pt x="55932" y="193712"/>
                </a:lnTo>
                <a:cubicBezTo>
                  <a:pt x="55932" y="201022"/>
                  <a:pt x="61913" y="207003"/>
                  <a:pt x="69222" y="207003"/>
                </a:cubicBezTo>
                <a:moveTo>
                  <a:pt x="82513" y="153840"/>
                </a:moveTo>
                <a:lnTo>
                  <a:pt x="109094" y="153840"/>
                </a:lnTo>
                <a:lnTo>
                  <a:pt x="109094" y="180421"/>
                </a:lnTo>
                <a:lnTo>
                  <a:pt x="82513" y="180421"/>
                </a:lnTo>
                <a:lnTo>
                  <a:pt x="82513" y="153840"/>
                </a:lnTo>
                <a:close/>
                <a:moveTo>
                  <a:pt x="122385" y="233658"/>
                </a:moveTo>
                <a:lnTo>
                  <a:pt x="69222" y="233658"/>
                </a:lnTo>
                <a:cubicBezTo>
                  <a:pt x="61913" y="233658"/>
                  <a:pt x="55932" y="239639"/>
                  <a:pt x="55932" y="246949"/>
                </a:cubicBezTo>
                <a:lnTo>
                  <a:pt x="55932" y="300111"/>
                </a:lnTo>
                <a:cubicBezTo>
                  <a:pt x="55932" y="307421"/>
                  <a:pt x="61913" y="313402"/>
                  <a:pt x="69222" y="313402"/>
                </a:cubicBezTo>
                <a:lnTo>
                  <a:pt x="122385" y="313402"/>
                </a:lnTo>
                <a:cubicBezTo>
                  <a:pt x="129695" y="313402"/>
                  <a:pt x="135676" y="307421"/>
                  <a:pt x="135676" y="300111"/>
                </a:cubicBezTo>
                <a:lnTo>
                  <a:pt x="135676" y="246949"/>
                </a:lnTo>
                <a:cubicBezTo>
                  <a:pt x="135676" y="239639"/>
                  <a:pt x="129769" y="233658"/>
                  <a:pt x="122385" y="233658"/>
                </a:cubicBezTo>
                <a:moveTo>
                  <a:pt x="109094" y="286821"/>
                </a:moveTo>
                <a:lnTo>
                  <a:pt x="82513" y="286821"/>
                </a:lnTo>
                <a:lnTo>
                  <a:pt x="82513" y="260239"/>
                </a:lnTo>
                <a:lnTo>
                  <a:pt x="109094" y="260239"/>
                </a:lnTo>
                <a:lnTo>
                  <a:pt x="109094" y="286821"/>
                </a:lnTo>
                <a:close/>
                <a:moveTo>
                  <a:pt x="122311" y="339983"/>
                </a:moveTo>
                <a:lnTo>
                  <a:pt x="69149" y="339983"/>
                </a:lnTo>
                <a:cubicBezTo>
                  <a:pt x="61839" y="339983"/>
                  <a:pt x="55858" y="345964"/>
                  <a:pt x="55858" y="353274"/>
                </a:cubicBezTo>
                <a:lnTo>
                  <a:pt x="55858" y="406437"/>
                </a:lnTo>
                <a:cubicBezTo>
                  <a:pt x="55858" y="413747"/>
                  <a:pt x="61839" y="419728"/>
                  <a:pt x="69149" y="419728"/>
                </a:cubicBezTo>
                <a:lnTo>
                  <a:pt x="122311" y="419728"/>
                </a:lnTo>
                <a:cubicBezTo>
                  <a:pt x="129621" y="419728"/>
                  <a:pt x="135602" y="413747"/>
                  <a:pt x="135602" y="406437"/>
                </a:cubicBezTo>
                <a:lnTo>
                  <a:pt x="135602" y="353274"/>
                </a:lnTo>
                <a:cubicBezTo>
                  <a:pt x="135602" y="345964"/>
                  <a:pt x="129621" y="339983"/>
                  <a:pt x="122311" y="339983"/>
                </a:cubicBezTo>
                <a:moveTo>
                  <a:pt x="109021" y="393146"/>
                </a:moveTo>
                <a:lnTo>
                  <a:pt x="82439" y="393146"/>
                </a:lnTo>
                <a:lnTo>
                  <a:pt x="82439" y="366565"/>
                </a:lnTo>
                <a:lnTo>
                  <a:pt x="109021" y="366565"/>
                </a:lnTo>
                <a:lnTo>
                  <a:pt x="109021" y="393146"/>
                </a:lnTo>
                <a:close/>
                <a:moveTo>
                  <a:pt x="450296" y="169493"/>
                </a:moveTo>
                <a:lnTo>
                  <a:pt x="423715" y="129621"/>
                </a:lnTo>
                <a:cubicBezTo>
                  <a:pt x="421204" y="125929"/>
                  <a:pt x="417069" y="123640"/>
                  <a:pt x="412565" y="123714"/>
                </a:cubicBezTo>
                <a:cubicBezTo>
                  <a:pt x="408135" y="123714"/>
                  <a:pt x="403926" y="126003"/>
                  <a:pt x="401490" y="129769"/>
                </a:cubicBezTo>
                <a:lnTo>
                  <a:pt x="375425" y="169641"/>
                </a:lnTo>
                <a:cubicBezTo>
                  <a:pt x="374022" y="171782"/>
                  <a:pt x="373284" y="174293"/>
                  <a:pt x="373284" y="176877"/>
                </a:cubicBezTo>
                <a:lnTo>
                  <a:pt x="372767" y="469199"/>
                </a:lnTo>
                <a:cubicBezTo>
                  <a:pt x="372767" y="472743"/>
                  <a:pt x="374170" y="476139"/>
                  <a:pt x="376681" y="478576"/>
                </a:cubicBezTo>
                <a:cubicBezTo>
                  <a:pt x="379191" y="481086"/>
                  <a:pt x="382588" y="482489"/>
                  <a:pt x="386058" y="482489"/>
                </a:cubicBezTo>
                <a:lnTo>
                  <a:pt x="439221" y="482489"/>
                </a:lnTo>
                <a:cubicBezTo>
                  <a:pt x="446531" y="482489"/>
                  <a:pt x="452511" y="476508"/>
                  <a:pt x="452511" y="469199"/>
                </a:cubicBezTo>
                <a:lnTo>
                  <a:pt x="452511" y="176803"/>
                </a:lnTo>
                <a:cubicBezTo>
                  <a:pt x="452511" y="174219"/>
                  <a:pt x="451773" y="171635"/>
                  <a:pt x="450296" y="169493"/>
                </a:cubicBezTo>
                <a:moveTo>
                  <a:pt x="412713" y="161076"/>
                </a:moveTo>
                <a:lnTo>
                  <a:pt x="425930" y="180864"/>
                </a:lnTo>
                <a:lnTo>
                  <a:pt x="425930" y="416110"/>
                </a:lnTo>
                <a:lnTo>
                  <a:pt x="399422" y="416110"/>
                </a:lnTo>
                <a:lnTo>
                  <a:pt x="399865" y="180864"/>
                </a:lnTo>
                <a:lnTo>
                  <a:pt x="412713" y="161076"/>
                </a:lnTo>
                <a:close/>
                <a:moveTo>
                  <a:pt x="399349" y="455982"/>
                </a:moveTo>
                <a:lnTo>
                  <a:pt x="399349" y="442691"/>
                </a:lnTo>
                <a:lnTo>
                  <a:pt x="425856" y="442691"/>
                </a:lnTo>
                <a:lnTo>
                  <a:pt x="425856" y="455982"/>
                </a:lnTo>
                <a:lnTo>
                  <a:pt x="399349" y="455982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s-MX" sz="1100" dirty="0"/>
          </a:p>
        </p:txBody>
      </p:sp>
    </p:spTree>
    <p:extLst>
      <p:ext uri="{BB962C8B-B14F-4D97-AF65-F5344CB8AC3E}">
        <p14:creationId xmlns:p14="http://schemas.microsoft.com/office/powerpoint/2010/main" val="1883948084"/>
      </p:ext>
    </p:extLst>
  </p:cSld>
  <p:clrMapOvr>
    <a:masterClrMapping/>
  </p:clrMapOvr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461BC3-3EC9-F823-EE20-A0C464DE69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E24B342-187C-6ADD-AE1B-A4C45E3C77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68796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9083F11-E473-B8EF-65A8-99BCCA8427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irc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B3CA8D4-B87E-C235-683F-865DDA6592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05</a:t>
            </a:fld>
            <a:endParaRPr lang="en-US" dirty="0"/>
          </a:p>
        </p:txBody>
      </p:sp>
      <p:sp>
        <p:nvSpPr>
          <p:cNvPr id="6" name="Freeform: Shape 8558">
            <a:extLst>
              <a:ext uri="{FF2B5EF4-FFF2-40B4-BE49-F238E27FC236}">
                <a16:creationId xmlns:a16="http://schemas.microsoft.com/office/drawing/2014/main" id="{2B29BF9F-03BF-0708-CC91-DC1CC8E8548A}"/>
              </a:ext>
            </a:extLst>
          </p:cNvPr>
          <p:cNvSpPr/>
          <p:nvPr/>
        </p:nvSpPr>
        <p:spPr>
          <a:xfrm rot="4800">
            <a:off x="5914215" y="1510481"/>
            <a:ext cx="2444765" cy="2448641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630" h="631">
                <a:moveTo>
                  <a:pt x="630" y="315"/>
                </a:moveTo>
                <a:cubicBezTo>
                  <a:pt x="630" y="490"/>
                  <a:pt x="490" y="631"/>
                  <a:pt x="315" y="631"/>
                </a:cubicBezTo>
                <a:cubicBezTo>
                  <a:pt x="142" y="631"/>
                  <a:pt x="0" y="490"/>
                  <a:pt x="0" y="315"/>
                </a:cubicBezTo>
                <a:cubicBezTo>
                  <a:pt x="0" y="142"/>
                  <a:pt x="142" y="0"/>
                  <a:pt x="315" y="0"/>
                </a:cubicBezTo>
                <a:cubicBezTo>
                  <a:pt x="490" y="0"/>
                  <a:pt x="630" y="142"/>
                  <a:pt x="630" y="315"/>
                </a:cubicBezTo>
                <a:close/>
              </a:path>
            </a:pathLst>
          </a:custGeom>
          <a:solidFill>
            <a:schemeClr val="accent3"/>
          </a:solidFill>
          <a:ln cap="flat">
            <a:noFill/>
            <a:prstDash val="solid"/>
          </a:ln>
        </p:spPr>
        <p:txBody>
          <a:bodyPr vert="horz" wrap="none" lIns="90000" tIns="45000" rIns="90000" bIns="45000" anchor="ctr" anchorCtr="1" compatLnSpc="0"/>
          <a:lstStyle/>
          <a:p>
            <a:pPr marL="0" marR="0" lvl="0" indent="0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endParaRPr lang="en-US" sz="1200" u="none" strike="noStrike" kern="1200" dirty="0">
              <a:ln>
                <a:noFill/>
              </a:ln>
              <a:ea typeface="Arial Unicode MS" pitchFamily="2"/>
              <a:cs typeface="Arial Unicode MS" pitchFamily="2"/>
            </a:endParaRPr>
          </a:p>
        </p:txBody>
      </p:sp>
      <p:sp>
        <p:nvSpPr>
          <p:cNvPr id="7" name="Freeform: Shape 8600">
            <a:extLst>
              <a:ext uri="{FF2B5EF4-FFF2-40B4-BE49-F238E27FC236}">
                <a16:creationId xmlns:a16="http://schemas.microsoft.com/office/drawing/2014/main" id="{26D4B5A4-44B3-8CE9-103D-1C3B4B126135}"/>
              </a:ext>
            </a:extLst>
          </p:cNvPr>
          <p:cNvSpPr/>
          <p:nvPr/>
        </p:nvSpPr>
        <p:spPr>
          <a:xfrm rot="4800">
            <a:off x="6264700" y="1861021"/>
            <a:ext cx="1751416" cy="1751408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250" h="250">
                <a:moveTo>
                  <a:pt x="250" y="124"/>
                </a:moveTo>
                <a:cubicBezTo>
                  <a:pt x="250" y="194"/>
                  <a:pt x="194" y="250"/>
                  <a:pt x="124" y="250"/>
                </a:cubicBezTo>
                <a:cubicBezTo>
                  <a:pt x="56" y="250"/>
                  <a:pt x="0" y="194"/>
                  <a:pt x="0" y="124"/>
                </a:cubicBezTo>
                <a:cubicBezTo>
                  <a:pt x="0" y="55"/>
                  <a:pt x="56" y="0"/>
                  <a:pt x="124" y="0"/>
                </a:cubicBezTo>
                <a:cubicBezTo>
                  <a:pt x="194" y="0"/>
                  <a:pt x="250" y="55"/>
                  <a:pt x="250" y="124"/>
                </a:cubicBezTo>
                <a:close/>
              </a:path>
            </a:pathLst>
          </a:custGeom>
          <a:solidFill>
            <a:schemeClr val="bg2"/>
          </a:solidFill>
          <a:ln cap="flat">
            <a:noFill/>
            <a:prstDash val="solid"/>
          </a:ln>
        </p:spPr>
        <p:txBody>
          <a:bodyPr vert="horz" wrap="none" lIns="90000" tIns="45000" rIns="90000" bIns="45000" anchor="ctr" anchorCtr="1" compatLnSpc="0"/>
          <a:lstStyle/>
          <a:p>
            <a:pPr marL="0" marR="0" lvl="0" indent="0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endParaRPr lang="en-US" sz="1200" u="none" strike="noStrike" kern="1200" dirty="0">
              <a:ln>
                <a:noFill/>
              </a:ln>
              <a:ea typeface="Arial Unicode MS" pitchFamily="2"/>
              <a:cs typeface="Arial Unicode MS" pitchFamily="2"/>
            </a:endParaRPr>
          </a:p>
        </p:txBody>
      </p:sp>
      <p:sp>
        <p:nvSpPr>
          <p:cNvPr id="8" name="Freeform: Shape 8556">
            <a:extLst>
              <a:ext uri="{FF2B5EF4-FFF2-40B4-BE49-F238E27FC236}">
                <a16:creationId xmlns:a16="http://schemas.microsoft.com/office/drawing/2014/main" id="{D12DB20B-4F2A-F16E-BB46-DEBCAF576D22}"/>
              </a:ext>
            </a:extLst>
          </p:cNvPr>
          <p:cNvSpPr/>
          <p:nvPr/>
        </p:nvSpPr>
        <p:spPr>
          <a:xfrm rot="4800">
            <a:off x="1720791" y="1504630"/>
            <a:ext cx="2444765" cy="2448641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630" h="631">
                <a:moveTo>
                  <a:pt x="630" y="315"/>
                </a:moveTo>
                <a:cubicBezTo>
                  <a:pt x="630" y="490"/>
                  <a:pt x="489" y="631"/>
                  <a:pt x="315" y="631"/>
                </a:cubicBezTo>
                <a:cubicBezTo>
                  <a:pt x="141" y="631"/>
                  <a:pt x="0" y="490"/>
                  <a:pt x="0" y="315"/>
                </a:cubicBezTo>
                <a:cubicBezTo>
                  <a:pt x="0" y="142"/>
                  <a:pt x="141" y="0"/>
                  <a:pt x="315" y="0"/>
                </a:cubicBezTo>
                <a:cubicBezTo>
                  <a:pt x="489" y="0"/>
                  <a:pt x="630" y="142"/>
                  <a:pt x="630" y="315"/>
                </a:cubicBezTo>
                <a:close/>
              </a:path>
            </a:pathLst>
          </a:custGeom>
          <a:solidFill>
            <a:schemeClr val="accent1"/>
          </a:solidFill>
          <a:ln cap="flat">
            <a:noFill/>
            <a:prstDash val="solid"/>
          </a:ln>
        </p:spPr>
        <p:txBody>
          <a:bodyPr vert="horz" wrap="none" lIns="90000" tIns="45000" rIns="90000" bIns="45000" anchor="ctr" anchorCtr="1" compatLnSpc="0"/>
          <a:lstStyle/>
          <a:p>
            <a:pPr marL="0" marR="0" lvl="0" indent="0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endParaRPr lang="en-US" sz="1200" u="none" strike="noStrike" kern="1200" dirty="0">
              <a:ln>
                <a:noFill/>
              </a:ln>
              <a:ea typeface="Arial Unicode MS" pitchFamily="2"/>
              <a:cs typeface="Arial Unicode MS" pitchFamily="2"/>
            </a:endParaRPr>
          </a:p>
        </p:txBody>
      </p:sp>
      <p:sp>
        <p:nvSpPr>
          <p:cNvPr id="9" name="Freeform: Shape 8596">
            <a:extLst>
              <a:ext uri="{FF2B5EF4-FFF2-40B4-BE49-F238E27FC236}">
                <a16:creationId xmlns:a16="http://schemas.microsoft.com/office/drawing/2014/main" id="{08F954BC-0294-0381-E5F7-3E6911B5FF58}"/>
              </a:ext>
            </a:extLst>
          </p:cNvPr>
          <p:cNvSpPr/>
          <p:nvPr/>
        </p:nvSpPr>
        <p:spPr>
          <a:xfrm rot="4800">
            <a:off x="2067390" y="1855169"/>
            <a:ext cx="1751416" cy="1751408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250" h="250">
                <a:moveTo>
                  <a:pt x="250" y="124"/>
                </a:moveTo>
                <a:cubicBezTo>
                  <a:pt x="250" y="194"/>
                  <a:pt x="194" y="250"/>
                  <a:pt x="125" y="250"/>
                </a:cubicBezTo>
                <a:cubicBezTo>
                  <a:pt x="56" y="250"/>
                  <a:pt x="0" y="194"/>
                  <a:pt x="0" y="124"/>
                </a:cubicBezTo>
                <a:cubicBezTo>
                  <a:pt x="0" y="55"/>
                  <a:pt x="56" y="0"/>
                  <a:pt x="125" y="0"/>
                </a:cubicBezTo>
                <a:cubicBezTo>
                  <a:pt x="194" y="0"/>
                  <a:pt x="250" y="55"/>
                  <a:pt x="250" y="124"/>
                </a:cubicBezTo>
                <a:close/>
              </a:path>
            </a:pathLst>
          </a:custGeom>
          <a:solidFill>
            <a:schemeClr val="bg2"/>
          </a:solidFill>
          <a:ln cap="flat">
            <a:noFill/>
            <a:prstDash val="solid"/>
          </a:ln>
        </p:spPr>
        <p:txBody>
          <a:bodyPr vert="horz" wrap="none" lIns="90000" tIns="45000" rIns="90000" bIns="45000" anchor="ctr" anchorCtr="1" compatLnSpc="0"/>
          <a:lstStyle/>
          <a:p>
            <a:pPr marL="0" marR="0" lvl="0" indent="0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endParaRPr lang="en-US" sz="1200" u="none" strike="noStrike" kern="1200" dirty="0">
              <a:ln>
                <a:noFill/>
              </a:ln>
              <a:ea typeface="Arial Unicode MS" pitchFamily="2"/>
              <a:cs typeface="Arial Unicode MS" pitchFamily="2"/>
            </a:endParaRPr>
          </a:p>
        </p:txBody>
      </p:sp>
      <p:sp>
        <p:nvSpPr>
          <p:cNvPr id="10" name="Freeform: Shape 8557">
            <a:extLst>
              <a:ext uri="{FF2B5EF4-FFF2-40B4-BE49-F238E27FC236}">
                <a16:creationId xmlns:a16="http://schemas.microsoft.com/office/drawing/2014/main" id="{04D210DE-8BBB-A6B8-C757-57E5590A6282}"/>
              </a:ext>
            </a:extLst>
          </p:cNvPr>
          <p:cNvSpPr/>
          <p:nvPr/>
        </p:nvSpPr>
        <p:spPr>
          <a:xfrm rot="4800">
            <a:off x="3819452" y="1507556"/>
            <a:ext cx="2444765" cy="2448641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630" h="631">
                <a:moveTo>
                  <a:pt x="630" y="315"/>
                </a:moveTo>
                <a:cubicBezTo>
                  <a:pt x="630" y="490"/>
                  <a:pt x="489" y="631"/>
                  <a:pt x="315" y="631"/>
                </a:cubicBezTo>
                <a:cubicBezTo>
                  <a:pt x="141" y="631"/>
                  <a:pt x="0" y="490"/>
                  <a:pt x="0" y="315"/>
                </a:cubicBezTo>
                <a:cubicBezTo>
                  <a:pt x="0" y="142"/>
                  <a:pt x="141" y="0"/>
                  <a:pt x="315" y="0"/>
                </a:cubicBezTo>
                <a:cubicBezTo>
                  <a:pt x="489" y="0"/>
                  <a:pt x="630" y="142"/>
                  <a:pt x="630" y="315"/>
                </a:cubicBezTo>
                <a:close/>
              </a:path>
            </a:pathLst>
          </a:custGeom>
          <a:solidFill>
            <a:schemeClr val="accent2"/>
          </a:solidFill>
          <a:ln cap="flat">
            <a:noFill/>
            <a:prstDash val="solid"/>
          </a:ln>
        </p:spPr>
        <p:txBody>
          <a:bodyPr vert="horz" wrap="none" lIns="90000" tIns="45000" rIns="90000" bIns="45000" anchor="ctr" anchorCtr="1" compatLnSpc="0"/>
          <a:lstStyle/>
          <a:p>
            <a:pPr marL="0" marR="0" lvl="0" indent="0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endParaRPr lang="en-US" sz="1200" u="none" strike="noStrike" kern="1200" dirty="0">
              <a:ln>
                <a:noFill/>
              </a:ln>
              <a:ea typeface="Arial Unicode MS" pitchFamily="2"/>
              <a:cs typeface="Arial Unicode MS" pitchFamily="2"/>
            </a:endParaRPr>
          </a:p>
        </p:txBody>
      </p:sp>
      <p:sp>
        <p:nvSpPr>
          <p:cNvPr id="11" name="Freeform: Shape 8605">
            <a:extLst>
              <a:ext uri="{FF2B5EF4-FFF2-40B4-BE49-F238E27FC236}">
                <a16:creationId xmlns:a16="http://schemas.microsoft.com/office/drawing/2014/main" id="{FC24DCE4-4C91-9A28-C1C4-DEB87B6AA0AE}"/>
              </a:ext>
            </a:extLst>
          </p:cNvPr>
          <p:cNvSpPr/>
          <p:nvPr/>
        </p:nvSpPr>
        <p:spPr>
          <a:xfrm rot="4800">
            <a:off x="4166039" y="1858095"/>
            <a:ext cx="1751416" cy="1751408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250" h="250">
                <a:moveTo>
                  <a:pt x="250" y="124"/>
                </a:moveTo>
                <a:cubicBezTo>
                  <a:pt x="250" y="194"/>
                  <a:pt x="194" y="250"/>
                  <a:pt x="125" y="250"/>
                </a:cubicBezTo>
                <a:cubicBezTo>
                  <a:pt x="56" y="250"/>
                  <a:pt x="0" y="194"/>
                  <a:pt x="0" y="124"/>
                </a:cubicBezTo>
                <a:cubicBezTo>
                  <a:pt x="0" y="55"/>
                  <a:pt x="56" y="0"/>
                  <a:pt x="125" y="0"/>
                </a:cubicBezTo>
                <a:cubicBezTo>
                  <a:pt x="194" y="0"/>
                  <a:pt x="250" y="55"/>
                  <a:pt x="250" y="124"/>
                </a:cubicBezTo>
                <a:close/>
              </a:path>
            </a:pathLst>
          </a:custGeom>
          <a:solidFill>
            <a:schemeClr val="bg2"/>
          </a:solidFill>
          <a:ln cap="flat">
            <a:noFill/>
            <a:prstDash val="solid"/>
          </a:ln>
        </p:spPr>
        <p:txBody>
          <a:bodyPr vert="horz" wrap="none" lIns="90000" tIns="45000" rIns="90000" bIns="45000" anchor="ctr" anchorCtr="1" compatLnSpc="0"/>
          <a:lstStyle/>
          <a:p>
            <a:pPr marL="0" marR="0" lvl="0" indent="0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endParaRPr lang="en-US" sz="1200" u="none" strike="noStrike" kern="1200" dirty="0">
              <a:ln>
                <a:noFill/>
              </a:ln>
              <a:ea typeface="Arial Unicode MS" pitchFamily="2"/>
              <a:cs typeface="Arial Unicode MS" pitchFamily="2"/>
            </a:endParaRPr>
          </a:p>
        </p:txBody>
      </p:sp>
      <p:sp>
        <p:nvSpPr>
          <p:cNvPr id="12" name="Freeform: Shape 8559">
            <a:extLst>
              <a:ext uri="{FF2B5EF4-FFF2-40B4-BE49-F238E27FC236}">
                <a16:creationId xmlns:a16="http://schemas.microsoft.com/office/drawing/2014/main" id="{1B47A661-FC36-E65B-EBBA-D004D898AC7F}"/>
              </a:ext>
            </a:extLst>
          </p:cNvPr>
          <p:cNvSpPr/>
          <p:nvPr/>
        </p:nvSpPr>
        <p:spPr>
          <a:xfrm rot="4800">
            <a:off x="8012864" y="1513419"/>
            <a:ext cx="2448652" cy="2448641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631" h="631">
                <a:moveTo>
                  <a:pt x="631" y="315"/>
                </a:moveTo>
                <a:cubicBezTo>
                  <a:pt x="631" y="490"/>
                  <a:pt x="490" y="631"/>
                  <a:pt x="316" y="631"/>
                </a:cubicBezTo>
                <a:cubicBezTo>
                  <a:pt x="142" y="631"/>
                  <a:pt x="0" y="490"/>
                  <a:pt x="0" y="315"/>
                </a:cubicBezTo>
                <a:cubicBezTo>
                  <a:pt x="0" y="142"/>
                  <a:pt x="142" y="0"/>
                  <a:pt x="316" y="0"/>
                </a:cubicBezTo>
                <a:cubicBezTo>
                  <a:pt x="490" y="0"/>
                  <a:pt x="631" y="142"/>
                  <a:pt x="631" y="315"/>
                </a:cubicBezTo>
                <a:close/>
              </a:path>
            </a:pathLst>
          </a:custGeom>
          <a:solidFill>
            <a:schemeClr val="accent4"/>
          </a:solidFill>
          <a:ln cap="flat">
            <a:noFill/>
            <a:prstDash val="solid"/>
          </a:ln>
        </p:spPr>
        <p:txBody>
          <a:bodyPr vert="horz" wrap="none" lIns="90000" tIns="45000" rIns="90000" bIns="45000" anchor="ctr" anchorCtr="1" compatLnSpc="0"/>
          <a:lstStyle/>
          <a:p>
            <a:pPr marL="0" marR="0" lvl="0" indent="0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endParaRPr lang="en-US" sz="1200" u="none" strike="noStrike" kern="1200" dirty="0">
              <a:ln>
                <a:noFill/>
              </a:ln>
              <a:ea typeface="Arial Unicode MS" pitchFamily="2"/>
              <a:cs typeface="Arial Unicode MS" pitchFamily="2"/>
            </a:endParaRPr>
          </a:p>
        </p:txBody>
      </p:sp>
      <p:sp>
        <p:nvSpPr>
          <p:cNvPr id="13" name="Freeform: Shape 8602">
            <a:extLst>
              <a:ext uri="{FF2B5EF4-FFF2-40B4-BE49-F238E27FC236}">
                <a16:creationId xmlns:a16="http://schemas.microsoft.com/office/drawing/2014/main" id="{99996B1B-E718-5CC5-C4E7-D513D5D476D0}"/>
              </a:ext>
            </a:extLst>
          </p:cNvPr>
          <p:cNvSpPr/>
          <p:nvPr/>
        </p:nvSpPr>
        <p:spPr>
          <a:xfrm rot="4800">
            <a:off x="8363350" y="1863957"/>
            <a:ext cx="1751416" cy="1751408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250" h="250">
                <a:moveTo>
                  <a:pt x="250" y="124"/>
                </a:moveTo>
                <a:cubicBezTo>
                  <a:pt x="250" y="194"/>
                  <a:pt x="194" y="250"/>
                  <a:pt x="125" y="250"/>
                </a:cubicBezTo>
                <a:cubicBezTo>
                  <a:pt x="55" y="250"/>
                  <a:pt x="0" y="194"/>
                  <a:pt x="0" y="124"/>
                </a:cubicBezTo>
                <a:cubicBezTo>
                  <a:pt x="0" y="55"/>
                  <a:pt x="55" y="0"/>
                  <a:pt x="125" y="0"/>
                </a:cubicBezTo>
                <a:cubicBezTo>
                  <a:pt x="194" y="0"/>
                  <a:pt x="250" y="55"/>
                  <a:pt x="250" y="124"/>
                </a:cubicBezTo>
                <a:close/>
              </a:path>
            </a:pathLst>
          </a:custGeom>
          <a:solidFill>
            <a:schemeClr val="bg2"/>
          </a:solidFill>
          <a:ln cap="flat">
            <a:noFill/>
            <a:prstDash val="solid"/>
          </a:ln>
        </p:spPr>
        <p:txBody>
          <a:bodyPr vert="horz" wrap="none" lIns="90000" tIns="45000" rIns="90000" bIns="45000" anchor="ctr" anchorCtr="1" compatLnSpc="0"/>
          <a:lstStyle/>
          <a:p>
            <a:pPr marL="0" marR="0" lvl="0" indent="0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endParaRPr lang="en-US" sz="1200" u="none" strike="noStrike" kern="1200" dirty="0">
              <a:ln>
                <a:noFill/>
              </a:ln>
              <a:ea typeface="Arial Unicode MS" pitchFamily="2"/>
              <a:cs typeface="Arial Unicode MS" pitchFamily="2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23E5CCF-0E65-C40C-27AD-593801EBDD47}"/>
              </a:ext>
            </a:extLst>
          </p:cNvPr>
          <p:cNvSpPr txBox="1"/>
          <p:nvPr/>
        </p:nvSpPr>
        <p:spPr>
          <a:xfrm>
            <a:off x="926082" y="4192872"/>
            <a:ext cx="241672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ea typeface="Lato Light" panose="020F0502020204030203" pitchFamily="34" charset="0"/>
                <a:cs typeface="Lato Light" panose="020F0502020204030203" pitchFamily="34" charset="0"/>
              </a:rPr>
              <a:t>Text </a:t>
            </a:r>
            <a:r>
              <a:rPr lang="en-US" sz="16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6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6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6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6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6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6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6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6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6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6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6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6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6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6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6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DAC3881-A777-A811-282C-31493C324CCC}"/>
              </a:ext>
            </a:extLst>
          </p:cNvPr>
          <p:cNvSpPr txBox="1"/>
          <p:nvPr/>
        </p:nvSpPr>
        <p:spPr>
          <a:xfrm>
            <a:off x="3563890" y="4192872"/>
            <a:ext cx="241672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ea typeface="Lato Light" panose="020F0502020204030203" pitchFamily="34" charset="0"/>
                <a:cs typeface="Lato Light" panose="020F0502020204030203" pitchFamily="34" charset="0"/>
              </a:rPr>
              <a:t>Text </a:t>
            </a:r>
            <a:r>
              <a:rPr lang="en-US" sz="16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6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6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6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6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6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6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6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6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6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6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6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6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6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6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6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D114D6E0-298E-21C8-2379-505F02F5D890}"/>
              </a:ext>
            </a:extLst>
          </p:cNvPr>
          <p:cNvSpPr txBox="1"/>
          <p:nvPr/>
        </p:nvSpPr>
        <p:spPr>
          <a:xfrm>
            <a:off x="6201698" y="4192872"/>
            <a:ext cx="241672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ea typeface="Lato Light" panose="020F0502020204030203" pitchFamily="34" charset="0"/>
                <a:cs typeface="Lato Light" panose="020F0502020204030203" pitchFamily="34" charset="0"/>
              </a:rPr>
              <a:t>Text </a:t>
            </a:r>
            <a:r>
              <a:rPr lang="en-US" sz="16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6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6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6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6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6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6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6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6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6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6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6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6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6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6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6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8F0BE7D-1D83-E447-98A8-F18147CA09F9}"/>
              </a:ext>
            </a:extLst>
          </p:cNvPr>
          <p:cNvSpPr txBox="1"/>
          <p:nvPr/>
        </p:nvSpPr>
        <p:spPr>
          <a:xfrm>
            <a:off x="8839506" y="4192872"/>
            <a:ext cx="241672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ea typeface="Lato Light" panose="020F0502020204030203" pitchFamily="34" charset="0"/>
                <a:cs typeface="Lato Light" panose="020F0502020204030203" pitchFamily="34" charset="0"/>
              </a:rPr>
              <a:t>Text </a:t>
            </a:r>
            <a:r>
              <a:rPr lang="en-US" sz="16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6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6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6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6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6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6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6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6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6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6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6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6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6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6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6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98064BCB-67D8-6D30-514B-A7B3FCCD2FB0}"/>
              </a:ext>
            </a:extLst>
          </p:cNvPr>
          <p:cNvSpPr/>
          <p:nvPr/>
        </p:nvSpPr>
        <p:spPr>
          <a:xfrm flipH="1">
            <a:off x="2174940" y="2259903"/>
            <a:ext cx="153631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4800" dirty="0">
                <a:ea typeface="Roboto Medium" panose="02000000000000000000" pitchFamily="2" charset="0"/>
                <a:cs typeface="Poppins" pitchFamily="2" charset="77"/>
              </a:rPr>
              <a:t>1</a:t>
            </a:r>
            <a:endParaRPr lang="en-US" sz="7200" dirty="0">
              <a:ea typeface="Roboto Medium" panose="02000000000000000000" pitchFamily="2" charset="0"/>
              <a:cs typeface="Poppins" pitchFamily="2" charset="77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3BDB7AE6-25E1-9C0F-3E0C-96E11BDF62F3}"/>
              </a:ext>
            </a:extLst>
          </p:cNvPr>
          <p:cNvSpPr/>
          <p:nvPr/>
        </p:nvSpPr>
        <p:spPr>
          <a:xfrm flipH="1">
            <a:off x="4273752" y="2259903"/>
            <a:ext cx="153631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4800" dirty="0">
                <a:ea typeface="Roboto Medium" panose="02000000000000000000" pitchFamily="2" charset="0"/>
                <a:cs typeface="Poppins" pitchFamily="2" charset="77"/>
              </a:rPr>
              <a:t>2</a:t>
            </a:r>
            <a:endParaRPr lang="en-US" sz="7200" dirty="0">
              <a:ea typeface="Roboto Medium" panose="02000000000000000000" pitchFamily="2" charset="0"/>
              <a:cs typeface="Poppins" pitchFamily="2" charset="77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BFE193AE-84A9-59C9-6D99-8BCA21D5713F}"/>
              </a:ext>
            </a:extLst>
          </p:cNvPr>
          <p:cNvSpPr/>
          <p:nvPr/>
        </p:nvSpPr>
        <p:spPr>
          <a:xfrm flipH="1">
            <a:off x="6372413" y="2259903"/>
            <a:ext cx="153631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4800" dirty="0">
                <a:ea typeface="Roboto Medium" panose="02000000000000000000" pitchFamily="2" charset="0"/>
                <a:cs typeface="Poppins" pitchFamily="2" charset="77"/>
              </a:rPr>
              <a:t>3</a:t>
            </a:r>
            <a:endParaRPr lang="en-US" sz="7200" dirty="0">
              <a:ea typeface="Roboto Medium" panose="02000000000000000000" pitchFamily="2" charset="0"/>
              <a:cs typeface="Poppins" pitchFamily="2" charset="77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4C71B6FC-D87B-C465-8FAD-8C05412CA638}"/>
              </a:ext>
            </a:extLst>
          </p:cNvPr>
          <p:cNvSpPr/>
          <p:nvPr/>
        </p:nvSpPr>
        <p:spPr>
          <a:xfrm flipH="1">
            <a:off x="8469032" y="2259903"/>
            <a:ext cx="153631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4800" dirty="0">
                <a:ea typeface="Roboto Medium" panose="02000000000000000000" pitchFamily="2" charset="0"/>
                <a:cs typeface="Poppins" pitchFamily="2" charset="77"/>
              </a:rPr>
              <a:t>4</a:t>
            </a:r>
            <a:endParaRPr lang="en-US" sz="7200" dirty="0">
              <a:ea typeface="Roboto Medium" panose="02000000000000000000" pitchFamily="2" charset="0"/>
              <a:cs typeface="Poppins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42565130"/>
      </p:ext>
    </p:extLst>
  </p:cSld>
  <p:clrMapOvr>
    <a:masterClrMapping/>
  </p:clrMapOvr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A3132B-E412-44ED-DBB3-73E78B6E17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A6DB4A6-0575-C6EC-C22E-0DFEE79F1A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4840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1F53324-D062-BEB2-DB40-DD537872A4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Flow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681C2E7-6735-D991-E1D1-2CC8A0D7EC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06</a:t>
            </a:fld>
            <a:endParaRPr lang="en-US" dirty="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C6CB6154-47A0-9C13-CFA6-CFFDFAA44614}"/>
              </a:ext>
            </a:extLst>
          </p:cNvPr>
          <p:cNvSpPr/>
          <p:nvPr/>
        </p:nvSpPr>
        <p:spPr>
          <a:xfrm>
            <a:off x="992666" y="1777292"/>
            <a:ext cx="1346493" cy="1346492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D9F1BD15-8007-4BEF-530A-EC3E6B1E05EF}"/>
              </a:ext>
            </a:extLst>
          </p:cNvPr>
          <p:cNvSpPr/>
          <p:nvPr/>
        </p:nvSpPr>
        <p:spPr>
          <a:xfrm>
            <a:off x="3944060" y="1777292"/>
            <a:ext cx="1346493" cy="1346492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1935879E-BA8D-F2FB-157F-3073F5B7F91D}"/>
              </a:ext>
            </a:extLst>
          </p:cNvPr>
          <p:cNvSpPr/>
          <p:nvPr/>
        </p:nvSpPr>
        <p:spPr>
          <a:xfrm>
            <a:off x="6896308" y="1777292"/>
            <a:ext cx="1346493" cy="134649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D05C3A7D-39CB-819E-7DD3-E0635142AC09}"/>
              </a:ext>
            </a:extLst>
          </p:cNvPr>
          <p:cNvSpPr/>
          <p:nvPr/>
        </p:nvSpPr>
        <p:spPr>
          <a:xfrm>
            <a:off x="9815732" y="1777292"/>
            <a:ext cx="1346493" cy="1346492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CF766EEF-ED58-4D6C-03B5-B18E190142BD}"/>
              </a:ext>
            </a:extLst>
          </p:cNvPr>
          <p:cNvCxnSpPr>
            <a:cxnSpLocks/>
          </p:cNvCxnSpPr>
          <p:nvPr/>
        </p:nvCxnSpPr>
        <p:spPr>
          <a:xfrm>
            <a:off x="2557954" y="2445628"/>
            <a:ext cx="1188607" cy="0"/>
          </a:xfrm>
          <a:prstGeom prst="straightConnector1">
            <a:avLst/>
          </a:prstGeom>
          <a:ln w="508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53A8C735-C2B7-68AE-938A-14C041099E6E}"/>
              </a:ext>
            </a:extLst>
          </p:cNvPr>
          <p:cNvCxnSpPr>
            <a:cxnSpLocks/>
          </p:cNvCxnSpPr>
          <p:nvPr/>
        </p:nvCxnSpPr>
        <p:spPr>
          <a:xfrm>
            <a:off x="5521146" y="2445628"/>
            <a:ext cx="1188607" cy="0"/>
          </a:xfrm>
          <a:prstGeom prst="straightConnector1">
            <a:avLst/>
          </a:prstGeom>
          <a:ln w="508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D2B5D6DA-9462-ADE6-AB20-BE8F3900E355}"/>
              </a:ext>
            </a:extLst>
          </p:cNvPr>
          <p:cNvCxnSpPr>
            <a:cxnSpLocks/>
          </p:cNvCxnSpPr>
          <p:nvPr/>
        </p:nvCxnSpPr>
        <p:spPr>
          <a:xfrm>
            <a:off x="8429869" y="2445628"/>
            <a:ext cx="1188607" cy="0"/>
          </a:xfrm>
          <a:prstGeom prst="straightConnector1">
            <a:avLst/>
          </a:prstGeom>
          <a:ln w="508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CA87F089-C01C-CA17-2EED-5A3AE874D432}"/>
              </a:ext>
            </a:extLst>
          </p:cNvPr>
          <p:cNvSpPr txBox="1"/>
          <p:nvPr/>
        </p:nvSpPr>
        <p:spPr>
          <a:xfrm flipH="1">
            <a:off x="429538" y="4159640"/>
            <a:ext cx="247274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ea typeface="Lato Light" panose="020F0502020204030203" pitchFamily="34" charset="0"/>
                <a:cs typeface="Lato Light" panose="020F0502020204030203" pitchFamily="34" charset="0"/>
              </a:rPr>
              <a:t>Text </a:t>
            </a:r>
            <a:r>
              <a:rPr lang="en-US" sz="20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20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20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20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20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20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20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20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20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20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20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20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20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20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20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20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097CEACD-AF76-2E36-5896-40BD90071CC1}"/>
              </a:ext>
            </a:extLst>
          </p:cNvPr>
          <p:cNvSpPr/>
          <p:nvPr/>
        </p:nvSpPr>
        <p:spPr>
          <a:xfrm flipH="1">
            <a:off x="879945" y="3583036"/>
            <a:ext cx="157193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b="1" dirty="0">
                <a:ea typeface="Roboto Medium" panose="02000000000000000000" pitchFamily="2" charset="0"/>
                <a:cs typeface="Poppins" pitchFamily="2" charset="77"/>
              </a:rPr>
              <a:t>Heading</a:t>
            </a:r>
            <a:endParaRPr lang="en-US" sz="5400" b="1" dirty="0">
              <a:ea typeface="Roboto Medium" panose="02000000000000000000" pitchFamily="2" charset="0"/>
              <a:cs typeface="Poppins" pitchFamily="2" charset="77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56ACBB2-C774-D991-ACDC-A07C7A7FE93D}"/>
              </a:ext>
            </a:extLst>
          </p:cNvPr>
          <p:cNvSpPr txBox="1"/>
          <p:nvPr/>
        </p:nvSpPr>
        <p:spPr>
          <a:xfrm flipH="1">
            <a:off x="3380933" y="4159640"/>
            <a:ext cx="247274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ea typeface="Lato Light" panose="020F0502020204030203" pitchFamily="34" charset="0"/>
                <a:cs typeface="Lato Light" panose="020F0502020204030203" pitchFamily="34" charset="0"/>
              </a:rPr>
              <a:t>Text </a:t>
            </a:r>
            <a:r>
              <a:rPr lang="en-US" sz="20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20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20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20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20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20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20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20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20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20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20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20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20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20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20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20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0790AFF6-CFD7-C0FF-AEA3-DA18BF18F89D}"/>
              </a:ext>
            </a:extLst>
          </p:cNvPr>
          <p:cNvSpPr/>
          <p:nvPr/>
        </p:nvSpPr>
        <p:spPr>
          <a:xfrm flipH="1">
            <a:off x="3831340" y="3583036"/>
            <a:ext cx="157193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b="1" dirty="0">
                <a:ea typeface="Roboto Medium" panose="02000000000000000000" pitchFamily="2" charset="0"/>
                <a:cs typeface="Poppins" pitchFamily="2" charset="77"/>
              </a:rPr>
              <a:t>Heading</a:t>
            </a:r>
            <a:endParaRPr lang="en-US" sz="5400" b="1" dirty="0">
              <a:ea typeface="Roboto Medium" panose="02000000000000000000" pitchFamily="2" charset="0"/>
              <a:cs typeface="Poppins" pitchFamily="2" charset="77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0771526-9BDA-ED46-EC65-868643672CC6}"/>
              </a:ext>
            </a:extLst>
          </p:cNvPr>
          <p:cNvSpPr txBox="1"/>
          <p:nvPr/>
        </p:nvSpPr>
        <p:spPr>
          <a:xfrm flipH="1">
            <a:off x="6333180" y="4159640"/>
            <a:ext cx="247274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ea typeface="Lato Light" panose="020F0502020204030203" pitchFamily="34" charset="0"/>
                <a:cs typeface="Lato Light" panose="020F0502020204030203" pitchFamily="34" charset="0"/>
              </a:rPr>
              <a:t>Text </a:t>
            </a:r>
            <a:r>
              <a:rPr lang="en-US" sz="20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20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20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20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20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20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20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20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20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20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20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20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20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20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20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20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89A0792-6258-8550-8637-8E274B814BC5}"/>
              </a:ext>
            </a:extLst>
          </p:cNvPr>
          <p:cNvSpPr/>
          <p:nvPr/>
        </p:nvSpPr>
        <p:spPr>
          <a:xfrm flipH="1">
            <a:off x="6783587" y="3583036"/>
            <a:ext cx="157193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b="1" dirty="0">
                <a:ea typeface="Roboto Medium" panose="02000000000000000000" pitchFamily="2" charset="0"/>
                <a:cs typeface="Poppins" pitchFamily="2" charset="77"/>
              </a:rPr>
              <a:t>Heading</a:t>
            </a:r>
            <a:endParaRPr lang="en-US" sz="5400" b="1" dirty="0">
              <a:ea typeface="Roboto Medium" panose="02000000000000000000" pitchFamily="2" charset="0"/>
              <a:cs typeface="Poppins" pitchFamily="2" charset="77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55DD017-44EB-16A4-A00A-B5571219ACC8}"/>
              </a:ext>
            </a:extLst>
          </p:cNvPr>
          <p:cNvSpPr txBox="1"/>
          <p:nvPr/>
        </p:nvSpPr>
        <p:spPr>
          <a:xfrm flipH="1">
            <a:off x="9289715" y="4159640"/>
            <a:ext cx="247274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ea typeface="Lato Light" panose="020F0502020204030203" pitchFamily="34" charset="0"/>
                <a:cs typeface="Lato Light" panose="020F0502020204030203" pitchFamily="34" charset="0"/>
              </a:rPr>
              <a:t>Text </a:t>
            </a:r>
            <a:r>
              <a:rPr lang="en-US" sz="20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20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20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20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20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20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20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20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20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20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20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20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20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20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20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20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AF03AF6F-23E5-ABC7-6980-29B8750BC9C2}"/>
              </a:ext>
            </a:extLst>
          </p:cNvPr>
          <p:cNvSpPr/>
          <p:nvPr/>
        </p:nvSpPr>
        <p:spPr>
          <a:xfrm flipH="1">
            <a:off x="9372968" y="3583036"/>
            <a:ext cx="230623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b="1" dirty="0">
                <a:ea typeface="Roboto Medium" panose="02000000000000000000" pitchFamily="2" charset="0"/>
                <a:cs typeface="Poppins" pitchFamily="2" charset="77"/>
              </a:rPr>
              <a:t>Heading</a:t>
            </a:r>
            <a:endParaRPr lang="en-US" sz="5400" b="1" dirty="0">
              <a:ea typeface="Roboto Medium" panose="02000000000000000000" pitchFamily="2" charset="0"/>
              <a:cs typeface="Poppins" pitchFamily="2" charset="77"/>
            </a:endParaRPr>
          </a:p>
        </p:txBody>
      </p:sp>
      <p:sp>
        <p:nvSpPr>
          <p:cNvPr id="17" name="Forma libre 9">
            <a:extLst>
              <a:ext uri="{FF2B5EF4-FFF2-40B4-BE49-F238E27FC236}">
                <a16:creationId xmlns:a16="http://schemas.microsoft.com/office/drawing/2014/main" id="{45EE5FE1-8B28-6D26-322A-C943FFC9C30C}"/>
              </a:ext>
            </a:extLst>
          </p:cNvPr>
          <p:cNvSpPr/>
          <p:nvPr/>
        </p:nvSpPr>
        <p:spPr>
          <a:xfrm>
            <a:off x="4420150" y="2245314"/>
            <a:ext cx="420826" cy="403339"/>
          </a:xfrm>
          <a:custGeom>
            <a:avLst/>
            <a:gdLst>
              <a:gd name="connsiteX0" fmla="*/ 530392 w 533104"/>
              <a:gd name="connsiteY0" fmla="*/ 361477 h 510953"/>
              <a:gd name="connsiteX1" fmla="*/ 530171 w 533104"/>
              <a:gd name="connsiteY1" fmla="*/ 360887 h 510953"/>
              <a:gd name="connsiteX2" fmla="*/ 509644 w 533104"/>
              <a:gd name="connsiteY2" fmla="*/ 338292 h 510953"/>
              <a:gd name="connsiteX3" fmla="*/ 479223 w 533104"/>
              <a:gd name="connsiteY3" fmla="*/ 336742 h 510953"/>
              <a:gd name="connsiteX4" fmla="*/ 381389 w 533104"/>
              <a:gd name="connsiteY4" fmla="*/ 374177 h 510953"/>
              <a:gd name="connsiteX5" fmla="*/ 345135 w 533104"/>
              <a:gd name="connsiteY5" fmla="*/ 348039 h 510953"/>
              <a:gd name="connsiteX6" fmla="*/ 344027 w 533104"/>
              <a:gd name="connsiteY6" fmla="*/ 348039 h 510953"/>
              <a:gd name="connsiteX7" fmla="*/ 386853 w 533104"/>
              <a:gd name="connsiteY7" fmla="*/ 256407 h 510953"/>
              <a:gd name="connsiteX8" fmla="*/ 374079 w 533104"/>
              <a:gd name="connsiteY8" fmla="*/ 202653 h 510953"/>
              <a:gd name="connsiteX9" fmla="*/ 387148 w 533104"/>
              <a:gd name="connsiteY9" fmla="*/ 202949 h 510953"/>
              <a:gd name="connsiteX10" fmla="*/ 416757 w 533104"/>
              <a:gd name="connsiteY10" fmla="*/ 202949 h 510953"/>
              <a:gd name="connsiteX11" fmla="*/ 447842 w 533104"/>
              <a:gd name="connsiteY11" fmla="*/ 235511 h 510953"/>
              <a:gd name="connsiteX12" fmla="*/ 489339 w 533104"/>
              <a:gd name="connsiteY12" fmla="*/ 236028 h 510953"/>
              <a:gd name="connsiteX13" fmla="*/ 489486 w 533104"/>
              <a:gd name="connsiteY13" fmla="*/ 236028 h 510953"/>
              <a:gd name="connsiteX14" fmla="*/ 502777 w 533104"/>
              <a:gd name="connsiteY14" fmla="*/ 222885 h 510953"/>
              <a:gd name="connsiteX15" fmla="*/ 489634 w 533104"/>
              <a:gd name="connsiteY15" fmla="*/ 209446 h 510953"/>
              <a:gd name="connsiteX16" fmla="*/ 448137 w 533104"/>
              <a:gd name="connsiteY16" fmla="*/ 208930 h 510953"/>
              <a:gd name="connsiteX17" fmla="*/ 442895 w 533104"/>
              <a:gd name="connsiteY17" fmla="*/ 196599 h 510953"/>
              <a:gd name="connsiteX18" fmla="*/ 444593 w 533104"/>
              <a:gd name="connsiteY18" fmla="*/ 55348 h 510953"/>
              <a:gd name="connsiteX19" fmla="*/ 447621 w 533104"/>
              <a:gd name="connsiteY19" fmla="*/ 45159 h 510953"/>
              <a:gd name="connsiteX20" fmla="*/ 450131 w 533104"/>
              <a:gd name="connsiteY20" fmla="*/ 43165 h 510953"/>
              <a:gd name="connsiteX21" fmla="*/ 450131 w 533104"/>
              <a:gd name="connsiteY21" fmla="*/ 43165 h 510953"/>
              <a:gd name="connsiteX22" fmla="*/ 491628 w 533104"/>
              <a:gd name="connsiteY22" fmla="*/ 43682 h 510953"/>
              <a:gd name="connsiteX23" fmla="*/ 505066 w 533104"/>
              <a:gd name="connsiteY23" fmla="*/ 30539 h 510953"/>
              <a:gd name="connsiteX24" fmla="*/ 491923 w 533104"/>
              <a:gd name="connsiteY24" fmla="*/ 17101 h 510953"/>
              <a:gd name="connsiteX25" fmla="*/ 450426 w 533104"/>
              <a:gd name="connsiteY25" fmla="*/ 16584 h 510953"/>
              <a:gd name="connsiteX26" fmla="*/ 426355 w 533104"/>
              <a:gd name="connsiteY26" fmla="*/ 29210 h 510953"/>
              <a:gd name="connsiteX27" fmla="*/ 418233 w 533104"/>
              <a:gd name="connsiteY27" fmla="*/ 51066 h 510953"/>
              <a:gd name="connsiteX28" fmla="*/ 412548 w 533104"/>
              <a:gd name="connsiteY28" fmla="*/ 50549 h 510953"/>
              <a:gd name="connsiteX29" fmla="*/ 412105 w 533104"/>
              <a:gd name="connsiteY29" fmla="*/ 50549 h 510953"/>
              <a:gd name="connsiteX30" fmla="*/ 320547 w 533104"/>
              <a:gd name="connsiteY30" fmla="*/ 21531 h 510953"/>
              <a:gd name="connsiteX31" fmla="*/ 244642 w 533104"/>
              <a:gd name="connsiteY31" fmla="*/ 1816 h 510953"/>
              <a:gd name="connsiteX32" fmla="*/ 126503 w 533104"/>
              <a:gd name="connsiteY32" fmla="*/ 53133 h 510953"/>
              <a:gd name="connsiteX33" fmla="*/ 25715 w 533104"/>
              <a:gd name="connsiteY33" fmla="*/ 100389 h 510953"/>
              <a:gd name="connsiteX34" fmla="*/ 4302 w 533104"/>
              <a:gd name="connsiteY34" fmla="*/ 120251 h 510953"/>
              <a:gd name="connsiteX35" fmla="*/ 2825 w 533104"/>
              <a:gd name="connsiteY35" fmla="*/ 150081 h 510953"/>
              <a:gd name="connsiteX36" fmla="*/ 3047 w 533104"/>
              <a:gd name="connsiteY36" fmla="*/ 150746 h 510953"/>
              <a:gd name="connsiteX37" fmla="*/ 23573 w 533104"/>
              <a:gd name="connsiteY37" fmla="*/ 173340 h 510953"/>
              <a:gd name="connsiteX38" fmla="*/ 40630 w 533104"/>
              <a:gd name="connsiteY38" fmla="*/ 177180 h 510953"/>
              <a:gd name="connsiteX39" fmla="*/ 53994 w 533104"/>
              <a:gd name="connsiteY39" fmla="*/ 174817 h 510953"/>
              <a:gd name="connsiteX40" fmla="*/ 151829 w 533104"/>
              <a:gd name="connsiteY40" fmla="*/ 137381 h 510953"/>
              <a:gd name="connsiteX41" fmla="*/ 160320 w 533104"/>
              <a:gd name="connsiteY41" fmla="*/ 151041 h 510953"/>
              <a:gd name="connsiteX42" fmla="*/ 188157 w 533104"/>
              <a:gd name="connsiteY42" fmla="*/ 163446 h 510953"/>
              <a:gd name="connsiteX43" fmla="*/ 189264 w 533104"/>
              <a:gd name="connsiteY43" fmla="*/ 163446 h 510953"/>
              <a:gd name="connsiteX44" fmla="*/ 192292 w 533104"/>
              <a:gd name="connsiteY44" fmla="*/ 163298 h 510953"/>
              <a:gd name="connsiteX45" fmla="*/ 147620 w 533104"/>
              <a:gd name="connsiteY45" fmla="*/ 256481 h 510953"/>
              <a:gd name="connsiteX46" fmla="*/ 159729 w 533104"/>
              <a:gd name="connsiteY46" fmla="*/ 308905 h 510953"/>
              <a:gd name="connsiteX47" fmla="*/ 146143 w 533104"/>
              <a:gd name="connsiteY47" fmla="*/ 308610 h 510953"/>
              <a:gd name="connsiteX48" fmla="*/ 116461 w 533104"/>
              <a:gd name="connsiteY48" fmla="*/ 308610 h 510953"/>
              <a:gd name="connsiteX49" fmla="*/ 109151 w 533104"/>
              <a:gd name="connsiteY49" fmla="*/ 289264 h 510953"/>
              <a:gd name="connsiteX50" fmla="*/ 85375 w 533104"/>
              <a:gd name="connsiteY50" fmla="*/ 276048 h 510953"/>
              <a:gd name="connsiteX51" fmla="*/ 43879 w 533104"/>
              <a:gd name="connsiteY51" fmla="*/ 275531 h 510953"/>
              <a:gd name="connsiteX52" fmla="*/ 30440 w 533104"/>
              <a:gd name="connsiteY52" fmla="*/ 288674 h 510953"/>
              <a:gd name="connsiteX53" fmla="*/ 43583 w 533104"/>
              <a:gd name="connsiteY53" fmla="*/ 302112 h 510953"/>
              <a:gd name="connsiteX54" fmla="*/ 85080 w 533104"/>
              <a:gd name="connsiteY54" fmla="*/ 302629 h 510953"/>
              <a:gd name="connsiteX55" fmla="*/ 87517 w 533104"/>
              <a:gd name="connsiteY55" fmla="*/ 304696 h 510953"/>
              <a:gd name="connsiteX56" fmla="*/ 90322 w 533104"/>
              <a:gd name="connsiteY56" fmla="*/ 314960 h 510953"/>
              <a:gd name="connsiteX57" fmla="*/ 88624 w 533104"/>
              <a:gd name="connsiteY57" fmla="*/ 456210 h 510953"/>
              <a:gd name="connsiteX58" fmla="*/ 83086 w 533104"/>
              <a:gd name="connsiteY58" fmla="*/ 468394 h 510953"/>
              <a:gd name="connsiteX59" fmla="*/ 83086 w 533104"/>
              <a:gd name="connsiteY59" fmla="*/ 468394 h 510953"/>
              <a:gd name="connsiteX60" fmla="*/ 41590 w 533104"/>
              <a:gd name="connsiteY60" fmla="*/ 467877 h 510953"/>
              <a:gd name="connsiteX61" fmla="*/ 28151 w 533104"/>
              <a:gd name="connsiteY61" fmla="*/ 481020 h 510953"/>
              <a:gd name="connsiteX62" fmla="*/ 41294 w 533104"/>
              <a:gd name="connsiteY62" fmla="*/ 494458 h 510953"/>
              <a:gd name="connsiteX63" fmla="*/ 82791 w 533104"/>
              <a:gd name="connsiteY63" fmla="*/ 494975 h 510953"/>
              <a:gd name="connsiteX64" fmla="*/ 83160 w 533104"/>
              <a:gd name="connsiteY64" fmla="*/ 494975 h 510953"/>
              <a:gd name="connsiteX65" fmla="*/ 115058 w 533104"/>
              <a:gd name="connsiteY65" fmla="*/ 460493 h 510953"/>
              <a:gd name="connsiteX66" fmla="*/ 120743 w 533104"/>
              <a:gd name="connsiteY66" fmla="*/ 461010 h 510953"/>
              <a:gd name="connsiteX67" fmla="*/ 121186 w 533104"/>
              <a:gd name="connsiteY67" fmla="*/ 461010 h 510953"/>
              <a:gd name="connsiteX68" fmla="*/ 212744 w 533104"/>
              <a:gd name="connsiteY68" fmla="*/ 490028 h 510953"/>
              <a:gd name="connsiteX69" fmla="*/ 276244 w 533104"/>
              <a:gd name="connsiteY69" fmla="*/ 510998 h 510953"/>
              <a:gd name="connsiteX70" fmla="*/ 288649 w 533104"/>
              <a:gd name="connsiteY70" fmla="*/ 509742 h 510953"/>
              <a:gd name="connsiteX71" fmla="*/ 406789 w 533104"/>
              <a:gd name="connsiteY71" fmla="*/ 458426 h 510953"/>
              <a:gd name="connsiteX72" fmla="*/ 507576 w 533104"/>
              <a:gd name="connsiteY72" fmla="*/ 411170 h 510953"/>
              <a:gd name="connsiteX73" fmla="*/ 528989 w 533104"/>
              <a:gd name="connsiteY73" fmla="*/ 391308 h 510953"/>
              <a:gd name="connsiteX74" fmla="*/ 530392 w 533104"/>
              <a:gd name="connsiteY74" fmla="*/ 361477 h 510953"/>
              <a:gd name="connsiteX75" fmla="*/ 188304 w 533104"/>
              <a:gd name="connsiteY75" fmla="*/ 136864 h 510953"/>
              <a:gd name="connsiteX76" fmla="*/ 175900 w 533104"/>
              <a:gd name="connsiteY76" fmla="*/ 123278 h 510953"/>
              <a:gd name="connsiteX77" fmla="*/ 180035 w 533104"/>
              <a:gd name="connsiteY77" fmla="*/ 114049 h 510953"/>
              <a:gd name="connsiteX78" fmla="*/ 189486 w 533104"/>
              <a:gd name="connsiteY78" fmla="*/ 110431 h 510953"/>
              <a:gd name="connsiteX79" fmla="*/ 189633 w 533104"/>
              <a:gd name="connsiteY79" fmla="*/ 110431 h 510953"/>
              <a:gd name="connsiteX80" fmla="*/ 287837 w 533104"/>
              <a:gd name="connsiteY80" fmla="*/ 112129 h 510953"/>
              <a:gd name="connsiteX81" fmla="*/ 298839 w 533104"/>
              <a:gd name="connsiteY81" fmla="*/ 106591 h 510953"/>
              <a:gd name="connsiteX82" fmla="*/ 311539 w 533104"/>
              <a:gd name="connsiteY82" fmla="*/ 88944 h 510953"/>
              <a:gd name="connsiteX83" fmla="*/ 308511 w 533104"/>
              <a:gd name="connsiteY83" fmla="*/ 70411 h 510953"/>
              <a:gd name="connsiteX84" fmla="*/ 289978 w 533104"/>
              <a:gd name="connsiteY84" fmla="*/ 73438 h 510953"/>
              <a:gd name="connsiteX85" fmla="*/ 281339 w 533104"/>
              <a:gd name="connsiteY85" fmla="*/ 85400 h 510953"/>
              <a:gd name="connsiteX86" fmla="*/ 190150 w 533104"/>
              <a:gd name="connsiteY86" fmla="*/ 83776 h 510953"/>
              <a:gd name="connsiteX87" fmla="*/ 161797 w 533104"/>
              <a:gd name="connsiteY87" fmla="*/ 94630 h 510953"/>
              <a:gd name="connsiteX88" fmla="*/ 152346 w 533104"/>
              <a:gd name="connsiteY88" fmla="*/ 108289 h 510953"/>
              <a:gd name="connsiteX89" fmla="*/ 44913 w 533104"/>
              <a:gd name="connsiteY89" fmla="*/ 149564 h 510953"/>
              <a:gd name="connsiteX90" fmla="*/ 34871 w 533104"/>
              <a:gd name="connsiteY90" fmla="*/ 149048 h 510953"/>
              <a:gd name="connsiteX91" fmla="*/ 28004 w 533104"/>
              <a:gd name="connsiteY91" fmla="*/ 141442 h 510953"/>
              <a:gd name="connsiteX92" fmla="*/ 27782 w 533104"/>
              <a:gd name="connsiteY92" fmla="*/ 140778 h 510953"/>
              <a:gd name="connsiteX93" fmla="*/ 28299 w 533104"/>
              <a:gd name="connsiteY93" fmla="*/ 131327 h 510953"/>
              <a:gd name="connsiteX94" fmla="*/ 35314 w 533104"/>
              <a:gd name="connsiteY94" fmla="*/ 124903 h 510953"/>
              <a:gd name="connsiteX95" fmla="*/ 36495 w 533104"/>
              <a:gd name="connsiteY95" fmla="*/ 124386 h 510953"/>
              <a:gd name="connsiteX96" fmla="*/ 249885 w 533104"/>
              <a:gd name="connsiteY96" fmla="*/ 27585 h 510953"/>
              <a:gd name="connsiteX97" fmla="*/ 308733 w 533104"/>
              <a:gd name="connsiteY97" fmla="*/ 45159 h 510953"/>
              <a:gd name="connsiteX98" fmla="*/ 410333 w 533104"/>
              <a:gd name="connsiteY98" fmla="*/ 76835 h 510953"/>
              <a:gd name="connsiteX99" fmla="*/ 417643 w 533104"/>
              <a:gd name="connsiteY99" fmla="*/ 77499 h 510953"/>
              <a:gd name="connsiteX100" fmla="*/ 416461 w 533104"/>
              <a:gd name="connsiteY100" fmla="*/ 176146 h 510953"/>
              <a:gd name="connsiteX101" fmla="*/ 387000 w 533104"/>
              <a:gd name="connsiteY101" fmla="*/ 176146 h 510953"/>
              <a:gd name="connsiteX102" fmla="*/ 353995 w 533104"/>
              <a:gd name="connsiteY102" fmla="*/ 174152 h 510953"/>
              <a:gd name="connsiteX103" fmla="*/ 289461 w 533104"/>
              <a:gd name="connsiteY103" fmla="*/ 138710 h 510953"/>
              <a:gd name="connsiteX104" fmla="*/ 188304 w 533104"/>
              <a:gd name="connsiteY104" fmla="*/ 136864 h 510953"/>
              <a:gd name="connsiteX105" fmla="*/ 267163 w 533104"/>
              <a:gd name="connsiteY105" fmla="*/ 163372 h 510953"/>
              <a:gd name="connsiteX106" fmla="*/ 283702 w 533104"/>
              <a:gd name="connsiteY106" fmla="*/ 164849 h 510953"/>
              <a:gd name="connsiteX107" fmla="*/ 309397 w 533104"/>
              <a:gd name="connsiteY107" fmla="*/ 179838 h 510953"/>
              <a:gd name="connsiteX108" fmla="*/ 339523 w 533104"/>
              <a:gd name="connsiteY108" fmla="*/ 198076 h 510953"/>
              <a:gd name="connsiteX109" fmla="*/ 360124 w 533104"/>
              <a:gd name="connsiteY109" fmla="*/ 256407 h 510953"/>
              <a:gd name="connsiteX110" fmla="*/ 273808 w 533104"/>
              <a:gd name="connsiteY110" fmla="*/ 349220 h 510953"/>
              <a:gd name="connsiteX111" fmla="*/ 249737 w 533104"/>
              <a:gd name="connsiteY111" fmla="*/ 346710 h 510953"/>
              <a:gd name="connsiteX112" fmla="*/ 223599 w 533104"/>
              <a:gd name="connsiteY112" fmla="*/ 331573 h 510953"/>
              <a:gd name="connsiteX113" fmla="*/ 193621 w 533104"/>
              <a:gd name="connsiteY113" fmla="*/ 313409 h 510953"/>
              <a:gd name="connsiteX114" fmla="*/ 174054 w 533104"/>
              <a:gd name="connsiteY114" fmla="*/ 256407 h 510953"/>
              <a:gd name="connsiteX115" fmla="*/ 267163 w 533104"/>
              <a:gd name="connsiteY115" fmla="*/ 163372 h 510953"/>
              <a:gd name="connsiteX116" fmla="*/ 504844 w 533104"/>
              <a:gd name="connsiteY116" fmla="*/ 379937 h 510953"/>
              <a:gd name="connsiteX117" fmla="*/ 497830 w 533104"/>
              <a:gd name="connsiteY117" fmla="*/ 386360 h 510953"/>
              <a:gd name="connsiteX118" fmla="*/ 496648 w 533104"/>
              <a:gd name="connsiteY118" fmla="*/ 386877 h 510953"/>
              <a:gd name="connsiteX119" fmla="*/ 283259 w 533104"/>
              <a:gd name="connsiteY119" fmla="*/ 483678 h 510953"/>
              <a:gd name="connsiteX120" fmla="*/ 224411 w 533104"/>
              <a:gd name="connsiteY120" fmla="*/ 466105 h 510953"/>
              <a:gd name="connsiteX121" fmla="*/ 122811 w 533104"/>
              <a:gd name="connsiteY121" fmla="*/ 434428 h 510953"/>
              <a:gd name="connsiteX122" fmla="*/ 115501 w 533104"/>
              <a:gd name="connsiteY122" fmla="*/ 433764 h 510953"/>
              <a:gd name="connsiteX123" fmla="*/ 116682 w 533104"/>
              <a:gd name="connsiteY123" fmla="*/ 335117 h 510953"/>
              <a:gd name="connsiteX124" fmla="*/ 146143 w 533104"/>
              <a:gd name="connsiteY124" fmla="*/ 335117 h 510953"/>
              <a:gd name="connsiteX125" fmla="*/ 179075 w 533104"/>
              <a:gd name="connsiteY125" fmla="*/ 337111 h 510953"/>
              <a:gd name="connsiteX126" fmla="*/ 267310 w 533104"/>
              <a:gd name="connsiteY126" fmla="*/ 376023 h 510953"/>
              <a:gd name="connsiteX127" fmla="*/ 274620 w 533104"/>
              <a:gd name="connsiteY127" fmla="*/ 375802 h 510953"/>
              <a:gd name="connsiteX128" fmla="*/ 344987 w 533104"/>
              <a:gd name="connsiteY128" fmla="*/ 374620 h 510953"/>
              <a:gd name="connsiteX129" fmla="*/ 357392 w 533104"/>
              <a:gd name="connsiteY129" fmla="*/ 388206 h 510953"/>
              <a:gd name="connsiteX130" fmla="*/ 343805 w 533104"/>
              <a:gd name="connsiteY130" fmla="*/ 401054 h 510953"/>
              <a:gd name="connsiteX131" fmla="*/ 343658 w 533104"/>
              <a:gd name="connsiteY131" fmla="*/ 401054 h 510953"/>
              <a:gd name="connsiteX132" fmla="*/ 245454 w 533104"/>
              <a:gd name="connsiteY132" fmla="*/ 399356 h 510953"/>
              <a:gd name="connsiteX133" fmla="*/ 234453 w 533104"/>
              <a:gd name="connsiteY133" fmla="*/ 404894 h 510953"/>
              <a:gd name="connsiteX134" fmla="*/ 221753 w 533104"/>
              <a:gd name="connsiteY134" fmla="*/ 422541 h 510953"/>
              <a:gd name="connsiteX135" fmla="*/ 224780 w 533104"/>
              <a:gd name="connsiteY135" fmla="*/ 441074 h 510953"/>
              <a:gd name="connsiteX136" fmla="*/ 232533 w 533104"/>
              <a:gd name="connsiteY136" fmla="*/ 443584 h 510953"/>
              <a:gd name="connsiteX137" fmla="*/ 243313 w 533104"/>
              <a:gd name="connsiteY137" fmla="*/ 438046 h 510953"/>
              <a:gd name="connsiteX138" fmla="*/ 251952 w 533104"/>
              <a:gd name="connsiteY138" fmla="*/ 426085 h 510953"/>
              <a:gd name="connsiteX139" fmla="*/ 343141 w 533104"/>
              <a:gd name="connsiteY139" fmla="*/ 427709 h 510953"/>
              <a:gd name="connsiteX140" fmla="*/ 344175 w 533104"/>
              <a:gd name="connsiteY140" fmla="*/ 427709 h 510953"/>
              <a:gd name="connsiteX141" fmla="*/ 380946 w 533104"/>
              <a:gd name="connsiteY141" fmla="*/ 403121 h 510953"/>
              <a:gd name="connsiteX142" fmla="*/ 488379 w 533104"/>
              <a:gd name="connsiteY142" fmla="*/ 361773 h 510953"/>
              <a:gd name="connsiteX143" fmla="*/ 498421 w 533104"/>
              <a:gd name="connsiteY143" fmla="*/ 362289 h 510953"/>
              <a:gd name="connsiteX144" fmla="*/ 505288 w 533104"/>
              <a:gd name="connsiteY144" fmla="*/ 369895 h 510953"/>
              <a:gd name="connsiteX145" fmla="*/ 505509 w 533104"/>
              <a:gd name="connsiteY145" fmla="*/ 370485 h 510953"/>
              <a:gd name="connsiteX146" fmla="*/ 504844 w 533104"/>
              <a:gd name="connsiteY146" fmla="*/ 379937 h 510953"/>
              <a:gd name="connsiteX147" fmla="*/ 214517 w 533104"/>
              <a:gd name="connsiteY147" fmla="*/ 263938 h 510953"/>
              <a:gd name="connsiteX148" fmla="*/ 214664 w 533104"/>
              <a:gd name="connsiteY148" fmla="*/ 245110 h 510953"/>
              <a:gd name="connsiteX149" fmla="*/ 233493 w 533104"/>
              <a:gd name="connsiteY149" fmla="*/ 245257 h 510953"/>
              <a:gd name="connsiteX150" fmla="*/ 250844 w 533104"/>
              <a:gd name="connsiteY150" fmla="*/ 262978 h 510953"/>
              <a:gd name="connsiteX151" fmla="*/ 298691 w 533104"/>
              <a:gd name="connsiteY151" fmla="*/ 203687 h 510953"/>
              <a:gd name="connsiteX152" fmla="*/ 317372 w 533104"/>
              <a:gd name="connsiteY152" fmla="*/ 201694 h 510953"/>
              <a:gd name="connsiteX153" fmla="*/ 319365 w 533104"/>
              <a:gd name="connsiteY153" fmla="*/ 220374 h 510953"/>
              <a:gd name="connsiteX154" fmla="*/ 262142 w 533104"/>
              <a:gd name="connsiteY154" fmla="*/ 291258 h 510953"/>
              <a:gd name="connsiteX155" fmla="*/ 262068 w 533104"/>
              <a:gd name="connsiteY155" fmla="*/ 291332 h 510953"/>
              <a:gd name="connsiteX156" fmla="*/ 261108 w 533104"/>
              <a:gd name="connsiteY156" fmla="*/ 292366 h 510953"/>
              <a:gd name="connsiteX157" fmla="*/ 260886 w 533104"/>
              <a:gd name="connsiteY157" fmla="*/ 292587 h 510953"/>
              <a:gd name="connsiteX158" fmla="*/ 260000 w 533104"/>
              <a:gd name="connsiteY158" fmla="*/ 293326 h 510953"/>
              <a:gd name="connsiteX159" fmla="*/ 259557 w 533104"/>
              <a:gd name="connsiteY159" fmla="*/ 293621 h 510953"/>
              <a:gd name="connsiteX160" fmla="*/ 258819 w 533104"/>
              <a:gd name="connsiteY160" fmla="*/ 294138 h 510953"/>
              <a:gd name="connsiteX161" fmla="*/ 258302 w 533104"/>
              <a:gd name="connsiteY161" fmla="*/ 294433 h 510953"/>
              <a:gd name="connsiteX162" fmla="*/ 257564 w 533104"/>
              <a:gd name="connsiteY162" fmla="*/ 294802 h 510953"/>
              <a:gd name="connsiteX163" fmla="*/ 257047 w 533104"/>
              <a:gd name="connsiteY163" fmla="*/ 295024 h 510953"/>
              <a:gd name="connsiteX164" fmla="*/ 256235 w 533104"/>
              <a:gd name="connsiteY164" fmla="*/ 295319 h 510953"/>
              <a:gd name="connsiteX165" fmla="*/ 255718 w 533104"/>
              <a:gd name="connsiteY165" fmla="*/ 295467 h 510953"/>
              <a:gd name="connsiteX166" fmla="*/ 254832 w 533104"/>
              <a:gd name="connsiteY166" fmla="*/ 295688 h 510953"/>
              <a:gd name="connsiteX167" fmla="*/ 254389 w 533104"/>
              <a:gd name="connsiteY167" fmla="*/ 295762 h 510953"/>
              <a:gd name="connsiteX168" fmla="*/ 253429 w 533104"/>
              <a:gd name="connsiteY168" fmla="*/ 295910 h 510953"/>
              <a:gd name="connsiteX169" fmla="*/ 253060 w 533104"/>
              <a:gd name="connsiteY169" fmla="*/ 295984 h 510953"/>
              <a:gd name="connsiteX170" fmla="*/ 251730 w 533104"/>
              <a:gd name="connsiteY170" fmla="*/ 296058 h 510953"/>
              <a:gd name="connsiteX171" fmla="*/ 251730 w 533104"/>
              <a:gd name="connsiteY171" fmla="*/ 296058 h 510953"/>
              <a:gd name="connsiteX172" fmla="*/ 250549 w 533104"/>
              <a:gd name="connsiteY172" fmla="*/ 295984 h 510953"/>
              <a:gd name="connsiteX173" fmla="*/ 250254 w 533104"/>
              <a:gd name="connsiteY173" fmla="*/ 295910 h 510953"/>
              <a:gd name="connsiteX174" fmla="*/ 249368 w 533104"/>
              <a:gd name="connsiteY174" fmla="*/ 295762 h 510953"/>
              <a:gd name="connsiteX175" fmla="*/ 248999 w 533104"/>
              <a:gd name="connsiteY175" fmla="*/ 295688 h 510953"/>
              <a:gd name="connsiteX176" fmla="*/ 248186 w 533104"/>
              <a:gd name="connsiteY176" fmla="*/ 295467 h 510953"/>
              <a:gd name="connsiteX177" fmla="*/ 247743 w 533104"/>
              <a:gd name="connsiteY177" fmla="*/ 295319 h 510953"/>
              <a:gd name="connsiteX178" fmla="*/ 247005 w 533104"/>
              <a:gd name="connsiteY178" fmla="*/ 295024 h 510953"/>
              <a:gd name="connsiteX179" fmla="*/ 246562 w 533104"/>
              <a:gd name="connsiteY179" fmla="*/ 294876 h 510953"/>
              <a:gd name="connsiteX180" fmla="*/ 245823 w 533104"/>
              <a:gd name="connsiteY180" fmla="*/ 294507 h 510953"/>
              <a:gd name="connsiteX181" fmla="*/ 245381 w 533104"/>
              <a:gd name="connsiteY181" fmla="*/ 294285 h 510953"/>
              <a:gd name="connsiteX182" fmla="*/ 244568 w 533104"/>
              <a:gd name="connsiteY182" fmla="*/ 293842 h 510953"/>
              <a:gd name="connsiteX183" fmla="*/ 244199 w 533104"/>
              <a:gd name="connsiteY183" fmla="*/ 293621 h 510953"/>
              <a:gd name="connsiteX184" fmla="*/ 243387 w 533104"/>
              <a:gd name="connsiteY184" fmla="*/ 293030 h 510953"/>
              <a:gd name="connsiteX185" fmla="*/ 243313 w 533104"/>
              <a:gd name="connsiteY185" fmla="*/ 292956 h 510953"/>
              <a:gd name="connsiteX186" fmla="*/ 242796 w 533104"/>
              <a:gd name="connsiteY186" fmla="*/ 292513 h 510953"/>
              <a:gd name="connsiteX187" fmla="*/ 242279 w 533104"/>
              <a:gd name="connsiteY187" fmla="*/ 291996 h 510953"/>
              <a:gd name="connsiteX188" fmla="*/ 242206 w 533104"/>
              <a:gd name="connsiteY188" fmla="*/ 291923 h 510953"/>
              <a:gd name="connsiteX189" fmla="*/ 214517 w 533104"/>
              <a:gd name="connsiteY189" fmla="*/ 263938 h 510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</a:cxnLst>
            <a:rect l="l" t="t" r="r" b="b"/>
            <a:pathLst>
              <a:path w="533104" h="510953">
                <a:moveTo>
                  <a:pt x="530392" y="361477"/>
                </a:moveTo>
                <a:lnTo>
                  <a:pt x="530171" y="360887"/>
                </a:lnTo>
                <a:cubicBezTo>
                  <a:pt x="526553" y="350845"/>
                  <a:pt x="519317" y="342796"/>
                  <a:pt x="509644" y="338292"/>
                </a:cubicBezTo>
                <a:cubicBezTo>
                  <a:pt x="500045" y="333714"/>
                  <a:pt x="489191" y="333198"/>
                  <a:pt x="479223" y="336742"/>
                </a:cubicBezTo>
                <a:cubicBezTo>
                  <a:pt x="442452" y="349959"/>
                  <a:pt x="400734" y="366424"/>
                  <a:pt x="381389" y="374177"/>
                </a:cubicBezTo>
                <a:cubicBezTo>
                  <a:pt x="375925" y="359336"/>
                  <a:pt x="361896" y="348556"/>
                  <a:pt x="345135" y="348039"/>
                </a:cubicBezTo>
                <a:cubicBezTo>
                  <a:pt x="344765" y="348039"/>
                  <a:pt x="344396" y="348039"/>
                  <a:pt x="344027" y="348039"/>
                </a:cubicBezTo>
                <a:cubicBezTo>
                  <a:pt x="370165" y="326109"/>
                  <a:pt x="386853" y="293178"/>
                  <a:pt x="386853" y="256407"/>
                </a:cubicBezTo>
                <a:cubicBezTo>
                  <a:pt x="386853" y="237062"/>
                  <a:pt x="382201" y="218824"/>
                  <a:pt x="374079" y="202653"/>
                </a:cubicBezTo>
                <a:cubicBezTo>
                  <a:pt x="380724" y="202875"/>
                  <a:pt x="385967" y="202949"/>
                  <a:pt x="387148" y="202949"/>
                </a:cubicBezTo>
                <a:lnTo>
                  <a:pt x="416757" y="202949"/>
                </a:lnTo>
                <a:cubicBezTo>
                  <a:pt x="419046" y="221482"/>
                  <a:pt x="431820" y="235289"/>
                  <a:pt x="447842" y="235511"/>
                </a:cubicBezTo>
                <a:lnTo>
                  <a:pt x="489339" y="236028"/>
                </a:lnTo>
                <a:cubicBezTo>
                  <a:pt x="489413" y="236028"/>
                  <a:pt x="489413" y="236028"/>
                  <a:pt x="489486" y="236028"/>
                </a:cubicBezTo>
                <a:cubicBezTo>
                  <a:pt x="496722" y="236028"/>
                  <a:pt x="502703" y="230195"/>
                  <a:pt x="502777" y="222885"/>
                </a:cubicBezTo>
                <a:cubicBezTo>
                  <a:pt x="502851" y="215575"/>
                  <a:pt x="497018" y="209520"/>
                  <a:pt x="489634" y="209446"/>
                </a:cubicBezTo>
                <a:lnTo>
                  <a:pt x="448137" y="208930"/>
                </a:lnTo>
                <a:cubicBezTo>
                  <a:pt x="446808" y="208930"/>
                  <a:pt x="442821" y="204499"/>
                  <a:pt x="442895" y="196599"/>
                </a:cubicBezTo>
                <a:lnTo>
                  <a:pt x="444593" y="55348"/>
                </a:lnTo>
                <a:cubicBezTo>
                  <a:pt x="444667" y="51361"/>
                  <a:pt x="445775" y="47669"/>
                  <a:pt x="447621" y="45159"/>
                </a:cubicBezTo>
                <a:cubicBezTo>
                  <a:pt x="448728" y="43682"/>
                  <a:pt x="449688" y="43165"/>
                  <a:pt x="450131" y="43165"/>
                </a:cubicBezTo>
                <a:lnTo>
                  <a:pt x="450131" y="43165"/>
                </a:lnTo>
                <a:lnTo>
                  <a:pt x="491628" y="43682"/>
                </a:lnTo>
                <a:cubicBezTo>
                  <a:pt x="498937" y="43756"/>
                  <a:pt x="504992" y="37923"/>
                  <a:pt x="505066" y="30539"/>
                </a:cubicBezTo>
                <a:cubicBezTo>
                  <a:pt x="505140" y="23229"/>
                  <a:pt x="499307" y="17174"/>
                  <a:pt x="491923" y="17101"/>
                </a:cubicBezTo>
                <a:lnTo>
                  <a:pt x="450426" y="16584"/>
                </a:lnTo>
                <a:cubicBezTo>
                  <a:pt x="441271" y="16510"/>
                  <a:pt x="432484" y="21088"/>
                  <a:pt x="426355" y="29210"/>
                </a:cubicBezTo>
                <a:cubicBezTo>
                  <a:pt x="421852" y="35264"/>
                  <a:pt x="418972" y="42870"/>
                  <a:pt x="418233" y="51066"/>
                </a:cubicBezTo>
                <a:lnTo>
                  <a:pt x="412548" y="50549"/>
                </a:lnTo>
                <a:cubicBezTo>
                  <a:pt x="412400" y="50549"/>
                  <a:pt x="412253" y="50549"/>
                  <a:pt x="412105" y="50549"/>
                </a:cubicBezTo>
                <a:cubicBezTo>
                  <a:pt x="375999" y="48629"/>
                  <a:pt x="346538" y="34231"/>
                  <a:pt x="320547" y="21531"/>
                </a:cubicBezTo>
                <a:cubicBezTo>
                  <a:pt x="293227" y="8166"/>
                  <a:pt x="269599" y="-3352"/>
                  <a:pt x="244642" y="1816"/>
                </a:cubicBezTo>
                <a:cubicBezTo>
                  <a:pt x="240729" y="2628"/>
                  <a:pt x="231425" y="4548"/>
                  <a:pt x="126503" y="53133"/>
                </a:cubicBezTo>
                <a:cubicBezTo>
                  <a:pt x="78139" y="75506"/>
                  <a:pt x="31253" y="97805"/>
                  <a:pt x="25715" y="100389"/>
                </a:cubicBezTo>
                <a:cubicBezTo>
                  <a:pt x="16264" y="104007"/>
                  <a:pt x="8658" y="111021"/>
                  <a:pt x="4302" y="120251"/>
                </a:cubicBezTo>
                <a:cubicBezTo>
                  <a:pt x="-128" y="129702"/>
                  <a:pt x="-645" y="140261"/>
                  <a:pt x="2825" y="150081"/>
                </a:cubicBezTo>
                <a:lnTo>
                  <a:pt x="3047" y="150746"/>
                </a:lnTo>
                <a:cubicBezTo>
                  <a:pt x="6665" y="160788"/>
                  <a:pt x="13901" y="168836"/>
                  <a:pt x="23573" y="173340"/>
                </a:cubicBezTo>
                <a:cubicBezTo>
                  <a:pt x="28964" y="175924"/>
                  <a:pt x="34797" y="177180"/>
                  <a:pt x="40630" y="177180"/>
                </a:cubicBezTo>
                <a:cubicBezTo>
                  <a:pt x="45134" y="177180"/>
                  <a:pt x="49638" y="176367"/>
                  <a:pt x="53994" y="174817"/>
                </a:cubicBezTo>
                <a:cubicBezTo>
                  <a:pt x="90692" y="161600"/>
                  <a:pt x="132483" y="145134"/>
                  <a:pt x="151829" y="137381"/>
                </a:cubicBezTo>
                <a:cubicBezTo>
                  <a:pt x="153675" y="142402"/>
                  <a:pt x="156480" y="147054"/>
                  <a:pt x="160320" y="151041"/>
                </a:cubicBezTo>
                <a:cubicBezTo>
                  <a:pt x="167630" y="158794"/>
                  <a:pt x="177524" y="163151"/>
                  <a:pt x="188157" y="163446"/>
                </a:cubicBezTo>
                <a:cubicBezTo>
                  <a:pt x="188526" y="163446"/>
                  <a:pt x="188895" y="163446"/>
                  <a:pt x="189264" y="163446"/>
                </a:cubicBezTo>
                <a:cubicBezTo>
                  <a:pt x="190224" y="163372"/>
                  <a:pt x="191258" y="163298"/>
                  <a:pt x="192292" y="163298"/>
                </a:cubicBezTo>
                <a:cubicBezTo>
                  <a:pt x="165046" y="185228"/>
                  <a:pt x="147620" y="218824"/>
                  <a:pt x="147620" y="256481"/>
                </a:cubicBezTo>
                <a:cubicBezTo>
                  <a:pt x="147620" y="275309"/>
                  <a:pt x="151976" y="293104"/>
                  <a:pt x="159729" y="308905"/>
                </a:cubicBezTo>
                <a:cubicBezTo>
                  <a:pt x="152863" y="308610"/>
                  <a:pt x="147325" y="308610"/>
                  <a:pt x="146143" y="308610"/>
                </a:cubicBezTo>
                <a:lnTo>
                  <a:pt x="116461" y="308610"/>
                </a:lnTo>
                <a:cubicBezTo>
                  <a:pt x="115575" y="301448"/>
                  <a:pt x="113064" y="294728"/>
                  <a:pt x="109151" y="289264"/>
                </a:cubicBezTo>
                <a:cubicBezTo>
                  <a:pt x="103244" y="280995"/>
                  <a:pt x="94605" y="276195"/>
                  <a:pt x="85375" y="276048"/>
                </a:cubicBezTo>
                <a:lnTo>
                  <a:pt x="43879" y="275531"/>
                </a:lnTo>
                <a:cubicBezTo>
                  <a:pt x="36569" y="275457"/>
                  <a:pt x="30514" y="281290"/>
                  <a:pt x="30440" y="288674"/>
                </a:cubicBezTo>
                <a:cubicBezTo>
                  <a:pt x="30366" y="295984"/>
                  <a:pt x="36200" y="302038"/>
                  <a:pt x="43583" y="302112"/>
                </a:cubicBezTo>
                <a:lnTo>
                  <a:pt x="85080" y="302629"/>
                </a:lnTo>
                <a:cubicBezTo>
                  <a:pt x="85449" y="302629"/>
                  <a:pt x="86483" y="303220"/>
                  <a:pt x="87517" y="304696"/>
                </a:cubicBezTo>
                <a:cubicBezTo>
                  <a:pt x="89363" y="307281"/>
                  <a:pt x="90322" y="310973"/>
                  <a:pt x="90322" y="314960"/>
                </a:cubicBezTo>
                <a:lnTo>
                  <a:pt x="88624" y="456210"/>
                </a:lnTo>
                <a:cubicBezTo>
                  <a:pt x="88550" y="464111"/>
                  <a:pt x="84489" y="468394"/>
                  <a:pt x="83086" y="468394"/>
                </a:cubicBezTo>
                <a:lnTo>
                  <a:pt x="83086" y="468394"/>
                </a:lnTo>
                <a:lnTo>
                  <a:pt x="41590" y="467877"/>
                </a:lnTo>
                <a:cubicBezTo>
                  <a:pt x="34280" y="467803"/>
                  <a:pt x="28225" y="473636"/>
                  <a:pt x="28151" y="481020"/>
                </a:cubicBezTo>
                <a:cubicBezTo>
                  <a:pt x="28078" y="488330"/>
                  <a:pt x="33911" y="494384"/>
                  <a:pt x="41294" y="494458"/>
                </a:cubicBezTo>
                <a:lnTo>
                  <a:pt x="82791" y="494975"/>
                </a:lnTo>
                <a:cubicBezTo>
                  <a:pt x="82865" y="494975"/>
                  <a:pt x="83012" y="494975"/>
                  <a:pt x="83160" y="494975"/>
                </a:cubicBezTo>
                <a:cubicBezTo>
                  <a:pt x="99847" y="494975"/>
                  <a:pt x="113212" y="480207"/>
                  <a:pt x="115058" y="460493"/>
                </a:cubicBezTo>
                <a:lnTo>
                  <a:pt x="120743" y="461010"/>
                </a:lnTo>
                <a:cubicBezTo>
                  <a:pt x="120891" y="461010"/>
                  <a:pt x="121039" y="461010"/>
                  <a:pt x="121186" y="461010"/>
                </a:cubicBezTo>
                <a:cubicBezTo>
                  <a:pt x="157293" y="462930"/>
                  <a:pt x="186754" y="477328"/>
                  <a:pt x="212744" y="490028"/>
                </a:cubicBezTo>
                <a:cubicBezTo>
                  <a:pt x="235486" y="501177"/>
                  <a:pt x="255718" y="510998"/>
                  <a:pt x="276244" y="510998"/>
                </a:cubicBezTo>
                <a:cubicBezTo>
                  <a:pt x="280379" y="510998"/>
                  <a:pt x="284514" y="510628"/>
                  <a:pt x="288649" y="509742"/>
                </a:cubicBezTo>
                <a:cubicBezTo>
                  <a:pt x="292562" y="508930"/>
                  <a:pt x="301866" y="507010"/>
                  <a:pt x="406789" y="458426"/>
                </a:cubicBezTo>
                <a:cubicBezTo>
                  <a:pt x="455152" y="436053"/>
                  <a:pt x="502039" y="413754"/>
                  <a:pt x="507576" y="411170"/>
                </a:cubicBezTo>
                <a:cubicBezTo>
                  <a:pt x="517028" y="407552"/>
                  <a:pt x="524633" y="400537"/>
                  <a:pt x="528989" y="391308"/>
                </a:cubicBezTo>
                <a:cubicBezTo>
                  <a:pt x="533346" y="381856"/>
                  <a:pt x="533863" y="371298"/>
                  <a:pt x="530392" y="361477"/>
                </a:cubicBezTo>
                <a:moveTo>
                  <a:pt x="188304" y="136864"/>
                </a:moveTo>
                <a:cubicBezTo>
                  <a:pt x="181216" y="136421"/>
                  <a:pt x="175752" y="130441"/>
                  <a:pt x="175900" y="123278"/>
                </a:cubicBezTo>
                <a:cubicBezTo>
                  <a:pt x="175974" y="119734"/>
                  <a:pt x="177450" y="116485"/>
                  <a:pt x="180035" y="114049"/>
                </a:cubicBezTo>
                <a:cubicBezTo>
                  <a:pt x="182619" y="111612"/>
                  <a:pt x="185942" y="110357"/>
                  <a:pt x="189486" y="110431"/>
                </a:cubicBezTo>
                <a:cubicBezTo>
                  <a:pt x="189560" y="110431"/>
                  <a:pt x="189560" y="110431"/>
                  <a:pt x="189633" y="110431"/>
                </a:cubicBezTo>
                <a:lnTo>
                  <a:pt x="287837" y="112129"/>
                </a:lnTo>
                <a:cubicBezTo>
                  <a:pt x="292193" y="112203"/>
                  <a:pt x="296328" y="110135"/>
                  <a:pt x="298839" y="106591"/>
                </a:cubicBezTo>
                <a:lnTo>
                  <a:pt x="311539" y="88944"/>
                </a:lnTo>
                <a:cubicBezTo>
                  <a:pt x="315821" y="82963"/>
                  <a:pt x="314492" y="74694"/>
                  <a:pt x="308511" y="70411"/>
                </a:cubicBezTo>
                <a:cubicBezTo>
                  <a:pt x="302531" y="66128"/>
                  <a:pt x="294261" y="67457"/>
                  <a:pt x="289978" y="73438"/>
                </a:cubicBezTo>
                <a:lnTo>
                  <a:pt x="281339" y="85400"/>
                </a:lnTo>
                <a:lnTo>
                  <a:pt x="190150" y="83776"/>
                </a:lnTo>
                <a:cubicBezTo>
                  <a:pt x="179518" y="83480"/>
                  <a:pt x="169476" y="87394"/>
                  <a:pt x="161797" y="94630"/>
                </a:cubicBezTo>
                <a:cubicBezTo>
                  <a:pt x="157662" y="98543"/>
                  <a:pt x="154487" y="103195"/>
                  <a:pt x="152346" y="108289"/>
                </a:cubicBezTo>
                <a:cubicBezTo>
                  <a:pt x="148063" y="110062"/>
                  <a:pt x="92242" y="132656"/>
                  <a:pt x="44913" y="149564"/>
                </a:cubicBezTo>
                <a:cubicBezTo>
                  <a:pt x="41590" y="150746"/>
                  <a:pt x="38046" y="150598"/>
                  <a:pt x="34871" y="149048"/>
                </a:cubicBezTo>
                <a:cubicBezTo>
                  <a:pt x="31622" y="147497"/>
                  <a:pt x="29185" y="144839"/>
                  <a:pt x="28004" y="141442"/>
                </a:cubicBezTo>
                <a:lnTo>
                  <a:pt x="27782" y="140778"/>
                </a:lnTo>
                <a:cubicBezTo>
                  <a:pt x="26675" y="137677"/>
                  <a:pt x="26822" y="134280"/>
                  <a:pt x="28299" y="131327"/>
                </a:cubicBezTo>
                <a:cubicBezTo>
                  <a:pt x="29702" y="128299"/>
                  <a:pt x="32212" y="126010"/>
                  <a:pt x="35314" y="124903"/>
                </a:cubicBezTo>
                <a:cubicBezTo>
                  <a:pt x="35757" y="124755"/>
                  <a:pt x="36126" y="124607"/>
                  <a:pt x="36495" y="124386"/>
                </a:cubicBezTo>
                <a:cubicBezTo>
                  <a:pt x="111809" y="88575"/>
                  <a:pt x="236372" y="30613"/>
                  <a:pt x="249885" y="27585"/>
                </a:cubicBezTo>
                <a:cubicBezTo>
                  <a:pt x="265981" y="24263"/>
                  <a:pt x="284883" y="33492"/>
                  <a:pt x="308733" y="45159"/>
                </a:cubicBezTo>
                <a:cubicBezTo>
                  <a:pt x="335610" y="58302"/>
                  <a:pt x="368984" y="74620"/>
                  <a:pt x="410333" y="76835"/>
                </a:cubicBezTo>
                <a:lnTo>
                  <a:pt x="417643" y="77499"/>
                </a:lnTo>
                <a:lnTo>
                  <a:pt x="416461" y="176146"/>
                </a:lnTo>
                <a:lnTo>
                  <a:pt x="387000" y="176146"/>
                </a:lnTo>
                <a:cubicBezTo>
                  <a:pt x="380724" y="176146"/>
                  <a:pt x="362929" y="175703"/>
                  <a:pt x="353995" y="174152"/>
                </a:cubicBezTo>
                <a:cubicBezTo>
                  <a:pt x="337086" y="156210"/>
                  <a:pt x="314640" y="143510"/>
                  <a:pt x="289461" y="138710"/>
                </a:cubicBezTo>
                <a:cubicBezTo>
                  <a:pt x="264947" y="132803"/>
                  <a:pt x="198715" y="136274"/>
                  <a:pt x="188304" y="136864"/>
                </a:cubicBezTo>
                <a:moveTo>
                  <a:pt x="267163" y="163372"/>
                </a:moveTo>
                <a:cubicBezTo>
                  <a:pt x="272848" y="163372"/>
                  <a:pt x="278386" y="163889"/>
                  <a:pt x="283702" y="164849"/>
                </a:cubicBezTo>
                <a:cubicBezTo>
                  <a:pt x="294925" y="167802"/>
                  <a:pt x="301644" y="173340"/>
                  <a:pt x="309397" y="179838"/>
                </a:cubicBezTo>
                <a:cubicBezTo>
                  <a:pt x="317298" y="186409"/>
                  <a:pt x="326085" y="193719"/>
                  <a:pt x="339523" y="198076"/>
                </a:cubicBezTo>
                <a:cubicBezTo>
                  <a:pt x="352445" y="214024"/>
                  <a:pt x="360124" y="234330"/>
                  <a:pt x="360124" y="256407"/>
                </a:cubicBezTo>
                <a:cubicBezTo>
                  <a:pt x="360124" y="305435"/>
                  <a:pt x="321950" y="345750"/>
                  <a:pt x="273808" y="349220"/>
                </a:cubicBezTo>
                <a:cubicBezTo>
                  <a:pt x="263692" y="348851"/>
                  <a:pt x="255053" y="348039"/>
                  <a:pt x="249737" y="346710"/>
                </a:cubicBezTo>
                <a:cubicBezTo>
                  <a:pt x="238292" y="343830"/>
                  <a:pt x="231499" y="338145"/>
                  <a:pt x="223599" y="331573"/>
                </a:cubicBezTo>
                <a:cubicBezTo>
                  <a:pt x="215698" y="325002"/>
                  <a:pt x="206985" y="317766"/>
                  <a:pt x="193621" y="313409"/>
                </a:cubicBezTo>
                <a:cubicBezTo>
                  <a:pt x="181364" y="297608"/>
                  <a:pt x="174054" y="277820"/>
                  <a:pt x="174054" y="256407"/>
                </a:cubicBezTo>
                <a:cubicBezTo>
                  <a:pt x="174128" y="205164"/>
                  <a:pt x="215846" y="163372"/>
                  <a:pt x="267163" y="163372"/>
                </a:cubicBezTo>
                <a:moveTo>
                  <a:pt x="504844" y="379937"/>
                </a:moveTo>
                <a:cubicBezTo>
                  <a:pt x="503442" y="382964"/>
                  <a:pt x="500931" y="385253"/>
                  <a:pt x="497830" y="386360"/>
                </a:cubicBezTo>
                <a:cubicBezTo>
                  <a:pt x="497387" y="386508"/>
                  <a:pt x="497018" y="386656"/>
                  <a:pt x="496648" y="386877"/>
                </a:cubicBezTo>
                <a:cubicBezTo>
                  <a:pt x="421335" y="422688"/>
                  <a:pt x="296771" y="480651"/>
                  <a:pt x="283259" y="483678"/>
                </a:cubicBezTo>
                <a:cubicBezTo>
                  <a:pt x="267163" y="487001"/>
                  <a:pt x="248260" y="477771"/>
                  <a:pt x="224411" y="466105"/>
                </a:cubicBezTo>
                <a:cubicBezTo>
                  <a:pt x="197534" y="452962"/>
                  <a:pt x="164160" y="436644"/>
                  <a:pt x="122811" y="434428"/>
                </a:cubicBezTo>
                <a:lnTo>
                  <a:pt x="115501" y="433764"/>
                </a:lnTo>
                <a:lnTo>
                  <a:pt x="116682" y="335117"/>
                </a:lnTo>
                <a:lnTo>
                  <a:pt x="146143" y="335117"/>
                </a:lnTo>
                <a:cubicBezTo>
                  <a:pt x="152346" y="335117"/>
                  <a:pt x="170140" y="335487"/>
                  <a:pt x="179075" y="337111"/>
                </a:cubicBezTo>
                <a:cubicBezTo>
                  <a:pt x="200930" y="361034"/>
                  <a:pt x="232385" y="376023"/>
                  <a:pt x="267310" y="376023"/>
                </a:cubicBezTo>
                <a:cubicBezTo>
                  <a:pt x="269747" y="376023"/>
                  <a:pt x="272183" y="375949"/>
                  <a:pt x="274620" y="375802"/>
                </a:cubicBezTo>
                <a:cubicBezTo>
                  <a:pt x="303195" y="376835"/>
                  <a:pt x="337677" y="375063"/>
                  <a:pt x="344987" y="374620"/>
                </a:cubicBezTo>
                <a:cubicBezTo>
                  <a:pt x="352075" y="375063"/>
                  <a:pt x="357539" y="381044"/>
                  <a:pt x="357392" y="388206"/>
                </a:cubicBezTo>
                <a:cubicBezTo>
                  <a:pt x="357170" y="395516"/>
                  <a:pt x="351115" y="401276"/>
                  <a:pt x="343805" y="401054"/>
                </a:cubicBezTo>
                <a:cubicBezTo>
                  <a:pt x="343732" y="401054"/>
                  <a:pt x="343732" y="401054"/>
                  <a:pt x="343658" y="401054"/>
                </a:cubicBezTo>
                <a:lnTo>
                  <a:pt x="245454" y="399356"/>
                </a:lnTo>
                <a:cubicBezTo>
                  <a:pt x="241098" y="399282"/>
                  <a:pt x="236963" y="401349"/>
                  <a:pt x="234453" y="404894"/>
                </a:cubicBezTo>
                <a:lnTo>
                  <a:pt x="221753" y="422541"/>
                </a:lnTo>
                <a:cubicBezTo>
                  <a:pt x="217470" y="428521"/>
                  <a:pt x="218799" y="436791"/>
                  <a:pt x="224780" y="441074"/>
                </a:cubicBezTo>
                <a:cubicBezTo>
                  <a:pt x="227143" y="442772"/>
                  <a:pt x="229875" y="443584"/>
                  <a:pt x="232533" y="443584"/>
                </a:cubicBezTo>
                <a:cubicBezTo>
                  <a:pt x="236668" y="443584"/>
                  <a:pt x="240729" y="441664"/>
                  <a:pt x="243313" y="438046"/>
                </a:cubicBezTo>
                <a:lnTo>
                  <a:pt x="251952" y="426085"/>
                </a:lnTo>
                <a:lnTo>
                  <a:pt x="343141" y="427709"/>
                </a:lnTo>
                <a:cubicBezTo>
                  <a:pt x="343510" y="427709"/>
                  <a:pt x="343805" y="427709"/>
                  <a:pt x="344175" y="427709"/>
                </a:cubicBezTo>
                <a:cubicBezTo>
                  <a:pt x="360640" y="427709"/>
                  <a:pt x="374891" y="417594"/>
                  <a:pt x="380946" y="403121"/>
                </a:cubicBezTo>
                <a:cubicBezTo>
                  <a:pt x="385081" y="401423"/>
                  <a:pt x="441049" y="378829"/>
                  <a:pt x="488379" y="361773"/>
                </a:cubicBezTo>
                <a:cubicBezTo>
                  <a:pt x="491701" y="360591"/>
                  <a:pt x="495246" y="360739"/>
                  <a:pt x="498421" y="362289"/>
                </a:cubicBezTo>
                <a:cubicBezTo>
                  <a:pt x="501669" y="363840"/>
                  <a:pt x="504106" y="366498"/>
                  <a:pt x="505288" y="369895"/>
                </a:cubicBezTo>
                <a:lnTo>
                  <a:pt x="505509" y="370485"/>
                </a:lnTo>
                <a:cubicBezTo>
                  <a:pt x="506469" y="373587"/>
                  <a:pt x="506247" y="376909"/>
                  <a:pt x="504844" y="379937"/>
                </a:cubicBezTo>
                <a:moveTo>
                  <a:pt x="214517" y="263938"/>
                </a:moveTo>
                <a:cubicBezTo>
                  <a:pt x="209348" y="258696"/>
                  <a:pt x="209422" y="250278"/>
                  <a:pt x="214664" y="245110"/>
                </a:cubicBezTo>
                <a:cubicBezTo>
                  <a:pt x="219907" y="239941"/>
                  <a:pt x="228324" y="240015"/>
                  <a:pt x="233493" y="245257"/>
                </a:cubicBezTo>
                <a:lnTo>
                  <a:pt x="250844" y="262978"/>
                </a:lnTo>
                <a:lnTo>
                  <a:pt x="298691" y="203687"/>
                </a:lnTo>
                <a:cubicBezTo>
                  <a:pt x="303269" y="198002"/>
                  <a:pt x="311686" y="197116"/>
                  <a:pt x="317372" y="201694"/>
                </a:cubicBezTo>
                <a:cubicBezTo>
                  <a:pt x="323057" y="206271"/>
                  <a:pt x="323943" y="214689"/>
                  <a:pt x="319365" y="220374"/>
                </a:cubicBezTo>
                <a:lnTo>
                  <a:pt x="262142" y="291258"/>
                </a:lnTo>
                <a:cubicBezTo>
                  <a:pt x="262142" y="291258"/>
                  <a:pt x="262142" y="291258"/>
                  <a:pt x="262068" y="291332"/>
                </a:cubicBezTo>
                <a:cubicBezTo>
                  <a:pt x="261772" y="291701"/>
                  <a:pt x="261477" y="292070"/>
                  <a:pt x="261108" y="292366"/>
                </a:cubicBezTo>
                <a:cubicBezTo>
                  <a:pt x="261034" y="292439"/>
                  <a:pt x="260960" y="292513"/>
                  <a:pt x="260886" y="292587"/>
                </a:cubicBezTo>
                <a:cubicBezTo>
                  <a:pt x="260591" y="292883"/>
                  <a:pt x="260296" y="293104"/>
                  <a:pt x="260000" y="293326"/>
                </a:cubicBezTo>
                <a:cubicBezTo>
                  <a:pt x="259853" y="293473"/>
                  <a:pt x="259705" y="293547"/>
                  <a:pt x="259557" y="293621"/>
                </a:cubicBezTo>
                <a:cubicBezTo>
                  <a:pt x="259336" y="293769"/>
                  <a:pt x="259114" y="293990"/>
                  <a:pt x="258819" y="294138"/>
                </a:cubicBezTo>
                <a:cubicBezTo>
                  <a:pt x="258671" y="294212"/>
                  <a:pt x="258523" y="294359"/>
                  <a:pt x="258302" y="294433"/>
                </a:cubicBezTo>
                <a:cubicBezTo>
                  <a:pt x="258081" y="294581"/>
                  <a:pt x="257785" y="294728"/>
                  <a:pt x="257564" y="294802"/>
                </a:cubicBezTo>
                <a:cubicBezTo>
                  <a:pt x="257416" y="294876"/>
                  <a:pt x="257268" y="294950"/>
                  <a:pt x="257047" y="295024"/>
                </a:cubicBezTo>
                <a:cubicBezTo>
                  <a:pt x="256751" y="295171"/>
                  <a:pt x="256530" y="295245"/>
                  <a:pt x="256235" y="295319"/>
                </a:cubicBezTo>
                <a:cubicBezTo>
                  <a:pt x="256087" y="295393"/>
                  <a:pt x="255939" y="295467"/>
                  <a:pt x="255718" y="295467"/>
                </a:cubicBezTo>
                <a:cubicBezTo>
                  <a:pt x="255422" y="295541"/>
                  <a:pt x="255127" y="295614"/>
                  <a:pt x="254832" y="295688"/>
                </a:cubicBezTo>
                <a:cubicBezTo>
                  <a:pt x="254684" y="295762"/>
                  <a:pt x="254536" y="295762"/>
                  <a:pt x="254389" y="295762"/>
                </a:cubicBezTo>
                <a:cubicBezTo>
                  <a:pt x="254093" y="295836"/>
                  <a:pt x="253724" y="295910"/>
                  <a:pt x="253429" y="295910"/>
                </a:cubicBezTo>
                <a:cubicBezTo>
                  <a:pt x="253281" y="295910"/>
                  <a:pt x="253133" y="295984"/>
                  <a:pt x="253060" y="295984"/>
                </a:cubicBezTo>
                <a:cubicBezTo>
                  <a:pt x="252616" y="296058"/>
                  <a:pt x="252174" y="296058"/>
                  <a:pt x="251730" y="296058"/>
                </a:cubicBezTo>
                <a:cubicBezTo>
                  <a:pt x="251730" y="296058"/>
                  <a:pt x="251730" y="296058"/>
                  <a:pt x="251730" y="296058"/>
                </a:cubicBezTo>
                <a:cubicBezTo>
                  <a:pt x="251361" y="296058"/>
                  <a:pt x="250918" y="296058"/>
                  <a:pt x="250549" y="295984"/>
                </a:cubicBezTo>
                <a:cubicBezTo>
                  <a:pt x="250475" y="295984"/>
                  <a:pt x="250328" y="295984"/>
                  <a:pt x="250254" y="295910"/>
                </a:cubicBezTo>
                <a:cubicBezTo>
                  <a:pt x="249958" y="295910"/>
                  <a:pt x="249663" y="295836"/>
                  <a:pt x="249368" y="295762"/>
                </a:cubicBezTo>
                <a:cubicBezTo>
                  <a:pt x="249220" y="295762"/>
                  <a:pt x="249146" y="295688"/>
                  <a:pt x="248999" y="295688"/>
                </a:cubicBezTo>
                <a:cubicBezTo>
                  <a:pt x="248703" y="295614"/>
                  <a:pt x="248482" y="295541"/>
                  <a:pt x="248186" y="295467"/>
                </a:cubicBezTo>
                <a:cubicBezTo>
                  <a:pt x="248039" y="295393"/>
                  <a:pt x="247891" y="295393"/>
                  <a:pt x="247743" y="295319"/>
                </a:cubicBezTo>
                <a:cubicBezTo>
                  <a:pt x="247522" y="295245"/>
                  <a:pt x="247226" y="295171"/>
                  <a:pt x="247005" y="295024"/>
                </a:cubicBezTo>
                <a:cubicBezTo>
                  <a:pt x="246857" y="294950"/>
                  <a:pt x="246709" y="294950"/>
                  <a:pt x="246562" y="294876"/>
                </a:cubicBezTo>
                <a:cubicBezTo>
                  <a:pt x="246340" y="294802"/>
                  <a:pt x="246119" y="294655"/>
                  <a:pt x="245823" y="294507"/>
                </a:cubicBezTo>
                <a:cubicBezTo>
                  <a:pt x="245676" y="294433"/>
                  <a:pt x="245528" y="294359"/>
                  <a:pt x="245381" y="294285"/>
                </a:cubicBezTo>
                <a:cubicBezTo>
                  <a:pt x="245085" y="294138"/>
                  <a:pt x="244864" y="293990"/>
                  <a:pt x="244568" y="293842"/>
                </a:cubicBezTo>
                <a:cubicBezTo>
                  <a:pt x="244421" y="293769"/>
                  <a:pt x="244347" y="293695"/>
                  <a:pt x="244199" y="293621"/>
                </a:cubicBezTo>
                <a:cubicBezTo>
                  <a:pt x="243904" y="293399"/>
                  <a:pt x="243608" y="293252"/>
                  <a:pt x="243387" y="293030"/>
                </a:cubicBezTo>
                <a:cubicBezTo>
                  <a:pt x="243387" y="293030"/>
                  <a:pt x="243387" y="293030"/>
                  <a:pt x="243313" y="292956"/>
                </a:cubicBezTo>
                <a:cubicBezTo>
                  <a:pt x="243165" y="292809"/>
                  <a:pt x="243018" y="292661"/>
                  <a:pt x="242796" y="292513"/>
                </a:cubicBezTo>
                <a:cubicBezTo>
                  <a:pt x="242648" y="292366"/>
                  <a:pt x="242427" y="292218"/>
                  <a:pt x="242279" y="291996"/>
                </a:cubicBezTo>
                <a:cubicBezTo>
                  <a:pt x="242279" y="291996"/>
                  <a:pt x="242279" y="291996"/>
                  <a:pt x="242206" y="291923"/>
                </a:cubicBezTo>
                <a:lnTo>
                  <a:pt x="214517" y="26393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s-MX" dirty="0"/>
          </a:p>
        </p:txBody>
      </p:sp>
      <p:sp>
        <p:nvSpPr>
          <p:cNvPr id="18" name="Forma libre 63">
            <a:extLst>
              <a:ext uri="{FF2B5EF4-FFF2-40B4-BE49-F238E27FC236}">
                <a16:creationId xmlns:a16="http://schemas.microsoft.com/office/drawing/2014/main" id="{D51CD0EE-C82A-E348-F2EF-4B0247CF32DD}"/>
              </a:ext>
            </a:extLst>
          </p:cNvPr>
          <p:cNvSpPr/>
          <p:nvPr/>
        </p:nvSpPr>
        <p:spPr>
          <a:xfrm>
            <a:off x="7344505" y="2202233"/>
            <a:ext cx="449276" cy="452527"/>
          </a:xfrm>
          <a:custGeom>
            <a:avLst/>
            <a:gdLst>
              <a:gd name="connsiteX0" fmla="*/ 398942 w 510215"/>
              <a:gd name="connsiteY0" fmla="*/ 133461 h 513906"/>
              <a:gd name="connsiteX1" fmla="*/ 465396 w 510215"/>
              <a:gd name="connsiteY1" fmla="*/ 67007 h 513906"/>
              <a:gd name="connsiteX2" fmla="*/ 398942 w 510215"/>
              <a:gd name="connsiteY2" fmla="*/ 554 h 513906"/>
              <a:gd name="connsiteX3" fmla="*/ 332489 w 510215"/>
              <a:gd name="connsiteY3" fmla="*/ 67007 h 513906"/>
              <a:gd name="connsiteX4" fmla="*/ 398942 w 510215"/>
              <a:gd name="connsiteY4" fmla="*/ 133461 h 513906"/>
              <a:gd name="connsiteX5" fmla="*/ 398942 w 510215"/>
              <a:gd name="connsiteY5" fmla="*/ 27061 h 513906"/>
              <a:gd name="connsiteX6" fmla="*/ 438814 w 510215"/>
              <a:gd name="connsiteY6" fmla="*/ 66933 h 513906"/>
              <a:gd name="connsiteX7" fmla="*/ 398942 w 510215"/>
              <a:gd name="connsiteY7" fmla="*/ 106805 h 513906"/>
              <a:gd name="connsiteX8" fmla="*/ 359070 w 510215"/>
              <a:gd name="connsiteY8" fmla="*/ 66933 h 513906"/>
              <a:gd name="connsiteX9" fmla="*/ 398942 w 510215"/>
              <a:gd name="connsiteY9" fmla="*/ 27061 h 513906"/>
              <a:gd name="connsiteX10" fmla="*/ 510141 w 510215"/>
              <a:gd name="connsiteY10" fmla="*/ 208922 h 513906"/>
              <a:gd name="connsiteX11" fmla="*/ 489393 w 510215"/>
              <a:gd name="connsiteY11" fmla="*/ 168977 h 513906"/>
              <a:gd name="connsiteX12" fmla="*/ 428551 w 510215"/>
              <a:gd name="connsiteY12" fmla="*/ 144019 h 513906"/>
              <a:gd name="connsiteX13" fmla="*/ 426927 w 510215"/>
              <a:gd name="connsiteY13" fmla="*/ 143724 h 513906"/>
              <a:gd name="connsiteX14" fmla="*/ 399016 w 510215"/>
              <a:gd name="connsiteY14" fmla="*/ 141361 h 513906"/>
              <a:gd name="connsiteX15" fmla="*/ 399016 w 510215"/>
              <a:gd name="connsiteY15" fmla="*/ 141361 h 513906"/>
              <a:gd name="connsiteX16" fmla="*/ 399016 w 510215"/>
              <a:gd name="connsiteY16" fmla="*/ 141361 h 513906"/>
              <a:gd name="connsiteX17" fmla="*/ 371179 w 510215"/>
              <a:gd name="connsiteY17" fmla="*/ 143724 h 513906"/>
              <a:gd name="connsiteX18" fmla="*/ 369481 w 510215"/>
              <a:gd name="connsiteY18" fmla="*/ 144019 h 513906"/>
              <a:gd name="connsiteX19" fmla="*/ 309230 w 510215"/>
              <a:gd name="connsiteY19" fmla="*/ 168607 h 513906"/>
              <a:gd name="connsiteX20" fmla="*/ 287965 w 510215"/>
              <a:gd name="connsiteY20" fmla="*/ 209218 h 513906"/>
              <a:gd name="connsiteX21" fmla="*/ 287965 w 510215"/>
              <a:gd name="connsiteY21" fmla="*/ 335332 h 513906"/>
              <a:gd name="connsiteX22" fmla="*/ 301256 w 510215"/>
              <a:gd name="connsiteY22" fmla="*/ 348622 h 513906"/>
              <a:gd name="connsiteX23" fmla="*/ 322890 w 510215"/>
              <a:gd name="connsiteY23" fmla="*/ 348622 h 513906"/>
              <a:gd name="connsiteX24" fmla="*/ 322890 w 510215"/>
              <a:gd name="connsiteY24" fmla="*/ 500653 h 513906"/>
              <a:gd name="connsiteX25" fmla="*/ 336181 w 510215"/>
              <a:gd name="connsiteY25" fmla="*/ 513944 h 513906"/>
              <a:gd name="connsiteX26" fmla="*/ 460744 w 510215"/>
              <a:gd name="connsiteY26" fmla="*/ 513944 h 513906"/>
              <a:gd name="connsiteX27" fmla="*/ 474035 w 510215"/>
              <a:gd name="connsiteY27" fmla="*/ 500653 h 513906"/>
              <a:gd name="connsiteX28" fmla="*/ 474035 w 510215"/>
              <a:gd name="connsiteY28" fmla="*/ 348622 h 513906"/>
              <a:gd name="connsiteX29" fmla="*/ 496998 w 510215"/>
              <a:gd name="connsiteY29" fmla="*/ 348622 h 513906"/>
              <a:gd name="connsiteX30" fmla="*/ 510289 w 510215"/>
              <a:gd name="connsiteY30" fmla="*/ 335332 h 513906"/>
              <a:gd name="connsiteX31" fmla="*/ 510141 w 510215"/>
              <a:gd name="connsiteY31" fmla="*/ 208922 h 513906"/>
              <a:gd name="connsiteX32" fmla="*/ 460744 w 510215"/>
              <a:gd name="connsiteY32" fmla="*/ 321967 h 513906"/>
              <a:gd name="connsiteX33" fmla="*/ 447454 w 510215"/>
              <a:gd name="connsiteY33" fmla="*/ 335258 h 513906"/>
              <a:gd name="connsiteX34" fmla="*/ 447454 w 510215"/>
              <a:gd name="connsiteY34" fmla="*/ 487288 h 513906"/>
              <a:gd name="connsiteX35" fmla="*/ 349471 w 510215"/>
              <a:gd name="connsiteY35" fmla="*/ 487288 h 513906"/>
              <a:gd name="connsiteX36" fmla="*/ 349471 w 510215"/>
              <a:gd name="connsiteY36" fmla="*/ 335258 h 513906"/>
              <a:gd name="connsiteX37" fmla="*/ 336181 w 510215"/>
              <a:gd name="connsiteY37" fmla="*/ 321967 h 513906"/>
              <a:gd name="connsiteX38" fmla="*/ 314547 w 510215"/>
              <a:gd name="connsiteY38" fmla="*/ 321967 h 513906"/>
              <a:gd name="connsiteX39" fmla="*/ 314547 w 510215"/>
              <a:gd name="connsiteY39" fmla="*/ 209144 h 513906"/>
              <a:gd name="connsiteX40" fmla="*/ 324367 w 510215"/>
              <a:gd name="connsiteY40" fmla="*/ 190315 h 513906"/>
              <a:gd name="connsiteX41" fmla="*/ 371179 w 510215"/>
              <a:gd name="connsiteY41" fmla="*/ 170675 h 513906"/>
              <a:gd name="connsiteX42" fmla="*/ 385652 w 510215"/>
              <a:gd name="connsiteY42" fmla="*/ 176434 h 513906"/>
              <a:gd name="connsiteX43" fmla="*/ 385726 w 510215"/>
              <a:gd name="connsiteY43" fmla="*/ 279585 h 513906"/>
              <a:gd name="connsiteX44" fmla="*/ 399016 w 510215"/>
              <a:gd name="connsiteY44" fmla="*/ 292875 h 513906"/>
              <a:gd name="connsiteX45" fmla="*/ 399016 w 510215"/>
              <a:gd name="connsiteY45" fmla="*/ 292875 h 513906"/>
              <a:gd name="connsiteX46" fmla="*/ 412307 w 510215"/>
              <a:gd name="connsiteY46" fmla="*/ 279585 h 513906"/>
              <a:gd name="connsiteX47" fmla="*/ 412233 w 510215"/>
              <a:gd name="connsiteY47" fmla="*/ 176434 h 513906"/>
              <a:gd name="connsiteX48" fmla="*/ 426705 w 510215"/>
              <a:gd name="connsiteY48" fmla="*/ 170675 h 513906"/>
              <a:gd name="connsiteX49" fmla="*/ 474035 w 510215"/>
              <a:gd name="connsiteY49" fmla="*/ 190685 h 513906"/>
              <a:gd name="connsiteX50" fmla="*/ 483560 w 510215"/>
              <a:gd name="connsiteY50" fmla="*/ 209070 h 513906"/>
              <a:gd name="connsiteX51" fmla="*/ 483708 w 510215"/>
              <a:gd name="connsiteY51" fmla="*/ 321967 h 513906"/>
              <a:gd name="connsiteX52" fmla="*/ 460744 w 510215"/>
              <a:gd name="connsiteY52" fmla="*/ 321967 h 513906"/>
              <a:gd name="connsiteX53" fmla="*/ 121240 w 510215"/>
              <a:gd name="connsiteY53" fmla="*/ 346333 h 513906"/>
              <a:gd name="connsiteX54" fmla="*/ 121240 w 510215"/>
              <a:gd name="connsiteY54" fmla="*/ 365162 h 513906"/>
              <a:gd name="connsiteX55" fmla="*/ 111863 w 510215"/>
              <a:gd name="connsiteY55" fmla="*/ 369075 h 513906"/>
              <a:gd name="connsiteX56" fmla="*/ 102486 w 510215"/>
              <a:gd name="connsiteY56" fmla="*/ 365162 h 513906"/>
              <a:gd name="connsiteX57" fmla="*/ 76126 w 510215"/>
              <a:gd name="connsiteY57" fmla="*/ 338802 h 513906"/>
              <a:gd name="connsiteX58" fmla="*/ 76126 w 510215"/>
              <a:gd name="connsiteY58" fmla="*/ 500653 h 513906"/>
              <a:gd name="connsiteX59" fmla="*/ 62836 w 510215"/>
              <a:gd name="connsiteY59" fmla="*/ 513944 h 513906"/>
              <a:gd name="connsiteX60" fmla="*/ 49545 w 510215"/>
              <a:gd name="connsiteY60" fmla="*/ 500653 h 513906"/>
              <a:gd name="connsiteX61" fmla="*/ 49545 w 510215"/>
              <a:gd name="connsiteY61" fmla="*/ 338802 h 513906"/>
              <a:gd name="connsiteX62" fmla="*/ 23185 w 510215"/>
              <a:gd name="connsiteY62" fmla="*/ 365162 h 513906"/>
              <a:gd name="connsiteX63" fmla="*/ 13807 w 510215"/>
              <a:gd name="connsiteY63" fmla="*/ 369075 h 513906"/>
              <a:gd name="connsiteX64" fmla="*/ 4430 w 510215"/>
              <a:gd name="connsiteY64" fmla="*/ 365162 h 513906"/>
              <a:gd name="connsiteX65" fmla="*/ 4430 w 510215"/>
              <a:gd name="connsiteY65" fmla="*/ 346333 h 513906"/>
              <a:gd name="connsiteX66" fmla="*/ 53532 w 510215"/>
              <a:gd name="connsiteY66" fmla="*/ 297232 h 513906"/>
              <a:gd name="connsiteX67" fmla="*/ 54492 w 510215"/>
              <a:gd name="connsiteY67" fmla="*/ 296346 h 513906"/>
              <a:gd name="connsiteX68" fmla="*/ 54935 w 510215"/>
              <a:gd name="connsiteY68" fmla="*/ 295977 h 513906"/>
              <a:gd name="connsiteX69" fmla="*/ 55525 w 510215"/>
              <a:gd name="connsiteY69" fmla="*/ 295533 h 513906"/>
              <a:gd name="connsiteX70" fmla="*/ 56116 w 510215"/>
              <a:gd name="connsiteY70" fmla="*/ 295164 h 513906"/>
              <a:gd name="connsiteX71" fmla="*/ 56633 w 510215"/>
              <a:gd name="connsiteY71" fmla="*/ 294869 h 513906"/>
              <a:gd name="connsiteX72" fmla="*/ 57224 w 510215"/>
              <a:gd name="connsiteY72" fmla="*/ 294573 h 513906"/>
              <a:gd name="connsiteX73" fmla="*/ 57814 w 510215"/>
              <a:gd name="connsiteY73" fmla="*/ 294278 h 513906"/>
              <a:gd name="connsiteX74" fmla="*/ 58405 w 510215"/>
              <a:gd name="connsiteY74" fmla="*/ 294057 h 513906"/>
              <a:gd name="connsiteX75" fmla="*/ 59070 w 510215"/>
              <a:gd name="connsiteY75" fmla="*/ 293835 h 513906"/>
              <a:gd name="connsiteX76" fmla="*/ 59660 w 510215"/>
              <a:gd name="connsiteY76" fmla="*/ 293688 h 513906"/>
              <a:gd name="connsiteX77" fmla="*/ 60325 w 510215"/>
              <a:gd name="connsiteY77" fmla="*/ 293540 h 513906"/>
              <a:gd name="connsiteX78" fmla="*/ 60990 w 510215"/>
              <a:gd name="connsiteY78" fmla="*/ 293466 h 513906"/>
              <a:gd name="connsiteX79" fmla="*/ 61580 w 510215"/>
              <a:gd name="connsiteY79" fmla="*/ 293392 h 513906"/>
              <a:gd name="connsiteX80" fmla="*/ 62836 w 510215"/>
              <a:gd name="connsiteY80" fmla="*/ 293318 h 513906"/>
              <a:gd name="connsiteX81" fmla="*/ 62836 w 510215"/>
              <a:gd name="connsiteY81" fmla="*/ 293318 h 513906"/>
              <a:gd name="connsiteX82" fmla="*/ 62836 w 510215"/>
              <a:gd name="connsiteY82" fmla="*/ 293318 h 513906"/>
              <a:gd name="connsiteX83" fmla="*/ 64091 w 510215"/>
              <a:gd name="connsiteY83" fmla="*/ 293392 h 513906"/>
              <a:gd name="connsiteX84" fmla="*/ 64681 w 510215"/>
              <a:gd name="connsiteY84" fmla="*/ 293466 h 513906"/>
              <a:gd name="connsiteX85" fmla="*/ 65346 w 510215"/>
              <a:gd name="connsiteY85" fmla="*/ 293540 h 513906"/>
              <a:gd name="connsiteX86" fmla="*/ 66010 w 510215"/>
              <a:gd name="connsiteY86" fmla="*/ 293688 h 513906"/>
              <a:gd name="connsiteX87" fmla="*/ 66601 w 510215"/>
              <a:gd name="connsiteY87" fmla="*/ 293835 h 513906"/>
              <a:gd name="connsiteX88" fmla="*/ 67266 w 510215"/>
              <a:gd name="connsiteY88" fmla="*/ 294057 h 513906"/>
              <a:gd name="connsiteX89" fmla="*/ 67856 w 510215"/>
              <a:gd name="connsiteY89" fmla="*/ 294278 h 513906"/>
              <a:gd name="connsiteX90" fmla="*/ 68447 w 510215"/>
              <a:gd name="connsiteY90" fmla="*/ 294573 h 513906"/>
              <a:gd name="connsiteX91" fmla="*/ 69038 w 510215"/>
              <a:gd name="connsiteY91" fmla="*/ 294869 h 513906"/>
              <a:gd name="connsiteX92" fmla="*/ 69554 w 510215"/>
              <a:gd name="connsiteY92" fmla="*/ 295164 h 513906"/>
              <a:gd name="connsiteX93" fmla="*/ 70145 w 510215"/>
              <a:gd name="connsiteY93" fmla="*/ 295533 h 513906"/>
              <a:gd name="connsiteX94" fmla="*/ 70736 w 510215"/>
              <a:gd name="connsiteY94" fmla="*/ 295977 h 513906"/>
              <a:gd name="connsiteX95" fmla="*/ 71179 w 510215"/>
              <a:gd name="connsiteY95" fmla="*/ 296346 h 513906"/>
              <a:gd name="connsiteX96" fmla="*/ 72139 w 510215"/>
              <a:gd name="connsiteY96" fmla="*/ 297232 h 513906"/>
              <a:gd name="connsiteX97" fmla="*/ 121240 w 510215"/>
              <a:gd name="connsiteY97" fmla="*/ 346333 h 513906"/>
              <a:gd name="connsiteX98" fmla="*/ 248979 w 510215"/>
              <a:gd name="connsiteY98" fmla="*/ 210842 h 513906"/>
              <a:gd name="connsiteX99" fmla="*/ 248979 w 510215"/>
              <a:gd name="connsiteY99" fmla="*/ 229671 h 513906"/>
              <a:gd name="connsiteX100" fmla="*/ 239602 w 510215"/>
              <a:gd name="connsiteY100" fmla="*/ 233584 h 513906"/>
              <a:gd name="connsiteX101" fmla="*/ 230224 w 510215"/>
              <a:gd name="connsiteY101" fmla="*/ 229671 h 513906"/>
              <a:gd name="connsiteX102" fmla="*/ 203865 w 510215"/>
              <a:gd name="connsiteY102" fmla="*/ 203311 h 513906"/>
              <a:gd name="connsiteX103" fmla="*/ 203865 w 510215"/>
              <a:gd name="connsiteY103" fmla="*/ 500653 h 513906"/>
              <a:gd name="connsiteX104" fmla="*/ 190574 w 510215"/>
              <a:gd name="connsiteY104" fmla="*/ 513944 h 513906"/>
              <a:gd name="connsiteX105" fmla="*/ 177283 w 510215"/>
              <a:gd name="connsiteY105" fmla="*/ 500653 h 513906"/>
              <a:gd name="connsiteX106" fmla="*/ 177283 w 510215"/>
              <a:gd name="connsiteY106" fmla="*/ 203311 h 513906"/>
              <a:gd name="connsiteX107" fmla="*/ 150923 w 510215"/>
              <a:gd name="connsiteY107" fmla="*/ 229671 h 513906"/>
              <a:gd name="connsiteX108" fmla="*/ 141546 w 510215"/>
              <a:gd name="connsiteY108" fmla="*/ 233584 h 513906"/>
              <a:gd name="connsiteX109" fmla="*/ 132169 w 510215"/>
              <a:gd name="connsiteY109" fmla="*/ 229671 h 513906"/>
              <a:gd name="connsiteX110" fmla="*/ 132169 w 510215"/>
              <a:gd name="connsiteY110" fmla="*/ 210842 h 513906"/>
              <a:gd name="connsiteX111" fmla="*/ 181270 w 510215"/>
              <a:gd name="connsiteY111" fmla="*/ 161740 h 513906"/>
              <a:gd name="connsiteX112" fmla="*/ 181270 w 510215"/>
              <a:gd name="connsiteY112" fmla="*/ 161740 h 513906"/>
              <a:gd name="connsiteX113" fmla="*/ 182230 w 510215"/>
              <a:gd name="connsiteY113" fmla="*/ 160854 h 513906"/>
              <a:gd name="connsiteX114" fmla="*/ 182673 w 510215"/>
              <a:gd name="connsiteY114" fmla="*/ 160485 h 513906"/>
              <a:gd name="connsiteX115" fmla="*/ 183264 w 510215"/>
              <a:gd name="connsiteY115" fmla="*/ 160042 h 513906"/>
              <a:gd name="connsiteX116" fmla="*/ 183855 w 510215"/>
              <a:gd name="connsiteY116" fmla="*/ 159673 h 513906"/>
              <a:gd name="connsiteX117" fmla="*/ 184371 w 510215"/>
              <a:gd name="connsiteY117" fmla="*/ 159378 h 513906"/>
              <a:gd name="connsiteX118" fmla="*/ 184962 w 510215"/>
              <a:gd name="connsiteY118" fmla="*/ 159082 h 513906"/>
              <a:gd name="connsiteX119" fmla="*/ 185553 w 510215"/>
              <a:gd name="connsiteY119" fmla="*/ 158787 h 513906"/>
              <a:gd name="connsiteX120" fmla="*/ 186144 w 510215"/>
              <a:gd name="connsiteY120" fmla="*/ 158565 h 513906"/>
              <a:gd name="connsiteX121" fmla="*/ 186808 w 510215"/>
              <a:gd name="connsiteY121" fmla="*/ 158344 h 513906"/>
              <a:gd name="connsiteX122" fmla="*/ 187399 w 510215"/>
              <a:gd name="connsiteY122" fmla="*/ 158196 h 513906"/>
              <a:gd name="connsiteX123" fmla="*/ 188063 w 510215"/>
              <a:gd name="connsiteY123" fmla="*/ 158048 h 513906"/>
              <a:gd name="connsiteX124" fmla="*/ 188728 w 510215"/>
              <a:gd name="connsiteY124" fmla="*/ 157975 h 513906"/>
              <a:gd name="connsiteX125" fmla="*/ 189319 w 510215"/>
              <a:gd name="connsiteY125" fmla="*/ 157901 h 513906"/>
              <a:gd name="connsiteX126" fmla="*/ 190500 w 510215"/>
              <a:gd name="connsiteY126" fmla="*/ 157827 h 513906"/>
              <a:gd name="connsiteX127" fmla="*/ 190574 w 510215"/>
              <a:gd name="connsiteY127" fmla="*/ 157827 h 513906"/>
              <a:gd name="connsiteX128" fmla="*/ 190647 w 510215"/>
              <a:gd name="connsiteY128" fmla="*/ 157827 h 513906"/>
              <a:gd name="connsiteX129" fmla="*/ 191829 w 510215"/>
              <a:gd name="connsiteY129" fmla="*/ 157901 h 513906"/>
              <a:gd name="connsiteX130" fmla="*/ 192420 w 510215"/>
              <a:gd name="connsiteY130" fmla="*/ 157975 h 513906"/>
              <a:gd name="connsiteX131" fmla="*/ 193084 w 510215"/>
              <a:gd name="connsiteY131" fmla="*/ 158048 h 513906"/>
              <a:gd name="connsiteX132" fmla="*/ 193749 w 510215"/>
              <a:gd name="connsiteY132" fmla="*/ 158196 h 513906"/>
              <a:gd name="connsiteX133" fmla="*/ 194339 w 510215"/>
              <a:gd name="connsiteY133" fmla="*/ 158344 h 513906"/>
              <a:gd name="connsiteX134" fmla="*/ 195004 w 510215"/>
              <a:gd name="connsiteY134" fmla="*/ 158565 h 513906"/>
              <a:gd name="connsiteX135" fmla="*/ 195595 w 510215"/>
              <a:gd name="connsiteY135" fmla="*/ 158787 h 513906"/>
              <a:gd name="connsiteX136" fmla="*/ 196185 w 510215"/>
              <a:gd name="connsiteY136" fmla="*/ 159082 h 513906"/>
              <a:gd name="connsiteX137" fmla="*/ 196776 w 510215"/>
              <a:gd name="connsiteY137" fmla="*/ 159378 h 513906"/>
              <a:gd name="connsiteX138" fmla="*/ 197293 w 510215"/>
              <a:gd name="connsiteY138" fmla="*/ 159673 h 513906"/>
              <a:gd name="connsiteX139" fmla="*/ 197884 w 510215"/>
              <a:gd name="connsiteY139" fmla="*/ 160042 h 513906"/>
              <a:gd name="connsiteX140" fmla="*/ 198474 w 510215"/>
              <a:gd name="connsiteY140" fmla="*/ 160485 h 513906"/>
              <a:gd name="connsiteX141" fmla="*/ 198917 w 510215"/>
              <a:gd name="connsiteY141" fmla="*/ 160854 h 513906"/>
              <a:gd name="connsiteX142" fmla="*/ 199877 w 510215"/>
              <a:gd name="connsiteY142" fmla="*/ 161740 h 513906"/>
              <a:gd name="connsiteX143" fmla="*/ 199877 w 510215"/>
              <a:gd name="connsiteY143" fmla="*/ 161740 h 513906"/>
              <a:gd name="connsiteX144" fmla="*/ 199877 w 510215"/>
              <a:gd name="connsiteY144" fmla="*/ 161740 h 513906"/>
              <a:gd name="connsiteX145" fmla="*/ 248979 w 510215"/>
              <a:gd name="connsiteY145" fmla="*/ 210842 h 513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</a:cxnLst>
            <a:rect l="l" t="t" r="r" b="b"/>
            <a:pathLst>
              <a:path w="510215" h="513906">
                <a:moveTo>
                  <a:pt x="398942" y="133461"/>
                </a:moveTo>
                <a:cubicBezTo>
                  <a:pt x="435640" y="133461"/>
                  <a:pt x="465396" y="103631"/>
                  <a:pt x="465396" y="67007"/>
                </a:cubicBezTo>
                <a:cubicBezTo>
                  <a:pt x="465396" y="30310"/>
                  <a:pt x="435566" y="554"/>
                  <a:pt x="398942" y="554"/>
                </a:cubicBezTo>
                <a:cubicBezTo>
                  <a:pt x="362245" y="554"/>
                  <a:pt x="332489" y="30384"/>
                  <a:pt x="332489" y="67007"/>
                </a:cubicBezTo>
                <a:cubicBezTo>
                  <a:pt x="332489" y="103631"/>
                  <a:pt x="362319" y="133461"/>
                  <a:pt x="398942" y="133461"/>
                </a:cubicBezTo>
                <a:moveTo>
                  <a:pt x="398942" y="27061"/>
                </a:moveTo>
                <a:cubicBezTo>
                  <a:pt x="420946" y="27061"/>
                  <a:pt x="438814" y="44930"/>
                  <a:pt x="438814" y="66933"/>
                </a:cubicBezTo>
                <a:cubicBezTo>
                  <a:pt x="438814" y="88937"/>
                  <a:pt x="420946" y="106805"/>
                  <a:pt x="398942" y="106805"/>
                </a:cubicBezTo>
                <a:cubicBezTo>
                  <a:pt x="376939" y="106805"/>
                  <a:pt x="359070" y="88937"/>
                  <a:pt x="359070" y="66933"/>
                </a:cubicBezTo>
                <a:cubicBezTo>
                  <a:pt x="359070" y="44930"/>
                  <a:pt x="376939" y="27061"/>
                  <a:pt x="398942" y="27061"/>
                </a:cubicBezTo>
                <a:moveTo>
                  <a:pt x="510141" y="208922"/>
                </a:moveTo>
                <a:cubicBezTo>
                  <a:pt x="510067" y="192974"/>
                  <a:pt x="502240" y="178058"/>
                  <a:pt x="489393" y="168977"/>
                </a:cubicBezTo>
                <a:cubicBezTo>
                  <a:pt x="471746" y="156572"/>
                  <a:pt x="450850" y="148006"/>
                  <a:pt x="428551" y="144019"/>
                </a:cubicBezTo>
                <a:cubicBezTo>
                  <a:pt x="428034" y="143872"/>
                  <a:pt x="427444" y="143798"/>
                  <a:pt x="426927" y="143724"/>
                </a:cubicBezTo>
                <a:cubicBezTo>
                  <a:pt x="417771" y="142173"/>
                  <a:pt x="408467" y="141361"/>
                  <a:pt x="399016" y="141361"/>
                </a:cubicBezTo>
                <a:lnTo>
                  <a:pt x="399016" y="141361"/>
                </a:lnTo>
                <a:lnTo>
                  <a:pt x="399016" y="141361"/>
                </a:lnTo>
                <a:cubicBezTo>
                  <a:pt x="389639" y="141361"/>
                  <a:pt x="380262" y="142173"/>
                  <a:pt x="371179" y="143724"/>
                </a:cubicBezTo>
                <a:cubicBezTo>
                  <a:pt x="370589" y="143798"/>
                  <a:pt x="370072" y="143872"/>
                  <a:pt x="369481" y="144019"/>
                </a:cubicBezTo>
                <a:cubicBezTo>
                  <a:pt x="347478" y="148006"/>
                  <a:pt x="326730" y="156424"/>
                  <a:pt x="309230" y="168607"/>
                </a:cubicBezTo>
                <a:cubicBezTo>
                  <a:pt x="295939" y="177911"/>
                  <a:pt x="287965" y="193047"/>
                  <a:pt x="287965" y="209218"/>
                </a:cubicBezTo>
                <a:lnTo>
                  <a:pt x="287965" y="335332"/>
                </a:lnTo>
                <a:cubicBezTo>
                  <a:pt x="287965" y="342641"/>
                  <a:pt x="293946" y="348622"/>
                  <a:pt x="301256" y="348622"/>
                </a:cubicBezTo>
                <a:lnTo>
                  <a:pt x="322890" y="348622"/>
                </a:lnTo>
                <a:lnTo>
                  <a:pt x="322890" y="500653"/>
                </a:lnTo>
                <a:cubicBezTo>
                  <a:pt x="322890" y="507963"/>
                  <a:pt x="328871" y="513944"/>
                  <a:pt x="336181" y="513944"/>
                </a:cubicBezTo>
                <a:lnTo>
                  <a:pt x="460744" y="513944"/>
                </a:lnTo>
                <a:cubicBezTo>
                  <a:pt x="468054" y="513944"/>
                  <a:pt x="474035" y="507963"/>
                  <a:pt x="474035" y="500653"/>
                </a:cubicBezTo>
                <a:lnTo>
                  <a:pt x="474035" y="348622"/>
                </a:lnTo>
                <a:lnTo>
                  <a:pt x="496998" y="348622"/>
                </a:lnTo>
                <a:cubicBezTo>
                  <a:pt x="504308" y="348622"/>
                  <a:pt x="510289" y="342641"/>
                  <a:pt x="510289" y="335332"/>
                </a:cubicBezTo>
                <a:cubicBezTo>
                  <a:pt x="510289" y="321450"/>
                  <a:pt x="510215" y="221992"/>
                  <a:pt x="510141" y="208922"/>
                </a:cubicBezTo>
                <a:moveTo>
                  <a:pt x="460744" y="321967"/>
                </a:moveTo>
                <a:cubicBezTo>
                  <a:pt x="453434" y="321967"/>
                  <a:pt x="447454" y="327948"/>
                  <a:pt x="447454" y="335258"/>
                </a:cubicBezTo>
                <a:lnTo>
                  <a:pt x="447454" y="487288"/>
                </a:lnTo>
                <a:lnTo>
                  <a:pt x="349471" y="487288"/>
                </a:lnTo>
                <a:lnTo>
                  <a:pt x="349471" y="335258"/>
                </a:lnTo>
                <a:cubicBezTo>
                  <a:pt x="349471" y="327948"/>
                  <a:pt x="343490" y="321967"/>
                  <a:pt x="336181" y="321967"/>
                </a:cubicBezTo>
                <a:lnTo>
                  <a:pt x="314547" y="321967"/>
                </a:lnTo>
                <a:lnTo>
                  <a:pt x="314547" y="209144"/>
                </a:lnTo>
                <a:cubicBezTo>
                  <a:pt x="314547" y="201686"/>
                  <a:pt x="318238" y="194672"/>
                  <a:pt x="324367" y="190315"/>
                </a:cubicBezTo>
                <a:cubicBezTo>
                  <a:pt x="337953" y="180790"/>
                  <a:pt x="354049" y="174145"/>
                  <a:pt x="371179" y="170675"/>
                </a:cubicBezTo>
                <a:lnTo>
                  <a:pt x="385652" y="176434"/>
                </a:lnTo>
                <a:lnTo>
                  <a:pt x="385726" y="279585"/>
                </a:lnTo>
                <a:cubicBezTo>
                  <a:pt x="385726" y="286894"/>
                  <a:pt x="391706" y="292875"/>
                  <a:pt x="399016" y="292875"/>
                </a:cubicBezTo>
                <a:lnTo>
                  <a:pt x="399016" y="292875"/>
                </a:lnTo>
                <a:cubicBezTo>
                  <a:pt x="406326" y="292875"/>
                  <a:pt x="412307" y="286894"/>
                  <a:pt x="412307" y="279585"/>
                </a:cubicBezTo>
                <a:lnTo>
                  <a:pt x="412233" y="176434"/>
                </a:lnTo>
                <a:lnTo>
                  <a:pt x="426705" y="170675"/>
                </a:lnTo>
                <a:cubicBezTo>
                  <a:pt x="444057" y="174219"/>
                  <a:pt x="460301" y="181012"/>
                  <a:pt x="474035" y="190685"/>
                </a:cubicBezTo>
                <a:cubicBezTo>
                  <a:pt x="479942" y="194820"/>
                  <a:pt x="483486" y="201760"/>
                  <a:pt x="483560" y="209070"/>
                </a:cubicBezTo>
                <a:cubicBezTo>
                  <a:pt x="483634" y="219924"/>
                  <a:pt x="483708" y="290660"/>
                  <a:pt x="483708" y="321967"/>
                </a:cubicBezTo>
                <a:lnTo>
                  <a:pt x="460744" y="321967"/>
                </a:lnTo>
                <a:close/>
                <a:moveTo>
                  <a:pt x="121240" y="346333"/>
                </a:moveTo>
                <a:cubicBezTo>
                  <a:pt x="126409" y="351502"/>
                  <a:pt x="126409" y="359919"/>
                  <a:pt x="121240" y="365162"/>
                </a:cubicBezTo>
                <a:cubicBezTo>
                  <a:pt x="118656" y="367746"/>
                  <a:pt x="115260" y="369075"/>
                  <a:pt x="111863" y="369075"/>
                </a:cubicBezTo>
                <a:cubicBezTo>
                  <a:pt x="108467" y="369075"/>
                  <a:pt x="105070" y="367746"/>
                  <a:pt x="102486" y="365162"/>
                </a:cubicBezTo>
                <a:lnTo>
                  <a:pt x="76126" y="338802"/>
                </a:lnTo>
                <a:lnTo>
                  <a:pt x="76126" y="500653"/>
                </a:lnTo>
                <a:cubicBezTo>
                  <a:pt x="76126" y="507963"/>
                  <a:pt x="70145" y="513944"/>
                  <a:pt x="62836" y="513944"/>
                </a:cubicBezTo>
                <a:cubicBezTo>
                  <a:pt x="55525" y="513944"/>
                  <a:pt x="49545" y="507963"/>
                  <a:pt x="49545" y="500653"/>
                </a:cubicBezTo>
                <a:lnTo>
                  <a:pt x="49545" y="338802"/>
                </a:lnTo>
                <a:lnTo>
                  <a:pt x="23185" y="365162"/>
                </a:lnTo>
                <a:cubicBezTo>
                  <a:pt x="20601" y="367746"/>
                  <a:pt x="17204" y="369075"/>
                  <a:pt x="13807" y="369075"/>
                </a:cubicBezTo>
                <a:cubicBezTo>
                  <a:pt x="10411" y="369075"/>
                  <a:pt x="7015" y="367746"/>
                  <a:pt x="4430" y="365162"/>
                </a:cubicBezTo>
                <a:cubicBezTo>
                  <a:pt x="-738" y="359993"/>
                  <a:pt x="-738" y="351576"/>
                  <a:pt x="4430" y="346333"/>
                </a:cubicBezTo>
                <a:lnTo>
                  <a:pt x="53532" y="297232"/>
                </a:lnTo>
                <a:cubicBezTo>
                  <a:pt x="53827" y="296936"/>
                  <a:pt x="54196" y="296641"/>
                  <a:pt x="54492" y="296346"/>
                </a:cubicBezTo>
                <a:cubicBezTo>
                  <a:pt x="54640" y="296198"/>
                  <a:pt x="54787" y="296124"/>
                  <a:pt x="54935" y="295977"/>
                </a:cubicBezTo>
                <a:cubicBezTo>
                  <a:pt x="55156" y="295829"/>
                  <a:pt x="55304" y="295681"/>
                  <a:pt x="55525" y="295533"/>
                </a:cubicBezTo>
                <a:cubicBezTo>
                  <a:pt x="55747" y="295386"/>
                  <a:pt x="55895" y="295312"/>
                  <a:pt x="56116" y="295164"/>
                </a:cubicBezTo>
                <a:cubicBezTo>
                  <a:pt x="56264" y="295090"/>
                  <a:pt x="56485" y="294943"/>
                  <a:pt x="56633" y="294869"/>
                </a:cubicBezTo>
                <a:cubicBezTo>
                  <a:pt x="56855" y="294795"/>
                  <a:pt x="57002" y="294647"/>
                  <a:pt x="57224" y="294573"/>
                </a:cubicBezTo>
                <a:cubicBezTo>
                  <a:pt x="57445" y="294500"/>
                  <a:pt x="57593" y="294352"/>
                  <a:pt x="57814" y="294278"/>
                </a:cubicBezTo>
                <a:cubicBezTo>
                  <a:pt x="58036" y="294204"/>
                  <a:pt x="58184" y="294131"/>
                  <a:pt x="58405" y="294057"/>
                </a:cubicBezTo>
                <a:cubicBezTo>
                  <a:pt x="58627" y="293983"/>
                  <a:pt x="58848" y="293909"/>
                  <a:pt x="59070" y="293835"/>
                </a:cubicBezTo>
                <a:cubicBezTo>
                  <a:pt x="59291" y="293761"/>
                  <a:pt x="59439" y="293761"/>
                  <a:pt x="59660" y="293688"/>
                </a:cubicBezTo>
                <a:cubicBezTo>
                  <a:pt x="59882" y="293614"/>
                  <a:pt x="60103" y="293540"/>
                  <a:pt x="60325" y="293540"/>
                </a:cubicBezTo>
                <a:cubicBezTo>
                  <a:pt x="60547" y="293466"/>
                  <a:pt x="60768" y="293466"/>
                  <a:pt x="60990" y="293466"/>
                </a:cubicBezTo>
                <a:cubicBezTo>
                  <a:pt x="61211" y="293466"/>
                  <a:pt x="61359" y="293392"/>
                  <a:pt x="61580" y="293392"/>
                </a:cubicBezTo>
                <a:cubicBezTo>
                  <a:pt x="62023" y="293318"/>
                  <a:pt x="62466" y="293318"/>
                  <a:pt x="62836" y="293318"/>
                </a:cubicBezTo>
                <a:cubicBezTo>
                  <a:pt x="62836" y="293318"/>
                  <a:pt x="62836" y="293318"/>
                  <a:pt x="62836" y="293318"/>
                </a:cubicBezTo>
                <a:cubicBezTo>
                  <a:pt x="62836" y="293318"/>
                  <a:pt x="62836" y="293318"/>
                  <a:pt x="62836" y="293318"/>
                </a:cubicBezTo>
                <a:cubicBezTo>
                  <a:pt x="63278" y="293318"/>
                  <a:pt x="63721" y="293318"/>
                  <a:pt x="64091" y="293392"/>
                </a:cubicBezTo>
                <a:cubicBezTo>
                  <a:pt x="64312" y="293392"/>
                  <a:pt x="64460" y="293466"/>
                  <a:pt x="64681" y="293466"/>
                </a:cubicBezTo>
                <a:cubicBezTo>
                  <a:pt x="64903" y="293466"/>
                  <a:pt x="65124" y="293540"/>
                  <a:pt x="65346" y="293540"/>
                </a:cubicBezTo>
                <a:cubicBezTo>
                  <a:pt x="65567" y="293614"/>
                  <a:pt x="65789" y="293614"/>
                  <a:pt x="66010" y="293688"/>
                </a:cubicBezTo>
                <a:cubicBezTo>
                  <a:pt x="66232" y="293761"/>
                  <a:pt x="66380" y="293761"/>
                  <a:pt x="66601" y="293835"/>
                </a:cubicBezTo>
                <a:cubicBezTo>
                  <a:pt x="66823" y="293909"/>
                  <a:pt x="67044" y="293983"/>
                  <a:pt x="67266" y="294057"/>
                </a:cubicBezTo>
                <a:cubicBezTo>
                  <a:pt x="67487" y="294131"/>
                  <a:pt x="67635" y="294204"/>
                  <a:pt x="67856" y="294278"/>
                </a:cubicBezTo>
                <a:cubicBezTo>
                  <a:pt x="68078" y="294352"/>
                  <a:pt x="68226" y="294426"/>
                  <a:pt x="68447" y="294573"/>
                </a:cubicBezTo>
                <a:cubicBezTo>
                  <a:pt x="68669" y="294647"/>
                  <a:pt x="68816" y="294721"/>
                  <a:pt x="69038" y="294869"/>
                </a:cubicBezTo>
                <a:cubicBezTo>
                  <a:pt x="69259" y="294943"/>
                  <a:pt x="69407" y="295090"/>
                  <a:pt x="69554" y="295164"/>
                </a:cubicBezTo>
                <a:cubicBezTo>
                  <a:pt x="69776" y="295312"/>
                  <a:pt x="69924" y="295386"/>
                  <a:pt x="70145" y="295533"/>
                </a:cubicBezTo>
                <a:cubicBezTo>
                  <a:pt x="70367" y="295681"/>
                  <a:pt x="70515" y="295829"/>
                  <a:pt x="70736" y="295977"/>
                </a:cubicBezTo>
                <a:cubicBezTo>
                  <a:pt x="70884" y="296124"/>
                  <a:pt x="71031" y="296198"/>
                  <a:pt x="71179" y="296346"/>
                </a:cubicBezTo>
                <a:cubicBezTo>
                  <a:pt x="71548" y="296641"/>
                  <a:pt x="71843" y="296936"/>
                  <a:pt x="72139" y="297232"/>
                </a:cubicBezTo>
                <a:lnTo>
                  <a:pt x="121240" y="346333"/>
                </a:lnTo>
                <a:close/>
                <a:moveTo>
                  <a:pt x="248979" y="210842"/>
                </a:moveTo>
                <a:cubicBezTo>
                  <a:pt x="254147" y="216011"/>
                  <a:pt x="254147" y="224428"/>
                  <a:pt x="248979" y="229671"/>
                </a:cubicBezTo>
                <a:cubicBezTo>
                  <a:pt x="246395" y="232255"/>
                  <a:pt x="242998" y="233584"/>
                  <a:pt x="239602" y="233584"/>
                </a:cubicBezTo>
                <a:cubicBezTo>
                  <a:pt x="236205" y="233584"/>
                  <a:pt x="232809" y="232255"/>
                  <a:pt x="230224" y="229671"/>
                </a:cubicBezTo>
                <a:lnTo>
                  <a:pt x="203865" y="203311"/>
                </a:lnTo>
                <a:lnTo>
                  <a:pt x="203865" y="500653"/>
                </a:lnTo>
                <a:cubicBezTo>
                  <a:pt x="203865" y="507963"/>
                  <a:pt x="197884" y="513944"/>
                  <a:pt x="190574" y="513944"/>
                </a:cubicBezTo>
                <a:cubicBezTo>
                  <a:pt x="183264" y="513944"/>
                  <a:pt x="177283" y="507963"/>
                  <a:pt x="177283" y="500653"/>
                </a:cubicBezTo>
                <a:lnTo>
                  <a:pt x="177283" y="203311"/>
                </a:lnTo>
                <a:lnTo>
                  <a:pt x="150923" y="229671"/>
                </a:lnTo>
                <a:cubicBezTo>
                  <a:pt x="148339" y="232255"/>
                  <a:pt x="144942" y="233584"/>
                  <a:pt x="141546" y="233584"/>
                </a:cubicBezTo>
                <a:cubicBezTo>
                  <a:pt x="138149" y="233584"/>
                  <a:pt x="134753" y="232255"/>
                  <a:pt x="132169" y="229671"/>
                </a:cubicBezTo>
                <a:cubicBezTo>
                  <a:pt x="127000" y="224502"/>
                  <a:pt x="127000" y="216085"/>
                  <a:pt x="132169" y="210842"/>
                </a:cubicBezTo>
                <a:lnTo>
                  <a:pt x="181270" y="161740"/>
                </a:lnTo>
                <a:cubicBezTo>
                  <a:pt x="181270" y="161740"/>
                  <a:pt x="181270" y="161740"/>
                  <a:pt x="181270" y="161740"/>
                </a:cubicBezTo>
                <a:cubicBezTo>
                  <a:pt x="181566" y="161445"/>
                  <a:pt x="181935" y="161150"/>
                  <a:pt x="182230" y="160854"/>
                </a:cubicBezTo>
                <a:cubicBezTo>
                  <a:pt x="182378" y="160707"/>
                  <a:pt x="182525" y="160633"/>
                  <a:pt x="182673" y="160485"/>
                </a:cubicBezTo>
                <a:cubicBezTo>
                  <a:pt x="182895" y="160337"/>
                  <a:pt x="183042" y="160190"/>
                  <a:pt x="183264" y="160042"/>
                </a:cubicBezTo>
                <a:cubicBezTo>
                  <a:pt x="183485" y="159894"/>
                  <a:pt x="183633" y="159820"/>
                  <a:pt x="183855" y="159673"/>
                </a:cubicBezTo>
                <a:cubicBezTo>
                  <a:pt x="184002" y="159599"/>
                  <a:pt x="184224" y="159451"/>
                  <a:pt x="184371" y="159378"/>
                </a:cubicBezTo>
                <a:cubicBezTo>
                  <a:pt x="184593" y="159304"/>
                  <a:pt x="184740" y="159156"/>
                  <a:pt x="184962" y="159082"/>
                </a:cubicBezTo>
                <a:cubicBezTo>
                  <a:pt x="185184" y="159009"/>
                  <a:pt x="185331" y="158861"/>
                  <a:pt x="185553" y="158787"/>
                </a:cubicBezTo>
                <a:cubicBezTo>
                  <a:pt x="185774" y="158713"/>
                  <a:pt x="185922" y="158639"/>
                  <a:pt x="186144" y="158565"/>
                </a:cubicBezTo>
                <a:cubicBezTo>
                  <a:pt x="186365" y="158492"/>
                  <a:pt x="186586" y="158418"/>
                  <a:pt x="186808" y="158344"/>
                </a:cubicBezTo>
                <a:cubicBezTo>
                  <a:pt x="187030" y="158270"/>
                  <a:pt x="187177" y="158270"/>
                  <a:pt x="187399" y="158196"/>
                </a:cubicBezTo>
                <a:cubicBezTo>
                  <a:pt x="187620" y="158122"/>
                  <a:pt x="187842" y="158048"/>
                  <a:pt x="188063" y="158048"/>
                </a:cubicBezTo>
                <a:cubicBezTo>
                  <a:pt x="188285" y="157975"/>
                  <a:pt x="188506" y="157975"/>
                  <a:pt x="188728" y="157975"/>
                </a:cubicBezTo>
                <a:cubicBezTo>
                  <a:pt x="188949" y="157975"/>
                  <a:pt x="189171" y="157901"/>
                  <a:pt x="189319" y="157901"/>
                </a:cubicBezTo>
                <a:cubicBezTo>
                  <a:pt x="189688" y="157827"/>
                  <a:pt x="190131" y="157827"/>
                  <a:pt x="190500" y="157827"/>
                </a:cubicBezTo>
                <a:cubicBezTo>
                  <a:pt x="190500" y="157827"/>
                  <a:pt x="190574" y="157827"/>
                  <a:pt x="190574" y="157827"/>
                </a:cubicBezTo>
                <a:cubicBezTo>
                  <a:pt x="190574" y="157827"/>
                  <a:pt x="190647" y="157827"/>
                  <a:pt x="190647" y="157827"/>
                </a:cubicBezTo>
                <a:cubicBezTo>
                  <a:pt x="191017" y="157827"/>
                  <a:pt x="191460" y="157827"/>
                  <a:pt x="191829" y="157901"/>
                </a:cubicBezTo>
                <a:cubicBezTo>
                  <a:pt x="192051" y="157901"/>
                  <a:pt x="192272" y="157975"/>
                  <a:pt x="192420" y="157975"/>
                </a:cubicBezTo>
                <a:cubicBezTo>
                  <a:pt x="192641" y="157975"/>
                  <a:pt x="192863" y="158048"/>
                  <a:pt x="193084" y="158048"/>
                </a:cubicBezTo>
                <a:cubicBezTo>
                  <a:pt x="193306" y="158122"/>
                  <a:pt x="193527" y="158122"/>
                  <a:pt x="193749" y="158196"/>
                </a:cubicBezTo>
                <a:cubicBezTo>
                  <a:pt x="193970" y="158270"/>
                  <a:pt x="194118" y="158270"/>
                  <a:pt x="194339" y="158344"/>
                </a:cubicBezTo>
                <a:cubicBezTo>
                  <a:pt x="194561" y="158418"/>
                  <a:pt x="194782" y="158492"/>
                  <a:pt x="195004" y="158565"/>
                </a:cubicBezTo>
                <a:cubicBezTo>
                  <a:pt x="195226" y="158639"/>
                  <a:pt x="195373" y="158713"/>
                  <a:pt x="195595" y="158787"/>
                </a:cubicBezTo>
                <a:cubicBezTo>
                  <a:pt x="195816" y="158861"/>
                  <a:pt x="195964" y="158935"/>
                  <a:pt x="196185" y="159082"/>
                </a:cubicBezTo>
                <a:cubicBezTo>
                  <a:pt x="196407" y="159156"/>
                  <a:pt x="196554" y="159230"/>
                  <a:pt x="196776" y="159378"/>
                </a:cubicBezTo>
                <a:cubicBezTo>
                  <a:pt x="196998" y="159451"/>
                  <a:pt x="197145" y="159599"/>
                  <a:pt x="197293" y="159673"/>
                </a:cubicBezTo>
                <a:cubicBezTo>
                  <a:pt x="197515" y="159820"/>
                  <a:pt x="197662" y="159894"/>
                  <a:pt x="197884" y="160042"/>
                </a:cubicBezTo>
                <a:cubicBezTo>
                  <a:pt x="198105" y="160190"/>
                  <a:pt x="198253" y="160337"/>
                  <a:pt x="198474" y="160485"/>
                </a:cubicBezTo>
                <a:cubicBezTo>
                  <a:pt x="198622" y="160633"/>
                  <a:pt x="198770" y="160707"/>
                  <a:pt x="198917" y="160854"/>
                </a:cubicBezTo>
                <a:cubicBezTo>
                  <a:pt x="199287" y="161150"/>
                  <a:pt x="199582" y="161445"/>
                  <a:pt x="199877" y="161740"/>
                </a:cubicBezTo>
                <a:cubicBezTo>
                  <a:pt x="199877" y="161740"/>
                  <a:pt x="199877" y="161740"/>
                  <a:pt x="199877" y="161740"/>
                </a:cubicBezTo>
                <a:cubicBezTo>
                  <a:pt x="199877" y="161740"/>
                  <a:pt x="199877" y="161740"/>
                  <a:pt x="199877" y="161740"/>
                </a:cubicBezTo>
                <a:lnTo>
                  <a:pt x="248979" y="210842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s-MX" dirty="0"/>
          </a:p>
        </p:txBody>
      </p:sp>
      <p:grpSp>
        <p:nvGrpSpPr>
          <p:cNvPr id="19" name="Grupo 224">
            <a:extLst>
              <a:ext uri="{FF2B5EF4-FFF2-40B4-BE49-F238E27FC236}">
                <a16:creationId xmlns:a16="http://schemas.microsoft.com/office/drawing/2014/main" id="{CFA0E55B-292A-B59F-3FB7-DE3CC17C60C9}"/>
              </a:ext>
            </a:extLst>
          </p:cNvPr>
          <p:cNvGrpSpPr/>
          <p:nvPr/>
        </p:nvGrpSpPr>
        <p:grpSpPr>
          <a:xfrm>
            <a:off x="10257563" y="2224962"/>
            <a:ext cx="455607" cy="458980"/>
            <a:chOff x="5014564" y="2955589"/>
            <a:chExt cx="939996" cy="946954"/>
          </a:xfrm>
          <a:solidFill>
            <a:schemeClr val="bg1"/>
          </a:solidFill>
        </p:grpSpPr>
        <p:sp>
          <p:nvSpPr>
            <p:cNvPr id="21" name="Forma libre 87">
              <a:extLst>
                <a:ext uri="{FF2B5EF4-FFF2-40B4-BE49-F238E27FC236}">
                  <a16:creationId xmlns:a16="http://schemas.microsoft.com/office/drawing/2014/main" id="{3C071D2E-A0B4-CF86-8BE6-F27F88C39384}"/>
                </a:ext>
              </a:extLst>
            </p:cNvPr>
            <p:cNvSpPr/>
            <p:nvPr/>
          </p:nvSpPr>
          <p:spPr>
            <a:xfrm>
              <a:off x="5014564" y="2955589"/>
              <a:ext cx="483059" cy="483059"/>
            </a:xfrm>
            <a:custGeom>
              <a:avLst/>
              <a:gdLst>
                <a:gd name="connsiteX0" fmla="*/ 242383 w 483059"/>
                <a:gd name="connsiteY0" fmla="*/ 482731 h 483059"/>
                <a:gd name="connsiteX1" fmla="*/ 242777 w 483059"/>
                <a:gd name="connsiteY1" fmla="*/ 482731 h 483059"/>
                <a:gd name="connsiteX2" fmla="*/ 253672 w 483059"/>
                <a:gd name="connsiteY2" fmla="*/ 482469 h 483059"/>
                <a:gd name="connsiteX3" fmla="*/ 482731 w 483059"/>
                <a:gd name="connsiteY3" fmla="*/ 241858 h 483059"/>
                <a:gd name="connsiteX4" fmla="*/ 241858 w 483059"/>
                <a:gd name="connsiteY4" fmla="*/ 984 h 483059"/>
                <a:gd name="connsiteX5" fmla="*/ 984 w 483059"/>
                <a:gd name="connsiteY5" fmla="*/ 241858 h 483059"/>
                <a:gd name="connsiteX6" fmla="*/ 241858 w 483059"/>
                <a:gd name="connsiteY6" fmla="*/ 482731 h 483059"/>
                <a:gd name="connsiteX7" fmla="*/ 242383 w 483059"/>
                <a:gd name="connsiteY7" fmla="*/ 482731 h 483059"/>
                <a:gd name="connsiteX8" fmla="*/ 241070 w 483059"/>
                <a:gd name="connsiteY8" fmla="*/ 278613 h 483059"/>
                <a:gd name="connsiteX9" fmla="*/ 171106 w 483059"/>
                <a:gd name="connsiteY9" fmla="*/ 208648 h 483059"/>
                <a:gd name="connsiteX10" fmla="*/ 241070 w 483059"/>
                <a:gd name="connsiteY10" fmla="*/ 138683 h 483059"/>
                <a:gd name="connsiteX11" fmla="*/ 311035 w 483059"/>
                <a:gd name="connsiteY11" fmla="*/ 208648 h 483059"/>
                <a:gd name="connsiteX12" fmla="*/ 241070 w 483059"/>
                <a:gd name="connsiteY12" fmla="*/ 278613 h 483059"/>
                <a:gd name="connsiteX13" fmla="*/ 241070 w 483059"/>
                <a:gd name="connsiteY13" fmla="*/ 364329 h 483059"/>
                <a:gd name="connsiteX14" fmla="*/ 347659 w 483059"/>
                <a:gd name="connsiteY14" fmla="*/ 395833 h 483059"/>
                <a:gd name="connsiteX15" fmla="*/ 251178 w 483059"/>
                <a:gd name="connsiteY15" fmla="*/ 435344 h 483059"/>
                <a:gd name="connsiteX16" fmla="*/ 242383 w 483059"/>
                <a:gd name="connsiteY16" fmla="*/ 435607 h 483059"/>
                <a:gd name="connsiteX17" fmla="*/ 136451 w 483059"/>
                <a:gd name="connsiteY17" fmla="*/ 394520 h 483059"/>
                <a:gd name="connsiteX18" fmla="*/ 241070 w 483059"/>
                <a:gd name="connsiteY18" fmla="*/ 364329 h 483059"/>
                <a:gd name="connsiteX19" fmla="*/ 48503 w 483059"/>
                <a:gd name="connsiteY19" fmla="*/ 241858 h 483059"/>
                <a:gd name="connsiteX20" fmla="*/ 242121 w 483059"/>
                <a:gd name="connsiteY20" fmla="*/ 48240 h 483059"/>
                <a:gd name="connsiteX21" fmla="*/ 435738 w 483059"/>
                <a:gd name="connsiteY21" fmla="*/ 241858 h 483059"/>
                <a:gd name="connsiteX22" fmla="*/ 388482 w 483059"/>
                <a:gd name="connsiteY22" fmla="*/ 368398 h 483059"/>
                <a:gd name="connsiteX23" fmla="*/ 386645 w 483059"/>
                <a:gd name="connsiteY23" fmla="*/ 366692 h 483059"/>
                <a:gd name="connsiteX24" fmla="*/ 278875 w 483059"/>
                <a:gd name="connsiteY24" fmla="*/ 319699 h 483059"/>
                <a:gd name="connsiteX25" fmla="*/ 358291 w 483059"/>
                <a:gd name="connsiteY25" fmla="*/ 208648 h 483059"/>
                <a:gd name="connsiteX26" fmla="*/ 241070 w 483059"/>
                <a:gd name="connsiteY26" fmla="*/ 91427 h 483059"/>
                <a:gd name="connsiteX27" fmla="*/ 123850 w 483059"/>
                <a:gd name="connsiteY27" fmla="*/ 208648 h 483059"/>
                <a:gd name="connsiteX28" fmla="*/ 203397 w 483059"/>
                <a:gd name="connsiteY28" fmla="*/ 319699 h 483059"/>
                <a:gd name="connsiteX29" fmla="*/ 98121 w 483059"/>
                <a:gd name="connsiteY29" fmla="*/ 364461 h 483059"/>
                <a:gd name="connsiteX30" fmla="*/ 94971 w 483059"/>
                <a:gd name="connsiteY30" fmla="*/ 367611 h 483059"/>
                <a:gd name="connsiteX31" fmla="*/ 48503 w 483059"/>
                <a:gd name="connsiteY31" fmla="*/ 241858 h 483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83059" h="483059">
                  <a:moveTo>
                    <a:pt x="242383" y="482731"/>
                  </a:moveTo>
                  <a:cubicBezTo>
                    <a:pt x="242514" y="482731"/>
                    <a:pt x="242646" y="482731"/>
                    <a:pt x="242777" y="482731"/>
                  </a:cubicBezTo>
                  <a:cubicBezTo>
                    <a:pt x="246452" y="482731"/>
                    <a:pt x="249997" y="482600"/>
                    <a:pt x="253672" y="482469"/>
                  </a:cubicBezTo>
                  <a:cubicBezTo>
                    <a:pt x="381000" y="476299"/>
                    <a:pt x="482731" y="370761"/>
                    <a:pt x="482731" y="241858"/>
                  </a:cubicBezTo>
                  <a:cubicBezTo>
                    <a:pt x="482731" y="109017"/>
                    <a:pt x="374699" y="984"/>
                    <a:pt x="241858" y="984"/>
                  </a:cubicBezTo>
                  <a:cubicBezTo>
                    <a:pt x="109017" y="984"/>
                    <a:pt x="984" y="109017"/>
                    <a:pt x="984" y="241858"/>
                  </a:cubicBezTo>
                  <a:cubicBezTo>
                    <a:pt x="984" y="374699"/>
                    <a:pt x="109017" y="482731"/>
                    <a:pt x="241858" y="482731"/>
                  </a:cubicBezTo>
                  <a:cubicBezTo>
                    <a:pt x="242121" y="482731"/>
                    <a:pt x="242252" y="482731"/>
                    <a:pt x="242383" y="482731"/>
                  </a:cubicBezTo>
                  <a:close/>
                  <a:moveTo>
                    <a:pt x="241070" y="278613"/>
                  </a:moveTo>
                  <a:cubicBezTo>
                    <a:pt x="202478" y="278613"/>
                    <a:pt x="171106" y="247240"/>
                    <a:pt x="171106" y="208648"/>
                  </a:cubicBezTo>
                  <a:cubicBezTo>
                    <a:pt x="171106" y="170055"/>
                    <a:pt x="202478" y="138683"/>
                    <a:pt x="241070" y="138683"/>
                  </a:cubicBezTo>
                  <a:cubicBezTo>
                    <a:pt x="279663" y="138683"/>
                    <a:pt x="311035" y="170055"/>
                    <a:pt x="311035" y="208648"/>
                  </a:cubicBezTo>
                  <a:cubicBezTo>
                    <a:pt x="311035" y="247240"/>
                    <a:pt x="279663" y="278613"/>
                    <a:pt x="241070" y="278613"/>
                  </a:cubicBezTo>
                  <a:close/>
                  <a:moveTo>
                    <a:pt x="241070" y="364329"/>
                  </a:moveTo>
                  <a:cubicBezTo>
                    <a:pt x="282419" y="364329"/>
                    <a:pt x="321537" y="376012"/>
                    <a:pt x="347659" y="395833"/>
                  </a:cubicBezTo>
                  <a:cubicBezTo>
                    <a:pt x="320749" y="419724"/>
                    <a:pt x="287014" y="433507"/>
                    <a:pt x="251178" y="435344"/>
                  </a:cubicBezTo>
                  <a:cubicBezTo>
                    <a:pt x="248290" y="435476"/>
                    <a:pt x="245402" y="435607"/>
                    <a:pt x="242383" y="435607"/>
                  </a:cubicBezTo>
                  <a:cubicBezTo>
                    <a:pt x="202741" y="435476"/>
                    <a:pt x="165461" y="421036"/>
                    <a:pt x="136451" y="394520"/>
                  </a:cubicBezTo>
                  <a:cubicBezTo>
                    <a:pt x="162573" y="375356"/>
                    <a:pt x="200903" y="364329"/>
                    <a:pt x="241070" y="364329"/>
                  </a:cubicBezTo>
                  <a:close/>
                  <a:moveTo>
                    <a:pt x="48503" y="241858"/>
                  </a:moveTo>
                  <a:cubicBezTo>
                    <a:pt x="48503" y="135139"/>
                    <a:pt x="135401" y="48240"/>
                    <a:pt x="242121" y="48240"/>
                  </a:cubicBezTo>
                  <a:cubicBezTo>
                    <a:pt x="348840" y="48240"/>
                    <a:pt x="435738" y="135139"/>
                    <a:pt x="435738" y="241858"/>
                  </a:cubicBezTo>
                  <a:cubicBezTo>
                    <a:pt x="435738" y="290164"/>
                    <a:pt x="417886" y="334532"/>
                    <a:pt x="388482" y="368398"/>
                  </a:cubicBezTo>
                  <a:cubicBezTo>
                    <a:pt x="387958" y="367742"/>
                    <a:pt x="387301" y="367217"/>
                    <a:pt x="386645" y="366692"/>
                  </a:cubicBezTo>
                  <a:cubicBezTo>
                    <a:pt x="359604" y="342145"/>
                    <a:pt x="321537" y="325868"/>
                    <a:pt x="278875" y="319699"/>
                  </a:cubicBezTo>
                  <a:cubicBezTo>
                    <a:pt x="325081" y="303947"/>
                    <a:pt x="358291" y="260104"/>
                    <a:pt x="358291" y="208648"/>
                  </a:cubicBezTo>
                  <a:cubicBezTo>
                    <a:pt x="358291" y="143933"/>
                    <a:pt x="305653" y="91427"/>
                    <a:pt x="241070" y="91427"/>
                  </a:cubicBezTo>
                  <a:cubicBezTo>
                    <a:pt x="176488" y="91427"/>
                    <a:pt x="123850" y="144065"/>
                    <a:pt x="123850" y="208648"/>
                  </a:cubicBezTo>
                  <a:cubicBezTo>
                    <a:pt x="123850" y="260104"/>
                    <a:pt x="157191" y="303947"/>
                    <a:pt x="203397" y="319699"/>
                  </a:cubicBezTo>
                  <a:cubicBezTo>
                    <a:pt x="162179" y="325606"/>
                    <a:pt x="125031" y="341226"/>
                    <a:pt x="98121" y="364461"/>
                  </a:cubicBezTo>
                  <a:cubicBezTo>
                    <a:pt x="96940" y="365379"/>
                    <a:pt x="95890" y="366429"/>
                    <a:pt x="94971" y="367611"/>
                  </a:cubicBezTo>
                  <a:cubicBezTo>
                    <a:pt x="65961" y="333613"/>
                    <a:pt x="48503" y="289770"/>
                    <a:pt x="48503" y="24185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MX" dirty="0"/>
            </a:p>
          </p:txBody>
        </p:sp>
        <p:sp>
          <p:nvSpPr>
            <p:cNvPr id="22" name="Forma libre 88">
              <a:extLst>
                <a:ext uri="{FF2B5EF4-FFF2-40B4-BE49-F238E27FC236}">
                  <a16:creationId xmlns:a16="http://schemas.microsoft.com/office/drawing/2014/main" id="{6DB0D9D7-58D9-51FB-A791-8117792DFD18}"/>
                </a:ext>
              </a:extLst>
            </p:cNvPr>
            <p:cNvSpPr/>
            <p:nvPr/>
          </p:nvSpPr>
          <p:spPr>
            <a:xfrm>
              <a:off x="5471501" y="3141199"/>
              <a:ext cx="483059" cy="761344"/>
            </a:xfrm>
            <a:custGeom>
              <a:avLst/>
              <a:gdLst>
                <a:gd name="connsiteX0" fmla="*/ 482863 w 483059"/>
                <a:gd name="connsiteY0" fmla="*/ 520667 h 761343"/>
                <a:gd name="connsiteX1" fmla="*/ 255641 w 483059"/>
                <a:gd name="connsiteY1" fmla="*/ 280188 h 761343"/>
                <a:gd name="connsiteX2" fmla="*/ 256429 w 483059"/>
                <a:gd name="connsiteY2" fmla="*/ 279925 h 761343"/>
                <a:gd name="connsiteX3" fmla="*/ 257478 w 483059"/>
                <a:gd name="connsiteY3" fmla="*/ 279663 h 761343"/>
                <a:gd name="connsiteX4" fmla="*/ 258660 w 483059"/>
                <a:gd name="connsiteY4" fmla="*/ 279269 h 761343"/>
                <a:gd name="connsiteX5" fmla="*/ 259710 w 483059"/>
                <a:gd name="connsiteY5" fmla="*/ 278875 h 761343"/>
                <a:gd name="connsiteX6" fmla="*/ 260760 w 483059"/>
                <a:gd name="connsiteY6" fmla="*/ 278350 h 761343"/>
                <a:gd name="connsiteX7" fmla="*/ 261811 w 483059"/>
                <a:gd name="connsiteY7" fmla="*/ 277825 h 761343"/>
                <a:gd name="connsiteX8" fmla="*/ 262729 w 483059"/>
                <a:gd name="connsiteY8" fmla="*/ 277300 h 761343"/>
                <a:gd name="connsiteX9" fmla="*/ 263780 w 483059"/>
                <a:gd name="connsiteY9" fmla="*/ 276643 h 761343"/>
                <a:gd name="connsiteX10" fmla="*/ 264829 w 483059"/>
                <a:gd name="connsiteY10" fmla="*/ 275856 h 761343"/>
                <a:gd name="connsiteX11" fmla="*/ 265749 w 483059"/>
                <a:gd name="connsiteY11" fmla="*/ 275199 h 761343"/>
                <a:gd name="connsiteX12" fmla="*/ 267455 w 483059"/>
                <a:gd name="connsiteY12" fmla="*/ 273624 h 761343"/>
                <a:gd name="connsiteX13" fmla="*/ 267455 w 483059"/>
                <a:gd name="connsiteY13" fmla="*/ 273624 h 761343"/>
                <a:gd name="connsiteX14" fmla="*/ 324424 w 483059"/>
                <a:gd name="connsiteY14" fmla="*/ 216655 h 761343"/>
                <a:gd name="connsiteX15" fmla="*/ 324424 w 483059"/>
                <a:gd name="connsiteY15" fmla="*/ 183182 h 761343"/>
                <a:gd name="connsiteX16" fmla="*/ 290951 w 483059"/>
                <a:gd name="connsiteY16" fmla="*/ 183182 h 761343"/>
                <a:gd name="connsiteX17" fmla="*/ 274281 w 483059"/>
                <a:gd name="connsiteY17" fmla="*/ 199853 h 761343"/>
                <a:gd name="connsiteX18" fmla="*/ 274281 w 483059"/>
                <a:gd name="connsiteY18" fmla="*/ 128969 h 761343"/>
                <a:gd name="connsiteX19" fmla="*/ 212060 w 483059"/>
                <a:gd name="connsiteY19" fmla="*/ 20018 h 761343"/>
                <a:gd name="connsiteX20" fmla="*/ 69636 w 483059"/>
                <a:gd name="connsiteY20" fmla="*/ 984 h 761343"/>
                <a:gd name="connsiteX21" fmla="*/ 46009 w 483059"/>
                <a:gd name="connsiteY21" fmla="*/ 24612 h 761343"/>
                <a:gd name="connsiteX22" fmla="*/ 69636 w 483059"/>
                <a:gd name="connsiteY22" fmla="*/ 48240 h 761343"/>
                <a:gd name="connsiteX23" fmla="*/ 192370 w 483059"/>
                <a:gd name="connsiteY23" fmla="*/ 62942 h 761343"/>
                <a:gd name="connsiteX24" fmla="*/ 227025 w 483059"/>
                <a:gd name="connsiteY24" fmla="*/ 128838 h 761343"/>
                <a:gd name="connsiteX25" fmla="*/ 227025 w 483059"/>
                <a:gd name="connsiteY25" fmla="*/ 199721 h 761343"/>
                <a:gd name="connsiteX26" fmla="*/ 210354 w 483059"/>
                <a:gd name="connsiteY26" fmla="*/ 183051 h 761343"/>
                <a:gd name="connsiteX27" fmla="*/ 176881 w 483059"/>
                <a:gd name="connsiteY27" fmla="*/ 183051 h 761343"/>
                <a:gd name="connsiteX28" fmla="*/ 176881 w 483059"/>
                <a:gd name="connsiteY28" fmla="*/ 216523 h 761343"/>
                <a:gd name="connsiteX29" fmla="*/ 233851 w 483059"/>
                <a:gd name="connsiteY29" fmla="*/ 273493 h 761343"/>
                <a:gd name="connsiteX30" fmla="*/ 235557 w 483059"/>
                <a:gd name="connsiteY30" fmla="*/ 275068 h 761343"/>
                <a:gd name="connsiteX31" fmla="*/ 236344 w 483059"/>
                <a:gd name="connsiteY31" fmla="*/ 275725 h 761343"/>
                <a:gd name="connsiteX32" fmla="*/ 237395 w 483059"/>
                <a:gd name="connsiteY32" fmla="*/ 276512 h 761343"/>
                <a:gd name="connsiteX33" fmla="*/ 238445 w 483059"/>
                <a:gd name="connsiteY33" fmla="*/ 277168 h 761343"/>
                <a:gd name="connsiteX34" fmla="*/ 239364 w 483059"/>
                <a:gd name="connsiteY34" fmla="*/ 277694 h 761343"/>
                <a:gd name="connsiteX35" fmla="*/ 240414 w 483059"/>
                <a:gd name="connsiteY35" fmla="*/ 278219 h 761343"/>
                <a:gd name="connsiteX36" fmla="*/ 241464 w 483059"/>
                <a:gd name="connsiteY36" fmla="*/ 278744 h 761343"/>
                <a:gd name="connsiteX37" fmla="*/ 242514 w 483059"/>
                <a:gd name="connsiteY37" fmla="*/ 279137 h 761343"/>
                <a:gd name="connsiteX38" fmla="*/ 243695 w 483059"/>
                <a:gd name="connsiteY38" fmla="*/ 279531 h 761343"/>
                <a:gd name="connsiteX39" fmla="*/ 244090 w 483059"/>
                <a:gd name="connsiteY39" fmla="*/ 279663 h 761343"/>
                <a:gd name="connsiteX40" fmla="*/ 241858 w 483059"/>
                <a:gd name="connsiteY40" fmla="*/ 279663 h 761343"/>
                <a:gd name="connsiteX41" fmla="*/ 984 w 483059"/>
                <a:gd name="connsiteY41" fmla="*/ 520536 h 761343"/>
                <a:gd name="connsiteX42" fmla="*/ 241858 w 483059"/>
                <a:gd name="connsiteY42" fmla="*/ 761409 h 761343"/>
                <a:gd name="connsiteX43" fmla="*/ 242251 w 483059"/>
                <a:gd name="connsiteY43" fmla="*/ 761409 h 761343"/>
                <a:gd name="connsiteX44" fmla="*/ 242646 w 483059"/>
                <a:gd name="connsiteY44" fmla="*/ 761409 h 761343"/>
                <a:gd name="connsiteX45" fmla="*/ 253540 w 483059"/>
                <a:gd name="connsiteY45" fmla="*/ 761147 h 761343"/>
                <a:gd name="connsiteX46" fmla="*/ 482863 w 483059"/>
                <a:gd name="connsiteY46" fmla="*/ 520667 h 761343"/>
                <a:gd name="connsiteX47" fmla="*/ 48372 w 483059"/>
                <a:gd name="connsiteY47" fmla="*/ 520667 h 761343"/>
                <a:gd name="connsiteX48" fmla="*/ 241989 w 483059"/>
                <a:gd name="connsiteY48" fmla="*/ 327049 h 761343"/>
                <a:gd name="connsiteX49" fmla="*/ 435607 w 483059"/>
                <a:gd name="connsiteY49" fmla="*/ 520667 h 761343"/>
                <a:gd name="connsiteX50" fmla="*/ 388351 w 483059"/>
                <a:gd name="connsiteY50" fmla="*/ 647208 h 761343"/>
                <a:gd name="connsiteX51" fmla="*/ 386513 w 483059"/>
                <a:gd name="connsiteY51" fmla="*/ 645501 h 761343"/>
                <a:gd name="connsiteX52" fmla="*/ 278744 w 483059"/>
                <a:gd name="connsiteY52" fmla="*/ 598508 h 761343"/>
                <a:gd name="connsiteX53" fmla="*/ 358160 w 483059"/>
                <a:gd name="connsiteY53" fmla="*/ 487457 h 761343"/>
                <a:gd name="connsiteX54" fmla="*/ 240939 w 483059"/>
                <a:gd name="connsiteY54" fmla="*/ 370236 h 761343"/>
                <a:gd name="connsiteX55" fmla="*/ 123718 w 483059"/>
                <a:gd name="connsiteY55" fmla="*/ 487457 h 761343"/>
                <a:gd name="connsiteX56" fmla="*/ 203266 w 483059"/>
                <a:gd name="connsiteY56" fmla="*/ 598508 h 761343"/>
                <a:gd name="connsiteX57" fmla="*/ 97990 w 483059"/>
                <a:gd name="connsiteY57" fmla="*/ 643270 h 761343"/>
                <a:gd name="connsiteX58" fmla="*/ 94840 w 483059"/>
                <a:gd name="connsiteY58" fmla="*/ 646420 h 761343"/>
                <a:gd name="connsiteX59" fmla="*/ 48372 w 483059"/>
                <a:gd name="connsiteY59" fmla="*/ 520667 h 761343"/>
                <a:gd name="connsiteX60" fmla="*/ 242383 w 483059"/>
                <a:gd name="connsiteY60" fmla="*/ 714285 h 761343"/>
                <a:gd name="connsiteX61" fmla="*/ 136451 w 483059"/>
                <a:gd name="connsiteY61" fmla="*/ 673199 h 761343"/>
                <a:gd name="connsiteX62" fmla="*/ 241070 w 483059"/>
                <a:gd name="connsiteY62" fmla="*/ 643138 h 761343"/>
                <a:gd name="connsiteX63" fmla="*/ 347659 w 483059"/>
                <a:gd name="connsiteY63" fmla="*/ 674642 h 761343"/>
                <a:gd name="connsiteX64" fmla="*/ 251178 w 483059"/>
                <a:gd name="connsiteY64" fmla="*/ 714154 h 761343"/>
                <a:gd name="connsiteX65" fmla="*/ 242383 w 483059"/>
                <a:gd name="connsiteY65" fmla="*/ 714285 h 761343"/>
                <a:gd name="connsiteX66" fmla="*/ 240939 w 483059"/>
                <a:gd name="connsiteY66" fmla="*/ 557553 h 761343"/>
                <a:gd name="connsiteX67" fmla="*/ 170974 w 483059"/>
                <a:gd name="connsiteY67" fmla="*/ 487588 h 761343"/>
                <a:gd name="connsiteX68" fmla="*/ 240939 w 483059"/>
                <a:gd name="connsiteY68" fmla="*/ 417623 h 761343"/>
                <a:gd name="connsiteX69" fmla="*/ 310904 w 483059"/>
                <a:gd name="connsiteY69" fmla="*/ 487588 h 761343"/>
                <a:gd name="connsiteX70" fmla="*/ 240939 w 483059"/>
                <a:gd name="connsiteY70" fmla="*/ 557553 h 761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483059" h="761343">
                  <a:moveTo>
                    <a:pt x="482863" y="520667"/>
                  </a:moveTo>
                  <a:cubicBezTo>
                    <a:pt x="482863" y="392420"/>
                    <a:pt x="382181" y="287276"/>
                    <a:pt x="255641" y="280188"/>
                  </a:cubicBezTo>
                  <a:cubicBezTo>
                    <a:pt x="255904" y="280188"/>
                    <a:pt x="256166" y="280056"/>
                    <a:pt x="256429" y="279925"/>
                  </a:cubicBezTo>
                  <a:cubicBezTo>
                    <a:pt x="256822" y="279794"/>
                    <a:pt x="257085" y="279794"/>
                    <a:pt x="257478" y="279663"/>
                  </a:cubicBezTo>
                  <a:cubicBezTo>
                    <a:pt x="257873" y="279531"/>
                    <a:pt x="258266" y="279400"/>
                    <a:pt x="258660" y="279269"/>
                  </a:cubicBezTo>
                  <a:cubicBezTo>
                    <a:pt x="259054" y="279137"/>
                    <a:pt x="259316" y="279006"/>
                    <a:pt x="259710" y="278875"/>
                  </a:cubicBezTo>
                  <a:cubicBezTo>
                    <a:pt x="260104" y="278744"/>
                    <a:pt x="260367" y="278612"/>
                    <a:pt x="260760" y="278350"/>
                  </a:cubicBezTo>
                  <a:cubicBezTo>
                    <a:pt x="261154" y="278219"/>
                    <a:pt x="261548" y="277956"/>
                    <a:pt x="261811" y="277825"/>
                  </a:cubicBezTo>
                  <a:cubicBezTo>
                    <a:pt x="262073" y="277694"/>
                    <a:pt x="262467" y="277431"/>
                    <a:pt x="262729" y="277300"/>
                  </a:cubicBezTo>
                  <a:cubicBezTo>
                    <a:pt x="263123" y="277037"/>
                    <a:pt x="263385" y="276906"/>
                    <a:pt x="263780" y="276643"/>
                  </a:cubicBezTo>
                  <a:cubicBezTo>
                    <a:pt x="264173" y="276381"/>
                    <a:pt x="264436" y="276118"/>
                    <a:pt x="264829" y="275856"/>
                  </a:cubicBezTo>
                  <a:cubicBezTo>
                    <a:pt x="265092" y="275593"/>
                    <a:pt x="265354" y="275462"/>
                    <a:pt x="265749" y="275199"/>
                  </a:cubicBezTo>
                  <a:cubicBezTo>
                    <a:pt x="266405" y="274674"/>
                    <a:pt x="266930" y="274149"/>
                    <a:pt x="267455" y="273624"/>
                  </a:cubicBezTo>
                  <a:cubicBezTo>
                    <a:pt x="267455" y="273624"/>
                    <a:pt x="267455" y="273624"/>
                    <a:pt x="267455" y="273624"/>
                  </a:cubicBezTo>
                  <a:lnTo>
                    <a:pt x="324424" y="216655"/>
                  </a:lnTo>
                  <a:cubicBezTo>
                    <a:pt x="333613" y="207466"/>
                    <a:pt x="333613" y="192502"/>
                    <a:pt x="324424" y="183182"/>
                  </a:cubicBezTo>
                  <a:cubicBezTo>
                    <a:pt x="315236" y="173993"/>
                    <a:pt x="300271" y="173993"/>
                    <a:pt x="290951" y="183182"/>
                  </a:cubicBezTo>
                  <a:lnTo>
                    <a:pt x="274281" y="199853"/>
                  </a:lnTo>
                  <a:lnTo>
                    <a:pt x="274281" y="128969"/>
                  </a:lnTo>
                  <a:cubicBezTo>
                    <a:pt x="274281" y="74887"/>
                    <a:pt x="253935" y="39314"/>
                    <a:pt x="212060" y="20018"/>
                  </a:cubicBezTo>
                  <a:cubicBezTo>
                    <a:pt x="177537" y="4135"/>
                    <a:pt x="131988" y="984"/>
                    <a:pt x="69636" y="984"/>
                  </a:cubicBezTo>
                  <a:cubicBezTo>
                    <a:pt x="56641" y="984"/>
                    <a:pt x="46009" y="11617"/>
                    <a:pt x="46009" y="24612"/>
                  </a:cubicBezTo>
                  <a:cubicBezTo>
                    <a:pt x="46009" y="37608"/>
                    <a:pt x="56641" y="48240"/>
                    <a:pt x="69636" y="48240"/>
                  </a:cubicBezTo>
                  <a:cubicBezTo>
                    <a:pt x="123981" y="48240"/>
                    <a:pt x="165724" y="50734"/>
                    <a:pt x="192370" y="62942"/>
                  </a:cubicBezTo>
                  <a:cubicBezTo>
                    <a:pt x="209566" y="70818"/>
                    <a:pt x="227025" y="84732"/>
                    <a:pt x="227025" y="128838"/>
                  </a:cubicBezTo>
                  <a:lnTo>
                    <a:pt x="227025" y="199721"/>
                  </a:lnTo>
                  <a:lnTo>
                    <a:pt x="210354" y="183051"/>
                  </a:lnTo>
                  <a:cubicBezTo>
                    <a:pt x="201165" y="173862"/>
                    <a:pt x="186201" y="173862"/>
                    <a:pt x="176881" y="183051"/>
                  </a:cubicBezTo>
                  <a:cubicBezTo>
                    <a:pt x="167693" y="192239"/>
                    <a:pt x="167693" y="207204"/>
                    <a:pt x="176881" y="216523"/>
                  </a:cubicBezTo>
                  <a:lnTo>
                    <a:pt x="233851" y="273493"/>
                  </a:lnTo>
                  <a:cubicBezTo>
                    <a:pt x="234375" y="274018"/>
                    <a:pt x="235032" y="274543"/>
                    <a:pt x="235557" y="275068"/>
                  </a:cubicBezTo>
                  <a:cubicBezTo>
                    <a:pt x="235820" y="275331"/>
                    <a:pt x="236082" y="275462"/>
                    <a:pt x="236344" y="275725"/>
                  </a:cubicBezTo>
                  <a:cubicBezTo>
                    <a:pt x="236739" y="275987"/>
                    <a:pt x="237001" y="276250"/>
                    <a:pt x="237395" y="276512"/>
                  </a:cubicBezTo>
                  <a:cubicBezTo>
                    <a:pt x="237789" y="276775"/>
                    <a:pt x="238051" y="276906"/>
                    <a:pt x="238445" y="277168"/>
                  </a:cubicBezTo>
                  <a:cubicBezTo>
                    <a:pt x="238708" y="277300"/>
                    <a:pt x="239101" y="277562"/>
                    <a:pt x="239364" y="277694"/>
                  </a:cubicBezTo>
                  <a:cubicBezTo>
                    <a:pt x="239758" y="277825"/>
                    <a:pt x="240020" y="278087"/>
                    <a:pt x="240414" y="278219"/>
                  </a:cubicBezTo>
                  <a:cubicBezTo>
                    <a:pt x="240808" y="278350"/>
                    <a:pt x="241070" y="278612"/>
                    <a:pt x="241464" y="278744"/>
                  </a:cubicBezTo>
                  <a:cubicBezTo>
                    <a:pt x="241858" y="278875"/>
                    <a:pt x="242121" y="279006"/>
                    <a:pt x="242514" y="279137"/>
                  </a:cubicBezTo>
                  <a:cubicBezTo>
                    <a:pt x="242908" y="279269"/>
                    <a:pt x="243302" y="279400"/>
                    <a:pt x="243695" y="279531"/>
                  </a:cubicBezTo>
                  <a:cubicBezTo>
                    <a:pt x="243827" y="279531"/>
                    <a:pt x="243958" y="279663"/>
                    <a:pt x="244090" y="279663"/>
                  </a:cubicBezTo>
                  <a:cubicBezTo>
                    <a:pt x="243302" y="279663"/>
                    <a:pt x="242646" y="279663"/>
                    <a:pt x="241858" y="279663"/>
                  </a:cubicBezTo>
                  <a:cubicBezTo>
                    <a:pt x="109016" y="279663"/>
                    <a:pt x="984" y="387695"/>
                    <a:pt x="984" y="520536"/>
                  </a:cubicBezTo>
                  <a:cubicBezTo>
                    <a:pt x="984" y="653377"/>
                    <a:pt x="109016" y="761409"/>
                    <a:pt x="241858" y="761409"/>
                  </a:cubicBezTo>
                  <a:cubicBezTo>
                    <a:pt x="241989" y="761409"/>
                    <a:pt x="242121" y="761409"/>
                    <a:pt x="242251" y="761409"/>
                  </a:cubicBezTo>
                  <a:cubicBezTo>
                    <a:pt x="242383" y="761409"/>
                    <a:pt x="242514" y="761409"/>
                    <a:pt x="242646" y="761409"/>
                  </a:cubicBezTo>
                  <a:cubicBezTo>
                    <a:pt x="246321" y="761409"/>
                    <a:pt x="249865" y="761278"/>
                    <a:pt x="253540" y="761147"/>
                  </a:cubicBezTo>
                  <a:cubicBezTo>
                    <a:pt x="381131" y="755109"/>
                    <a:pt x="482863" y="649571"/>
                    <a:pt x="482863" y="520667"/>
                  </a:cubicBezTo>
                  <a:close/>
                  <a:moveTo>
                    <a:pt x="48372" y="520667"/>
                  </a:moveTo>
                  <a:cubicBezTo>
                    <a:pt x="48372" y="413948"/>
                    <a:pt x="135270" y="327049"/>
                    <a:pt x="241989" y="327049"/>
                  </a:cubicBezTo>
                  <a:cubicBezTo>
                    <a:pt x="348708" y="327049"/>
                    <a:pt x="435607" y="413948"/>
                    <a:pt x="435607" y="520667"/>
                  </a:cubicBezTo>
                  <a:cubicBezTo>
                    <a:pt x="435607" y="568973"/>
                    <a:pt x="417755" y="613341"/>
                    <a:pt x="388351" y="647208"/>
                  </a:cubicBezTo>
                  <a:cubicBezTo>
                    <a:pt x="387826" y="646551"/>
                    <a:pt x="387170" y="646026"/>
                    <a:pt x="386513" y="645501"/>
                  </a:cubicBezTo>
                  <a:cubicBezTo>
                    <a:pt x="359472" y="620955"/>
                    <a:pt x="321405" y="604677"/>
                    <a:pt x="278744" y="598508"/>
                  </a:cubicBezTo>
                  <a:cubicBezTo>
                    <a:pt x="324949" y="582756"/>
                    <a:pt x="358160" y="538913"/>
                    <a:pt x="358160" y="487457"/>
                  </a:cubicBezTo>
                  <a:cubicBezTo>
                    <a:pt x="358160" y="422743"/>
                    <a:pt x="305522" y="370236"/>
                    <a:pt x="240939" y="370236"/>
                  </a:cubicBezTo>
                  <a:cubicBezTo>
                    <a:pt x="176356" y="370236"/>
                    <a:pt x="123718" y="422874"/>
                    <a:pt x="123718" y="487457"/>
                  </a:cubicBezTo>
                  <a:cubicBezTo>
                    <a:pt x="123718" y="538913"/>
                    <a:pt x="157060" y="582756"/>
                    <a:pt x="203266" y="598508"/>
                  </a:cubicBezTo>
                  <a:cubicBezTo>
                    <a:pt x="162048" y="604415"/>
                    <a:pt x="124900" y="620036"/>
                    <a:pt x="97990" y="643270"/>
                  </a:cubicBezTo>
                  <a:cubicBezTo>
                    <a:pt x="96809" y="644189"/>
                    <a:pt x="95759" y="645239"/>
                    <a:pt x="94840" y="646420"/>
                  </a:cubicBezTo>
                  <a:cubicBezTo>
                    <a:pt x="65961" y="612553"/>
                    <a:pt x="48372" y="568579"/>
                    <a:pt x="48372" y="520667"/>
                  </a:cubicBezTo>
                  <a:close/>
                  <a:moveTo>
                    <a:pt x="242383" y="714285"/>
                  </a:moveTo>
                  <a:cubicBezTo>
                    <a:pt x="202741" y="714154"/>
                    <a:pt x="165461" y="699714"/>
                    <a:pt x="136451" y="673199"/>
                  </a:cubicBezTo>
                  <a:cubicBezTo>
                    <a:pt x="162573" y="654296"/>
                    <a:pt x="200903" y="643138"/>
                    <a:pt x="241070" y="643138"/>
                  </a:cubicBezTo>
                  <a:cubicBezTo>
                    <a:pt x="282419" y="643138"/>
                    <a:pt x="321537" y="654821"/>
                    <a:pt x="347659" y="674642"/>
                  </a:cubicBezTo>
                  <a:cubicBezTo>
                    <a:pt x="320749" y="698533"/>
                    <a:pt x="287013" y="712316"/>
                    <a:pt x="251178" y="714154"/>
                  </a:cubicBezTo>
                  <a:cubicBezTo>
                    <a:pt x="248290" y="714154"/>
                    <a:pt x="245271" y="714285"/>
                    <a:pt x="242383" y="714285"/>
                  </a:cubicBezTo>
                  <a:close/>
                  <a:moveTo>
                    <a:pt x="240939" y="557553"/>
                  </a:moveTo>
                  <a:cubicBezTo>
                    <a:pt x="202347" y="557553"/>
                    <a:pt x="170974" y="526181"/>
                    <a:pt x="170974" y="487588"/>
                  </a:cubicBezTo>
                  <a:cubicBezTo>
                    <a:pt x="170974" y="448996"/>
                    <a:pt x="202347" y="417623"/>
                    <a:pt x="240939" y="417623"/>
                  </a:cubicBezTo>
                  <a:cubicBezTo>
                    <a:pt x="279532" y="417623"/>
                    <a:pt x="310904" y="448996"/>
                    <a:pt x="310904" y="487588"/>
                  </a:cubicBezTo>
                  <a:cubicBezTo>
                    <a:pt x="310904" y="526049"/>
                    <a:pt x="279532" y="557553"/>
                    <a:pt x="240939" y="55755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MX" dirty="0"/>
            </a:p>
          </p:txBody>
        </p:sp>
        <p:sp>
          <p:nvSpPr>
            <p:cNvPr id="23" name="Forma libre 89">
              <a:extLst>
                <a:ext uri="{FF2B5EF4-FFF2-40B4-BE49-F238E27FC236}">
                  <a16:creationId xmlns:a16="http://schemas.microsoft.com/office/drawing/2014/main" id="{20135598-D83C-ED0D-299E-1DA9A3630D4A}"/>
                </a:ext>
              </a:extLst>
            </p:cNvPr>
            <p:cNvSpPr/>
            <p:nvPr/>
          </p:nvSpPr>
          <p:spPr>
            <a:xfrm>
              <a:off x="5165585" y="3443899"/>
              <a:ext cx="286160" cy="280910"/>
            </a:xfrm>
            <a:custGeom>
              <a:avLst/>
              <a:gdLst>
                <a:gd name="connsiteX0" fmla="*/ 262926 w 286160"/>
                <a:gd name="connsiteY0" fmla="*/ 233063 h 280909"/>
                <a:gd name="connsiteX1" fmla="*/ 140192 w 286160"/>
                <a:gd name="connsiteY1" fmla="*/ 218361 h 280909"/>
                <a:gd name="connsiteX2" fmla="*/ 105538 w 286160"/>
                <a:gd name="connsiteY2" fmla="*/ 152466 h 280909"/>
                <a:gd name="connsiteX3" fmla="*/ 105538 w 286160"/>
                <a:gd name="connsiteY3" fmla="*/ 81582 h 280909"/>
                <a:gd name="connsiteX4" fmla="*/ 122209 w 286160"/>
                <a:gd name="connsiteY4" fmla="*/ 98253 h 280909"/>
                <a:gd name="connsiteX5" fmla="*/ 138880 w 286160"/>
                <a:gd name="connsiteY5" fmla="*/ 105210 h 280909"/>
                <a:gd name="connsiteX6" fmla="*/ 155550 w 286160"/>
                <a:gd name="connsiteY6" fmla="*/ 98253 h 280909"/>
                <a:gd name="connsiteX7" fmla="*/ 155550 w 286160"/>
                <a:gd name="connsiteY7" fmla="*/ 64780 h 280909"/>
                <a:gd name="connsiteX8" fmla="*/ 98581 w 286160"/>
                <a:gd name="connsiteY8" fmla="*/ 7810 h 280909"/>
                <a:gd name="connsiteX9" fmla="*/ 98450 w 286160"/>
                <a:gd name="connsiteY9" fmla="*/ 7810 h 280909"/>
                <a:gd name="connsiteX10" fmla="*/ 96743 w 286160"/>
                <a:gd name="connsiteY10" fmla="*/ 6366 h 280909"/>
                <a:gd name="connsiteX11" fmla="*/ 95956 w 286160"/>
                <a:gd name="connsiteY11" fmla="*/ 5710 h 280909"/>
                <a:gd name="connsiteX12" fmla="*/ 94905 w 286160"/>
                <a:gd name="connsiteY12" fmla="*/ 4922 h 280909"/>
                <a:gd name="connsiteX13" fmla="*/ 93855 w 286160"/>
                <a:gd name="connsiteY13" fmla="*/ 4266 h 280909"/>
                <a:gd name="connsiteX14" fmla="*/ 92937 w 286160"/>
                <a:gd name="connsiteY14" fmla="*/ 3741 h 280909"/>
                <a:gd name="connsiteX15" fmla="*/ 91886 w 286160"/>
                <a:gd name="connsiteY15" fmla="*/ 3216 h 280909"/>
                <a:gd name="connsiteX16" fmla="*/ 90836 w 286160"/>
                <a:gd name="connsiteY16" fmla="*/ 2691 h 280909"/>
                <a:gd name="connsiteX17" fmla="*/ 89786 w 286160"/>
                <a:gd name="connsiteY17" fmla="*/ 2297 h 280909"/>
                <a:gd name="connsiteX18" fmla="*/ 88605 w 286160"/>
                <a:gd name="connsiteY18" fmla="*/ 1903 h 280909"/>
                <a:gd name="connsiteX19" fmla="*/ 87554 w 286160"/>
                <a:gd name="connsiteY19" fmla="*/ 1641 h 280909"/>
                <a:gd name="connsiteX20" fmla="*/ 86373 w 286160"/>
                <a:gd name="connsiteY20" fmla="*/ 1378 h 280909"/>
                <a:gd name="connsiteX21" fmla="*/ 85192 w 286160"/>
                <a:gd name="connsiteY21" fmla="*/ 1247 h 280909"/>
                <a:gd name="connsiteX22" fmla="*/ 84142 w 286160"/>
                <a:gd name="connsiteY22" fmla="*/ 1116 h 280909"/>
                <a:gd name="connsiteX23" fmla="*/ 81779 w 286160"/>
                <a:gd name="connsiteY23" fmla="*/ 984 h 280909"/>
                <a:gd name="connsiteX24" fmla="*/ 81779 w 286160"/>
                <a:gd name="connsiteY24" fmla="*/ 984 h 280909"/>
                <a:gd name="connsiteX25" fmla="*/ 81779 w 286160"/>
                <a:gd name="connsiteY25" fmla="*/ 984 h 280909"/>
                <a:gd name="connsiteX26" fmla="*/ 81779 w 286160"/>
                <a:gd name="connsiteY26" fmla="*/ 984 h 280909"/>
                <a:gd name="connsiteX27" fmla="*/ 79416 w 286160"/>
                <a:gd name="connsiteY27" fmla="*/ 1116 h 280909"/>
                <a:gd name="connsiteX28" fmla="*/ 78366 w 286160"/>
                <a:gd name="connsiteY28" fmla="*/ 1247 h 280909"/>
                <a:gd name="connsiteX29" fmla="*/ 77053 w 286160"/>
                <a:gd name="connsiteY29" fmla="*/ 1378 h 280909"/>
                <a:gd name="connsiteX30" fmla="*/ 75872 w 286160"/>
                <a:gd name="connsiteY30" fmla="*/ 1641 h 280909"/>
                <a:gd name="connsiteX31" fmla="*/ 74691 w 286160"/>
                <a:gd name="connsiteY31" fmla="*/ 1903 h 280909"/>
                <a:gd name="connsiteX32" fmla="*/ 73640 w 286160"/>
                <a:gd name="connsiteY32" fmla="*/ 2297 h 280909"/>
                <a:gd name="connsiteX33" fmla="*/ 72590 w 286160"/>
                <a:gd name="connsiteY33" fmla="*/ 2691 h 280909"/>
                <a:gd name="connsiteX34" fmla="*/ 71671 w 286160"/>
                <a:gd name="connsiteY34" fmla="*/ 3085 h 280909"/>
                <a:gd name="connsiteX35" fmla="*/ 70490 w 286160"/>
                <a:gd name="connsiteY35" fmla="*/ 3610 h 280909"/>
                <a:gd name="connsiteX36" fmla="*/ 69571 w 286160"/>
                <a:gd name="connsiteY36" fmla="*/ 4135 h 280909"/>
                <a:gd name="connsiteX37" fmla="*/ 68521 w 286160"/>
                <a:gd name="connsiteY37" fmla="*/ 4791 h 280909"/>
                <a:gd name="connsiteX38" fmla="*/ 67602 w 286160"/>
                <a:gd name="connsiteY38" fmla="*/ 5447 h 280909"/>
                <a:gd name="connsiteX39" fmla="*/ 66815 w 286160"/>
                <a:gd name="connsiteY39" fmla="*/ 6104 h 280909"/>
                <a:gd name="connsiteX40" fmla="*/ 66683 w 286160"/>
                <a:gd name="connsiteY40" fmla="*/ 6104 h 280909"/>
                <a:gd name="connsiteX41" fmla="*/ 64977 w 286160"/>
                <a:gd name="connsiteY41" fmla="*/ 7548 h 280909"/>
                <a:gd name="connsiteX42" fmla="*/ 64846 w 286160"/>
                <a:gd name="connsiteY42" fmla="*/ 7679 h 280909"/>
                <a:gd name="connsiteX43" fmla="*/ 7876 w 286160"/>
                <a:gd name="connsiteY43" fmla="*/ 64649 h 280909"/>
                <a:gd name="connsiteX44" fmla="*/ 7876 w 286160"/>
                <a:gd name="connsiteY44" fmla="*/ 98121 h 280909"/>
                <a:gd name="connsiteX45" fmla="*/ 24547 w 286160"/>
                <a:gd name="connsiteY45" fmla="*/ 105078 h 280909"/>
                <a:gd name="connsiteX46" fmla="*/ 41218 w 286160"/>
                <a:gd name="connsiteY46" fmla="*/ 98121 h 280909"/>
                <a:gd name="connsiteX47" fmla="*/ 57889 w 286160"/>
                <a:gd name="connsiteY47" fmla="*/ 81450 h 280909"/>
                <a:gd name="connsiteX48" fmla="*/ 57889 w 286160"/>
                <a:gd name="connsiteY48" fmla="*/ 152334 h 280909"/>
                <a:gd name="connsiteX49" fmla="*/ 120109 w 286160"/>
                <a:gd name="connsiteY49" fmla="*/ 261285 h 280909"/>
                <a:gd name="connsiteX50" fmla="*/ 262533 w 286160"/>
                <a:gd name="connsiteY50" fmla="*/ 280319 h 280909"/>
                <a:gd name="connsiteX51" fmla="*/ 286161 w 286160"/>
                <a:gd name="connsiteY51" fmla="*/ 256691 h 280909"/>
                <a:gd name="connsiteX52" fmla="*/ 262926 w 286160"/>
                <a:gd name="connsiteY52" fmla="*/ 233063 h 280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286160" h="280909">
                  <a:moveTo>
                    <a:pt x="262926" y="233063"/>
                  </a:moveTo>
                  <a:cubicBezTo>
                    <a:pt x="208582" y="233063"/>
                    <a:pt x="166839" y="230569"/>
                    <a:pt x="140192" y="218361"/>
                  </a:cubicBezTo>
                  <a:cubicBezTo>
                    <a:pt x="122996" y="210485"/>
                    <a:pt x="105538" y="196571"/>
                    <a:pt x="105538" y="152466"/>
                  </a:cubicBezTo>
                  <a:lnTo>
                    <a:pt x="105538" y="81582"/>
                  </a:lnTo>
                  <a:lnTo>
                    <a:pt x="122209" y="98253"/>
                  </a:lnTo>
                  <a:cubicBezTo>
                    <a:pt x="126803" y="102847"/>
                    <a:pt x="132841" y="105210"/>
                    <a:pt x="138880" y="105210"/>
                  </a:cubicBezTo>
                  <a:cubicBezTo>
                    <a:pt x="144918" y="105210"/>
                    <a:pt x="150956" y="102847"/>
                    <a:pt x="155550" y="98253"/>
                  </a:cubicBezTo>
                  <a:cubicBezTo>
                    <a:pt x="164739" y="89064"/>
                    <a:pt x="164739" y="74100"/>
                    <a:pt x="155550" y="64780"/>
                  </a:cubicBezTo>
                  <a:lnTo>
                    <a:pt x="98581" y="7810"/>
                  </a:lnTo>
                  <a:cubicBezTo>
                    <a:pt x="98581" y="7810"/>
                    <a:pt x="98581" y="7810"/>
                    <a:pt x="98450" y="7810"/>
                  </a:cubicBezTo>
                  <a:cubicBezTo>
                    <a:pt x="97925" y="7285"/>
                    <a:pt x="97399" y="6760"/>
                    <a:pt x="96743" y="6366"/>
                  </a:cubicBezTo>
                  <a:cubicBezTo>
                    <a:pt x="96481" y="6104"/>
                    <a:pt x="96218" y="5972"/>
                    <a:pt x="95956" y="5710"/>
                  </a:cubicBezTo>
                  <a:cubicBezTo>
                    <a:pt x="95562" y="5447"/>
                    <a:pt x="95299" y="5185"/>
                    <a:pt x="94905" y="4922"/>
                  </a:cubicBezTo>
                  <a:cubicBezTo>
                    <a:pt x="94512" y="4660"/>
                    <a:pt x="94249" y="4529"/>
                    <a:pt x="93855" y="4266"/>
                  </a:cubicBezTo>
                  <a:cubicBezTo>
                    <a:pt x="93593" y="4135"/>
                    <a:pt x="93199" y="3872"/>
                    <a:pt x="92937" y="3741"/>
                  </a:cubicBezTo>
                  <a:cubicBezTo>
                    <a:pt x="92543" y="3610"/>
                    <a:pt x="92280" y="3347"/>
                    <a:pt x="91886" y="3216"/>
                  </a:cubicBezTo>
                  <a:cubicBezTo>
                    <a:pt x="91492" y="3085"/>
                    <a:pt x="91230" y="2822"/>
                    <a:pt x="90836" y="2691"/>
                  </a:cubicBezTo>
                  <a:cubicBezTo>
                    <a:pt x="90443" y="2560"/>
                    <a:pt x="90180" y="2428"/>
                    <a:pt x="89786" y="2297"/>
                  </a:cubicBezTo>
                  <a:cubicBezTo>
                    <a:pt x="89392" y="2166"/>
                    <a:pt x="88999" y="2034"/>
                    <a:pt x="88605" y="1903"/>
                  </a:cubicBezTo>
                  <a:cubicBezTo>
                    <a:pt x="88211" y="1772"/>
                    <a:pt x="87948" y="1772"/>
                    <a:pt x="87554" y="1641"/>
                  </a:cubicBezTo>
                  <a:cubicBezTo>
                    <a:pt x="87161" y="1509"/>
                    <a:pt x="86767" y="1378"/>
                    <a:pt x="86373" y="1378"/>
                  </a:cubicBezTo>
                  <a:cubicBezTo>
                    <a:pt x="85979" y="1247"/>
                    <a:pt x="85585" y="1247"/>
                    <a:pt x="85192" y="1247"/>
                  </a:cubicBezTo>
                  <a:cubicBezTo>
                    <a:pt x="84798" y="1247"/>
                    <a:pt x="84536" y="1116"/>
                    <a:pt x="84142" y="1116"/>
                  </a:cubicBezTo>
                  <a:cubicBezTo>
                    <a:pt x="83354" y="984"/>
                    <a:pt x="82567" y="984"/>
                    <a:pt x="81779" y="984"/>
                  </a:cubicBezTo>
                  <a:cubicBezTo>
                    <a:pt x="81779" y="984"/>
                    <a:pt x="81779" y="984"/>
                    <a:pt x="81779" y="984"/>
                  </a:cubicBezTo>
                  <a:cubicBezTo>
                    <a:pt x="81779" y="984"/>
                    <a:pt x="81779" y="984"/>
                    <a:pt x="81779" y="984"/>
                  </a:cubicBezTo>
                  <a:cubicBezTo>
                    <a:pt x="81779" y="984"/>
                    <a:pt x="81779" y="984"/>
                    <a:pt x="81779" y="984"/>
                  </a:cubicBezTo>
                  <a:cubicBezTo>
                    <a:pt x="80991" y="984"/>
                    <a:pt x="80204" y="984"/>
                    <a:pt x="79416" y="1116"/>
                  </a:cubicBezTo>
                  <a:cubicBezTo>
                    <a:pt x="79022" y="1116"/>
                    <a:pt x="78760" y="1247"/>
                    <a:pt x="78366" y="1247"/>
                  </a:cubicBezTo>
                  <a:cubicBezTo>
                    <a:pt x="77972" y="1247"/>
                    <a:pt x="77447" y="1378"/>
                    <a:pt x="77053" y="1378"/>
                  </a:cubicBezTo>
                  <a:cubicBezTo>
                    <a:pt x="76660" y="1509"/>
                    <a:pt x="76266" y="1509"/>
                    <a:pt x="75872" y="1641"/>
                  </a:cubicBezTo>
                  <a:cubicBezTo>
                    <a:pt x="75478" y="1772"/>
                    <a:pt x="75084" y="1772"/>
                    <a:pt x="74691" y="1903"/>
                  </a:cubicBezTo>
                  <a:cubicBezTo>
                    <a:pt x="74297" y="2034"/>
                    <a:pt x="74034" y="2166"/>
                    <a:pt x="73640" y="2297"/>
                  </a:cubicBezTo>
                  <a:cubicBezTo>
                    <a:pt x="73247" y="2428"/>
                    <a:pt x="72853" y="2560"/>
                    <a:pt x="72590" y="2691"/>
                  </a:cubicBezTo>
                  <a:cubicBezTo>
                    <a:pt x="72196" y="2822"/>
                    <a:pt x="71934" y="2953"/>
                    <a:pt x="71671" y="3085"/>
                  </a:cubicBezTo>
                  <a:cubicBezTo>
                    <a:pt x="71278" y="3216"/>
                    <a:pt x="70884" y="3478"/>
                    <a:pt x="70490" y="3610"/>
                  </a:cubicBezTo>
                  <a:cubicBezTo>
                    <a:pt x="70227" y="3741"/>
                    <a:pt x="69834" y="4003"/>
                    <a:pt x="69571" y="4135"/>
                  </a:cubicBezTo>
                  <a:cubicBezTo>
                    <a:pt x="69177" y="4397"/>
                    <a:pt x="68784" y="4529"/>
                    <a:pt x="68521" y="4791"/>
                  </a:cubicBezTo>
                  <a:cubicBezTo>
                    <a:pt x="68258" y="5054"/>
                    <a:pt x="67865" y="5316"/>
                    <a:pt x="67602" y="5447"/>
                  </a:cubicBezTo>
                  <a:cubicBezTo>
                    <a:pt x="67340" y="5710"/>
                    <a:pt x="67077" y="5841"/>
                    <a:pt x="66815" y="6104"/>
                  </a:cubicBezTo>
                  <a:cubicBezTo>
                    <a:pt x="66815" y="6104"/>
                    <a:pt x="66815" y="6104"/>
                    <a:pt x="66683" y="6104"/>
                  </a:cubicBezTo>
                  <a:cubicBezTo>
                    <a:pt x="66158" y="6629"/>
                    <a:pt x="65502" y="7023"/>
                    <a:pt x="64977" y="7548"/>
                  </a:cubicBezTo>
                  <a:cubicBezTo>
                    <a:pt x="64977" y="7548"/>
                    <a:pt x="64977" y="7548"/>
                    <a:pt x="64846" y="7679"/>
                  </a:cubicBezTo>
                  <a:lnTo>
                    <a:pt x="7876" y="64649"/>
                  </a:lnTo>
                  <a:cubicBezTo>
                    <a:pt x="-1313" y="73837"/>
                    <a:pt x="-1313" y="88801"/>
                    <a:pt x="7876" y="98121"/>
                  </a:cubicBezTo>
                  <a:cubicBezTo>
                    <a:pt x="12470" y="102716"/>
                    <a:pt x="18509" y="105078"/>
                    <a:pt x="24547" y="105078"/>
                  </a:cubicBezTo>
                  <a:cubicBezTo>
                    <a:pt x="30585" y="105078"/>
                    <a:pt x="36623" y="102716"/>
                    <a:pt x="41218" y="98121"/>
                  </a:cubicBezTo>
                  <a:lnTo>
                    <a:pt x="57889" y="81450"/>
                  </a:lnTo>
                  <a:lnTo>
                    <a:pt x="57889" y="152334"/>
                  </a:lnTo>
                  <a:cubicBezTo>
                    <a:pt x="57889" y="206416"/>
                    <a:pt x="78235" y="241989"/>
                    <a:pt x="120109" y="261285"/>
                  </a:cubicBezTo>
                  <a:cubicBezTo>
                    <a:pt x="154632" y="277168"/>
                    <a:pt x="200181" y="280319"/>
                    <a:pt x="262533" y="280319"/>
                  </a:cubicBezTo>
                  <a:cubicBezTo>
                    <a:pt x="275528" y="280319"/>
                    <a:pt x="286161" y="269686"/>
                    <a:pt x="286161" y="256691"/>
                  </a:cubicBezTo>
                  <a:cubicBezTo>
                    <a:pt x="286161" y="243695"/>
                    <a:pt x="275921" y="233063"/>
                    <a:pt x="262926" y="23306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MX" dirty="0"/>
            </a:p>
          </p:txBody>
        </p:sp>
      </p:grpSp>
      <p:sp>
        <p:nvSpPr>
          <p:cNvPr id="20" name="Forma libre 6">
            <a:extLst>
              <a:ext uri="{FF2B5EF4-FFF2-40B4-BE49-F238E27FC236}">
                <a16:creationId xmlns:a16="http://schemas.microsoft.com/office/drawing/2014/main" id="{7BB07F77-2BD5-4A63-A3B6-BFE919E258E3}"/>
              </a:ext>
            </a:extLst>
          </p:cNvPr>
          <p:cNvSpPr/>
          <p:nvPr/>
        </p:nvSpPr>
        <p:spPr>
          <a:xfrm>
            <a:off x="1503876" y="2224574"/>
            <a:ext cx="357293" cy="384104"/>
          </a:xfrm>
          <a:custGeom>
            <a:avLst/>
            <a:gdLst>
              <a:gd name="connsiteX0" fmla="*/ 317463 w 452622"/>
              <a:gd name="connsiteY0" fmla="*/ 34297 h 486587"/>
              <a:gd name="connsiteX1" fmla="*/ 260018 w 452622"/>
              <a:gd name="connsiteY1" fmla="*/ 34224 h 486587"/>
              <a:gd name="connsiteX2" fmla="*/ 255366 w 452622"/>
              <a:gd name="connsiteY2" fmla="*/ 27652 h 486587"/>
              <a:gd name="connsiteX3" fmla="*/ 168829 w 452622"/>
              <a:gd name="connsiteY3" fmla="*/ 554 h 486587"/>
              <a:gd name="connsiteX4" fmla="*/ 82292 w 452622"/>
              <a:gd name="connsiteY4" fmla="*/ 27652 h 486587"/>
              <a:gd name="connsiteX5" fmla="*/ 77640 w 452622"/>
              <a:gd name="connsiteY5" fmla="*/ 34224 h 486587"/>
              <a:gd name="connsiteX6" fmla="*/ 20194 w 452622"/>
              <a:gd name="connsiteY6" fmla="*/ 34224 h 486587"/>
              <a:gd name="connsiteX7" fmla="*/ 554 w 452622"/>
              <a:gd name="connsiteY7" fmla="*/ 60805 h 486587"/>
              <a:gd name="connsiteX8" fmla="*/ 554 w 452622"/>
              <a:gd name="connsiteY8" fmla="*/ 471487 h 486587"/>
              <a:gd name="connsiteX9" fmla="*/ 15174 w 452622"/>
              <a:gd name="connsiteY9" fmla="*/ 486107 h 486587"/>
              <a:gd name="connsiteX10" fmla="*/ 322484 w 452622"/>
              <a:gd name="connsiteY10" fmla="*/ 486181 h 486587"/>
              <a:gd name="connsiteX11" fmla="*/ 337104 w 452622"/>
              <a:gd name="connsiteY11" fmla="*/ 471561 h 486587"/>
              <a:gd name="connsiteX12" fmla="*/ 337104 w 452622"/>
              <a:gd name="connsiteY12" fmla="*/ 60805 h 486587"/>
              <a:gd name="connsiteX13" fmla="*/ 317463 w 452622"/>
              <a:gd name="connsiteY13" fmla="*/ 34297 h 486587"/>
              <a:gd name="connsiteX14" fmla="*/ 103040 w 452622"/>
              <a:gd name="connsiteY14" fmla="*/ 44635 h 486587"/>
              <a:gd name="connsiteX15" fmla="*/ 168829 w 452622"/>
              <a:gd name="connsiteY15" fmla="*/ 27135 h 486587"/>
              <a:gd name="connsiteX16" fmla="*/ 234618 w 452622"/>
              <a:gd name="connsiteY16" fmla="*/ 44635 h 486587"/>
              <a:gd name="connsiteX17" fmla="*/ 234618 w 452622"/>
              <a:gd name="connsiteY17" fmla="*/ 47514 h 486587"/>
              <a:gd name="connsiteX18" fmla="*/ 103040 w 452622"/>
              <a:gd name="connsiteY18" fmla="*/ 47514 h 486587"/>
              <a:gd name="connsiteX19" fmla="*/ 103040 w 452622"/>
              <a:gd name="connsiteY19" fmla="*/ 44635 h 486587"/>
              <a:gd name="connsiteX20" fmla="*/ 310522 w 452622"/>
              <a:gd name="connsiteY20" fmla="*/ 459526 h 486587"/>
              <a:gd name="connsiteX21" fmla="*/ 27209 w 452622"/>
              <a:gd name="connsiteY21" fmla="*/ 459526 h 486587"/>
              <a:gd name="connsiteX22" fmla="*/ 27209 w 452622"/>
              <a:gd name="connsiteY22" fmla="*/ 60805 h 486587"/>
              <a:gd name="connsiteX23" fmla="*/ 76532 w 452622"/>
              <a:gd name="connsiteY23" fmla="*/ 60805 h 486587"/>
              <a:gd name="connsiteX24" fmla="*/ 92703 w 452622"/>
              <a:gd name="connsiteY24" fmla="*/ 74096 h 486587"/>
              <a:gd name="connsiteX25" fmla="*/ 245029 w 452622"/>
              <a:gd name="connsiteY25" fmla="*/ 74096 h 486587"/>
              <a:gd name="connsiteX26" fmla="*/ 261273 w 452622"/>
              <a:gd name="connsiteY26" fmla="*/ 60805 h 486587"/>
              <a:gd name="connsiteX27" fmla="*/ 310596 w 452622"/>
              <a:gd name="connsiteY27" fmla="*/ 60805 h 486587"/>
              <a:gd name="connsiteX28" fmla="*/ 310596 w 452622"/>
              <a:gd name="connsiteY28" fmla="*/ 459526 h 486587"/>
              <a:gd name="connsiteX29" fmla="*/ 268583 w 452622"/>
              <a:gd name="connsiteY29" fmla="*/ 153914 h 486587"/>
              <a:gd name="connsiteX30" fmla="*/ 281874 w 452622"/>
              <a:gd name="connsiteY30" fmla="*/ 167204 h 486587"/>
              <a:gd name="connsiteX31" fmla="*/ 268583 w 452622"/>
              <a:gd name="connsiteY31" fmla="*/ 180495 h 486587"/>
              <a:gd name="connsiteX32" fmla="*/ 162257 w 452622"/>
              <a:gd name="connsiteY32" fmla="*/ 180495 h 486587"/>
              <a:gd name="connsiteX33" fmla="*/ 148967 w 452622"/>
              <a:gd name="connsiteY33" fmla="*/ 167204 h 486587"/>
              <a:gd name="connsiteX34" fmla="*/ 162257 w 452622"/>
              <a:gd name="connsiteY34" fmla="*/ 153914 h 486587"/>
              <a:gd name="connsiteX35" fmla="*/ 268583 w 452622"/>
              <a:gd name="connsiteY35" fmla="*/ 153914 h 486587"/>
              <a:gd name="connsiteX36" fmla="*/ 281874 w 452622"/>
              <a:gd name="connsiteY36" fmla="*/ 273530 h 486587"/>
              <a:gd name="connsiteX37" fmla="*/ 268583 w 452622"/>
              <a:gd name="connsiteY37" fmla="*/ 286821 h 486587"/>
              <a:gd name="connsiteX38" fmla="*/ 162257 w 452622"/>
              <a:gd name="connsiteY38" fmla="*/ 286821 h 486587"/>
              <a:gd name="connsiteX39" fmla="*/ 148967 w 452622"/>
              <a:gd name="connsiteY39" fmla="*/ 273530 h 486587"/>
              <a:gd name="connsiteX40" fmla="*/ 162257 w 452622"/>
              <a:gd name="connsiteY40" fmla="*/ 260239 h 486587"/>
              <a:gd name="connsiteX41" fmla="*/ 268583 w 452622"/>
              <a:gd name="connsiteY41" fmla="*/ 260239 h 486587"/>
              <a:gd name="connsiteX42" fmla="*/ 281874 w 452622"/>
              <a:gd name="connsiteY42" fmla="*/ 273530 h 486587"/>
              <a:gd name="connsiteX43" fmla="*/ 281874 w 452622"/>
              <a:gd name="connsiteY43" fmla="*/ 379856 h 486587"/>
              <a:gd name="connsiteX44" fmla="*/ 268583 w 452622"/>
              <a:gd name="connsiteY44" fmla="*/ 393146 h 486587"/>
              <a:gd name="connsiteX45" fmla="*/ 162257 w 452622"/>
              <a:gd name="connsiteY45" fmla="*/ 393146 h 486587"/>
              <a:gd name="connsiteX46" fmla="*/ 148967 w 452622"/>
              <a:gd name="connsiteY46" fmla="*/ 379856 h 486587"/>
              <a:gd name="connsiteX47" fmla="*/ 162257 w 452622"/>
              <a:gd name="connsiteY47" fmla="*/ 366565 h 486587"/>
              <a:gd name="connsiteX48" fmla="*/ 268583 w 452622"/>
              <a:gd name="connsiteY48" fmla="*/ 366565 h 486587"/>
              <a:gd name="connsiteX49" fmla="*/ 281874 w 452622"/>
              <a:gd name="connsiteY49" fmla="*/ 379856 h 486587"/>
              <a:gd name="connsiteX50" fmla="*/ 69222 w 452622"/>
              <a:gd name="connsiteY50" fmla="*/ 207003 h 486587"/>
              <a:gd name="connsiteX51" fmla="*/ 122385 w 452622"/>
              <a:gd name="connsiteY51" fmla="*/ 207003 h 486587"/>
              <a:gd name="connsiteX52" fmla="*/ 135676 w 452622"/>
              <a:gd name="connsiteY52" fmla="*/ 193712 h 486587"/>
              <a:gd name="connsiteX53" fmla="*/ 135676 w 452622"/>
              <a:gd name="connsiteY53" fmla="*/ 140549 h 486587"/>
              <a:gd name="connsiteX54" fmla="*/ 122385 w 452622"/>
              <a:gd name="connsiteY54" fmla="*/ 127258 h 486587"/>
              <a:gd name="connsiteX55" fmla="*/ 69222 w 452622"/>
              <a:gd name="connsiteY55" fmla="*/ 127258 h 486587"/>
              <a:gd name="connsiteX56" fmla="*/ 55932 w 452622"/>
              <a:gd name="connsiteY56" fmla="*/ 140549 h 486587"/>
              <a:gd name="connsiteX57" fmla="*/ 55932 w 452622"/>
              <a:gd name="connsiteY57" fmla="*/ 193712 h 486587"/>
              <a:gd name="connsiteX58" fmla="*/ 69222 w 452622"/>
              <a:gd name="connsiteY58" fmla="*/ 207003 h 486587"/>
              <a:gd name="connsiteX59" fmla="*/ 82513 w 452622"/>
              <a:gd name="connsiteY59" fmla="*/ 153840 h 486587"/>
              <a:gd name="connsiteX60" fmla="*/ 109094 w 452622"/>
              <a:gd name="connsiteY60" fmla="*/ 153840 h 486587"/>
              <a:gd name="connsiteX61" fmla="*/ 109094 w 452622"/>
              <a:gd name="connsiteY61" fmla="*/ 180421 h 486587"/>
              <a:gd name="connsiteX62" fmla="*/ 82513 w 452622"/>
              <a:gd name="connsiteY62" fmla="*/ 180421 h 486587"/>
              <a:gd name="connsiteX63" fmla="*/ 82513 w 452622"/>
              <a:gd name="connsiteY63" fmla="*/ 153840 h 486587"/>
              <a:gd name="connsiteX64" fmla="*/ 122385 w 452622"/>
              <a:gd name="connsiteY64" fmla="*/ 233658 h 486587"/>
              <a:gd name="connsiteX65" fmla="*/ 69222 w 452622"/>
              <a:gd name="connsiteY65" fmla="*/ 233658 h 486587"/>
              <a:gd name="connsiteX66" fmla="*/ 55932 w 452622"/>
              <a:gd name="connsiteY66" fmla="*/ 246949 h 486587"/>
              <a:gd name="connsiteX67" fmla="*/ 55932 w 452622"/>
              <a:gd name="connsiteY67" fmla="*/ 300111 h 486587"/>
              <a:gd name="connsiteX68" fmla="*/ 69222 w 452622"/>
              <a:gd name="connsiteY68" fmla="*/ 313402 h 486587"/>
              <a:gd name="connsiteX69" fmla="*/ 122385 w 452622"/>
              <a:gd name="connsiteY69" fmla="*/ 313402 h 486587"/>
              <a:gd name="connsiteX70" fmla="*/ 135676 w 452622"/>
              <a:gd name="connsiteY70" fmla="*/ 300111 h 486587"/>
              <a:gd name="connsiteX71" fmla="*/ 135676 w 452622"/>
              <a:gd name="connsiteY71" fmla="*/ 246949 h 486587"/>
              <a:gd name="connsiteX72" fmla="*/ 122385 w 452622"/>
              <a:gd name="connsiteY72" fmla="*/ 233658 h 486587"/>
              <a:gd name="connsiteX73" fmla="*/ 109094 w 452622"/>
              <a:gd name="connsiteY73" fmla="*/ 286821 h 486587"/>
              <a:gd name="connsiteX74" fmla="*/ 82513 w 452622"/>
              <a:gd name="connsiteY74" fmla="*/ 286821 h 486587"/>
              <a:gd name="connsiteX75" fmla="*/ 82513 w 452622"/>
              <a:gd name="connsiteY75" fmla="*/ 260239 h 486587"/>
              <a:gd name="connsiteX76" fmla="*/ 109094 w 452622"/>
              <a:gd name="connsiteY76" fmla="*/ 260239 h 486587"/>
              <a:gd name="connsiteX77" fmla="*/ 109094 w 452622"/>
              <a:gd name="connsiteY77" fmla="*/ 286821 h 486587"/>
              <a:gd name="connsiteX78" fmla="*/ 122311 w 452622"/>
              <a:gd name="connsiteY78" fmla="*/ 339983 h 486587"/>
              <a:gd name="connsiteX79" fmla="*/ 69149 w 452622"/>
              <a:gd name="connsiteY79" fmla="*/ 339983 h 486587"/>
              <a:gd name="connsiteX80" fmla="*/ 55858 w 452622"/>
              <a:gd name="connsiteY80" fmla="*/ 353274 h 486587"/>
              <a:gd name="connsiteX81" fmla="*/ 55858 w 452622"/>
              <a:gd name="connsiteY81" fmla="*/ 406437 h 486587"/>
              <a:gd name="connsiteX82" fmla="*/ 69149 w 452622"/>
              <a:gd name="connsiteY82" fmla="*/ 419728 h 486587"/>
              <a:gd name="connsiteX83" fmla="*/ 122311 w 452622"/>
              <a:gd name="connsiteY83" fmla="*/ 419728 h 486587"/>
              <a:gd name="connsiteX84" fmla="*/ 135602 w 452622"/>
              <a:gd name="connsiteY84" fmla="*/ 406437 h 486587"/>
              <a:gd name="connsiteX85" fmla="*/ 135602 w 452622"/>
              <a:gd name="connsiteY85" fmla="*/ 353274 h 486587"/>
              <a:gd name="connsiteX86" fmla="*/ 122311 w 452622"/>
              <a:gd name="connsiteY86" fmla="*/ 339983 h 486587"/>
              <a:gd name="connsiteX87" fmla="*/ 109021 w 452622"/>
              <a:gd name="connsiteY87" fmla="*/ 393146 h 486587"/>
              <a:gd name="connsiteX88" fmla="*/ 82439 w 452622"/>
              <a:gd name="connsiteY88" fmla="*/ 393146 h 486587"/>
              <a:gd name="connsiteX89" fmla="*/ 82439 w 452622"/>
              <a:gd name="connsiteY89" fmla="*/ 366565 h 486587"/>
              <a:gd name="connsiteX90" fmla="*/ 109021 w 452622"/>
              <a:gd name="connsiteY90" fmla="*/ 366565 h 486587"/>
              <a:gd name="connsiteX91" fmla="*/ 109021 w 452622"/>
              <a:gd name="connsiteY91" fmla="*/ 393146 h 486587"/>
              <a:gd name="connsiteX92" fmla="*/ 450296 w 452622"/>
              <a:gd name="connsiteY92" fmla="*/ 169493 h 486587"/>
              <a:gd name="connsiteX93" fmla="*/ 423715 w 452622"/>
              <a:gd name="connsiteY93" fmla="*/ 129621 h 486587"/>
              <a:gd name="connsiteX94" fmla="*/ 412565 w 452622"/>
              <a:gd name="connsiteY94" fmla="*/ 123714 h 486587"/>
              <a:gd name="connsiteX95" fmla="*/ 401490 w 452622"/>
              <a:gd name="connsiteY95" fmla="*/ 129769 h 486587"/>
              <a:gd name="connsiteX96" fmla="*/ 375425 w 452622"/>
              <a:gd name="connsiteY96" fmla="*/ 169641 h 486587"/>
              <a:gd name="connsiteX97" fmla="*/ 373284 w 452622"/>
              <a:gd name="connsiteY97" fmla="*/ 176877 h 486587"/>
              <a:gd name="connsiteX98" fmla="*/ 372767 w 452622"/>
              <a:gd name="connsiteY98" fmla="*/ 469199 h 486587"/>
              <a:gd name="connsiteX99" fmla="*/ 376681 w 452622"/>
              <a:gd name="connsiteY99" fmla="*/ 478576 h 486587"/>
              <a:gd name="connsiteX100" fmla="*/ 386058 w 452622"/>
              <a:gd name="connsiteY100" fmla="*/ 482489 h 486587"/>
              <a:gd name="connsiteX101" fmla="*/ 439221 w 452622"/>
              <a:gd name="connsiteY101" fmla="*/ 482489 h 486587"/>
              <a:gd name="connsiteX102" fmla="*/ 452511 w 452622"/>
              <a:gd name="connsiteY102" fmla="*/ 469199 h 486587"/>
              <a:gd name="connsiteX103" fmla="*/ 452511 w 452622"/>
              <a:gd name="connsiteY103" fmla="*/ 176803 h 486587"/>
              <a:gd name="connsiteX104" fmla="*/ 450296 w 452622"/>
              <a:gd name="connsiteY104" fmla="*/ 169493 h 486587"/>
              <a:gd name="connsiteX105" fmla="*/ 412713 w 452622"/>
              <a:gd name="connsiteY105" fmla="*/ 161076 h 486587"/>
              <a:gd name="connsiteX106" fmla="*/ 425930 w 452622"/>
              <a:gd name="connsiteY106" fmla="*/ 180864 h 486587"/>
              <a:gd name="connsiteX107" fmla="*/ 425930 w 452622"/>
              <a:gd name="connsiteY107" fmla="*/ 416110 h 486587"/>
              <a:gd name="connsiteX108" fmla="*/ 399422 w 452622"/>
              <a:gd name="connsiteY108" fmla="*/ 416110 h 486587"/>
              <a:gd name="connsiteX109" fmla="*/ 399865 w 452622"/>
              <a:gd name="connsiteY109" fmla="*/ 180864 h 486587"/>
              <a:gd name="connsiteX110" fmla="*/ 412713 w 452622"/>
              <a:gd name="connsiteY110" fmla="*/ 161076 h 486587"/>
              <a:gd name="connsiteX111" fmla="*/ 399349 w 452622"/>
              <a:gd name="connsiteY111" fmla="*/ 455982 h 486587"/>
              <a:gd name="connsiteX112" fmla="*/ 399349 w 452622"/>
              <a:gd name="connsiteY112" fmla="*/ 442691 h 486587"/>
              <a:gd name="connsiteX113" fmla="*/ 425856 w 452622"/>
              <a:gd name="connsiteY113" fmla="*/ 442691 h 486587"/>
              <a:gd name="connsiteX114" fmla="*/ 425856 w 452622"/>
              <a:gd name="connsiteY114" fmla="*/ 455982 h 486587"/>
              <a:gd name="connsiteX115" fmla="*/ 399349 w 452622"/>
              <a:gd name="connsiteY115" fmla="*/ 455982 h 4865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</a:cxnLst>
            <a:rect l="l" t="t" r="r" b="b"/>
            <a:pathLst>
              <a:path w="452622" h="486587">
                <a:moveTo>
                  <a:pt x="317463" y="34297"/>
                </a:moveTo>
                <a:lnTo>
                  <a:pt x="260018" y="34224"/>
                </a:lnTo>
                <a:cubicBezTo>
                  <a:pt x="259058" y="32008"/>
                  <a:pt x="257507" y="29793"/>
                  <a:pt x="255366" y="27652"/>
                </a:cubicBezTo>
                <a:cubicBezTo>
                  <a:pt x="238900" y="10965"/>
                  <a:pt x="205747" y="554"/>
                  <a:pt x="168829" y="554"/>
                </a:cubicBezTo>
                <a:cubicBezTo>
                  <a:pt x="131910" y="554"/>
                  <a:pt x="98757" y="10965"/>
                  <a:pt x="82292" y="27652"/>
                </a:cubicBezTo>
                <a:cubicBezTo>
                  <a:pt x="80150" y="29793"/>
                  <a:pt x="78600" y="32008"/>
                  <a:pt x="77640" y="34224"/>
                </a:cubicBezTo>
                <a:lnTo>
                  <a:pt x="20194" y="34224"/>
                </a:lnTo>
                <a:cubicBezTo>
                  <a:pt x="8824" y="34224"/>
                  <a:pt x="554" y="45373"/>
                  <a:pt x="554" y="60805"/>
                </a:cubicBezTo>
                <a:lnTo>
                  <a:pt x="554" y="471487"/>
                </a:lnTo>
                <a:cubicBezTo>
                  <a:pt x="554" y="479536"/>
                  <a:pt x="7125" y="486107"/>
                  <a:pt x="15174" y="486107"/>
                </a:cubicBezTo>
                <a:lnTo>
                  <a:pt x="322484" y="486181"/>
                </a:lnTo>
                <a:cubicBezTo>
                  <a:pt x="330532" y="486181"/>
                  <a:pt x="337104" y="479610"/>
                  <a:pt x="337104" y="471561"/>
                </a:cubicBezTo>
                <a:lnTo>
                  <a:pt x="337104" y="60805"/>
                </a:lnTo>
                <a:cubicBezTo>
                  <a:pt x="337104" y="45447"/>
                  <a:pt x="328834" y="34297"/>
                  <a:pt x="317463" y="34297"/>
                </a:cubicBezTo>
                <a:moveTo>
                  <a:pt x="103040" y="44635"/>
                </a:moveTo>
                <a:cubicBezTo>
                  <a:pt x="113525" y="35700"/>
                  <a:pt x="137153" y="27135"/>
                  <a:pt x="168829" y="27135"/>
                </a:cubicBezTo>
                <a:cubicBezTo>
                  <a:pt x="200505" y="27135"/>
                  <a:pt x="224133" y="35700"/>
                  <a:pt x="234618" y="44635"/>
                </a:cubicBezTo>
                <a:lnTo>
                  <a:pt x="234618" y="47514"/>
                </a:lnTo>
                <a:lnTo>
                  <a:pt x="103040" y="47514"/>
                </a:lnTo>
                <a:lnTo>
                  <a:pt x="103040" y="44635"/>
                </a:lnTo>
                <a:close/>
                <a:moveTo>
                  <a:pt x="310522" y="459526"/>
                </a:moveTo>
                <a:lnTo>
                  <a:pt x="27209" y="459526"/>
                </a:lnTo>
                <a:lnTo>
                  <a:pt x="27209" y="60805"/>
                </a:lnTo>
                <a:lnTo>
                  <a:pt x="76532" y="60805"/>
                </a:lnTo>
                <a:cubicBezTo>
                  <a:pt x="76754" y="66047"/>
                  <a:pt x="80446" y="74096"/>
                  <a:pt x="92703" y="74096"/>
                </a:cubicBezTo>
                <a:lnTo>
                  <a:pt x="245029" y="74096"/>
                </a:lnTo>
                <a:cubicBezTo>
                  <a:pt x="257360" y="74096"/>
                  <a:pt x="260978" y="66047"/>
                  <a:pt x="261273" y="60805"/>
                </a:cubicBezTo>
                <a:lnTo>
                  <a:pt x="310596" y="60805"/>
                </a:lnTo>
                <a:lnTo>
                  <a:pt x="310596" y="459526"/>
                </a:lnTo>
                <a:close/>
                <a:moveTo>
                  <a:pt x="268583" y="153914"/>
                </a:moveTo>
                <a:cubicBezTo>
                  <a:pt x="275893" y="153914"/>
                  <a:pt x="281874" y="159894"/>
                  <a:pt x="281874" y="167204"/>
                </a:cubicBezTo>
                <a:cubicBezTo>
                  <a:pt x="281874" y="174514"/>
                  <a:pt x="275893" y="180495"/>
                  <a:pt x="268583" y="180495"/>
                </a:cubicBezTo>
                <a:lnTo>
                  <a:pt x="162257" y="180495"/>
                </a:lnTo>
                <a:cubicBezTo>
                  <a:pt x="154947" y="180495"/>
                  <a:pt x="148967" y="174514"/>
                  <a:pt x="148967" y="167204"/>
                </a:cubicBezTo>
                <a:cubicBezTo>
                  <a:pt x="148967" y="159894"/>
                  <a:pt x="154947" y="153914"/>
                  <a:pt x="162257" y="153914"/>
                </a:cubicBezTo>
                <a:lnTo>
                  <a:pt x="268583" y="153914"/>
                </a:lnTo>
                <a:close/>
                <a:moveTo>
                  <a:pt x="281874" y="273530"/>
                </a:moveTo>
                <a:cubicBezTo>
                  <a:pt x="281874" y="280840"/>
                  <a:pt x="275893" y="286821"/>
                  <a:pt x="268583" y="286821"/>
                </a:cubicBezTo>
                <a:lnTo>
                  <a:pt x="162257" y="286821"/>
                </a:lnTo>
                <a:cubicBezTo>
                  <a:pt x="154947" y="286821"/>
                  <a:pt x="148967" y="280840"/>
                  <a:pt x="148967" y="273530"/>
                </a:cubicBezTo>
                <a:cubicBezTo>
                  <a:pt x="148967" y="266220"/>
                  <a:pt x="154947" y="260239"/>
                  <a:pt x="162257" y="260239"/>
                </a:cubicBezTo>
                <a:lnTo>
                  <a:pt x="268583" y="260239"/>
                </a:lnTo>
                <a:cubicBezTo>
                  <a:pt x="275893" y="260239"/>
                  <a:pt x="281874" y="266220"/>
                  <a:pt x="281874" y="273530"/>
                </a:cubicBezTo>
                <a:moveTo>
                  <a:pt x="281874" y="379856"/>
                </a:moveTo>
                <a:cubicBezTo>
                  <a:pt x="281874" y="387165"/>
                  <a:pt x="275893" y="393146"/>
                  <a:pt x="268583" y="393146"/>
                </a:cubicBezTo>
                <a:lnTo>
                  <a:pt x="162257" y="393146"/>
                </a:lnTo>
                <a:cubicBezTo>
                  <a:pt x="154947" y="393146"/>
                  <a:pt x="148967" y="387165"/>
                  <a:pt x="148967" y="379856"/>
                </a:cubicBezTo>
                <a:cubicBezTo>
                  <a:pt x="148967" y="372546"/>
                  <a:pt x="154947" y="366565"/>
                  <a:pt x="162257" y="366565"/>
                </a:cubicBezTo>
                <a:lnTo>
                  <a:pt x="268583" y="366565"/>
                </a:lnTo>
                <a:cubicBezTo>
                  <a:pt x="275893" y="366565"/>
                  <a:pt x="281874" y="372546"/>
                  <a:pt x="281874" y="379856"/>
                </a:cubicBezTo>
                <a:moveTo>
                  <a:pt x="69222" y="207003"/>
                </a:moveTo>
                <a:lnTo>
                  <a:pt x="122385" y="207003"/>
                </a:lnTo>
                <a:cubicBezTo>
                  <a:pt x="129695" y="207003"/>
                  <a:pt x="135676" y="201022"/>
                  <a:pt x="135676" y="193712"/>
                </a:cubicBezTo>
                <a:lnTo>
                  <a:pt x="135676" y="140549"/>
                </a:lnTo>
                <a:cubicBezTo>
                  <a:pt x="135676" y="133239"/>
                  <a:pt x="129695" y="127258"/>
                  <a:pt x="122385" y="127258"/>
                </a:cubicBezTo>
                <a:lnTo>
                  <a:pt x="69222" y="127258"/>
                </a:lnTo>
                <a:cubicBezTo>
                  <a:pt x="61913" y="127258"/>
                  <a:pt x="55932" y="133239"/>
                  <a:pt x="55932" y="140549"/>
                </a:cubicBezTo>
                <a:lnTo>
                  <a:pt x="55932" y="193712"/>
                </a:lnTo>
                <a:cubicBezTo>
                  <a:pt x="55932" y="201022"/>
                  <a:pt x="61913" y="207003"/>
                  <a:pt x="69222" y="207003"/>
                </a:cubicBezTo>
                <a:moveTo>
                  <a:pt x="82513" y="153840"/>
                </a:moveTo>
                <a:lnTo>
                  <a:pt x="109094" y="153840"/>
                </a:lnTo>
                <a:lnTo>
                  <a:pt x="109094" y="180421"/>
                </a:lnTo>
                <a:lnTo>
                  <a:pt x="82513" y="180421"/>
                </a:lnTo>
                <a:lnTo>
                  <a:pt x="82513" y="153840"/>
                </a:lnTo>
                <a:close/>
                <a:moveTo>
                  <a:pt x="122385" y="233658"/>
                </a:moveTo>
                <a:lnTo>
                  <a:pt x="69222" y="233658"/>
                </a:lnTo>
                <a:cubicBezTo>
                  <a:pt x="61913" y="233658"/>
                  <a:pt x="55932" y="239639"/>
                  <a:pt x="55932" y="246949"/>
                </a:cubicBezTo>
                <a:lnTo>
                  <a:pt x="55932" y="300111"/>
                </a:lnTo>
                <a:cubicBezTo>
                  <a:pt x="55932" y="307421"/>
                  <a:pt x="61913" y="313402"/>
                  <a:pt x="69222" y="313402"/>
                </a:cubicBezTo>
                <a:lnTo>
                  <a:pt x="122385" y="313402"/>
                </a:lnTo>
                <a:cubicBezTo>
                  <a:pt x="129695" y="313402"/>
                  <a:pt x="135676" y="307421"/>
                  <a:pt x="135676" y="300111"/>
                </a:cubicBezTo>
                <a:lnTo>
                  <a:pt x="135676" y="246949"/>
                </a:lnTo>
                <a:cubicBezTo>
                  <a:pt x="135676" y="239639"/>
                  <a:pt x="129769" y="233658"/>
                  <a:pt x="122385" y="233658"/>
                </a:cubicBezTo>
                <a:moveTo>
                  <a:pt x="109094" y="286821"/>
                </a:moveTo>
                <a:lnTo>
                  <a:pt x="82513" y="286821"/>
                </a:lnTo>
                <a:lnTo>
                  <a:pt x="82513" y="260239"/>
                </a:lnTo>
                <a:lnTo>
                  <a:pt x="109094" y="260239"/>
                </a:lnTo>
                <a:lnTo>
                  <a:pt x="109094" y="286821"/>
                </a:lnTo>
                <a:close/>
                <a:moveTo>
                  <a:pt x="122311" y="339983"/>
                </a:moveTo>
                <a:lnTo>
                  <a:pt x="69149" y="339983"/>
                </a:lnTo>
                <a:cubicBezTo>
                  <a:pt x="61839" y="339983"/>
                  <a:pt x="55858" y="345964"/>
                  <a:pt x="55858" y="353274"/>
                </a:cubicBezTo>
                <a:lnTo>
                  <a:pt x="55858" y="406437"/>
                </a:lnTo>
                <a:cubicBezTo>
                  <a:pt x="55858" y="413747"/>
                  <a:pt x="61839" y="419728"/>
                  <a:pt x="69149" y="419728"/>
                </a:cubicBezTo>
                <a:lnTo>
                  <a:pt x="122311" y="419728"/>
                </a:lnTo>
                <a:cubicBezTo>
                  <a:pt x="129621" y="419728"/>
                  <a:pt x="135602" y="413747"/>
                  <a:pt x="135602" y="406437"/>
                </a:cubicBezTo>
                <a:lnTo>
                  <a:pt x="135602" y="353274"/>
                </a:lnTo>
                <a:cubicBezTo>
                  <a:pt x="135602" y="345964"/>
                  <a:pt x="129621" y="339983"/>
                  <a:pt x="122311" y="339983"/>
                </a:cubicBezTo>
                <a:moveTo>
                  <a:pt x="109021" y="393146"/>
                </a:moveTo>
                <a:lnTo>
                  <a:pt x="82439" y="393146"/>
                </a:lnTo>
                <a:lnTo>
                  <a:pt x="82439" y="366565"/>
                </a:lnTo>
                <a:lnTo>
                  <a:pt x="109021" y="366565"/>
                </a:lnTo>
                <a:lnTo>
                  <a:pt x="109021" y="393146"/>
                </a:lnTo>
                <a:close/>
                <a:moveTo>
                  <a:pt x="450296" y="169493"/>
                </a:moveTo>
                <a:lnTo>
                  <a:pt x="423715" y="129621"/>
                </a:lnTo>
                <a:cubicBezTo>
                  <a:pt x="421204" y="125929"/>
                  <a:pt x="417069" y="123640"/>
                  <a:pt x="412565" y="123714"/>
                </a:cubicBezTo>
                <a:cubicBezTo>
                  <a:pt x="408135" y="123714"/>
                  <a:pt x="403926" y="126003"/>
                  <a:pt x="401490" y="129769"/>
                </a:cubicBezTo>
                <a:lnTo>
                  <a:pt x="375425" y="169641"/>
                </a:lnTo>
                <a:cubicBezTo>
                  <a:pt x="374022" y="171782"/>
                  <a:pt x="373284" y="174293"/>
                  <a:pt x="373284" y="176877"/>
                </a:cubicBezTo>
                <a:lnTo>
                  <a:pt x="372767" y="469199"/>
                </a:lnTo>
                <a:cubicBezTo>
                  <a:pt x="372767" y="472743"/>
                  <a:pt x="374170" y="476139"/>
                  <a:pt x="376681" y="478576"/>
                </a:cubicBezTo>
                <a:cubicBezTo>
                  <a:pt x="379191" y="481086"/>
                  <a:pt x="382588" y="482489"/>
                  <a:pt x="386058" y="482489"/>
                </a:cubicBezTo>
                <a:lnTo>
                  <a:pt x="439221" y="482489"/>
                </a:lnTo>
                <a:cubicBezTo>
                  <a:pt x="446531" y="482489"/>
                  <a:pt x="452511" y="476508"/>
                  <a:pt x="452511" y="469199"/>
                </a:cubicBezTo>
                <a:lnTo>
                  <a:pt x="452511" y="176803"/>
                </a:lnTo>
                <a:cubicBezTo>
                  <a:pt x="452511" y="174219"/>
                  <a:pt x="451773" y="171635"/>
                  <a:pt x="450296" y="169493"/>
                </a:cubicBezTo>
                <a:moveTo>
                  <a:pt x="412713" y="161076"/>
                </a:moveTo>
                <a:lnTo>
                  <a:pt x="425930" y="180864"/>
                </a:lnTo>
                <a:lnTo>
                  <a:pt x="425930" y="416110"/>
                </a:lnTo>
                <a:lnTo>
                  <a:pt x="399422" y="416110"/>
                </a:lnTo>
                <a:lnTo>
                  <a:pt x="399865" y="180864"/>
                </a:lnTo>
                <a:lnTo>
                  <a:pt x="412713" y="161076"/>
                </a:lnTo>
                <a:close/>
                <a:moveTo>
                  <a:pt x="399349" y="455982"/>
                </a:moveTo>
                <a:lnTo>
                  <a:pt x="399349" y="442691"/>
                </a:lnTo>
                <a:lnTo>
                  <a:pt x="425856" y="442691"/>
                </a:lnTo>
                <a:lnTo>
                  <a:pt x="425856" y="455982"/>
                </a:lnTo>
                <a:lnTo>
                  <a:pt x="399349" y="455982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1945902729"/>
      </p:ext>
    </p:extLst>
  </p:cSld>
  <p:clrMapOvr>
    <a:masterClrMapping/>
  </p:clrMapOvr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FCC5CAF-F4A4-E9A3-1650-F7668723E3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ECEDE25F-A241-03E2-8D0C-6A6BC86FB7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02332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D378575-4D70-891C-E4B4-17E4149F33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irc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AE54442-9F34-602A-5E3D-EED5950677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07</a:t>
            </a:fld>
            <a:endParaRPr lang="en-US" dirty="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37AAF994-39D7-D5FB-4410-3C5AE5E7727D}"/>
              </a:ext>
            </a:extLst>
          </p:cNvPr>
          <p:cNvSpPr/>
          <p:nvPr/>
        </p:nvSpPr>
        <p:spPr>
          <a:xfrm>
            <a:off x="4746428" y="3608424"/>
            <a:ext cx="1958999" cy="1958999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B6BA14A0-69DD-C5F2-EF8D-A6D76C93432D}"/>
              </a:ext>
            </a:extLst>
          </p:cNvPr>
          <p:cNvSpPr/>
          <p:nvPr/>
        </p:nvSpPr>
        <p:spPr>
          <a:xfrm>
            <a:off x="6991345" y="3608424"/>
            <a:ext cx="1958999" cy="1958999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6B1B9419-BC93-03D2-B02D-64F5F2CECF41}"/>
              </a:ext>
            </a:extLst>
          </p:cNvPr>
          <p:cNvSpPr/>
          <p:nvPr/>
        </p:nvSpPr>
        <p:spPr>
          <a:xfrm>
            <a:off x="5856678" y="1503813"/>
            <a:ext cx="1958999" cy="195899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FFCB0309-9AB3-351C-2475-38D2182771D7}"/>
              </a:ext>
            </a:extLst>
          </p:cNvPr>
          <p:cNvSpPr/>
          <p:nvPr/>
        </p:nvSpPr>
        <p:spPr>
          <a:xfrm>
            <a:off x="3611761" y="1503813"/>
            <a:ext cx="1958999" cy="195899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Forma libre 9">
            <a:extLst>
              <a:ext uri="{FF2B5EF4-FFF2-40B4-BE49-F238E27FC236}">
                <a16:creationId xmlns:a16="http://schemas.microsoft.com/office/drawing/2014/main" id="{1C28021B-94C1-0A12-A142-963A42143C7E}"/>
              </a:ext>
            </a:extLst>
          </p:cNvPr>
          <p:cNvSpPr/>
          <p:nvPr/>
        </p:nvSpPr>
        <p:spPr>
          <a:xfrm>
            <a:off x="6412463" y="2080223"/>
            <a:ext cx="839934" cy="805032"/>
          </a:xfrm>
          <a:custGeom>
            <a:avLst/>
            <a:gdLst>
              <a:gd name="connsiteX0" fmla="*/ 530392 w 533104"/>
              <a:gd name="connsiteY0" fmla="*/ 361477 h 510953"/>
              <a:gd name="connsiteX1" fmla="*/ 530171 w 533104"/>
              <a:gd name="connsiteY1" fmla="*/ 360887 h 510953"/>
              <a:gd name="connsiteX2" fmla="*/ 509644 w 533104"/>
              <a:gd name="connsiteY2" fmla="*/ 338292 h 510953"/>
              <a:gd name="connsiteX3" fmla="*/ 479223 w 533104"/>
              <a:gd name="connsiteY3" fmla="*/ 336742 h 510953"/>
              <a:gd name="connsiteX4" fmla="*/ 381389 w 533104"/>
              <a:gd name="connsiteY4" fmla="*/ 374177 h 510953"/>
              <a:gd name="connsiteX5" fmla="*/ 345135 w 533104"/>
              <a:gd name="connsiteY5" fmla="*/ 348039 h 510953"/>
              <a:gd name="connsiteX6" fmla="*/ 344027 w 533104"/>
              <a:gd name="connsiteY6" fmla="*/ 348039 h 510953"/>
              <a:gd name="connsiteX7" fmla="*/ 386853 w 533104"/>
              <a:gd name="connsiteY7" fmla="*/ 256407 h 510953"/>
              <a:gd name="connsiteX8" fmla="*/ 374079 w 533104"/>
              <a:gd name="connsiteY8" fmla="*/ 202653 h 510953"/>
              <a:gd name="connsiteX9" fmla="*/ 387148 w 533104"/>
              <a:gd name="connsiteY9" fmla="*/ 202949 h 510953"/>
              <a:gd name="connsiteX10" fmla="*/ 416757 w 533104"/>
              <a:gd name="connsiteY10" fmla="*/ 202949 h 510953"/>
              <a:gd name="connsiteX11" fmla="*/ 447842 w 533104"/>
              <a:gd name="connsiteY11" fmla="*/ 235511 h 510953"/>
              <a:gd name="connsiteX12" fmla="*/ 489339 w 533104"/>
              <a:gd name="connsiteY12" fmla="*/ 236028 h 510953"/>
              <a:gd name="connsiteX13" fmla="*/ 489486 w 533104"/>
              <a:gd name="connsiteY13" fmla="*/ 236028 h 510953"/>
              <a:gd name="connsiteX14" fmla="*/ 502777 w 533104"/>
              <a:gd name="connsiteY14" fmla="*/ 222885 h 510953"/>
              <a:gd name="connsiteX15" fmla="*/ 489634 w 533104"/>
              <a:gd name="connsiteY15" fmla="*/ 209446 h 510953"/>
              <a:gd name="connsiteX16" fmla="*/ 448137 w 533104"/>
              <a:gd name="connsiteY16" fmla="*/ 208930 h 510953"/>
              <a:gd name="connsiteX17" fmla="*/ 442895 w 533104"/>
              <a:gd name="connsiteY17" fmla="*/ 196599 h 510953"/>
              <a:gd name="connsiteX18" fmla="*/ 444593 w 533104"/>
              <a:gd name="connsiteY18" fmla="*/ 55348 h 510953"/>
              <a:gd name="connsiteX19" fmla="*/ 447621 w 533104"/>
              <a:gd name="connsiteY19" fmla="*/ 45159 h 510953"/>
              <a:gd name="connsiteX20" fmla="*/ 450131 w 533104"/>
              <a:gd name="connsiteY20" fmla="*/ 43165 h 510953"/>
              <a:gd name="connsiteX21" fmla="*/ 450131 w 533104"/>
              <a:gd name="connsiteY21" fmla="*/ 43165 h 510953"/>
              <a:gd name="connsiteX22" fmla="*/ 491628 w 533104"/>
              <a:gd name="connsiteY22" fmla="*/ 43682 h 510953"/>
              <a:gd name="connsiteX23" fmla="*/ 505066 w 533104"/>
              <a:gd name="connsiteY23" fmla="*/ 30539 h 510953"/>
              <a:gd name="connsiteX24" fmla="*/ 491923 w 533104"/>
              <a:gd name="connsiteY24" fmla="*/ 17101 h 510953"/>
              <a:gd name="connsiteX25" fmla="*/ 450426 w 533104"/>
              <a:gd name="connsiteY25" fmla="*/ 16584 h 510953"/>
              <a:gd name="connsiteX26" fmla="*/ 426355 w 533104"/>
              <a:gd name="connsiteY26" fmla="*/ 29210 h 510953"/>
              <a:gd name="connsiteX27" fmla="*/ 418233 w 533104"/>
              <a:gd name="connsiteY27" fmla="*/ 51066 h 510953"/>
              <a:gd name="connsiteX28" fmla="*/ 412548 w 533104"/>
              <a:gd name="connsiteY28" fmla="*/ 50549 h 510953"/>
              <a:gd name="connsiteX29" fmla="*/ 412105 w 533104"/>
              <a:gd name="connsiteY29" fmla="*/ 50549 h 510953"/>
              <a:gd name="connsiteX30" fmla="*/ 320547 w 533104"/>
              <a:gd name="connsiteY30" fmla="*/ 21531 h 510953"/>
              <a:gd name="connsiteX31" fmla="*/ 244642 w 533104"/>
              <a:gd name="connsiteY31" fmla="*/ 1816 h 510953"/>
              <a:gd name="connsiteX32" fmla="*/ 126503 w 533104"/>
              <a:gd name="connsiteY32" fmla="*/ 53133 h 510953"/>
              <a:gd name="connsiteX33" fmla="*/ 25715 w 533104"/>
              <a:gd name="connsiteY33" fmla="*/ 100389 h 510953"/>
              <a:gd name="connsiteX34" fmla="*/ 4302 w 533104"/>
              <a:gd name="connsiteY34" fmla="*/ 120251 h 510953"/>
              <a:gd name="connsiteX35" fmla="*/ 2825 w 533104"/>
              <a:gd name="connsiteY35" fmla="*/ 150081 h 510953"/>
              <a:gd name="connsiteX36" fmla="*/ 3047 w 533104"/>
              <a:gd name="connsiteY36" fmla="*/ 150746 h 510953"/>
              <a:gd name="connsiteX37" fmla="*/ 23573 w 533104"/>
              <a:gd name="connsiteY37" fmla="*/ 173340 h 510953"/>
              <a:gd name="connsiteX38" fmla="*/ 40630 w 533104"/>
              <a:gd name="connsiteY38" fmla="*/ 177180 h 510953"/>
              <a:gd name="connsiteX39" fmla="*/ 53994 w 533104"/>
              <a:gd name="connsiteY39" fmla="*/ 174817 h 510953"/>
              <a:gd name="connsiteX40" fmla="*/ 151829 w 533104"/>
              <a:gd name="connsiteY40" fmla="*/ 137381 h 510953"/>
              <a:gd name="connsiteX41" fmla="*/ 160320 w 533104"/>
              <a:gd name="connsiteY41" fmla="*/ 151041 h 510953"/>
              <a:gd name="connsiteX42" fmla="*/ 188157 w 533104"/>
              <a:gd name="connsiteY42" fmla="*/ 163446 h 510953"/>
              <a:gd name="connsiteX43" fmla="*/ 189264 w 533104"/>
              <a:gd name="connsiteY43" fmla="*/ 163446 h 510953"/>
              <a:gd name="connsiteX44" fmla="*/ 192292 w 533104"/>
              <a:gd name="connsiteY44" fmla="*/ 163298 h 510953"/>
              <a:gd name="connsiteX45" fmla="*/ 147620 w 533104"/>
              <a:gd name="connsiteY45" fmla="*/ 256481 h 510953"/>
              <a:gd name="connsiteX46" fmla="*/ 159729 w 533104"/>
              <a:gd name="connsiteY46" fmla="*/ 308905 h 510953"/>
              <a:gd name="connsiteX47" fmla="*/ 146143 w 533104"/>
              <a:gd name="connsiteY47" fmla="*/ 308610 h 510953"/>
              <a:gd name="connsiteX48" fmla="*/ 116461 w 533104"/>
              <a:gd name="connsiteY48" fmla="*/ 308610 h 510953"/>
              <a:gd name="connsiteX49" fmla="*/ 109151 w 533104"/>
              <a:gd name="connsiteY49" fmla="*/ 289264 h 510953"/>
              <a:gd name="connsiteX50" fmla="*/ 85375 w 533104"/>
              <a:gd name="connsiteY50" fmla="*/ 276048 h 510953"/>
              <a:gd name="connsiteX51" fmla="*/ 43879 w 533104"/>
              <a:gd name="connsiteY51" fmla="*/ 275531 h 510953"/>
              <a:gd name="connsiteX52" fmla="*/ 30440 w 533104"/>
              <a:gd name="connsiteY52" fmla="*/ 288674 h 510953"/>
              <a:gd name="connsiteX53" fmla="*/ 43583 w 533104"/>
              <a:gd name="connsiteY53" fmla="*/ 302112 h 510953"/>
              <a:gd name="connsiteX54" fmla="*/ 85080 w 533104"/>
              <a:gd name="connsiteY54" fmla="*/ 302629 h 510953"/>
              <a:gd name="connsiteX55" fmla="*/ 87517 w 533104"/>
              <a:gd name="connsiteY55" fmla="*/ 304696 h 510953"/>
              <a:gd name="connsiteX56" fmla="*/ 90322 w 533104"/>
              <a:gd name="connsiteY56" fmla="*/ 314960 h 510953"/>
              <a:gd name="connsiteX57" fmla="*/ 88624 w 533104"/>
              <a:gd name="connsiteY57" fmla="*/ 456210 h 510953"/>
              <a:gd name="connsiteX58" fmla="*/ 83086 w 533104"/>
              <a:gd name="connsiteY58" fmla="*/ 468394 h 510953"/>
              <a:gd name="connsiteX59" fmla="*/ 83086 w 533104"/>
              <a:gd name="connsiteY59" fmla="*/ 468394 h 510953"/>
              <a:gd name="connsiteX60" fmla="*/ 41590 w 533104"/>
              <a:gd name="connsiteY60" fmla="*/ 467877 h 510953"/>
              <a:gd name="connsiteX61" fmla="*/ 28151 w 533104"/>
              <a:gd name="connsiteY61" fmla="*/ 481020 h 510953"/>
              <a:gd name="connsiteX62" fmla="*/ 41294 w 533104"/>
              <a:gd name="connsiteY62" fmla="*/ 494458 h 510953"/>
              <a:gd name="connsiteX63" fmla="*/ 82791 w 533104"/>
              <a:gd name="connsiteY63" fmla="*/ 494975 h 510953"/>
              <a:gd name="connsiteX64" fmla="*/ 83160 w 533104"/>
              <a:gd name="connsiteY64" fmla="*/ 494975 h 510953"/>
              <a:gd name="connsiteX65" fmla="*/ 115058 w 533104"/>
              <a:gd name="connsiteY65" fmla="*/ 460493 h 510953"/>
              <a:gd name="connsiteX66" fmla="*/ 120743 w 533104"/>
              <a:gd name="connsiteY66" fmla="*/ 461010 h 510953"/>
              <a:gd name="connsiteX67" fmla="*/ 121186 w 533104"/>
              <a:gd name="connsiteY67" fmla="*/ 461010 h 510953"/>
              <a:gd name="connsiteX68" fmla="*/ 212744 w 533104"/>
              <a:gd name="connsiteY68" fmla="*/ 490028 h 510953"/>
              <a:gd name="connsiteX69" fmla="*/ 276244 w 533104"/>
              <a:gd name="connsiteY69" fmla="*/ 510998 h 510953"/>
              <a:gd name="connsiteX70" fmla="*/ 288649 w 533104"/>
              <a:gd name="connsiteY70" fmla="*/ 509742 h 510953"/>
              <a:gd name="connsiteX71" fmla="*/ 406789 w 533104"/>
              <a:gd name="connsiteY71" fmla="*/ 458426 h 510953"/>
              <a:gd name="connsiteX72" fmla="*/ 507576 w 533104"/>
              <a:gd name="connsiteY72" fmla="*/ 411170 h 510953"/>
              <a:gd name="connsiteX73" fmla="*/ 528989 w 533104"/>
              <a:gd name="connsiteY73" fmla="*/ 391308 h 510953"/>
              <a:gd name="connsiteX74" fmla="*/ 530392 w 533104"/>
              <a:gd name="connsiteY74" fmla="*/ 361477 h 510953"/>
              <a:gd name="connsiteX75" fmla="*/ 188304 w 533104"/>
              <a:gd name="connsiteY75" fmla="*/ 136864 h 510953"/>
              <a:gd name="connsiteX76" fmla="*/ 175900 w 533104"/>
              <a:gd name="connsiteY76" fmla="*/ 123278 h 510953"/>
              <a:gd name="connsiteX77" fmla="*/ 180035 w 533104"/>
              <a:gd name="connsiteY77" fmla="*/ 114049 h 510953"/>
              <a:gd name="connsiteX78" fmla="*/ 189486 w 533104"/>
              <a:gd name="connsiteY78" fmla="*/ 110431 h 510953"/>
              <a:gd name="connsiteX79" fmla="*/ 189633 w 533104"/>
              <a:gd name="connsiteY79" fmla="*/ 110431 h 510953"/>
              <a:gd name="connsiteX80" fmla="*/ 287837 w 533104"/>
              <a:gd name="connsiteY80" fmla="*/ 112129 h 510953"/>
              <a:gd name="connsiteX81" fmla="*/ 298839 w 533104"/>
              <a:gd name="connsiteY81" fmla="*/ 106591 h 510953"/>
              <a:gd name="connsiteX82" fmla="*/ 311539 w 533104"/>
              <a:gd name="connsiteY82" fmla="*/ 88944 h 510953"/>
              <a:gd name="connsiteX83" fmla="*/ 308511 w 533104"/>
              <a:gd name="connsiteY83" fmla="*/ 70411 h 510953"/>
              <a:gd name="connsiteX84" fmla="*/ 289978 w 533104"/>
              <a:gd name="connsiteY84" fmla="*/ 73438 h 510953"/>
              <a:gd name="connsiteX85" fmla="*/ 281339 w 533104"/>
              <a:gd name="connsiteY85" fmla="*/ 85400 h 510953"/>
              <a:gd name="connsiteX86" fmla="*/ 190150 w 533104"/>
              <a:gd name="connsiteY86" fmla="*/ 83776 h 510953"/>
              <a:gd name="connsiteX87" fmla="*/ 161797 w 533104"/>
              <a:gd name="connsiteY87" fmla="*/ 94630 h 510953"/>
              <a:gd name="connsiteX88" fmla="*/ 152346 w 533104"/>
              <a:gd name="connsiteY88" fmla="*/ 108289 h 510953"/>
              <a:gd name="connsiteX89" fmla="*/ 44913 w 533104"/>
              <a:gd name="connsiteY89" fmla="*/ 149564 h 510953"/>
              <a:gd name="connsiteX90" fmla="*/ 34871 w 533104"/>
              <a:gd name="connsiteY90" fmla="*/ 149048 h 510953"/>
              <a:gd name="connsiteX91" fmla="*/ 28004 w 533104"/>
              <a:gd name="connsiteY91" fmla="*/ 141442 h 510953"/>
              <a:gd name="connsiteX92" fmla="*/ 27782 w 533104"/>
              <a:gd name="connsiteY92" fmla="*/ 140778 h 510953"/>
              <a:gd name="connsiteX93" fmla="*/ 28299 w 533104"/>
              <a:gd name="connsiteY93" fmla="*/ 131327 h 510953"/>
              <a:gd name="connsiteX94" fmla="*/ 35314 w 533104"/>
              <a:gd name="connsiteY94" fmla="*/ 124903 h 510953"/>
              <a:gd name="connsiteX95" fmla="*/ 36495 w 533104"/>
              <a:gd name="connsiteY95" fmla="*/ 124386 h 510953"/>
              <a:gd name="connsiteX96" fmla="*/ 249885 w 533104"/>
              <a:gd name="connsiteY96" fmla="*/ 27585 h 510953"/>
              <a:gd name="connsiteX97" fmla="*/ 308733 w 533104"/>
              <a:gd name="connsiteY97" fmla="*/ 45159 h 510953"/>
              <a:gd name="connsiteX98" fmla="*/ 410333 w 533104"/>
              <a:gd name="connsiteY98" fmla="*/ 76835 h 510953"/>
              <a:gd name="connsiteX99" fmla="*/ 417643 w 533104"/>
              <a:gd name="connsiteY99" fmla="*/ 77499 h 510953"/>
              <a:gd name="connsiteX100" fmla="*/ 416461 w 533104"/>
              <a:gd name="connsiteY100" fmla="*/ 176146 h 510953"/>
              <a:gd name="connsiteX101" fmla="*/ 387000 w 533104"/>
              <a:gd name="connsiteY101" fmla="*/ 176146 h 510953"/>
              <a:gd name="connsiteX102" fmla="*/ 353995 w 533104"/>
              <a:gd name="connsiteY102" fmla="*/ 174152 h 510953"/>
              <a:gd name="connsiteX103" fmla="*/ 289461 w 533104"/>
              <a:gd name="connsiteY103" fmla="*/ 138710 h 510953"/>
              <a:gd name="connsiteX104" fmla="*/ 188304 w 533104"/>
              <a:gd name="connsiteY104" fmla="*/ 136864 h 510953"/>
              <a:gd name="connsiteX105" fmla="*/ 267163 w 533104"/>
              <a:gd name="connsiteY105" fmla="*/ 163372 h 510953"/>
              <a:gd name="connsiteX106" fmla="*/ 283702 w 533104"/>
              <a:gd name="connsiteY106" fmla="*/ 164849 h 510953"/>
              <a:gd name="connsiteX107" fmla="*/ 309397 w 533104"/>
              <a:gd name="connsiteY107" fmla="*/ 179838 h 510953"/>
              <a:gd name="connsiteX108" fmla="*/ 339523 w 533104"/>
              <a:gd name="connsiteY108" fmla="*/ 198076 h 510953"/>
              <a:gd name="connsiteX109" fmla="*/ 360124 w 533104"/>
              <a:gd name="connsiteY109" fmla="*/ 256407 h 510953"/>
              <a:gd name="connsiteX110" fmla="*/ 273808 w 533104"/>
              <a:gd name="connsiteY110" fmla="*/ 349220 h 510953"/>
              <a:gd name="connsiteX111" fmla="*/ 249737 w 533104"/>
              <a:gd name="connsiteY111" fmla="*/ 346710 h 510953"/>
              <a:gd name="connsiteX112" fmla="*/ 223599 w 533104"/>
              <a:gd name="connsiteY112" fmla="*/ 331573 h 510953"/>
              <a:gd name="connsiteX113" fmla="*/ 193621 w 533104"/>
              <a:gd name="connsiteY113" fmla="*/ 313409 h 510953"/>
              <a:gd name="connsiteX114" fmla="*/ 174054 w 533104"/>
              <a:gd name="connsiteY114" fmla="*/ 256407 h 510953"/>
              <a:gd name="connsiteX115" fmla="*/ 267163 w 533104"/>
              <a:gd name="connsiteY115" fmla="*/ 163372 h 510953"/>
              <a:gd name="connsiteX116" fmla="*/ 504844 w 533104"/>
              <a:gd name="connsiteY116" fmla="*/ 379937 h 510953"/>
              <a:gd name="connsiteX117" fmla="*/ 497830 w 533104"/>
              <a:gd name="connsiteY117" fmla="*/ 386360 h 510953"/>
              <a:gd name="connsiteX118" fmla="*/ 496648 w 533104"/>
              <a:gd name="connsiteY118" fmla="*/ 386877 h 510953"/>
              <a:gd name="connsiteX119" fmla="*/ 283259 w 533104"/>
              <a:gd name="connsiteY119" fmla="*/ 483678 h 510953"/>
              <a:gd name="connsiteX120" fmla="*/ 224411 w 533104"/>
              <a:gd name="connsiteY120" fmla="*/ 466105 h 510953"/>
              <a:gd name="connsiteX121" fmla="*/ 122811 w 533104"/>
              <a:gd name="connsiteY121" fmla="*/ 434428 h 510953"/>
              <a:gd name="connsiteX122" fmla="*/ 115501 w 533104"/>
              <a:gd name="connsiteY122" fmla="*/ 433764 h 510953"/>
              <a:gd name="connsiteX123" fmla="*/ 116682 w 533104"/>
              <a:gd name="connsiteY123" fmla="*/ 335117 h 510953"/>
              <a:gd name="connsiteX124" fmla="*/ 146143 w 533104"/>
              <a:gd name="connsiteY124" fmla="*/ 335117 h 510953"/>
              <a:gd name="connsiteX125" fmla="*/ 179075 w 533104"/>
              <a:gd name="connsiteY125" fmla="*/ 337111 h 510953"/>
              <a:gd name="connsiteX126" fmla="*/ 267310 w 533104"/>
              <a:gd name="connsiteY126" fmla="*/ 376023 h 510953"/>
              <a:gd name="connsiteX127" fmla="*/ 274620 w 533104"/>
              <a:gd name="connsiteY127" fmla="*/ 375802 h 510953"/>
              <a:gd name="connsiteX128" fmla="*/ 344987 w 533104"/>
              <a:gd name="connsiteY128" fmla="*/ 374620 h 510953"/>
              <a:gd name="connsiteX129" fmla="*/ 357392 w 533104"/>
              <a:gd name="connsiteY129" fmla="*/ 388206 h 510953"/>
              <a:gd name="connsiteX130" fmla="*/ 343805 w 533104"/>
              <a:gd name="connsiteY130" fmla="*/ 401054 h 510953"/>
              <a:gd name="connsiteX131" fmla="*/ 343658 w 533104"/>
              <a:gd name="connsiteY131" fmla="*/ 401054 h 510953"/>
              <a:gd name="connsiteX132" fmla="*/ 245454 w 533104"/>
              <a:gd name="connsiteY132" fmla="*/ 399356 h 510953"/>
              <a:gd name="connsiteX133" fmla="*/ 234453 w 533104"/>
              <a:gd name="connsiteY133" fmla="*/ 404894 h 510953"/>
              <a:gd name="connsiteX134" fmla="*/ 221753 w 533104"/>
              <a:gd name="connsiteY134" fmla="*/ 422541 h 510953"/>
              <a:gd name="connsiteX135" fmla="*/ 224780 w 533104"/>
              <a:gd name="connsiteY135" fmla="*/ 441074 h 510953"/>
              <a:gd name="connsiteX136" fmla="*/ 232533 w 533104"/>
              <a:gd name="connsiteY136" fmla="*/ 443584 h 510953"/>
              <a:gd name="connsiteX137" fmla="*/ 243313 w 533104"/>
              <a:gd name="connsiteY137" fmla="*/ 438046 h 510953"/>
              <a:gd name="connsiteX138" fmla="*/ 251952 w 533104"/>
              <a:gd name="connsiteY138" fmla="*/ 426085 h 510953"/>
              <a:gd name="connsiteX139" fmla="*/ 343141 w 533104"/>
              <a:gd name="connsiteY139" fmla="*/ 427709 h 510953"/>
              <a:gd name="connsiteX140" fmla="*/ 344175 w 533104"/>
              <a:gd name="connsiteY140" fmla="*/ 427709 h 510953"/>
              <a:gd name="connsiteX141" fmla="*/ 380946 w 533104"/>
              <a:gd name="connsiteY141" fmla="*/ 403121 h 510953"/>
              <a:gd name="connsiteX142" fmla="*/ 488379 w 533104"/>
              <a:gd name="connsiteY142" fmla="*/ 361773 h 510953"/>
              <a:gd name="connsiteX143" fmla="*/ 498421 w 533104"/>
              <a:gd name="connsiteY143" fmla="*/ 362289 h 510953"/>
              <a:gd name="connsiteX144" fmla="*/ 505288 w 533104"/>
              <a:gd name="connsiteY144" fmla="*/ 369895 h 510953"/>
              <a:gd name="connsiteX145" fmla="*/ 505509 w 533104"/>
              <a:gd name="connsiteY145" fmla="*/ 370485 h 510953"/>
              <a:gd name="connsiteX146" fmla="*/ 504844 w 533104"/>
              <a:gd name="connsiteY146" fmla="*/ 379937 h 510953"/>
              <a:gd name="connsiteX147" fmla="*/ 214517 w 533104"/>
              <a:gd name="connsiteY147" fmla="*/ 263938 h 510953"/>
              <a:gd name="connsiteX148" fmla="*/ 214664 w 533104"/>
              <a:gd name="connsiteY148" fmla="*/ 245110 h 510953"/>
              <a:gd name="connsiteX149" fmla="*/ 233493 w 533104"/>
              <a:gd name="connsiteY149" fmla="*/ 245257 h 510953"/>
              <a:gd name="connsiteX150" fmla="*/ 250844 w 533104"/>
              <a:gd name="connsiteY150" fmla="*/ 262978 h 510953"/>
              <a:gd name="connsiteX151" fmla="*/ 298691 w 533104"/>
              <a:gd name="connsiteY151" fmla="*/ 203687 h 510953"/>
              <a:gd name="connsiteX152" fmla="*/ 317372 w 533104"/>
              <a:gd name="connsiteY152" fmla="*/ 201694 h 510953"/>
              <a:gd name="connsiteX153" fmla="*/ 319365 w 533104"/>
              <a:gd name="connsiteY153" fmla="*/ 220374 h 510953"/>
              <a:gd name="connsiteX154" fmla="*/ 262142 w 533104"/>
              <a:gd name="connsiteY154" fmla="*/ 291258 h 510953"/>
              <a:gd name="connsiteX155" fmla="*/ 262068 w 533104"/>
              <a:gd name="connsiteY155" fmla="*/ 291332 h 510953"/>
              <a:gd name="connsiteX156" fmla="*/ 261108 w 533104"/>
              <a:gd name="connsiteY156" fmla="*/ 292366 h 510953"/>
              <a:gd name="connsiteX157" fmla="*/ 260886 w 533104"/>
              <a:gd name="connsiteY157" fmla="*/ 292587 h 510953"/>
              <a:gd name="connsiteX158" fmla="*/ 260000 w 533104"/>
              <a:gd name="connsiteY158" fmla="*/ 293326 h 510953"/>
              <a:gd name="connsiteX159" fmla="*/ 259557 w 533104"/>
              <a:gd name="connsiteY159" fmla="*/ 293621 h 510953"/>
              <a:gd name="connsiteX160" fmla="*/ 258819 w 533104"/>
              <a:gd name="connsiteY160" fmla="*/ 294138 h 510953"/>
              <a:gd name="connsiteX161" fmla="*/ 258302 w 533104"/>
              <a:gd name="connsiteY161" fmla="*/ 294433 h 510953"/>
              <a:gd name="connsiteX162" fmla="*/ 257564 w 533104"/>
              <a:gd name="connsiteY162" fmla="*/ 294802 h 510953"/>
              <a:gd name="connsiteX163" fmla="*/ 257047 w 533104"/>
              <a:gd name="connsiteY163" fmla="*/ 295024 h 510953"/>
              <a:gd name="connsiteX164" fmla="*/ 256235 w 533104"/>
              <a:gd name="connsiteY164" fmla="*/ 295319 h 510953"/>
              <a:gd name="connsiteX165" fmla="*/ 255718 w 533104"/>
              <a:gd name="connsiteY165" fmla="*/ 295467 h 510953"/>
              <a:gd name="connsiteX166" fmla="*/ 254832 w 533104"/>
              <a:gd name="connsiteY166" fmla="*/ 295688 h 510953"/>
              <a:gd name="connsiteX167" fmla="*/ 254389 w 533104"/>
              <a:gd name="connsiteY167" fmla="*/ 295762 h 510953"/>
              <a:gd name="connsiteX168" fmla="*/ 253429 w 533104"/>
              <a:gd name="connsiteY168" fmla="*/ 295910 h 510953"/>
              <a:gd name="connsiteX169" fmla="*/ 253060 w 533104"/>
              <a:gd name="connsiteY169" fmla="*/ 295984 h 510953"/>
              <a:gd name="connsiteX170" fmla="*/ 251730 w 533104"/>
              <a:gd name="connsiteY170" fmla="*/ 296058 h 510953"/>
              <a:gd name="connsiteX171" fmla="*/ 251730 w 533104"/>
              <a:gd name="connsiteY171" fmla="*/ 296058 h 510953"/>
              <a:gd name="connsiteX172" fmla="*/ 250549 w 533104"/>
              <a:gd name="connsiteY172" fmla="*/ 295984 h 510953"/>
              <a:gd name="connsiteX173" fmla="*/ 250254 w 533104"/>
              <a:gd name="connsiteY173" fmla="*/ 295910 h 510953"/>
              <a:gd name="connsiteX174" fmla="*/ 249368 w 533104"/>
              <a:gd name="connsiteY174" fmla="*/ 295762 h 510953"/>
              <a:gd name="connsiteX175" fmla="*/ 248999 w 533104"/>
              <a:gd name="connsiteY175" fmla="*/ 295688 h 510953"/>
              <a:gd name="connsiteX176" fmla="*/ 248186 w 533104"/>
              <a:gd name="connsiteY176" fmla="*/ 295467 h 510953"/>
              <a:gd name="connsiteX177" fmla="*/ 247743 w 533104"/>
              <a:gd name="connsiteY177" fmla="*/ 295319 h 510953"/>
              <a:gd name="connsiteX178" fmla="*/ 247005 w 533104"/>
              <a:gd name="connsiteY178" fmla="*/ 295024 h 510953"/>
              <a:gd name="connsiteX179" fmla="*/ 246562 w 533104"/>
              <a:gd name="connsiteY179" fmla="*/ 294876 h 510953"/>
              <a:gd name="connsiteX180" fmla="*/ 245823 w 533104"/>
              <a:gd name="connsiteY180" fmla="*/ 294507 h 510953"/>
              <a:gd name="connsiteX181" fmla="*/ 245381 w 533104"/>
              <a:gd name="connsiteY181" fmla="*/ 294285 h 510953"/>
              <a:gd name="connsiteX182" fmla="*/ 244568 w 533104"/>
              <a:gd name="connsiteY182" fmla="*/ 293842 h 510953"/>
              <a:gd name="connsiteX183" fmla="*/ 244199 w 533104"/>
              <a:gd name="connsiteY183" fmla="*/ 293621 h 510953"/>
              <a:gd name="connsiteX184" fmla="*/ 243387 w 533104"/>
              <a:gd name="connsiteY184" fmla="*/ 293030 h 510953"/>
              <a:gd name="connsiteX185" fmla="*/ 243313 w 533104"/>
              <a:gd name="connsiteY185" fmla="*/ 292956 h 510953"/>
              <a:gd name="connsiteX186" fmla="*/ 242796 w 533104"/>
              <a:gd name="connsiteY186" fmla="*/ 292513 h 510953"/>
              <a:gd name="connsiteX187" fmla="*/ 242279 w 533104"/>
              <a:gd name="connsiteY187" fmla="*/ 291996 h 510953"/>
              <a:gd name="connsiteX188" fmla="*/ 242206 w 533104"/>
              <a:gd name="connsiteY188" fmla="*/ 291923 h 510953"/>
              <a:gd name="connsiteX189" fmla="*/ 214517 w 533104"/>
              <a:gd name="connsiteY189" fmla="*/ 263938 h 510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</a:cxnLst>
            <a:rect l="l" t="t" r="r" b="b"/>
            <a:pathLst>
              <a:path w="533104" h="510953">
                <a:moveTo>
                  <a:pt x="530392" y="361477"/>
                </a:moveTo>
                <a:lnTo>
                  <a:pt x="530171" y="360887"/>
                </a:lnTo>
                <a:cubicBezTo>
                  <a:pt x="526553" y="350845"/>
                  <a:pt x="519317" y="342796"/>
                  <a:pt x="509644" y="338292"/>
                </a:cubicBezTo>
                <a:cubicBezTo>
                  <a:pt x="500045" y="333714"/>
                  <a:pt x="489191" y="333198"/>
                  <a:pt x="479223" y="336742"/>
                </a:cubicBezTo>
                <a:cubicBezTo>
                  <a:pt x="442452" y="349959"/>
                  <a:pt x="400734" y="366424"/>
                  <a:pt x="381389" y="374177"/>
                </a:cubicBezTo>
                <a:cubicBezTo>
                  <a:pt x="375925" y="359336"/>
                  <a:pt x="361896" y="348556"/>
                  <a:pt x="345135" y="348039"/>
                </a:cubicBezTo>
                <a:cubicBezTo>
                  <a:pt x="344765" y="348039"/>
                  <a:pt x="344396" y="348039"/>
                  <a:pt x="344027" y="348039"/>
                </a:cubicBezTo>
                <a:cubicBezTo>
                  <a:pt x="370165" y="326109"/>
                  <a:pt x="386853" y="293178"/>
                  <a:pt x="386853" y="256407"/>
                </a:cubicBezTo>
                <a:cubicBezTo>
                  <a:pt x="386853" y="237062"/>
                  <a:pt x="382201" y="218824"/>
                  <a:pt x="374079" y="202653"/>
                </a:cubicBezTo>
                <a:cubicBezTo>
                  <a:pt x="380724" y="202875"/>
                  <a:pt x="385967" y="202949"/>
                  <a:pt x="387148" y="202949"/>
                </a:cubicBezTo>
                <a:lnTo>
                  <a:pt x="416757" y="202949"/>
                </a:lnTo>
                <a:cubicBezTo>
                  <a:pt x="419046" y="221482"/>
                  <a:pt x="431820" y="235289"/>
                  <a:pt x="447842" y="235511"/>
                </a:cubicBezTo>
                <a:lnTo>
                  <a:pt x="489339" y="236028"/>
                </a:lnTo>
                <a:cubicBezTo>
                  <a:pt x="489413" y="236028"/>
                  <a:pt x="489413" y="236028"/>
                  <a:pt x="489486" y="236028"/>
                </a:cubicBezTo>
                <a:cubicBezTo>
                  <a:pt x="496722" y="236028"/>
                  <a:pt x="502703" y="230195"/>
                  <a:pt x="502777" y="222885"/>
                </a:cubicBezTo>
                <a:cubicBezTo>
                  <a:pt x="502851" y="215575"/>
                  <a:pt x="497018" y="209520"/>
                  <a:pt x="489634" y="209446"/>
                </a:cubicBezTo>
                <a:lnTo>
                  <a:pt x="448137" y="208930"/>
                </a:lnTo>
                <a:cubicBezTo>
                  <a:pt x="446808" y="208930"/>
                  <a:pt x="442821" y="204499"/>
                  <a:pt x="442895" y="196599"/>
                </a:cubicBezTo>
                <a:lnTo>
                  <a:pt x="444593" y="55348"/>
                </a:lnTo>
                <a:cubicBezTo>
                  <a:pt x="444667" y="51361"/>
                  <a:pt x="445775" y="47669"/>
                  <a:pt x="447621" y="45159"/>
                </a:cubicBezTo>
                <a:cubicBezTo>
                  <a:pt x="448728" y="43682"/>
                  <a:pt x="449688" y="43165"/>
                  <a:pt x="450131" y="43165"/>
                </a:cubicBezTo>
                <a:lnTo>
                  <a:pt x="450131" y="43165"/>
                </a:lnTo>
                <a:lnTo>
                  <a:pt x="491628" y="43682"/>
                </a:lnTo>
                <a:cubicBezTo>
                  <a:pt x="498937" y="43756"/>
                  <a:pt x="504992" y="37923"/>
                  <a:pt x="505066" y="30539"/>
                </a:cubicBezTo>
                <a:cubicBezTo>
                  <a:pt x="505140" y="23229"/>
                  <a:pt x="499307" y="17174"/>
                  <a:pt x="491923" y="17101"/>
                </a:cubicBezTo>
                <a:lnTo>
                  <a:pt x="450426" y="16584"/>
                </a:lnTo>
                <a:cubicBezTo>
                  <a:pt x="441271" y="16510"/>
                  <a:pt x="432484" y="21088"/>
                  <a:pt x="426355" y="29210"/>
                </a:cubicBezTo>
                <a:cubicBezTo>
                  <a:pt x="421852" y="35264"/>
                  <a:pt x="418972" y="42870"/>
                  <a:pt x="418233" y="51066"/>
                </a:cubicBezTo>
                <a:lnTo>
                  <a:pt x="412548" y="50549"/>
                </a:lnTo>
                <a:cubicBezTo>
                  <a:pt x="412400" y="50549"/>
                  <a:pt x="412253" y="50549"/>
                  <a:pt x="412105" y="50549"/>
                </a:cubicBezTo>
                <a:cubicBezTo>
                  <a:pt x="375999" y="48629"/>
                  <a:pt x="346538" y="34231"/>
                  <a:pt x="320547" y="21531"/>
                </a:cubicBezTo>
                <a:cubicBezTo>
                  <a:pt x="293227" y="8166"/>
                  <a:pt x="269599" y="-3352"/>
                  <a:pt x="244642" y="1816"/>
                </a:cubicBezTo>
                <a:cubicBezTo>
                  <a:pt x="240729" y="2628"/>
                  <a:pt x="231425" y="4548"/>
                  <a:pt x="126503" y="53133"/>
                </a:cubicBezTo>
                <a:cubicBezTo>
                  <a:pt x="78139" y="75506"/>
                  <a:pt x="31253" y="97805"/>
                  <a:pt x="25715" y="100389"/>
                </a:cubicBezTo>
                <a:cubicBezTo>
                  <a:pt x="16264" y="104007"/>
                  <a:pt x="8658" y="111021"/>
                  <a:pt x="4302" y="120251"/>
                </a:cubicBezTo>
                <a:cubicBezTo>
                  <a:pt x="-128" y="129702"/>
                  <a:pt x="-645" y="140261"/>
                  <a:pt x="2825" y="150081"/>
                </a:cubicBezTo>
                <a:lnTo>
                  <a:pt x="3047" y="150746"/>
                </a:lnTo>
                <a:cubicBezTo>
                  <a:pt x="6665" y="160788"/>
                  <a:pt x="13901" y="168836"/>
                  <a:pt x="23573" y="173340"/>
                </a:cubicBezTo>
                <a:cubicBezTo>
                  <a:pt x="28964" y="175924"/>
                  <a:pt x="34797" y="177180"/>
                  <a:pt x="40630" y="177180"/>
                </a:cubicBezTo>
                <a:cubicBezTo>
                  <a:pt x="45134" y="177180"/>
                  <a:pt x="49638" y="176367"/>
                  <a:pt x="53994" y="174817"/>
                </a:cubicBezTo>
                <a:cubicBezTo>
                  <a:pt x="90692" y="161600"/>
                  <a:pt x="132483" y="145134"/>
                  <a:pt x="151829" y="137381"/>
                </a:cubicBezTo>
                <a:cubicBezTo>
                  <a:pt x="153675" y="142402"/>
                  <a:pt x="156480" y="147054"/>
                  <a:pt x="160320" y="151041"/>
                </a:cubicBezTo>
                <a:cubicBezTo>
                  <a:pt x="167630" y="158794"/>
                  <a:pt x="177524" y="163151"/>
                  <a:pt x="188157" y="163446"/>
                </a:cubicBezTo>
                <a:cubicBezTo>
                  <a:pt x="188526" y="163446"/>
                  <a:pt x="188895" y="163446"/>
                  <a:pt x="189264" y="163446"/>
                </a:cubicBezTo>
                <a:cubicBezTo>
                  <a:pt x="190224" y="163372"/>
                  <a:pt x="191258" y="163298"/>
                  <a:pt x="192292" y="163298"/>
                </a:cubicBezTo>
                <a:cubicBezTo>
                  <a:pt x="165046" y="185228"/>
                  <a:pt x="147620" y="218824"/>
                  <a:pt x="147620" y="256481"/>
                </a:cubicBezTo>
                <a:cubicBezTo>
                  <a:pt x="147620" y="275309"/>
                  <a:pt x="151976" y="293104"/>
                  <a:pt x="159729" y="308905"/>
                </a:cubicBezTo>
                <a:cubicBezTo>
                  <a:pt x="152863" y="308610"/>
                  <a:pt x="147325" y="308610"/>
                  <a:pt x="146143" y="308610"/>
                </a:cubicBezTo>
                <a:lnTo>
                  <a:pt x="116461" y="308610"/>
                </a:lnTo>
                <a:cubicBezTo>
                  <a:pt x="115575" y="301448"/>
                  <a:pt x="113064" y="294728"/>
                  <a:pt x="109151" y="289264"/>
                </a:cubicBezTo>
                <a:cubicBezTo>
                  <a:pt x="103244" y="280995"/>
                  <a:pt x="94605" y="276195"/>
                  <a:pt x="85375" y="276048"/>
                </a:cubicBezTo>
                <a:lnTo>
                  <a:pt x="43879" y="275531"/>
                </a:lnTo>
                <a:cubicBezTo>
                  <a:pt x="36569" y="275457"/>
                  <a:pt x="30514" y="281290"/>
                  <a:pt x="30440" y="288674"/>
                </a:cubicBezTo>
                <a:cubicBezTo>
                  <a:pt x="30366" y="295984"/>
                  <a:pt x="36200" y="302038"/>
                  <a:pt x="43583" y="302112"/>
                </a:cubicBezTo>
                <a:lnTo>
                  <a:pt x="85080" y="302629"/>
                </a:lnTo>
                <a:cubicBezTo>
                  <a:pt x="85449" y="302629"/>
                  <a:pt x="86483" y="303220"/>
                  <a:pt x="87517" y="304696"/>
                </a:cubicBezTo>
                <a:cubicBezTo>
                  <a:pt x="89363" y="307281"/>
                  <a:pt x="90322" y="310973"/>
                  <a:pt x="90322" y="314960"/>
                </a:cubicBezTo>
                <a:lnTo>
                  <a:pt x="88624" y="456210"/>
                </a:lnTo>
                <a:cubicBezTo>
                  <a:pt x="88550" y="464111"/>
                  <a:pt x="84489" y="468394"/>
                  <a:pt x="83086" y="468394"/>
                </a:cubicBezTo>
                <a:lnTo>
                  <a:pt x="83086" y="468394"/>
                </a:lnTo>
                <a:lnTo>
                  <a:pt x="41590" y="467877"/>
                </a:lnTo>
                <a:cubicBezTo>
                  <a:pt x="34280" y="467803"/>
                  <a:pt x="28225" y="473636"/>
                  <a:pt x="28151" y="481020"/>
                </a:cubicBezTo>
                <a:cubicBezTo>
                  <a:pt x="28078" y="488330"/>
                  <a:pt x="33911" y="494384"/>
                  <a:pt x="41294" y="494458"/>
                </a:cubicBezTo>
                <a:lnTo>
                  <a:pt x="82791" y="494975"/>
                </a:lnTo>
                <a:cubicBezTo>
                  <a:pt x="82865" y="494975"/>
                  <a:pt x="83012" y="494975"/>
                  <a:pt x="83160" y="494975"/>
                </a:cubicBezTo>
                <a:cubicBezTo>
                  <a:pt x="99847" y="494975"/>
                  <a:pt x="113212" y="480207"/>
                  <a:pt x="115058" y="460493"/>
                </a:cubicBezTo>
                <a:lnTo>
                  <a:pt x="120743" y="461010"/>
                </a:lnTo>
                <a:cubicBezTo>
                  <a:pt x="120891" y="461010"/>
                  <a:pt x="121039" y="461010"/>
                  <a:pt x="121186" y="461010"/>
                </a:cubicBezTo>
                <a:cubicBezTo>
                  <a:pt x="157293" y="462930"/>
                  <a:pt x="186754" y="477328"/>
                  <a:pt x="212744" y="490028"/>
                </a:cubicBezTo>
                <a:cubicBezTo>
                  <a:pt x="235486" y="501177"/>
                  <a:pt x="255718" y="510998"/>
                  <a:pt x="276244" y="510998"/>
                </a:cubicBezTo>
                <a:cubicBezTo>
                  <a:pt x="280379" y="510998"/>
                  <a:pt x="284514" y="510628"/>
                  <a:pt x="288649" y="509742"/>
                </a:cubicBezTo>
                <a:cubicBezTo>
                  <a:pt x="292562" y="508930"/>
                  <a:pt x="301866" y="507010"/>
                  <a:pt x="406789" y="458426"/>
                </a:cubicBezTo>
                <a:cubicBezTo>
                  <a:pt x="455152" y="436053"/>
                  <a:pt x="502039" y="413754"/>
                  <a:pt x="507576" y="411170"/>
                </a:cubicBezTo>
                <a:cubicBezTo>
                  <a:pt x="517028" y="407552"/>
                  <a:pt x="524633" y="400537"/>
                  <a:pt x="528989" y="391308"/>
                </a:cubicBezTo>
                <a:cubicBezTo>
                  <a:pt x="533346" y="381856"/>
                  <a:pt x="533863" y="371298"/>
                  <a:pt x="530392" y="361477"/>
                </a:cubicBezTo>
                <a:moveTo>
                  <a:pt x="188304" y="136864"/>
                </a:moveTo>
                <a:cubicBezTo>
                  <a:pt x="181216" y="136421"/>
                  <a:pt x="175752" y="130441"/>
                  <a:pt x="175900" y="123278"/>
                </a:cubicBezTo>
                <a:cubicBezTo>
                  <a:pt x="175974" y="119734"/>
                  <a:pt x="177450" y="116485"/>
                  <a:pt x="180035" y="114049"/>
                </a:cubicBezTo>
                <a:cubicBezTo>
                  <a:pt x="182619" y="111612"/>
                  <a:pt x="185942" y="110357"/>
                  <a:pt x="189486" y="110431"/>
                </a:cubicBezTo>
                <a:cubicBezTo>
                  <a:pt x="189560" y="110431"/>
                  <a:pt x="189560" y="110431"/>
                  <a:pt x="189633" y="110431"/>
                </a:cubicBezTo>
                <a:lnTo>
                  <a:pt x="287837" y="112129"/>
                </a:lnTo>
                <a:cubicBezTo>
                  <a:pt x="292193" y="112203"/>
                  <a:pt x="296328" y="110135"/>
                  <a:pt x="298839" y="106591"/>
                </a:cubicBezTo>
                <a:lnTo>
                  <a:pt x="311539" y="88944"/>
                </a:lnTo>
                <a:cubicBezTo>
                  <a:pt x="315821" y="82963"/>
                  <a:pt x="314492" y="74694"/>
                  <a:pt x="308511" y="70411"/>
                </a:cubicBezTo>
                <a:cubicBezTo>
                  <a:pt x="302531" y="66128"/>
                  <a:pt x="294261" y="67457"/>
                  <a:pt x="289978" y="73438"/>
                </a:cubicBezTo>
                <a:lnTo>
                  <a:pt x="281339" y="85400"/>
                </a:lnTo>
                <a:lnTo>
                  <a:pt x="190150" y="83776"/>
                </a:lnTo>
                <a:cubicBezTo>
                  <a:pt x="179518" y="83480"/>
                  <a:pt x="169476" y="87394"/>
                  <a:pt x="161797" y="94630"/>
                </a:cubicBezTo>
                <a:cubicBezTo>
                  <a:pt x="157662" y="98543"/>
                  <a:pt x="154487" y="103195"/>
                  <a:pt x="152346" y="108289"/>
                </a:cubicBezTo>
                <a:cubicBezTo>
                  <a:pt x="148063" y="110062"/>
                  <a:pt x="92242" y="132656"/>
                  <a:pt x="44913" y="149564"/>
                </a:cubicBezTo>
                <a:cubicBezTo>
                  <a:pt x="41590" y="150746"/>
                  <a:pt x="38046" y="150598"/>
                  <a:pt x="34871" y="149048"/>
                </a:cubicBezTo>
                <a:cubicBezTo>
                  <a:pt x="31622" y="147497"/>
                  <a:pt x="29185" y="144839"/>
                  <a:pt x="28004" y="141442"/>
                </a:cubicBezTo>
                <a:lnTo>
                  <a:pt x="27782" y="140778"/>
                </a:lnTo>
                <a:cubicBezTo>
                  <a:pt x="26675" y="137677"/>
                  <a:pt x="26822" y="134280"/>
                  <a:pt x="28299" y="131327"/>
                </a:cubicBezTo>
                <a:cubicBezTo>
                  <a:pt x="29702" y="128299"/>
                  <a:pt x="32212" y="126010"/>
                  <a:pt x="35314" y="124903"/>
                </a:cubicBezTo>
                <a:cubicBezTo>
                  <a:pt x="35757" y="124755"/>
                  <a:pt x="36126" y="124607"/>
                  <a:pt x="36495" y="124386"/>
                </a:cubicBezTo>
                <a:cubicBezTo>
                  <a:pt x="111809" y="88575"/>
                  <a:pt x="236372" y="30613"/>
                  <a:pt x="249885" y="27585"/>
                </a:cubicBezTo>
                <a:cubicBezTo>
                  <a:pt x="265981" y="24263"/>
                  <a:pt x="284883" y="33492"/>
                  <a:pt x="308733" y="45159"/>
                </a:cubicBezTo>
                <a:cubicBezTo>
                  <a:pt x="335610" y="58302"/>
                  <a:pt x="368984" y="74620"/>
                  <a:pt x="410333" y="76835"/>
                </a:cubicBezTo>
                <a:lnTo>
                  <a:pt x="417643" y="77499"/>
                </a:lnTo>
                <a:lnTo>
                  <a:pt x="416461" y="176146"/>
                </a:lnTo>
                <a:lnTo>
                  <a:pt x="387000" y="176146"/>
                </a:lnTo>
                <a:cubicBezTo>
                  <a:pt x="380724" y="176146"/>
                  <a:pt x="362929" y="175703"/>
                  <a:pt x="353995" y="174152"/>
                </a:cubicBezTo>
                <a:cubicBezTo>
                  <a:pt x="337086" y="156210"/>
                  <a:pt x="314640" y="143510"/>
                  <a:pt x="289461" y="138710"/>
                </a:cubicBezTo>
                <a:cubicBezTo>
                  <a:pt x="264947" y="132803"/>
                  <a:pt x="198715" y="136274"/>
                  <a:pt x="188304" y="136864"/>
                </a:cubicBezTo>
                <a:moveTo>
                  <a:pt x="267163" y="163372"/>
                </a:moveTo>
                <a:cubicBezTo>
                  <a:pt x="272848" y="163372"/>
                  <a:pt x="278386" y="163889"/>
                  <a:pt x="283702" y="164849"/>
                </a:cubicBezTo>
                <a:cubicBezTo>
                  <a:pt x="294925" y="167802"/>
                  <a:pt x="301644" y="173340"/>
                  <a:pt x="309397" y="179838"/>
                </a:cubicBezTo>
                <a:cubicBezTo>
                  <a:pt x="317298" y="186409"/>
                  <a:pt x="326085" y="193719"/>
                  <a:pt x="339523" y="198076"/>
                </a:cubicBezTo>
                <a:cubicBezTo>
                  <a:pt x="352445" y="214024"/>
                  <a:pt x="360124" y="234330"/>
                  <a:pt x="360124" y="256407"/>
                </a:cubicBezTo>
                <a:cubicBezTo>
                  <a:pt x="360124" y="305435"/>
                  <a:pt x="321950" y="345750"/>
                  <a:pt x="273808" y="349220"/>
                </a:cubicBezTo>
                <a:cubicBezTo>
                  <a:pt x="263692" y="348851"/>
                  <a:pt x="255053" y="348039"/>
                  <a:pt x="249737" y="346710"/>
                </a:cubicBezTo>
                <a:cubicBezTo>
                  <a:pt x="238292" y="343830"/>
                  <a:pt x="231499" y="338145"/>
                  <a:pt x="223599" y="331573"/>
                </a:cubicBezTo>
                <a:cubicBezTo>
                  <a:pt x="215698" y="325002"/>
                  <a:pt x="206985" y="317766"/>
                  <a:pt x="193621" y="313409"/>
                </a:cubicBezTo>
                <a:cubicBezTo>
                  <a:pt x="181364" y="297608"/>
                  <a:pt x="174054" y="277820"/>
                  <a:pt x="174054" y="256407"/>
                </a:cubicBezTo>
                <a:cubicBezTo>
                  <a:pt x="174128" y="205164"/>
                  <a:pt x="215846" y="163372"/>
                  <a:pt x="267163" y="163372"/>
                </a:cubicBezTo>
                <a:moveTo>
                  <a:pt x="504844" y="379937"/>
                </a:moveTo>
                <a:cubicBezTo>
                  <a:pt x="503442" y="382964"/>
                  <a:pt x="500931" y="385253"/>
                  <a:pt x="497830" y="386360"/>
                </a:cubicBezTo>
                <a:cubicBezTo>
                  <a:pt x="497387" y="386508"/>
                  <a:pt x="497018" y="386656"/>
                  <a:pt x="496648" y="386877"/>
                </a:cubicBezTo>
                <a:cubicBezTo>
                  <a:pt x="421335" y="422688"/>
                  <a:pt x="296771" y="480651"/>
                  <a:pt x="283259" y="483678"/>
                </a:cubicBezTo>
                <a:cubicBezTo>
                  <a:pt x="267163" y="487001"/>
                  <a:pt x="248260" y="477771"/>
                  <a:pt x="224411" y="466105"/>
                </a:cubicBezTo>
                <a:cubicBezTo>
                  <a:pt x="197534" y="452962"/>
                  <a:pt x="164160" y="436644"/>
                  <a:pt x="122811" y="434428"/>
                </a:cubicBezTo>
                <a:lnTo>
                  <a:pt x="115501" y="433764"/>
                </a:lnTo>
                <a:lnTo>
                  <a:pt x="116682" y="335117"/>
                </a:lnTo>
                <a:lnTo>
                  <a:pt x="146143" y="335117"/>
                </a:lnTo>
                <a:cubicBezTo>
                  <a:pt x="152346" y="335117"/>
                  <a:pt x="170140" y="335487"/>
                  <a:pt x="179075" y="337111"/>
                </a:cubicBezTo>
                <a:cubicBezTo>
                  <a:pt x="200930" y="361034"/>
                  <a:pt x="232385" y="376023"/>
                  <a:pt x="267310" y="376023"/>
                </a:cubicBezTo>
                <a:cubicBezTo>
                  <a:pt x="269747" y="376023"/>
                  <a:pt x="272183" y="375949"/>
                  <a:pt x="274620" y="375802"/>
                </a:cubicBezTo>
                <a:cubicBezTo>
                  <a:pt x="303195" y="376835"/>
                  <a:pt x="337677" y="375063"/>
                  <a:pt x="344987" y="374620"/>
                </a:cubicBezTo>
                <a:cubicBezTo>
                  <a:pt x="352075" y="375063"/>
                  <a:pt x="357539" y="381044"/>
                  <a:pt x="357392" y="388206"/>
                </a:cubicBezTo>
                <a:cubicBezTo>
                  <a:pt x="357170" y="395516"/>
                  <a:pt x="351115" y="401276"/>
                  <a:pt x="343805" y="401054"/>
                </a:cubicBezTo>
                <a:cubicBezTo>
                  <a:pt x="343732" y="401054"/>
                  <a:pt x="343732" y="401054"/>
                  <a:pt x="343658" y="401054"/>
                </a:cubicBezTo>
                <a:lnTo>
                  <a:pt x="245454" y="399356"/>
                </a:lnTo>
                <a:cubicBezTo>
                  <a:pt x="241098" y="399282"/>
                  <a:pt x="236963" y="401349"/>
                  <a:pt x="234453" y="404894"/>
                </a:cubicBezTo>
                <a:lnTo>
                  <a:pt x="221753" y="422541"/>
                </a:lnTo>
                <a:cubicBezTo>
                  <a:pt x="217470" y="428521"/>
                  <a:pt x="218799" y="436791"/>
                  <a:pt x="224780" y="441074"/>
                </a:cubicBezTo>
                <a:cubicBezTo>
                  <a:pt x="227143" y="442772"/>
                  <a:pt x="229875" y="443584"/>
                  <a:pt x="232533" y="443584"/>
                </a:cubicBezTo>
                <a:cubicBezTo>
                  <a:pt x="236668" y="443584"/>
                  <a:pt x="240729" y="441664"/>
                  <a:pt x="243313" y="438046"/>
                </a:cubicBezTo>
                <a:lnTo>
                  <a:pt x="251952" y="426085"/>
                </a:lnTo>
                <a:lnTo>
                  <a:pt x="343141" y="427709"/>
                </a:lnTo>
                <a:cubicBezTo>
                  <a:pt x="343510" y="427709"/>
                  <a:pt x="343805" y="427709"/>
                  <a:pt x="344175" y="427709"/>
                </a:cubicBezTo>
                <a:cubicBezTo>
                  <a:pt x="360640" y="427709"/>
                  <a:pt x="374891" y="417594"/>
                  <a:pt x="380946" y="403121"/>
                </a:cubicBezTo>
                <a:cubicBezTo>
                  <a:pt x="385081" y="401423"/>
                  <a:pt x="441049" y="378829"/>
                  <a:pt x="488379" y="361773"/>
                </a:cubicBezTo>
                <a:cubicBezTo>
                  <a:pt x="491701" y="360591"/>
                  <a:pt x="495246" y="360739"/>
                  <a:pt x="498421" y="362289"/>
                </a:cubicBezTo>
                <a:cubicBezTo>
                  <a:pt x="501669" y="363840"/>
                  <a:pt x="504106" y="366498"/>
                  <a:pt x="505288" y="369895"/>
                </a:cubicBezTo>
                <a:lnTo>
                  <a:pt x="505509" y="370485"/>
                </a:lnTo>
                <a:cubicBezTo>
                  <a:pt x="506469" y="373587"/>
                  <a:pt x="506247" y="376909"/>
                  <a:pt x="504844" y="379937"/>
                </a:cubicBezTo>
                <a:moveTo>
                  <a:pt x="214517" y="263938"/>
                </a:moveTo>
                <a:cubicBezTo>
                  <a:pt x="209348" y="258696"/>
                  <a:pt x="209422" y="250278"/>
                  <a:pt x="214664" y="245110"/>
                </a:cubicBezTo>
                <a:cubicBezTo>
                  <a:pt x="219907" y="239941"/>
                  <a:pt x="228324" y="240015"/>
                  <a:pt x="233493" y="245257"/>
                </a:cubicBezTo>
                <a:lnTo>
                  <a:pt x="250844" y="262978"/>
                </a:lnTo>
                <a:lnTo>
                  <a:pt x="298691" y="203687"/>
                </a:lnTo>
                <a:cubicBezTo>
                  <a:pt x="303269" y="198002"/>
                  <a:pt x="311686" y="197116"/>
                  <a:pt x="317372" y="201694"/>
                </a:cubicBezTo>
                <a:cubicBezTo>
                  <a:pt x="323057" y="206271"/>
                  <a:pt x="323943" y="214689"/>
                  <a:pt x="319365" y="220374"/>
                </a:cubicBezTo>
                <a:lnTo>
                  <a:pt x="262142" y="291258"/>
                </a:lnTo>
                <a:cubicBezTo>
                  <a:pt x="262142" y="291258"/>
                  <a:pt x="262142" y="291258"/>
                  <a:pt x="262068" y="291332"/>
                </a:cubicBezTo>
                <a:cubicBezTo>
                  <a:pt x="261772" y="291701"/>
                  <a:pt x="261477" y="292070"/>
                  <a:pt x="261108" y="292366"/>
                </a:cubicBezTo>
                <a:cubicBezTo>
                  <a:pt x="261034" y="292439"/>
                  <a:pt x="260960" y="292513"/>
                  <a:pt x="260886" y="292587"/>
                </a:cubicBezTo>
                <a:cubicBezTo>
                  <a:pt x="260591" y="292883"/>
                  <a:pt x="260296" y="293104"/>
                  <a:pt x="260000" y="293326"/>
                </a:cubicBezTo>
                <a:cubicBezTo>
                  <a:pt x="259853" y="293473"/>
                  <a:pt x="259705" y="293547"/>
                  <a:pt x="259557" y="293621"/>
                </a:cubicBezTo>
                <a:cubicBezTo>
                  <a:pt x="259336" y="293769"/>
                  <a:pt x="259114" y="293990"/>
                  <a:pt x="258819" y="294138"/>
                </a:cubicBezTo>
                <a:cubicBezTo>
                  <a:pt x="258671" y="294212"/>
                  <a:pt x="258523" y="294359"/>
                  <a:pt x="258302" y="294433"/>
                </a:cubicBezTo>
                <a:cubicBezTo>
                  <a:pt x="258081" y="294581"/>
                  <a:pt x="257785" y="294728"/>
                  <a:pt x="257564" y="294802"/>
                </a:cubicBezTo>
                <a:cubicBezTo>
                  <a:pt x="257416" y="294876"/>
                  <a:pt x="257268" y="294950"/>
                  <a:pt x="257047" y="295024"/>
                </a:cubicBezTo>
                <a:cubicBezTo>
                  <a:pt x="256751" y="295171"/>
                  <a:pt x="256530" y="295245"/>
                  <a:pt x="256235" y="295319"/>
                </a:cubicBezTo>
                <a:cubicBezTo>
                  <a:pt x="256087" y="295393"/>
                  <a:pt x="255939" y="295467"/>
                  <a:pt x="255718" y="295467"/>
                </a:cubicBezTo>
                <a:cubicBezTo>
                  <a:pt x="255422" y="295541"/>
                  <a:pt x="255127" y="295614"/>
                  <a:pt x="254832" y="295688"/>
                </a:cubicBezTo>
                <a:cubicBezTo>
                  <a:pt x="254684" y="295762"/>
                  <a:pt x="254536" y="295762"/>
                  <a:pt x="254389" y="295762"/>
                </a:cubicBezTo>
                <a:cubicBezTo>
                  <a:pt x="254093" y="295836"/>
                  <a:pt x="253724" y="295910"/>
                  <a:pt x="253429" y="295910"/>
                </a:cubicBezTo>
                <a:cubicBezTo>
                  <a:pt x="253281" y="295910"/>
                  <a:pt x="253133" y="295984"/>
                  <a:pt x="253060" y="295984"/>
                </a:cubicBezTo>
                <a:cubicBezTo>
                  <a:pt x="252616" y="296058"/>
                  <a:pt x="252174" y="296058"/>
                  <a:pt x="251730" y="296058"/>
                </a:cubicBezTo>
                <a:cubicBezTo>
                  <a:pt x="251730" y="296058"/>
                  <a:pt x="251730" y="296058"/>
                  <a:pt x="251730" y="296058"/>
                </a:cubicBezTo>
                <a:cubicBezTo>
                  <a:pt x="251361" y="296058"/>
                  <a:pt x="250918" y="296058"/>
                  <a:pt x="250549" y="295984"/>
                </a:cubicBezTo>
                <a:cubicBezTo>
                  <a:pt x="250475" y="295984"/>
                  <a:pt x="250328" y="295984"/>
                  <a:pt x="250254" y="295910"/>
                </a:cubicBezTo>
                <a:cubicBezTo>
                  <a:pt x="249958" y="295910"/>
                  <a:pt x="249663" y="295836"/>
                  <a:pt x="249368" y="295762"/>
                </a:cubicBezTo>
                <a:cubicBezTo>
                  <a:pt x="249220" y="295762"/>
                  <a:pt x="249146" y="295688"/>
                  <a:pt x="248999" y="295688"/>
                </a:cubicBezTo>
                <a:cubicBezTo>
                  <a:pt x="248703" y="295614"/>
                  <a:pt x="248482" y="295541"/>
                  <a:pt x="248186" y="295467"/>
                </a:cubicBezTo>
                <a:cubicBezTo>
                  <a:pt x="248039" y="295393"/>
                  <a:pt x="247891" y="295393"/>
                  <a:pt x="247743" y="295319"/>
                </a:cubicBezTo>
                <a:cubicBezTo>
                  <a:pt x="247522" y="295245"/>
                  <a:pt x="247226" y="295171"/>
                  <a:pt x="247005" y="295024"/>
                </a:cubicBezTo>
                <a:cubicBezTo>
                  <a:pt x="246857" y="294950"/>
                  <a:pt x="246709" y="294950"/>
                  <a:pt x="246562" y="294876"/>
                </a:cubicBezTo>
                <a:cubicBezTo>
                  <a:pt x="246340" y="294802"/>
                  <a:pt x="246119" y="294655"/>
                  <a:pt x="245823" y="294507"/>
                </a:cubicBezTo>
                <a:cubicBezTo>
                  <a:pt x="245676" y="294433"/>
                  <a:pt x="245528" y="294359"/>
                  <a:pt x="245381" y="294285"/>
                </a:cubicBezTo>
                <a:cubicBezTo>
                  <a:pt x="245085" y="294138"/>
                  <a:pt x="244864" y="293990"/>
                  <a:pt x="244568" y="293842"/>
                </a:cubicBezTo>
                <a:cubicBezTo>
                  <a:pt x="244421" y="293769"/>
                  <a:pt x="244347" y="293695"/>
                  <a:pt x="244199" y="293621"/>
                </a:cubicBezTo>
                <a:cubicBezTo>
                  <a:pt x="243904" y="293399"/>
                  <a:pt x="243608" y="293252"/>
                  <a:pt x="243387" y="293030"/>
                </a:cubicBezTo>
                <a:cubicBezTo>
                  <a:pt x="243387" y="293030"/>
                  <a:pt x="243387" y="293030"/>
                  <a:pt x="243313" y="292956"/>
                </a:cubicBezTo>
                <a:cubicBezTo>
                  <a:pt x="243165" y="292809"/>
                  <a:pt x="243018" y="292661"/>
                  <a:pt x="242796" y="292513"/>
                </a:cubicBezTo>
                <a:cubicBezTo>
                  <a:pt x="242648" y="292366"/>
                  <a:pt x="242427" y="292218"/>
                  <a:pt x="242279" y="291996"/>
                </a:cubicBezTo>
                <a:cubicBezTo>
                  <a:pt x="242279" y="291996"/>
                  <a:pt x="242279" y="291996"/>
                  <a:pt x="242206" y="291923"/>
                </a:cubicBezTo>
                <a:lnTo>
                  <a:pt x="214517" y="26393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s-MX" sz="1400" dirty="0"/>
          </a:p>
        </p:txBody>
      </p:sp>
      <p:sp>
        <p:nvSpPr>
          <p:cNvPr id="10" name="Forma libre 63">
            <a:extLst>
              <a:ext uri="{FF2B5EF4-FFF2-40B4-BE49-F238E27FC236}">
                <a16:creationId xmlns:a16="http://schemas.microsoft.com/office/drawing/2014/main" id="{044EE1BE-450C-806F-63CB-5C6811FD1D8B}"/>
              </a:ext>
            </a:extLst>
          </p:cNvPr>
          <p:cNvSpPr/>
          <p:nvPr/>
        </p:nvSpPr>
        <p:spPr>
          <a:xfrm>
            <a:off x="5267516" y="4142691"/>
            <a:ext cx="877891" cy="884242"/>
          </a:xfrm>
          <a:custGeom>
            <a:avLst/>
            <a:gdLst>
              <a:gd name="connsiteX0" fmla="*/ 398942 w 510215"/>
              <a:gd name="connsiteY0" fmla="*/ 133461 h 513906"/>
              <a:gd name="connsiteX1" fmla="*/ 465396 w 510215"/>
              <a:gd name="connsiteY1" fmla="*/ 67007 h 513906"/>
              <a:gd name="connsiteX2" fmla="*/ 398942 w 510215"/>
              <a:gd name="connsiteY2" fmla="*/ 554 h 513906"/>
              <a:gd name="connsiteX3" fmla="*/ 332489 w 510215"/>
              <a:gd name="connsiteY3" fmla="*/ 67007 h 513906"/>
              <a:gd name="connsiteX4" fmla="*/ 398942 w 510215"/>
              <a:gd name="connsiteY4" fmla="*/ 133461 h 513906"/>
              <a:gd name="connsiteX5" fmla="*/ 398942 w 510215"/>
              <a:gd name="connsiteY5" fmla="*/ 27061 h 513906"/>
              <a:gd name="connsiteX6" fmla="*/ 438814 w 510215"/>
              <a:gd name="connsiteY6" fmla="*/ 66933 h 513906"/>
              <a:gd name="connsiteX7" fmla="*/ 398942 w 510215"/>
              <a:gd name="connsiteY7" fmla="*/ 106805 h 513906"/>
              <a:gd name="connsiteX8" fmla="*/ 359070 w 510215"/>
              <a:gd name="connsiteY8" fmla="*/ 66933 h 513906"/>
              <a:gd name="connsiteX9" fmla="*/ 398942 w 510215"/>
              <a:gd name="connsiteY9" fmla="*/ 27061 h 513906"/>
              <a:gd name="connsiteX10" fmla="*/ 510141 w 510215"/>
              <a:gd name="connsiteY10" fmla="*/ 208922 h 513906"/>
              <a:gd name="connsiteX11" fmla="*/ 489393 w 510215"/>
              <a:gd name="connsiteY11" fmla="*/ 168977 h 513906"/>
              <a:gd name="connsiteX12" fmla="*/ 428551 w 510215"/>
              <a:gd name="connsiteY12" fmla="*/ 144019 h 513906"/>
              <a:gd name="connsiteX13" fmla="*/ 426927 w 510215"/>
              <a:gd name="connsiteY13" fmla="*/ 143724 h 513906"/>
              <a:gd name="connsiteX14" fmla="*/ 399016 w 510215"/>
              <a:gd name="connsiteY14" fmla="*/ 141361 h 513906"/>
              <a:gd name="connsiteX15" fmla="*/ 399016 w 510215"/>
              <a:gd name="connsiteY15" fmla="*/ 141361 h 513906"/>
              <a:gd name="connsiteX16" fmla="*/ 399016 w 510215"/>
              <a:gd name="connsiteY16" fmla="*/ 141361 h 513906"/>
              <a:gd name="connsiteX17" fmla="*/ 371179 w 510215"/>
              <a:gd name="connsiteY17" fmla="*/ 143724 h 513906"/>
              <a:gd name="connsiteX18" fmla="*/ 369481 w 510215"/>
              <a:gd name="connsiteY18" fmla="*/ 144019 h 513906"/>
              <a:gd name="connsiteX19" fmla="*/ 309230 w 510215"/>
              <a:gd name="connsiteY19" fmla="*/ 168607 h 513906"/>
              <a:gd name="connsiteX20" fmla="*/ 287965 w 510215"/>
              <a:gd name="connsiteY20" fmla="*/ 209218 h 513906"/>
              <a:gd name="connsiteX21" fmla="*/ 287965 w 510215"/>
              <a:gd name="connsiteY21" fmla="*/ 335332 h 513906"/>
              <a:gd name="connsiteX22" fmla="*/ 301256 w 510215"/>
              <a:gd name="connsiteY22" fmla="*/ 348622 h 513906"/>
              <a:gd name="connsiteX23" fmla="*/ 322890 w 510215"/>
              <a:gd name="connsiteY23" fmla="*/ 348622 h 513906"/>
              <a:gd name="connsiteX24" fmla="*/ 322890 w 510215"/>
              <a:gd name="connsiteY24" fmla="*/ 500653 h 513906"/>
              <a:gd name="connsiteX25" fmla="*/ 336181 w 510215"/>
              <a:gd name="connsiteY25" fmla="*/ 513944 h 513906"/>
              <a:gd name="connsiteX26" fmla="*/ 460744 w 510215"/>
              <a:gd name="connsiteY26" fmla="*/ 513944 h 513906"/>
              <a:gd name="connsiteX27" fmla="*/ 474035 w 510215"/>
              <a:gd name="connsiteY27" fmla="*/ 500653 h 513906"/>
              <a:gd name="connsiteX28" fmla="*/ 474035 w 510215"/>
              <a:gd name="connsiteY28" fmla="*/ 348622 h 513906"/>
              <a:gd name="connsiteX29" fmla="*/ 496998 w 510215"/>
              <a:gd name="connsiteY29" fmla="*/ 348622 h 513906"/>
              <a:gd name="connsiteX30" fmla="*/ 510289 w 510215"/>
              <a:gd name="connsiteY30" fmla="*/ 335332 h 513906"/>
              <a:gd name="connsiteX31" fmla="*/ 510141 w 510215"/>
              <a:gd name="connsiteY31" fmla="*/ 208922 h 513906"/>
              <a:gd name="connsiteX32" fmla="*/ 460744 w 510215"/>
              <a:gd name="connsiteY32" fmla="*/ 321967 h 513906"/>
              <a:gd name="connsiteX33" fmla="*/ 447454 w 510215"/>
              <a:gd name="connsiteY33" fmla="*/ 335258 h 513906"/>
              <a:gd name="connsiteX34" fmla="*/ 447454 w 510215"/>
              <a:gd name="connsiteY34" fmla="*/ 487288 h 513906"/>
              <a:gd name="connsiteX35" fmla="*/ 349471 w 510215"/>
              <a:gd name="connsiteY35" fmla="*/ 487288 h 513906"/>
              <a:gd name="connsiteX36" fmla="*/ 349471 w 510215"/>
              <a:gd name="connsiteY36" fmla="*/ 335258 h 513906"/>
              <a:gd name="connsiteX37" fmla="*/ 336181 w 510215"/>
              <a:gd name="connsiteY37" fmla="*/ 321967 h 513906"/>
              <a:gd name="connsiteX38" fmla="*/ 314547 w 510215"/>
              <a:gd name="connsiteY38" fmla="*/ 321967 h 513906"/>
              <a:gd name="connsiteX39" fmla="*/ 314547 w 510215"/>
              <a:gd name="connsiteY39" fmla="*/ 209144 h 513906"/>
              <a:gd name="connsiteX40" fmla="*/ 324367 w 510215"/>
              <a:gd name="connsiteY40" fmla="*/ 190315 h 513906"/>
              <a:gd name="connsiteX41" fmla="*/ 371179 w 510215"/>
              <a:gd name="connsiteY41" fmla="*/ 170675 h 513906"/>
              <a:gd name="connsiteX42" fmla="*/ 385652 w 510215"/>
              <a:gd name="connsiteY42" fmla="*/ 176434 h 513906"/>
              <a:gd name="connsiteX43" fmla="*/ 385726 w 510215"/>
              <a:gd name="connsiteY43" fmla="*/ 279585 h 513906"/>
              <a:gd name="connsiteX44" fmla="*/ 399016 w 510215"/>
              <a:gd name="connsiteY44" fmla="*/ 292875 h 513906"/>
              <a:gd name="connsiteX45" fmla="*/ 399016 w 510215"/>
              <a:gd name="connsiteY45" fmla="*/ 292875 h 513906"/>
              <a:gd name="connsiteX46" fmla="*/ 412307 w 510215"/>
              <a:gd name="connsiteY46" fmla="*/ 279585 h 513906"/>
              <a:gd name="connsiteX47" fmla="*/ 412233 w 510215"/>
              <a:gd name="connsiteY47" fmla="*/ 176434 h 513906"/>
              <a:gd name="connsiteX48" fmla="*/ 426705 w 510215"/>
              <a:gd name="connsiteY48" fmla="*/ 170675 h 513906"/>
              <a:gd name="connsiteX49" fmla="*/ 474035 w 510215"/>
              <a:gd name="connsiteY49" fmla="*/ 190685 h 513906"/>
              <a:gd name="connsiteX50" fmla="*/ 483560 w 510215"/>
              <a:gd name="connsiteY50" fmla="*/ 209070 h 513906"/>
              <a:gd name="connsiteX51" fmla="*/ 483708 w 510215"/>
              <a:gd name="connsiteY51" fmla="*/ 321967 h 513906"/>
              <a:gd name="connsiteX52" fmla="*/ 460744 w 510215"/>
              <a:gd name="connsiteY52" fmla="*/ 321967 h 513906"/>
              <a:gd name="connsiteX53" fmla="*/ 121240 w 510215"/>
              <a:gd name="connsiteY53" fmla="*/ 346333 h 513906"/>
              <a:gd name="connsiteX54" fmla="*/ 121240 w 510215"/>
              <a:gd name="connsiteY54" fmla="*/ 365162 h 513906"/>
              <a:gd name="connsiteX55" fmla="*/ 111863 w 510215"/>
              <a:gd name="connsiteY55" fmla="*/ 369075 h 513906"/>
              <a:gd name="connsiteX56" fmla="*/ 102486 w 510215"/>
              <a:gd name="connsiteY56" fmla="*/ 365162 h 513906"/>
              <a:gd name="connsiteX57" fmla="*/ 76126 w 510215"/>
              <a:gd name="connsiteY57" fmla="*/ 338802 h 513906"/>
              <a:gd name="connsiteX58" fmla="*/ 76126 w 510215"/>
              <a:gd name="connsiteY58" fmla="*/ 500653 h 513906"/>
              <a:gd name="connsiteX59" fmla="*/ 62836 w 510215"/>
              <a:gd name="connsiteY59" fmla="*/ 513944 h 513906"/>
              <a:gd name="connsiteX60" fmla="*/ 49545 w 510215"/>
              <a:gd name="connsiteY60" fmla="*/ 500653 h 513906"/>
              <a:gd name="connsiteX61" fmla="*/ 49545 w 510215"/>
              <a:gd name="connsiteY61" fmla="*/ 338802 h 513906"/>
              <a:gd name="connsiteX62" fmla="*/ 23185 w 510215"/>
              <a:gd name="connsiteY62" fmla="*/ 365162 h 513906"/>
              <a:gd name="connsiteX63" fmla="*/ 13807 w 510215"/>
              <a:gd name="connsiteY63" fmla="*/ 369075 h 513906"/>
              <a:gd name="connsiteX64" fmla="*/ 4430 w 510215"/>
              <a:gd name="connsiteY64" fmla="*/ 365162 h 513906"/>
              <a:gd name="connsiteX65" fmla="*/ 4430 w 510215"/>
              <a:gd name="connsiteY65" fmla="*/ 346333 h 513906"/>
              <a:gd name="connsiteX66" fmla="*/ 53532 w 510215"/>
              <a:gd name="connsiteY66" fmla="*/ 297232 h 513906"/>
              <a:gd name="connsiteX67" fmla="*/ 54492 w 510215"/>
              <a:gd name="connsiteY67" fmla="*/ 296346 h 513906"/>
              <a:gd name="connsiteX68" fmla="*/ 54935 w 510215"/>
              <a:gd name="connsiteY68" fmla="*/ 295977 h 513906"/>
              <a:gd name="connsiteX69" fmla="*/ 55525 w 510215"/>
              <a:gd name="connsiteY69" fmla="*/ 295533 h 513906"/>
              <a:gd name="connsiteX70" fmla="*/ 56116 w 510215"/>
              <a:gd name="connsiteY70" fmla="*/ 295164 h 513906"/>
              <a:gd name="connsiteX71" fmla="*/ 56633 w 510215"/>
              <a:gd name="connsiteY71" fmla="*/ 294869 h 513906"/>
              <a:gd name="connsiteX72" fmla="*/ 57224 w 510215"/>
              <a:gd name="connsiteY72" fmla="*/ 294573 h 513906"/>
              <a:gd name="connsiteX73" fmla="*/ 57814 w 510215"/>
              <a:gd name="connsiteY73" fmla="*/ 294278 h 513906"/>
              <a:gd name="connsiteX74" fmla="*/ 58405 w 510215"/>
              <a:gd name="connsiteY74" fmla="*/ 294057 h 513906"/>
              <a:gd name="connsiteX75" fmla="*/ 59070 w 510215"/>
              <a:gd name="connsiteY75" fmla="*/ 293835 h 513906"/>
              <a:gd name="connsiteX76" fmla="*/ 59660 w 510215"/>
              <a:gd name="connsiteY76" fmla="*/ 293688 h 513906"/>
              <a:gd name="connsiteX77" fmla="*/ 60325 w 510215"/>
              <a:gd name="connsiteY77" fmla="*/ 293540 h 513906"/>
              <a:gd name="connsiteX78" fmla="*/ 60990 w 510215"/>
              <a:gd name="connsiteY78" fmla="*/ 293466 h 513906"/>
              <a:gd name="connsiteX79" fmla="*/ 61580 w 510215"/>
              <a:gd name="connsiteY79" fmla="*/ 293392 h 513906"/>
              <a:gd name="connsiteX80" fmla="*/ 62836 w 510215"/>
              <a:gd name="connsiteY80" fmla="*/ 293318 h 513906"/>
              <a:gd name="connsiteX81" fmla="*/ 62836 w 510215"/>
              <a:gd name="connsiteY81" fmla="*/ 293318 h 513906"/>
              <a:gd name="connsiteX82" fmla="*/ 62836 w 510215"/>
              <a:gd name="connsiteY82" fmla="*/ 293318 h 513906"/>
              <a:gd name="connsiteX83" fmla="*/ 64091 w 510215"/>
              <a:gd name="connsiteY83" fmla="*/ 293392 h 513906"/>
              <a:gd name="connsiteX84" fmla="*/ 64681 w 510215"/>
              <a:gd name="connsiteY84" fmla="*/ 293466 h 513906"/>
              <a:gd name="connsiteX85" fmla="*/ 65346 w 510215"/>
              <a:gd name="connsiteY85" fmla="*/ 293540 h 513906"/>
              <a:gd name="connsiteX86" fmla="*/ 66010 w 510215"/>
              <a:gd name="connsiteY86" fmla="*/ 293688 h 513906"/>
              <a:gd name="connsiteX87" fmla="*/ 66601 w 510215"/>
              <a:gd name="connsiteY87" fmla="*/ 293835 h 513906"/>
              <a:gd name="connsiteX88" fmla="*/ 67266 w 510215"/>
              <a:gd name="connsiteY88" fmla="*/ 294057 h 513906"/>
              <a:gd name="connsiteX89" fmla="*/ 67856 w 510215"/>
              <a:gd name="connsiteY89" fmla="*/ 294278 h 513906"/>
              <a:gd name="connsiteX90" fmla="*/ 68447 w 510215"/>
              <a:gd name="connsiteY90" fmla="*/ 294573 h 513906"/>
              <a:gd name="connsiteX91" fmla="*/ 69038 w 510215"/>
              <a:gd name="connsiteY91" fmla="*/ 294869 h 513906"/>
              <a:gd name="connsiteX92" fmla="*/ 69554 w 510215"/>
              <a:gd name="connsiteY92" fmla="*/ 295164 h 513906"/>
              <a:gd name="connsiteX93" fmla="*/ 70145 w 510215"/>
              <a:gd name="connsiteY93" fmla="*/ 295533 h 513906"/>
              <a:gd name="connsiteX94" fmla="*/ 70736 w 510215"/>
              <a:gd name="connsiteY94" fmla="*/ 295977 h 513906"/>
              <a:gd name="connsiteX95" fmla="*/ 71179 w 510215"/>
              <a:gd name="connsiteY95" fmla="*/ 296346 h 513906"/>
              <a:gd name="connsiteX96" fmla="*/ 72139 w 510215"/>
              <a:gd name="connsiteY96" fmla="*/ 297232 h 513906"/>
              <a:gd name="connsiteX97" fmla="*/ 121240 w 510215"/>
              <a:gd name="connsiteY97" fmla="*/ 346333 h 513906"/>
              <a:gd name="connsiteX98" fmla="*/ 248979 w 510215"/>
              <a:gd name="connsiteY98" fmla="*/ 210842 h 513906"/>
              <a:gd name="connsiteX99" fmla="*/ 248979 w 510215"/>
              <a:gd name="connsiteY99" fmla="*/ 229671 h 513906"/>
              <a:gd name="connsiteX100" fmla="*/ 239602 w 510215"/>
              <a:gd name="connsiteY100" fmla="*/ 233584 h 513906"/>
              <a:gd name="connsiteX101" fmla="*/ 230224 w 510215"/>
              <a:gd name="connsiteY101" fmla="*/ 229671 h 513906"/>
              <a:gd name="connsiteX102" fmla="*/ 203865 w 510215"/>
              <a:gd name="connsiteY102" fmla="*/ 203311 h 513906"/>
              <a:gd name="connsiteX103" fmla="*/ 203865 w 510215"/>
              <a:gd name="connsiteY103" fmla="*/ 500653 h 513906"/>
              <a:gd name="connsiteX104" fmla="*/ 190574 w 510215"/>
              <a:gd name="connsiteY104" fmla="*/ 513944 h 513906"/>
              <a:gd name="connsiteX105" fmla="*/ 177283 w 510215"/>
              <a:gd name="connsiteY105" fmla="*/ 500653 h 513906"/>
              <a:gd name="connsiteX106" fmla="*/ 177283 w 510215"/>
              <a:gd name="connsiteY106" fmla="*/ 203311 h 513906"/>
              <a:gd name="connsiteX107" fmla="*/ 150923 w 510215"/>
              <a:gd name="connsiteY107" fmla="*/ 229671 h 513906"/>
              <a:gd name="connsiteX108" fmla="*/ 141546 w 510215"/>
              <a:gd name="connsiteY108" fmla="*/ 233584 h 513906"/>
              <a:gd name="connsiteX109" fmla="*/ 132169 w 510215"/>
              <a:gd name="connsiteY109" fmla="*/ 229671 h 513906"/>
              <a:gd name="connsiteX110" fmla="*/ 132169 w 510215"/>
              <a:gd name="connsiteY110" fmla="*/ 210842 h 513906"/>
              <a:gd name="connsiteX111" fmla="*/ 181270 w 510215"/>
              <a:gd name="connsiteY111" fmla="*/ 161740 h 513906"/>
              <a:gd name="connsiteX112" fmla="*/ 181270 w 510215"/>
              <a:gd name="connsiteY112" fmla="*/ 161740 h 513906"/>
              <a:gd name="connsiteX113" fmla="*/ 182230 w 510215"/>
              <a:gd name="connsiteY113" fmla="*/ 160854 h 513906"/>
              <a:gd name="connsiteX114" fmla="*/ 182673 w 510215"/>
              <a:gd name="connsiteY114" fmla="*/ 160485 h 513906"/>
              <a:gd name="connsiteX115" fmla="*/ 183264 w 510215"/>
              <a:gd name="connsiteY115" fmla="*/ 160042 h 513906"/>
              <a:gd name="connsiteX116" fmla="*/ 183855 w 510215"/>
              <a:gd name="connsiteY116" fmla="*/ 159673 h 513906"/>
              <a:gd name="connsiteX117" fmla="*/ 184371 w 510215"/>
              <a:gd name="connsiteY117" fmla="*/ 159378 h 513906"/>
              <a:gd name="connsiteX118" fmla="*/ 184962 w 510215"/>
              <a:gd name="connsiteY118" fmla="*/ 159082 h 513906"/>
              <a:gd name="connsiteX119" fmla="*/ 185553 w 510215"/>
              <a:gd name="connsiteY119" fmla="*/ 158787 h 513906"/>
              <a:gd name="connsiteX120" fmla="*/ 186144 w 510215"/>
              <a:gd name="connsiteY120" fmla="*/ 158565 h 513906"/>
              <a:gd name="connsiteX121" fmla="*/ 186808 w 510215"/>
              <a:gd name="connsiteY121" fmla="*/ 158344 h 513906"/>
              <a:gd name="connsiteX122" fmla="*/ 187399 w 510215"/>
              <a:gd name="connsiteY122" fmla="*/ 158196 h 513906"/>
              <a:gd name="connsiteX123" fmla="*/ 188063 w 510215"/>
              <a:gd name="connsiteY123" fmla="*/ 158048 h 513906"/>
              <a:gd name="connsiteX124" fmla="*/ 188728 w 510215"/>
              <a:gd name="connsiteY124" fmla="*/ 157975 h 513906"/>
              <a:gd name="connsiteX125" fmla="*/ 189319 w 510215"/>
              <a:gd name="connsiteY125" fmla="*/ 157901 h 513906"/>
              <a:gd name="connsiteX126" fmla="*/ 190500 w 510215"/>
              <a:gd name="connsiteY126" fmla="*/ 157827 h 513906"/>
              <a:gd name="connsiteX127" fmla="*/ 190574 w 510215"/>
              <a:gd name="connsiteY127" fmla="*/ 157827 h 513906"/>
              <a:gd name="connsiteX128" fmla="*/ 190647 w 510215"/>
              <a:gd name="connsiteY128" fmla="*/ 157827 h 513906"/>
              <a:gd name="connsiteX129" fmla="*/ 191829 w 510215"/>
              <a:gd name="connsiteY129" fmla="*/ 157901 h 513906"/>
              <a:gd name="connsiteX130" fmla="*/ 192420 w 510215"/>
              <a:gd name="connsiteY130" fmla="*/ 157975 h 513906"/>
              <a:gd name="connsiteX131" fmla="*/ 193084 w 510215"/>
              <a:gd name="connsiteY131" fmla="*/ 158048 h 513906"/>
              <a:gd name="connsiteX132" fmla="*/ 193749 w 510215"/>
              <a:gd name="connsiteY132" fmla="*/ 158196 h 513906"/>
              <a:gd name="connsiteX133" fmla="*/ 194339 w 510215"/>
              <a:gd name="connsiteY133" fmla="*/ 158344 h 513906"/>
              <a:gd name="connsiteX134" fmla="*/ 195004 w 510215"/>
              <a:gd name="connsiteY134" fmla="*/ 158565 h 513906"/>
              <a:gd name="connsiteX135" fmla="*/ 195595 w 510215"/>
              <a:gd name="connsiteY135" fmla="*/ 158787 h 513906"/>
              <a:gd name="connsiteX136" fmla="*/ 196185 w 510215"/>
              <a:gd name="connsiteY136" fmla="*/ 159082 h 513906"/>
              <a:gd name="connsiteX137" fmla="*/ 196776 w 510215"/>
              <a:gd name="connsiteY137" fmla="*/ 159378 h 513906"/>
              <a:gd name="connsiteX138" fmla="*/ 197293 w 510215"/>
              <a:gd name="connsiteY138" fmla="*/ 159673 h 513906"/>
              <a:gd name="connsiteX139" fmla="*/ 197884 w 510215"/>
              <a:gd name="connsiteY139" fmla="*/ 160042 h 513906"/>
              <a:gd name="connsiteX140" fmla="*/ 198474 w 510215"/>
              <a:gd name="connsiteY140" fmla="*/ 160485 h 513906"/>
              <a:gd name="connsiteX141" fmla="*/ 198917 w 510215"/>
              <a:gd name="connsiteY141" fmla="*/ 160854 h 513906"/>
              <a:gd name="connsiteX142" fmla="*/ 199877 w 510215"/>
              <a:gd name="connsiteY142" fmla="*/ 161740 h 513906"/>
              <a:gd name="connsiteX143" fmla="*/ 199877 w 510215"/>
              <a:gd name="connsiteY143" fmla="*/ 161740 h 513906"/>
              <a:gd name="connsiteX144" fmla="*/ 199877 w 510215"/>
              <a:gd name="connsiteY144" fmla="*/ 161740 h 513906"/>
              <a:gd name="connsiteX145" fmla="*/ 248979 w 510215"/>
              <a:gd name="connsiteY145" fmla="*/ 210842 h 513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</a:cxnLst>
            <a:rect l="l" t="t" r="r" b="b"/>
            <a:pathLst>
              <a:path w="510215" h="513906">
                <a:moveTo>
                  <a:pt x="398942" y="133461"/>
                </a:moveTo>
                <a:cubicBezTo>
                  <a:pt x="435640" y="133461"/>
                  <a:pt x="465396" y="103631"/>
                  <a:pt x="465396" y="67007"/>
                </a:cubicBezTo>
                <a:cubicBezTo>
                  <a:pt x="465396" y="30310"/>
                  <a:pt x="435566" y="554"/>
                  <a:pt x="398942" y="554"/>
                </a:cubicBezTo>
                <a:cubicBezTo>
                  <a:pt x="362245" y="554"/>
                  <a:pt x="332489" y="30384"/>
                  <a:pt x="332489" y="67007"/>
                </a:cubicBezTo>
                <a:cubicBezTo>
                  <a:pt x="332489" y="103631"/>
                  <a:pt x="362319" y="133461"/>
                  <a:pt x="398942" y="133461"/>
                </a:cubicBezTo>
                <a:moveTo>
                  <a:pt x="398942" y="27061"/>
                </a:moveTo>
                <a:cubicBezTo>
                  <a:pt x="420946" y="27061"/>
                  <a:pt x="438814" y="44930"/>
                  <a:pt x="438814" y="66933"/>
                </a:cubicBezTo>
                <a:cubicBezTo>
                  <a:pt x="438814" y="88937"/>
                  <a:pt x="420946" y="106805"/>
                  <a:pt x="398942" y="106805"/>
                </a:cubicBezTo>
                <a:cubicBezTo>
                  <a:pt x="376939" y="106805"/>
                  <a:pt x="359070" y="88937"/>
                  <a:pt x="359070" y="66933"/>
                </a:cubicBezTo>
                <a:cubicBezTo>
                  <a:pt x="359070" y="44930"/>
                  <a:pt x="376939" y="27061"/>
                  <a:pt x="398942" y="27061"/>
                </a:cubicBezTo>
                <a:moveTo>
                  <a:pt x="510141" y="208922"/>
                </a:moveTo>
                <a:cubicBezTo>
                  <a:pt x="510067" y="192974"/>
                  <a:pt x="502240" y="178058"/>
                  <a:pt x="489393" y="168977"/>
                </a:cubicBezTo>
                <a:cubicBezTo>
                  <a:pt x="471746" y="156572"/>
                  <a:pt x="450850" y="148006"/>
                  <a:pt x="428551" y="144019"/>
                </a:cubicBezTo>
                <a:cubicBezTo>
                  <a:pt x="428034" y="143872"/>
                  <a:pt x="427444" y="143798"/>
                  <a:pt x="426927" y="143724"/>
                </a:cubicBezTo>
                <a:cubicBezTo>
                  <a:pt x="417771" y="142173"/>
                  <a:pt x="408467" y="141361"/>
                  <a:pt x="399016" y="141361"/>
                </a:cubicBezTo>
                <a:lnTo>
                  <a:pt x="399016" y="141361"/>
                </a:lnTo>
                <a:lnTo>
                  <a:pt x="399016" y="141361"/>
                </a:lnTo>
                <a:cubicBezTo>
                  <a:pt x="389639" y="141361"/>
                  <a:pt x="380262" y="142173"/>
                  <a:pt x="371179" y="143724"/>
                </a:cubicBezTo>
                <a:cubicBezTo>
                  <a:pt x="370589" y="143798"/>
                  <a:pt x="370072" y="143872"/>
                  <a:pt x="369481" y="144019"/>
                </a:cubicBezTo>
                <a:cubicBezTo>
                  <a:pt x="347478" y="148006"/>
                  <a:pt x="326730" y="156424"/>
                  <a:pt x="309230" y="168607"/>
                </a:cubicBezTo>
                <a:cubicBezTo>
                  <a:pt x="295939" y="177911"/>
                  <a:pt x="287965" y="193047"/>
                  <a:pt x="287965" y="209218"/>
                </a:cubicBezTo>
                <a:lnTo>
                  <a:pt x="287965" y="335332"/>
                </a:lnTo>
                <a:cubicBezTo>
                  <a:pt x="287965" y="342641"/>
                  <a:pt x="293946" y="348622"/>
                  <a:pt x="301256" y="348622"/>
                </a:cubicBezTo>
                <a:lnTo>
                  <a:pt x="322890" y="348622"/>
                </a:lnTo>
                <a:lnTo>
                  <a:pt x="322890" y="500653"/>
                </a:lnTo>
                <a:cubicBezTo>
                  <a:pt x="322890" y="507963"/>
                  <a:pt x="328871" y="513944"/>
                  <a:pt x="336181" y="513944"/>
                </a:cubicBezTo>
                <a:lnTo>
                  <a:pt x="460744" y="513944"/>
                </a:lnTo>
                <a:cubicBezTo>
                  <a:pt x="468054" y="513944"/>
                  <a:pt x="474035" y="507963"/>
                  <a:pt x="474035" y="500653"/>
                </a:cubicBezTo>
                <a:lnTo>
                  <a:pt x="474035" y="348622"/>
                </a:lnTo>
                <a:lnTo>
                  <a:pt x="496998" y="348622"/>
                </a:lnTo>
                <a:cubicBezTo>
                  <a:pt x="504308" y="348622"/>
                  <a:pt x="510289" y="342641"/>
                  <a:pt x="510289" y="335332"/>
                </a:cubicBezTo>
                <a:cubicBezTo>
                  <a:pt x="510289" y="321450"/>
                  <a:pt x="510215" y="221992"/>
                  <a:pt x="510141" y="208922"/>
                </a:cubicBezTo>
                <a:moveTo>
                  <a:pt x="460744" y="321967"/>
                </a:moveTo>
                <a:cubicBezTo>
                  <a:pt x="453434" y="321967"/>
                  <a:pt x="447454" y="327948"/>
                  <a:pt x="447454" y="335258"/>
                </a:cubicBezTo>
                <a:lnTo>
                  <a:pt x="447454" y="487288"/>
                </a:lnTo>
                <a:lnTo>
                  <a:pt x="349471" y="487288"/>
                </a:lnTo>
                <a:lnTo>
                  <a:pt x="349471" y="335258"/>
                </a:lnTo>
                <a:cubicBezTo>
                  <a:pt x="349471" y="327948"/>
                  <a:pt x="343490" y="321967"/>
                  <a:pt x="336181" y="321967"/>
                </a:cubicBezTo>
                <a:lnTo>
                  <a:pt x="314547" y="321967"/>
                </a:lnTo>
                <a:lnTo>
                  <a:pt x="314547" y="209144"/>
                </a:lnTo>
                <a:cubicBezTo>
                  <a:pt x="314547" y="201686"/>
                  <a:pt x="318238" y="194672"/>
                  <a:pt x="324367" y="190315"/>
                </a:cubicBezTo>
                <a:cubicBezTo>
                  <a:pt x="337953" y="180790"/>
                  <a:pt x="354049" y="174145"/>
                  <a:pt x="371179" y="170675"/>
                </a:cubicBezTo>
                <a:lnTo>
                  <a:pt x="385652" y="176434"/>
                </a:lnTo>
                <a:lnTo>
                  <a:pt x="385726" y="279585"/>
                </a:lnTo>
                <a:cubicBezTo>
                  <a:pt x="385726" y="286894"/>
                  <a:pt x="391706" y="292875"/>
                  <a:pt x="399016" y="292875"/>
                </a:cubicBezTo>
                <a:lnTo>
                  <a:pt x="399016" y="292875"/>
                </a:lnTo>
                <a:cubicBezTo>
                  <a:pt x="406326" y="292875"/>
                  <a:pt x="412307" y="286894"/>
                  <a:pt x="412307" y="279585"/>
                </a:cubicBezTo>
                <a:lnTo>
                  <a:pt x="412233" y="176434"/>
                </a:lnTo>
                <a:lnTo>
                  <a:pt x="426705" y="170675"/>
                </a:lnTo>
                <a:cubicBezTo>
                  <a:pt x="444057" y="174219"/>
                  <a:pt x="460301" y="181012"/>
                  <a:pt x="474035" y="190685"/>
                </a:cubicBezTo>
                <a:cubicBezTo>
                  <a:pt x="479942" y="194820"/>
                  <a:pt x="483486" y="201760"/>
                  <a:pt x="483560" y="209070"/>
                </a:cubicBezTo>
                <a:cubicBezTo>
                  <a:pt x="483634" y="219924"/>
                  <a:pt x="483708" y="290660"/>
                  <a:pt x="483708" y="321967"/>
                </a:cubicBezTo>
                <a:lnTo>
                  <a:pt x="460744" y="321967"/>
                </a:lnTo>
                <a:close/>
                <a:moveTo>
                  <a:pt x="121240" y="346333"/>
                </a:moveTo>
                <a:cubicBezTo>
                  <a:pt x="126409" y="351502"/>
                  <a:pt x="126409" y="359919"/>
                  <a:pt x="121240" y="365162"/>
                </a:cubicBezTo>
                <a:cubicBezTo>
                  <a:pt x="118656" y="367746"/>
                  <a:pt x="115260" y="369075"/>
                  <a:pt x="111863" y="369075"/>
                </a:cubicBezTo>
                <a:cubicBezTo>
                  <a:pt x="108467" y="369075"/>
                  <a:pt x="105070" y="367746"/>
                  <a:pt x="102486" y="365162"/>
                </a:cubicBezTo>
                <a:lnTo>
                  <a:pt x="76126" y="338802"/>
                </a:lnTo>
                <a:lnTo>
                  <a:pt x="76126" y="500653"/>
                </a:lnTo>
                <a:cubicBezTo>
                  <a:pt x="76126" y="507963"/>
                  <a:pt x="70145" y="513944"/>
                  <a:pt x="62836" y="513944"/>
                </a:cubicBezTo>
                <a:cubicBezTo>
                  <a:pt x="55525" y="513944"/>
                  <a:pt x="49545" y="507963"/>
                  <a:pt x="49545" y="500653"/>
                </a:cubicBezTo>
                <a:lnTo>
                  <a:pt x="49545" y="338802"/>
                </a:lnTo>
                <a:lnTo>
                  <a:pt x="23185" y="365162"/>
                </a:lnTo>
                <a:cubicBezTo>
                  <a:pt x="20601" y="367746"/>
                  <a:pt x="17204" y="369075"/>
                  <a:pt x="13807" y="369075"/>
                </a:cubicBezTo>
                <a:cubicBezTo>
                  <a:pt x="10411" y="369075"/>
                  <a:pt x="7015" y="367746"/>
                  <a:pt x="4430" y="365162"/>
                </a:cubicBezTo>
                <a:cubicBezTo>
                  <a:pt x="-738" y="359993"/>
                  <a:pt x="-738" y="351576"/>
                  <a:pt x="4430" y="346333"/>
                </a:cubicBezTo>
                <a:lnTo>
                  <a:pt x="53532" y="297232"/>
                </a:lnTo>
                <a:cubicBezTo>
                  <a:pt x="53827" y="296936"/>
                  <a:pt x="54196" y="296641"/>
                  <a:pt x="54492" y="296346"/>
                </a:cubicBezTo>
                <a:cubicBezTo>
                  <a:pt x="54640" y="296198"/>
                  <a:pt x="54787" y="296124"/>
                  <a:pt x="54935" y="295977"/>
                </a:cubicBezTo>
                <a:cubicBezTo>
                  <a:pt x="55156" y="295829"/>
                  <a:pt x="55304" y="295681"/>
                  <a:pt x="55525" y="295533"/>
                </a:cubicBezTo>
                <a:cubicBezTo>
                  <a:pt x="55747" y="295386"/>
                  <a:pt x="55895" y="295312"/>
                  <a:pt x="56116" y="295164"/>
                </a:cubicBezTo>
                <a:cubicBezTo>
                  <a:pt x="56264" y="295090"/>
                  <a:pt x="56485" y="294943"/>
                  <a:pt x="56633" y="294869"/>
                </a:cubicBezTo>
                <a:cubicBezTo>
                  <a:pt x="56855" y="294795"/>
                  <a:pt x="57002" y="294647"/>
                  <a:pt x="57224" y="294573"/>
                </a:cubicBezTo>
                <a:cubicBezTo>
                  <a:pt x="57445" y="294500"/>
                  <a:pt x="57593" y="294352"/>
                  <a:pt x="57814" y="294278"/>
                </a:cubicBezTo>
                <a:cubicBezTo>
                  <a:pt x="58036" y="294204"/>
                  <a:pt x="58184" y="294131"/>
                  <a:pt x="58405" y="294057"/>
                </a:cubicBezTo>
                <a:cubicBezTo>
                  <a:pt x="58627" y="293983"/>
                  <a:pt x="58848" y="293909"/>
                  <a:pt x="59070" y="293835"/>
                </a:cubicBezTo>
                <a:cubicBezTo>
                  <a:pt x="59291" y="293761"/>
                  <a:pt x="59439" y="293761"/>
                  <a:pt x="59660" y="293688"/>
                </a:cubicBezTo>
                <a:cubicBezTo>
                  <a:pt x="59882" y="293614"/>
                  <a:pt x="60103" y="293540"/>
                  <a:pt x="60325" y="293540"/>
                </a:cubicBezTo>
                <a:cubicBezTo>
                  <a:pt x="60547" y="293466"/>
                  <a:pt x="60768" y="293466"/>
                  <a:pt x="60990" y="293466"/>
                </a:cubicBezTo>
                <a:cubicBezTo>
                  <a:pt x="61211" y="293466"/>
                  <a:pt x="61359" y="293392"/>
                  <a:pt x="61580" y="293392"/>
                </a:cubicBezTo>
                <a:cubicBezTo>
                  <a:pt x="62023" y="293318"/>
                  <a:pt x="62466" y="293318"/>
                  <a:pt x="62836" y="293318"/>
                </a:cubicBezTo>
                <a:cubicBezTo>
                  <a:pt x="62836" y="293318"/>
                  <a:pt x="62836" y="293318"/>
                  <a:pt x="62836" y="293318"/>
                </a:cubicBezTo>
                <a:cubicBezTo>
                  <a:pt x="62836" y="293318"/>
                  <a:pt x="62836" y="293318"/>
                  <a:pt x="62836" y="293318"/>
                </a:cubicBezTo>
                <a:cubicBezTo>
                  <a:pt x="63278" y="293318"/>
                  <a:pt x="63721" y="293318"/>
                  <a:pt x="64091" y="293392"/>
                </a:cubicBezTo>
                <a:cubicBezTo>
                  <a:pt x="64312" y="293392"/>
                  <a:pt x="64460" y="293466"/>
                  <a:pt x="64681" y="293466"/>
                </a:cubicBezTo>
                <a:cubicBezTo>
                  <a:pt x="64903" y="293466"/>
                  <a:pt x="65124" y="293540"/>
                  <a:pt x="65346" y="293540"/>
                </a:cubicBezTo>
                <a:cubicBezTo>
                  <a:pt x="65567" y="293614"/>
                  <a:pt x="65789" y="293614"/>
                  <a:pt x="66010" y="293688"/>
                </a:cubicBezTo>
                <a:cubicBezTo>
                  <a:pt x="66232" y="293761"/>
                  <a:pt x="66380" y="293761"/>
                  <a:pt x="66601" y="293835"/>
                </a:cubicBezTo>
                <a:cubicBezTo>
                  <a:pt x="66823" y="293909"/>
                  <a:pt x="67044" y="293983"/>
                  <a:pt x="67266" y="294057"/>
                </a:cubicBezTo>
                <a:cubicBezTo>
                  <a:pt x="67487" y="294131"/>
                  <a:pt x="67635" y="294204"/>
                  <a:pt x="67856" y="294278"/>
                </a:cubicBezTo>
                <a:cubicBezTo>
                  <a:pt x="68078" y="294352"/>
                  <a:pt x="68226" y="294426"/>
                  <a:pt x="68447" y="294573"/>
                </a:cubicBezTo>
                <a:cubicBezTo>
                  <a:pt x="68669" y="294647"/>
                  <a:pt x="68816" y="294721"/>
                  <a:pt x="69038" y="294869"/>
                </a:cubicBezTo>
                <a:cubicBezTo>
                  <a:pt x="69259" y="294943"/>
                  <a:pt x="69407" y="295090"/>
                  <a:pt x="69554" y="295164"/>
                </a:cubicBezTo>
                <a:cubicBezTo>
                  <a:pt x="69776" y="295312"/>
                  <a:pt x="69924" y="295386"/>
                  <a:pt x="70145" y="295533"/>
                </a:cubicBezTo>
                <a:cubicBezTo>
                  <a:pt x="70367" y="295681"/>
                  <a:pt x="70515" y="295829"/>
                  <a:pt x="70736" y="295977"/>
                </a:cubicBezTo>
                <a:cubicBezTo>
                  <a:pt x="70884" y="296124"/>
                  <a:pt x="71031" y="296198"/>
                  <a:pt x="71179" y="296346"/>
                </a:cubicBezTo>
                <a:cubicBezTo>
                  <a:pt x="71548" y="296641"/>
                  <a:pt x="71843" y="296936"/>
                  <a:pt x="72139" y="297232"/>
                </a:cubicBezTo>
                <a:lnTo>
                  <a:pt x="121240" y="346333"/>
                </a:lnTo>
                <a:close/>
                <a:moveTo>
                  <a:pt x="248979" y="210842"/>
                </a:moveTo>
                <a:cubicBezTo>
                  <a:pt x="254147" y="216011"/>
                  <a:pt x="254147" y="224428"/>
                  <a:pt x="248979" y="229671"/>
                </a:cubicBezTo>
                <a:cubicBezTo>
                  <a:pt x="246395" y="232255"/>
                  <a:pt x="242998" y="233584"/>
                  <a:pt x="239602" y="233584"/>
                </a:cubicBezTo>
                <a:cubicBezTo>
                  <a:pt x="236205" y="233584"/>
                  <a:pt x="232809" y="232255"/>
                  <a:pt x="230224" y="229671"/>
                </a:cubicBezTo>
                <a:lnTo>
                  <a:pt x="203865" y="203311"/>
                </a:lnTo>
                <a:lnTo>
                  <a:pt x="203865" y="500653"/>
                </a:lnTo>
                <a:cubicBezTo>
                  <a:pt x="203865" y="507963"/>
                  <a:pt x="197884" y="513944"/>
                  <a:pt x="190574" y="513944"/>
                </a:cubicBezTo>
                <a:cubicBezTo>
                  <a:pt x="183264" y="513944"/>
                  <a:pt x="177283" y="507963"/>
                  <a:pt x="177283" y="500653"/>
                </a:cubicBezTo>
                <a:lnTo>
                  <a:pt x="177283" y="203311"/>
                </a:lnTo>
                <a:lnTo>
                  <a:pt x="150923" y="229671"/>
                </a:lnTo>
                <a:cubicBezTo>
                  <a:pt x="148339" y="232255"/>
                  <a:pt x="144942" y="233584"/>
                  <a:pt x="141546" y="233584"/>
                </a:cubicBezTo>
                <a:cubicBezTo>
                  <a:pt x="138149" y="233584"/>
                  <a:pt x="134753" y="232255"/>
                  <a:pt x="132169" y="229671"/>
                </a:cubicBezTo>
                <a:cubicBezTo>
                  <a:pt x="127000" y="224502"/>
                  <a:pt x="127000" y="216085"/>
                  <a:pt x="132169" y="210842"/>
                </a:cubicBezTo>
                <a:lnTo>
                  <a:pt x="181270" y="161740"/>
                </a:lnTo>
                <a:cubicBezTo>
                  <a:pt x="181270" y="161740"/>
                  <a:pt x="181270" y="161740"/>
                  <a:pt x="181270" y="161740"/>
                </a:cubicBezTo>
                <a:cubicBezTo>
                  <a:pt x="181566" y="161445"/>
                  <a:pt x="181935" y="161150"/>
                  <a:pt x="182230" y="160854"/>
                </a:cubicBezTo>
                <a:cubicBezTo>
                  <a:pt x="182378" y="160707"/>
                  <a:pt x="182525" y="160633"/>
                  <a:pt x="182673" y="160485"/>
                </a:cubicBezTo>
                <a:cubicBezTo>
                  <a:pt x="182895" y="160337"/>
                  <a:pt x="183042" y="160190"/>
                  <a:pt x="183264" y="160042"/>
                </a:cubicBezTo>
                <a:cubicBezTo>
                  <a:pt x="183485" y="159894"/>
                  <a:pt x="183633" y="159820"/>
                  <a:pt x="183855" y="159673"/>
                </a:cubicBezTo>
                <a:cubicBezTo>
                  <a:pt x="184002" y="159599"/>
                  <a:pt x="184224" y="159451"/>
                  <a:pt x="184371" y="159378"/>
                </a:cubicBezTo>
                <a:cubicBezTo>
                  <a:pt x="184593" y="159304"/>
                  <a:pt x="184740" y="159156"/>
                  <a:pt x="184962" y="159082"/>
                </a:cubicBezTo>
                <a:cubicBezTo>
                  <a:pt x="185184" y="159009"/>
                  <a:pt x="185331" y="158861"/>
                  <a:pt x="185553" y="158787"/>
                </a:cubicBezTo>
                <a:cubicBezTo>
                  <a:pt x="185774" y="158713"/>
                  <a:pt x="185922" y="158639"/>
                  <a:pt x="186144" y="158565"/>
                </a:cubicBezTo>
                <a:cubicBezTo>
                  <a:pt x="186365" y="158492"/>
                  <a:pt x="186586" y="158418"/>
                  <a:pt x="186808" y="158344"/>
                </a:cubicBezTo>
                <a:cubicBezTo>
                  <a:pt x="187030" y="158270"/>
                  <a:pt x="187177" y="158270"/>
                  <a:pt x="187399" y="158196"/>
                </a:cubicBezTo>
                <a:cubicBezTo>
                  <a:pt x="187620" y="158122"/>
                  <a:pt x="187842" y="158048"/>
                  <a:pt x="188063" y="158048"/>
                </a:cubicBezTo>
                <a:cubicBezTo>
                  <a:pt x="188285" y="157975"/>
                  <a:pt x="188506" y="157975"/>
                  <a:pt x="188728" y="157975"/>
                </a:cubicBezTo>
                <a:cubicBezTo>
                  <a:pt x="188949" y="157975"/>
                  <a:pt x="189171" y="157901"/>
                  <a:pt x="189319" y="157901"/>
                </a:cubicBezTo>
                <a:cubicBezTo>
                  <a:pt x="189688" y="157827"/>
                  <a:pt x="190131" y="157827"/>
                  <a:pt x="190500" y="157827"/>
                </a:cubicBezTo>
                <a:cubicBezTo>
                  <a:pt x="190500" y="157827"/>
                  <a:pt x="190574" y="157827"/>
                  <a:pt x="190574" y="157827"/>
                </a:cubicBezTo>
                <a:cubicBezTo>
                  <a:pt x="190574" y="157827"/>
                  <a:pt x="190647" y="157827"/>
                  <a:pt x="190647" y="157827"/>
                </a:cubicBezTo>
                <a:cubicBezTo>
                  <a:pt x="191017" y="157827"/>
                  <a:pt x="191460" y="157827"/>
                  <a:pt x="191829" y="157901"/>
                </a:cubicBezTo>
                <a:cubicBezTo>
                  <a:pt x="192051" y="157901"/>
                  <a:pt x="192272" y="157975"/>
                  <a:pt x="192420" y="157975"/>
                </a:cubicBezTo>
                <a:cubicBezTo>
                  <a:pt x="192641" y="157975"/>
                  <a:pt x="192863" y="158048"/>
                  <a:pt x="193084" y="158048"/>
                </a:cubicBezTo>
                <a:cubicBezTo>
                  <a:pt x="193306" y="158122"/>
                  <a:pt x="193527" y="158122"/>
                  <a:pt x="193749" y="158196"/>
                </a:cubicBezTo>
                <a:cubicBezTo>
                  <a:pt x="193970" y="158270"/>
                  <a:pt x="194118" y="158270"/>
                  <a:pt x="194339" y="158344"/>
                </a:cubicBezTo>
                <a:cubicBezTo>
                  <a:pt x="194561" y="158418"/>
                  <a:pt x="194782" y="158492"/>
                  <a:pt x="195004" y="158565"/>
                </a:cubicBezTo>
                <a:cubicBezTo>
                  <a:pt x="195226" y="158639"/>
                  <a:pt x="195373" y="158713"/>
                  <a:pt x="195595" y="158787"/>
                </a:cubicBezTo>
                <a:cubicBezTo>
                  <a:pt x="195816" y="158861"/>
                  <a:pt x="195964" y="158935"/>
                  <a:pt x="196185" y="159082"/>
                </a:cubicBezTo>
                <a:cubicBezTo>
                  <a:pt x="196407" y="159156"/>
                  <a:pt x="196554" y="159230"/>
                  <a:pt x="196776" y="159378"/>
                </a:cubicBezTo>
                <a:cubicBezTo>
                  <a:pt x="196998" y="159451"/>
                  <a:pt x="197145" y="159599"/>
                  <a:pt x="197293" y="159673"/>
                </a:cubicBezTo>
                <a:cubicBezTo>
                  <a:pt x="197515" y="159820"/>
                  <a:pt x="197662" y="159894"/>
                  <a:pt x="197884" y="160042"/>
                </a:cubicBezTo>
                <a:cubicBezTo>
                  <a:pt x="198105" y="160190"/>
                  <a:pt x="198253" y="160337"/>
                  <a:pt x="198474" y="160485"/>
                </a:cubicBezTo>
                <a:cubicBezTo>
                  <a:pt x="198622" y="160633"/>
                  <a:pt x="198770" y="160707"/>
                  <a:pt x="198917" y="160854"/>
                </a:cubicBezTo>
                <a:cubicBezTo>
                  <a:pt x="199287" y="161150"/>
                  <a:pt x="199582" y="161445"/>
                  <a:pt x="199877" y="161740"/>
                </a:cubicBezTo>
                <a:cubicBezTo>
                  <a:pt x="199877" y="161740"/>
                  <a:pt x="199877" y="161740"/>
                  <a:pt x="199877" y="161740"/>
                </a:cubicBezTo>
                <a:cubicBezTo>
                  <a:pt x="199877" y="161740"/>
                  <a:pt x="199877" y="161740"/>
                  <a:pt x="199877" y="161740"/>
                </a:cubicBezTo>
                <a:lnTo>
                  <a:pt x="248979" y="210842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s-MX" sz="1400" dirty="0"/>
          </a:p>
        </p:txBody>
      </p:sp>
      <p:grpSp>
        <p:nvGrpSpPr>
          <p:cNvPr id="11" name="Grupo 224">
            <a:extLst>
              <a:ext uri="{FF2B5EF4-FFF2-40B4-BE49-F238E27FC236}">
                <a16:creationId xmlns:a16="http://schemas.microsoft.com/office/drawing/2014/main" id="{B40B6316-E163-43F9-42C2-B2D59AADCA94}"/>
              </a:ext>
            </a:extLst>
          </p:cNvPr>
          <p:cNvGrpSpPr/>
          <p:nvPr/>
        </p:nvGrpSpPr>
        <p:grpSpPr>
          <a:xfrm>
            <a:off x="7516167" y="4124548"/>
            <a:ext cx="909355" cy="916087"/>
            <a:chOff x="5014564" y="2955589"/>
            <a:chExt cx="939996" cy="946954"/>
          </a:xfrm>
          <a:solidFill>
            <a:schemeClr val="bg1"/>
          </a:solidFill>
        </p:grpSpPr>
        <p:sp>
          <p:nvSpPr>
            <p:cNvPr id="12" name="Forma libre 87">
              <a:extLst>
                <a:ext uri="{FF2B5EF4-FFF2-40B4-BE49-F238E27FC236}">
                  <a16:creationId xmlns:a16="http://schemas.microsoft.com/office/drawing/2014/main" id="{E657EF43-FA2A-6871-8127-C1A0ADA76F60}"/>
                </a:ext>
              </a:extLst>
            </p:cNvPr>
            <p:cNvSpPr/>
            <p:nvPr/>
          </p:nvSpPr>
          <p:spPr>
            <a:xfrm>
              <a:off x="5014564" y="2955589"/>
              <a:ext cx="483059" cy="483059"/>
            </a:xfrm>
            <a:custGeom>
              <a:avLst/>
              <a:gdLst>
                <a:gd name="connsiteX0" fmla="*/ 242383 w 483059"/>
                <a:gd name="connsiteY0" fmla="*/ 482731 h 483059"/>
                <a:gd name="connsiteX1" fmla="*/ 242777 w 483059"/>
                <a:gd name="connsiteY1" fmla="*/ 482731 h 483059"/>
                <a:gd name="connsiteX2" fmla="*/ 253672 w 483059"/>
                <a:gd name="connsiteY2" fmla="*/ 482469 h 483059"/>
                <a:gd name="connsiteX3" fmla="*/ 482731 w 483059"/>
                <a:gd name="connsiteY3" fmla="*/ 241858 h 483059"/>
                <a:gd name="connsiteX4" fmla="*/ 241858 w 483059"/>
                <a:gd name="connsiteY4" fmla="*/ 984 h 483059"/>
                <a:gd name="connsiteX5" fmla="*/ 984 w 483059"/>
                <a:gd name="connsiteY5" fmla="*/ 241858 h 483059"/>
                <a:gd name="connsiteX6" fmla="*/ 241858 w 483059"/>
                <a:gd name="connsiteY6" fmla="*/ 482731 h 483059"/>
                <a:gd name="connsiteX7" fmla="*/ 242383 w 483059"/>
                <a:gd name="connsiteY7" fmla="*/ 482731 h 483059"/>
                <a:gd name="connsiteX8" fmla="*/ 241070 w 483059"/>
                <a:gd name="connsiteY8" fmla="*/ 278613 h 483059"/>
                <a:gd name="connsiteX9" fmla="*/ 171106 w 483059"/>
                <a:gd name="connsiteY9" fmla="*/ 208648 h 483059"/>
                <a:gd name="connsiteX10" fmla="*/ 241070 w 483059"/>
                <a:gd name="connsiteY10" fmla="*/ 138683 h 483059"/>
                <a:gd name="connsiteX11" fmla="*/ 311035 w 483059"/>
                <a:gd name="connsiteY11" fmla="*/ 208648 h 483059"/>
                <a:gd name="connsiteX12" fmla="*/ 241070 w 483059"/>
                <a:gd name="connsiteY12" fmla="*/ 278613 h 483059"/>
                <a:gd name="connsiteX13" fmla="*/ 241070 w 483059"/>
                <a:gd name="connsiteY13" fmla="*/ 364329 h 483059"/>
                <a:gd name="connsiteX14" fmla="*/ 347659 w 483059"/>
                <a:gd name="connsiteY14" fmla="*/ 395833 h 483059"/>
                <a:gd name="connsiteX15" fmla="*/ 251178 w 483059"/>
                <a:gd name="connsiteY15" fmla="*/ 435344 h 483059"/>
                <a:gd name="connsiteX16" fmla="*/ 242383 w 483059"/>
                <a:gd name="connsiteY16" fmla="*/ 435607 h 483059"/>
                <a:gd name="connsiteX17" fmla="*/ 136451 w 483059"/>
                <a:gd name="connsiteY17" fmla="*/ 394520 h 483059"/>
                <a:gd name="connsiteX18" fmla="*/ 241070 w 483059"/>
                <a:gd name="connsiteY18" fmla="*/ 364329 h 483059"/>
                <a:gd name="connsiteX19" fmla="*/ 48503 w 483059"/>
                <a:gd name="connsiteY19" fmla="*/ 241858 h 483059"/>
                <a:gd name="connsiteX20" fmla="*/ 242121 w 483059"/>
                <a:gd name="connsiteY20" fmla="*/ 48240 h 483059"/>
                <a:gd name="connsiteX21" fmla="*/ 435738 w 483059"/>
                <a:gd name="connsiteY21" fmla="*/ 241858 h 483059"/>
                <a:gd name="connsiteX22" fmla="*/ 388482 w 483059"/>
                <a:gd name="connsiteY22" fmla="*/ 368398 h 483059"/>
                <a:gd name="connsiteX23" fmla="*/ 386645 w 483059"/>
                <a:gd name="connsiteY23" fmla="*/ 366692 h 483059"/>
                <a:gd name="connsiteX24" fmla="*/ 278875 w 483059"/>
                <a:gd name="connsiteY24" fmla="*/ 319699 h 483059"/>
                <a:gd name="connsiteX25" fmla="*/ 358291 w 483059"/>
                <a:gd name="connsiteY25" fmla="*/ 208648 h 483059"/>
                <a:gd name="connsiteX26" fmla="*/ 241070 w 483059"/>
                <a:gd name="connsiteY26" fmla="*/ 91427 h 483059"/>
                <a:gd name="connsiteX27" fmla="*/ 123850 w 483059"/>
                <a:gd name="connsiteY27" fmla="*/ 208648 h 483059"/>
                <a:gd name="connsiteX28" fmla="*/ 203397 w 483059"/>
                <a:gd name="connsiteY28" fmla="*/ 319699 h 483059"/>
                <a:gd name="connsiteX29" fmla="*/ 98121 w 483059"/>
                <a:gd name="connsiteY29" fmla="*/ 364461 h 483059"/>
                <a:gd name="connsiteX30" fmla="*/ 94971 w 483059"/>
                <a:gd name="connsiteY30" fmla="*/ 367611 h 483059"/>
                <a:gd name="connsiteX31" fmla="*/ 48503 w 483059"/>
                <a:gd name="connsiteY31" fmla="*/ 241858 h 483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83059" h="483059">
                  <a:moveTo>
                    <a:pt x="242383" y="482731"/>
                  </a:moveTo>
                  <a:cubicBezTo>
                    <a:pt x="242514" y="482731"/>
                    <a:pt x="242646" y="482731"/>
                    <a:pt x="242777" y="482731"/>
                  </a:cubicBezTo>
                  <a:cubicBezTo>
                    <a:pt x="246452" y="482731"/>
                    <a:pt x="249997" y="482600"/>
                    <a:pt x="253672" y="482469"/>
                  </a:cubicBezTo>
                  <a:cubicBezTo>
                    <a:pt x="381000" y="476299"/>
                    <a:pt x="482731" y="370761"/>
                    <a:pt x="482731" y="241858"/>
                  </a:cubicBezTo>
                  <a:cubicBezTo>
                    <a:pt x="482731" y="109017"/>
                    <a:pt x="374699" y="984"/>
                    <a:pt x="241858" y="984"/>
                  </a:cubicBezTo>
                  <a:cubicBezTo>
                    <a:pt x="109017" y="984"/>
                    <a:pt x="984" y="109017"/>
                    <a:pt x="984" y="241858"/>
                  </a:cubicBezTo>
                  <a:cubicBezTo>
                    <a:pt x="984" y="374699"/>
                    <a:pt x="109017" y="482731"/>
                    <a:pt x="241858" y="482731"/>
                  </a:cubicBezTo>
                  <a:cubicBezTo>
                    <a:pt x="242121" y="482731"/>
                    <a:pt x="242252" y="482731"/>
                    <a:pt x="242383" y="482731"/>
                  </a:cubicBezTo>
                  <a:close/>
                  <a:moveTo>
                    <a:pt x="241070" y="278613"/>
                  </a:moveTo>
                  <a:cubicBezTo>
                    <a:pt x="202478" y="278613"/>
                    <a:pt x="171106" y="247240"/>
                    <a:pt x="171106" y="208648"/>
                  </a:cubicBezTo>
                  <a:cubicBezTo>
                    <a:pt x="171106" y="170055"/>
                    <a:pt x="202478" y="138683"/>
                    <a:pt x="241070" y="138683"/>
                  </a:cubicBezTo>
                  <a:cubicBezTo>
                    <a:pt x="279663" y="138683"/>
                    <a:pt x="311035" y="170055"/>
                    <a:pt x="311035" y="208648"/>
                  </a:cubicBezTo>
                  <a:cubicBezTo>
                    <a:pt x="311035" y="247240"/>
                    <a:pt x="279663" y="278613"/>
                    <a:pt x="241070" y="278613"/>
                  </a:cubicBezTo>
                  <a:close/>
                  <a:moveTo>
                    <a:pt x="241070" y="364329"/>
                  </a:moveTo>
                  <a:cubicBezTo>
                    <a:pt x="282419" y="364329"/>
                    <a:pt x="321537" y="376012"/>
                    <a:pt x="347659" y="395833"/>
                  </a:cubicBezTo>
                  <a:cubicBezTo>
                    <a:pt x="320749" y="419724"/>
                    <a:pt x="287014" y="433507"/>
                    <a:pt x="251178" y="435344"/>
                  </a:cubicBezTo>
                  <a:cubicBezTo>
                    <a:pt x="248290" y="435476"/>
                    <a:pt x="245402" y="435607"/>
                    <a:pt x="242383" y="435607"/>
                  </a:cubicBezTo>
                  <a:cubicBezTo>
                    <a:pt x="202741" y="435476"/>
                    <a:pt x="165461" y="421036"/>
                    <a:pt x="136451" y="394520"/>
                  </a:cubicBezTo>
                  <a:cubicBezTo>
                    <a:pt x="162573" y="375356"/>
                    <a:pt x="200903" y="364329"/>
                    <a:pt x="241070" y="364329"/>
                  </a:cubicBezTo>
                  <a:close/>
                  <a:moveTo>
                    <a:pt x="48503" y="241858"/>
                  </a:moveTo>
                  <a:cubicBezTo>
                    <a:pt x="48503" y="135139"/>
                    <a:pt x="135401" y="48240"/>
                    <a:pt x="242121" y="48240"/>
                  </a:cubicBezTo>
                  <a:cubicBezTo>
                    <a:pt x="348840" y="48240"/>
                    <a:pt x="435738" y="135139"/>
                    <a:pt x="435738" y="241858"/>
                  </a:cubicBezTo>
                  <a:cubicBezTo>
                    <a:pt x="435738" y="290164"/>
                    <a:pt x="417886" y="334532"/>
                    <a:pt x="388482" y="368398"/>
                  </a:cubicBezTo>
                  <a:cubicBezTo>
                    <a:pt x="387958" y="367742"/>
                    <a:pt x="387301" y="367217"/>
                    <a:pt x="386645" y="366692"/>
                  </a:cubicBezTo>
                  <a:cubicBezTo>
                    <a:pt x="359604" y="342145"/>
                    <a:pt x="321537" y="325868"/>
                    <a:pt x="278875" y="319699"/>
                  </a:cubicBezTo>
                  <a:cubicBezTo>
                    <a:pt x="325081" y="303947"/>
                    <a:pt x="358291" y="260104"/>
                    <a:pt x="358291" y="208648"/>
                  </a:cubicBezTo>
                  <a:cubicBezTo>
                    <a:pt x="358291" y="143933"/>
                    <a:pt x="305653" y="91427"/>
                    <a:pt x="241070" y="91427"/>
                  </a:cubicBezTo>
                  <a:cubicBezTo>
                    <a:pt x="176488" y="91427"/>
                    <a:pt x="123850" y="144065"/>
                    <a:pt x="123850" y="208648"/>
                  </a:cubicBezTo>
                  <a:cubicBezTo>
                    <a:pt x="123850" y="260104"/>
                    <a:pt x="157191" y="303947"/>
                    <a:pt x="203397" y="319699"/>
                  </a:cubicBezTo>
                  <a:cubicBezTo>
                    <a:pt x="162179" y="325606"/>
                    <a:pt x="125031" y="341226"/>
                    <a:pt x="98121" y="364461"/>
                  </a:cubicBezTo>
                  <a:cubicBezTo>
                    <a:pt x="96940" y="365379"/>
                    <a:pt x="95890" y="366429"/>
                    <a:pt x="94971" y="367611"/>
                  </a:cubicBezTo>
                  <a:cubicBezTo>
                    <a:pt x="65961" y="333613"/>
                    <a:pt x="48503" y="289770"/>
                    <a:pt x="48503" y="24185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MX" sz="1400" dirty="0"/>
            </a:p>
          </p:txBody>
        </p:sp>
        <p:sp>
          <p:nvSpPr>
            <p:cNvPr id="13" name="Forma libre 88">
              <a:extLst>
                <a:ext uri="{FF2B5EF4-FFF2-40B4-BE49-F238E27FC236}">
                  <a16:creationId xmlns:a16="http://schemas.microsoft.com/office/drawing/2014/main" id="{AB2968D7-544C-665C-ED5D-9CA3FF5474A7}"/>
                </a:ext>
              </a:extLst>
            </p:cNvPr>
            <p:cNvSpPr/>
            <p:nvPr/>
          </p:nvSpPr>
          <p:spPr>
            <a:xfrm>
              <a:off x="5471501" y="3141199"/>
              <a:ext cx="483059" cy="761344"/>
            </a:xfrm>
            <a:custGeom>
              <a:avLst/>
              <a:gdLst>
                <a:gd name="connsiteX0" fmla="*/ 482863 w 483059"/>
                <a:gd name="connsiteY0" fmla="*/ 520667 h 761343"/>
                <a:gd name="connsiteX1" fmla="*/ 255641 w 483059"/>
                <a:gd name="connsiteY1" fmla="*/ 280188 h 761343"/>
                <a:gd name="connsiteX2" fmla="*/ 256429 w 483059"/>
                <a:gd name="connsiteY2" fmla="*/ 279925 h 761343"/>
                <a:gd name="connsiteX3" fmla="*/ 257478 w 483059"/>
                <a:gd name="connsiteY3" fmla="*/ 279663 h 761343"/>
                <a:gd name="connsiteX4" fmla="*/ 258660 w 483059"/>
                <a:gd name="connsiteY4" fmla="*/ 279269 h 761343"/>
                <a:gd name="connsiteX5" fmla="*/ 259710 w 483059"/>
                <a:gd name="connsiteY5" fmla="*/ 278875 h 761343"/>
                <a:gd name="connsiteX6" fmla="*/ 260760 w 483059"/>
                <a:gd name="connsiteY6" fmla="*/ 278350 h 761343"/>
                <a:gd name="connsiteX7" fmla="*/ 261811 w 483059"/>
                <a:gd name="connsiteY7" fmla="*/ 277825 h 761343"/>
                <a:gd name="connsiteX8" fmla="*/ 262729 w 483059"/>
                <a:gd name="connsiteY8" fmla="*/ 277300 h 761343"/>
                <a:gd name="connsiteX9" fmla="*/ 263780 w 483059"/>
                <a:gd name="connsiteY9" fmla="*/ 276643 h 761343"/>
                <a:gd name="connsiteX10" fmla="*/ 264829 w 483059"/>
                <a:gd name="connsiteY10" fmla="*/ 275856 h 761343"/>
                <a:gd name="connsiteX11" fmla="*/ 265749 w 483059"/>
                <a:gd name="connsiteY11" fmla="*/ 275199 h 761343"/>
                <a:gd name="connsiteX12" fmla="*/ 267455 w 483059"/>
                <a:gd name="connsiteY12" fmla="*/ 273624 h 761343"/>
                <a:gd name="connsiteX13" fmla="*/ 267455 w 483059"/>
                <a:gd name="connsiteY13" fmla="*/ 273624 h 761343"/>
                <a:gd name="connsiteX14" fmla="*/ 324424 w 483059"/>
                <a:gd name="connsiteY14" fmla="*/ 216655 h 761343"/>
                <a:gd name="connsiteX15" fmla="*/ 324424 w 483059"/>
                <a:gd name="connsiteY15" fmla="*/ 183182 h 761343"/>
                <a:gd name="connsiteX16" fmla="*/ 290951 w 483059"/>
                <a:gd name="connsiteY16" fmla="*/ 183182 h 761343"/>
                <a:gd name="connsiteX17" fmla="*/ 274281 w 483059"/>
                <a:gd name="connsiteY17" fmla="*/ 199853 h 761343"/>
                <a:gd name="connsiteX18" fmla="*/ 274281 w 483059"/>
                <a:gd name="connsiteY18" fmla="*/ 128969 h 761343"/>
                <a:gd name="connsiteX19" fmla="*/ 212060 w 483059"/>
                <a:gd name="connsiteY19" fmla="*/ 20018 h 761343"/>
                <a:gd name="connsiteX20" fmla="*/ 69636 w 483059"/>
                <a:gd name="connsiteY20" fmla="*/ 984 h 761343"/>
                <a:gd name="connsiteX21" fmla="*/ 46009 w 483059"/>
                <a:gd name="connsiteY21" fmla="*/ 24612 h 761343"/>
                <a:gd name="connsiteX22" fmla="*/ 69636 w 483059"/>
                <a:gd name="connsiteY22" fmla="*/ 48240 h 761343"/>
                <a:gd name="connsiteX23" fmla="*/ 192370 w 483059"/>
                <a:gd name="connsiteY23" fmla="*/ 62942 h 761343"/>
                <a:gd name="connsiteX24" fmla="*/ 227025 w 483059"/>
                <a:gd name="connsiteY24" fmla="*/ 128838 h 761343"/>
                <a:gd name="connsiteX25" fmla="*/ 227025 w 483059"/>
                <a:gd name="connsiteY25" fmla="*/ 199721 h 761343"/>
                <a:gd name="connsiteX26" fmla="*/ 210354 w 483059"/>
                <a:gd name="connsiteY26" fmla="*/ 183051 h 761343"/>
                <a:gd name="connsiteX27" fmla="*/ 176881 w 483059"/>
                <a:gd name="connsiteY27" fmla="*/ 183051 h 761343"/>
                <a:gd name="connsiteX28" fmla="*/ 176881 w 483059"/>
                <a:gd name="connsiteY28" fmla="*/ 216523 h 761343"/>
                <a:gd name="connsiteX29" fmla="*/ 233851 w 483059"/>
                <a:gd name="connsiteY29" fmla="*/ 273493 h 761343"/>
                <a:gd name="connsiteX30" fmla="*/ 235557 w 483059"/>
                <a:gd name="connsiteY30" fmla="*/ 275068 h 761343"/>
                <a:gd name="connsiteX31" fmla="*/ 236344 w 483059"/>
                <a:gd name="connsiteY31" fmla="*/ 275725 h 761343"/>
                <a:gd name="connsiteX32" fmla="*/ 237395 w 483059"/>
                <a:gd name="connsiteY32" fmla="*/ 276512 h 761343"/>
                <a:gd name="connsiteX33" fmla="*/ 238445 w 483059"/>
                <a:gd name="connsiteY33" fmla="*/ 277168 h 761343"/>
                <a:gd name="connsiteX34" fmla="*/ 239364 w 483059"/>
                <a:gd name="connsiteY34" fmla="*/ 277694 h 761343"/>
                <a:gd name="connsiteX35" fmla="*/ 240414 w 483059"/>
                <a:gd name="connsiteY35" fmla="*/ 278219 h 761343"/>
                <a:gd name="connsiteX36" fmla="*/ 241464 w 483059"/>
                <a:gd name="connsiteY36" fmla="*/ 278744 h 761343"/>
                <a:gd name="connsiteX37" fmla="*/ 242514 w 483059"/>
                <a:gd name="connsiteY37" fmla="*/ 279137 h 761343"/>
                <a:gd name="connsiteX38" fmla="*/ 243695 w 483059"/>
                <a:gd name="connsiteY38" fmla="*/ 279531 h 761343"/>
                <a:gd name="connsiteX39" fmla="*/ 244090 w 483059"/>
                <a:gd name="connsiteY39" fmla="*/ 279663 h 761343"/>
                <a:gd name="connsiteX40" fmla="*/ 241858 w 483059"/>
                <a:gd name="connsiteY40" fmla="*/ 279663 h 761343"/>
                <a:gd name="connsiteX41" fmla="*/ 984 w 483059"/>
                <a:gd name="connsiteY41" fmla="*/ 520536 h 761343"/>
                <a:gd name="connsiteX42" fmla="*/ 241858 w 483059"/>
                <a:gd name="connsiteY42" fmla="*/ 761409 h 761343"/>
                <a:gd name="connsiteX43" fmla="*/ 242251 w 483059"/>
                <a:gd name="connsiteY43" fmla="*/ 761409 h 761343"/>
                <a:gd name="connsiteX44" fmla="*/ 242646 w 483059"/>
                <a:gd name="connsiteY44" fmla="*/ 761409 h 761343"/>
                <a:gd name="connsiteX45" fmla="*/ 253540 w 483059"/>
                <a:gd name="connsiteY45" fmla="*/ 761147 h 761343"/>
                <a:gd name="connsiteX46" fmla="*/ 482863 w 483059"/>
                <a:gd name="connsiteY46" fmla="*/ 520667 h 761343"/>
                <a:gd name="connsiteX47" fmla="*/ 48372 w 483059"/>
                <a:gd name="connsiteY47" fmla="*/ 520667 h 761343"/>
                <a:gd name="connsiteX48" fmla="*/ 241989 w 483059"/>
                <a:gd name="connsiteY48" fmla="*/ 327049 h 761343"/>
                <a:gd name="connsiteX49" fmla="*/ 435607 w 483059"/>
                <a:gd name="connsiteY49" fmla="*/ 520667 h 761343"/>
                <a:gd name="connsiteX50" fmla="*/ 388351 w 483059"/>
                <a:gd name="connsiteY50" fmla="*/ 647208 h 761343"/>
                <a:gd name="connsiteX51" fmla="*/ 386513 w 483059"/>
                <a:gd name="connsiteY51" fmla="*/ 645501 h 761343"/>
                <a:gd name="connsiteX52" fmla="*/ 278744 w 483059"/>
                <a:gd name="connsiteY52" fmla="*/ 598508 h 761343"/>
                <a:gd name="connsiteX53" fmla="*/ 358160 w 483059"/>
                <a:gd name="connsiteY53" fmla="*/ 487457 h 761343"/>
                <a:gd name="connsiteX54" fmla="*/ 240939 w 483059"/>
                <a:gd name="connsiteY54" fmla="*/ 370236 h 761343"/>
                <a:gd name="connsiteX55" fmla="*/ 123718 w 483059"/>
                <a:gd name="connsiteY55" fmla="*/ 487457 h 761343"/>
                <a:gd name="connsiteX56" fmla="*/ 203266 w 483059"/>
                <a:gd name="connsiteY56" fmla="*/ 598508 h 761343"/>
                <a:gd name="connsiteX57" fmla="*/ 97990 w 483059"/>
                <a:gd name="connsiteY57" fmla="*/ 643270 h 761343"/>
                <a:gd name="connsiteX58" fmla="*/ 94840 w 483059"/>
                <a:gd name="connsiteY58" fmla="*/ 646420 h 761343"/>
                <a:gd name="connsiteX59" fmla="*/ 48372 w 483059"/>
                <a:gd name="connsiteY59" fmla="*/ 520667 h 761343"/>
                <a:gd name="connsiteX60" fmla="*/ 242383 w 483059"/>
                <a:gd name="connsiteY60" fmla="*/ 714285 h 761343"/>
                <a:gd name="connsiteX61" fmla="*/ 136451 w 483059"/>
                <a:gd name="connsiteY61" fmla="*/ 673199 h 761343"/>
                <a:gd name="connsiteX62" fmla="*/ 241070 w 483059"/>
                <a:gd name="connsiteY62" fmla="*/ 643138 h 761343"/>
                <a:gd name="connsiteX63" fmla="*/ 347659 w 483059"/>
                <a:gd name="connsiteY63" fmla="*/ 674642 h 761343"/>
                <a:gd name="connsiteX64" fmla="*/ 251178 w 483059"/>
                <a:gd name="connsiteY64" fmla="*/ 714154 h 761343"/>
                <a:gd name="connsiteX65" fmla="*/ 242383 w 483059"/>
                <a:gd name="connsiteY65" fmla="*/ 714285 h 761343"/>
                <a:gd name="connsiteX66" fmla="*/ 240939 w 483059"/>
                <a:gd name="connsiteY66" fmla="*/ 557553 h 761343"/>
                <a:gd name="connsiteX67" fmla="*/ 170974 w 483059"/>
                <a:gd name="connsiteY67" fmla="*/ 487588 h 761343"/>
                <a:gd name="connsiteX68" fmla="*/ 240939 w 483059"/>
                <a:gd name="connsiteY68" fmla="*/ 417623 h 761343"/>
                <a:gd name="connsiteX69" fmla="*/ 310904 w 483059"/>
                <a:gd name="connsiteY69" fmla="*/ 487588 h 761343"/>
                <a:gd name="connsiteX70" fmla="*/ 240939 w 483059"/>
                <a:gd name="connsiteY70" fmla="*/ 557553 h 761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483059" h="761343">
                  <a:moveTo>
                    <a:pt x="482863" y="520667"/>
                  </a:moveTo>
                  <a:cubicBezTo>
                    <a:pt x="482863" y="392420"/>
                    <a:pt x="382181" y="287276"/>
                    <a:pt x="255641" y="280188"/>
                  </a:cubicBezTo>
                  <a:cubicBezTo>
                    <a:pt x="255904" y="280188"/>
                    <a:pt x="256166" y="280056"/>
                    <a:pt x="256429" y="279925"/>
                  </a:cubicBezTo>
                  <a:cubicBezTo>
                    <a:pt x="256822" y="279794"/>
                    <a:pt x="257085" y="279794"/>
                    <a:pt x="257478" y="279663"/>
                  </a:cubicBezTo>
                  <a:cubicBezTo>
                    <a:pt x="257873" y="279531"/>
                    <a:pt x="258266" y="279400"/>
                    <a:pt x="258660" y="279269"/>
                  </a:cubicBezTo>
                  <a:cubicBezTo>
                    <a:pt x="259054" y="279137"/>
                    <a:pt x="259316" y="279006"/>
                    <a:pt x="259710" y="278875"/>
                  </a:cubicBezTo>
                  <a:cubicBezTo>
                    <a:pt x="260104" y="278744"/>
                    <a:pt x="260367" y="278612"/>
                    <a:pt x="260760" y="278350"/>
                  </a:cubicBezTo>
                  <a:cubicBezTo>
                    <a:pt x="261154" y="278219"/>
                    <a:pt x="261548" y="277956"/>
                    <a:pt x="261811" y="277825"/>
                  </a:cubicBezTo>
                  <a:cubicBezTo>
                    <a:pt x="262073" y="277694"/>
                    <a:pt x="262467" y="277431"/>
                    <a:pt x="262729" y="277300"/>
                  </a:cubicBezTo>
                  <a:cubicBezTo>
                    <a:pt x="263123" y="277037"/>
                    <a:pt x="263385" y="276906"/>
                    <a:pt x="263780" y="276643"/>
                  </a:cubicBezTo>
                  <a:cubicBezTo>
                    <a:pt x="264173" y="276381"/>
                    <a:pt x="264436" y="276118"/>
                    <a:pt x="264829" y="275856"/>
                  </a:cubicBezTo>
                  <a:cubicBezTo>
                    <a:pt x="265092" y="275593"/>
                    <a:pt x="265354" y="275462"/>
                    <a:pt x="265749" y="275199"/>
                  </a:cubicBezTo>
                  <a:cubicBezTo>
                    <a:pt x="266405" y="274674"/>
                    <a:pt x="266930" y="274149"/>
                    <a:pt x="267455" y="273624"/>
                  </a:cubicBezTo>
                  <a:cubicBezTo>
                    <a:pt x="267455" y="273624"/>
                    <a:pt x="267455" y="273624"/>
                    <a:pt x="267455" y="273624"/>
                  </a:cubicBezTo>
                  <a:lnTo>
                    <a:pt x="324424" y="216655"/>
                  </a:lnTo>
                  <a:cubicBezTo>
                    <a:pt x="333613" y="207466"/>
                    <a:pt x="333613" y="192502"/>
                    <a:pt x="324424" y="183182"/>
                  </a:cubicBezTo>
                  <a:cubicBezTo>
                    <a:pt x="315236" y="173993"/>
                    <a:pt x="300271" y="173993"/>
                    <a:pt x="290951" y="183182"/>
                  </a:cubicBezTo>
                  <a:lnTo>
                    <a:pt x="274281" y="199853"/>
                  </a:lnTo>
                  <a:lnTo>
                    <a:pt x="274281" y="128969"/>
                  </a:lnTo>
                  <a:cubicBezTo>
                    <a:pt x="274281" y="74887"/>
                    <a:pt x="253935" y="39314"/>
                    <a:pt x="212060" y="20018"/>
                  </a:cubicBezTo>
                  <a:cubicBezTo>
                    <a:pt x="177537" y="4135"/>
                    <a:pt x="131988" y="984"/>
                    <a:pt x="69636" y="984"/>
                  </a:cubicBezTo>
                  <a:cubicBezTo>
                    <a:pt x="56641" y="984"/>
                    <a:pt x="46009" y="11617"/>
                    <a:pt x="46009" y="24612"/>
                  </a:cubicBezTo>
                  <a:cubicBezTo>
                    <a:pt x="46009" y="37608"/>
                    <a:pt x="56641" y="48240"/>
                    <a:pt x="69636" y="48240"/>
                  </a:cubicBezTo>
                  <a:cubicBezTo>
                    <a:pt x="123981" y="48240"/>
                    <a:pt x="165724" y="50734"/>
                    <a:pt x="192370" y="62942"/>
                  </a:cubicBezTo>
                  <a:cubicBezTo>
                    <a:pt x="209566" y="70818"/>
                    <a:pt x="227025" y="84732"/>
                    <a:pt x="227025" y="128838"/>
                  </a:cubicBezTo>
                  <a:lnTo>
                    <a:pt x="227025" y="199721"/>
                  </a:lnTo>
                  <a:lnTo>
                    <a:pt x="210354" y="183051"/>
                  </a:lnTo>
                  <a:cubicBezTo>
                    <a:pt x="201165" y="173862"/>
                    <a:pt x="186201" y="173862"/>
                    <a:pt x="176881" y="183051"/>
                  </a:cubicBezTo>
                  <a:cubicBezTo>
                    <a:pt x="167693" y="192239"/>
                    <a:pt x="167693" y="207204"/>
                    <a:pt x="176881" y="216523"/>
                  </a:cubicBezTo>
                  <a:lnTo>
                    <a:pt x="233851" y="273493"/>
                  </a:lnTo>
                  <a:cubicBezTo>
                    <a:pt x="234375" y="274018"/>
                    <a:pt x="235032" y="274543"/>
                    <a:pt x="235557" y="275068"/>
                  </a:cubicBezTo>
                  <a:cubicBezTo>
                    <a:pt x="235820" y="275331"/>
                    <a:pt x="236082" y="275462"/>
                    <a:pt x="236344" y="275725"/>
                  </a:cubicBezTo>
                  <a:cubicBezTo>
                    <a:pt x="236739" y="275987"/>
                    <a:pt x="237001" y="276250"/>
                    <a:pt x="237395" y="276512"/>
                  </a:cubicBezTo>
                  <a:cubicBezTo>
                    <a:pt x="237789" y="276775"/>
                    <a:pt x="238051" y="276906"/>
                    <a:pt x="238445" y="277168"/>
                  </a:cubicBezTo>
                  <a:cubicBezTo>
                    <a:pt x="238708" y="277300"/>
                    <a:pt x="239101" y="277562"/>
                    <a:pt x="239364" y="277694"/>
                  </a:cubicBezTo>
                  <a:cubicBezTo>
                    <a:pt x="239758" y="277825"/>
                    <a:pt x="240020" y="278087"/>
                    <a:pt x="240414" y="278219"/>
                  </a:cubicBezTo>
                  <a:cubicBezTo>
                    <a:pt x="240808" y="278350"/>
                    <a:pt x="241070" y="278612"/>
                    <a:pt x="241464" y="278744"/>
                  </a:cubicBezTo>
                  <a:cubicBezTo>
                    <a:pt x="241858" y="278875"/>
                    <a:pt x="242121" y="279006"/>
                    <a:pt x="242514" y="279137"/>
                  </a:cubicBezTo>
                  <a:cubicBezTo>
                    <a:pt x="242908" y="279269"/>
                    <a:pt x="243302" y="279400"/>
                    <a:pt x="243695" y="279531"/>
                  </a:cubicBezTo>
                  <a:cubicBezTo>
                    <a:pt x="243827" y="279531"/>
                    <a:pt x="243958" y="279663"/>
                    <a:pt x="244090" y="279663"/>
                  </a:cubicBezTo>
                  <a:cubicBezTo>
                    <a:pt x="243302" y="279663"/>
                    <a:pt x="242646" y="279663"/>
                    <a:pt x="241858" y="279663"/>
                  </a:cubicBezTo>
                  <a:cubicBezTo>
                    <a:pt x="109016" y="279663"/>
                    <a:pt x="984" y="387695"/>
                    <a:pt x="984" y="520536"/>
                  </a:cubicBezTo>
                  <a:cubicBezTo>
                    <a:pt x="984" y="653377"/>
                    <a:pt x="109016" y="761409"/>
                    <a:pt x="241858" y="761409"/>
                  </a:cubicBezTo>
                  <a:cubicBezTo>
                    <a:pt x="241989" y="761409"/>
                    <a:pt x="242121" y="761409"/>
                    <a:pt x="242251" y="761409"/>
                  </a:cubicBezTo>
                  <a:cubicBezTo>
                    <a:pt x="242383" y="761409"/>
                    <a:pt x="242514" y="761409"/>
                    <a:pt x="242646" y="761409"/>
                  </a:cubicBezTo>
                  <a:cubicBezTo>
                    <a:pt x="246321" y="761409"/>
                    <a:pt x="249865" y="761278"/>
                    <a:pt x="253540" y="761147"/>
                  </a:cubicBezTo>
                  <a:cubicBezTo>
                    <a:pt x="381131" y="755109"/>
                    <a:pt x="482863" y="649571"/>
                    <a:pt x="482863" y="520667"/>
                  </a:cubicBezTo>
                  <a:close/>
                  <a:moveTo>
                    <a:pt x="48372" y="520667"/>
                  </a:moveTo>
                  <a:cubicBezTo>
                    <a:pt x="48372" y="413948"/>
                    <a:pt x="135270" y="327049"/>
                    <a:pt x="241989" y="327049"/>
                  </a:cubicBezTo>
                  <a:cubicBezTo>
                    <a:pt x="348708" y="327049"/>
                    <a:pt x="435607" y="413948"/>
                    <a:pt x="435607" y="520667"/>
                  </a:cubicBezTo>
                  <a:cubicBezTo>
                    <a:pt x="435607" y="568973"/>
                    <a:pt x="417755" y="613341"/>
                    <a:pt x="388351" y="647208"/>
                  </a:cubicBezTo>
                  <a:cubicBezTo>
                    <a:pt x="387826" y="646551"/>
                    <a:pt x="387170" y="646026"/>
                    <a:pt x="386513" y="645501"/>
                  </a:cubicBezTo>
                  <a:cubicBezTo>
                    <a:pt x="359472" y="620955"/>
                    <a:pt x="321405" y="604677"/>
                    <a:pt x="278744" y="598508"/>
                  </a:cubicBezTo>
                  <a:cubicBezTo>
                    <a:pt x="324949" y="582756"/>
                    <a:pt x="358160" y="538913"/>
                    <a:pt x="358160" y="487457"/>
                  </a:cubicBezTo>
                  <a:cubicBezTo>
                    <a:pt x="358160" y="422743"/>
                    <a:pt x="305522" y="370236"/>
                    <a:pt x="240939" y="370236"/>
                  </a:cubicBezTo>
                  <a:cubicBezTo>
                    <a:pt x="176356" y="370236"/>
                    <a:pt x="123718" y="422874"/>
                    <a:pt x="123718" y="487457"/>
                  </a:cubicBezTo>
                  <a:cubicBezTo>
                    <a:pt x="123718" y="538913"/>
                    <a:pt x="157060" y="582756"/>
                    <a:pt x="203266" y="598508"/>
                  </a:cubicBezTo>
                  <a:cubicBezTo>
                    <a:pt x="162048" y="604415"/>
                    <a:pt x="124900" y="620036"/>
                    <a:pt x="97990" y="643270"/>
                  </a:cubicBezTo>
                  <a:cubicBezTo>
                    <a:pt x="96809" y="644189"/>
                    <a:pt x="95759" y="645239"/>
                    <a:pt x="94840" y="646420"/>
                  </a:cubicBezTo>
                  <a:cubicBezTo>
                    <a:pt x="65961" y="612553"/>
                    <a:pt x="48372" y="568579"/>
                    <a:pt x="48372" y="520667"/>
                  </a:cubicBezTo>
                  <a:close/>
                  <a:moveTo>
                    <a:pt x="242383" y="714285"/>
                  </a:moveTo>
                  <a:cubicBezTo>
                    <a:pt x="202741" y="714154"/>
                    <a:pt x="165461" y="699714"/>
                    <a:pt x="136451" y="673199"/>
                  </a:cubicBezTo>
                  <a:cubicBezTo>
                    <a:pt x="162573" y="654296"/>
                    <a:pt x="200903" y="643138"/>
                    <a:pt x="241070" y="643138"/>
                  </a:cubicBezTo>
                  <a:cubicBezTo>
                    <a:pt x="282419" y="643138"/>
                    <a:pt x="321537" y="654821"/>
                    <a:pt x="347659" y="674642"/>
                  </a:cubicBezTo>
                  <a:cubicBezTo>
                    <a:pt x="320749" y="698533"/>
                    <a:pt x="287013" y="712316"/>
                    <a:pt x="251178" y="714154"/>
                  </a:cubicBezTo>
                  <a:cubicBezTo>
                    <a:pt x="248290" y="714154"/>
                    <a:pt x="245271" y="714285"/>
                    <a:pt x="242383" y="714285"/>
                  </a:cubicBezTo>
                  <a:close/>
                  <a:moveTo>
                    <a:pt x="240939" y="557553"/>
                  </a:moveTo>
                  <a:cubicBezTo>
                    <a:pt x="202347" y="557553"/>
                    <a:pt x="170974" y="526181"/>
                    <a:pt x="170974" y="487588"/>
                  </a:cubicBezTo>
                  <a:cubicBezTo>
                    <a:pt x="170974" y="448996"/>
                    <a:pt x="202347" y="417623"/>
                    <a:pt x="240939" y="417623"/>
                  </a:cubicBezTo>
                  <a:cubicBezTo>
                    <a:pt x="279532" y="417623"/>
                    <a:pt x="310904" y="448996"/>
                    <a:pt x="310904" y="487588"/>
                  </a:cubicBezTo>
                  <a:cubicBezTo>
                    <a:pt x="310904" y="526049"/>
                    <a:pt x="279532" y="557553"/>
                    <a:pt x="240939" y="55755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MX" sz="1400" dirty="0"/>
            </a:p>
          </p:txBody>
        </p:sp>
        <p:sp>
          <p:nvSpPr>
            <p:cNvPr id="14" name="Forma libre 89">
              <a:extLst>
                <a:ext uri="{FF2B5EF4-FFF2-40B4-BE49-F238E27FC236}">
                  <a16:creationId xmlns:a16="http://schemas.microsoft.com/office/drawing/2014/main" id="{18240B26-1418-2BF2-3304-E78D32570C42}"/>
                </a:ext>
              </a:extLst>
            </p:cNvPr>
            <p:cNvSpPr/>
            <p:nvPr/>
          </p:nvSpPr>
          <p:spPr>
            <a:xfrm>
              <a:off x="5165585" y="3443899"/>
              <a:ext cx="286160" cy="280910"/>
            </a:xfrm>
            <a:custGeom>
              <a:avLst/>
              <a:gdLst>
                <a:gd name="connsiteX0" fmla="*/ 262926 w 286160"/>
                <a:gd name="connsiteY0" fmla="*/ 233063 h 280909"/>
                <a:gd name="connsiteX1" fmla="*/ 140192 w 286160"/>
                <a:gd name="connsiteY1" fmla="*/ 218361 h 280909"/>
                <a:gd name="connsiteX2" fmla="*/ 105538 w 286160"/>
                <a:gd name="connsiteY2" fmla="*/ 152466 h 280909"/>
                <a:gd name="connsiteX3" fmla="*/ 105538 w 286160"/>
                <a:gd name="connsiteY3" fmla="*/ 81582 h 280909"/>
                <a:gd name="connsiteX4" fmla="*/ 122209 w 286160"/>
                <a:gd name="connsiteY4" fmla="*/ 98253 h 280909"/>
                <a:gd name="connsiteX5" fmla="*/ 138880 w 286160"/>
                <a:gd name="connsiteY5" fmla="*/ 105210 h 280909"/>
                <a:gd name="connsiteX6" fmla="*/ 155550 w 286160"/>
                <a:gd name="connsiteY6" fmla="*/ 98253 h 280909"/>
                <a:gd name="connsiteX7" fmla="*/ 155550 w 286160"/>
                <a:gd name="connsiteY7" fmla="*/ 64780 h 280909"/>
                <a:gd name="connsiteX8" fmla="*/ 98581 w 286160"/>
                <a:gd name="connsiteY8" fmla="*/ 7810 h 280909"/>
                <a:gd name="connsiteX9" fmla="*/ 98450 w 286160"/>
                <a:gd name="connsiteY9" fmla="*/ 7810 h 280909"/>
                <a:gd name="connsiteX10" fmla="*/ 96743 w 286160"/>
                <a:gd name="connsiteY10" fmla="*/ 6366 h 280909"/>
                <a:gd name="connsiteX11" fmla="*/ 95956 w 286160"/>
                <a:gd name="connsiteY11" fmla="*/ 5710 h 280909"/>
                <a:gd name="connsiteX12" fmla="*/ 94905 w 286160"/>
                <a:gd name="connsiteY12" fmla="*/ 4922 h 280909"/>
                <a:gd name="connsiteX13" fmla="*/ 93855 w 286160"/>
                <a:gd name="connsiteY13" fmla="*/ 4266 h 280909"/>
                <a:gd name="connsiteX14" fmla="*/ 92937 w 286160"/>
                <a:gd name="connsiteY14" fmla="*/ 3741 h 280909"/>
                <a:gd name="connsiteX15" fmla="*/ 91886 w 286160"/>
                <a:gd name="connsiteY15" fmla="*/ 3216 h 280909"/>
                <a:gd name="connsiteX16" fmla="*/ 90836 w 286160"/>
                <a:gd name="connsiteY16" fmla="*/ 2691 h 280909"/>
                <a:gd name="connsiteX17" fmla="*/ 89786 w 286160"/>
                <a:gd name="connsiteY17" fmla="*/ 2297 h 280909"/>
                <a:gd name="connsiteX18" fmla="*/ 88605 w 286160"/>
                <a:gd name="connsiteY18" fmla="*/ 1903 h 280909"/>
                <a:gd name="connsiteX19" fmla="*/ 87554 w 286160"/>
                <a:gd name="connsiteY19" fmla="*/ 1641 h 280909"/>
                <a:gd name="connsiteX20" fmla="*/ 86373 w 286160"/>
                <a:gd name="connsiteY20" fmla="*/ 1378 h 280909"/>
                <a:gd name="connsiteX21" fmla="*/ 85192 w 286160"/>
                <a:gd name="connsiteY21" fmla="*/ 1247 h 280909"/>
                <a:gd name="connsiteX22" fmla="*/ 84142 w 286160"/>
                <a:gd name="connsiteY22" fmla="*/ 1116 h 280909"/>
                <a:gd name="connsiteX23" fmla="*/ 81779 w 286160"/>
                <a:gd name="connsiteY23" fmla="*/ 984 h 280909"/>
                <a:gd name="connsiteX24" fmla="*/ 81779 w 286160"/>
                <a:gd name="connsiteY24" fmla="*/ 984 h 280909"/>
                <a:gd name="connsiteX25" fmla="*/ 81779 w 286160"/>
                <a:gd name="connsiteY25" fmla="*/ 984 h 280909"/>
                <a:gd name="connsiteX26" fmla="*/ 81779 w 286160"/>
                <a:gd name="connsiteY26" fmla="*/ 984 h 280909"/>
                <a:gd name="connsiteX27" fmla="*/ 79416 w 286160"/>
                <a:gd name="connsiteY27" fmla="*/ 1116 h 280909"/>
                <a:gd name="connsiteX28" fmla="*/ 78366 w 286160"/>
                <a:gd name="connsiteY28" fmla="*/ 1247 h 280909"/>
                <a:gd name="connsiteX29" fmla="*/ 77053 w 286160"/>
                <a:gd name="connsiteY29" fmla="*/ 1378 h 280909"/>
                <a:gd name="connsiteX30" fmla="*/ 75872 w 286160"/>
                <a:gd name="connsiteY30" fmla="*/ 1641 h 280909"/>
                <a:gd name="connsiteX31" fmla="*/ 74691 w 286160"/>
                <a:gd name="connsiteY31" fmla="*/ 1903 h 280909"/>
                <a:gd name="connsiteX32" fmla="*/ 73640 w 286160"/>
                <a:gd name="connsiteY32" fmla="*/ 2297 h 280909"/>
                <a:gd name="connsiteX33" fmla="*/ 72590 w 286160"/>
                <a:gd name="connsiteY33" fmla="*/ 2691 h 280909"/>
                <a:gd name="connsiteX34" fmla="*/ 71671 w 286160"/>
                <a:gd name="connsiteY34" fmla="*/ 3085 h 280909"/>
                <a:gd name="connsiteX35" fmla="*/ 70490 w 286160"/>
                <a:gd name="connsiteY35" fmla="*/ 3610 h 280909"/>
                <a:gd name="connsiteX36" fmla="*/ 69571 w 286160"/>
                <a:gd name="connsiteY36" fmla="*/ 4135 h 280909"/>
                <a:gd name="connsiteX37" fmla="*/ 68521 w 286160"/>
                <a:gd name="connsiteY37" fmla="*/ 4791 h 280909"/>
                <a:gd name="connsiteX38" fmla="*/ 67602 w 286160"/>
                <a:gd name="connsiteY38" fmla="*/ 5447 h 280909"/>
                <a:gd name="connsiteX39" fmla="*/ 66815 w 286160"/>
                <a:gd name="connsiteY39" fmla="*/ 6104 h 280909"/>
                <a:gd name="connsiteX40" fmla="*/ 66683 w 286160"/>
                <a:gd name="connsiteY40" fmla="*/ 6104 h 280909"/>
                <a:gd name="connsiteX41" fmla="*/ 64977 w 286160"/>
                <a:gd name="connsiteY41" fmla="*/ 7548 h 280909"/>
                <a:gd name="connsiteX42" fmla="*/ 64846 w 286160"/>
                <a:gd name="connsiteY42" fmla="*/ 7679 h 280909"/>
                <a:gd name="connsiteX43" fmla="*/ 7876 w 286160"/>
                <a:gd name="connsiteY43" fmla="*/ 64649 h 280909"/>
                <a:gd name="connsiteX44" fmla="*/ 7876 w 286160"/>
                <a:gd name="connsiteY44" fmla="*/ 98121 h 280909"/>
                <a:gd name="connsiteX45" fmla="*/ 24547 w 286160"/>
                <a:gd name="connsiteY45" fmla="*/ 105078 h 280909"/>
                <a:gd name="connsiteX46" fmla="*/ 41218 w 286160"/>
                <a:gd name="connsiteY46" fmla="*/ 98121 h 280909"/>
                <a:gd name="connsiteX47" fmla="*/ 57889 w 286160"/>
                <a:gd name="connsiteY47" fmla="*/ 81450 h 280909"/>
                <a:gd name="connsiteX48" fmla="*/ 57889 w 286160"/>
                <a:gd name="connsiteY48" fmla="*/ 152334 h 280909"/>
                <a:gd name="connsiteX49" fmla="*/ 120109 w 286160"/>
                <a:gd name="connsiteY49" fmla="*/ 261285 h 280909"/>
                <a:gd name="connsiteX50" fmla="*/ 262533 w 286160"/>
                <a:gd name="connsiteY50" fmla="*/ 280319 h 280909"/>
                <a:gd name="connsiteX51" fmla="*/ 286161 w 286160"/>
                <a:gd name="connsiteY51" fmla="*/ 256691 h 280909"/>
                <a:gd name="connsiteX52" fmla="*/ 262926 w 286160"/>
                <a:gd name="connsiteY52" fmla="*/ 233063 h 280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286160" h="280909">
                  <a:moveTo>
                    <a:pt x="262926" y="233063"/>
                  </a:moveTo>
                  <a:cubicBezTo>
                    <a:pt x="208582" y="233063"/>
                    <a:pt x="166839" y="230569"/>
                    <a:pt x="140192" y="218361"/>
                  </a:cubicBezTo>
                  <a:cubicBezTo>
                    <a:pt x="122996" y="210485"/>
                    <a:pt x="105538" y="196571"/>
                    <a:pt x="105538" y="152466"/>
                  </a:cubicBezTo>
                  <a:lnTo>
                    <a:pt x="105538" y="81582"/>
                  </a:lnTo>
                  <a:lnTo>
                    <a:pt x="122209" y="98253"/>
                  </a:lnTo>
                  <a:cubicBezTo>
                    <a:pt x="126803" y="102847"/>
                    <a:pt x="132841" y="105210"/>
                    <a:pt x="138880" y="105210"/>
                  </a:cubicBezTo>
                  <a:cubicBezTo>
                    <a:pt x="144918" y="105210"/>
                    <a:pt x="150956" y="102847"/>
                    <a:pt x="155550" y="98253"/>
                  </a:cubicBezTo>
                  <a:cubicBezTo>
                    <a:pt x="164739" y="89064"/>
                    <a:pt x="164739" y="74100"/>
                    <a:pt x="155550" y="64780"/>
                  </a:cubicBezTo>
                  <a:lnTo>
                    <a:pt x="98581" y="7810"/>
                  </a:lnTo>
                  <a:cubicBezTo>
                    <a:pt x="98581" y="7810"/>
                    <a:pt x="98581" y="7810"/>
                    <a:pt x="98450" y="7810"/>
                  </a:cubicBezTo>
                  <a:cubicBezTo>
                    <a:pt x="97925" y="7285"/>
                    <a:pt x="97399" y="6760"/>
                    <a:pt x="96743" y="6366"/>
                  </a:cubicBezTo>
                  <a:cubicBezTo>
                    <a:pt x="96481" y="6104"/>
                    <a:pt x="96218" y="5972"/>
                    <a:pt x="95956" y="5710"/>
                  </a:cubicBezTo>
                  <a:cubicBezTo>
                    <a:pt x="95562" y="5447"/>
                    <a:pt x="95299" y="5185"/>
                    <a:pt x="94905" y="4922"/>
                  </a:cubicBezTo>
                  <a:cubicBezTo>
                    <a:pt x="94512" y="4660"/>
                    <a:pt x="94249" y="4529"/>
                    <a:pt x="93855" y="4266"/>
                  </a:cubicBezTo>
                  <a:cubicBezTo>
                    <a:pt x="93593" y="4135"/>
                    <a:pt x="93199" y="3872"/>
                    <a:pt x="92937" y="3741"/>
                  </a:cubicBezTo>
                  <a:cubicBezTo>
                    <a:pt x="92543" y="3610"/>
                    <a:pt x="92280" y="3347"/>
                    <a:pt x="91886" y="3216"/>
                  </a:cubicBezTo>
                  <a:cubicBezTo>
                    <a:pt x="91492" y="3085"/>
                    <a:pt x="91230" y="2822"/>
                    <a:pt x="90836" y="2691"/>
                  </a:cubicBezTo>
                  <a:cubicBezTo>
                    <a:pt x="90443" y="2560"/>
                    <a:pt x="90180" y="2428"/>
                    <a:pt x="89786" y="2297"/>
                  </a:cubicBezTo>
                  <a:cubicBezTo>
                    <a:pt x="89392" y="2166"/>
                    <a:pt x="88999" y="2034"/>
                    <a:pt x="88605" y="1903"/>
                  </a:cubicBezTo>
                  <a:cubicBezTo>
                    <a:pt x="88211" y="1772"/>
                    <a:pt x="87948" y="1772"/>
                    <a:pt x="87554" y="1641"/>
                  </a:cubicBezTo>
                  <a:cubicBezTo>
                    <a:pt x="87161" y="1509"/>
                    <a:pt x="86767" y="1378"/>
                    <a:pt x="86373" y="1378"/>
                  </a:cubicBezTo>
                  <a:cubicBezTo>
                    <a:pt x="85979" y="1247"/>
                    <a:pt x="85585" y="1247"/>
                    <a:pt x="85192" y="1247"/>
                  </a:cubicBezTo>
                  <a:cubicBezTo>
                    <a:pt x="84798" y="1247"/>
                    <a:pt x="84536" y="1116"/>
                    <a:pt x="84142" y="1116"/>
                  </a:cubicBezTo>
                  <a:cubicBezTo>
                    <a:pt x="83354" y="984"/>
                    <a:pt x="82567" y="984"/>
                    <a:pt x="81779" y="984"/>
                  </a:cubicBezTo>
                  <a:cubicBezTo>
                    <a:pt x="81779" y="984"/>
                    <a:pt x="81779" y="984"/>
                    <a:pt x="81779" y="984"/>
                  </a:cubicBezTo>
                  <a:cubicBezTo>
                    <a:pt x="81779" y="984"/>
                    <a:pt x="81779" y="984"/>
                    <a:pt x="81779" y="984"/>
                  </a:cubicBezTo>
                  <a:cubicBezTo>
                    <a:pt x="81779" y="984"/>
                    <a:pt x="81779" y="984"/>
                    <a:pt x="81779" y="984"/>
                  </a:cubicBezTo>
                  <a:cubicBezTo>
                    <a:pt x="80991" y="984"/>
                    <a:pt x="80204" y="984"/>
                    <a:pt x="79416" y="1116"/>
                  </a:cubicBezTo>
                  <a:cubicBezTo>
                    <a:pt x="79022" y="1116"/>
                    <a:pt x="78760" y="1247"/>
                    <a:pt x="78366" y="1247"/>
                  </a:cubicBezTo>
                  <a:cubicBezTo>
                    <a:pt x="77972" y="1247"/>
                    <a:pt x="77447" y="1378"/>
                    <a:pt x="77053" y="1378"/>
                  </a:cubicBezTo>
                  <a:cubicBezTo>
                    <a:pt x="76660" y="1509"/>
                    <a:pt x="76266" y="1509"/>
                    <a:pt x="75872" y="1641"/>
                  </a:cubicBezTo>
                  <a:cubicBezTo>
                    <a:pt x="75478" y="1772"/>
                    <a:pt x="75084" y="1772"/>
                    <a:pt x="74691" y="1903"/>
                  </a:cubicBezTo>
                  <a:cubicBezTo>
                    <a:pt x="74297" y="2034"/>
                    <a:pt x="74034" y="2166"/>
                    <a:pt x="73640" y="2297"/>
                  </a:cubicBezTo>
                  <a:cubicBezTo>
                    <a:pt x="73247" y="2428"/>
                    <a:pt x="72853" y="2560"/>
                    <a:pt x="72590" y="2691"/>
                  </a:cubicBezTo>
                  <a:cubicBezTo>
                    <a:pt x="72196" y="2822"/>
                    <a:pt x="71934" y="2953"/>
                    <a:pt x="71671" y="3085"/>
                  </a:cubicBezTo>
                  <a:cubicBezTo>
                    <a:pt x="71278" y="3216"/>
                    <a:pt x="70884" y="3478"/>
                    <a:pt x="70490" y="3610"/>
                  </a:cubicBezTo>
                  <a:cubicBezTo>
                    <a:pt x="70227" y="3741"/>
                    <a:pt x="69834" y="4003"/>
                    <a:pt x="69571" y="4135"/>
                  </a:cubicBezTo>
                  <a:cubicBezTo>
                    <a:pt x="69177" y="4397"/>
                    <a:pt x="68784" y="4529"/>
                    <a:pt x="68521" y="4791"/>
                  </a:cubicBezTo>
                  <a:cubicBezTo>
                    <a:pt x="68258" y="5054"/>
                    <a:pt x="67865" y="5316"/>
                    <a:pt x="67602" y="5447"/>
                  </a:cubicBezTo>
                  <a:cubicBezTo>
                    <a:pt x="67340" y="5710"/>
                    <a:pt x="67077" y="5841"/>
                    <a:pt x="66815" y="6104"/>
                  </a:cubicBezTo>
                  <a:cubicBezTo>
                    <a:pt x="66815" y="6104"/>
                    <a:pt x="66815" y="6104"/>
                    <a:pt x="66683" y="6104"/>
                  </a:cubicBezTo>
                  <a:cubicBezTo>
                    <a:pt x="66158" y="6629"/>
                    <a:pt x="65502" y="7023"/>
                    <a:pt x="64977" y="7548"/>
                  </a:cubicBezTo>
                  <a:cubicBezTo>
                    <a:pt x="64977" y="7548"/>
                    <a:pt x="64977" y="7548"/>
                    <a:pt x="64846" y="7679"/>
                  </a:cubicBezTo>
                  <a:lnTo>
                    <a:pt x="7876" y="64649"/>
                  </a:lnTo>
                  <a:cubicBezTo>
                    <a:pt x="-1313" y="73837"/>
                    <a:pt x="-1313" y="88801"/>
                    <a:pt x="7876" y="98121"/>
                  </a:cubicBezTo>
                  <a:cubicBezTo>
                    <a:pt x="12470" y="102716"/>
                    <a:pt x="18509" y="105078"/>
                    <a:pt x="24547" y="105078"/>
                  </a:cubicBezTo>
                  <a:cubicBezTo>
                    <a:pt x="30585" y="105078"/>
                    <a:pt x="36623" y="102716"/>
                    <a:pt x="41218" y="98121"/>
                  </a:cubicBezTo>
                  <a:lnTo>
                    <a:pt x="57889" y="81450"/>
                  </a:lnTo>
                  <a:lnTo>
                    <a:pt x="57889" y="152334"/>
                  </a:lnTo>
                  <a:cubicBezTo>
                    <a:pt x="57889" y="206416"/>
                    <a:pt x="78235" y="241989"/>
                    <a:pt x="120109" y="261285"/>
                  </a:cubicBezTo>
                  <a:cubicBezTo>
                    <a:pt x="154632" y="277168"/>
                    <a:pt x="200181" y="280319"/>
                    <a:pt x="262533" y="280319"/>
                  </a:cubicBezTo>
                  <a:cubicBezTo>
                    <a:pt x="275528" y="280319"/>
                    <a:pt x="286161" y="269686"/>
                    <a:pt x="286161" y="256691"/>
                  </a:cubicBezTo>
                  <a:cubicBezTo>
                    <a:pt x="286161" y="243695"/>
                    <a:pt x="275921" y="233063"/>
                    <a:pt x="262926" y="23306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MX" sz="1400" dirty="0"/>
            </a:p>
          </p:txBody>
        </p:sp>
      </p:grpSp>
      <p:sp>
        <p:nvSpPr>
          <p:cNvPr id="15" name="Forma libre 6">
            <a:extLst>
              <a:ext uri="{FF2B5EF4-FFF2-40B4-BE49-F238E27FC236}">
                <a16:creationId xmlns:a16="http://schemas.microsoft.com/office/drawing/2014/main" id="{AB3F8F54-DC57-1EB6-F4FD-43D6E3E71F9A}"/>
              </a:ext>
            </a:extLst>
          </p:cNvPr>
          <p:cNvSpPr/>
          <p:nvPr/>
        </p:nvSpPr>
        <p:spPr>
          <a:xfrm>
            <a:off x="4244719" y="2074994"/>
            <a:ext cx="713128" cy="766639"/>
          </a:xfrm>
          <a:custGeom>
            <a:avLst/>
            <a:gdLst>
              <a:gd name="connsiteX0" fmla="*/ 317463 w 452622"/>
              <a:gd name="connsiteY0" fmla="*/ 34297 h 486587"/>
              <a:gd name="connsiteX1" fmla="*/ 260018 w 452622"/>
              <a:gd name="connsiteY1" fmla="*/ 34224 h 486587"/>
              <a:gd name="connsiteX2" fmla="*/ 255366 w 452622"/>
              <a:gd name="connsiteY2" fmla="*/ 27652 h 486587"/>
              <a:gd name="connsiteX3" fmla="*/ 168829 w 452622"/>
              <a:gd name="connsiteY3" fmla="*/ 554 h 486587"/>
              <a:gd name="connsiteX4" fmla="*/ 82292 w 452622"/>
              <a:gd name="connsiteY4" fmla="*/ 27652 h 486587"/>
              <a:gd name="connsiteX5" fmla="*/ 77640 w 452622"/>
              <a:gd name="connsiteY5" fmla="*/ 34224 h 486587"/>
              <a:gd name="connsiteX6" fmla="*/ 20194 w 452622"/>
              <a:gd name="connsiteY6" fmla="*/ 34224 h 486587"/>
              <a:gd name="connsiteX7" fmla="*/ 554 w 452622"/>
              <a:gd name="connsiteY7" fmla="*/ 60805 h 486587"/>
              <a:gd name="connsiteX8" fmla="*/ 554 w 452622"/>
              <a:gd name="connsiteY8" fmla="*/ 471487 h 486587"/>
              <a:gd name="connsiteX9" fmla="*/ 15174 w 452622"/>
              <a:gd name="connsiteY9" fmla="*/ 486107 h 486587"/>
              <a:gd name="connsiteX10" fmla="*/ 322484 w 452622"/>
              <a:gd name="connsiteY10" fmla="*/ 486181 h 486587"/>
              <a:gd name="connsiteX11" fmla="*/ 337104 w 452622"/>
              <a:gd name="connsiteY11" fmla="*/ 471561 h 486587"/>
              <a:gd name="connsiteX12" fmla="*/ 337104 w 452622"/>
              <a:gd name="connsiteY12" fmla="*/ 60805 h 486587"/>
              <a:gd name="connsiteX13" fmla="*/ 317463 w 452622"/>
              <a:gd name="connsiteY13" fmla="*/ 34297 h 486587"/>
              <a:gd name="connsiteX14" fmla="*/ 103040 w 452622"/>
              <a:gd name="connsiteY14" fmla="*/ 44635 h 486587"/>
              <a:gd name="connsiteX15" fmla="*/ 168829 w 452622"/>
              <a:gd name="connsiteY15" fmla="*/ 27135 h 486587"/>
              <a:gd name="connsiteX16" fmla="*/ 234618 w 452622"/>
              <a:gd name="connsiteY16" fmla="*/ 44635 h 486587"/>
              <a:gd name="connsiteX17" fmla="*/ 234618 w 452622"/>
              <a:gd name="connsiteY17" fmla="*/ 47514 h 486587"/>
              <a:gd name="connsiteX18" fmla="*/ 103040 w 452622"/>
              <a:gd name="connsiteY18" fmla="*/ 47514 h 486587"/>
              <a:gd name="connsiteX19" fmla="*/ 103040 w 452622"/>
              <a:gd name="connsiteY19" fmla="*/ 44635 h 486587"/>
              <a:gd name="connsiteX20" fmla="*/ 310522 w 452622"/>
              <a:gd name="connsiteY20" fmla="*/ 459526 h 486587"/>
              <a:gd name="connsiteX21" fmla="*/ 27209 w 452622"/>
              <a:gd name="connsiteY21" fmla="*/ 459526 h 486587"/>
              <a:gd name="connsiteX22" fmla="*/ 27209 w 452622"/>
              <a:gd name="connsiteY22" fmla="*/ 60805 h 486587"/>
              <a:gd name="connsiteX23" fmla="*/ 76532 w 452622"/>
              <a:gd name="connsiteY23" fmla="*/ 60805 h 486587"/>
              <a:gd name="connsiteX24" fmla="*/ 92703 w 452622"/>
              <a:gd name="connsiteY24" fmla="*/ 74096 h 486587"/>
              <a:gd name="connsiteX25" fmla="*/ 245029 w 452622"/>
              <a:gd name="connsiteY25" fmla="*/ 74096 h 486587"/>
              <a:gd name="connsiteX26" fmla="*/ 261273 w 452622"/>
              <a:gd name="connsiteY26" fmla="*/ 60805 h 486587"/>
              <a:gd name="connsiteX27" fmla="*/ 310596 w 452622"/>
              <a:gd name="connsiteY27" fmla="*/ 60805 h 486587"/>
              <a:gd name="connsiteX28" fmla="*/ 310596 w 452622"/>
              <a:gd name="connsiteY28" fmla="*/ 459526 h 486587"/>
              <a:gd name="connsiteX29" fmla="*/ 268583 w 452622"/>
              <a:gd name="connsiteY29" fmla="*/ 153914 h 486587"/>
              <a:gd name="connsiteX30" fmla="*/ 281874 w 452622"/>
              <a:gd name="connsiteY30" fmla="*/ 167204 h 486587"/>
              <a:gd name="connsiteX31" fmla="*/ 268583 w 452622"/>
              <a:gd name="connsiteY31" fmla="*/ 180495 h 486587"/>
              <a:gd name="connsiteX32" fmla="*/ 162257 w 452622"/>
              <a:gd name="connsiteY32" fmla="*/ 180495 h 486587"/>
              <a:gd name="connsiteX33" fmla="*/ 148967 w 452622"/>
              <a:gd name="connsiteY33" fmla="*/ 167204 h 486587"/>
              <a:gd name="connsiteX34" fmla="*/ 162257 w 452622"/>
              <a:gd name="connsiteY34" fmla="*/ 153914 h 486587"/>
              <a:gd name="connsiteX35" fmla="*/ 268583 w 452622"/>
              <a:gd name="connsiteY35" fmla="*/ 153914 h 486587"/>
              <a:gd name="connsiteX36" fmla="*/ 281874 w 452622"/>
              <a:gd name="connsiteY36" fmla="*/ 273530 h 486587"/>
              <a:gd name="connsiteX37" fmla="*/ 268583 w 452622"/>
              <a:gd name="connsiteY37" fmla="*/ 286821 h 486587"/>
              <a:gd name="connsiteX38" fmla="*/ 162257 w 452622"/>
              <a:gd name="connsiteY38" fmla="*/ 286821 h 486587"/>
              <a:gd name="connsiteX39" fmla="*/ 148967 w 452622"/>
              <a:gd name="connsiteY39" fmla="*/ 273530 h 486587"/>
              <a:gd name="connsiteX40" fmla="*/ 162257 w 452622"/>
              <a:gd name="connsiteY40" fmla="*/ 260239 h 486587"/>
              <a:gd name="connsiteX41" fmla="*/ 268583 w 452622"/>
              <a:gd name="connsiteY41" fmla="*/ 260239 h 486587"/>
              <a:gd name="connsiteX42" fmla="*/ 281874 w 452622"/>
              <a:gd name="connsiteY42" fmla="*/ 273530 h 486587"/>
              <a:gd name="connsiteX43" fmla="*/ 281874 w 452622"/>
              <a:gd name="connsiteY43" fmla="*/ 379856 h 486587"/>
              <a:gd name="connsiteX44" fmla="*/ 268583 w 452622"/>
              <a:gd name="connsiteY44" fmla="*/ 393146 h 486587"/>
              <a:gd name="connsiteX45" fmla="*/ 162257 w 452622"/>
              <a:gd name="connsiteY45" fmla="*/ 393146 h 486587"/>
              <a:gd name="connsiteX46" fmla="*/ 148967 w 452622"/>
              <a:gd name="connsiteY46" fmla="*/ 379856 h 486587"/>
              <a:gd name="connsiteX47" fmla="*/ 162257 w 452622"/>
              <a:gd name="connsiteY47" fmla="*/ 366565 h 486587"/>
              <a:gd name="connsiteX48" fmla="*/ 268583 w 452622"/>
              <a:gd name="connsiteY48" fmla="*/ 366565 h 486587"/>
              <a:gd name="connsiteX49" fmla="*/ 281874 w 452622"/>
              <a:gd name="connsiteY49" fmla="*/ 379856 h 486587"/>
              <a:gd name="connsiteX50" fmla="*/ 69222 w 452622"/>
              <a:gd name="connsiteY50" fmla="*/ 207003 h 486587"/>
              <a:gd name="connsiteX51" fmla="*/ 122385 w 452622"/>
              <a:gd name="connsiteY51" fmla="*/ 207003 h 486587"/>
              <a:gd name="connsiteX52" fmla="*/ 135676 w 452622"/>
              <a:gd name="connsiteY52" fmla="*/ 193712 h 486587"/>
              <a:gd name="connsiteX53" fmla="*/ 135676 w 452622"/>
              <a:gd name="connsiteY53" fmla="*/ 140549 h 486587"/>
              <a:gd name="connsiteX54" fmla="*/ 122385 w 452622"/>
              <a:gd name="connsiteY54" fmla="*/ 127258 h 486587"/>
              <a:gd name="connsiteX55" fmla="*/ 69222 w 452622"/>
              <a:gd name="connsiteY55" fmla="*/ 127258 h 486587"/>
              <a:gd name="connsiteX56" fmla="*/ 55932 w 452622"/>
              <a:gd name="connsiteY56" fmla="*/ 140549 h 486587"/>
              <a:gd name="connsiteX57" fmla="*/ 55932 w 452622"/>
              <a:gd name="connsiteY57" fmla="*/ 193712 h 486587"/>
              <a:gd name="connsiteX58" fmla="*/ 69222 w 452622"/>
              <a:gd name="connsiteY58" fmla="*/ 207003 h 486587"/>
              <a:gd name="connsiteX59" fmla="*/ 82513 w 452622"/>
              <a:gd name="connsiteY59" fmla="*/ 153840 h 486587"/>
              <a:gd name="connsiteX60" fmla="*/ 109094 w 452622"/>
              <a:gd name="connsiteY60" fmla="*/ 153840 h 486587"/>
              <a:gd name="connsiteX61" fmla="*/ 109094 w 452622"/>
              <a:gd name="connsiteY61" fmla="*/ 180421 h 486587"/>
              <a:gd name="connsiteX62" fmla="*/ 82513 w 452622"/>
              <a:gd name="connsiteY62" fmla="*/ 180421 h 486587"/>
              <a:gd name="connsiteX63" fmla="*/ 82513 w 452622"/>
              <a:gd name="connsiteY63" fmla="*/ 153840 h 486587"/>
              <a:gd name="connsiteX64" fmla="*/ 122385 w 452622"/>
              <a:gd name="connsiteY64" fmla="*/ 233658 h 486587"/>
              <a:gd name="connsiteX65" fmla="*/ 69222 w 452622"/>
              <a:gd name="connsiteY65" fmla="*/ 233658 h 486587"/>
              <a:gd name="connsiteX66" fmla="*/ 55932 w 452622"/>
              <a:gd name="connsiteY66" fmla="*/ 246949 h 486587"/>
              <a:gd name="connsiteX67" fmla="*/ 55932 w 452622"/>
              <a:gd name="connsiteY67" fmla="*/ 300111 h 486587"/>
              <a:gd name="connsiteX68" fmla="*/ 69222 w 452622"/>
              <a:gd name="connsiteY68" fmla="*/ 313402 h 486587"/>
              <a:gd name="connsiteX69" fmla="*/ 122385 w 452622"/>
              <a:gd name="connsiteY69" fmla="*/ 313402 h 486587"/>
              <a:gd name="connsiteX70" fmla="*/ 135676 w 452622"/>
              <a:gd name="connsiteY70" fmla="*/ 300111 h 486587"/>
              <a:gd name="connsiteX71" fmla="*/ 135676 w 452622"/>
              <a:gd name="connsiteY71" fmla="*/ 246949 h 486587"/>
              <a:gd name="connsiteX72" fmla="*/ 122385 w 452622"/>
              <a:gd name="connsiteY72" fmla="*/ 233658 h 486587"/>
              <a:gd name="connsiteX73" fmla="*/ 109094 w 452622"/>
              <a:gd name="connsiteY73" fmla="*/ 286821 h 486587"/>
              <a:gd name="connsiteX74" fmla="*/ 82513 w 452622"/>
              <a:gd name="connsiteY74" fmla="*/ 286821 h 486587"/>
              <a:gd name="connsiteX75" fmla="*/ 82513 w 452622"/>
              <a:gd name="connsiteY75" fmla="*/ 260239 h 486587"/>
              <a:gd name="connsiteX76" fmla="*/ 109094 w 452622"/>
              <a:gd name="connsiteY76" fmla="*/ 260239 h 486587"/>
              <a:gd name="connsiteX77" fmla="*/ 109094 w 452622"/>
              <a:gd name="connsiteY77" fmla="*/ 286821 h 486587"/>
              <a:gd name="connsiteX78" fmla="*/ 122311 w 452622"/>
              <a:gd name="connsiteY78" fmla="*/ 339983 h 486587"/>
              <a:gd name="connsiteX79" fmla="*/ 69149 w 452622"/>
              <a:gd name="connsiteY79" fmla="*/ 339983 h 486587"/>
              <a:gd name="connsiteX80" fmla="*/ 55858 w 452622"/>
              <a:gd name="connsiteY80" fmla="*/ 353274 h 486587"/>
              <a:gd name="connsiteX81" fmla="*/ 55858 w 452622"/>
              <a:gd name="connsiteY81" fmla="*/ 406437 h 486587"/>
              <a:gd name="connsiteX82" fmla="*/ 69149 w 452622"/>
              <a:gd name="connsiteY82" fmla="*/ 419728 h 486587"/>
              <a:gd name="connsiteX83" fmla="*/ 122311 w 452622"/>
              <a:gd name="connsiteY83" fmla="*/ 419728 h 486587"/>
              <a:gd name="connsiteX84" fmla="*/ 135602 w 452622"/>
              <a:gd name="connsiteY84" fmla="*/ 406437 h 486587"/>
              <a:gd name="connsiteX85" fmla="*/ 135602 w 452622"/>
              <a:gd name="connsiteY85" fmla="*/ 353274 h 486587"/>
              <a:gd name="connsiteX86" fmla="*/ 122311 w 452622"/>
              <a:gd name="connsiteY86" fmla="*/ 339983 h 486587"/>
              <a:gd name="connsiteX87" fmla="*/ 109021 w 452622"/>
              <a:gd name="connsiteY87" fmla="*/ 393146 h 486587"/>
              <a:gd name="connsiteX88" fmla="*/ 82439 w 452622"/>
              <a:gd name="connsiteY88" fmla="*/ 393146 h 486587"/>
              <a:gd name="connsiteX89" fmla="*/ 82439 w 452622"/>
              <a:gd name="connsiteY89" fmla="*/ 366565 h 486587"/>
              <a:gd name="connsiteX90" fmla="*/ 109021 w 452622"/>
              <a:gd name="connsiteY90" fmla="*/ 366565 h 486587"/>
              <a:gd name="connsiteX91" fmla="*/ 109021 w 452622"/>
              <a:gd name="connsiteY91" fmla="*/ 393146 h 486587"/>
              <a:gd name="connsiteX92" fmla="*/ 450296 w 452622"/>
              <a:gd name="connsiteY92" fmla="*/ 169493 h 486587"/>
              <a:gd name="connsiteX93" fmla="*/ 423715 w 452622"/>
              <a:gd name="connsiteY93" fmla="*/ 129621 h 486587"/>
              <a:gd name="connsiteX94" fmla="*/ 412565 w 452622"/>
              <a:gd name="connsiteY94" fmla="*/ 123714 h 486587"/>
              <a:gd name="connsiteX95" fmla="*/ 401490 w 452622"/>
              <a:gd name="connsiteY95" fmla="*/ 129769 h 486587"/>
              <a:gd name="connsiteX96" fmla="*/ 375425 w 452622"/>
              <a:gd name="connsiteY96" fmla="*/ 169641 h 486587"/>
              <a:gd name="connsiteX97" fmla="*/ 373284 w 452622"/>
              <a:gd name="connsiteY97" fmla="*/ 176877 h 486587"/>
              <a:gd name="connsiteX98" fmla="*/ 372767 w 452622"/>
              <a:gd name="connsiteY98" fmla="*/ 469199 h 486587"/>
              <a:gd name="connsiteX99" fmla="*/ 376681 w 452622"/>
              <a:gd name="connsiteY99" fmla="*/ 478576 h 486587"/>
              <a:gd name="connsiteX100" fmla="*/ 386058 w 452622"/>
              <a:gd name="connsiteY100" fmla="*/ 482489 h 486587"/>
              <a:gd name="connsiteX101" fmla="*/ 439221 w 452622"/>
              <a:gd name="connsiteY101" fmla="*/ 482489 h 486587"/>
              <a:gd name="connsiteX102" fmla="*/ 452511 w 452622"/>
              <a:gd name="connsiteY102" fmla="*/ 469199 h 486587"/>
              <a:gd name="connsiteX103" fmla="*/ 452511 w 452622"/>
              <a:gd name="connsiteY103" fmla="*/ 176803 h 486587"/>
              <a:gd name="connsiteX104" fmla="*/ 450296 w 452622"/>
              <a:gd name="connsiteY104" fmla="*/ 169493 h 486587"/>
              <a:gd name="connsiteX105" fmla="*/ 412713 w 452622"/>
              <a:gd name="connsiteY105" fmla="*/ 161076 h 486587"/>
              <a:gd name="connsiteX106" fmla="*/ 425930 w 452622"/>
              <a:gd name="connsiteY106" fmla="*/ 180864 h 486587"/>
              <a:gd name="connsiteX107" fmla="*/ 425930 w 452622"/>
              <a:gd name="connsiteY107" fmla="*/ 416110 h 486587"/>
              <a:gd name="connsiteX108" fmla="*/ 399422 w 452622"/>
              <a:gd name="connsiteY108" fmla="*/ 416110 h 486587"/>
              <a:gd name="connsiteX109" fmla="*/ 399865 w 452622"/>
              <a:gd name="connsiteY109" fmla="*/ 180864 h 486587"/>
              <a:gd name="connsiteX110" fmla="*/ 412713 w 452622"/>
              <a:gd name="connsiteY110" fmla="*/ 161076 h 486587"/>
              <a:gd name="connsiteX111" fmla="*/ 399349 w 452622"/>
              <a:gd name="connsiteY111" fmla="*/ 455982 h 486587"/>
              <a:gd name="connsiteX112" fmla="*/ 399349 w 452622"/>
              <a:gd name="connsiteY112" fmla="*/ 442691 h 486587"/>
              <a:gd name="connsiteX113" fmla="*/ 425856 w 452622"/>
              <a:gd name="connsiteY113" fmla="*/ 442691 h 486587"/>
              <a:gd name="connsiteX114" fmla="*/ 425856 w 452622"/>
              <a:gd name="connsiteY114" fmla="*/ 455982 h 486587"/>
              <a:gd name="connsiteX115" fmla="*/ 399349 w 452622"/>
              <a:gd name="connsiteY115" fmla="*/ 455982 h 4865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</a:cxnLst>
            <a:rect l="l" t="t" r="r" b="b"/>
            <a:pathLst>
              <a:path w="452622" h="486587">
                <a:moveTo>
                  <a:pt x="317463" y="34297"/>
                </a:moveTo>
                <a:lnTo>
                  <a:pt x="260018" y="34224"/>
                </a:lnTo>
                <a:cubicBezTo>
                  <a:pt x="259058" y="32008"/>
                  <a:pt x="257507" y="29793"/>
                  <a:pt x="255366" y="27652"/>
                </a:cubicBezTo>
                <a:cubicBezTo>
                  <a:pt x="238900" y="10965"/>
                  <a:pt x="205747" y="554"/>
                  <a:pt x="168829" y="554"/>
                </a:cubicBezTo>
                <a:cubicBezTo>
                  <a:pt x="131910" y="554"/>
                  <a:pt x="98757" y="10965"/>
                  <a:pt x="82292" y="27652"/>
                </a:cubicBezTo>
                <a:cubicBezTo>
                  <a:pt x="80150" y="29793"/>
                  <a:pt x="78600" y="32008"/>
                  <a:pt x="77640" y="34224"/>
                </a:cubicBezTo>
                <a:lnTo>
                  <a:pt x="20194" y="34224"/>
                </a:lnTo>
                <a:cubicBezTo>
                  <a:pt x="8824" y="34224"/>
                  <a:pt x="554" y="45373"/>
                  <a:pt x="554" y="60805"/>
                </a:cubicBezTo>
                <a:lnTo>
                  <a:pt x="554" y="471487"/>
                </a:lnTo>
                <a:cubicBezTo>
                  <a:pt x="554" y="479536"/>
                  <a:pt x="7125" y="486107"/>
                  <a:pt x="15174" y="486107"/>
                </a:cubicBezTo>
                <a:lnTo>
                  <a:pt x="322484" y="486181"/>
                </a:lnTo>
                <a:cubicBezTo>
                  <a:pt x="330532" y="486181"/>
                  <a:pt x="337104" y="479610"/>
                  <a:pt x="337104" y="471561"/>
                </a:cubicBezTo>
                <a:lnTo>
                  <a:pt x="337104" y="60805"/>
                </a:lnTo>
                <a:cubicBezTo>
                  <a:pt x="337104" y="45447"/>
                  <a:pt x="328834" y="34297"/>
                  <a:pt x="317463" y="34297"/>
                </a:cubicBezTo>
                <a:moveTo>
                  <a:pt x="103040" y="44635"/>
                </a:moveTo>
                <a:cubicBezTo>
                  <a:pt x="113525" y="35700"/>
                  <a:pt x="137153" y="27135"/>
                  <a:pt x="168829" y="27135"/>
                </a:cubicBezTo>
                <a:cubicBezTo>
                  <a:pt x="200505" y="27135"/>
                  <a:pt x="224133" y="35700"/>
                  <a:pt x="234618" y="44635"/>
                </a:cubicBezTo>
                <a:lnTo>
                  <a:pt x="234618" y="47514"/>
                </a:lnTo>
                <a:lnTo>
                  <a:pt x="103040" y="47514"/>
                </a:lnTo>
                <a:lnTo>
                  <a:pt x="103040" y="44635"/>
                </a:lnTo>
                <a:close/>
                <a:moveTo>
                  <a:pt x="310522" y="459526"/>
                </a:moveTo>
                <a:lnTo>
                  <a:pt x="27209" y="459526"/>
                </a:lnTo>
                <a:lnTo>
                  <a:pt x="27209" y="60805"/>
                </a:lnTo>
                <a:lnTo>
                  <a:pt x="76532" y="60805"/>
                </a:lnTo>
                <a:cubicBezTo>
                  <a:pt x="76754" y="66047"/>
                  <a:pt x="80446" y="74096"/>
                  <a:pt x="92703" y="74096"/>
                </a:cubicBezTo>
                <a:lnTo>
                  <a:pt x="245029" y="74096"/>
                </a:lnTo>
                <a:cubicBezTo>
                  <a:pt x="257360" y="74096"/>
                  <a:pt x="260978" y="66047"/>
                  <a:pt x="261273" y="60805"/>
                </a:cubicBezTo>
                <a:lnTo>
                  <a:pt x="310596" y="60805"/>
                </a:lnTo>
                <a:lnTo>
                  <a:pt x="310596" y="459526"/>
                </a:lnTo>
                <a:close/>
                <a:moveTo>
                  <a:pt x="268583" y="153914"/>
                </a:moveTo>
                <a:cubicBezTo>
                  <a:pt x="275893" y="153914"/>
                  <a:pt x="281874" y="159894"/>
                  <a:pt x="281874" y="167204"/>
                </a:cubicBezTo>
                <a:cubicBezTo>
                  <a:pt x="281874" y="174514"/>
                  <a:pt x="275893" y="180495"/>
                  <a:pt x="268583" y="180495"/>
                </a:cubicBezTo>
                <a:lnTo>
                  <a:pt x="162257" y="180495"/>
                </a:lnTo>
                <a:cubicBezTo>
                  <a:pt x="154947" y="180495"/>
                  <a:pt x="148967" y="174514"/>
                  <a:pt x="148967" y="167204"/>
                </a:cubicBezTo>
                <a:cubicBezTo>
                  <a:pt x="148967" y="159894"/>
                  <a:pt x="154947" y="153914"/>
                  <a:pt x="162257" y="153914"/>
                </a:cubicBezTo>
                <a:lnTo>
                  <a:pt x="268583" y="153914"/>
                </a:lnTo>
                <a:close/>
                <a:moveTo>
                  <a:pt x="281874" y="273530"/>
                </a:moveTo>
                <a:cubicBezTo>
                  <a:pt x="281874" y="280840"/>
                  <a:pt x="275893" y="286821"/>
                  <a:pt x="268583" y="286821"/>
                </a:cubicBezTo>
                <a:lnTo>
                  <a:pt x="162257" y="286821"/>
                </a:lnTo>
                <a:cubicBezTo>
                  <a:pt x="154947" y="286821"/>
                  <a:pt x="148967" y="280840"/>
                  <a:pt x="148967" y="273530"/>
                </a:cubicBezTo>
                <a:cubicBezTo>
                  <a:pt x="148967" y="266220"/>
                  <a:pt x="154947" y="260239"/>
                  <a:pt x="162257" y="260239"/>
                </a:cubicBezTo>
                <a:lnTo>
                  <a:pt x="268583" y="260239"/>
                </a:lnTo>
                <a:cubicBezTo>
                  <a:pt x="275893" y="260239"/>
                  <a:pt x="281874" y="266220"/>
                  <a:pt x="281874" y="273530"/>
                </a:cubicBezTo>
                <a:moveTo>
                  <a:pt x="281874" y="379856"/>
                </a:moveTo>
                <a:cubicBezTo>
                  <a:pt x="281874" y="387165"/>
                  <a:pt x="275893" y="393146"/>
                  <a:pt x="268583" y="393146"/>
                </a:cubicBezTo>
                <a:lnTo>
                  <a:pt x="162257" y="393146"/>
                </a:lnTo>
                <a:cubicBezTo>
                  <a:pt x="154947" y="393146"/>
                  <a:pt x="148967" y="387165"/>
                  <a:pt x="148967" y="379856"/>
                </a:cubicBezTo>
                <a:cubicBezTo>
                  <a:pt x="148967" y="372546"/>
                  <a:pt x="154947" y="366565"/>
                  <a:pt x="162257" y="366565"/>
                </a:cubicBezTo>
                <a:lnTo>
                  <a:pt x="268583" y="366565"/>
                </a:lnTo>
                <a:cubicBezTo>
                  <a:pt x="275893" y="366565"/>
                  <a:pt x="281874" y="372546"/>
                  <a:pt x="281874" y="379856"/>
                </a:cubicBezTo>
                <a:moveTo>
                  <a:pt x="69222" y="207003"/>
                </a:moveTo>
                <a:lnTo>
                  <a:pt x="122385" y="207003"/>
                </a:lnTo>
                <a:cubicBezTo>
                  <a:pt x="129695" y="207003"/>
                  <a:pt x="135676" y="201022"/>
                  <a:pt x="135676" y="193712"/>
                </a:cubicBezTo>
                <a:lnTo>
                  <a:pt x="135676" y="140549"/>
                </a:lnTo>
                <a:cubicBezTo>
                  <a:pt x="135676" y="133239"/>
                  <a:pt x="129695" y="127258"/>
                  <a:pt x="122385" y="127258"/>
                </a:cubicBezTo>
                <a:lnTo>
                  <a:pt x="69222" y="127258"/>
                </a:lnTo>
                <a:cubicBezTo>
                  <a:pt x="61913" y="127258"/>
                  <a:pt x="55932" y="133239"/>
                  <a:pt x="55932" y="140549"/>
                </a:cubicBezTo>
                <a:lnTo>
                  <a:pt x="55932" y="193712"/>
                </a:lnTo>
                <a:cubicBezTo>
                  <a:pt x="55932" y="201022"/>
                  <a:pt x="61913" y="207003"/>
                  <a:pt x="69222" y="207003"/>
                </a:cubicBezTo>
                <a:moveTo>
                  <a:pt x="82513" y="153840"/>
                </a:moveTo>
                <a:lnTo>
                  <a:pt x="109094" y="153840"/>
                </a:lnTo>
                <a:lnTo>
                  <a:pt x="109094" y="180421"/>
                </a:lnTo>
                <a:lnTo>
                  <a:pt x="82513" y="180421"/>
                </a:lnTo>
                <a:lnTo>
                  <a:pt x="82513" y="153840"/>
                </a:lnTo>
                <a:close/>
                <a:moveTo>
                  <a:pt x="122385" y="233658"/>
                </a:moveTo>
                <a:lnTo>
                  <a:pt x="69222" y="233658"/>
                </a:lnTo>
                <a:cubicBezTo>
                  <a:pt x="61913" y="233658"/>
                  <a:pt x="55932" y="239639"/>
                  <a:pt x="55932" y="246949"/>
                </a:cubicBezTo>
                <a:lnTo>
                  <a:pt x="55932" y="300111"/>
                </a:lnTo>
                <a:cubicBezTo>
                  <a:pt x="55932" y="307421"/>
                  <a:pt x="61913" y="313402"/>
                  <a:pt x="69222" y="313402"/>
                </a:cubicBezTo>
                <a:lnTo>
                  <a:pt x="122385" y="313402"/>
                </a:lnTo>
                <a:cubicBezTo>
                  <a:pt x="129695" y="313402"/>
                  <a:pt x="135676" y="307421"/>
                  <a:pt x="135676" y="300111"/>
                </a:cubicBezTo>
                <a:lnTo>
                  <a:pt x="135676" y="246949"/>
                </a:lnTo>
                <a:cubicBezTo>
                  <a:pt x="135676" y="239639"/>
                  <a:pt x="129769" y="233658"/>
                  <a:pt x="122385" y="233658"/>
                </a:cubicBezTo>
                <a:moveTo>
                  <a:pt x="109094" y="286821"/>
                </a:moveTo>
                <a:lnTo>
                  <a:pt x="82513" y="286821"/>
                </a:lnTo>
                <a:lnTo>
                  <a:pt x="82513" y="260239"/>
                </a:lnTo>
                <a:lnTo>
                  <a:pt x="109094" y="260239"/>
                </a:lnTo>
                <a:lnTo>
                  <a:pt x="109094" y="286821"/>
                </a:lnTo>
                <a:close/>
                <a:moveTo>
                  <a:pt x="122311" y="339983"/>
                </a:moveTo>
                <a:lnTo>
                  <a:pt x="69149" y="339983"/>
                </a:lnTo>
                <a:cubicBezTo>
                  <a:pt x="61839" y="339983"/>
                  <a:pt x="55858" y="345964"/>
                  <a:pt x="55858" y="353274"/>
                </a:cubicBezTo>
                <a:lnTo>
                  <a:pt x="55858" y="406437"/>
                </a:lnTo>
                <a:cubicBezTo>
                  <a:pt x="55858" y="413747"/>
                  <a:pt x="61839" y="419728"/>
                  <a:pt x="69149" y="419728"/>
                </a:cubicBezTo>
                <a:lnTo>
                  <a:pt x="122311" y="419728"/>
                </a:lnTo>
                <a:cubicBezTo>
                  <a:pt x="129621" y="419728"/>
                  <a:pt x="135602" y="413747"/>
                  <a:pt x="135602" y="406437"/>
                </a:cubicBezTo>
                <a:lnTo>
                  <a:pt x="135602" y="353274"/>
                </a:lnTo>
                <a:cubicBezTo>
                  <a:pt x="135602" y="345964"/>
                  <a:pt x="129621" y="339983"/>
                  <a:pt x="122311" y="339983"/>
                </a:cubicBezTo>
                <a:moveTo>
                  <a:pt x="109021" y="393146"/>
                </a:moveTo>
                <a:lnTo>
                  <a:pt x="82439" y="393146"/>
                </a:lnTo>
                <a:lnTo>
                  <a:pt x="82439" y="366565"/>
                </a:lnTo>
                <a:lnTo>
                  <a:pt x="109021" y="366565"/>
                </a:lnTo>
                <a:lnTo>
                  <a:pt x="109021" y="393146"/>
                </a:lnTo>
                <a:close/>
                <a:moveTo>
                  <a:pt x="450296" y="169493"/>
                </a:moveTo>
                <a:lnTo>
                  <a:pt x="423715" y="129621"/>
                </a:lnTo>
                <a:cubicBezTo>
                  <a:pt x="421204" y="125929"/>
                  <a:pt x="417069" y="123640"/>
                  <a:pt x="412565" y="123714"/>
                </a:cubicBezTo>
                <a:cubicBezTo>
                  <a:pt x="408135" y="123714"/>
                  <a:pt x="403926" y="126003"/>
                  <a:pt x="401490" y="129769"/>
                </a:cubicBezTo>
                <a:lnTo>
                  <a:pt x="375425" y="169641"/>
                </a:lnTo>
                <a:cubicBezTo>
                  <a:pt x="374022" y="171782"/>
                  <a:pt x="373284" y="174293"/>
                  <a:pt x="373284" y="176877"/>
                </a:cubicBezTo>
                <a:lnTo>
                  <a:pt x="372767" y="469199"/>
                </a:lnTo>
                <a:cubicBezTo>
                  <a:pt x="372767" y="472743"/>
                  <a:pt x="374170" y="476139"/>
                  <a:pt x="376681" y="478576"/>
                </a:cubicBezTo>
                <a:cubicBezTo>
                  <a:pt x="379191" y="481086"/>
                  <a:pt x="382588" y="482489"/>
                  <a:pt x="386058" y="482489"/>
                </a:cubicBezTo>
                <a:lnTo>
                  <a:pt x="439221" y="482489"/>
                </a:lnTo>
                <a:cubicBezTo>
                  <a:pt x="446531" y="482489"/>
                  <a:pt x="452511" y="476508"/>
                  <a:pt x="452511" y="469199"/>
                </a:cubicBezTo>
                <a:lnTo>
                  <a:pt x="452511" y="176803"/>
                </a:lnTo>
                <a:cubicBezTo>
                  <a:pt x="452511" y="174219"/>
                  <a:pt x="451773" y="171635"/>
                  <a:pt x="450296" y="169493"/>
                </a:cubicBezTo>
                <a:moveTo>
                  <a:pt x="412713" y="161076"/>
                </a:moveTo>
                <a:lnTo>
                  <a:pt x="425930" y="180864"/>
                </a:lnTo>
                <a:lnTo>
                  <a:pt x="425930" y="416110"/>
                </a:lnTo>
                <a:lnTo>
                  <a:pt x="399422" y="416110"/>
                </a:lnTo>
                <a:lnTo>
                  <a:pt x="399865" y="180864"/>
                </a:lnTo>
                <a:lnTo>
                  <a:pt x="412713" y="161076"/>
                </a:lnTo>
                <a:close/>
                <a:moveTo>
                  <a:pt x="399349" y="455982"/>
                </a:moveTo>
                <a:lnTo>
                  <a:pt x="399349" y="442691"/>
                </a:lnTo>
                <a:lnTo>
                  <a:pt x="425856" y="442691"/>
                </a:lnTo>
                <a:lnTo>
                  <a:pt x="425856" y="455982"/>
                </a:lnTo>
                <a:lnTo>
                  <a:pt x="399349" y="455982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s-MX" sz="1400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36C762B8-D4EB-19A7-5ABA-0892B1A3A97D}"/>
              </a:ext>
            </a:extLst>
          </p:cNvPr>
          <p:cNvGrpSpPr/>
          <p:nvPr/>
        </p:nvGrpSpPr>
        <p:grpSpPr>
          <a:xfrm>
            <a:off x="8090021" y="2074994"/>
            <a:ext cx="2698282" cy="1019809"/>
            <a:chOff x="10285375" y="8565841"/>
            <a:chExt cx="4689341" cy="1772325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5F7C3D90-3C1C-91A8-6048-4949E8723038}"/>
                </a:ext>
              </a:extLst>
            </p:cNvPr>
            <p:cNvSpPr txBox="1"/>
            <p:nvPr/>
          </p:nvSpPr>
          <p:spPr>
            <a:xfrm>
              <a:off x="10285375" y="9214908"/>
              <a:ext cx="4689341" cy="11232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800" dirty="0">
                  <a:ea typeface="Lato Light" panose="020F0502020204030203" pitchFamily="34" charset="0"/>
                  <a:cs typeface="Lato Light" panose="020F0502020204030203" pitchFamily="34" charset="0"/>
                </a:rPr>
                <a:t>Text </a:t>
              </a:r>
              <a:r>
                <a:rPr lang="en-US" sz="1800" dirty="0" err="1">
                  <a:ea typeface="Lato Light" panose="020F0502020204030203" pitchFamily="34" charset="0"/>
                  <a:cs typeface="Lato Light" panose="020F0502020204030203" pitchFamily="34" charset="0"/>
                </a:rPr>
                <a:t>Text</a:t>
              </a:r>
              <a:r>
                <a:rPr lang="en-US" sz="1800" dirty="0"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800" dirty="0" err="1">
                  <a:ea typeface="Lato Light" panose="020F0502020204030203" pitchFamily="34" charset="0"/>
                  <a:cs typeface="Lato Light" panose="020F0502020204030203" pitchFamily="34" charset="0"/>
                </a:rPr>
                <a:t>Text</a:t>
              </a:r>
              <a:r>
                <a:rPr lang="en-US" sz="1800" dirty="0"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800" dirty="0" err="1">
                  <a:ea typeface="Lato Light" panose="020F0502020204030203" pitchFamily="34" charset="0"/>
                  <a:cs typeface="Lato Light" panose="020F0502020204030203" pitchFamily="34" charset="0"/>
                </a:rPr>
                <a:t>Text</a:t>
              </a:r>
              <a:r>
                <a:rPr lang="en-US" sz="1800" dirty="0"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800" dirty="0" err="1">
                  <a:ea typeface="Lato Light" panose="020F0502020204030203" pitchFamily="34" charset="0"/>
                  <a:cs typeface="Lato Light" panose="020F0502020204030203" pitchFamily="34" charset="0"/>
                </a:rPr>
                <a:t>Text</a:t>
              </a:r>
              <a:r>
                <a:rPr lang="en-US" sz="1800" dirty="0"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800" dirty="0" err="1">
                  <a:ea typeface="Lato Light" panose="020F0502020204030203" pitchFamily="34" charset="0"/>
                  <a:cs typeface="Lato Light" panose="020F0502020204030203" pitchFamily="34" charset="0"/>
                </a:rPr>
                <a:t>Text</a:t>
              </a:r>
              <a:r>
                <a:rPr lang="en-US" sz="1800" dirty="0"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800" dirty="0" err="1">
                  <a:ea typeface="Lato Light" panose="020F0502020204030203" pitchFamily="34" charset="0"/>
                  <a:cs typeface="Lato Light" panose="020F0502020204030203" pitchFamily="34" charset="0"/>
                </a:rPr>
                <a:t>Text</a:t>
              </a:r>
              <a:r>
                <a:rPr lang="en-US" sz="1800" dirty="0"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800" dirty="0" err="1">
                  <a:ea typeface="Lato Light" panose="020F0502020204030203" pitchFamily="34" charset="0"/>
                  <a:cs typeface="Lato Light" panose="020F0502020204030203" pitchFamily="34" charset="0"/>
                </a:rPr>
                <a:t>Text</a:t>
              </a:r>
              <a:r>
                <a:rPr lang="en-US" sz="1800" dirty="0"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800" dirty="0" err="1">
                  <a:ea typeface="Lato Light" panose="020F0502020204030203" pitchFamily="34" charset="0"/>
                  <a:cs typeface="Lato Light" panose="020F0502020204030203" pitchFamily="34" charset="0"/>
                </a:rPr>
                <a:t>Text</a:t>
              </a:r>
              <a:r>
                <a:rPr lang="en-US" sz="1800" dirty="0"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E662F051-FF47-FE7A-F5A4-3F01FCABC1E9}"/>
                </a:ext>
              </a:extLst>
            </p:cNvPr>
            <p:cNvSpPr/>
            <p:nvPr/>
          </p:nvSpPr>
          <p:spPr>
            <a:xfrm>
              <a:off x="10285375" y="8565841"/>
              <a:ext cx="2981025" cy="64186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b="1" dirty="0">
                  <a:ea typeface="Roboto Medium" panose="02000000000000000000" pitchFamily="2" charset="0"/>
                  <a:cs typeface="Poppins" pitchFamily="2" charset="77"/>
                </a:rPr>
                <a:t>Heading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43D7697E-C80E-0479-0C14-9956310F8875}"/>
              </a:ext>
            </a:extLst>
          </p:cNvPr>
          <p:cNvGrpSpPr/>
          <p:nvPr/>
        </p:nvGrpSpPr>
        <p:grpSpPr>
          <a:xfrm flipH="1">
            <a:off x="580813" y="2074996"/>
            <a:ext cx="2698282" cy="1019809"/>
            <a:chOff x="10285375" y="8565841"/>
            <a:chExt cx="4689341" cy="1772325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021030AB-B52B-C8C1-67FE-A17432186A6B}"/>
                </a:ext>
              </a:extLst>
            </p:cNvPr>
            <p:cNvSpPr txBox="1"/>
            <p:nvPr/>
          </p:nvSpPr>
          <p:spPr>
            <a:xfrm>
              <a:off x="10285375" y="9214908"/>
              <a:ext cx="4689341" cy="11232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800" dirty="0">
                  <a:ea typeface="Lato Light" panose="020F0502020204030203" pitchFamily="34" charset="0"/>
                  <a:cs typeface="Lato Light" panose="020F0502020204030203" pitchFamily="34" charset="0"/>
                </a:rPr>
                <a:t>Text </a:t>
              </a:r>
              <a:r>
                <a:rPr lang="en-US" sz="1800" dirty="0" err="1">
                  <a:ea typeface="Lato Light" panose="020F0502020204030203" pitchFamily="34" charset="0"/>
                  <a:cs typeface="Lato Light" panose="020F0502020204030203" pitchFamily="34" charset="0"/>
                </a:rPr>
                <a:t>Text</a:t>
              </a:r>
              <a:r>
                <a:rPr lang="en-US" sz="1800" dirty="0"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800" dirty="0" err="1">
                  <a:ea typeface="Lato Light" panose="020F0502020204030203" pitchFamily="34" charset="0"/>
                  <a:cs typeface="Lato Light" panose="020F0502020204030203" pitchFamily="34" charset="0"/>
                </a:rPr>
                <a:t>Text</a:t>
              </a:r>
              <a:r>
                <a:rPr lang="en-US" sz="1800" dirty="0"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800" dirty="0" err="1">
                  <a:ea typeface="Lato Light" panose="020F0502020204030203" pitchFamily="34" charset="0"/>
                  <a:cs typeface="Lato Light" panose="020F0502020204030203" pitchFamily="34" charset="0"/>
                </a:rPr>
                <a:t>Text</a:t>
              </a:r>
              <a:r>
                <a:rPr lang="en-US" sz="1800" dirty="0"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800" dirty="0" err="1">
                  <a:ea typeface="Lato Light" panose="020F0502020204030203" pitchFamily="34" charset="0"/>
                  <a:cs typeface="Lato Light" panose="020F0502020204030203" pitchFamily="34" charset="0"/>
                </a:rPr>
                <a:t>Text</a:t>
              </a:r>
              <a:r>
                <a:rPr lang="en-US" sz="1800" dirty="0"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800" dirty="0" err="1">
                  <a:ea typeface="Lato Light" panose="020F0502020204030203" pitchFamily="34" charset="0"/>
                  <a:cs typeface="Lato Light" panose="020F0502020204030203" pitchFamily="34" charset="0"/>
                </a:rPr>
                <a:t>Text</a:t>
              </a:r>
              <a:r>
                <a:rPr lang="en-US" sz="1800" dirty="0"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800" dirty="0" err="1">
                  <a:ea typeface="Lato Light" panose="020F0502020204030203" pitchFamily="34" charset="0"/>
                  <a:cs typeface="Lato Light" panose="020F0502020204030203" pitchFamily="34" charset="0"/>
                </a:rPr>
                <a:t>Text</a:t>
              </a:r>
              <a:r>
                <a:rPr lang="en-US" sz="1800" dirty="0"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800" dirty="0" err="1">
                  <a:ea typeface="Lato Light" panose="020F0502020204030203" pitchFamily="34" charset="0"/>
                  <a:cs typeface="Lato Light" panose="020F0502020204030203" pitchFamily="34" charset="0"/>
                </a:rPr>
                <a:t>Text</a:t>
              </a:r>
              <a:r>
                <a:rPr lang="en-US" sz="1800" dirty="0"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800" dirty="0" err="1">
                  <a:ea typeface="Lato Light" panose="020F0502020204030203" pitchFamily="34" charset="0"/>
                  <a:cs typeface="Lato Light" panose="020F0502020204030203" pitchFamily="34" charset="0"/>
                </a:rPr>
                <a:t>Text</a:t>
              </a:r>
              <a:r>
                <a:rPr lang="en-US" sz="1800" dirty="0"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860FDE64-1A19-6332-8495-4F06C72763EE}"/>
                </a:ext>
              </a:extLst>
            </p:cNvPr>
            <p:cNvSpPr/>
            <p:nvPr/>
          </p:nvSpPr>
          <p:spPr>
            <a:xfrm>
              <a:off x="10285375" y="8565841"/>
              <a:ext cx="2981025" cy="64186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en-US" b="1" dirty="0">
                  <a:ea typeface="Roboto Medium" panose="02000000000000000000" pitchFamily="2" charset="0"/>
                  <a:cs typeface="Poppins" pitchFamily="2" charset="77"/>
                </a:rPr>
                <a:t>Heading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44D780AD-4CC4-7BEE-7E2A-29E9924B2212}"/>
              </a:ext>
            </a:extLst>
          </p:cNvPr>
          <p:cNvGrpSpPr/>
          <p:nvPr/>
        </p:nvGrpSpPr>
        <p:grpSpPr>
          <a:xfrm>
            <a:off x="9262760" y="4161463"/>
            <a:ext cx="2698282" cy="1046440"/>
            <a:chOff x="10285375" y="8565841"/>
            <a:chExt cx="4689341" cy="1818607"/>
          </a:xfrm>
        </p:grpSpPr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E9BFB7C6-1DA1-AD80-7FCE-2DD064D99A9A}"/>
                </a:ext>
              </a:extLst>
            </p:cNvPr>
            <p:cNvSpPr txBox="1"/>
            <p:nvPr/>
          </p:nvSpPr>
          <p:spPr>
            <a:xfrm>
              <a:off x="10285375" y="9214908"/>
              <a:ext cx="4689341" cy="11232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800" dirty="0">
                  <a:ea typeface="Lato Light" panose="020F0502020204030203" pitchFamily="34" charset="0"/>
                  <a:cs typeface="Lato Light" panose="020F0502020204030203" pitchFamily="34" charset="0"/>
                </a:rPr>
                <a:t>Text </a:t>
              </a:r>
              <a:r>
                <a:rPr lang="en-US" sz="1800" dirty="0" err="1">
                  <a:ea typeface="Lato Light" panose="020F0502020204030203" pitchFamily="34" charset="0"/>
                  <a:cs typeface="Lato Light" panose="020F0502020204030203" pitchFamily="34" charset="0"/>
                </a:rPr>
                <a:t>Text</a:t>
              </a:r>
              <a:r>
                <a:rPr lang="en-US" sz="1800" dirty="0"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800" dirty="0" err="1">
                  <a:ea typeface="Lato Light" panose="020F0502020204030203" pitchFamily="34" charset="0"/>
                  <a:cs typeface="Lato Light" panose="020F0502020204030203" pitchFamily="34" charset="0"/>
                </a:rPr>
                <a:t>Text</a:t>
              </a:r>
              <a:r>
                <a:rPr lang="en-US" sz="1800" dirty="0"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800" dirty="0" err="1">
                  <a:ea typeface="Lato Light" panose="020F0502020204030203" pitchFamily="34" charset="0"/>
                  <a:cs typeface="Lato Light" panose="020F0502020204030203" pitchFamily="34" charset="0"/>
                </a:rPr>
                <a:t>Text</a:t>
              </a:r>
              <a:r>
                <a:rPr lang="en-US" sz="1800" dirty="0"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800" dirty="0" err="1">
                  <a:ea typeface="Lato Light" panose="020F0502020204030203" pitchFamily="34" charset="0"/>
                  <a:cs typeface="Lato Light" panose="020F0502020204030203" pitchFamily="34" charset="0"/>
                </a:rPr>
                <a:t>Text</a:t>
              </a:r>
              <a:r>
                <a:rPr lang="en-US" sz="1800" dirty="0"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800" dirty="0" err="1">
                  <a:ea typeface="Lato Light" panose="020F0502020204030203" pitchFamily="34" charset="0"/>
                  <a:cs typeface="Lato Light" panose="020F0502020204030203" pitchFamily="34" charset="0"/>
                </a:rPr>
                <a:t>Text</a:t>
              </a:r>
              <a:r>
                <a:rPr lang="en-US" sz="1800" dirty="0"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800" dirty="0" err="1">
                  <a:ea typeface="Lato Light" panose="020F0502020204030203" pitchFamily="34" charset="0"/>
                  <a:cs typeface="Lato Light" panose="020F0502020204030203" pitchFamily="34" charset="0"/>
                </a:rPr>
                <a:t>Text</a:t>
              </a:r>
              <a:r>
                <a:rPr lang="en-US" sz="1800" dirty="0"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800" dirty="0" err="1">
                  <a:ea typeface="Lato Light" panose="020F0502020204030203" pitchFamily="34" charset="0"/>
                  <a:cs typeface="Lato Light" panose="020F0502020204030203" pitchFamily="34" charset="0"/>
                </a:rPr>
                <a:t>Text</a:t>
              </a:r>
              <a:r>
                <a:rPr lang="en-US" sz="1800" dirty="0"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800" dirty="0" err="1">
                  <a:ea typeface="Lato Light" panose="020F0502020204030203" pitchFamily="34" charset="0"/>
                  <a:cs typeface="Lato Light" panose="020F0502020204030203" pitchFamily="34" charset="0"/>
                </a:rPr>
                <a:t>Text</a:t>
              </a:r>
              <a:r>
                <a:rPr lang="en-US" sz="1800" dirty="0"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FDDB72F9-D9A2-B1D0-E1A8-FBA98415F779}"/>
                </a:ext>
              </a:extLst>
            </p:cNvPr>
            <p:cNvSpPr/>
            <p:nvPr/>
          </p:nvSpPr>
          <p:spPr>
            <a:xfrm>
              <a:off x="10285375" y="8565841"/>
              <a:ext cx="3881194" cy="181860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b="1" dirty="0">
                  <a:ea typeface="Roboto Medium" panose="02000000000000000000" pitchFamily="2" charset="0"/>
                  <a:cs typeface="Poppins" pitchFamily="2" charset="77"/>
                </a:rPr>
                <a:t>Heading</a:t>
              </a:r>
            </a:p>
            <a:p>
              <a:endParaRPr lang="en-US" sz="4400" dirty="0">
                <a:ea typeface="Roboto Medium" panose="02000000000000000000" pitchFamily="2" charset="0"/>
                <a:cs typeface="Poppins" pitchFamily="2" charset="77"/>
              </a:endParaRP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D99DB0E6-4380-7A96-E045-71EE3ADBC597}"/>
              </a:ext>
            </a:extLst>
          </p:cNvPr>
          <p:cNvGrpSpPr/>
          <p:nvPr/>
        </p:nvGrpSpPr>
        <p:grpSpPr>
          <a:xfrm flipH="1">
            <a:off x="1741977" y="4161463"/>
            <a:ext cx="2698282" cy="1019809"/>
            <a:chOff x="10285375" y="8565841"/>
            <a:chExt cx="4689341" cy="1772325"/>
          </a:xfrm>
        </p:grpSpPr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4A0CC1DB-5E3E-5405-2D18-AA915D9490FA}"/>
                </a:ext>
              </a:extLst>
            </p:cNvPr>
            <p:cNvSpPr txBox="1"/>
            <p:nvPr/>
          </p:nvSpPr>
          <p:spPr>
            <a:xfrm>
              <a:off x="10285375" y="9214908"/>
              <a:ext cx="4689341" cy="11232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800" dirty="0">
                  <a:ea typeface="Lato Light" panose="020F0502020204030203" pitchFamily="34" charset="0"/>
                  <a:cs typeface="Lato Light" panose="020F0502020204030203" pitchFamily="34" charset="0"/>
                </a:rPr>
                <a:t>Text </a:t>
              </a:r>
              <a:r>
                <a:rPr lang="en-US" sz="1800" dirty="0" err="1">
                  <a:ea typeface="Lato Light" panose="020F0502020204030203" pitchFamily="34" charset="0"/>
                  <a:cs typeface="Lato Light" panose="020F0502020204030203" pitchFamily="34" charset="0"/>
                </a:rPr>
                <a:t>Text</a:t>
              </a:r>
              <a:r>
                <a:rPr lang="en-US" sz="1800" dirty="0"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800" dirty="0" err="1">
                  <a:ea typeface="Lato Light" panose="020F0502020204030203" pitchFamily="34" charset="0"/>
                  <a:cs typeface="Lato Light" panose="020F0502020204030203" pitchFamily="34" charset="0"/>
                </a:rPr>
                <a:t>Text</a:t>
              </a:r>
              <a:r>
                <a:rPr lang="en-US" sz="1800" dirty="0"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800" dirty="0" err="1">
                  <a:ea typeface="Lato Light" panose="020F0502020204030203" pitchFamily="34" charset="0"/>
                  <a:cs typeface="Lato Light" panose="020F0502020204030203" pitchFamily="34" charset="0"/>
                </a:rPr>
                <a:t>Text</a:t>
              </a:r>
              <a:r>
                <a:rPr lang="en-US" sz="1800" dirty="0"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800" dirty="0" err="1">
                  <a:ea typeface="Lato Light" panose="020F0502020204030203" pitchFamily="34" charset="0"/>
                  <a:cs typeface="Lato Light" panose="020F0502020204030203" pitchFamily="34" charset="0"/>
                </a:rPr>
                <a:t>Text</a:t>
              </a:r>
              <a:r>
                <a:rPr lang="en-US" sz="1800" dirty="0"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800" dirty="0" err="1">
                  <a:ea typeface="Lato Light" panose="020F0502020204030203" pitchFamily="34" charset="0"/>
                  <a:cs typeface="Lato Light" panose="020F0502020204030203" pitchFamily="34" charset="0"/>
                </a:rPr>
                <a:t>Text</a:t>
              </a:r>
              <a:r>
                <a:rPr lang="en-US" sz="1800" dirty="0"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800" dirty="0" err="1">
                  <a:ea typeface="Lato Light" panose="020F0502020204030203" pitchFamily="34" charset="0"/>
                  <a:cs typeface="Lato Light" panose="020F0502020204030203" pitchFamily="34" charset="0"/>
                </a:rPr>
                <a:t>Text</a:t>
              </a:r>
              <a:r>
                <a:rPr lang="en-US" sz="1800" dirty="0"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800" dirty="0" err="1">
                  <a:ea typeface="Lato Light" panose="020F0502020204030203" pitchFamily="34" charset="0"/>
                  <a:cs typeface="Lato Light" panose="020F0502020204030203" pitchFamily="34" charset="0"/>
                </a:rPr>
                <a:t>Text</a:t>
              </a:r>
              <a:r>
                <a:rPr lang="en-US" sz="1800" dirty="0"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800" dirty="0" err="1">
                  <a:ea typeface="Lato Light" panose="020F0502020204030203" pitchFamily="34" charset="0"/>
                  <a:cs typeface="Lato Light" panose="020F0502020204030203" pitchFamily="34" charset="0"/>
                </a:rPr>
                <a:t>Text</a:t>
              </a:r>
              <a:r>
                <a:rPr lang="en-US" sz="1800" dirty="0"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454C2EA4-120E-9D79-CB7D-492ACD4D1537}"/>
                </a:ext>
              </a:extLst>
            </p:cNvPr>
            <p:cNvSpPr/>
            <p:nvPr/>
          </p:nvSpPr>
          <p:spPr>
            <a:xfrm>
              <a:off x="10285375" y="8565841"/>
              <a:ext cx="2981025" cy="64186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en-US" b="1" dirty="0">
                  <a:ea typeface="Roboto Medium" panose="02000000000000000000" pitchFamily="2" charset="0"/>
                  <a:cs typeface="Poppins" pitchFamily="2" charset="77"/>
                </a:rPr>
                <a:t>Headin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13506252"/>
      </p:ext>
    </p:extLst>
  </p:cSld>
  <p:clrMapOvr>
    <a:masterClrMapping/>
  </p:clrMapOvr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84B6A5-2AEB-7DB1-EE04-1A1767D9B2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575C1DB4-5A5B-F45E-7A8E-96B738336D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28299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892D56F-94D6-1AE2-F115-4202C33314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irc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F547BD-982A-2E7B-AC83-4211F3D76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08</a:t>
            </a:fld>
            <a:endParaRPr lang="en-US" dirty="0"/>
          </a:p>
        </p:txBody>
      </p:sp>
      <p:sp>
        <p:nvSpPr>
          <p:cNvPr id="22" name="AutoShape 18">
            <a:extLst>
              <a:ext uri="{FF2B5EF4-FFF2-40B4-BE49-F238E27FC236}">
                <a16:creationId xmlns:a16="http://schemas.microsoft.com/office/drawing/2014/main" id="{598B4920-9963-BBBF-AC6B-4229490F439A}"/>
              </a:ext>
            </a:extLst>
          </p:cNvPr>
          <p:cNvSpPr>
            <a:spLocks/>
          </p:cNvSpPr>
          <p:nvPr/>
        </p:nvSpPr>
        <p:spPr bwMode="auto">
          <a:xfrm rot="10800000">
            <a:off x="4329704" y="1788093"/>
            <a:ext cx="3535218" cy="1184613"/>
          </a:xfrm>
          <a:custGeom>
            <a:avLst/>
            <a:gdLst>
              <a:gd name="T0" fmla="*/ 10800 w 21600"/>
              <a:gd name="T1" fmla="+- 0 12261 2923"/>
              <a:gd name="T2" fmla="*/ 12261 h 18677"/>
              <a:gd name="T3" fmla="*/ 10800 w 21600"/>
              <a:gd name="T4" fmla="+- 0 12261 2923"/>
              <a:gd name="T5" fmla="*/ 12261 h 18677"/>
              <a:gd name="T6" fmla="*/ 10800 w 21600"/>
              <a:gd name="T7" fmla="+- 0 12261 2923"/>
              <a:gd name="T8" fmla="*/ 12261 h 18677"/>
              <a:gd name="T9" fmla="*/ 10800 w 21600"/>
              <a:gd name="T10" fmla="+- 0 12261 2923"/>
              <a:gd name="T11" fmla="*/ 12261 h 18677"/>
            </a:gdLst>
            <a:ahLst/>
            <a:cxnLst>
              <a:cxn ang="0">
                <a:pos x="T0" y="T2"/>
              </a:cxn>
              <a:cxn ang="0">
                <a:pos x="T3" y="T5"/>
              </a:cxn>
              <a:cxn ang="0">
                <a:pos x="T6" y="T8"/>
              </a:cxn>
              <a:cxn ang="0">
                <a:pos x="T9" y="T11"/>
              </a:cxn>
            </a:cxnLst>
            <a:rect l="0" t="0" r="r" b="b"/>
            <a:pathLst>
              <a:path w="21600" h="18677">
                <a:moveTo>
                  <a:pt x="0" y="18677"/>
                </a:moveTo>
                <a:cubicBezTo>
                  <a:pt x="565" y="14923"/>
                  <a:pt x="1448" y="11555"/>
                  <a:pt x="2560" y="8730"/>
                </a:cubicBezTo>
                <a:cubicBezTo>
                  <a:pt x="7135" y="-2897"/>
                  <a:pt x="14475" y="-2923"/>
                  <a:pt x="19040" y="8730"/>
                </a:cubicBezTo>
                <a:cubicBezTo>
                  <a:pt x="20185" y="11651"/>
                  <a:pt x="21048" y="15035"/>
                  <a:pt x="21600" y="18677"/>
                </a:cubicBezTo>
              </a:path>
            </a:pathLst>
          </a:custGeom>
          <a:noFill/>
          <a:ln w="50800" cap="flat" cmpd="sng">
            <a:solidFill>
              <a:schemeClr val="accent6"/>
            </a:solidFill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50800" tIns="50800" rIns="50800" bIns="50800" anchor="ctr"/>
          <a:lstStyle/>
          <a:p>
            <a:endParaRPr lang="en-US" altLang="en-US" sz="2400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ea typeface="Helvetica Light" panose="020B0403020202020204" pitchFamily="34" charset="0"/>
              <a:cs typeface="Arial" panose="020B0604020202020204" pitchFamily="34" charset="0"/>
              <a:sym typeface="Helvetica Light" panose="020B0403020202020204" pitchFamily="34" charset="0"/>
            </a:endParaRPr>
          </a:p>
        </p:txBody>
      </p:sp>
      <p:sp>
        <p:nvSpPr>
          <p:cNvPr id="23" name="Oval 19">
            <a:extLst>
              <a:ext uri="{FF2B5EF4-FFF2-40B4-BE49-F238E27FC236}">
                <a16:creationId xmlns:a16="http://schemas.microsoft.com/office/drawing/2014/main" id="{85D4AC8B-D418-0FD9-1A8B-435501BF1CDF}"/>
              </a:ext>
            </a:extLst>
          </p:cNvPr>
          <p:cNvSpPr>
            <a:spLocks/>
          </p:cNvSpPr>
          <p:nvPr/>
        </p:nvSpPr>
        <p:spPr bwMode="auto">
          <a:xfrm rot="10800000">
            <a:off x="5981017" y="2862434"/>
            <a:ext cx="232592" cy="232582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50800" tIns="50800" rIns="50800" bIns="50800" anchor="ctr"/>
          <a:lstStyle/>
          <a:p>
            <a:endParaRPr lang="en-US" altLang="en-US" sz="2400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ea typeface="Helvetica Light" panose="020B0403020202020204" pitchFamily="34" charset="0"/>
              <a:cs typeface="Arial" panose="020B0604020202020204" pitchFamily="34" charset="0"/>
              <a:sym typeface="Helvetica Light" panose="020B0403020202020204" pitchFamily="34" charset="0"/>
            </a:endParaRPr>
          </a:p>
        </p:txBody>
      </p:sp>
      <p:sp>
        <p:nvSpPr>
          <p:cNvPr id="24" name="Oval 21">
            <a:extLst>
              <a:ext uri="{FF2B5EF4-FFF2-40B4-BE49-F238E27FC236}">
                <a16:creationId xmlns:a16="http://schemas.microsoft.com/office/drawing/2014/main" id="{F6D8942B-B9A3-495F-CC24-53066F2A9064}"/>
              </a:ext>
            </a:extLst>
          </p:cNvPr>
          <p:cNvSpPr>
            <a:spLocks/>
          </p:cNvSpPr>
          <p:nvPr/>
        </p:nvSpPr>
        <p:spPr bwMode="auto">
          <a:xfrm rot="10800000">
            <a:off x="7095646" y="2499924"/>
            <a:ext cx="232592" cy="232582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50800" tIns="50800" rIns="50800" bIns="50800" anchor="ctr"/>
          <a:lstStyle/>
          <a:p>
            <a:endParaRPr lang="en-US" altLang="en-US" sz="2400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ea typeface="Helvetica Light" panose="020B0403020202020204" pitchFamily="34" charset="0"/>
              <a:cs typeface="Arial" panose="020B0604020202020204" pitchFamily="34" charset="0"/>
              <a:sym typeface="Helvetica Light" panose="020B0403020202020204" pitchFamily="34" charset="0"/>
            </a:endParaRPr>
          </a:p>
        </p:txBody>
      </p:sp>
      <p:sp>
        <p:nvSpPr>
          <p:cNvPr id="25" name="Oval 23">
            <a:extLst>
              <a:ext uri="{FF2B5EF4-FFF2-40B4-BE49-F238E27FC236}">
                <a16:creationId xmlns:a16="http://schemas.microsoft.com/office/drawing/2014/main" id="{F729D0B2-DCCD-C435-AE32-0341373C0DEC}"/>
              </a:ext>
            </a:extLst>
          </p:cNvPr>
          <p:cNvSpPr>
            <a:spLocks/>
          </p:cNvSpPr>
          <p:nvPr/>
        </p:nvSpPr>
        <p:spPr bwMode="auto">
          <a:xfrm rot="10800000">
            <a:off x="4866389" y="2499924"/>
            <a:ext cx="232592" cy="232582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50800" tIns="50800" rIns="50800" bIns="50800" anchor="ctr"/>
          <a:lstStyle/>
          <a:p>
            <a:endParaRPr lang="en-US" altLang="en-US" sz="2400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ea typeface="Helvetica Light" panose="020B0403020202020204" pitchFamily="34" charset="0"/>
              <a:cs typeface="Arial" panose="020B0604020202020204" pitchFamily="34" charset="0"/>
              <a:sym typeface="Helvetica Light" panose="020B0403020202020204" pitchFamily="34" charset="0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BBE9D385-E5FC-F64A-5452-B5F20BE4F921}"/>
              </a:ext>
            </a:extLst>
          </p:cNvPr>
          <p:cNvSpPr>
            <a:spLocks/>
          </p:cNvSpPr>
          <p:nvPr/>
        </p:nvSpPr>
        <p:spPr bwMode="auto">
          <a:xfrm rot="10800000">
            <a:off x="4178133" y="1556314"/>
            <a:ext cx="232592" cy="232582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50800" tIns="50800" rIns="50800" bIns="50800" anchor="ctr"/>
          <a:lstStyle/>
          <a:p>
            <a:endParaRPr lang="en-US" altLang="en-US" sz="2400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ea typeface="Helvetica Light" panose="020B0403020202020204" pitchFamily="34" charset="0"/>
              <a:cs typeface="Arial" panose="020B0604020202020204" pitchFamily="34" charset="0"/>
              <a:sym typeface="Helvetica Light" panose="020B0403020202020204" pitchFamily="34" charset="0"/>
            </a:endParaRPr>
          </a:p>
        </p:txBody>
      </p:sp>
      <p:sp>
        <p:nvSpPr>
          <p:cNvPr id="27" name="Oval 27">
            <a:extLst>
              <a:ext uri="{FF2B5EF4-FFF2-40B4-BE49-F238E27FC236}">
                <a16:creationId xmlns:a16="http://schemas.microsoft.com/office/drawing/2014/main" id="{10FF5FF7-8AD6-BCC3-0BBA-AB716C98324C}"/>
              </a:ext>
            </a:extLst>
          </p:cNvPr>
          <p:cNvSpPr>
            <a:spLocks/>
          </p:cNvSpPr>
          <p:nvPr/>
        </p:nvSpPr>
        <p:spPr bwMode="auto">
          <a:xfrm rot="10800000">
            <a:off x="7783903" y="1556314"/>
            <a:ext cx="232592" cy="232582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50800" tIns="50800" rIns="50800" bIns="50800" anchor="ctr"/>
          <a:lstStyle/>
          <a:p>
            <a:endParaRPr lang="en-US" altLang="en-US" sz="2400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ea typeface="Helvetica Light" panose="020B0403020202020204" pitchFamily="34" charset="0"/>
              <a:cs typeface="Arial" panose="020B0604020202020204" pitchFamily="34" charset="0"/>
              <a:sym typeface="Helvetica Light" panose="020B0403020202020204" pitchFamily="34" charset="0"/>
            </a:endParaRPr>
          </a:p>
        </p:txBody>
      </p:sp>
      <p:sp>
        <p:nvSpPr>
          <p:cNvPr id="28" name="AutoShape 31">
            <a:extLst>
              <a:ext uri="{FF2B5EF4-FFF2-40B4-BE49-F238E27FC236}">
                <a16:creationId xmlns:a16="http://schemas.microsoft.com/office/drawing/2014/main" id="{18CFC6B2-EC76-F984-2D9A-80A966E1CAC1}"/>
              </a:ext>
            </a:extLst>
          </p:cNvPr>
          <p:cNvSpPr>
            <a:spLocks/>
          </p:cNvSpPr>
          <p:nvPr/>
        </p:nvSpPr>
        <p:spPr bwMode="auto">
          <a:xfrm rot="10800000">
            <a:off x="5488095" y="3231401"/>
            <a:ext cx="1218436" cy="1369357"/>
          </a:xfrm>
          <a:custGeom>
            <a:avLst/>
            <a:gdLst>
              <a:gd name="T0" fmla="+- 0 10800 961"/>
              <a:gd name="T1" fmla="*/ T0 w 19679"/>
              <a:gd name="T2" fmla="*/ 10800 h 21600"/>
              <a:gd name="T3" fmla="+- 0 10800 961"/>
              <a:gd name="T4" fmla="*/ T3 w 19679"/>
              <a:gd name="T5" fmla="*/ 10800 h 21600"/>
              <a:gd name="T6" fmla="+- 0 10800 961"/>
              <a:gd name="T7" fmla="*/ T6 w 19679"/>
              <a:gd name="T8" fmla="*/ 10800 h 21600"/>
              <a:gd name="T9" fmla="+- 0 10800 961"/>
              <a:gd name="T10" fmla="*/ T9 w 19679"/>
              <a:gd name="T11" fmla="*/ 10800 h 21600"/>
            </a:gdLst>
            <a:ahLst/>
            <a:cxnLst>
              <a:cxn ang="0">
                <a:pos x="T1" y="T2"/>
              </a:cxn>
              <a:cxn ang="0">
                <a:pos x="T4" y="T5"/>
              </a:cxn>
              <a:cxn ang="0">
                <a:pos x="T7" y="T8"/>
              </a:cxn>
              <a:cxn ang="0">
                <a:pos x="T10" y="T11"/>
              </a:cxn>
            </a:cxnLst>
            <a:rect l="0" t="0" r="r" b="b"/>
            <a:pathLst>
              <a:path w="19679" h="21600">
                <a:moveTo>
                  <a:pt x="9839" y="0"/>
                </a:moveTo>
                <a:cubicBezTo>
                  <a:pt x="7321" y="0"/>
                  <a:pt x="4803" y="937"/>
                  <a:pt x="2882" y="2813"/>
                </a:cubicBezTo>
                <a:cubicBezTo>
                  <a:pt x="-961" y="6566"/>
                  <a:pt x="-961" y="12653"/>
                  <a:pt x="2882" y="16406"/>
                </a:cubicBezTo>
                <a:cubicBezTo>
                  <a:pt x="4480" y="17967"/>
                  <a:pt x="6493" y="18867"/>
                  <a:pt x="8574" y="19129"/>
                </a:cubicBezTo>
                <a:lnTo>
                  <a:pt x="9839" y="21600"/>
                </a:lnTo>
                <a:lnTo>
                  <a:pt x="11104" y="19129"/>
                </a:lnTo>
                <a:cubicBezTo>
                  <a:pt x="13185" y="18867"/>
                  <a:pt x="15198" y="17967"/>
                  <a:pt x="16796" y="16406"/>
                </a:cubicBezTo>
                <a:cubicBezTo>
                  <a:pt x="20639" y="12653"/>
                  <a:pt x="20639" y="6566"/>
                  <a:pt x="16796" y="2813"/>
                </a:cubicBezTo>
                <a:cubicBezTo>
                  <a:pt x="14875" y="937"/>
                  <a:pt x="12357" y="0"/>
                  <a:pt x="9839" y="0"/>
                </a:cubicBezTo>
                <a:close/>
                <a:moveTo>
                  <a:pt x="9839" y="2266"/>
                </a:moveTo>
                <a:cubicBezTo>
                  <a:pt x="11763" y="2266"/>
                  <a:pt x="13686" y="2983"/>
                  <a:pt x="15154" y="4417"/>
                </a:cubicBezTo>
                <a:cubicBezTo>
                  <a:pt x="18090" y="7284"/>
                  <a:pt x="18090" y="11935"/>
                  <a:pt x="15154" y="14802"/>
                </a:cubicBezTo>
                <a:cubicBezTo>
                  <a:pt x="12218" y="17670"/>
                  <a:pt x="7460" y="17670"/>
                  <a:pt x="4524" y="14802"/>
                </a:cubicBezTo>
                <a:cubicBezTo>
                  <a:pt x="1588" y="11935"/>
                  <a:pt x="1588" y="7284"/>
                  <a:pt x="4524" y="4417"/>
                </a:cubicBezTo>
                <a:cubicBezTo>
                  <a:pt x="5992" y="2983"/>
                  <a:pt x="7915" y="2266"/>
                  <a:pt x="9839" y="2266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50800" tIns="50800" rIns="50800" bIns="50800" anchor="ctr"/>
          <a:lstStyle/>
          <a:p>
            <a:endParaRPr lang="en-US" altLang="en-US" sz="2400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ea typeface="Helvetica Light" panose="020B0403020202020204" pitchFamily="34" charset="0"/>
              <a:cs typeface="Arial" panose="020B0604020202020204" pitchFamily="34" charset="0"/>
              <a:sym typeface="Helvetica Light" panose="020B0403020202020204" pitchFamily="34" charset="0"/>
            </a:endParaRPr>
          </a:p>
        </p:txBody>
      </p:sp>
      <p:sp>
        <p:nvSpPr>
          <p:cNvPr id="29" name="AutoShape 32">
            <a:extLst>
              <a:ext uri="{FF2B5EF4-FFF2-40B4-BE49-F238E27FC236}">
                <a16:creationId xmlns:a16="http://schemas.microsoft.com/office/drawing/2014/main" id="{E49D4CCA-80E1-BE42-F84E-5903A3C6117E}"/>
              </a:ext>
            </a:extLst>
          </p:cNvPr>
          <p:cNvSpPr>
            <a:spLocks/>
          </p:cNvSpPr>
          <p:nvPr/>
        </p:nvSpPr>
        <p:spPr bwMode="auto">
          <a:xfrm rot="10800000">
            <a:off x="3784359" y="2826417"/>
            <a:ext cx="1218717" cy="1230460"/>
          </a:xfrm>
          <a:custGeom>
            <a:avLst/>
            <a:gdLst>
              <a:gd name="T0" fmla="+- 0 10800 792"/>
              <a:gd name="T1" fmla="*/ T0 w 20016"/>
              <a:gd name="T2" fmla="+- 0 10781 17"/>
              <a:gd name="T3" fmla="*/ 10781 h 21529"/>
              <a:gd name="T4" fmla="+- 0 10800 792"/>
              <a:gd name="T5" fmla="*/ T4 w 20016"/>
              <a:gd name="T6" fmla="+- 0 10781 17"/>
              <a:gd name="T7" fmla="*/ 10781 h 21529"/>
              <a:gd name="T8" fmla="+- 0 10800 792"/>
              <a:gd name="T9" fmla="*/ T8 w 20016"/>
              <a:gd name="T10" fmla="+- 0 10781 17"/>
              <a:gd name="T11" fmla="*/ 10781 h 21529"/>
              <a:gd name="T12" fmla="+- 0 10800 792"/>
              <a:gd name="T13" fmla="*/ T12 w 20016"/>
              <a:gd name="T14" fmla="+- 0 10781 17"/>
              <a:gd name="T15" fmla="*/ 10781 h 21529"/>
            </a:gdLst>
            <a:ahLst/>
            <a:cxnLst>
              <a:cxn ang="0">
                <a:pos x="T1" y="T3"/>
              </a:cxn>
              <a:cxn ang="0">
                <a:pos x="T5" y="T7"/>
              </a:cxn>
              <a:cxn ang="0">
                <a:pos x="T9" y="T11"/>
              </a:cxn>
              <a:cxn ang="0">
                <a:pos x="T13" y="T15"/>
              </a:cxn>
            </a:cxnLst>
            <a:rect l="0" t="0" r="r" b="b"/>
            <a:pathLst>
              <a:path w="20016" h="21529">
                <a:moveTo>
                  <a:pt x="10331" y="5"/>
                </a:moveTo>
                <a:cubicBezTo>
                  <a:pt x="9667" y="-17"/>
                  <a:pt x="8989" y="33"/>
                  <a:pt x="8308" y="158"/>
                </a:cubicBezTo>
                <a:cubicBezTo>
                  <a:pt x="2862" y="1158"/>
                  <a:pt x="-792" y="6675"/>
                  <a:pt x="147" y="12476"/>
                </a:cubicBezTo>
                <a:cubicBezTo>
                  <a:pt x="538" y="14890"/>
                  <a:pt x="1668" y="16959"/>
                  <a:pt x="3240" y="18497"/>
                </a:cubicBezTo>
                <a:lnTo>
                  <a:pt x="2807" y="21529"/>
                </a:lnTo>
                <a:lnTo>
                  <a:pt x="5343" y="20080"/>
                </a:lnTo>
                <a:cubicBezTo>
                  <a:pt x="7229" y="21143"/>
                  <a:pt x="9442" y="21583"/>
                  <a:pt x="11708" y="21167"/>
                </a:cubicBezTo>
                <a:cubicBezTo>
                  <a:pt x="17154" y="20166"/>
                  <a:pt x="20808" y="14650"/>
                  <a:pt x="19869" y="8848"/>
                </a:cubicBezTo>
                <a:cubicBezTo>
                  <a:pt x="19399" y="5947"/>
                  <a:pt x="17869" y="3527"/>
                  <a:pt x="15777" y="1954"/>
                </a:cubicBezTo>
                <a:cubicBezTo>
                  <a:pt x="14207" y="774"/>
                  <a:pt x="12325" y="71"/>
                  <a:pt x="10331" y="5"/>
                </a:cubicBezTo>
                <a:close/>
                <a:moveTo>
                  <a:pt x="10255" y="2519"/>
                </a:moveTo>
                <a:cubicBezTo>
                  <a:pt x="13809" y="2636"/>
                  <a:pt x="16915" y="5399"/>
                  <a:pt x="17543" y="9278"/>
                </a:cubicBezTo>
                <a:cubicBezTo>
                  <a:pt x="18260" y="13710"/>
                  <a:pt x="15469" y="17924"/>
                  <a:pt x="11308" y="18689"/>
                </a:cubicBezTo>
                <a:cubicBezTo>
                  <a:pt x="7147" y="19453"/>
                  <a:pt x="3191" y="16479"/>
                  <a:pt x="2473" y="12047"/>
                </a:cubicBezTo>
                <a:cubicBezTo>
                  <a:pt x="1756" y="7614"/>
                  <a:pt x="4547" y="3400"/>
                  <a:pt x="8708" y="2636"/>
                </a:cubicBezTo>
                <a:cubicBezTo>
                  <a:pt x="9228" y="2540"/>
                  <a:pt x="9747" y="2502"/>
                  <a:pt x="10255" y="2519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50800" tIns="50800" rIns="50800" bIns="50800" anchor="ctr"/>
          <a:lstStyle/>
          <a:p>
            <a:endParaRPr lang="en-US" altLang="en-US" sz="2400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ea typeface="Helvetica Light" panose="020B0403020202020204" pitchFamily="34" charset="0"/>
              <a:cs typeface="Arial" panose="020B0604020202020204" pitchFamily="34" charset="0"/>
              <a:sym typeface="Helvetica Light" panose="020B0403020202020204" pitchFamily="34" charset="0"/>
            </a:endParaRPr>
          </a:p>
        </p:txBody>
      </p:sp>
      <p:sp>
        <p:nvSpPr>
          <p:cNvPr id="30" name="AutoShape 33">
            <a:extLst>
              <a:ext uri="{FF2B5EF4-FFF2-40B4-BE49-F238E27FC236}">
                <a16:creationId xmlns:a16="http://schemas.microsoft.com/office/drawing/2014/main" id="{C5C13182-5143-8DB5-CD9C-74C2A0A74561}"/>
              </a:ext>
            </a:extLst>
          </p:cNvPr>
          <p:cNvSpPr>
            <a:spLocks/>
          </p:cNvSpPr>
          <p:nvPr/>
        </p:nvSpPr>
        <p:spPr bwMode="auto">
          <a:xfrm rot="10800000">
            <a:off x="7202024" y="2824336"/>
            <a:ext cx="1218666" cy="1218549"/>
          </a:xfrm>
          <a:custGeom>
            <a:avLst/>
            <a:gdLst>
              <a:gd name="T0" fmla="+- 0 10800 687"/>
              <a:gd name="T1" fmla="*/ T0 w 20226"/>
              <a:gd name="T2" fmla="+- 0 10727 93"/>
              <a:gd name="T3" fmla="*/ 10727 h 21268"/>
              <a:gd name="T4" fmla="+- 0 10800 687"/>
              <a:gd name="T5" fmla="*/ T4 w 20226"/>
              <a:gd name="T6" fmla="+- 0 10727 93"/>
              <a:gd name="T7" fmla="*/ 10727 h 21268"/>
              <a:gd name="T8" fmla="+- 0 10800 687"/>
              <a:gd name="T9" fmla="*/ T8 w 20226"/>
              <a:gd name="T10" fmla="+- 0 10727 93"/>
              <a:gd name="T11" fmla="*/ 10727 h 21268"/>
              <a:gd name="T12" fmla="+- 0 10800 687"/>
              <a:gd name="T13" fmla="*/ T12 w 20226"/>
              <a:gd name="T14" fmla="+- 0 10727 93"/>
              <a:gd name="T15" fmla="*/ 10727 h 21268"/>
            </a:gdLst>
            <a:ahLst/>
            <a:cxnLst>
              <a:cxn ang="0">
                <a:pos x="T1" y="T3"/>
              </a:cxn>
              <a:cxn ang="0">
                <a:pos x="T5" y="T7"/>
              </a:cxn>
              <a:cxn ang="0">
                <a:pos x="T9" y="T11"/>
              </a:cxn>
              <a:cxn ang="0">
                <a:pos x="T13" y="T15"/>
              </a:cxn>
            </a:cxnLst>
            <a:rect l="0" t="0" r="r" b="b"/>
            <a:pathLst>
              <a:path w="20226" h="21268">
                <a:moveTo>
                  <a:pt x="10512" y="9"/>
                </a:moveTo>
                <a:cubicBezTo>
                  <a:pt x="8123" y="-93"/>
                  <a:pt x="5858" y="702"/>
                  <a:pt x="4046" y="2130"/>
                </a:cubicBezTo>
                <a:cubicBezTo>
                  <a:pt x="1976" y="3763"/>
                  <a:pt x="497" y="6225"/>
                  <a:pt x="103" y="9132"/>
                </a:cubicBezTo>
                <a:cubicBezTo>
                  <a:pt x="-687" y="14945"/>
                  <a:pt x="3158" y="20331"/>
                  <a:pt x="8687" y="21162"/>
                </a:cubicBezTo>
                <a:cubicBezTo>
                  <a:pt x="10987" y="21507"/>
                  <a:pt x="13209" y="21001"/>
                  <a:pt x="15085" y="19883"/>
                </a:cubicBezTo>
                <a:lnTo>
                  <a:pt x="17685" y="21250"/>
                </a:lnTo>
                <a:lnTo>
                  <a:pt x="17163" y="18244"/>
                </a:lnTo>
                <a:cubicBezTo>
                  <a:pt x="18709" y="16662"/>
                  <a:pt x="19795" y="14560"/>
                  <a:pt x="20123" y="12142"/>
                </a:cubicBezTo>
                <a:cubicBezTo>
                  <a:pt x="20913" y="6328"/>
                  <a:pt x="17071" y="939"/>
                  <a:pt x="11543" y="108"/>
                </a:cubicBezTo>
                <a:cubicBezTo>
                  <a:pt x="11197" y="56"/>
                  <a:pt x="10853" y="24"/>
                  <a:pt x="10512" y="9"/>
                </a:cubicBezTo>
                <a:close/>
                <a:moveTo>
                  <a:pt x="10418" y="2516"/>
                </a:moveTo>
                <a:cubicBezTo>
                  <a:pt x="10679" y="2527"/>
                  <a:pt x="10942" y="2555"/>
                  <a:pt x="11206" y="2594"/>
                </a:cubicBezTo>
                <a:cubicBezTo>
                  <a:pt x="15430" y="3229"/>
                  <a:pt x="18366" y="7342"/>
                  <a:pt x="17763" y="11784"/>
                </a:cubicBezTo>
                <a:cubicBezTo>
                  <a:pt x="17159" y="16226"/>
                  <a:pt x="13244" y="19313"/>
                  <a:pt x="9020" y="18679"/>
                </a:cubicBezTo>
                <a:cubicBezTo>
                  <a:pt x="4796" y="18045"/>
                  <a:pt x="1863" y="13928"/>
                  <a:pt x="2467" y="9486"/>
                </a:cubicBezTo>
                <a:cubicBezTo>
                  <a:pt x="3032" y="5321"/>
                  <a:pt x="6505" y="2349"/>
                  <a:pt x="10418" y="2516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50800" tIns="50800" rIns="50800" bIns="50800" anchor="ctr"/>
          <a:lstStyle/>
          <a:p>
            <a:endParaRPr lang="en-US" altLang="en-US" sz="2400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ea typeface="Helvetica Light" panose="020B0403020202020204" pitchFamily="34" charset="0"/>
              <a:cs typeface="Arial" panose="020B0604020202020204" pitchFamily="34" charset="0"/>
              <a:sym typeface="Helvetica Light" panose="020B0403020202020204" pitchFamily="34" charset="0"/>
            </a:endParaRPr>
          </a:p>
        </p:txBody>
      </p:sp>
      <p:sp>
        <p:nvSpPr>
          <p:cNvPr id="31" name="AutoShape 34">
            <a:extLst>
              <a:ext uri="{FF2B5EF4-FFF2-40B4-BE49-F238E27FC236}">
                <a16:creationId xmlns:a16="http://schemas.microsoft.com/office/drawing/2014/main" id="{3C7B3518-1C03-4675-53DC-5A18CE460A04}"/>
              </a:ext>
            </a:extLst>
          </p:cNvPr>
          <p:cNvSpPr>
            <a:spLocks/>
          </p:cNvSpPr>
          <p:nvPr/>
        </p:nvSpPr>
        <p:spPr bwMode="auto">
          <a:xfrm rot="10800000">
            <a:off x="8142400" y="1385252"/>
            <a:ext cx="1330559" cy="1218748"/>
          </a:xfrm>
          <a:custGeom>
            <a:avLst/>
            <a:gdLst>
              <a:gd name="T0" fmla="+- 0 10943 286"/>
              <a:gd name="T1" fmla="*/ T0 w 21314"/>
              <a:gd name="T2" fmla="+- 0 10114 50"/>
              <a:gd name="T3" fmla="*/ 10114 h 20129"/>
              <a:gd name="T4" fmla="+- 0 10943 286"/>
              <a:gd name="T5" fmla="*/ T4 w 21314"/>
              <a:gd name="T6" fmla="+- 0 10114 50"/>
              <a:gd name="T7" fmla="*/ 10114 h 20129"/>
              <a:gd name="T8" fmla="+- 0 10943 286"/>
              <a:gd name="T9" fmla="*/ T8 w 21314"/>
              <a:gd name="T10" fmla="+- 0 10114 50"/>
              <a:gd name="T11" fmla="*/ 10114 h 20129"/>
              <a:gd name="T12" fmla="+- 0 10943 286"/>
              <a:gd name="T13" fmla="*/ T12 w 21314"/>
              <a:gd name="T14" fmla="+- 0 10114 50"/>
              <a:gd name="T15" fmla="*/ 10114 h 20129"/>
            </a:gdLst>
            <a:ahLst/>
            <a:cxnLst>
              <a:cxn ang="0">
                <a:pos x="T1" y="T3"/>
              </a:cxn>
              <a:cxn ang="0">
                <a:pos x="T5" y="T7"/>
              </a:cxn>
              <a:cxn ang="0">
                <a:pos x="T9" y="T11"/>
              </a:cxn>
              <a:cxn ang="0">
                <a:pos x="T13" y="T15"/>
              </a:cxn>
            </a:cxnLst>
            <a:rect l="0" t="0" r="r" b="b"/>
            <a:pathLst>
              <a:path w="21314" h="20129">
                <a:moveTo>
                  <a:pt x="10091" y="6"/>
                </a:moveTo>
                <a:cubicBezTo>
                  <a:pt x="8517" y="-50"/>
                  <a:pt x="6911" y="286"/>
                  <a:pt x="5404" y="1062"/>
                </a:cubicBezTo>
                <a:cubicBezTo>
                  <a:pt x="2992" y="2303"/>
                  <a:pt x="1297" y="4433"/>
                  <a:pt x="505" y="6876"/>
                </a:cubicBezTo>
                <a:cubicBezTo>
                  <a:pt x="-286" y="9319"/>
                  <a:pt x="-175" y="12074"/>
                  <a:pt x="1029" y="14560"/>
                </a:cubicBezTo>
                <a:cubicBezTo>
                  <a:pt x="3436" y="19532"/>
                  <a:pt x="9302" y="21550"/>
                  <a:pt x="14124" y="19068"/>
                </a:cubicBezTo>
                <a:cubicBezTo>
                  <a:pt x="16130" y="18035"/>
                  <a:pt x="17628" y="16381"/>
                  <a:pt x="18535" y="14450"/>
                </a:cubicBezTo>
                <a:lnTo>
                  <a:pt x="21314" y="14041"/>
                </a:lnTo>
                <a:lnTo>
                  <a:pt x="19331" y="11997"/>
                </a:lnTo>
                <a:cubicBezTo>
                  <a:pt x="19733" y="9891"/>
                  <a:pt x="19498" y="7641"/>
                  <a:pt x="18496" y="5572"/>
                </a:cubicBezTo>
                <a:cubicBezTo>
                  <a:pt x="16841" y="2154"/>
                  <a:pt x="13551" y="130"/>
                  <a:pt x="10091" y="6"/>
                </a:cubicBezTo>
                <a:close/>
                <a:moveTo>
                  <a:pt x="10013" y="2379"/>
                </a:moveTo>
                <a:cubicBezTo>
                  <a:pt x="12656" y="2473"/>
                  <a:pt x="15171" y="4020"/>
                  <a:pt x="16435" y="6631"/>
                </a:cubicBezTo>
                <a:cubicBezTo>
                  <a:pt x="18275" y="10430"/>
                  <a:pt x="16778" y="15046"/>
                  <a:pt x="13094" y="16943"/>
                </a:cubicBezTo>
                <a:cubicBezTo>
                  <a:pt x="9409" y="18840"/>
                  <a:pt x="4929" y="17297"/>
                  <a:pt x="3089" y="13498"/>
                </a:cubicBezTo>
                <a:cubicBezTo>
                  <a:pt x="1250" y="9699"/>
                  <a:pt x="2746" y="5083"/>
                  <a:pt x="6431" y="3186"/>
                </a:cubicBezTo>
                <a:cubicBezTo>
                  <a:pt x="7582" y="2594"/>
                  <a:pt x="8811" y="2336"/>
                  <a:pt x="10013" y="2379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50800" tIns="50800" rIns="50800" bIns="50800" anchor="ctr"/>
          <a:lstStyle/>
          <a:p>
            <a:endParaRPr lang="en-US" altLang="en-US" sz="2400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ea typeface="Helvetica Light" panose="020B0403020202020204" pitchFamily="34" charset="0"/>
              <a:cs typeface="Arial" panose="020B0604020202020204" pitchFamily="34" charset="0"/>
              <a:sym typeface="Helvetica Light" panose="020B0403020202020204" pitchFamily="34" charset="0"/>
            </a:endParaRPr>
          </a:p>
        </p:txBody>
      </p:sp>
      <p:sp>
        <p:nvSpPr>
          <p:cNvPr id="32" name="AutoShape 35">
            <a:extLst>
              <a:ext uri="{FF2B5EF4-FFF2-40B4-BE49-F238E27FC236}">
                <a16:creationId xmlns:a16="http://schemas.microsoft.com/office/drawing/2014/main" id="{07C1BAA5-50F0-2ADF-7D2D-4F0A91C498B2}"/>
              </a:ext>
            </a:extLst>
          </p:cNvPr>
          <p:cNvSpPr>
            <a:spLocks/>
          </p:cNvSpPr>
          <p:nvPr/>
        </p:nvSpPr>
        <p:spPr bwMode="auto">
          <a:xfrm rot="10800000">
            <a:off x="2721576" y="1385378"/>
            <a:ext cx="1331665" cy="1218731"/>
          </a:xfrm>
          <a:custGeom>
            <a:avLst/>
            <a:gdLst>
              <a:gd name="T0" fmla="*/ 10655 w 21311"/>
              <a:gd name="T1" fmla="+- 0 10110 44"/>
              <a:gd name="T2" fmla="*/ 10110 h 20133"/>
              <a:gd name="T3" fmla="*/ 10655 w 21311"/>
              <a:gd name="T4" fmla="+- 0 10110 44"/>
              <a:gd name="T5" fmla="*/ 10110 h 20133"/>
              <a:gd name="T6" fmla="*/ 10655 w 21311"/>
              <a:gd name="T7" fmla="+- 0 10110 44"/>
              <a:gd name="T8" fmla="*/ 10110 h 20133"/>
              <a:gd name="T9" fmla="*/ 10655 w 21311"/>
              <a:gd name="T10" fmla="+- 0 10110 44"/>
              <a:gd name="T11" fmla="*/ 10110 h 20133"/>
            </a:gdLst>
            <a:ahLst/>
            <a:cxnLst>
              <a:cxn ang="0">
                <a:pos x="T0" y="T2"/>
              </a:cxn>
              <a:cxn ang="0">
                <a:pos x="T3" y="T5"/>
              </a:cxn>
              <a:cxn ang="0">
                <a:pos x="T6" y="T8"/>
              </a:cxn>
              <a:cxn ang="0">
                <a:pos x="T9" y="T11"/>
              </a:cxn>
            </a:cxnLst>
            <a:rect l="0" t="0" r="r" b="b"/>
            <a:pathLst>
              <a:path w="21311" h="20133">
                <a:moveTo>
                  <a:pt x="11277" y="4"/>
                </a:moveTo>
                <a:cubicBezTo>
                  <a:pt x="7820" y="111"/>
                  <a:pt x="4524" y="2117"/>
                  <a:pt x="2854" y="5528"/>
                </a:cubicBezTo>
                <a:cubicBezTo>
                  <a:pt x="1844" y="7592"/>
                  <a:pt x="1599" y="9842"/>
                  <a:pt x="1991" y="11950"/>
                </a:cubicBezTo>
                <a:lnTo>
                  <a:pt x="0" y="13988"/>
                </a:lnTo>
                <a:lnTo>
                  <a:pt x="2773" y="14410"/>
                </a:lnTo>
                <a:cubicBezTo>
                  <a:pt x="3670" y="16347"/>
                  <a:pt x="5161" y="18007"/>
                  <a:pt x="7160" y="19049"/>
                </a:cubicBezTo>
                <a:cubicBezTo>
                  <a:pt x="11966" y="21556"/>
                  <a:pt x="17834" y="19566"/>
                  <a:pt x="20262" y="14605"/>
                </a:cubicBezTo>
                <a:cubicBezTo>
                  <a:pt x="21477" y="12124"/>
                  <a:pt x="21600" y="9373"/>
                  <a:pt x="20821" y="6926"/>
                </a:cubicBezTo>
                <a:cubicBezTo>
                  <a:pt x="20042" y="4479"/>
                  <a:pt x="18360" y="2337"/>
                  <a:pt x="15957" y="1084"/>
                </a:cubicBezTo>
                <a:cubicBezTo>
                  <a:pt x="14455" y="300"/>
                  <a:pt x="12849" y="-44"/>
                  <a:pt x="11277" y="4"/>
                </a:cubicBezTo>
                <a:close/>
                <a:moveTo>
                  <a:pt x="11342" y="2381"/>
                </a:moveTo>
                <a:cubicBezTo>
                  <a:pt x="12543" y="2344"/>
                  <a:pt x="13770" y="2607"/>
                  <a:pt x="14917" y="3205"/>
                </a:cubicBezTo>
                <a:cubicBezTo>
                  <a:pt x="18590" y="5121"/>
                  <a:pt x="20062" y="9745"/>
                  <a:pt x="18207" y="13536"/>
                </a:cubicBezTo>
                <a:cubicBezTo>
                  <a:pt x="16352" y="17326"/>
                  <a:pt x="11871" y="18846"/>
                  <a:pt x="8199" y="16931"/>
                </a:cubicBezTo>
                <a:cubicBezTo>
                  <a:pt x="4527" y="15016"/>
                  <a:pt x="3054" y="10391"/>
                  <a:pt x="4910" y="6601"/>
                </a:cubicBezTo>
                <a:cubicBezTo>
                  <a:pt x="6185" y="3995"/>
                  <a:pt x="8701" y="2462"/>
                  <a:pt x="11342" y="238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50800" tIns="50800" rIns="50800" bIns="50800" anchor="ctr"/>
          <a:lstStyle/>
          <a:p>
            <a:endParaRPr lang="en-US" altLang="en-US" sz="2400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ea typeface="Helvetica Light" panose="020B0403020202020204" pitchFamily="34" charset="0"/>
              <a:cs typeface="Arial" panose="020B0604020202020204" pitchFamily="34" charset="0"/>
              <a:sym typeface="Helvetica Light" panose="020B0403020202020204" pitchFamily="34" charset="0"/>
            </a:endParaRPr>
          </a:p>
        </p:txBody>
      </p:sp>
      <p:sp>
        <p:nvSpPr>
          <p:cNvPr id="33" name="Text Box 36">
            <a:extLst>
              <a:ext uri="{FF2B5EF4-FFF2-40B4-BE49-F238E27FC236}">
                <a16:creationId xmlns:a16="http://schemas.microsoft.com/office/drawing/2014/main" id="{BB51A602-8438-E5DE-65E5-BC6F38EABCFC}"/>
              </a:ext>
            </a:extLst>
          </p:cNvPr>
          <p:cNvSpPr txBox="1">
            <a:spLocks/>
          </p:cNvSpPr>
          <p:nvPr/>
        </p:nvSpPr>
        <p:spPr bwMode="auto">
          <a:xfrm>
            <a:off x="8293973" y="1604776"/>
            <a:ext cx="1130380" cy="7797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50800" tIns="50800" rIns="50800" bIns="50800" anchor="ctr">
            <a:spAutoFit/>
          </a:bodyPr>
          <a:lstStyle/>
          <a:p>
            <a:pPr algn="ctr"/>
            <a:r>
              <a:rPr lang="en-US" altLang="en-US" sz="4400" dirty="0">
                <a:solidFill>
                  <a:schemeClr val="tx1">
                    <a:lumMod val="50000"/>
                  </a:schemeClr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  <a:sym typeface="Arial" panose="020B0604020202020204" pitchFamily="34" charset="0"/>
              </a:rPr>
              <a:t>5</a:t>
            </a:r>
          </a:p>
        </p:txBody>
      </p:sp>
      <p:sp>
        <p:nvSpPr>
          <p:cNvPr id="34" name="Text Box 37">
            <a:extLst>
              <a:ext uri="{FF2B5EF4-FFF2-40B4-BE49-F238E27FC236}">
                <a16:creationId xmlns:a16="http://schemas.microsoft.com/office/drawing/2014/main" id="{535053B8-13ED-1749-1299-728B2048FE44}"/>
              </a:ext>
            </a:extLst>
          </p:cNvPr>
          <p:cNvSpPr txBox="1">
            <a:spLocks/>
          </p:cNvSpPr>
          <p:nvPr/>
        </p:nvSpPr>
        <p:spPr bwMode="auto">
          <a:xfrm>
            <a:off x="2776767" y="1609105"/>
            <a:ext cx="1130380" cy="7797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50800" tIns="50800" rIns="50800" bIns="50800" anchor="ctr">
            <a:spAutoFit/>
          </a:bodyPr>
          <a:lstStyle/>
          <a:p>
            <a:pPr algn="ctr"/>
            <a:r>
              <a:rPr lang="en-US" altLang="en-US" sz="4400" dirty="0">
                <a:solidFill>
                  <a:schemeClr val="tx1">
                    <a:lumMod val="50000"/>
                  </a:schemeClr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  <a:sym typeface="Arial" panose="020B0604020202020204" pitchFamily="34" charset="0"/>
              </a:rPr>
              <a:t>1</a:t>
            </a:r>
          </a:p>
        </p:txBody>
      </p:sp>
      <p:sp>
        <p:nvSpPr>
          <p:cNvPr id="35" name="Text Box 38">
            <a:extLst>
              <a:ext uri="{FF2B5EF4-FFF2-40B4-BE49-F238E27FC236}">
                <a16:creationId xmlns:a16="http://schemas.microsoft.com/office/drawing/2014/main" id="{0D11AE4B-75DD-47A3-4CB0-C2BA87AE9123}"/>
              </a:ext>
            </a:extLst>
          </p:cNvPr>
          <p:cNvSpPr txBox="1">
            <a:spLocks/>
          </p:cNvSpPr>
          <p:nvPr/>
        </p:nvSpPr>
        <p:spPr bwMode="auto">
          <a:xfrm>
            <a:off x="3828527" y="3051797"/>
            <a:ext cx="1130380" cy="7797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50800" tIns="50800" rIns="50800" bIns="50800" anchor="ctr">
            <a:spAutoFit/>
          </a:bodyPr>
          <a:lstStyle/>
          <a:p>
            <a:pPr algn="ctr"/>
            <a:r>
              <a:rPr lang="en-US" altLang="en-US" sz="4400" dirty="0">
                <a:solidFill>
                  <a:schemeClr val="tx1">
                    <a:lumMod val="50000"/>
                  </a:schemeClr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  <a:sym typeface="Arial" panose="020B0604020202020204" pitchFamily="34" charset="0"/>
              </a:rPr>
              <a:t>2</a:t>
            </a:r>
          </a:p>
        </p:txBody>
      </p:sp>
      <p:sp>
        <p:nvSpPr>
          <p:cNvPr id="36" name="Text Box 39">
            <a:extLst>
              <a:ext uri="{FF2B5EF4-FFF2-40B4-BE49-F238E27FC236}">
                <a16:creationId xmlns:a16="http://schemas.microsoft.com/office/drawing/2014/main" id="{7B54A838-D775-3D8F-098E-F84C040E9055}"/>
              </a:ext>
            </a:extLst>
          </p:cNvPr>
          <p:cNvSpPr txBox="1">
            <a:spLocks/>
          </p:cNvSpPr>
          <p:nvPr/>
        </p:nvSpPr>
        <p:spPr bwMode="auto">
          <a:xfrm>
            <a:off x="7239675" y="3043761"/>
            <a:ext cx="1130380" cy="7797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50800" tIns="50800" rIns="50800" bIns="50800" anchor="ctr">
            <a:spAutoFit/>
          </a:bodyPr>
          <a:lstStyle/>
          <a:p>
            <a:pPr algn="ctr"/>
            <a:r>
              <a:rPr lang="en-US" altLang="en-US" sz="4400" dirty="0">
                <a:solidFill>
                  <a:schemeClr val="tx1">
                    <a:lumMod val="50000"/>
                  </a:schemeClr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  <a:sym typeface="Arial" panose="020B0604020202020204" pitchFamily="34" charset="0"/>
              </a:rPr>
              <a:t>4</a:t>
            </a:r>
          </a:p>
        </p:txBody>
      </p:sp>
      <p:sp>
        <p:nvSpPr>
          <p:cNvPr id="37" name="Text Box 40">
            <a:extLst>
              <a:ext uri="{FF2B5EF4-FFF2-40B4-BE49-F238E27FC236}">
                <a16:creationId xmlns:a16="http://schemas.microsoft.com/office/drawing/2014/main" id="{96FF9A94-2357-39F5-BE68-972DAC93AD6F}"/>
              </a:ext>
            </a:extLst>
          </p:cNvPr>
          <p:cNvSpPr txBox="1">
            <a:spLocks/>
          </p:cNvSpPr>
          <p:nvPr/>
        </p:nvSpPr>
        <p:spPr bwMode="auto">
          <a:xfrm>
            <a:off x="5538620" y="3610635"/>
            <a:ext cx="1130380" cy="7797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50800" tIns="50800" rIns="50800" bIns="50800" anchor="ctr">
            <a:spAutoFit/>
          </a:bodyPr>
          <a:lstStyle/>
          <a:p>
            <a:pPr algn="ctr"/>
            <a:r>
              <a:rPr lang="en-US" altLang="en-US" sz="4400" dirty="0">
                <a:solidFill>
                  <a:schemeClr val="tx1">
                    <a:lumMod val="50000"/>
                  </a:schemeClr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  <a:sym typeface="Arial" panose="020B0604020202020204" pitchFamily="34" charset="0"/>
              </a:rPr>
              <a:t>3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924C763-D89C-E6C8-7C01-06FC9A572726}"/>
              </a:ext>
            </a:extLst>
          </p:cNvPr>
          <p:cNvSpPr txBox="1"/>
          <p:nvPr/>
        </p:nvSpPr>
        <p:spPr>
          <a:xfrm>
            <a:off x="9624531" y="1955534"/>
            <a:ext cx="239748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Text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51841AF-9385-EAEC-6FB7-96C5CD224AD8}"/>
              </a:ext>
            </a:extLst>
          </p:cNvPr>
          <p:cNvSpPr/>
          <p:nvPr/>
        </p:nvSpPr>
        <p:spPr>
          <a:xfrm>
            <a:off x="9624531" y="1623690"/>
            <a:ext cx="152408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>
                <a:solidFill>
                  <a:schemeClr val="tx1">
                    <a:lumMod val="50000"/>
                  </a:schemeClr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</a:rPr>
              <a:t>Heading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21912F5-ACA9-B63B-C77D-2DEAF37E3F13}"/>
              </a:ext>
            </a:extLst>
          </p:cNvPr>
          <p:cNvSpPr txBox="1"/>
          <p:nvPr/>
        </p:nvSpPr>
        <p:spPr>
          <a:xfrm flipH="1">
            <a:off x="169986" y="1955534"/>
            <a:ext cx="240001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Text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EBB3BCD-11F0-84A1-A885-B06CFF06CB01}"/>
              </a:ext>
            </a:extLst>
          </p:cNvPr>
          <p:cNvSpPr/>
          <p:nvPr/>
        </p:nvSpPr>
        <p:spPr>
          <a:xfrm flipH="1">
            <a:off x="1045917" y="1623690"/>
            <a:ext cx="152408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600" b="1" dirty="0">
                <a:solidFill>
                  <a:schemeClr val="tx1">
                    <a:lumMod val="50000"/>
                  </a:schemeClr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</a:rPr>
              <a:t>Heading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880EA32-4815-13FD-743D-9A2746ACF4BD}"/>
              </a:ext>
            </a:extLst>
          </p:cNvPr>
          <p:cNvSpPr txBox="1"/>
          <p:nvPr/>
        </p:nvSpPr>
        <p:spPr>
          <a:xfrm>
            <a:off x="8565999" y="3342728"/>
            <a:ext cx="239748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Text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C13F969-F28B-932B-1B2C-7F832A6A4375}"/>
              </a:ext>
            </a:extLst>
          </p:cNvPr>
          <p:cNvSpPr/>
          <p:nvPr/>
        </p:nvSpPr>
        <p:spPr>
          <a:xfrm>
            <a:off x="8565999" y="3010884"/>
            <a:ext cx="198430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>
                <a:solidFill>
                  <a:schemeClr val="tx1">
                    <a:lumMod val="50000"/>
                  </a:schemeClr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</a:rPr>
              <a:t>Headin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9952B5F-75C0-9BBA-38E8-E82468EE500F}"/>
              </a:ext>
            </a:extLst>
          </p:cNvPr>
          <p:cNvSpPr txBox="1"/>
          <p:nvPr/>
        </p:nvSpPr>
        <p:spPr>
          <a:xfrm flipH="1">
            <a:off x="1241377" y="3342728"/>
            <a:ext cx="239748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Text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EBB8385-19E3-EFBD-0EDC-02A96C372C90}"/>
              </a:ext>
            </a:extLst>
          </p:cNvPr>
          <p:cNvSpPr/>
          <p:nvPr/>
        </p:nvSpPr>
        <p:spPr>
          <a:xfrm flipH="1">
            <a:off x="2114775" y="3010884"/>
            <a:ext cx="152408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600" b="1" dirty="0">
                <a:solidFill>
                  <a:schemeClr val="tx1">
                    <a:lumMod val="50000"/>
                  </a:schemeClr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</a:rPr>
              <a:t>Heading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B0E9680-A8DE-C741-2E9C-7807F7913BE0}"/>
              </a:ext>
            </a:extLst>
          </p:cNvPr>
          <p:cNvSpPr txBox="1"/>
          <p:nvPr/>
        </p:nvSpPr>
        <p:spPr>
          <a:xfrm>
            <a:off x="4905067" y="5047889"/>
            <a:ext cx="239748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Text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EE9F84E-6588-75A6-1673-8FD97885A09A}"/>
              </a:ext>
            </a:extLst>
          </p:cNvPr>
          <p:cNvSpPr/>
          <p:nvPr/>
        </p:nvSpPr>
        <p:spPr>
          <a:xfrm>
            <a:off x="5111655" y="4716045"/>
            <a:ext cx="198430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b="1" dirty="0">
                <a:solidFill>
                  <a:schemeClr val="tx1">
                    <a:lumMod val="50000"/>
                  </a:schemeClr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</a:rPr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538804913"/>
      </p:ext>
    </p:extLst>
  </p:cSld>
  <p:clrMapOvr>
    <a:masterClrMapping/>
  </p:clrMapOvr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465959A-CF6B-EE07-E447-DEE6642DCD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48FF120-40C0-CA43-E3F3-8922B24E5D0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15713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4861E0A-8D91-0E0E-965B-C6033CACAD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irc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E7FD1AF-4EB0-22A5-166E-F9E06439BA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09</a:t>
            </a:fld>
            <a:endParaRPr lang="en-US" dirty="0"/>
          </a:p>
        </p:txBody>
      </p:sp>
      <p:sp>
        <p:nvSpPr>
          <p:cNvPr id="5" name="Shape 384">
            <a:extLst>
              <a:ext uri="{FF2B5EF4-FFF2-40B4-BE49-F238E27FC236}">
                <a16:creationId xmlns:a16="http://schemas.microsoft.com/office/drawing/2014/main" id="{3365AD0B-C4C9-CAD7-A73D-6D936B7FD0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97948" y="1652238"/>
            <a:ext cx="1545293" cy="154522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50800" tIns="50800" rIns="50800" bIns="50800" anchor="ctr"/>
          <a:lstStyle>
            <a:lvl1pPr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1pPr>
            <a:lvl2pPr marL="742950" indent="-285750"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2pPr>
            <a:lvl3pPr marL="1143000" indent="-228600"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3pPr>
            <a:lvl4pPr marL="1600200" indent="-228600"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4pPr>
            <a:lvl5pPr marL="2057400" indent="-228600"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5pPr>
            <a:lvl6pPr marL="25146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6pPr>
            <a:lvl7pPr marL="29718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7pPr>
            <a:lvl8pPr marL="34290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8pPr>
            <a:lvl9pPr marL="38862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9pPr>
          </a:lstStyle>
          <a:p>
            <a:pPr algn="ctr" eaLnBrk="1"/>
            <a:endParaRPr lang="en-US" altLang="en-US" sz="2400" dirty="0">
              <a:solidFill>
                <a:srgbClr val="FFFFFF"/>
              </a:solidFill>
              <a:latin typeface="+mn-lt"/>
              <a:cs typeface="Poppins" pitchFamily="2" charset="77"/>
            </a:endParaRPr>
          </a:p>
        </p:txBody>
      </p:sp>
      <p:sp>
        <p:nvSpPr>
          <p:cNvPr id="6" name="Shape 385">
            <a:extLst>
              <a:ext uri="{FF2B5EF4-FFF2-40B4-BE49-F238E27FC236}">
                <a16:creationId xmlns:a16="http://schemas.microsoft.com/office/drawing/2014/main" id="{FB193955-5FE8-5F8E-91BD-974BCE6822A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4340" y="1428638"/>
            <a:ext cx="1992510" cy="1992426"/>
          </a:xfrm>
          <a:prstGeom prst="ellipse">
            <a:avLst/>
          </a:prstGeom>
          <a:noFill/>
          <a:ln w="63500">
            <a:solidFill>
              <a:schemeClr val="accent1"/>
            </a:solidFill>
            <a:miter lim="4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50800" tIns="50800" rIns="50800" bIns="50800" anchor="ctr"/>
          <a:lstStyle>
            <a:lvl1pPr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1pPr>
            <a:lvl2pPr marL="742950" indent="-285750"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2pPr>
            <a:lvl3pPr marL="1143000" indent="-228600"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3pPr>
            <a:lvl4pPr marL="1600200" indent="-228600"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4pPr>
            <a:lvl5pPr marL="2057400" indent="-228600"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5pPr>
            <a:lvl6pPr marL="25146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6pPr>
            <a:lvl7pPr marL="29718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7pPr>
            <a:lvl8pPr marL="34290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8pPr>
            <a:lvl9pPr marL="38862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9pPr>
          </a:lstStyle>
          <a:p>
            <a:pPr algn="ctr" eaLnBrk="1"/>
            <a:endParaRPr lang="en-US" altLang="en-US" sz="2400" dirty="0">
              <a:solidFill>
                <a:srgbClr val="FFFFFF"/>
              </a:solidFill>
              <a:latin typeface="+mn-lt"/>
              <a:cs typeface="Poppins" pitchFamily="2" charset="77"/>
            </a:endParaRPr>
          </a:p>
        </p:txBody>
      </p:sp>
      <p:sp>
        <p:nvSpPr>
          <p:cNvPr id="7" name="Shape 386">
            <a:extLst>
              <a:ext uri="{FF2B5EF4-FFF2-40B4-BE49-F238E27FC236}">
                <a16:creationId xmlns:a16="http://schemas.microsoft.com/office/drawing/2014/main" id="{91533229-2683-D7CA-A442-DB003981A9A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069620" y="3419158"/>
            <a:ext cx="0" cy="261716"/>
          </a:xfrm>
          <a:prstGeom prst="line">
            <a:avLst/>
          </a:prstGeom>
          <a:noFill/>
          <a:ln w="63500">
            <a:solidFill>
              <a:schemeClr val="accent1"/>
            </a:solidFill>
            <a:miter lim="4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50800" tIns="50800" rIns="50800" bIns="50800" anchor="ctr"/>
          <a:lstStyle/>
          <a:p>
            <a:endParaRPr lang="en-US" sz="1400" dirty="0"/>
          </a:p>
        </p:txBody>
      </p:sp>
      <p:sp>
        <p:nvSpPr>
          <p:cNvPr id="8" name="Shape 387">
            <a:extLst>
              <a:ext uri="{FF2B5EF4-FFF2-40B4-BE49-F238E27FC236}">
                <a16:creationId xmlns:a16="http://schemas.microsoft.com/office/drawing/2014/main" id="{62A99A85-3B3E-53B1-0FFE-286873AC023C}"/>
              </a:ext>
            </a:extLst>
          </p:cNvPr>
          <p:cNvSpPr>
            <a:spLocks noChangeShapeType="1"/>
          </p:cNvSpPr>
          <p:nvPr/>
        </p:nvSpPr>
        <p:spPr bwMode="auto">
          <a:xfrm>
            <a:off x="904101" y="4862155"/>
            <a:ext cx="2332988" cy="1"/>
          </a:xfrm>
          <a:prstGeom prst="line">
            <a:avLst/>
          </a:prstGeom>
          <a:noFill/>
          <a:ln w="63500">
            <a:solidFill>
              <a:schemeClr val="accent1"/>
            </a:solidFill>
            <a:miter lim="4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50800" tIns="50800" rIns="50800" bIns="50800" anchor="ctr"/>
          <a:lstStyle/>
          <a:p>
            <a:endParaRPr lang="en-US" sz="1400" dirty="0"/>
          </a:p>
        </p:txBody>
      </p:sp>
      <p:sp>
        <p:nvSpPr>
          <p:cNvPr id="9" name="Shape 388">
            <a:extLst>
              <a:ext uri="{FF2B5EF4-FFF2-40B4-BE49-F238E27FC236}">
                <a16:creationId xmlns:a16="http://schemas.microsoft.com/office/drawing/2014/main" id="{222390A7-653C-834F-21BA-EBDFF8DDE94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08020" y="3682619"/>
            <a:ext cx="935357" cy="935317"/>
          </a:xfrm>
          <a:prstGeom prst="ellipse">
            <a:avLst/>
          </a:prstGeom>
          <a:noFill/>
          <a:ln w="63500">
            <a:solidFill>
              <a:schemeClr val="accent1"/>
            </a:solidFill>
            <a:miter lim="4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50800" tIns="50800" rIns="50800" bIns="50800" anchor="ctr"/>
          <a:lstStyle>
            <a:lvl1pPr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1pPr>
            <a:lvl2pPr marL="742950" indent="-285750"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2pPr>
            <a:lvl3pPr marL="1143000" indent="-228600"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3pPr>
            <a:lvl4pPr marL="1600200" indent="-228600"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4pPr>
            <a:lvl5pPr marL="2057400" indent="-228600"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5pPr>
            <a:lvl6pPr marL="25146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6pPr>
            <a:lvl7pPr marL="29718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7pPr>
            <a:lvl8pPr marL="34290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8pPr>
            <a:lvl9pPr marL="38862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9pPr>
          </a:lstStyle>
          <a:p>
            <a:pPr algn="ctr" eaLnBrk="1"/>
            <a:endParaRPr lang="en-US" altLang="en-US" sz="2400" dirty="0">
              <a:solidFill>
                <a:srgbClr val="FFFFFF"/>
              </a:solidFill>
              <a:latin typeface="+mn-lt"/>
              <a:cs typeface="Poppins" pitchFamily="2" charset="77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F2F87E7-3E78-4375-C21B-996EBBAD3894}"/>
              </a:ext>
            </a:extLst>
          </p:cNvPr>
          <p:cNvSpPr/>
          <p:nvPr/>
        </p:nvSpPr>
        <p:spPr>
          <a:xfrm flipH="1">
            <a:off x="1238182" y="2275327"/>
            <a:ext cx="169250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  <a:ea typeface="Roboto Medium" panose="02000000000000000000" pitchFamily="2" charset="0"/>
                <a:cs typeface="Poppins" pitchFamily="2" charset="77"/>
              </a:rPr>
              <a:t>Header</a:t>
            </a:r>
            <a:endParaRPr lang="en-US" sz="4400" b="1" dirty="0">
              <a:solidFill>
                <a:schemeClr val="bg1"/>
              </a:solidFill>
              <a:ea typeface="Roboto Medium" panose="02000000000000000000" pitchFamily="2" charset="0"/>
              <a:cs typeface="Poppins" pitchFamily="2" charset="77"/>
            </a:endParaRPr>
          </a:p>
        </p:txBody>
      </p:sp>
      <p:sp>
        <p:nvSpPr>
          <p:cNvPr id="11" name="Text Box 37">
            <a:extLst>
              <a:ext uri="{FF2B5EF4-FFF2-40B4-BE49-F238E27FC236}">
                <a16:creationId xmlns:a16="http://schemas.microsoft.com/office/drawing/2014/main" id="{3B029B31-802B-ECF3-72A3-0EBE8CFA5C87}"/>
              </a:ext>
            </a:extLst>
          </p:cNvPr>
          <p:cNvSpPr txBox="1">
            <a:spLocks/>
          </p:cNvSpPr>
          <p:nvPr/>
        </p:nvSpPr>
        <p:spPr bwMode="auto">
          <a:xfrm>
            <a:off x="1501631" y="3867353"/>
            <a:ext cx="1148135" cy="5950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50800" tIns="50800" rIns="50800" bIns="50800" anchor="ctr">
            <a:spAutoFit/>
          </a:bodyPr>
          <a:lstStyle/>
          <a:p>
            <a:pPr algn="ctr"/>
            <a:r>
              <a:rPr lang="en-US" altLang="en-US" sz="3200" b="1" dirty="0">
                <a:solidFill>
                  <a:schemeClr val="accent1"/>
                </a:solidFill>
                <a:ea typeface="Roboto Medium" panose="02000000000000000000" pitchFamily="2" charset="0"/>
                <a:cs typeface="Arial" panose="020B0604020202020204" pitchFamily="34" charset="0"/>
                <a:sym typeface="Arial" panose="020B0604020202020204" pitchFamily="34" charset="0"/>
              </a:rPr>
              <a:t>1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EA21A40-4293-CEE3-4E1B-D9E6177DBA5E}"/>
              </a:ext>
            </a:extLst>
          </p:cNvPr>
          <p:cNvSpPr txBox="1"/>
          <p:nvPr/>
        </p:nvSpPr>
        <p:spPr>
          <a:xfrm flipH="1">
            <a:off x="960189" y="4975743"/>
            <a:ext cx="22188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ea typeface="Lato Light" panose="020F0502020204030203" pitchFamily="34" charset="0"/>
                <a:cs typeface="Lato Light" panose="020F0502020204030203" pitchFamily="34" charset="0"/>
              </a:rPr>
              <a:t>Text </a:t>
            </a:r>
            <a:r>
              <a:rPr lang="en-US" sz="20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20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20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20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20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20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20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20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20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20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20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20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20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20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20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20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13" name="Shape 386">
            <a:extLst>
              <a:ext uri="{FF2B5EF4-FFF2-40B4-BE49-F238E27FC236}">
                <a16:creationId xmlns:a16="http://schemas.microsoft.com/office/drawing/2014/main" id="{DDA8D721-F4A9-5E34-821F-0754C550D123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069620" y="4606261"/>
            <a:ext cx="0" cy="261716"/>
          </a:xfrm>
          <a:prstGeom prst="line">
            <a:avLst/>
          </a:prstGeom>
          <a:noFill/>
          <a:ln w="63500">
            <a:solidFill>
              <a:schemeClr val="accent1"/>
            </a:solidFill>
            <a:miter lim="4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50800" tIns="50800" rIns="50800" bIns="50800" anchor="ctr"/>
          <a:lstStyle/>
          <a:p>
            <a:endParaRPr lang="en-US" sz="1400" dirty="0"/>
          </a:p>
        </p:txBody>
      </p:sp>
      <p:sp>
        <p:nvSpPr>
          <p:cNvPr id="14" name="Shape 384">
            <a:extLst>
              <a:ext uri="{FF2B5EF4-FFF2-40B4-BE49-F238E27FC236}">
                <a16:creationId xmlns:a16="http://schemas.microsoft.com/office/drawing/2014/main" id="{D0214AA0-B9E2-12E0-7246-BA7B6F5D4E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22297" y="1652238"/>
            <a:ext cx="1545293" cy="154522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50800" tIns="50800" rIns="50800" bIns="50800" anchor="ctr"/>
          <a:lstStyle>
            <a:lvl1pPr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1pPr>
            <a:lvl2pPr marL="742950" indent="-285750"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2pPr>
            <a:lvl3pPr marL="1143000" indent="-228600"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3pPr>
            <a:lvl4pPr marL="1600200" indent="-228600"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4pPr>
            <a:lvl5pPr marL="2057400" indent="-228600"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5pPr>
            <a:lvl6pPr marL="25146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6pPr>
            <a:lvl7pPr marL="29718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7pPr>
            <a:lvl8pPr marL="34290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8pPr>
            <a:lvl9pPr marL="38862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9pPr>
          </a:lstStyle>
          <a:p>
            <a:pPr algn="ctr" eaLnBrk="1"/>
            <a:endParaRPr lang="en-US" altLang="en-US" sz="2400" dirty="0">
              <a:solidFill>
                <a:srgbClr val="FFFFFF"/>
              </a:solidFill>
              <a:latin typeface="+mn-lt"/>
              <a:cs typeface="Poppins" pitchFamily="2" charset="77"/>
            </a:endParaRPr>
          </a:p>
        </p:txBody>
      </p:sp>
      <p:sp>
        <p:nvSpPr>
          <p:cNvPr id="15" name="Shape 385">
            <a:extLst>
              <a:ext uri="{FF2B5EF4-FFF2-40B4-BE49-F238E27FC236}">
                <a16:creationId xmlns:a16="http://schemas.microsoft.com/office/drawing/2014/main" id="{7644BEAA-DE48-4F65-D114-652F747B5F5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98689" y="1428638"/>
            <a:ext cx="1992510" cy="1992426"/>
          </a:xfrm>
          <a:prstGeom prst="ellipse">
            <a:avLst/>
          </a:prstGeom>
          <a:noFill/>
          <a:ln w="63500">
            <a:solidFill>
              <a:schemeClr val="accent2"/>
            </a:solidFill>
            <a:miter lim="4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50800" tIns="50800" rIns="50800" bIns="50800" anchor="ctr"/>
          <a:lstStyle>
            <a:lvl1pPr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1pPr>
            <a:lvl2pPr marL="742950" indent="-285750"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2pPr>
            <a:lvl3pPr marL="1143000" indent="-228600"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3pPr>
            <a:lvl4pPr marL="1600200" indent="-228600"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4pPr>
            <a:lvl5pPr marL="2057400" indent="-228600"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5pPr>
            <a:lvl6pPr marL="25146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6pPr>
            <a:lvl7pPr marL="29718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7pPr>
            <a:lvl8pPr marL="34290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8pPr>
            <a:lvl9pPr marL="38862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9pPr>
          </a:lstStyle>
          <a:p>
            <a:pPr algn="ctr" eaLnBrk="1"/>
            <a:endParaRPr lang="en-US" altLang="en-US" sz="2400" dirty="0">
              <a:solidFill>
                <a:srgbClr val="FFFFFF"/>
              </a:solidFill>
              <a:latin typeface="+mn-lt"/>
              <a:cs typeface="Poppins" pitchFamily="2" charset="77"/>
            </a:endParaRPr>
          </a:p>
        </p:txBody>
      </p:sp>
      <p:sp>
        <p:nvSpPr>
          <p:cNvPr id="16" name="Shape 386">
            <a:extLst>
              <a:ext uri="{FF2B5EF4-FFF2-40B4-BE49-F238E27FC236}">
                <a16:creationId xmlns:a16="http://schemas.microsoft.com/office/drawing/2014/main" id="{E405C5F7-BC50-4E46-D8A8-2CE6660E0FA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693969" y="3419158"/>
            <a:ext cx="0" cy="261716"/>
          </a:xfrm>
          <a:prstGeom prst="line">
            <a:avLst/>
          </a:prstGeom>
          <a:noFill/>
          <a:ln w="63500">
            <a:solidFill>
              <a:schemeClr val="accent2"/>
            </a:solidFill>
            <a:miter lim="4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50800" tIns="50800" rIns="50800" bIns="50800" anchor="ctr"/>
          <a:lstStyle/>
          <a:p>
            <a:endParaRPr lang="en-US" sz="1400" dirty="0"/>
          </a:p>
        </p:txBody>
      </p:sp>
      <p:sp>
        <p:nvSpPr>
          <p:cNvPr id="17" name="Shape 387">
            <a:extLst>
              <a:ext uri="{FF2B5EF4-FFF2-40B4-BE49-F238E27FC236}">
                <a16:creationId xmlns:a16="http://schemas.microsoft.com/office/drawing/2014/main" id="{937138B2-826A-6407-CA76-FDF3C4B45967}"/>
              </a:ext>
            </a:extLst>
          </p:cNvPr>
          <p:cNvSpPr>
            <a:spLocks noChangeShapeType="1"/>
          </p:cNvSpPr>
          <p:nvPr/>
        </p:nvSpPr>
        <p:spPr bwMode="auto">
          <a:xfrm>
            <a:off x="3528450" y="4862155"/>
            <a:ext cx="2332988" cy="1"/>
          </a:xfrm>
          <a:prstGeom prst="line">
            <a:avLst/>
          </a:prstGeom>
          <a:noFill/>
          <a:ln w="63500">
            <a:solidFill>
              <a:schemeClr val="accent2"/>
            </a:solidFill>
            <a:miter lim="4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50800" tIns="50800" rIns="50800" bIns="50800" anchor="ctr"/>
          <a:lstStyle/>
          <a:p>
            <a:endParaRPr lang="en-US" sz="1400" dirty="0"/>
          </a:p>
        </p:txBody>
      </p:sp>
      <p:sp>
        <p:nvSpPr>
          <p:cNvPr id="18" name="Shape 388">
            <a:extLst>
              <a:ext uri="{FF2B5EF4-FFF2-40B4-BE49-F238E27FC236}">
                <a16:creationId xmlns:a16="http://schemas.microsoft.com/office/drawing/2014/main" id="{4F67A849-9F54-8F77-4A7E-A8CD339EA5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32369" y="3682619"/>
            <a:ext cx="935357" cy="935317"/>
          </a:xfrm>
          <a:prstGeom prst="ellipse">
            <a:avLst/>
          </a:prstGeom>
          <a:noFill/>
          <a:ln w="63500">
            <a:solidFill>
              <a:schemeClr val="accent2"/>
            </a:solidFill>
            <a:miter lim="4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50800" tIns="50800" rIns="50800" bIns="50800" anchor="ctr"/>
          <a:lstStyle>
            <a:lvl1pPr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1pPr>
            <a:lvl2pPr marL="742950" indent="-285750"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2pPr>
            <a:lvl3pPr marL="1143000" indent="-228600"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3pPr>
            <a:lvl4pPr marL="1600200" indent="-228600"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4pPr>
            <a:lvl5pPr marL="2057400" indent="-228600"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5pPr>
            <a:lvl6pPr marL="25146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6pPr>
            <a:lvl7pPr marL="29718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7pPr>
            <a:lvl8pPr marL="34290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8pPr>
            <a:lvl9pPr marL="38862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9pPr>
          </a:lstStyle>
          <a:p>
            <a:pPr algn="ctr" eaLnBrk="1"/>
            <a:endParaRPr lang="en-US" altLang="en-US" sz="2400" dirty="0">
              <a:solidFill>
                <a:srgbClr val="FFFFFF"/>
              </a:solidFill>
              <a:latin typeface="+mn-lt"/>
              <a:cs typeface="Poppins" pitchFamily="2" charset="77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E0E5A05-4FCC-D71B-BF78-A2762C5901A2}"/>
              </a:ext>
            </a:extLst>
          </p:cNvPr>
          <p:cNvSpPr/>
          <p:nvPr/>
        </p:nvSpPr>
        <p:spPr>
          <a:xfrm flipH="1">
            <a:off x="3862531" y="2275327"/>
            <a:ext cx="169250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  <a:ea typeface="Roboto Medium" panose="02000000000000000000" pitchFamily="2" charset="0"/>
                <a:cs typeface="Poppins" pitchFamily="2" charset="77"/>
              </a:rPr>
              <a:t>Header</a:t>
            </a:r>
            <a:endParaRPr lang="en-US" sz="4400" b="1" dirty="0">
              <a:solidFill>
                <a:schemeClr val="bg1"/>
              </a:solidFill>
              <a:ea typeface="Roboto Medium" panose="02000000000000000000" pitchFamily="2" charset="0"/>
              <a:cs typeface="Poppins" pitchFamily="2" charset="77"/>
            </a:endParaRPr>
          </a:p>
        </p:txBody>
      </p:sp>
      <p:sp>
        <p:nvSpPr>
          <p:cNvPr id="20" name="Text Box 37">
            <a:extLst>
              <a:ext uri="{FF2B5EF4-FFF2-40B4-BE49-F238E27FC236}">
                <a16:creationId xmlns:a16="http://schemas.microsoft.com/office/drawing/2014/main" id="{E2C05CE6-9DE8-38A0-592E-55D94F6DD10F}"/>
              </a:ext>
            </a:extLst>
          </p:cNvPr>
          <p:cNvSpPr txBox="1">
            <a:spLocks/>
          </p:cNvSpPr>
          <p:nvPr/>
        </p:nvSpPr>
        <p:spPr bwMode="auto">
          <a:xfrm>
            <a:off x="4125980" y="3867353"/>
            <a:ext cx="1148135" cy="5950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50800" tIns="50800" rIns="50800" bIns="50800" anchor="ctr">
            <a:spAutoFit/>
          </a:bodyPr>
          <a:lstStyle/>
          <a:p>
            <a:pPr algn="ctr"/>
            <a:r>
              <a:rPr lang="en-US" altLang="en-US" sz="3200" b="1" dirty="0">
                <a:solidFill>
                  <a:schemeClr val="accent2"/>
                </a:solidFill>
                <a:ea typeface="Roboto Medium" panose="02000000000000000000" pitchFamily="2" charset="0"/>
                <a:cs typeface="Arial" panose="020B0604020202020204" pitchFamily="34" charset="0"/>
                <a:sym typeface="Arial" panose="020B0604020202020204" pitchFamily="34" charset="0"/>
              </a:rPr>
              <a:t>2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17FF205-03FD-C5A5-C5FE-8333BBBC0738}"/>
              </a:ext>
            </a:extLst>
          </p:cNvPr>
          <p:cNvSpPr txBox="1"/>
          <p:nvPr/>
        </p:nvSpPr>
        <p:spPr>
          <a:xfrm flipH="1">
            <a:off x="3584538" y="4975744"/>
            <a:ext cx="22188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ea typeface="Lato Light" panose="020F0502020204030203" pitchFamily="34" charset="0"/>
                <a:cs typeface="Lato Light" panose="020F0502020204030203" pitchFamily="34" charset="0"/>
              </a:rPr>
              <a:t>Text </a:t>
            </a:r>
            <a:r>
              <a:rPr lang="en-US" sz="20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20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20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20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20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20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20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20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20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20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20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20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20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20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20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20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22" name="Shape 386">
            <a:extLst>
              <a:ext uri="{FF2B5EF4-FFF2-40B4-BE49-F238E27FC236}">
                <a16:creationId xmlns:a16="http://schemas.microsoft.com/office/drawing/2014/main" id="{420B96B2-B26A-E714-19E0-6AA71C794B9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693969" y="4606261"/>
            <a:ext cx="0" cy="261716"/>
          </a:xfrm>
          <a:prstGeom prst="line">
            <a:avLst/>
          </a:prstGeom>
          <a:noFill/>
          <a:ln w="63500">
            <a:solidFill>
              <a:schemeClr val="accent2"/>
            </a:solidFill>
            <a:miter lim="4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50800" tIns="50800" rIns="50800" bIns="50800" anchor="ctr"/>
          <a:lstStyle/>
          <a:p>
            <a:endParaRPr lang="en-US" sz="1400" dirty="0"/>
          </a:p>
        </p:txBody>
      </p:sp>
      <p:sp>
        <p:nvSpPr>
          <p:cNvPr id="23" name="Shape 384">
            <a:extLst>
              <a:ext uri="{FF2B5EF4-FFF2-40B4-BE49-F238E27FC236}">
                <a16:creationId xmlns:a16="http://schemas.microsoft.com/office/drawing/2014/main" id="{55BAEE2C-3E2F-EAE0-2B55-A48355CEB2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87633" y="1652238"/>
            <a:ext cx="1545293" cy="1545226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50800" tIns="50800" rIns="50800" bIns="50800" anchor="ctr"/>
          <a:lstStyle>
            <a:lvl1pPr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1pPr>
            <a:lvl2pPr marL="742950" indent="-285750"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2pPr>
            <a:lvl3pPr marL="1143000" indent="-228600"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3pPr>
            <a:lvl4pPr marL="1600200" indent="-228600"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4pPr>
            <a:lvl5pPr marL="2057400" indent="-228600"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5pPr>
            <a:lvl6pPr marL="25146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6pPr>
            <a:lvl7pPr marL="29718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7pPr>
            <a:lvl8pPr marL="34290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8pPr>
            <a:lvl9pPr marL="38862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9pPr>
          </a:lstStyle>
          <a:p>
            <a:pPr algn="ctr" eaLnBrk="1"/>
            <a:endParaRPr lang="en-US" altLang="en-US" sz="2400" dirty="0">
              <a:solidFill>
                <a:srgbClr val="FFFFFF"/>
              </a:solidFill>
              <a:latin typeface="+mn-lt"/>
              <a:cs typeface="Poppins" pitchFamily="2" charset="77"/>
            </a:endParaRPr>
          </a:p>
        </p:txBody>
      </p:sp>
      <p:sp>
        <p:nvSpPr>
          <p:cNvPr id="24" name="Shape 385">
            <a:extLst>
              <a:ext uri="{FF2B5EF4-FFF2-40B4-BE49-F238E27FC236}">
                <a16:creationId xmlns:a16="http://schemas.microsoft.com/office/drawing/2014/main" id="{32DDE999-B32A-87FB-5DE9-52E6CFC128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64025" y="1428638"/>
            <a:ext cx="1992510" cy="1992426"/>
          </a:xfrm>
          <a:prstGeom prst="ellipse">
            <a:avLst/>
          </a:prstGeom>
          <a:noFill/>
          <a:ln w="63500">
            <a:solidFill>
              <a:schemeClr val="accent3"/>
            </a:solidFill>
            <a:miter lim="4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50800" tIns="50800" rIns="50800" bIns="50800" anchor="ctr"/>
          <a:lstStyle>
            <a:lvl1pPr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1pPr>
            <a:lvl2pPr marL="742950" indent="-285750"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2pPr>
            <a:lvl3pPr marL="1143000" indent="-228600"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3pPr>
            <a:lvl4pPr marL="1600200" indent="-228600"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4pPr>
            <a:lvl5pPr marL="2057400" indent="-228600"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5pPr>
            <a:lvl6pPr marL="25146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6pPr>
            <a:lvl7pPr marL="29718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7pPr>
            <a:lvl8pPr marL="34290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8pPr>
            <a:lvl9pPr marL="38862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9pPr>
          </a:lstStyle>
          <a:p>
            <a:pPr algn="ctr" eaLnBrk="1"/>
            <a:endParaRPr lang="en-US" altLang="en-US" sz="2400" dirty="0">
              <a:solidFill>
                <a:srgbClr val="FFFFFF"/>
              </a:solidFill>
              <a:latin typeface="+mn-lt"/>
              <a:cs typeface="Poppins" pitchFamily="2" charset="77"/>
            </a:endParaRPr>
          </a:p>
        </p:txBody>
      </p:sp>
      <p:sp>
        <p:nvSpPr>
          <p:cNvPr id="25" name="Shape 386">
            <a:extLst>
              <a:ext uri="{FF2B5EF4-FFF2-40B4-BE49-F238E27FC236}">
                <a16:creationId xmlns:a16="http://schemas.microsoft.com/office/drawing/2014/main" id="{166BFCDC-2E1B-06A5-5736-CCE8C2626BB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259306" y="3419158"/>
            <a:ext cx="0" cy="261716"/>
          </a:xfrm>
          <a:prstGeom prst="line">
            <a:avLst/>
          </a:prstGeom>
          <a:noFill/>
          <a:ln w="63500">
            <a:solidFill>
              <a:schemeClr val="accent3"/>
            </a:solidFill>
            <a:miter lim="4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50800" tIns="50800" rIns="50800" bIns="50800" anchor="ctr"/>
          <a:lstStyle/>
          <a:p>
            <a:endParaRPr lang="en-US" sz="1400" dirty="0"/>
          </a:p>
        </p:txBody>
      </p:sp>
      <p:sp>
        <p:nvSpPr>
          <p:cNvPr id="26" name="Shape 387">
            <a:extLst>
              <a:ext uri="{FF2B5EF4-FFF2-40B4-BE49-F238E27FC236}">
                <a16:creationId xmlns:a16="http://schemas.microsoft.com/office/drawing/2014/main" id="{4C4EF4A8-E93B-005A-DF9B-410D6D5D8AF7}"/>
              </a:ext>
            </a:extLst>
          </p:cNvPr>
          <p:cNvSpPr>
            <a:spLocks noChangeShapeType="1"/>
          </p:cNvSpPr>
          <p:nvPr/>
        </p:nvSpPr>
        <p:spPr bwMode="auto">
          <a:xfrm>
            <a:off x="6093786" y="4862155"/>
            <a:ext cx="2332988" cy="1"/>
          </a:xfrm>
          <a:prstGeom prst="line">
            <a:avLst/>
          </a:prstGeom>
          <a:noFill/>
          <a:ln w="63500">
            <a:solidFill>
              <a:schemeClr val="accent3"/>
            </a:solidFill>
            <a:miter lim="4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50800" tIns="50800" rIns="50800" bIns="50800" anchor="ctr"/>
          <a:lstStyle/>
          <a:p>
            <a:endParaRPr lang="en-US" sz="1400" dirty="0"/>
          </a:p>
        </p:txBody>
      </p:sp>
      <p:sp>
        <p:nvSpPr>
          <p:cNvPr id="27" name="Shape 388">
            <a:extLst>
              <a:ext uri="{FF2B5EF4-FFF2-40B4-BE49-F238E27FC236}">
                <a16:creationId xmlns:a16="http://schemas.microsoft.com/office/drawing/2014/main" id="{F6F40878-9DB6-31DF-6C81-6E35DB4CDC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97706" y="3682619"/>
            <a:ext cx="935357" cy="935317"/>
          </a:xfrm>
          <a:prstGeom prst="ellipse">
            <a:avLst/>
          </a:prstGeom>
          <a:noFill/>
          <a:ln w="63500">
            <a:solidFill>
              <a:schemeClr val="accent3"/>
            </a:solidFill>
            <a:miter lim="4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50800" tIns="50800" rIns="50800" bIns="50800" anchor="ctr"/>
          <a:lstStyle>
            <a:lvl1pPr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1pPr>
            <a:lvl2pPr marL="742950" indent="-285750"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2pPr>
            <a:lvl3pPr marL="1143000" indent="-228600"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3pPr>
            <a:lvl4pPr marL="1600200" indent="-228600"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4pPr>
            <a:lvl5pPr marL="2057400" indent="-228600"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5pPr>
            <a:lvl6pPr marL="25146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6pPr>
            <a:lvl7pPr marL="29718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7pPr>
            <a:lvl8pPr marL="34290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8pPr>
            <a:lvl9pPr marL="38862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9pPr>
          </a:lstStyle>
          <a:p>
            <a:pPr algn="ctr" eaLnBrk="1"/>
            <a:endParaRPr lang="en-US" altLang="en-US" sz="2400" dirty="0">
              <a:solidFill>
                <a:srgbClr val="FFFFFF"/>
              </a:solidFill>
              <a:latin typeface="+mn-lt"/>
              <a:cs typeface="Poppins" pitchFamily="2" charset="77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0B9F1F0C-4668-B01B-4D0C-E499AB77A4A4}"/>
              </a:ext>
            </a:extLst>
          </p:cNvPr>
          <p:cNvSpPr/>
          <p:nvPr/>
        </p:nvSpPr>
        <p:spPr>
          <a:xfrm flipH="1">
            <a:off x="6427867" y="2275327"/>
            <a:ext cx="169250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  <a:ea typeface="Roboto Medium" panose="02000000000000000000" pitchFamily="2" charset="0"/>
                <a:cs typeface="Poppins" pitchFamily="2" charset="77"/>
              </a:rPr>
              <a:t>Header</a:t>
            </a:r>
            <a:endParaRPr lang="en-US" sz="4400" b="1" dirty="0">
              <a:solidFill>
                <a:schemeClr val="bg1"/>
              </a:solidFill>
              <a:ea typeface="Roboto Medium" panose="02000000000000000000" pitchFamily="2" charset="0"/>
              <a:cs typeface="Poppins" pitchFamily="2" charset="77"/>
            </a:endParaRPr>
          </a:p>
        </p:txBody>
      </p:sp>
      <p:sp>
        <p:nvSpPr>
          <p:cNvPr id="29" name="Text Box 37">
            <a:extLst>
              <a:ext uri="{FF2B5EF4-FFF2-40B4-BE49-F238E27FC236}">
                <a16:creationId xmlns:a16="http://schemas.microsoft.com/office/drawing/2014/main" id="{9CE2F8A3-021D-D673-5066-292673D31424}"/>
              </a:ext>
            </a:extLst>
          </p:cNvPr>
          <p:cNvSpPr txBox="1">
            <a:spLocks/>
          </p:cNvSpPr>
          <p:nvPr/>
        </p:nvSpPr>
        <p:spPr bwMode="auto">
          <a:xfrm>
            <a:off x="6691317" y="3867353"/>
            <a:ext cx="1148135" cy="5950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50800" tIns="50800" rIns="50800" bIns="50800" anchor="ctr">
            <a:spAutoFit/>
          </a:bodyPr>
          <a:lstStyle/>
          <a:p>
            <a:pPr algn="ctr"/>
            <a:r>
              <a:rPr lang="en-US" altLang="en-US" sz="3200" b="1" dirty="0">
                <a:solidFill>
                  <a:schemeClr val="accent3"/>
                </a:solidFill>
                <a:ea typeface="Roboto Medium" panose="02000000000000000000" pitchFamily="2" charset="0"/>
                <a:cs typeface="Arial" panose="020B0604020202020204" pitchFamily="34" charset="0"/>
                <a:sym typeface="Arial" panose="020B0604020202020204" pitchFamily="34" charset="0"/>
              </a:rPr>
              <a:t>3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EBBE6798-E486-C0F6-619C-A737309D9F00}"/>
              </a:ext>
            </a:extLst>
          </p:cNvPr>
          <p:cNvSpPr txBox="1"/>
          <p:nvPr/>
        </p:nvSpPr>
        <p:spPr>
          <a:xfrm flipH="1">
            <a:off x="6149875" y="4975743"/>
            <a:ext cx="22188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ea typeface="Lato Light" panose="020F0502020204030203" pitchFamily="34" charset="0"/>
                <a:cs typeface="Lato Light" panose="020F0502020204030203" pitchFamily="34" charset="0"/>
              </a:rPr>
              <a:t>Text </a:t>
            </a:r>
            <a:r>
              <a:rPr lang="en-US" sz="20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20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20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20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20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20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20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20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20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20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20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20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20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20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20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20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31" name="Shape 386">
            <a:extLst>
              <a:ext uri="{FF2B5EF4-FFF2-40B4-BE49-F238E27FC236}">
                <a16:creationId xmlns:a16="http://schemas.microsoft.com/office/drawing/2014/main" id="{1F6DD436-3A31-F8D3-F52B-73012A9EF2D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259306" y="4606261"/>
            <a:ext cx="0" cy="261716"/>
          </a:xfrm>
          <a:prstGeom prst="line">
            <a:avLst/>
          </a:prstGeom>
          <a:noFill/>
          <a:ln w="63500">
            <a:solidFill>
              <a:schemeClr val="accent3"/>
            </a:solidFill>
            <a:miter lim="4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50800" tIns="50800" rIns="50800" bIns="50800" anchor="ctr"/>
          <a:lstStyle/>
          <a:p>
            <a:endParaRPr lang="en-US" sz="1400" dirty="0"/>
          </a:p>
        </p:txBody>
      </p:sp>
      <p:sp>
        <p:nvSpPr>
          <p:cNvPr id="32" name="Shape 384">
            <a:extLst>
              <a:ext uri="{FF2B5EF4-FFF2-40B4-BE49-F238E27FC236}">
                <a16:creationId xmlns:a16="http://schemas.microsoft.com/office/drawing/2014/main" id="{45B6B646-7BCA-51D1-CAA9-C0A1BDF503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11982" y="1652238"/>
            <a:ext cx="1545293" cy="1545226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50800" tIns="50800" rIns="50800" bIns="50800" anchor="ctr"/>
          <a:lstStyle>
            <a:lvl1pPr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1pPr>
            <a:lvl2pPr marL="742950" indent="-285750"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2pPr>
            <a:lvl3pPr marL="1143000" indent="-228600"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3pPr>
            <a:lvl4pPr marL="1600200" indent="-228600"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4pPr>
            <a:lvl5pPr marL="2057400" indent="-228600"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5pPr>
            <a:lvl6pPr marL="25146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6pPr>
            <a:lvl7pPr marL="29718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7pPr>
            <a:lvl8pPr marL="34290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8pPr>
            <a:lvl9pPr marL="38862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9pPr>
          </a:lstStyle>
          <a:p>
            <a:pPr algn="ctr" eaLnBrk="1"/>
            <a:endParaRPr lang="en-US" altLang="en-US" sz="2400" dirty="0">
              <a:solidFill>
                <a:srgbClr val="FFFFFF"/>
              </a:solidFill>
              <a:latin typeface="+mn-lt"/>
              <a:cs typeface="Poppins" pitchFamily="2" charset="77"/>
            </a:endParaRPr>
          </a:p>
        </p:txBody>
      </p:sp>
      <p:sp>
        <p:nvSpPr>
          <p:cNvPr id="33" name="Shape 385">
            <a:extLst>
              <a:ext uri="{FF2B5EF4-FFF2-40B4-BE49-F238E27FC236}">
                <a16:creationId xmlns:a16="http://schemas.microsoft.com/office/drawing/2014/main" id="{1D5F0C71-9B61-0260-4833-9552EB3947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88374" y="1428638"/>
            <a:ext cx="1992510" cy="1992426"/>
          </a:xfrm>
          <a:prstGeom prst="ellipse">
            <a:avLst/>
          </a:prstGeom>
          <a:noFill/>
          <a:ln w="63500">
            <a:solidFill>
              <a:schemeClr val="accent4"/>
            </a:solidFill>
            <a:miter lim="4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50800" tIns="50800" rIns="50800" bIns="50800" anchor="ctr"/>
          <a:lstStyle>
            <a:lvl1pPr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1pPr>
            <a:lvl2pPr marL="742950" indent="-285750"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2pPr>
            <a:lvl3pPr marL="1143000" indent="-228600"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3pPr>
            <a:lvl4pPr marL="1600200" indent="-228600"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4pPr>
            <a:lvl5pPr marL="2057400" indent="-228600"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5pPr>
            <a:lvl6pPr marL="25146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6pPr>
            <a:lvl7pPr marL="29718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7pPr>
            <a:lvl8pPr marL="34290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8pPr>
            <a:lvl9pPr marL="38862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9pPr>
          </a:lstStyle>
          <a:p>
            <a:pPr algn="ctr" eaLnBrk="1"/>
            <a:endParaRPr lang="en-US" altLang="en-US" sz="2400" dirty="0">
              <a:solidFill>
                <a:srgbClr val="FFFFFF"/>
              </a:solidFill>
              <a:latin typeface="+mn-lt"/>
              <a:cs typeface="Poppins" pitchFamily="2" charset="77"/>
            </a:endParaRPr>
          </a:p>
        </p:txBody>
      </p:sp>
      <p:sp>
        <p:nvSpPr>
          <p:cNvPr id="34" name="Shape 386">
            <a:extLst>
              <a:ext uri="{FF2B5EF4-FFF2-40B4-BE49-F238E27FC236}">
                <a16:creationId xmlns:a16="http://schemas.microsoft.com/office/drawing/2014/main" id="{AF01144F-CBDF-60CF-A7A5-E962BD46101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9883654" y="3419158"/>
            <a:ext cx="0" cy="261716"/>
          </a:xfrm>
          <a:prstGeom prst="line">
            <a:avLst/>
          </a:prstGeom>
          <a:noFill/>
          <a:ln w="63500">
            <a:solidFill>
              <a:schemeClr val="accent4"/>
            </a:solidFill>
            <a:miter lim="4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50800" tIns="50800" rIns="50800" bIns="50800" anchor="ctr"/>
          <a:lstStyle/>
          <a:p>
            <a:endParaRPr lang="en-US" sz="1400" dirty="0"/>
          </a:p>
        </p:txBody>
      </p:sp>
      <p:sp>
        <p:nvSpPr>
          <p:cNvPr id="35" name="Shape 387">
            <a:extLst>
              <a:ext uri="{FF2B5EF4-FFF2-40B4-BE49-F238E27FC236}">
                <a16:creationId xmlns:a16="http://schemas.microsoft.com/office/drawing/2014/main" id="{23669775-2066-3489-36DD-996E42C576C5}"/>
              </a:ext>
            </a:extLst>
          </p:cNvPr>
          <p:cNvSpPr>
            <a:spLocks noChangeShapeType="1"/>
          </p:cNvSpPr>
          <p:nvPr/>
        </p:nvSpPr>
        <p:spPr bwMode="auto">
          <a:xfrm>
            <a:off x="8718135" y="4862155"/>
            <a:ext cx="2332988" cy="1"/>
          </a:xfrm>
          <a:prstGeom prst="line">
            <a:avLst/>
          </a:prstGeom>
          <a:noFill/>
          <a:ln w="63500">
            <a:solidFill>
              <a:schemeClr val="accent4"/>
            </a:solidFill>
            <a:miter lim="4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50800" tIns="50800" rIns="50800" bIns="50800" anchor="ctr"/>
          <a:lstStyle/>
          <a:p>
            <a:endParaRPr lang="en-US" sz="1400" dirty="0"/>
          </a:p>
        </p:txBody>
      </p:sp>
      <p:sp>
        <p:nvSpPr>
          <p:cNvPr id="36" name="Shape 388">
            <a:extLst>
              <a:ext uri="{FF2B5EF4-FFF2-40B4-BE49-F238E27FC236}">
                <a16:creationId xmlns:a16="http://schemas.microsoft.com/office/drawing/2014/main" id="{27D1AA81-A837-2B32-0AF9-ED514B41D1F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22055" y="3682619"/>
            <a:ext cx="935357" cy="935317"/>
          </a:xfrm>
          <a:prstGeom prst="ellipse">
            <a:avLst/>
          </a:prstGeom>
          <a:noFill/>
          <a:ln w="63500">
            <a:solidFill>
              <a:schemeClr val="accent4"/>
            </a:solidFill>
            <a:miter lim="4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50800" tIns="50800" rIns="50800" bIns="50800" anchor="ctr"/>
          <a:lstStyle>
            <a:lvl1pPr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1pPr>
            <a:lvl2pPr marL="742950" indent="-285750"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2pPr>
            <a:lvl3pPr marL="1143000" indent="-228600"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3pPr>
            <a:lvl4pPr marL="1600200" indent="-228600"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4pPr>
            <a:lvl5pPr marL="2057400" indent="-228600"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5pPr>
            <a:lvl6pPr marL="25146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6pPr>
            <a:lvl7pPr marL="29718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7pPr>
            <a:lvl8pPr marL="34290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8pPr>
            <a:lvl9pPr marL="38862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Helvetica Light" panose="020B0403020202020204" pitchFamily="34" charset="0"/>
                <a:sym typeface="Helvetica Light" panose="020B0403020202020204" pitchFamily="34" charset="0"/>
              </a:defRPr>
            </a:lvl9pPr>
          </a:lstStyle>
          <a:p>
            <a:pPr algn="ctr" eaLnBrk="1"/>
            <a:endParaRPr lang="en-US" altLang="en-US" sz="2400" dirty="0">
              <a:solidFill>
                <a:srgbClr val="FFFFFF"/>
              </a:solidFill>
              <a:latin typeface="+mn-lt"/>
              <a:cs typeface="Poppins" pitchFamily="2" charset="77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6BBD6FFB-04F1-61AB-7B0D-1C09F8C047F5}"/>
              </a:ext>
            </a:extLst>
          </p:cNvPr>
          <p:cNvSpPr/>
          <p:nvPr/>
        </p:nvSpPr>
        <p:spPr>
          <a:xfrm flipH="1">
            <a:off x="9052216" y="2275327"/>
            <a:ext cx="169250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  <a:ea typeface="Roboto Medium" panose="02000000000000000000" pitchFamily="2" charset="0"/>
                <a:cs typeface="Poppins" pitchFamily="2" charset="77"/>
              </a:rPr>
              <a:t>Header</a:t>
            </a:r>
            <a:endParaRPr lang="en-US" sz="4400" b="1" dirty="0">
              <a:solidFill>
                <a:schemeClr val="bg1"/>
              </a:solidFill>
              <a:ea typeface="Roboto Medium" panose="02000000000000000000" pitchFamily="2" charset="0"/>
              <a:cs typeface="Poppins" pitchFamily="2" charset="77"/>
            </a:endParaRPr>
          </a:p>
        </p:txBody>
      </p:sp>
      <p:sp>
        <p:nvSpPr>
          <p:cNvPr id="38" name="Text Box 37">
            <a:extLst>
              <a:ext uri="{FF2B5EF4-FFF2-40B4-BE49-F238E27FC236}">
                <a16:creationId xmlns:a16="http://schemas.microsoft.com/office/drawing/2014/main" id="{400C609E-36CC-77A8-DDFE-11B84E9D7AB2}"/>
              </a:ext>
            </a:extLst>
          </p:cNvPr>
          <p:cNvSpPr txBox="1">
            <a:spLocks/>
          </p:cNvSpPr>
          <p:nvPr/>
        </p:nvSpPr>
        <p:spPr bwMode="auto">
          <a:xfrm>
            <a:off x="9315666" y="3867353"/>
            <a:ext cx="1148135" cy="5950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50800" tIns="50800" rIns="50800" bIns="50800" anchor="ctr">
            <a:spAutoFit/>
          </a:bodyPr>
          <a:lstStyle/>
          <a:p>
            <a:pPr algn="ctr"/>
            <a:r>
              <a:rPr lang="en-US" altLang="en-US" sz="3200" b="1" dirty="0">
                <a:solidFill>
                  <a:schemeClr val="accent4"/>
                </a:solidFill>
                <a:ea typeface="Roboto Medium" panose="02000000000000000000" pitchFamily="2" charset="0"/>
                <a:cs typeface="Arial" panose="020B0604020202020204" pitchFamily="34" charset="0"/>
                <a:sym typeface="Arial" panose="020B0604020202020204" pitchFamily="34" charset="0"/>
              </a:rPr>
              <a:t>4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0C686DFD-7778-10AD-E80D-00B19DEAB342}"/>
              </a:ext>
            </a:extLst>
          </p:cNvPr>
          <p:cNvSpPr txBox="1"/>
          <p:nvPr/>
        </p:nvSpPr>
        <p:spPr>
          <a:xfrm flipH="1">
            <a:off x="8774224" y="4975743"/>
            <a:ext cx="22188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ea typeface="Lato Light" panose="020F0502020204030203" pitchFamily="34" charset="0"/>
                <a:cs typeface="Lato Light" panose="020F0502020204030203" pitchFamily="34" charset="0"/>
              </a:rPr>
              <a:t>Text </a:t>
            </a:r>
            <a:r>
              <a:rPr lang="en-US" sz="20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20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20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20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20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20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20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20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20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20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20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20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20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20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20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20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40" name="Shape 386">
            <a:extLst>
              <a:ext uri="{FF2B5EF4-FFF2-40B4-BE49-F238E27FC236}">
                <a16:creationId xmlns:a16="http://schemas.microsoft.com/office/drawing/2014/main" id="{56E9A5A1-5986-46CD-C73C-1B8947CDDB43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9883654" y="4606261"/>
            <a:ext cx="0" cy="261716"/>
          </a:xfrm>
          <a:prstGeom prst="line">
            <a:avLst/>
          </a:prstGeom>
          <a:noFill/>
          <a:ln w="63500">
            <a:solidFill>
              <a:schemeClr val="accent4"/>
            </a:solidFill>
            <a:miter lim="4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50800" tIns="50800" rIns="50800" bIns="50800" anchor="ctr"/>
          <a:lstStyle/>
          <a:p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84835532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970DF3-87B8-729F-F80C-68E8DE9510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think-cell data - do not delete" hidden="1">
            <a:extLst>
              <a:ext uri="{FF2B5EF4-FFF2-40B4-BE49-F238E27FC236}">
                <a16:creationId xmlns:a16="http://schemas.microsoft.com/office/drawing/2014/main" id="{7E6B0914-72DC-8A61-488F-6CBFDBEFAB1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953673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C40EFE7-164A-E52A-83AB-498885EE47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x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B9465FD-D446-E680-B299-FFDF6B2FFB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5" name="Block Arc 4">
            <a:extLst>
              <a:ext uri="{FF2B5EF4-FFF2-40B4-BE49-F238E27FC236}">
                <a16:creationId xmlns:a16="http://schemas.microsoft.com/office/drawing/2014/main" id="{9E8BDE9E-255C-405A-F50B-A9E129577418}"/>
              </a:ext>
            </a:extLst>
          </p:cNvPr>
          <p:cNvSpPr/>
          <p:nvPr/>
        </p:nvSpPr>
        <p:spPr>
          <a:xfrm>
            <a:off x="-6228581" y="205590"/>
            <a:ext cx="7293488" cy="7293488"/>
          </a:xfrm>
          <a:prstGeom prst="blockArc">
            <a:avLst>
              <a:gd name="adj1" fmla="val 18900000"/>
              <a:gd name="adj2" fmla="val 2700000"/>
              <a:gd name="adj3" fmla="val 296"/>
            </a:avLst>
          </a:prstGeom>
          <a:solidFill>
            <a:schemeClr val="accent1"/>
          </a:solidFill>
          <a:ln w="38100">
            <a:solidFill>
              <a:schemeClr val="accent6"/>
            </a:solidFill>
          </a:ln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E0BB1246-5C85-E5B0-4A91-951E622EF023}"/>
              </a:ext>
            </a:extLst>
          </p:cNvPr>
          <p:cNvSpPr>
            <a:spLocks noChangeAspect="1"/>
          </p:cNvSpPr>
          <p:nvPr/>
        </p:nvSpPr>
        <p:spPr>
          <a:xfrm>
            <a:off x="141181" y="1608667"/>
            <a:ext cx="735448" cy="73544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D3660454-A3D1-27CD-A342-6DEA302FD6F1}"/>
              </a:ext>
            </a:extLst>
          </p:cNvPr>
          <p:cNvSpPr>
            <a:spLocks noChangeAspect="1"/>
          </p:cNvSpPr>
          <p:nvPr/>
        </p:nvSpPr>
        <p:spPr>
          <a:xfrm>
            <a:off x="619107" y="2859295"/>
            <a:ext cx="735448" cy="7354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B780DA5A-676B-201F-A8B3-96B252147B38}"/>
              </a:ext>
            </a:extLst>
          </p:cNvPr>
          <p:cNvSpPr>
            <a:spLocks noChangeAspect="1"/>
          </p:cNvSpPr>
          <p:nvPr/>
        </p:nvSpPr>
        <p:spPr>
          <a:xfrm>
            <a:off x="619107" y="4109923"/>
            <a:ext cx="735448" cy="73544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68CB322F-4C44-6E0D-3BF1-DB1E6D5FE7E3}"/>
              </a:ext>
            </a:extLst>
          </p:cNvPr>
          <p:cNvSpPr>
            <a:spLocks noChangeAspect="1"/>
          </p:cNvSpPr>
          <p:nvPr/>
        </p:nvSpPr>
        <p:spPr>
          <a:xfrm>
            <a:off x="141181" y="5360552"/>
            <a:ext cx="735448" cy="735448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E4AEDF25-30FC-28CD-4A37-583AA07814D2}"/>
              </a:ext>
            </a:extLst>
          </p:cNvPr>
          <p:cNvSpPr>
            <a:spLocks noChangeAspect="1"/>
          </p:cNvSpPr>
          <p:nvPr/>
        </p:nvSpPr>
        <p:spPr>
          <a:xfrm>
            <a:off x="205001" y="1672487"/>
            <a:ext cx="607808" cy="60780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0D624535-C2EE-5337-9198-C85220D9C495}"/>
              </a:ext>
            </a:extLst>
          </p:cNvPr>
          <p:cNvSpPr>
            <a:spLocks noChangeAspect="1"/>
          </p:cNvSpPr>
          <p:nvPr/>
        </p:nvSpPr>
        <p:spPr>
          <a:xfrm>
            <a:off x="682927" y="2923115"/>
            <a:ext cx="607808" cy="60780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B1AAFBDD-13C9-924C-B73A-8DFB6E6532F0}"/>
              </a:ext>
            </a:extLst>
          </p:cNvPr>
          <p:cNvSpPr>
            <a:spLocks noChangeAspect="1"/>
          </p:cNvSpPr>
          <p:nvPr/>
        </p:nvSpPr>
        <p:spPr>
          <a:xfrm>
            <a:off x="682927" y="4173743"/>
            <a:ext cx="607808" cy="60780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D4CCB59D-AB03-2D2D-B31F-3371EE482C01}"/>
              </a:ext>
            </a:extLst>
          </p:cNvPr>
          <p:cNvSpPr>
            <a:spLocks noChangeAspect="1"/>
          </p:cNvSpPr>
          <p:nvPr/>
        </p:nvSpPr>
        <p:spPr>
          <a:xfrm>
            <a:off x="205001" y="5424372"/>
            <a:ext cx="607808" cy="60780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63333414-6FAA-9FD5-70B0-A45EC5D06E5C}"/>
              </a:ext>
            </a:extLst>
          </p:cNvPr>
          <p:cNvSpPr txBox="1">
            <a:spLocks/>
          </p:cNvSpPr>
          <p:nvPr/>
        </p:nvSpPr>
        <p:spPr>
          <a:xfrm>
            <a:off x="1074553" y="1668615"/>
            <a:ext cx="9431244" cy="615553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1800" dirty="0">
                <a:latin typeface="+mn-lt"/>
                <a:cs typeface="Arial" panose="020B0604020202020204" pitchFamily="34" charset="0"/>
              </a:rPr>
              <a:t>Title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1600" b="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5C3A1AFB-AD4F-04FC-3E29-AC7DB1BFEA48}"/>
              </a:ext>
            </a:extLst>
          </p:cNvPr>
          <p:cNvSpPr txBox="1">
            <a:spLocks/>
          </p:cNvSpPr>
          <p:nvPr/>
        </p:nvSpPr>
        <p:spPr>
          <a:xfrm>
            <a:off x="1446016" y="2919243"/>
            <a:ext cx="9431244" cy="615553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1800" dirty="0">
                <a:solidFill>
                  <a:schemeClr val="accent2"/>
                </a:solidFill>
                <a:latin typeface="+mn-lt"/>
                <a:cs typeface="Arial" panose="020B0604020202020204" pitchFamily="34" charset="0"/>
              </a:rPr>
              <a:t>Title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1600" b="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61B4F4C1-FA28-D671-E257-E0B5285B4A35}"/>
              </a:ext>
            </a:extLst>
          </p:cNvPr>
          <p:cNvSpPr txBox="1">
            <a:spLocks/>
          </p:cNvSpPr>
          <p:nvPr/>
        </p:nvSpPr>
        <p:spPr>
          <a:xfrm>
            <a:off x="1469166" y="4169871"/>
            <a:ext cx="9431244" cy="615553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1800" dirty="0">
                <a:solidFill>
                  <a:schemeClr val="accent3"/>
                </a:solidFill>
                <a:latin typeface="+mn-lt"/>
                <a:cs typeface="Arial" panose="020B0604020202020204" pitchFamily="34" charset="0"/>
              </a:rPr>
              <a:t>Title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1600" b="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231A110F-5C73-78C5-3852-2BF3F2B064AE}"/>
              </a:ext>
            </a:extLst>
          </p:cNvPr>
          <p:cNvSpPr txBox="1">
            <a:spLocks/>
          </p:cNvSpPr>
          <p:nvPr/>
        </p:nvSpPr>
        <p:spPr>
          <a:xfrm>
            <a:off x="912318" y="5420500"/>
            <a:ext cx="9431244" cy="615553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1800" dirty="0">
                <a:solidFill>
                  <a:schemeClr val="accent6"/>
                </a:solidFill>
                <a:latin typeface="+mn-lt"/>
                <a:cs typeface="Arial" panose="020B0604020202020204" pitchFamily="34" charset="0"/>
              </a:rPr>
              <a:t>Title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1600" b="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99AB92CC-1CC8-3830-635A-A57B2401C34C}"/>
              </a:ext>
            </a:extLst>
          </p:cNvPr>
          <p:cNvCxnSpPr/>
          <p:nvPr/>
        </p:nvCxnSpPr>
        <p:spPr>
          <a:xfrm>
            <a:off x="1290735" y="2514600"/>
            <a:ext cx="10596465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C8C18C07-4AF6-1195-C096-B47B968B0691}"/>
              </a:ext>
            </a:extLst>
          </p:cNvPr>
          <p:cNvCxnSpPr>
            <a:cxnSpLocks/>
          </p:cNvCxnSpPr>
          <p:nvPr/>
        </p:nvCxnSpPr>
        <p:spPr>
          <a:xfrm>
            <a:off x="1290735" y="3852334"/>
            <a:ext cx="10596465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9512EA3C-09AA-E5F8-55E3-259EB437D339}"/>
              </a:ext>
            </a:extLst>
          </p:cNvPr>
          <p:cNvCxnSpPr>
            <a:cxnSpLocks/>
          </p:cNvCxnSpPr>
          <p:nvPr/>
        </p:nvCxnSpPr>
        <p:spPr>
          <a:xfrm>
            <a:off x="1290735" y="5029200"/>
            <a:ext cx="10596465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90835710"/>
      </p:ext>
    </p:extLst>
  </p:cSld>
  <p:clrMapOvr>
    <a:masterClrMapping/>
  </p:clrMapOvr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AA8BF7-FB29-D1FF-E0E7-5461E0B7A0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018A12B-00FF-E776-85AF-DAD9AFDED55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2589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49CFE2E-8929-0019-5D9D-1283F8C16A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Factor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B5FAF3C-C05C-0FEE-9777-51ED1650F5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10</a:t>
            </a:fld>
            <a:endParaRPr lang="en-US" dirty="0"/>
          </a:p>
        </p:txBody>
      </p:sp>
      <p:sp>
        <p:nvSpPr>
          <p:cNvPr id="6" name="Shape 57">
            <a:extLst>
              <a:ext uri="{FF2B5EF4-FFF2-40B4-BE49-F238E27FC236}">
                <a16:creationId xmlns:a16="http://schemas.microsoft.com/office/drawing/2014/main" id="{B260D90C-3205-4F30-6DBA-7CC4BDB77C65}"/>
              </a:ext>
            </a:extLst>
          </p:cNvPr>
          <p:cNvSpPr>
            <a:spLocks/>
          </p:cNvSpPr>
          <p:nvPr/>
        </p:nvSpPr>
        <p:spPr bwMode="auto">
          <a:xfrm>
            <a:off x="3792174" y="1454194"/>
            <a:ext cx="1962091" cy="1962255"/>
          </a:xfrm>
          <a:custGeom>
            <a:avLst/>
            <a:gdLst>
              <a:gd name="T0" fmla="*/ 2147483646 w 19679"/>
              <a:gd name="T1" fmla="*/ 2147483646 h 20595"/>
              <a:gd name="T2" fmla="*/ 2147483646 w 19679"/>
              <a:gd name="T3" fmla="*/ 2147483646 h 20595"/>
              <a:gd name="T4" fmla="*/ 2147483646 w 19679"/>
              <a:gd name="T5" fmla="*/ 2147483646 h 20595"/>
              <a:gd name="T6" fmla="*/ 2147483646 w 19679"/>
              <a:gd name="T7" fmla="*/ 2147483646 h 20595"/>
              <a:gd name="T8" fmla="*/ 0 60000 65536"/>
              <a:gd name="T9" fmla="*/ 5898240 60000 65536"/>
              <a:gd name="T10" fmla="*/ 11796480 60000 65536"/>
              <a:gd name="T11" fmla="*/ 1769472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9679" h="20595" extrusionOk="0">
                <a:moveTo>
                  <a:pt x="9839" y="0"/>
                </a:moveTo>
                <a:cubicBezTo>
                  <a:pt x="7321" y="0"/>
                  <a:pt x="4803" y="1005"/>
                  <a:pt x="2882" y="3016"/>
                </a:cubicBezTo>
                <a:cubicBezTo>
                  <a:pt x="-961" y="7037"/>
                  <a:pt x="-961" y="13557"/>
                  <a:pt x="2882" y="17579"/>
                </a:cubicBezTo>
                <a:cubicBezTo>
                  <a:pt x="6724" y="21600"/>
                  <a:pt x="12954" y="21600"/>
                  <a:pt x="16796" y="17579"/>
                </a:cubicBezTo>
                <a:cubicBezTo>
                  <a:pt x="20639" y="13557"/>
                  <a:pt x="20639" y="7037"/>
                  <a:pt x="16796" y="3016"/>
                </a:cubicBezTo>
                <a:cubicBezTo>
                  <a:pt x="14875" y="1005"/>
                  <a:pt x="12357" y="0"/>
                  <a:pt x="9839" y="0"/>
                </a:cubicBezTo>
                <a:close/>
                <a:moveTo>
                  <a:pt x="9839" y="1475"/>
                </a:moveTo>
                <a:cubicBezTo>
                  <a:pt x="11997" y="1475"/>
                  <a:pt x="14154" y="2336"/>
                  <a:pt x="15800" y="4059"/>
                </a:cubicBezTo>
                <a:cubicBezTo>
                  <a:pt x="19092" y="7505"/>
                  <a:pt x="19092" y="13092"/>
                  <a:pt x="15800" y="16538"/>
                </a:cubicBezTo>
                <a:cubicBezTo>
                  <a:pt x="12507" y="19984"/>
                  <a:pt x="7169" y="19984"/>
                  <a:pt x="3876" y="16538"/>
                </a:cubicBezTo>
                <a:cubicBezTo>
                  <a:pt x="584" y="13092"/>
                  <a:pt x="583" y="7505"/>
                  <a:pt x="3876" y="4059"/>
                </a:cubicBezTo>
                <a:cubicBezTo>
                  <a:pt x="5522" y="2336"/>
                  <a:pt x="7681" y="1475"/>
                  <a:pt x="9839" y="147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lIns="50800" tIns="50800" rIns="50800" bIns="50800" anchor="ctr"/>
          <a:lstStyle/>
          <a:p>
            <a:endParaRPr lang="en-US" sz="1400" dirty="0"/>
          </a:p>
        </p:txBody>
      </p:sp>
      <p:sp>
        <p:nvSpPr>
          <p:cNvPr id="7" name="Shape 58">
            <a:extLst>
              <a:ext uri="{FF2B5EF4-FFF2-40B4-BE49-F238E27FC236}">
                <a16:creationId xmlns:a16="http://schemas.microsoft.com/office/drawing/2014/main" id="{2FFE713E-5CFC-41A5-C443-52E34F6F7C71}"/>
              </a:ext>
            </a:extLst>
          </p:cNvPr>
          <p:cNvSpPr>
            <a:spLocks/>
          </p:cNvSpPr>
          <p:nvPr/>
        </p:nvSpPr>
        <p:spPr bwMode="auto">
          <a:xfrm>
            <a:off x="6150160" y="1454194"/>
            <a:ext cx="1962091" cy="1962255"/>
          </a:xfrm>
          <a:custGeom>
            <a:avLst/>
            <a:gdLst>
              <a:gd name="T0" fmla="*/ 2147483646 w 19679"/>
              <a:gd name="T1" fmla="*/ 2147483646 h 20595"/>
              <a:gd name="T2" fmla="*/ 2147483646 w 19679"/>
              <a:gd name="T3" fmla="*/ 2147483646 h 20595"/>
              <a:gd name="T4" fmla="*/ 2147483646 w 19679"/>
              <a:gd name="T5" fmla="*/ 2147483646 h 20595"/>
              <a:gd name="T6" fmla="*/ 2147483646 w 19679"/>
              <a:gd name="T7" fmla="*/ 2147483646 h 20595"/>
              <a:gd name="T8" fmla="*/ 0 60000 65536"/>
              <a:gd name="T9" fmla="*/ 5898240 60000 65536"/>
              <a:gd name="T10" fmla="*/ 11796480 60000 65536"/>
              <a:gd name="T11" fmla="*/ 1769472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9679" h="20595" extrusionOk="0">
                <a:moveTo>
                  <a:pt x="9839" y="0"/>
                </a:moveTo>
                <a:cubicBezTo>
                  <a:pt x="7321" y="0"/>
                  <a:pt x="4803" y="1005"/>
                  <a:pt x="2882" y="3016"/>
                </a:cubicBezTo>
                <a:cubicBezTo>
                  <a:pt x="-961" y="7037"/>
                  <a:pt x="-961" y="13557"/>
                  <a:pt x="2882" y="17579"/>
                </a:cubicBezTo>
                <a:cubicBezTo>
                  <a:pt x="6724" y="21600"/>
                  <a:pt x="12954" y="21600"/>
                  <a:pt x="16796" y="17579"/>
                </a:cubicBezTo>
                <a:cubicBezTo>
                  <a:pt x="20639" y="13557"/>
                  <a:pt x="20639" y="7037"/>
                  <a:pt x="16796" y="3016"/>
                </a:cubicBezTo>
                <a:cubicBezTo>
                  <a:pt x="14875" y="1005"/>
                  <a:pt x="12357" y="0"/>
                  <a:pt x="9839" y="0"/>
                </a:cubicBezTo>
                <a:close/>
                <a:moveTo>
                  <a:pt x="9839" y="1475"/>
                </a:moveTo>
                <a:cubicBezTo>
                  <a:pt x="11997" y="1475"/>
                  <a:pt x="14154" y="2336"/>
                  <a:pt x="15800" y="4059"/>
                </a:cubicBezTo>
                <a:cubicBezTo>
                  <a:pt x="19092" y="7505"/>
                  <a:pt x="19092" y="13092"/>
                  <a:pt x="15800" y="16538"/>
                </a:cubicBezTo>
                <a:cubicBezTo>
                  <a:pt x="12507" y="19984"/>
                  <a:pt x="7169" y="19984"/>
                  <a:pt x="3876" y="16538"/>
                </a:cubicBezTo>
                <a:cubicBezTo>
                  <a:pt x="584" y="13092"/>
                  <a:pt x="583" y="7505"/>
                  <a:pt x="3876" y="4059"/>
                </a:cubicBezTo>
                <a:cubicBezTo>
                  <a:pt x="5522" y="2336"/>
                  <a:pt x="7681" y="1475"/>
                  <a:pt x="9839" y="1475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lIns="50800" tIns="50800" rIns="50800" bIns="50800" anchor="ctr"/>
          <a:lstStyle/>
          <a:p>
            <a:endParaRPr lang="en-US" sz="1400" dirty="0"/>
          </a:p>
        </p:txBody>
      </p:sp>
      <p:sp>
        <p:nvSpPr>
          <p:cNvPr id="8" name="Shape 59">
            <a:extLst>
              <a:ext uri="{FF2B5EF4-FFF2-40B4-BE49-F238E27FC236}">
                <a16:creationId xmlns:a16="http://schemas.microsoft.com/office/drawing/2014/main" id="{872712F8-B84E-E55E-336C-2E3AA55599FC}"/>
              </a:ext>
            </a:extLst>
          </p:cNvPr>
          <p:cNvSpPr>
            <a:spLocks/>
          </p:cNvSpPr>
          <p:nvPr/>
        </p:nvSpPr>
        <p:spPr bwMode="auto">
          <a:xfrm>
            <a:off x="3793872" y="3691400"/>
            <a:ext cx="1962091" cy="1962255"/>
          </a:xfrm>
          <a:custGeom>
            <a:avLst/>
            <a:gdLst>
              <a:gd name="T0" fmla="*/ 2147483646 w 19679"/>
              <a:gd name="T1" fmla="*/ 2147483646 h 20595"/>
              <a:gd name="T2" fmla="*/ 2147483646 w 19679"/>
              <a:gd name="T3" fmla="*/ 2147483646 h 20595"/>
              <a:gd name="T4" fmla="*/ 2147483646 w 19679"/>
              <a:gd name="T5" fmla="*/ 2147483646 h 20595"/>
              <a:gd name="T6" fmla="*/ 2147483646 w 19679"/>
              <a:gd name="T7" fmla="*/ 2147483646 h 20595"/>
              <a:gd name="T8" fmla="*/ 0 60000 65536"/>
              <a:gd name="T9" fmla="*/ 5898240 60000 65536"/>
              <a:gd name="T10" fmla="*/ 11796480 60000 65536"/>
              <a:gd name="T11" fmla="*/ 1769472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9679" h="20595" extrusionOk="0">
                <a:moveTo>
                  <a:pt x="9839" y="0"/>
                </a:moveTo>
                <a:cubicBezTo>
                  <a:pt x="7321" y="0"/>
                  <a:pt x="4803" y="1005"/>
                  <a:pt x="2882" y="3016"/>
                </a:cubicBezTo>
                <a:cubicBezTo>
                  <a:pt x="-961" y="7037"/>
                  <a:pt x="-961" y="13557"/>
                  <a:pt x="2882" y="17579"/>
                </a:cubicBezTo>
                <a:cubicBezTo>
                  <a:pt x="6724" y="21600"/>
                  <a:pt x="12954" y="21600"/>
                  <a:pt x="16796" y="17579"/>
                </a:cubicBezTo>
                <a:cubicBezTo>
                  <a:pt x="20639" y="13557"/>
                  <a:pt x="20639" y="7037"/>
                  <a:pt x="16796" y="3016"/>
                </a:cubicBezTo>
                <a:cubicBezTo>
                  <a:pt x="14875" y="1005"/>
                  <a:pt x="12357" y="0"/>
                  <a:pt x="9839" y="0"/>
                </a:cubicBezTo>
                <a:close/>
                <a:moveTo>
                  <a:pt x="9839" y="1475"/>
                </a:moveTo>
                <a:cubicBezTo>
                  <a:pt x="11997" y="1475"/>
                  <a:pt x="14154" y="2336"/>
                  <a:pt x="15800" y="4059"/>
                </a:cubicBezTo>
                <a:cubicBezTo>
                  <a:pt x="19092" y="7505"/>
                  <a:pt x="19092" y="13092"/>
                  <a:pt x="15800" y="16538"/>
                </a:cubicBezTo>
                <a:cubicBezTo>
                  <a:pt x="12507" y="19984"/>
                  <a:pt x="7169" y="19984"/>
                  <a:pt x="3876" y="16538"/>
                </a:cubicBezTo>
                <a:cubicBezTo>
                  <a:pt x="584" y="13092"/>
                  <a:pt x="583" y="7505"/>
                  <a:pt x="3876" y="4059"/>
                </a:cubicBezTo>
                <a:cubicBezTo>
                  <a:pt x="5522" y="2336"/>
                  <a:pt x="7681" y="1475"/>
                  <a:pt x="9839" y="1475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lIns="50800" tIns="50800" rIns="50800" bIns="50800" anchor="ctr"/>
          <a:lstStyle/>
          <a:p>
            <a:endParaRPr lang="en-US" sz="1400" dirty="0"/>
          </a:p>
        </p:txBody>
      </p:sp>
      <p:sp>
        <p:nvSpPr>
          <p:cNvPr id="9" name="Shape 60">
            <a:extLst>
              <a:ext uri="{FF2B5EF4-FFF2-40B4-BE49-F238E27FC236}">
                <a16:creationId xmlns:a16="http://schemas.microsoft.com/office/drawing/2014/main" id="{69F135F7-E156-C97B-48E5-50A38B86EA1D}"/>
              </a:ext>
            </a:extLst>
          </p:cNvPr>
          <p:cNvSpPr>
            <a:spLocks/>
          </p:cNvSpPr>
          <p:nvPr/>
        </p:nvSpPr>
        <p:spPr bwMode="auto">
          <a:xfrm>
            <a:off x="6151858" y="3691400"/>
            <a:ext cx="1962091" cy="1962255"/>
          </a:xfrm>
          <a:custGeom>
            <a:avLst/>
            <a:gdLst>
              <a:gd name="T0" fmla="*/ 2147483646 w 19679"/>
              <a:gd name="T1" fmla="*/ 2147483646 h 20595"/>
              <a:gd name="T2" fmla="*/ 2147483646 w 19679"/>
              <a:gd name="T3" fmla="*/ 2147483646 h 20595"/>
              <a:gd name="T4" fmla="*/ 2147483646 w 19679"/>
              <a:gd name="T5" fmla="*/ 2147483646 h 20595"/>
              <a:gd name="T6" fmla="*/ 2147483646 w 19679"/>
              <a:gd name="T7" fmla="*/ 2147483646 h 20595"/>
              <a:gd name="T8" fmla="*/ 0 60000 65536"/>
              <a:gd name="T9" fmla="*/ 5898240 60000 65536"/>
              <a:gd name="T10" fmla="*/ 11796480 60000 65536"/>
              <a:gd name="T11" fmla="*/ 1769472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9679" h="20595" extrusionOk="0">
                <a:moveTo>
                  <a:pt x="9839" y="0"/>
                </a:moveTo>
                <a:cubicBezTo>
                  <a:pt x="7321" y="0"/>
                  <a:pt x="4803" y="1005"/>
                  <a:pt x="2882" y="3016"/>
                </a:cubicBezTo>
                <a:cubicBezTo>
                  <a:pt x="-961" y="7037"/>
                  <a:pt x="-961" y="13557"/>
                  <a:pt x="2882" y="17579"/>
                </a:cubicBezTo>
                <a:cubicBezTo>
                  <a:pt x="6724" y="21600"/>
                  <a:pt x="12954" y="21600"/>
                  <a:pt x="16796" y="17579"/>
                </a:cubicBezTo>
                <a:cubicBezTo>
                  <a:pt x="20639" y="13557"/>
                  <a:pt x="20639" y="7037"/>
                  <a:pt x="16796" y="3016"/>
                </a:cubicBezTo>
                <a:cubicBezTo>
                  <a:pt x="14875" y="1005"/>
                  <a:pt x="12357" y="0"/>
                  <a:pt x="9839" y="0"/>
                </a:cubicBezTo>
                <a:close/>
                <a:moveTo>
                  <a:pt x="9839" y="1475"/>
                </a:moveTo>
                <a:cubicBezTo>
                  <a:pt x="11997" y="1475"/>
                  <a:pt x="14154" y="2336"/>
                  <a:pt x="15800" y="4059"/>
                </a:cubicBezTo>
                <a:cubicBezTo>
                  <a:pt x="19092" y="7505"/>
                  <a:pt x="19092" y="13092"/>
                  <a:pt x="15800" y="16538"/>
                </a:cubicBezTo>
                <a:cubicBezTo>
                  <a:pt x="12507" y="19984"/>
                  <a:pt x="7169" y="19984"/>
                  <a:pt x="3876" y="16538"/>
                </a:cubicBezTo>
                <a:cubicBezTo>
                  <a:pt x="584" y="13092"/>
                  <a:pt x="583" y="7505"/>
                  <a:pt x="3876" y="4059"/>
                </a:cubicBezTo>
                <a:cubicBezTo>
                  <a:pt x="5522" y="2336"/>
                  <a:pt x="7681" y="1475"/>
                  <a:pt x="9839" y="1475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lIns="50800" tIns="50800" rIns="50800" bIns="50800" anchor="ctr"/>
          <a:lstStyle/>
          <a:p>
            <a:endParaRPr lang="en-US" sz="1400" dirty="0"/>
          </a:p>
        </p:txBody>
      </p:sp>
      <p:sp>
        <p:nvSpPr>
          <p:cNvPr id="10" name="Shape 66">
            <a:extLst>
              <a:ext uri="{FF2B5EF4-FFF2-40B4-BE49-F238E27FC236}">
                <a16:creationId xmlns:a16="http://schemas.microsoft.com/office/drawing/2014/main" id="{860D5B37-1AA9-C875-151E-8785FF2650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45642" y="2265998"/>
            <a:ext cx="2616538" cy="261677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lIns="50800" tIns="50800" rIns="50800" bIns="50800" anchor="ctr"/>
          <a:lstStyle>
            <a:lvl1pPr>
              <a:defRPr sz="5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defRPr sz="5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defRPr sz="5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defRPr sz="5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defRPr sz="5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algn="ctr" eaLnBrk="1"/>
            <a:endParaRPr lang="en-US" altLang="en-US" sz="2400" dirty="0">
              <a:solidFill>
                <a:schemeClr val="tx1"/>
              </a:solidFill>
              <a:latin typeface="+mn-lt"/>
              <a:ea typeface="Helvetica Light" panose="020B0403020202020204" pitchFamily="34" charset="0"/>
              <a:cs typeface="Poppins" pitchFamily="2" charset="77"/>
              <a:sym typeface="Helvetica Light" panose="020B0403020202020204" pitchFamily="34" charset="0"/>
            </a:endParaRPr>
          </a:p>
        </p:txBody>
      </p:sp>
      <p:sp>
        <p:nvSpPr>
          <p:cNvPr id="11" name="Shape 62">
            <a:extLst>
              <a:ext uri="{FF2B5EF4-FFF2-40B4-BE49-F238E27FC236}">
                <a16:creationId xmlns:a16="http://schemas.microsoft.com/office/drawing/2014/main" id="{633F35BA-9318-A615-3637-147609BBAA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42876" y="1705019"/>
            <a:ext cx="1460575" cy="146070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50800" tIns="50800" rIns="50800" bIns="50800" anchor="ctr"/>
          <a:lstStyle>
            <a:lvl1pPr>
              <a:defRPr sz="5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defRPr sz="5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defRPr sz="5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defRPr sz="5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defRPr sz="5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algn="ctr" eaLnBrk="1"/>
            <a:endParaRPr lang="en-US" altLang="en-US" sz="2400" dirty="0">
              <a:solidFill>
                <a:schemeClr val="tx1"/>
              </a:solidFill>
              <a:latin typeface="+mn-lt"/>
              <a:ea typeface="Helvetica Light" panose="020B0403020202020204" pitchFamily="34" charset="0"/>
              <a:cs typeface="Poppins" pitchFamily="2" charset="77"/>
              <a:sym typeface="Helvetica Light" panose="020B0403020202020204" pitchFamily="34" charset="0"/>
            </a:endParaRPr>
          </a:p>
        </p:txBody>
      </p:sp>
      <p:sp>
        <p:nvSpPr>
          <p:cNvPr id="12" name="Shape 63">
            <a:extLst>
              <a:ext uri="{FF2B5EF4-FFF2-40B4-BE49-F238E27FC236}">
                <a16:creationId xmlns:a16="http://schemas.microsoft.com/office/drawing/2014/main" id="{78C17201-5B45-D7CE-9BF0-1A5876B51D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00861" y="1705019"/>
            <a:ext cx="1460575" cy="146070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50800" tIns="50800" rIns="50800" bIns="50800" anchor="ctr"/>
          <a:lstStyle>
            <a:lvl1pPr>
              <a:defRPr sz="5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defRPr sz="5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defRPr sz="5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defRPr sz="5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defRPr sz="5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algn="ctr" eaLnBrk="1"/>
            <a:endParaRPr lang="en-US" altLang="en-US" sz="2400" dirty="0">
              <a:solidFill>
                <a:schemeClr val="tx1"/>
              </a:solidFill>
              <a:latin typeface="+mn-lt"/>
              <a:ea typeface="Helvetica Light" panose="020B0403020202020204" pitchFamily="34" charset="0"/>
              <a:cs typeface="Poppins" pitchFamily="2" charset="77"/>
              <a:sym typeface="Helvetica Light" panose="020B0403020202020204" pitchFamily="34" charset="0"/>
            </a:endParaRPr>
          </a:p>
        </p:txBody>
      </p:sp>
      <p:sp>
        <p:nvSpPr>
          <p:cNvPr id="13" name="Shape 64">
            <a:extLst>
              <a:ext uri="{FF2B5EF4-FFF2-40B4-BE49-F238E27FC236}">
                <a16:creationId xmlns:a16="http://schemas.microsoft.com/office/drawing/2014/main" id="{72CB2116-3E91-5DBC-D97B-442A7300D5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44574" y="3942226"/>
            <a:ext cx="1460576" cy="1460705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lIns="50800" tIns="50800" rIns="50800" bIns="50800" anchor="ctr"/>
          <a:lstStyle>
            <a:lvl1pPr>
              <a:defRPr sz="5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defRPr sz="5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defRPr sz="5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defRPr sz="5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defRPr sz="5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algn="ctr" eaLnBrk="1"/>
            <a:endParaRPr lang="en-US" altLang="en-US" sz="2400" dirty="0">
              <a:solidFill>
                <a:schemeClr val="tx1"/>
              </a:solidFill>
              <a:latin typeface="+mn-lt"/>
              <a:ea typeface="Helvetica Light" panose="020B0403020202020204" pitchFamily="34" charset="0"/>
              <a:cs typeface="Poppins" pitchFamily="2" charset="77"/>
              <a:sym typeface="Helvetica Light" panose="020B0403020202020204" pitchFamily="34" charset="0"/>
            </a:endParaRPr>
          </a:p>
        </p:txBody>
      </p:sp>
      <p:sp>
        <p:nvSpPr>
          <p:cNvPr id="14" name="Shape 65">
            <a:extLst>
              <a:ext uri="{FF2B5EF4-FFF2-40B4-BE49-F238E27FC236}">
                <a16:creationId xmlns:a16="http://schemas.microsoft.com/office/drawing/2014/main" id="{EAC5B82A-BA5B-218B-5F99-F3542009FE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02559" y="3942226"/>
            <a:ext cx="1460576" cy="1460705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50800" tIns="50800" rIns="50800" bIns="50800" anchor="ctr"/>
          <a:lstStyle>
            <a:lvl1pPr>
              <a:defRPr sz="5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defRPr sz="5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defRPr sz="5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defRPr sz="5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defRPr sz="5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algn="ctr" eaLnBrk="1"/>
            <a:endParaRPr lang="en-US" altLang="en-US" sz="2400" dirty="0">
              <a:solidFill>
                <a:schemeClr val="tx1"/>
              </a:solidFill>
              <a:latin typeface="+mn-lt"/>
              <a:ea typeface="Helvetica Light" panose="020B0403020202020204" pitchFamily="34" charset="0"/>
              <a:cs typeface="Poppins" pitchFamily="2" charset="77"/>
              <a:sym typeface="Helvetica Light" panose="020B0403020202020204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7A4A9D0A-9B01-3A49-0CC3-06DB256905E6}"/>
              </a:ext>
            </a:extLst>
          </p:cNvPr>
          <p:cNvSpPr txBox="1"/>
          <p:nvPr/>
        </p:nvSpPr>
        <p:spPr>
          <a:xfrm>
            <a:off x="8362953" y="2380482"/>
            <a:ext cx="273716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Text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F3A06-0894-51FD-F7ED-BF25BDA38525}"/>
              </a:ext>
            </a:extLst>
          </p:cNvPr>
          <p:cNvSpPr/>
          <p:nvPr/>
        </p:nvSpPr>
        <p:spPr>
          <a:xfrm>
            <a:off x="8362953" y="2001621"/>
            <a:ext cx="174002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>
                <a:ea typeface="Roboto Medium" panose="02000000000000000000" pitchFamily="2" charset="0"/>
                <a:cs typeface="Poppins" pitchFamily="2" charset="77"/>
              </a:rPr>
              <a:t>Header</a:t>
            </a:r>
            <a:endParaRPr lang="en-US" sz="4800" b="1" dirty="0">
              <a:ea typeface="Roboto Medium" panose="02000000000000000000" pitchFamily="2" charset="0"/>
              <a:cs typeface="Poppins" pitchFamily="2" charset="77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57453DC0-1B12-189B-3845-86DD7ADD30CD}"/>
              </a:ext>
            </a:extLst>
          </p:cNvPr>
          <p:cNvSpPr txBox="1"/>
          <p:nvPr/>
        </p:nvSpPr>
        <p:spPr>
          <a:xfrm flipH="1">
            <a:off x="824213" y="2380482"/>
            <a:ext cx="274006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Text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E8930B7C-39D6-373C-9C2E-DDA0D5210EE8}"/>
              </a:ext>
            </a:extLst>
          </p:cNvPr>
          <p:cNvSpPr/>
          <p:nvPr/>
        </p:nvSpPr>
        <p:spPr>
          <a:xfrm flipH="1">
            <a:off x="1824250" y="2001621"/>
            <a:ext cx="174002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600" b="1" dirty="0">
                <a:ea typeface="Roboto Medium" panose="02000000000000000000" pitchFamily="2" charset="0"/>
                <a:cs typeface="Poppins" pitchFamily="2" charset="77"/>
              </a:rPr>
              <a:t>Header</a:t>
            </a:r>
            <a:endParaRPr lang="en-US" sz="4800" b="1" dirty="0">
              <a:ea typeface="Roboto Medium" panose="02000000000000000000" pitchFamily="2" charset="0"/>
              <a:cs typeface="Poppins" pitchFamily="2" charset="77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7BB4045-90B5-6959-99C8-8BC1CE1A2D9A}"/>
              </a:ext>
            </a:extLst>
          </p:cNvPr>
          <p:cNvSpPr txBox="1"/>
          <p:nvPr/>
        </p:nvSpPr>
        <p:spPr>
          <a:xfrm>
            <a:off x="8362953" y="4657797"/>
            <a:ext cx="273716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Text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EE9A522-0A36-6B86-8D90-01DEF1E03748}"/>
              </a:ext>
            </a:extLst>
          </p:cNvPr>
          <p:cNvSpPr/>
          <p:nvPr/>
        </p:nvSpPr>
        <p:spPr>
          <a:xfrm>
            <a:off x="8362953" y="4278936"/>
            <a:ext cx="212871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>
                <a:ea typeface="Roboto Medium" panose="02000000000000000000" pitchFamily="2" charset="0"/>
                <a:cs typeface="Poppins" pitchFamily="2" charset="77"/>
              </a:rPr>
              <a:t>Header</a:t>
            </a:r>
            <a:endParaRPr lang="en-US" sz="4800" b="1" dirty="0">
              <a:ea typeface="Roboto Medium" panose="02000000000000000000" pitchFamily="2" charset="0"/>
              <a:cs typeface="Poppins" pitchFamily="2" charset="77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FD42938-F92E-A81B-656E-0939FAF49D7D}"/>
              </a:ext>
            </a:extLst>
          </p:cNvPr>
          <p:cNvSpPr txBox="1"/>
          <p:nvPr/>
        </p:nvSpPr>
        <p:spPr>
          <a:xfrm flipH="1">
            <a:off x="824213" y="4657797"/>
            <a:ext cx="274006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Text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2F2B387-C4A7-7C96-56A8-97DA0EC3BA04}"/>
              </a:ext>
            </a:extLst>
          </p:cNvPr>
          <p:cNvSpPr/>
          <p:nvPr/>
        </p:nvSpPr>
        <p:spPr>
          <a:xfrm flipH="1">
            <a:off x="1824250" y="4278936"/>
            <a:ext cx="174002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600" b="1" dirty="0">
                <a:ea typeface="Roboto Medium" panose="02000000000000000000" pitchFamily="2" charset="0"/>
                <a:cs typeface="Poppins" pitchFamily="2" charset="77"/>
              </a:rPr>
              <a:t>Header</a:t>
            </a:r>
            <a:endParaRPr lang="en-US" sz="4800" b="1" dirty="0">
              <a:ea typeface="Roboto Medium" panose="02000000000000000000" pitchFamily="2" charset="0"/>
              <a:cs typeface="Poppins" pitchFamily="2" charset="77"/>
            </a:endParaRPr>
          </a:p>
        </p:txBody>
      </p:sp>
      <p:sp>
        <p:nvSpPr>
          <p:cNvPr id="19" name="Forma libre 9">
            <a:extLst>
              <a:ext uri="{FF2B5EF4-FFF2-40B4-BE49-F238E27FC236}">
                <a16:creationId xmlns:a16="http://schemas.microsoft.com/office/drawing/2014/main" id="{70413165-9173-870C-A25A-300A2B20C7AC}"/>
              </a:ext>
            </a:extLst>
          </p:cNvPr>
          <p:cNvSpPr/>
          <p:nvPr/>
        </p:nvSpPr>
        <p:spPr>
          <a:xfrm>
            <a:off x="6841197" y="2137811"/>
            <a:ext cx="608830" cy="583532"/>
          </a:xfrm>
          <a:custGeom>
            <a:avLst/>
            <a:gdLst>
              <a:gd name="connsiteX0" fmla="*/ 530392 w 533104"/>
              <a:gd name="connsiteY0" fmla="*/ 361477 h 510953"/>
              <a:gd name="connsiteX1" fmla="*/ 530171 w 533104"/>
              <a:gd name="connsiteY1" fmla="*/ 360887 h 510953"/>
              <a:gd name="connsiteX2" fmla="*/ 509644 w 533104"/>
              <a:gd name="connsiteY2" fmla="*/ 338292 h 510953"/>
              <a:gd name="connsiteX3" fmla="*/ 479223 w 533104"/>
              <a:gd name="connsiteY3" fmla="*/ 336742 h 510953"/>
              <a:gd name="connsiteX4" fmla="*/ 381389 w 533104"/>
              <a:gd name="connsiteY4" fmla="*/ 374177 h 510953"/>
              <a:gd name="connsiteX5" fmla="*/ 345135 w 533104"/>
              <a:gd name="connsiteY5" fmla="*/ 348039 h 510953"/>
              <a:gd name="connsiteX6" fmla="*/ 344027 w 533104"/>
              <a:gd name="connsiteY6" fmla="*/ 348039 h 510953"/>
              <a:gd name="connsiteX7" fmla="*/ 386853 w 533104"/>
              <a:gd name="connsiteY7" fmla="*/ 256407 h 510953"/>
              <a:gd name="connsiteX8" fmla="*/ 374079 w 533104"/>
              <a:gd name="connsiteY8" fmla="*/ 202653 h 510953"/>
              <a:gd name="connsiteX9" fmla="*/ 387148 w 533104"/>
              <a:gd name="connsiteY9" fmla="*/ 202949 h 510953"/>
              <a:gd name="connsiteX10" fmla="*/ 416757 w 533104"/>
              <a:gd name="connsiteY10" fmla="*/ 202949 h 510953"/>
              <a:gd name="connsiteX11" fmla="*/ 447842 w 533104"/>
              <a:gd name="connsiteY11" fmla="*/ 235511 h 510953"/>
              <a:gd name="connsiteX12" fmla="*/ 489339 w 533104"/>
              <a:gd name="connsiteY12" fmla="*/ 236028 h 510953"/>
              <a:gd name="connsiteX13" fmla="*/ 489486 w 533104"/>
              <a:gd name="connsiteY13" fmla="*/ 236028 h 510953"/>
              <a:gd name="connsiteX14" fmla="*/ 502777 w 533104"/>
              <a:gd name="connsiteY14" fmla="*/ 222885 h 510953"/>
              <a:gd name="connsiteX15" fmla="*/ 489634 w 533104"/>
              <a:gd name="connsiteY15" fmla="*/ 209446 h 510953"/>
              <a:gd name="connsiteX16" fmla="*/ 448137 w 533104"/>
              <a:gd name="connsiteY16" fmla="*/ 208930 h 510953"/>
              <a:gd name="connsiteX17" fmla="*/ 442895 w 533104"/>
              <a:gd name="connsiteY17" fmla="*/ 196599 h 510953"/>
              <a:gd name="connsiteX18" fmla="*/ 444593 w 533104"/>
              <a:gd name="connsiteY18" fmla="*/ 55348 h 510953"/>
              <a:gd name="connsiteX19" fmla="*/ 447621 w 533104"/>
              <a:gd name="connsiteY19" fmla="*/ 45159 h 510953"/>
              <a:gd name="connsiteX20" fmla="*/ 450131 w 533104"/>
              <a:gd name="connsiteY20" fmla="*/ 43165 h 510953"/>
              <a:gd name="connsiteX21" fmla="*/ 450131 w 533104"/>
              <a:gd name="connsiteY21" fmla="*/ 43165 h 510953"/>
              <a:gd name="connsiteX22" fmla="*/ 491628 w 533104"/>
              <a:gd name="connsiteY22" fmla="*/ 43682 h 510953"/>
              <a:gd name="connsiteX23" fmla="*/ 505066 w 533104"/>
              <a:gd name="connsiteY23" fmla="*/ 30539 h 510953"/>
              <a:gd name="connsiteX24" fmla="*/ 491923 w 533104"/>
              <a:gd name="connsiteY24" fmla="*/ 17101 h 510953"/>
              <a:gd name="connsiteX25" fmla="*/ 450426 w 533104"/>
              <a:gd name="connsiteY25" fmla="*/ 16584 h 510953"/>
              <a:gd name="connsiteX26" fmla="*/ 426355 w 533104"/>
              <a:gd name="connsiteY26" fmla="*/ 29210 h 510953"/>
              <a:gd name="connsiteX27" fmla="*/ 418233 w 533104"/>
              <a:gd name="connsiteY27" fmla="*/ 51066 h 510953"/>
              <a:gd name="connsiteX28" fmla="*/ 412548 w 533104"/>
              <a:gd name="connsiteY28" fmla="*/ 50549 h 510953"/>
              <a:gd name="connsiteX29" fmla="*/ 412105 w 533104"/>
              <a:gd name="connsiteY29" fmla="*/ 50549 h 510953"/>
              <a:gd name="connsiteX30" fmla="*/ 320547 w 533104"/>
              <a:gd name="connsiteY30" fmla="*/ 21531 h 510953"/>
              <a:gd name="connsiteX31" fmla="*/ 244642 w 533104"/>
              <a:gd name="connsiteY31" fmla="*/ 1816 h 510953"/>
              <a:gd name="connsiteX32" fmla="*/ 126503 w 533104"/>
              <a:gd name="connsiteY32" fmla="*/ 53133 h 510953"/>
              <a:gd name="connsiteX33" fmla="*/ 25715 w 533104"/>
              <a:gd name="connsiteY33" fmla="*/ 100389 h 510953"/>
              <a:gd name="connsiteX34" fmla="*/ 4302 w 533104"/>
              <a:gd name="connsiteY34" fmla="*/ 120251 h 510953"/>
              <a:gd name="connsiteX35" fmla="*/ 2825 w 533104"/>
              <a:gd name="connsiteY35" fmla="*/ 150081 h 510953"/>
              <a:gd name="connsiteX36" fmla="*/ 3047 w 533104"/>
              <a:gd name="connsiteY36" fmla="*/ 150746 h 510953"/>
              <a:gd name="connsiteX37" fmla="*/ 23573 w 533104"/>
              <a:gd name="connsiteY37" fmla="*/ 173340 h 510953"/>
              <a:gd name="connsiteX38" fmla="*/ 40630 w 533104"/>
              <a:gd name="connsiteY38" fmla="*/ 177180 h 510953"/>
              <a:gd name="connsiteX39" fmla="*/ 53994 w 533104"/>
              <a:gd name="connsiteY39" fmla="*/ 174817 h 510953"/>
              <a:gd name="connsiteX40" fmla="*/ 151829 w 533104"/>
              <a:gd name="connsiteY40" fmla="*/ 137381 h 510953"/>
              <a:gd name="connsiteX41" fmla="*/ 160320 w 533104"/>
              <a:gd name="connsiteY41" fmla="*/ 151041 h 510953"/>
              <a:gd name="connsiteX42" fmla="*/ 188157 w 533104"/>
              <a:gd name="connsiteY42" fmla="*/ 163446 h 510953"/>
              <a:gd name="connsiteX43" fmla="*/ 189264 w 533104"/>
              <a:gd name="connsiteY43" fmla="*/ 163446 h 510953"/>
              <a:gd name="connsiteX44" fmla="*/ 192292 w 533104"/>
              <a:gd name="connsiteY44" fmla="*/ 163298 h 510953"/>
              <a:gd name="connsiteX45" fmla="*/ 147620 w 533104"/>
              <a:gd name="connsiteY45" fmla="*/ 256481 h 510953"/>
              <a:gd name="connsiteX46" fmla="*/ 159729 w 533104"/>
              <a:gd name="connsiteY46" fmla="*/ 308905 h 510953"/>
              <a:gd name="connsiteX47" fmla="*/ 146143 w 533104"/>
              <a:gd name="connsiteY47" fmla="*/ 308610 h 510953"/>
              <a:gd name="connsiteX48" fmla="*/ 116461 w 533104"/>
              <a:gd name="connsiteY48" fmla="*/ 308610 h 510953"/>
              <a:gd name="connsiteX49" fmla="*/ 109151 w 533104"/>
              <a:gd name="connsiteY49" fmla="*/ 289264 h 510953"/>
              <a:gd name="connsiteX50" fmla="*/ 85375 w 533104"/>
              <a:gd name="connsiteY50" fmla="*/ 276048 h 510953"/>
              <a:gd name="connsiteX51" fmla="*/ 43879 w 533104"/>
              <a:gd name="connsiteY51" fmla="*/ 275531 h 510953"/>
              <a:gd name="connsiteX52" fmla="*/ 30440 w 533104"/>
              <a:gd name="connsiteY52" fmla="*/ 288674 h 510953"/>
              <a:gd name="connsiteX53" fmla="*/ 43583 w 533104"/>
              <a:gd name="connsiteY53" fmla="*/ 302112 h 510953"/>
              <a:gd name="connsiteX54" fmla="*/ 85080 w 533104"/>
              <a:gd name="connsiteY54" fmla="*/ 302629 h 510953"/>
              <a:gd name="connsiteX55" fmla="*/ 87517 w 533104"/>
              <a:gd name="connsiteY55" fmla="*/ 304696 h 510953"/>
              <a:gd name="connsiteX56" fmla="*/ 90322 w 533104"/>
              <a:gd name="connsiteY56" fmla="*/ 314960 h 510953"/>
              <a:gd name="connsiteX57" fmla="*/ 88624 w 533104"/>
              <a:gd name="connsiteY57" fmla="*/ 456210 h 510953"/>
              <a:gd name="connsiteX58" fmla="*/ 83086 w 533104"/>
              <a:gd name="connsiteY58" fmla="*/ 468394 h 510953"/>
              <a:gd name="connsiteX59" fmla="*/ 83086 w 533104"/>
              <a:gd name="connsiteY59" fmla="*/ 468394 h 510953"/>
              <a:gd name="connsiteX60" fmla="*/ 41590 w 533104"/>
              <a:gd name="connsiteY60" fmla="*/ 467877 h 510953"/>
              <a:gd name="connsiteX61" fmla="*/ 28151 w 533104"/>
              <a:gd name="connsiteY61" fmla="*/ 481020 h 510953"/>
              <a:gd name="connsiteX62" fmla="*/ 41294 w 533104"/>
              <a:gd name="connsiteY62" fmla="*/ 494458 h 510953"/>
              <a:gd name="connsiteX63" fmla="*/ 82791 w 533104"/>
              <a:gd name="connsiteY63" fmla="*/ 494975 h 510953"/>
              <a:gd name="connsiteX64" fmla="*/ 83160 w 533104"/>
              <a:gd name="connsiteY64" fmla="*/ 494975 h 510953"/>
              <a:gd name="connsiteX65" fmla="*/ 115058 w 533104"/>
              <a:gd name="connsiteY65" fmla="*/ 460493 h 510953"/>
              <a:gd name="connsiteX66" fmla="*/ 120743 w 533104"/>
              <a:gd name="connsiteY66" fmla="*/ 461010 h 510953"/>
              <a:gd name="connsiteX67" fmla="*/ 121186 w 533104"/>
              <a:gd name="connsiteY67" fmla="*/ 461010 h 510953"/>
              <a:gd name="connsiteX68" fmla="*/ 212744 w 533104"/>
              <a:gd name="connsiteY68" fmla="*/ 490028 h 510953"/>
              <a:gd name="connsiteX69" fmla="*/ 276244 w 533104"/>
              <a:gd name="connsiteY69" fmla="*/ 510998 h 510953"/>
              <a:gd name="connsiteX70" fmla="*/ 288649 w 533104"/>
              <a:gd name="connsiteY70" fmla="*/ 509742 h 510953"/>
              <a:gd name="connsiteX71" fmla="*/ 406789 w 533104"/>
              <a:gd name="connsiteY71" fmla="*/ 458426 h 510953"/>
              <a:gd name="connsiteX72" fmla="*/ 507576 w 533104"/>
              <a:gd name="connsiteY72" fmla="*/ 411170 h 510953"/>
              <a:gd name="connsiteX73" fmla="*/ 528989 w 533104"/>
              <a:gd name="connsiteY73" fmla="*/ 391308 h 510953"/>
              <a:gd name="connsiteX74" fmla="*/ 530392 w 533104"/>
              <a:gd name="connsiteY74" fmla="*/ 361477 h 510953"/>
              <a:gd name="connsiteX75" fmla="*/ 188304 w 533104"/>
              <a:gd name="connsiteY75" fmla="*/ 136864 h 510953"/>
              <a:gd name="connsiteX76" fmla="*/ 175900 w 533104"/>
              <a:gd name="connsiteY76" fmla="*/ 123278 h 510953"/>
              <a:gd name="connsiteX77" fmla="*/ 180035 w 533104"/>
              <a:gd name="connsiteY77" fmla="*/ 114049 h 510953"/>
              <a:gd name="connsiteX78" fmla="*/ 189486 w 533104"/>
              <a:gd name="connsiteY78" fmla="*/ 110431 h 510953"/>
              <a:gd name="connsiteX79" fmla="*/ 189633 w 533104"/>
              <a:gd name="connsiteY79" fmla="*/ 110431 h 510953"/>
              <a:gd name="connsiteX80" fmla="*/ 287837 w 533104"/>
              <a:gd name="connsiteY80" fmla="*/ 112129 h 510953"/>
              <a:gd name="connsiteX81" fmla="*/ 298839 w 533104"/>
              <a:gd name="connsiteY81" fmla="*/ 106591 h 510953"/>
              <a:gd name="connsiteX82" fmla="*/ 311539 w 533104"/>
              <a:gd name="connsiteY82" fmla="*/ 88944 h 510953"/>
              <a:gd name="connsiteX83" fmla="*/ 308511 w 533104"/>
              <a:gd name="connsiteY83" fmla="*/ 70411 h 510953"/>
              <a:gd name="connsiteX84" fmla="*/ 289978 w 533104"/>
              <a:gd name="connsiteY84" fmla="*/ 73438 h 510953"/>
              <a:gd name="connsiteX85" fmla="*/ 281339 w 533104"/>
              <a:gd name="connsiteY85" fmla="*/ 85400 h 510953"/>
              <a:gd name="connsiteX86" fmla="*/ 190150 w 533104"/>
              <a:gd name="connsiteY86" fmla="*/ 83776 h 510953"/>
              <a:gd name="connsiteX87" fmla="*/ 161797 w 533104"/>
              <a:gd name="connsiteY87" fmla="*/ 94630 h 510953"/>
              <a:gd name="connsiteX88" fmla="*/ 152346 w 533104"/>
              <a:gd name="connsiteY88" fmla="*/ 108289 h 510953"/>
              <a:gd name="connsiteX89" fmla="*/ 44913 w 533104"/>
              <a:gd name="connsiteY89" fmla="*/ 149564 h 510953"/>
              <a:gd name="connsiteX90" fmla="*/ 34871 w 533104"/>
              <a:gd name="connsiteY90" fmla="*/ 149048 h 510953"/>
              <a:gd name="connsiteX91" fmla="*/ 28004 w 533104"/>
              <a:gd name="connsiteY91" fmla="*/ 141442 h 510953"/>
              <a:gd name="connsiteX92" fmla="*/ 27782 w 533104"/>
              <a:gd name="connsiteY92" fmla="*/ 140778 h 510953"/>
              <a:gd name="connsiteX93" fmla="*/ 28299 w 533104"/>
              <a:gd name="connsiteY93" fmla="*/ 131327 h 510953"/>
              <a:gd name="connsiteX94" fmla="*/ 35314 w 533104"/>
              <a:gd name="connsiteY94" fmla="*/ 124903 h 510953"/>
              <a:gd name="connsiteX95" fmla="*/ 36495 w 533104"/>
              <a:gd name="connsiteY95" fmla="*/ 124386 h 510953"/>
              <a:gd name="connsiteX96" fmla="*/ 249885 w 533104"/>
              <a:gd name="connsiteY96" fmla="*/ 27585 h 510953"/>
              <a:gd name="connsiteX97" fmla="*/ 308733 w 533104"/>
              <a:gd name="connsiteY97" fmla="*/ 45159 h 510953"/>
              <a:gd name="connsiteX98" fmla="*/ 410333 w 533104"/>
              <a:gd name="connsiteY98" fmla="*/ 76835 h 510953"/>
              <a:gd name="connsiteX99" fmla="*/ 417643 w 533104"/>
              <a:gd name="connsiteY99" fmla="*/ 77499 h 510953"/>
              <a:gd name="connsiteX100" fmla="*/ 416461 w 533104"/>
              <a:gd name="connsiteY100" fmla="*/ 176146 h 510953"/>
              <a:gd name="connsiteX101" fmla="*/ 387000 w 533104"/>
              <a:gd name="connsiteY101" fmla="*/ 176146 h 510953"/>
              <a:gd name="connsiteX102" fmla="*/ 353995 w 533104"/>
              <a:gd name="connsiteY102" fmla="*/ 174152 h 510953"/>
              <a:gd name="connsiteX103" fmla="*/ 289461 w 533104"/>
              <a:gd name="connsiteY103" fmla="*/ 138710 h 510953"/>
              <a:gd name="connsiteX104" fmla="*/ 188304 w 533104"/>
              <a:gd name="connsiteY104" fmla="*/ 136864 h 510953"/>
              <a:gd name="connsiteX105" fmla="*/ 267163 w 533104"/>
              <a:gd name="connsiteY105" fmla="*/ 163372 h 510953"/>
              <a:gd name="connsiteX106" fmla="*/ 283702 w 533104"/>
              <a:gd name="connsiteY106" fmla="*/ 164849 h 510953"/>
              <a:gd name="connsiteX107" fmla="*/ 309397 w 533104"/>
              <a:gd name="connsiteY107" fmla="*/ 179838 h 510953"/>
              <a:gd name="connsiteX108" fmla="*/ 339523 w 533104"/>
              <a:gd name="connsiteY108" fmla="*/ 198076 h 510953"/>
              <a:gd name="connsiteX109" fmla="*/ 360124 w 533104"/>
              <a:gd name="connsiteY109" fmla="*/ 256407 h 510953"/>
              <a:gd name="connsiteX110" fmla="*/ 273808 w 533104"/>
              <a:gd name="connsiteY110" fmla="*/ 349220 h 510953"/>
              <a:gd name="connsiteX111" fmla="*/ 249737 w 533104"/>
              <a:gd name="connsiteY111" fmla="*/ 346710 h 510953"/>
              <a:gd name="connsiteX112" fmla="*/ 223599 w 533104"/>
              <a:gd name="connsiteY112" fmla="*/ 331573 h 510953"/>
              <a:gd name="connsiteX113" fmla="*/ 193621 w 533104"/>
              <a:gd name="connsiteY113" fmla="*/ 313409 h 510953"/>
              <a:gd name="connsiteX114" fmla="*/ 174054 w 533104"/>
              <a:gd name="connsiteY114" fmla="*/ 256407 h 510953"/>
              <a:gd name="connsiteX115" fmla="*/ 267163 w 533104"/>
              <a:gd name="connsiteY115" fmla="*/ 163372 h 510953"/>
              <a:gd name="connsiteX116" fmla="*/ 504844 w 533104"/>
              <a:gd name="connsiteY116" fmla="*/ 379937 h 510953"/>
              <a:gd name="connsiteX117" fmla="*/ 497830 w 533104"/>
              <a:gd name="connsiteY117" fmla="*/ 386360 h 510953"/>
              <a:gd name="connsiteX118" fmla="*/ 496648 w 533104"/>
              <a:gd name="connsiteY118" fmla="*/ 386877 h 510953"/>
              <a:gd name="connsiteX119" fmla="*/ 283259 w 533104"/>
              <a:gd name="connsiteY119" fmla="*/ 483678 h 510953"/>
              <a:gd name="connsiteX120" fmla="*/ 224411 w 533104"/>
              <a:gd name="connsiteY120" fmla="*/ 466105 h 510953"/>
              <a:gd name="connsiteX121" fmla="*/ 122811 w 533104"/>
              <a:gd name="connsiteY121" fmla="*/ 434428 h 510953"/>
              <a:gd name="connsiteX122" fmla="*/ 115501 w 533104"/>
              <a:gd name="connsiteY122" fmla="*/ 433764 h 510953"/>
              <a:gd name="connsiteX123" fmla="*/ 116682 w 533104"/>
              <a:gd name="connsiteY123" fmla="*/ 335117 h 510953"/>
              <a:gd name="connsiteX124" fmla="*/ 146143 w 533104"/>
              <a:gd name="connsiteY124" fmla="*/ 335117 h 510953"/>
              <a:gd name="connsiteX125" fmla="*/ 179075 w 533104"/>
              <a:gd name="connsiteY125" fmla="*/ 337111 h 510953"/>
              <a:gd name="connsiteX126" fmla="*/ 267310 w 533104"/>
              <a:gd name="connsiteY126" fmla="*/ 376023 h 510953"/>
              <a:gd name="connsiteX127" fmla="*/ 274620 w 533104"/>
              <a:gd name="connsiteY127" fmla="*/ 375802 h 510953"/>
              <a:gd name="connsiteX128" fmla="*/ 344987 w 533104"/>
              <a:gd name="connsiteY128" fmla="*/ 374620 h 510953"/>
              <a:gd name="connsiteX129" fmla="*/ 357392 w 533104"/>
              <a:gd name="connsiteY129" fmla="*/ 388206 h 510953"/>
              <a:gd name="connsiteX130" fmla="*/ 343805 w 533104"/>
              <a:gd name="connsiteY130" fmla="*/ 401054 h 510953"/>
              <a:gd name="connsiteX131" fmla="*/ 343658 w 533104"/>
              <a:gd name="connsiteY131" fmla="*/ 401054 h 510953"/>
              <a:gd name="connsiteX132" fmla="*/ 245454 w 533104"/>
              <a:gd name="connsiteY132" fmla="*/ 399356 h 510953"/>
              <a:gd name="connsiteX133" fmla="*/ 234453 w 533104"/>
              <a:gd name="connsiteY133" fmla="*/ 404894 h 510953"/>
              <a:gd name="connsiteX134" fmla="*/ 221753 w 533104"/>
              <a:gd name="connsiteY134" fmla="*/ 422541 h 510953"/>
              <a:gd name="connsiteX135" fmla="*/ 224780 w 533104"/>
              <a:gd name="connsiteY135" fmla="*/ 441074 h 510953"/>
              <a:gd name="connsiteX136" fmla="*/ 232533 w 533104"/>
              <a:gd name="connsiteY136" fmla="*/ 443584 h 510953"/>
              <a:gd name="connsiteX137" fmla="*/ 243313 w 533104"/>
              <a:gd name="connsiteY137" fmla="*/ 438046 h 510953"/>
              <a:gd name="connsiteX138" fmla="*/ 251952 w 533104"/>
              <a:gd name="connsiteY138" fmla="*/ 426085 h 510953"/>
              <a:gd name="connsiteX139" fmla="*/ 343141 w 533104"/>
              <a:gd name="connsiteY139" fmla="*/ 427709 h 510953"/>
              <a:gd name="connsiteX140" fmla="*/ 344175 w 533104"/>
              <a:gd name="connsiteY140" fmla="*/ 427709 h 510953"/>
              <a:gd name="connsiteX141" fmla="*/ 380946 w 533104"/>
              <a:gd name="connsiteY141" fmla="*/ 403121 h 510953"/>
              <a:gd name="connsiteX142" fmla="*/ 488379 w 533104"/>
              <a:gd name="connsiteY142" fmla="*/ 361773 h 510953"/>
              <a:gd name="connsiteX143" fmla="*/ 498421 w 533104"/>
              <a:gd name="connsiteY143" fmla="*/ 362289 h 510953"/>
              <a:gd name="connsiteX144" fmla="*/ 505288 w 533104"/>
              <a:gd name="connsiteY144" fmla="*/ 369895 h 510953"/>
              <a:gd name="connsiteX145" fmla="*/ 505509 w 533104"/>
              <a:gd name="connsiteY145" fmla="*/ 370485 h 510953"/>
              <a:gd name="connsiteX146" fmla="*/ 504844 w 533104"/>
              <a:gd name="connsiteY146" fmla="*/ 379937 h 510953"/>
              <a:gd name="connsiteX147" fmla="*/ 214517 w 533104"/>
              <a:gd name="connsiteY147" fmla="*/ 263938 h 510953"/>
              <a:gd name="connsiteX148" fmla="*/ 214664 w 533104"/>
              <a:gd name="connsiteY148" fmla="*/ 245110 h 510953"/>
              <a:gd name="connsiteX149" fmla="*/ 233493 w 533104"/>
              <a:gd name="connsiteY149" fmla="*/ 245257 h 510953"/>
              <a:gd name="connsiteX150" fmla="*/ 250844 w 533104"/>
              <a:gd name="connsiteY150" fmla="*/ 262978 h 510953"/>
              <a:gd name="connsiteX151" fmla="*/ 298691 w 533104"/>
              <a:gd name="connsiteY151" fmla="*/ 203687 h 510953"/>
              <a:gd name="connsiteX152" fmla="*/ 317372 w 533104"/>
              <a:gd name="connsiteY152" fmla="*/ 201694 h 510953"/>
              <a:gd name="connsiteX153" fmla="*/ 319365 w 533104"/>
              <a:gd name="connsiteY153" fmla="*/ 220374 h 510953"/>
              <a:gd name="connsiteX154" fmla="*/ 262142 w 533104"/>
              <a:gd name="connsiteY154" fmla="*/ 291258 h 510953"/>
              <a:gd name="connsiteX155" fmla="*/ 262068 w 533104"/>
              <a:gd name="connsiteY155" fmla="*/ 291332 h 510953"/>
              <a:gd name="connsiteX156" fmla="*/ 261108 w 533104"/>
              <a:gd name="connsiteY156" fmla="*/ 292366 h 510953"/>
              <a:gd name="connsiteX157" fmla="*/ 260886 w 533104"/>
              <a:gd name="connsiteY157" fmla="*/ 292587 h 510953"/>
              <a:gd name="connsiteX158" fmla="*/ 260000 w 533104"/>
              <a:gd name="connsiteY158" fmla="*/ 293326 h 510953"/>
              <a:gd name="connsiteX159" fmla="*/ 259557 w 533104"/>
              <a:gd name="connsiteY159" fmla="*/ 293621 h 510953"/>
              <a:gd name="connsiteX160" fmla="*/ 258819 w 533104"/>
              <a:gd name="connsiteY160" fmla="*/ 294138 h 510953"/>
              <a:gd name="connsiteX161" fmla="*/ 258302 w 533104"/>
              <a:gd name="connsiteY161" fmla="*/ 294433 h 510953"/>
              <a:gd name="connsiteX162" fmla="*/ 257564 w 533104"/>
              <a:gd name="connsiteY162" fmla="*/ 294802 h 510953"/>
              <a:gd name="connsiteX163" fmla="*/ 257047 w 533104"/>
              <a:gd name="connsiteY163" fmla="*/ 295024 h 510953"/>
              <a:gd name="connsiteX164" fmla="*/ 256235 w 533104"/>
              <a:gd name="connsiteY164" fmla="*/ 295319 h 510953"/>
              <a:gd name="connsiteX165" fmla="*/ 255718 w 533104"/>
              <a:gd name="connsiteY165" fmla="*/ 295467 h 510953"/>
              <a:gd name="connsiteX166" fmla="*/ 254832 w 533104"/>
              <a:gd name="connsiteY166" fmla="*/ 295688 h 510953"/>
              <a:gd name="connsiteX167" fmla="*/ 254389 w 533104"/>
              <a:gd name="connsiteY167" fmla="*/ 295762 h 510953"/>
              <a:gd name="connsiteX168" fmla="*/ 253429 w 533104"/>
              <a:gd name="connsiteY168" fmla="*/ 295910 h 510953"/>
              <a:gd name="connsiteX169" fmla="*/ 253060 w 533104"/>
              <a:gd name="connsiteY169" fmla="*/ 295984 h 510953"/>
              <a:gd name="connsiteX170" fmla="*/ 251730 w 533104"/>
              <a:gd name="connsiteY170" fmla="*/ 296058 h 510953"/>
              <a:gd name="connsiteX171" fmla="*/ 251730 w 533104"/>
              <a:gd name="connsiteY171" fmla="*/ 296058 h 510953"/>
              <a:gd name="connsiteX172" fmla="*/ 250549 w 533104"/>
              <a:gd name="connsiteY172" fmla="*/ 295984 h 510953"/>
              <a:gd name="connsiteX173" fmla="*/ 250254 w 533104"/>
              <a:gd name="connsiteY173" fmla="*/ 295910 h 510953"/>
              <a:gd name="connsiteX174" fmla="*/ 249368 w 533104"/>
              <a:gd name="connsiteY174" fmla="*/ 295762 h 510953"/>
              <a:gd name="connsiteX175" fmla="*/ 248999 w 533104"/>
              <a:gd name="connsiteY175" fmla="*/ 295688 h 510953"/>
              <a:gd name="connsiteX176" fmla="*/ 248186 w 533104"/>
              <a:gd name="connsiteY176" fmla="*/ 295467 h 510953"/>
              <a:gd name="connsiteX177" fmla="*/ 247743 w 533104"/>
              <a:gd name="connsiteY177" fmla="*/ 295319 h 510953"/>
              <a:gd name="connsiteX178" fmla="*/ 247005 w 533104"/>
              <a:gd name="connsiteY178" fmla="*/ 295024 h 510953"/>
              <a:gd name="connsiteX179" fmla="*/ 246562 w 533104"/>
              <a:gd name="connsiteY179" fmla="*/ 294876 h 510953"/>
              <a:gd name="connsiteX180" fmla="*/ 245823 w 533104"/>
              <a:gd name="connsiteY180" fmla="*/ 294507 h 510953"/>
              <a:gd name="connsiteX181" fmla="*/ 245381 w 533104"/>
              <a:gd name="connsiteY181" fmla="*/ 294285 h 510953"/>
              <a:gd name="connsiteX182" fmla="*/ 244568 w 533104"/>
              <a:gd name="connsiteY182" fmla="*/ 293842 h 510953"/>
              <a:gd name="connsiteX183" fmla="*/ 244199 w 533104"/>
              <a:gd name="connsiteY183" fmla="*/ 293621 h 510953"/>
              <a:gd name="connsiteX184" fmla="*/ 243387 w 533104"/>
              <a:gd name="connsiteY184" fmla="*/ 293030 h 510953"/>
              <a:gd name="connsiteX185" fmla="*/ 243313 w 533104"/>
              <a:gd name="connsiteY185" fmla="*/ 292956 h 510953"/>
              <a:gd name="connsiteX186" fmla="*/ 242796 w 533104"/>
              <a:gd name="connsiteY186" fmla="*/ 292513 h 510953"/>
              <a:gd name="connsiteX187" fmla="*/ 242279 w 533104"/>
              <a:gd name="connsiteY187" fmla="*/ 291996 h 510953"/>
              <a:gd name="connsiteX188" fmla="*/ 242206 w 533104"/>
              <a:gd name="connsiteY188" fmla="*/ 291923 h 510953"/>
              <a:gd name="connsiteX189" fmla="*/ 214517 w 533104"/>
              <a:gd name="connsiteY189" fmla="*/ 263938 h 510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</a:cxnLst>
            <a:rect l="l" t="t" r="r" b="b"/>
            <a:pathLst>
              <a:path w="533104" h="510953">
                <a:moveTo>
                  <a:pt x="530392" y="361477"/>
                </a:moveTo>
                <a:lnTo>
                  <a:pt x="530171" y="360887"/>
                </a:lnTo>
                <a:cubicBezTo>
                  <a:pt x="526553" y="350845"/>
                  <a:pt x="519317" y="342796"/>
                  <a:pt x="509644" y="338292"/>
                </a:cubicBezTo>
                <a:cubicBezTo>
                  <a:pt x="500045" y="333714"/>
                  <a:pt x="489191" y="333198"/>
                  <a:pt x="479223" y="336742"/>
                </a:cubicBezTo>
                <a:cubicBezTo>
                  <a:pt x="442452" y="349959"/>
                  <a:pt x="400734" y="366424"/>
                  <a:pt x="381389" y="374177"/>
                </a:cubicBezTo>
                <a:cubicBezTo>
                  <a:pt x="375925" y="359336"/>
                  <a:pt x="361896" y="348556"/>
                  <a:pt x="345135" y="348039"/>
                </a:cubicBezTo>
                <a:cubicBezTo>
                  <a:pt x="344765" y="348039"/>
                  <a:pt x="344396" y="348039"/>
                  <a:pt x="344027" y="348039"/>
                </a:cubicBezTo>
                <a:cubicBezTo>
                  <a:pt x="370165" y="326109"/>
                  <a:pt x="386853" y="293178"/>
                  <a:pt x="386853" y="256407"/>
                </a:cubicBezTo>
                <a:cubicBezTo>
                  <a:pt x="386853" y="237062"/>
                  <a:pt x="382201" y="218824"/>
                  <a:pt x="374079" y="202653"/>
                </a:cubicBezTo>
                <a:cubicBezTo>
                  <a:pt x="380724" y="202875"/>
                  <a:pt x="385967" y="202949"/>
                  <a:pt x="387148" y="202949"/>
                </a:cubicBezTo>
                <a:lnTo>
                  <a:pt x="416757" y="202949"/>
                </a:lnTo>
                <a:cubicBezTo>
                  <a:pt x="419046" y="221482"/>
                  <a:pt x="431820" y="235289"/>
                  <a:pt x="447842" y="235511"/>
                </a:cubicBezTo>
                <a:lnTo>
                  <a:pt x="489339" y="236028"/>
                </a:lnTo>
                <a:cubicBezTo>
                  <a:pt x="489413" y="236028"/>
                  <a:pt x="489413" y="236028"/>
                  <a:pt x="489486" y="236028"/>
                </a:cubicBezTo>
                <a:cubicBezTo>
                  <a:pt x="496722" y="236028"/>
                  <a:pt x="502703" y="230195"/>
                  <a:pt x="502777" y="222885"/>
                </a:cubicBezTo>
                <a:cubicBezTo>
                  <a:pt x="502851" y="215575"/>
                  <a:pt x="497018" y="209520"/>
                  <a:pt x="489634" y="209446"/>
                </a:cubicBezTo>
                <a:lnTo>
                  <a:pt x="448137" y="208930"/>
                </a:lnTo>
                <a:cubicBezTo>
                  <a:pt x="446808" y="208930"/>
                  <a:pt x="442821" y="204499"/>
                  <a:pt x="442895" y="196599"/>
                </a:cubicBezTo>
                <a:lnTo>
                  <a:pt x="444593" y="55348"/>
                </a:lnTo>
                <a:cubicBezTo>
                  <a:pt x="444667" y="51361"/>
                  <a:pt x="445775" y="47669"/>
                  <a:pt x="447621" y="45159"/>
                </a:cubicBezTo>
                <a:cubicBezTo>
                  <a:pt x="448728" y="43682"/>
                  <a:pt x="449688" y="43165"/>
                  <a:pt x="450131" y="43165"/>
                </a:cubicBezTo>
                <a:lnTo>
                  <a:pt x="450131" y="43165"/>
                </a:lnTo>
                <a:lnTo>
                  <a:pt x="491628" y="43682"/>
                </a:lnTo>
                <a:cubicBezTo>
                  <a:pt x="498937" y="43756"/>
                  <a:pt x="504992" y="37923"/>
                  <a:pt x="505066" y="30539"/>
                </a:cubicBezTo>
                <a:cubicBezTo>
                  <a:pt x="505140" y="23229"/>
                  <a:pt x="499307" y="17174"/>
                  <a:pt x="491923" y="17101"/>
                </a:cubicBezTo>
                <a:lnTo>
                  <a:pt x="450426" y="16584"/>
                </a:lnTo>
                <a:cubicBezTo>
                  <a:pt x="441271" y="16510"/>
                  <a:pt x="432484" y="21088"/>
                  <a:pt x="426355" y="29210"/>
                </a:cubicBezTo>
                <a:cubicBezTo>
                  <a:pt x="421852" y="35264"/>
                  <a:pt x="418972" y="42870"/>
                  <a:pt x="418233" y="51066"/>
                </a:cubicBezTo>
                <a:lnTo>
                  <a:pt x="412548" y="50549"/>
                </a:lnTo>
                <a:cubicBezTo>
                  <a:pt x="412400" y="50549"/>
                  <a:pt x="412253" y="50549"/>
                  <a:pt x="412105" y="50549"/>
                </a:cubicBezTo>
                <a:cubicBezTo>
                  <a:pt x="375999" y="48629"/>
                  <a:pt x="346538" y="34231"/>
                  <a:pt x="320547" y="21531"/>
                </a:cubicBezTo>
                <a:cubicBezTo>
                  <a:pt x="293227" y="8166"/>
                  <a:pt x="269599" y="-3352"/>
                  <a:pt x="244642" y="1816"/>
                </a:cubicBezTo>
                <a:cubicBezTo>
                  <a:pt x="240729" y="2628"/>
                  <a:pt x="231425" y="4548"/>
                  <a:pt x="126503" y="53133"/>
                </a:cubicBezTo>
                <a:cubicBezTo>
                  <a:pt x="78139" y="75506"/>
                  <a:pt x="31253" y="97805"/>
                  <a:pt x="25715" y="100389"/>
                </a:cubicBezTo>
                <a:cubicBezTo>
                  <a:pt x="16264" y="104007"/>
                  <a:pt x="8658" y="111021"/>
                  <a:pt x="4302" y="120251"/>
                </a:cubicBezTo>
                <a:cubicBezTo>
                  <a:pt x="-128" y="129702"/>
                  <a:pt x="-645" y="140261"/>
                  <a:pt x="2825" y="150081"/>
                </a:cubicBezTo>
                <a:lnTo>
                  <a:pt x="3047" y="150746"/>
                </a:lnTo>
                <a:cubicBezTo>
                  <a:pt x="6665" y="160788"/>
                  <a:pt x="13901" y="168836"/>
                  <a:pt x="23573" y="173340"/>
                </a:cubicBezTo>
                <a:cubicBezTo>
                  <a:pt x="28964" y="175924"/>
                  <a:pt x="34797" y="177180"/>
                  <a:pt x="40630" y="177180"/>
                </a:cubicBezTo>
                <a:cubicBezTo>
                  <a:pt x="45134" y="177180"/>
                  <a:pt x="49638" y="176367"/>
                  <a:pt x="53994" y="174817"/>
                </a:cubicBezTo>
                <a:cubicBezTo>
                  <a:pt x="90692" y="161600"/>
                  <a:pt x="132483" y="145134"/>
                  <a:pt x="151829" y="137381"/>
                </a:cubicBezTo>
                <a:cubicBezTo>
                  <a:pt x="153675" y="142402"/>
                  <a:pt x="156480" y="147054"/>
                  <a:pt x="160320" y="151041"/>
                </a:cubicBezTo>
                <a:cubicBezTo>
                  <a:pt x="167630" y="158794"/>
                  <a:pt x="177524" y="163151"/>
                  <a:pt x="188157" y="163446"/>
                </a:cubicBezTo>
                <a:cubicBezTo>
                  <a:pt x="188526" y="163446"/>
                  <a:pt x="188895" y="163446"/>
                  <a:pt x="189264" y="163446"/>
                </a:cubicBezTo>
                <a:cubicBezTo>
                  <a:pt x="190224" y="163372"/>
                  <a:pt x="191258" y="163298"/>
                  <a:pt x="192292" y="163298"/>
                </a:cubicBezTo>
                <a:cubicBezTo>
                  <a:pt x="165046" y="185228"/>
                  <a:pt x="147620" y="218824"/>
                  <a:pt x="147620" y="256481"/>
                </a:cubicBezTo>
                <a:cubicBezTo>
                  <a:pt x="147620" y="275309"/>
                  <a:pt x="151976" y="293104"/>
                  <a:pt x="159729" y="308905"/>
                </a:cubicBezTo>
                <a:cubicBezTo>
                  <a:pt x="152863" y="308610"/>
                  <a:pt x="147325" y="308610"/>
                  <a:pt x="146143" y="308610"/>
                </a:cubicBezTo>
                <a:lnTo>
                  <a:pt x="116461" y="308610"/>
                </a:lnTo>
                <a:cubicBezTo>
                  <a:pt x="115575" y="301448"/>
                  <a:pt x="113064" y="294728"/>
                  <a:pt x="109151" y="289264"/>
                </a:cubicBezTo>
                <a:cubicBezTo>
                  <a:pt x="103244" y="280995"/>
                  <a:pt x="94605" y="276195"/>
                  <a:pt x="85375" y="276048"/>
                </a:cubicBezTo>
                <a:lnTo>
                  <a:pt x="43879" y="275531"/>
                </a:lnTo>
                <a:cubicBezTo>
                  <a:pt x="36569" y="275457"/>
                  <a:pt x="30514" y="281290"/>
                  <a:pt x="30440" y="288674"/>
                </a:cubicBezTo>
                <a:cubicBezTo>
                  <a:pt x="30366" y="295984"/>
                  <a:pt x="36200" y="302038"/>
                  <a:pt x="43583" y="302112"/>
                </a:cubicBezTo>
                <a:lnTo>
                  <a:pt x="85080" y="302629"/>
                </a:lnTo>
                <a:cubicBezTo>
                  <a:pt x="85449" y="302629"/>
                  <a:pt x="86483" y="303220"/>
                  <a:pt x="87517" y="304696"/>
                </a:cubicBezTo>
                <a:cubicBezTo>
                  <a:pt x="89363" y="307281"/>
                  <a:pt x="90322" y="310973"/>
                  <a:pt x="90322" y="314960"/>
                </a:cubicBezTo>
                <a:lnTo>
                  <a:pt x="88624" y="456210"/>
                </a:lnTo>
                <a:cubicBezTo>
                  <a:pt x="88550" y="464111"/>
                  <a:pt x="84489" y="468394"/>
                  <a:pt x="83086" y="468394"/>
                </a:cubicBezTo>
                <a:lnTo>
                  <a:pt x="83086" y="468394"/>
                </a:lnTo>
                <a:lnTo>
                  <a:pt x="41590" y="467877"/>
                </a:lnTo>
                <a:cubicBezTo>
                  <a:pt x="34280" y="467803"/>
                  <a:pt x="28225" y="473636"/>
                  <a:pt x="28151" y="481020"/>
                </a:cubicBezTo>
                <a:cubicBezTo>
                  <a:pt x="28078" y="488330"/>
                  <a:pt x="33911" y="494384"/>
                  <a:pt x="41294" y="494458"/>
                </a:cubicBezTo>
                <a:lnTo>
                  <a:pt x="82791" y="494975"/>
                </a:lnTo>
                <a:cubicBezTo>
                  <a:pt x="82865" y="494975"/>
                  <a:pt x="83012" y="494975"/>
                  <a:pt x="83160" y="494975"/>
                </a:cubicBezTo>
                <a:cubicBezTo>
                  <a:pt x="99847" y="494975"/>
                  <a:pt x="113212" y="480207"/>
                  <a:pt x="115058" y="460493"/>
                </a:cubicBezTo>
                <a:lnTo>
                  <a:pt x="120743" y="461010"/>
                </a:lnTo>
                <a:cubicBezTo>
                  <a:pt x="120891" y="461010"/>
                  <a:pt x="121039" y="461010"/>
                  <a:pt x="121186" y="461010"/>
                </a:cubicBezTo>
                <a:cubicBezTo>
                  <a:pt x="157293" y="462930"/>
                  <a:pt x="186754" y="477328"/>
                  <a:pt x="212744" y="490028"/>
                </a:cubicBezTo>
                <a:cubicBezTo>
                  <a:pt x="235486" y="501177"/>
                  <a:pt x="255718" y="510998"/>
                  <a:pt x="276244" y="510998"/>
                </a:cubicBezTo>
                <a:cubicBezTo>
                  <a:pt x="280379" y="510998"/>
                  <a:pt x="284514" y="510628"/>
                  <a:pt x="288649" y="509742"/>
                </a:cubicBezTo>
                <a:cubicBezTo>
                  <a:pt x="292562" y="508930"/>
                  <a:pt x="301866" y="507010"/>
                  <a:pt x="406789" y="458426"/>
                </a:cubicBezTo>
                <a:cubicBezTo>
                  <a:pt x="455152" y="436053"/>
                  <a:pt x="502039" y="413754"/>
                  <a:pt x="507576" y="411170"/>
                </a:cubicBezTo>
                <a:cubicBezTo>
                  <a:pt x="517028" y="407552"/>
                  <a:pt x="524633" y="400537"/>
                  <a:pt x="528989" y="391308"/>
                </a:cubicBezTo>
                <a:cubicBezTo>
                  <a:pt x="533346" y="381856"/>
                  <a:pt x="533863" y="371298"/>
                  <a:pt x="530392" y="361477"/>
                </a:cubicBezTo>
                <a:moveTo>
                  <a:pt x="188304" y="136864"/>
                </a:moveTo>
                <a:cubicBezTo>
                  <a:pt x="181216" y="136421"/>
                  <a:pt x="175752" y="130441"/>
                  <a:pt x="175900" y="123278"/>
                </a:cubicBezTo>
                <a:cubicBezTo>
                  <a:pt x="175974" y="119734"/>
                  <a:pt x="177450" y="116485"/>
                  <a:pt x="180035" y="114049"/>
                </a:cubicBezTo>
                <a:cubicBezTo>
                  <a:pt x="182619" y="111612"/>
                  <a:pt x="185942" y="110357"/>
                  <a:pt x="189486" y="110431"/>
                </a:cubicBezTo>
                <a:cubicBezTo>
                  <a:pt x="189560" y="110431"/>
                  <a:pt x="189560" y="110431"/>
                  <a:pt x="189633" y="110431"/>
                </a:cubicBezTo>
                <a:lnTo>
                  <a:pt x="287837" y="112129"/>
                </a:lnTo>
                <a:cubicBezTo>
                  <a:pt x="292193" y="112203"/>
                  <a:pt x="296328" y="110135"/>
                  <a:pt x="298839" y="106591"/>
                </a:cubicBezTo>
                <a:lnTo>
                  <a:pt x="311539" y="88944"/>
                </a:lnTo>
                <a:cubicBezTo>
                  <a:pt x="315821" y="82963"/>
                  <a:pt x="314492" y="74694"/>
                  <a:pt x="308511" y="70411"/>
                </a:cubicBezTo>
                <a:cubicBezTo>
                  <a:pt x="302531" y="66128"/>
                  <a:pt x="294261" y="67457"/>
                  <a:pt x="289978" y="73438"/>
                </a:cubicBezTo>
                <a:lnTo>
                  <a:pt x="281339" y="85400"/>
                </a:lnTo>
                <a:lnTo>
                  <a:pt x="190150" y="83776"/>
                </a:lnTo>
                <a:cubicBezTo>
                  <a:pt x="179518" y="83480"/>
                  <a:pt x="169476" y="87394"/>
                  <a:pt x="161797" y="94630"/>
                </a:cubicBezTo>
                <a:cubicBezTo>
                  <a:pt x="157662" y="98543"/>
                  <a:pt x="154487" y="103195"/>
                  <a:pt x="152346" y="108289"/>
                </a:cubicBezTo>
                <a:cubicBezTo>
                  <a:pt x="148063" y="110062"/>
                  <a:pt x="92242" y="132656"/>
                  <a:pt x="44913" y="149564"/>
                </a:cubicBezTo>
                <a:cubicBezTo>
                  <a:pt x="41590" y="150746"/>
                  <a:pt x="38046" y="150598"/>
                  <a:pt x="34871" y="149048"/>
                </a:cubicBezTo>
                <a:cubicBezTo>
                  <a:pt x="31622" y="147497"/>
                  <a:pt x="29185" y="144839"/>
                  <a:pt x="28004" y="141442"/>
                </a:cubicBezTo>
                <a:lnTo>
                  <a:pt x="27782" y="140778"/>
                </a:lnTo>
                <a:cubicBezTo>
                  <a:pt x="26675" y="137677"/>
                  <a:pt x="26822" y="134280"/>
                  <a:pt x="28299" y="131327"/>
                </a:cubicBezTo>
                <a:cubicBezTo>
                  <a:pt x="29702" y="128299"/>
                  <a:pt x="32212" y="126010"/>
                  <a:pt x="35314" y="124903"/>
                </a:cubicBezTo>
                <a:cubicBezTo>
                  <a:pt x="35757" y="124755"/>
                  <a:pt x="36126" y="124607"/>
                  <a:pt x="36495" y="124386"/>
                </a:cubicBezTo>
                <a:cubicBezTo>
                  <a:pt x="111809" y="88575"/>
                  <a:pt x="236372" y="30613"/>
                  <a:pt x="249885" y="27585"/>
                </a:cubicBezTo>
                <a:cubicBezTo>
                  <a:pt x="265981" y="24263"/>
                  <a:pt x="284883" y="33492"/>
                  <a:pt x="308733" y="45159"/>
                </a:cubicBezTo>
                <a:cubicBezTo>
                  <a:pt x="335610" y="58302"/>
                  <a:pt x="368984" y="74620"/>
                  <a:pt x="410333" y="76835"/>
                </a:cubicBezTo>
                <a:lnTo>
                  <a:pt x="417643" y="77499"/>
                </a:lnTo>
                <a:lnTo>
                  <a:pt x="416461" y="176146"/>
                </a:lnTo>
                <a:lnTo>
                  <a:pt x="387000" y="176146"/>
                </a:lnTo>
                <a:cubicBezTo>
                  <a:pt x="380724" y="176146"/>
                  <a:pt x="362929" y="175703"/>
                  <a:pt x="353995" y="174152"/>
                </a:cubicBezTo>
                <a:cubicBezTo>
                  <a:pt x="337086" y="156210"/>
                  <a:pt x="314640" y="143510"/>
                  <a:pt x="289461" y="138710"/>
                </a:cubicBezTo>
                <a:cubicBezTo>
                  <a:pt x="264947" y="132803"/>
                  <a:pt x="198715" y="136274"/>
                  <a:pt x="188304" y="136864"/>
                </a:cubicBezTo>
                <a:moveTo>
                  <a:pt x="267163" y="163372"/>
                </a:moveTo>
                <a:cubicBezTo>
                  <a:pt x="272848" y="163372"/>
                  <a:pt x="278386" y="163889"/>
                  <a:pt x="283702" y="164849"/>
                </a:cubicBezTo>
                <a:cubicBezTo>
                  <a:pt x="294925" y="167802"/>
                  <a:pt x="301644" y="173340"/>
                  <a:pt x="309397" y="179838"/>
                </a:cubicBezTo>
                <a:cubicBezTo>
                  <a:pt x="317298" y="186409"/>
                  <a:pt x="326085" y="193719"/>
                  <a:pt x="339523" y="198076"/>
                </a:cubicBezTo>
                <a:cubicBezTo>
                  <a:pt x="352445" y="214024"/>
                  <a:pt x="360124" y="234330"/>
                  <a:pt x="360124" y="256407"/>
                </a:cubicBezTo>
                <a:cubicBezTo>
                  <a:pt x="360124" y="305435"/>
                  <a:pt x="321950" y="345750"/>
                  <a:pt x="273808" y="349220"/>
                </a:cubicBezTo>
                <a:cubicBezTo>
                  <a:pt x="263692" y="348851"/>
                  <a:pt x="255053" y="348039"/>
                  <a:pt x="249737" y="346710"/>
                </a:cubicBezTo>
                <a:cubicBezTo>
                  <a:pt x="238292" y="343830"/>
                  <a:pt x="231499" y="338145"/>
                  <a:pt x="223599" y="331573"/>
                </a:cubicBezTo>
                <a:cubicBezTo>
                  <a:pt x="215698" y="325002"/>
                  <a:pt x="206985" y="317766"/>
                  <a:pt x="193621" y="313409"/>
                </a:cubicBezTo>
                <a:cubicBezTo>
                  <a:pt x="181364" y="297608"/>
                  <a:pt x="174054" y="277820"/>
                  <a:pt x="174054" y="256407"/>
                </a:cubicBezTo>
                <a:cubicBezTo>
                  <a:pt x="174128" y="205164"/>
                  <a:pt x="215846" y="163372"/>
                  <a:pt x="267163" y="163372"/>
                </a:cubicBezTo>
                <a:moveTo>
                  <a:pt x="504844" y="379937"/>
                </a:moveTo>
                <a:cubicBezTo>
                  <a:pt x="503442" y="382964"/>
                  <a:pt x="500931" y="385253"/>
                  <a:pt x="497830" y="386360"/>
                </a:cubicBezTo>
                <a:cubicBezTo>
                  <a:pt x="497387" y="386508"/>
                  <a:pt x="497018" y="386656"/>
                  <a:pt x="496648" y="386877"/>
                </a:cubicBezTo>
                <a:cubicBezTo>
                  <a:pt x="421335" y="422688"/>
                  <a:pt x="296771" y="480651"/>
                  <a:pt x="283259" y="483678"/>
                </a:cubicBezTo>
                <a:cubicBezTo>
                  <a:pt x="267163" y="487001"/>
                  <a:pt x="248260" y="477771"/>
                  <a:pt x="224411" y="466105"/>
                </a:cubicBezTo>
                <a:cubicBezTo>
                  <a:pt x="197534" y="452962"/>
                  <a:pt x="164160" y="436644"/>
                  <a:pt x="122811" y="434428"/>
                </a:cubicBezTo>
                <a:lnTo>
                  <a:pt x="115501" y="433764"/>
                </a:lnTo>
                <a:lnTo>
                  <a:pt x="116682" y="335117"/>
                </a:lnTo>
                <a:lnTo>
                  <a:pt x="146143" y="335117"/>
                </a:lnTo>
                <a:cubicBezTo>
                  <a:pt x="152346" y="335117"/>
                  <a:pt x="170140" y="335487"/>
                  <a:pt x="179075" y="337111"/>
                </a:cubicBezTo>
                <a:cubicBezTo>
                  <a:pt x="200930" y="361034"/>
                  <a:pt x="232385" y="376023"/>
                  <a:pt x="267310" y="376023"/>
                </a:cubicBezTo>
                <a:cubicBezTo>
                  <a:pt x="269747" y="376023"/>
                  <a:pt x="272183" y="375949"/>
                  <a:pt x="274620" y="375802"/>
                </a:cubicBezTo>
                <a:cubicBezTo>
                  <a:pt x="303195" y="376835"/>
                  <a:pt x="337677" y="375063"/>
                  <a:pt x="344987" y="374620"/>
                </a:cubicBezTo>
                <a:cubicBezTo>
                  <a:pt x="352075" y="375063"/>
                  <a:pt x="357539" y="381044"/>
                  <a:pt x="357392" y="388206"/>
                </a:cubicBezTo>
                <a:cubicBezTo>
                  <a:pt x="357170" y="395516"/>
                  <a:pt x="351115" y="401276"/>
                  <a:pt x="343805" y="401054"/>
                </a:cubicBezTo>
                <a:cubicBezTo>
                  <a:pt x="343732" y="401054"/>
                  <a:pt x="343732" y="401054"/>
                  <a:pt x="343658" y="401054"/>
                </a:cubicBezTo>
                <a:lnTo>
                  <a:pt x="245454" y="399356"/>
                </a:lnTo>
                <a:cubicBezTo>
                  <a:pt x="241098" y="399282"/>
                  <a:pt x="236963" y="401349"/>
                  <a:pt x="234453" y="404894"/>
                </a:cubicBezTo>
                <a:lnTo>
                  <a:pt x="221753" y="422541"/>
                </a:lnTo>
                <a:cubicBezTo>
                  <a:pt x="217470" y="428521"/>
                  <a:pt x="218799" y="436791"/>
                  <a:pt x="224780" y="441074"/>
                </a:cubicBezTo>
                <a:cubicBezTo>
                  <a:pt x="227143" y="442772"/>
                  <a:pt x="229875" y="443584"/>
                  <a:pt x="232533" y="443584"/>
                </a:cubicBezTo>
                <a:cubicBezTo>
                  <a:pt x="236668" y="443584"/>
                  <a:pt x="240729" y="441664"/>
                  <a:pt x="243313" y="438046"/>
                </a:cubicBezTo>
                <a:lnTo>
                  <a:pt x="251952" y="426085"/>
                </a:lnTo>
                <a:lnTo>
                  <a:pt x="343141" y="427709"/>
                </a:lnTo>
                <a:cubicBezTo>
                  <a:pt x="343510" y="427709"/>
                  <a:pt x="343805" y="427709"/>
                  <a:pt x="344175" y="427709"/>
                </a:cubicBezTo>
                <a:cubicBezTo>
                  <a:pt x="360640" y="427709"/>
                  <a:pt x="374891" y="417594"/>
                  <a:pt x="380946" y="403121"/>
                </a:cubicBezTo>
                <a:cubicBezTo>
                  <a:pt x="385081" y="401423"/>
                  <a:pt x="441049" y="378829"/>
                  <a:pt x="488379" y="361773"/>
                </a:cubicBezTo>
                <a:cubicBezTo>
                  <a:pt x="491701" y="360591"/>
                  <a:pt x="495246" y="360739"/>
                  <a:pt x="498421" y="362289"/>
                </a:cubicBezTo>
                <a:cubicBezTo>
                  <a:pt x="501669" y="363840"/>
                  <a:pt x="504106" y="366498"/>
                  <a:pt x="505288" y="369895"/>
                </a:cubicBezTo>
                <a:lnTo>
                  <a:pt x="505509" y="370485"/>
                </a:lnTo>
                <a:cubicBezTo>
                  <a:pt x="506469" y="373587"/>
                  <a:pt x="506247" y="376909"/>
                  <a:pt x="504844" y="379937"/>
                </a:cubicBezTo>
                <a:moveTo>
                  <a:pt x="214517" y="263938"/>
                </a:moveTo>
                <a:cubicBezTo>
                  <a:pt x="209348" y="258696"/>
                  <a:pt x="209422" y="250278"/>
                  <a:pt x="214664" y="245110"/>
                </a:cubicBezTo>
                <a:cubicBezTo>
                  <a:pt x="219907" y="239941"/>
                  <a:pt x="228324" y="240015"/>
                  <a:pt x="233493" y="245257"/>
                </a:cubicBezTo>
                <a:lnTo>
                  <a:pt x="250844" y="262978"/>
                </a:lnTo>
                <a:lnTo>
                  <a:pt x="298691" y="203687"/>
                </a:lnTo>
                <a:cubicBezTo>
                  <a:pt x="303269" y="198002"/>
                  <a:pt x="311686" y="197116"/>
                  <a:pt x="317372" y="201694"/>
                </a:cubicBezTo>
                <a:cubicBezTo>
                  <a:pt x="323057" y="206271"/>
                  <a:pt x="323943" y="214689"/>
                  <a:pt x="319365" y="220374"/>
                </a:cubicBezTo>
                <a:lnTo>
                  <a:pt x="262142" y="291258"/>
                </a:lnTo>
                <a:cubicBezTo>
                  <a:pt x="262142" y="291258"/>
                  <a:pt x="262142" y="291258"/>
                  <a:pt x="262068" y="291332"/>
                </a:cubicBezTo>
                <a:cubicBezTo>
                  <a:pt x="261772" y="291701"/>
                  <a:pt x="261477" y="292070"/>
                  <a:pt x="261108" y="292366"/>
                </a:cubicBezTo>
                <a:cubicBezTo>
                  <a:pt x="261034" y="292439"/>
                  <a:pt x="260960" y="292513"/>
                  <a:pt x="260886" y="292587"/>
                </a:cubicBezTo>
                <a:cubicBezTo>
                  <a:pt x="260591" y="292883"/>
                  <a:pt x="260296" y="293104"/>
                  <a:pt x="260000" y="293326"/>
                </a:cubicBezTo>
                <a:cubicBezTo>
                  <a:pt x="259853" y="293473"/>
                  <a:pt x="259705" y="293547"/>
                  <a:pt x="259557" y="293621"/>
                </a:cubicBezTo>
                <a:cubicBezTo>
                  <a:pt x="259336" y="293769"/>
                  <a:pt x="259114" y="293990"/>
                  <a:pt x="258819" y="294138"/>
                </a:cubicBezTo>
                <a:cubicBezTo>
                  <a:pt x="258671" y="294212"/>
                  <a:pt x="258523" y="294359"/>
                  <a:pt x="258302" y="294433"/>
                </a:cubicBezTo>
                <a:cubicBezTo>
                  <a:pt x="258081" y="294581"/>
                  <a:pt x="257785" y="294728"/>
                  <a:pt x="257564" y="294802"/>
                </a:cubicBezTo>
                <a:cubicBezTo>
                  <a:pt x="257416" y="294876"/>
                  <a:pt x="257268" y="294950"/>
                  <a:pt x="257047" y="295024"/>
                </a:cubicBezTo>
                <a:cubicBezTo>
                  <a:pt x="256751" y="295171"/>
                  <a:pt x="256530" y="295245"/>
                  <a:pt x="256235" y="295319"/>
                </a:cubicBezTo>
                <a:cubicBezTo>
                  <a:pt x="256087" y="295393"/>
                  <a:pt x="255939" y="295467"/>
                  <a:pt x="255718" y="295467"/>
                </a:cubicBezTo>
                <a:cubicBezTo>
                  <a:pt x="255422" y="295541"/>
                  <a:pt x="255127" y="295614"/>
                  <a:pt x="254832" y="295688"/>
                </a:cubicBezTo>
                <a:cubicBezTo>
                  <a:pt x="254684" y="295762"/>
                  <a:pt x="254536" y="295762"/>
                  <a:pt x="254389" y="295762"/>
                </a:cubicBezTo>
                <a:cubicBezTo>
                  <a:pt x="254093" y="295836"/>
                  <a:pt x="253724" y="295910"/>
                  <a:pt x="253429" y="295910"/>
                </a:cubicBezTo>
                <a:cubicBezTo>
                  <a:pt x="253281" y="295910"/>
                  <a:pt x="253133" y="295984"/>
                  <a:pt x="253060" y="295984"/>
                </a:cubicBezTo>
                <a:cubicBezTo>
                  <a:pt x="252616" y="296058"/>
                  <a:pt x="252174" y="296058"/>
                  <a:pt x="251730" y="296058"/>
                </a:cubicBezTo>
                <a:cubicBezTo>
                  <a:pt x="251730" y="296058"/>
                  <a:pt x="251730" y="296058"/>
                  <a:pt x="251730" y="296058"/>
                </a:cubicBezTo>
                <a:cubicBezTo>
                  <a:pt x="251361" y="296058"/>
                  <a:pt x="250918" y="296058"/>
                  <a:pt x="250549" y="295984"/>
                </a:cubicBezTo>
                <a:cubicBezTo>
                  <a:pt x="250475" y="295984"/>
                  <a:pt x="250328" y="295984"/>
                  <a:pt x="250254" y="295910"/>
                </a:cubicBezTo>
                <a:cubicBezTo>
                  <a:pt x="249958" y="295910"/>
                  <a:pt x="249663" y="295836"/>
                  <a:pt x="249368" y="295762"/>
                </a:cubicBezTo>
                <a:cubicBezTo>
                  <a:pt x="249220" y="295762"/>
                  <a:pt x="249146" y="295688"/>
                  <a:pt x="248999" y="295688"/>
                </a:cubicBezTo>
                <a:cubicBezTo>
                  <a:pt x="248703" y="295614"/>
                  <a:pt x="248482" y="295541"/>
                  <a:pt x="248186" y="295467"/>
                </a:cubicBezTo>
                <a:cubicBezTo>
                  <a:pt x="248039" y="295393"/>
                  <a:pt x="247891" y="295393"/>
                  <a:pt x="247743" y="295319"/>
                </a:cubicBezTo>
                <a:cubicBezTo>
                  <a:pt x="247522" y="295245"/>
                  <a:pt x="247226" y="295171"/>
                  <a:pt x="247005" y="295024"/>
                </a:cubicBezTo>
                <a:cubicBezTo>
                  <a:pt x="246857" y="294950"/>
                  <a:pt x="246709" y="294950"/>
                  <a:pt x="246562" y="294876"/>
                </a:cubicBezTo>
                <a:cubicBezTo>
                  <a:pt x="246340" y="294802"/>
                  <a:pt x="246119" y="294655"/>
                  <a:pt x="245823" y="294507"/>
                </a:cubicBezTo>
                <a:cubicBezTo>
                  <a:pt x="245676" y="294433"/>
                  <a:pt x="245528" y="294359"/>
                  <a:pt x="245381" y="294285"/>
                </a:cubicBezTo>
                <a:cubicBezTo>
                  <a:pt x="245085" y="294138"/>
                  <a:pt x="244864" y="293990"/>
                  <a:pt x="244568" y="293842"/>
                </a:cubicBezTo>
                <a:cubicBezTo>
                  <a:pt x="244421" y="293769"/>
                  <a:pt x="244347" y="293695"/>
                  <a:pt x="244199" y="293621"/>
                </a:cubicBezTo>
                <a:cubicBezTo>
                  <a:pt x="243904" y="293399"/>
                  <a:pt x="243608" y="293252"/>
                  <a:pt x="243387" y="293030"/>
                </a:cubicBezTo>
                <a:cubicBezTo>
                  <a:pt x="243387" y="293030"/>
                  <a:pt x="243387" y="293030"/>
                  <a:pt x="243313" y="292956"/>
                </a:cubicBezTo>
                <a:cubicBezTo>
                  <a:pt x="243165" y="292809"/>
                  <a:pt x="243018" y="292661"/>
                  <a:pt x="242796" y="292513"/>
                </a:cubicBezTo>
                <a:cubicBezTo>
                  <a:pt x="242648" y="292366"/>
                  <a:pt x="242427" y="292218"/>
                  <a:pt x="242279" y="291996"/>
                </a:cubicBezTo>
                <a:cubicBezTo>
                  <a:pt x="242279" y="291996"/>
                  <a:pt x="242279" y="291996"/>
                  <a:pt x="242206" y="291923"/>
                </a:cubicBezTo>
                <a:lnTo>
                  <a:pt x="214517" y="26393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s-MX" sz="1400" dirty="0"/>
          </a:p>
        </p:txBody>
      </p:sp>
      <p:sp>
        <p:nvSpPr>
          <p:cNvPr id="20" name="Forma libre 63">
            <a:extLst>
              <a:ext uri="{FF2B5EF4-FFF2-40B4-BE49-F238E27FC236}">
                <a16:creationId xmlns:a16="http://schemas.microsoft.com/office/drawing/2014/main" id="{00F20EF4-98E3-F5CC-3427-EC5E6B907D7C}"/>
              </a:ext>
            </a:extLst>
          </p:cNvPr>
          <p:cNvSpPr/>
          <p:nvPr/>
        </p:nvSpPr>
        <p:spPr>
          <a:xfrm>
            <a:off x="4440572" y="4356110"/>
            <a:ext cx="636344" cy="640948"/>
          </a:xfrm>
          <a:custGeom>
            <a:avLst/>
            <a:gdLst>
              <a:gd name="connsiteX0" fmla="*/ 398942 w 510215"/>
              <a:gd name="connsiteY0" fmla="*/ 133461 h 513906"/>
              <a:gd name="connsiteX1" fmla="*/ 465396 w 510215"/>
              <a:gd name="connsiteY1" fmla="*/ 67007 h 513906"/>
              <a:gd name="connsiteX2" fmla="*/ 398942 w 510215"/>
              <a:gd name="connsiteY2" fmla="*/ 554 h 513906"/>
              <a:gd name="connsiteX3" fmla="*/ 332489 w 510215"/>
              <a:gd name="connsiteY3" fmla="*/ 67007 h 513906"/>
              <a:gd name="connsiteX4" fmla="*/ 398942 w 510215"/>
              <a:gd name="connsiteY4" fmla="*/ 133461 h 513906"/>
              <a:gd name="connsiteX5" fmla="*/ 398942 w 510215"/>
              <a:gd name="connsiteY5" fmla="*/ 27061 h 513906"/>
              <a:gd name="connsiteX6" fmla="*/ 438814 w 510215"/>
              <a:gd name="connsiteY6" fmla="*/ 66933 h 513906"/>
              <a:gd name="connsiteX7" fmla="*/ 398942 w 510215"/>
              <a:gd name="connsiteY7" fmla="*/ 106805 h 513906"/>
              <a:gd name="connsiteX8" fmla="*/ 359070 w 510215"/>
              <a:gd name="connsiteY8" fmla="*/ 66933 h 513906"/>
              <a:gd name="connsiteX9" fmla="*/ 398942 w 510215"/>
              <a:gd name="connsiteY9" fmla="*/ 27061 h 513906"/>
              <a:gd name="connsiteX10" fmla="*/ 510141 w 510215"/>
              <a:gd name="connsiteY10" fmla="*/ 208922 h 513906"/>
              <a:gd name="connsiteX11" fmla="*/ 489393 w 510215"/>
              <a:gd name="connsiteY11" fmla="*/ 168977 h 513906"/>
              <a:gd name="connsiteX12" fmla="*/ 428551 w 510215"/>
              <a:gd name="connsiteY12" fmla="*/ 144019 h 513906"/>
              <a:gd name="connsiteX13" fmla="*/ 426927 w 510215"/>
              <a:gd name="connsiteY13" fmla="*/ 143724 h 513906"/>
              <a:gd name="connsiteX14" fmla="*/ 399016 w 510215"/>
              <a:gd name="connsiteY14" fmla="*/ 141361 h 513906"/>
              <a:gd name="connsiteX15" fmla="*/ 399016 w 510215"/>
              <a:gd name="connsiteY15" fmla="*/ 141361 h 513906"/>
              <a:gd name="connsiteX16" fmla="*/ 399016 w 510215"/>
              <a:gd name="connsiteY16" fmla="*/ 141361 h 513906"/>
              <a:gd name="connsiteX17" fmla="*/ 371179 w 510215"/>
              <a:gd name="connsiteY17" fmla="*/ 143724 h 513906"/>
              <a:gd name="connsiteX18" fmla="*/ 369481 w 510215"/>
              <a:gd name="connsiteY18" fmla="*/ 144019 h 513906"/>
              <a:gd name="connsiteX19" fmla="*/ 309230 w 510215"/>
              <a:gd name="connsiteY19" fmla="*/ 168607 h 513906"/>
              <a:gd name="connsiteX20" fmla="*/ 287965 w 510215"/>
              <a:gd name="connsiteY20" fmla="*/ 209218 h 513906"/>
              <a:gd name="connsiteX21" fmla="*/ 287965 w 510215"/>
              <a:gd name="connsiteY21" fmla="*/ 335332 h 513906"/>
              <a:gd name="connsiteX22" fmla="*/ 301256 w 510215"/>
              <a:gd name="connsiteY22" fmla="*/ 348622 h 513906"/>
              <a:gd name="connsiteX23" fmla="*/ 322890 w 510215"/>
              <a:gd name="connsiteY23" fmla="*/ 348622 h 513906"/>
              <a:gd name="connsiteX24" fmla="*/ 322890 w 510215"/>
              <a:gd name="connsiteY24" fmla="*/ 500653 h 513906"/>
              <a:gd name="connsiteX25" fmla="*/ 336181 w 510215"/>
              <a:gd name="connsiteY25" fmla="*/ 513944 h 513906"/>
              <a:gd name="connsiteX26" fmla="*/ 460744 w 510215"/>
              <a:gd name="connsiteY26" fmla="*/ 513944 h 513906"/>
              <a:gd name="connsiteX27" fmla="*/ 474035 w 510215"/>
              <a:gd name="connsiteY27" fmla="*/ 500653 h 513906"/>
              <a:gd name="connsiteX28" fmla="*/ 474035 w 510215"/>
              <a:gd name="connsiteY28" fmla="*/ 348622 h 513906"/>
              <a:gd name="connsiteX29" fmla="*/ 496998 w 510215"/>
              <a:gd name="connsiteY29" fmla="*/ 348622 h 513906"/>
              <a:gd name="connsiteX30" fmla="*/ 510289 w 510215"/>
              <a:gd name="connsiteY30" fmla="*/ 335332 h 513906"/>
              <a:gd name="connsiteX31" fmla="*/ 510141 w 510215"/>
              <a:gd name="connsiteY31" fmla="*/ 208922 h 513906"/>
              <a:gd name="connsiteX32" fmla="*/ 460744 w 510215"/>
              <a:gd name="connsiteY32" fmla="*/ 321967 h 513906"/>
              <a:gd name="connsiteX33" fmla="*/ 447454 w 510215"/>
              <a:gd name="connsiteY33" fmla="*/ 335258 h 513906"/>
              <a:gd name="connsiteX34" fmla="*/ 447454 w 510215"/>
              <a:gd name="connsiteY34" fmla="*/ 487288 h 513906"/>
              <a:gd name="connsiteX35" fmla="*/ 349471 w 510215"/>
              <a:gd name="connsiteY35" fmla="*/ 487288 h 513906"/>
              <a:gd name="connsiteX36" fmla="*/ 349471 w 510215"/>
              <a:gd name="connsiteY36" fmla="*/ 335258 h 513906"/>
              <a:gd name="connsiteX37" fmla="*/ 336181 w 510215"/>
              <a:gd name="connsiteY37" fmla="*/ 321967 h 513906"/>
              <a:gd name="connsiteX38" fmla="*/ 314547 w 510215"/>
              <a:gd name="connsiteY38" fmla="*/ 321967 h 513906"/>
              <a:gd name="connsiteX39" fmla="*/ 314547 w 510215"/>
              <a:gd name="connsiteY39" fmla="*/ 209144 h 513906"/>
              <a:gd name="connsiteX40" fmla="*/ 324367 w 510215"/>
              <a:gd name="connsiteY40" fmla="*/ 190315 h 513906"/>
              <a:gd name="connsiteX41" fmla="*/ 371179 w 510215"/>
              <a:gd name="connsiteY41" fmla="*/ 170675 h 513906"/>
              <a:gd name="connsiteX42" fmla="*/ 385652 w 510215"/>
              <a:gd name="connsiteY42" fmla="*/ 176434 h 513906"/>
              <a:gd name="connsiteX43" fmla="*/ 385726 w 510215"/>
              <a:gd name="connsiteY43" fmla="*/ 279585 h 513906"/>
              <a:gd name="connsiteX44" fmla="*/ 399016 w 510215"/>
              <a:gd name="connsiteY44" fmla="*/ 292875 h 513906"/>
              <a:gd name="connsiteX45" fmla="*/ 399016 w 510215"/>
              <a:gd name="connsiteY45" fmla="*/ 292875 h 513906"/>
              <a:gd name="connsiteX46" fmla="*/ 412307 w 510215"/>
              <a:gd name="connsiteY46" fmla="*/ 279585 h 513906"/>
              <a:gd name="connsiteX47" fmla="*/ 412233 w 510215"/>
              <a:gd name="connsiteY47" fmla="*/ 176434 h 513906"/>
              <a:gd name="connsiteX48" fmla="*/ 426705 w 510215"/>
              <a:gd name="connsiteY48" fmla="*/ 170675 h 513906"/>
              <a:gd name="connsiteX49" fmla="*/ 474035 w 510215"/>
              <a:gd name="connsiteY49" fmla="*/ 190685 h 513906"/>
              <a:gd name="connsiteX50" fmla="*/ 483560 w 510215"/>
              <a:gd name="connsiteY50" fmla="*/ 209070 h 513906"/>
              <a:gd name="connsiteX51" fmla="*/ 483708 w 510215"/>
              <a:gd name="connsiteY51" fmla="*/ 321967 h 513906"/>
              <a:gd name="connsiteX52" fmla="*/ 460744 w 510215"/>
              <a:gd name="connsiteY52" fmla="*/ 321967 h 513906"/>
              <a:gd name="connsiteX53" fmla="*/ 121240 w 510215"/>
              <a:gd name="connsiteY53" fmla="*/ 346333 h 513906"/>
              <a:gd name="connsiteX54" fmla="*/ 121240 w 510215"/>
              <a:gd name="connsiteY54" fmla="*/ 365162 h 513906"/>
              <a:gd name="connsiteX55" fmla="*/ 111863 w 510215"/>
              <a:gd name="connsiteY55" fmla="*/ 369075 h 513906"/>
              <a:gd name="connsiteX56" fmla="*/ 102486 w 510215"/>
              <a:gd name="connsiteY56" fmla="*/ 365162 h 513906"/>
              <a:gd name="connsiteX57" fmla="*/ 76126 w 510215"/>
              <a:gd name="connsiteY57" fmla="*/ 338802 h 513906"/>
              <a:gd name="connsiteX58" fmla="*/ 76126 w 510215"/>
              <a:gd name="connsiteY58" fmla="*/ 500653 h 513906"/>
              <a:gd name="connsiteX59" fmla="*/ 62836 w 510215"/>
              <a:gd name="connsiteY59" fmla="*/ 513944 h 513906"/>
              <a:gd name="connsiteX60" fmla="*/ 49545 w 510215"/>
              <a:gd name="connsiteY60" fmla="*/ 500653 h 513906"/>
              <a:gd name="connsiteX61" fmla="*/ 49545 w 510215"/>
              <a:gd name="connsiteY61" fmla="*/ 338802 h 513906"/>
              <a:gd name="connsiteX62" fmla="*/ 23185 w 510215"/>
              <a:gd name="connsiteY62" fmla="*/ 365162 h 513906"/>
              <a:gd name="connsiteX63" fmla="*/ 13807 w 510215"/>
              <a:gd name="connsiteY63" fmla="*/ 369075 h 513906"/>
              <a:gd name="connsiteX64" fmla="*/ 4430 w 510215"/>
              <a:gd name="connsiteY64" fmla="*/ 365162 h 513906"/>
              <a:gd name="connsiteX65" fmla="*/ 4430 w 510215"/>
              <a:gd name="connsiteY65" fmla="*/ 346333 h 513906"/>
              <a:gd name="connsiteX66" fmla="*/ 53532 w 510215"/>
              <a:gd name="connsiteY66" fmla="*/ 297232 h 513906"/>
              <a:gd name="connsiteX67" fmla="*/ 54492 w 510215"/>
              <a:gd name="connsiteY67" fmla="*/ 296346 h 513906"/>
              <a:gd name="connsiteX68" fmla="*/ 54935 w 510215"/>
              <a:gd name="connsiteY68" fmla="*/ 295977 h 513906"/>
              <a:gd name="connsiteX69" fmla="*/ 55525 w 510215"/>
              <a:gd name="connsiteY69" fmla="*/ 295533 h 513906"/>
              <a:gd name="connsiteX70" fmla="*/ 56116 w 510215"/>
              <a:gd name="connsiteY70" fmla="*/ 295164 h 513906"/>
              <a:gd name="connsiteX71" fmla="*/ 56633 w 510215"/>
              <a:gd name="connsiteY71" fmla="*/ 294869 h 513906"/>
              <a:gd name="connsiteX72" fmla="*/ 57224 w 510215"/>
              <a:gd name="connsiteY72" fmla="*/ 294573 h 513906"/>
              <a:gd name="connsiteX73" fmla="*/ 57814 w 510215"/>
              <a:gd name="connsiteY73" fmla="*/ 294278 h 513906"/>
              <a:gd name="connsiteX74" fmla="*/ 58405 w 510215"/>
              <a:gd name="connsiteY74" fmla="*/ 294057 h 513906"/>
              <a:gd name="connsiteX75" fmla="*/ 59070 w 510215"/>
              <a:gd name="connsiteY75" fmla="*/ 293835 h 513906"/>
              <a:gd name="connsiteX76" fmla="*/ 59660 w 510215"/>
              <a:gd name="connsiteY76" fmla="*/ 293688 h 513906"/>
              <a:gd name="connsiteX77" fmla="*/ 60325 w 510215"/>
              <a:gd name="connsiteY77" fmla="*/ 293540 h 513906"/>
              <a:gd name="connsiteX78" fmla="*/ 60990 w 510215"/>
              <a:gd name="connsiteY78" fmla="*/ 293466 h 513906"/>
              <a:gd name="connsiteX79" fmla="*/ 61580 w 510215"/>
              <a:gd name="connsiteY79" fmla="*/ 293392 h 513906"/>
              <a:gd name="connsiteX80" fmla="*/ 62836 w 510215"/>
              <a:gd name="connsiteY80" fmla="*/ 293318 h 513906"/>
              <a:gd name="connsiteX81" fmla="*/ 62836 w 510215"/>
              <a:gd name="connsiteY81" fmla="*/ 293318 h 513906"/>
              <a:gd name="connsiteX82" fmla="*/ 62836 w 510215"/>
              <a:gd name="connsiteY82" fmla="*/ 293318 h 513906"/>
              <a:gd name="connsiteX83" fmla="*/ 64091 w 510215"/>
              <a:gd name="connsiteY83" fmla="*/ 293392 h 513906"/>
              <a:gd name="connsiteX84" fmla="*/ 64681 w 510215"/>
              <a:gd name="connsiteY84" fmla="*/ 293466 h 513906"/>
              <a:gd name="connsiteX85" fmla="*/ 65346 w 510215"/>
              <a:gd name="connsiteY85" fmla="*/ 293540 h 513906"/>
              <a:gd name="connsiteX86" fmla="*/ 66010 w 510215"/>
              <a:gd name="connsiteY86" fmla="*/ 293688 h 513906"/>
              <a:gd name="connsiteX87" fmla="*/ 66601 w 510215"/>
              <a:gd name="connsiteY87" fmla="*/ 293835 h 513906"/>
              <a:gd name="connsiteX88" fmla="*/ 67266 w 510215"/>
              <a:gd name="connsiteY88" fmla="*/ 294057 h 513906"/>
              <a:gd name="connsiteX89" fmla="*/ 67856 w 510215"/>
              <a:gd name="connsiteY89" fmla="*/ 294278 h 513906"/>
              <a:gd name="connsiteX90" fmla="*/ 68447 w 510215"/>
              <a:gd name="connsiteY90" fmla="*/ 294573 h 513906"/>
              <a:gd name="connsiteX91" fmla="*/ 69038 w 510215"/>
              <a:gd name="connsiteY91" fmla="*/ 294869 h 513906"/>
              <a:gd name="connsiteX92" fmla="*/ 69554 w 510215"/>
              <a:gd name="connsiteY92" fmla="*/ 295164 h 513906"/>
              <a:gd name="connsiteX93" fmla="*/ 70145 w 510215"/>
              <a:gd name="connsiteY93" fmla="*/ 295533 h 513906"/>
              <a:gd name="connsiteX94" fmla="*/ 70736 w 510215"/>
              <a:gd name="connsiteY94" fmla="*/ 295977 h 513906"/>
              <a:gd name="connsiteX95" fmla="*/ 71179 w 510215"/>
              <a:gd name="connsiteY95" fmla="*/ 296346 h 513906"/>
              <a:gd name="connsiteX96" fmla="*/ 72139 w 510215"/>
              <a:gd name="connsiteY96" fmla="*/ 297232 h 513906"/>
              <a:gd name="connsiteX97" fmla="*/ 121240 w 510215"/>
              <a:gd name="connsiteY97" fmla="*/ 346333 h 513906"/>
              <a:gd name="connsiteX98" fmla="*/ 248979 w 510215"/>
              <a:gd name="connsiteY98" fmla="*/ 210842 h 513906"/>
              <a:gd name="connsiteX99" fmla="*/ 248979 w 510215"/>
              <a:gd name="connsiteY99" fmla="*/ 229671 h 513906"/>
              <a:gd name="connsiteX100" fmla="*/ 239602 w 510215"/>
              <a:gd name="connsiteY100" fmla="*/ 233584 h 513906"/>
              <a:gd name="connsiteX101" fmla="*/ 230224 w 510215"/>
              <a:gd name="connsiteY101" fmla="*/ 229671 h 513906"/>
              <a:gd name="connsiteX102" fmla="*/ 203865 w 510215"/>
              <a:gd name="connsiteY102" fmla="*/ 203311 h 513906"/>
              <a:gd name="connsiteX103" fmla="*/ 203865 w 510215"/>
              <a:gd name="connsiteY103" fmla="*/ 500653 h 513906"/>
              <a:gd name="connsiteX104" fmla="*/ 190574 w 510215"/>
              <a:gd name="connsiteY104" fmla="*/ 513944 h 513906"/>
              <a:gd name="connsiteX105" fmla="*/ 177283 w 510215"/>
              <a:gd name="connsiteY105" fmla="*/ 500653 h 513906"/>
              <a:gd name="connsiteX106" fmla="*/ 177283 w 510215"/>
              <a:gd name="connsiteY106" fmla="*/ 203311 h 513906"/>
              <a:gd name="connsiteX107" fmla="*/ 150923 w 510215"/>
              <a:gd name="connsiteY107" fmla="*/ 229671 h 513906"/>
              <a:gd name="connsiteX108" fmla="*/ 141546 w 510215"/>
              <a:gd name="connsiteY108" fmla="*/ 233584 h 513906"/>
              <a:gd name="connsiteX109" fmla="*/ 132169 w 510215"/>
              <a:gd name="connsiteY109" fmla="*/ 229671 h 513906"/>
              <a:gd name="connsiteX110" fmla="*/ 132169 w 510215"/>
              <a:gd name="connsiteY110" fmla="*/ 210842 h 513906"/>
              <a:gd name="connsiteX111" fmla="*/ 181270 w 510215"/>
              <a:gd name="connsiteY111" fmla="*/ 161740 h 513906"/>
              <a:gd name="connsiteX112" fmla="*/ 181270 w 510215"/>
              <a:gd name="connsiteY112" fmla="*/ 161740 h 513906"/>
              <a:gd name="connsiteX113" fmla="*/ 182230 w 510215"/>
              <a:gd name="connsiteY113" fmla="*/ 160854 h 513906"/>
              <a:gd name="connsiteX114" fmla="*/ 182673 w 510215"/>
              <a:gd name="connsiteY114" fmla="*/ 160485 h 513906"/>
              <a:gd name="connsiteX115" fmla="*/ 183264 w 510215"/>
              <a:gd name="connsiteY115" fmla="*/ 160042 h 513906"/>
              <a:gd name="connsiteX116" fmla="*/ 183855 w 510215"/>
              <a:gd name="connsiteY116" fmla="*/ 159673 h 513906"/>
              <a:gd name="connsiteX117" fmla="*/ 184371 w 510215"/>
              <a:gd name="connsiteY117" fmla="*/ 159378 h 513906"/>
              <a:gd name="connsiteX118" fmla="*/ 184962 w 510215"/>
              <a:gd name="connsiteY118" fmla="*/ 159082 h 513906"/>
              <a:gd name="connsiteX119" fmla="*/ 185553 w 510215"/>
              <a:gd name="connsiteY119" fmla="*/ 158787 h 513906"/>
              <a:gd name="connsiteX120" fmla="*/ 186144 w 510215"/>
              <a:gd name="connsiteY120" fmla="*/ 158565 h 513906"/>
              <a:gd name="connsiteX121" fmla="*/ 186808 w 510215"/>
              <a:gd name="connsiteY121" fmla="*/ 158344 h 513906"/>
              <a:gd name="connsiteX122" fmla="*/ 187399 w 510215"/>
              <a:gd name="connsiteY122" fmla="*/ 158196 h 513906"/>
              <a:gd name="connsiteX123" fmla="*/ 188063 w 510215"/>
              <a:gd name="connsiteY123" fmla="*/ 158048 h 513906"/>
              <a:gd name="connsiteX124" fmla="*/ 188728 w 510215"/>
              <a:gd name="connsiteY124" fmla="*/ 157975 h 513906"/>
              <a:gd name="connsiteX125" fmla="*/ 189319 w 510215"/>
              <a:gd name="connsiteY125" fmla="*/ 157901 h 513906"/>
              <a:gd name="connsiteX126" fmla="*/ 190500 w 510215"/>
              <a:gd name="connsiteY126" fmla="*/ 157827 h 513906"/>
              <a:gd name="connsiteX127" fmla="*/ 190574 w 510215"/>
              <a:gd name="connsiteY127" fmla="*/ 157827 h 513906"/>
              <a:gd name="connsiteX128" fmla="*/ 190647 w 510215"/>
              <a:gd name="connsiteY128" fmla="*/ 157827 h 513906"/>
              <a:gd name="connsiteX129" fmla="*/ 191829 w 510215"/>
              <a:gd name="connsiteY129" fmla="*/ 157901 h 513906"/>
              <a:gd name="connsiteX130" fmla="*/ 192420 w 510215"/>
              <a:gd name="connsiteY130" fmla="*/ 157975 h 513906"/>
              <a:gd name="connsiteX131" fmla="*/ 193084 w 510215"/>
              <a:gd name="connsiteY131" fmla="*/ 158048 h 513906"/>
              <a:gd name="connsiteX132" fmla="*/ 193749 w 510215"/>
              <a:gd name="connsiteY132" fmla="*/ 158196 h 513906"/>
              <a:gd name="connsiteX133" fmla="*/ 194339 w 510215"/>
              <a:gd name="connsiteY133" fmla="*/ 158344 h 513906"/>
              <a:gd name="connsiteX134" fmla="*/ 195004 w 510215"/>
              <a:gd name="connsiteY134" fmla="*/ 158565 h 513906"/>
              <a:gd name="connsiteX135" fmla="*/ 195595 w 510215"/>
              <a:gd name="connsiteY135" fmla="*/ 158787 h 513906"/>
              <a:gd name="connsiteX136" fmla="*/ 196185 w 510215"/>
              <a:gd name="connsiteY136" fmla="*/ 159082 h 513906"/>
              <a:gd name="connsiteX137" fmla="*/ 196776 w 510215"/>
              <a:gd name="connsiteY137" fmla="*/ 159378 h 513906"/>
              <a:gd name="connsiteX138" fmla="*/ 197293 w 510215"/>
              <a:gd name="connsiteY138" fmla="*/ 159673 h 513906"/>
              <a:gd name="connsiteX139" fmla="*/ 197884 w 510215"/>
              <a:gd name="connsiteY139" fmla="*/ 160042 h 513906"/>
              <a:gd name="connsiteX140" fmla="*/ 198474 w 510215"/>
              <a:gd name="connsiteY140" fmla="*/ 160485 h 513906"/>
              <a:gd name="connsiteX141" fmla="*/ 198917 w 510215"/>
              <a:gd name="connsiteY141" fmla="*/ 160854 h 513906"/>
              <a:gd name="connsiteX142" fmla="*/ 199877 w 510215"/>
              <a:gd name="connsiteY142" fmla="*/ 161740 h 513906"/>
              <a:gd name="connsiteX143" fmla="*/ 199877 w 510215"/>
              <a:gd name="connsiteY143" fmla="*/ 161740 h 513906"/>
              <a:gd name="connsiteX144" fmla="*/ 199877 w 510215"/>
              <a:gd name="connsiteY144" fmla="*/ 161740 h 513906"/>
              <a:gd name="connsiteX145" fmla="*/ 248979 w 510215"/>
              <a:gd name="connsiteY145" fmla="*/ 210842 h 513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</a:cxnLst>
            <a:rect l="l" t="t" r="r" b="b"/>
            <a:pathLst>
              <a:path w="510215" h="513906">
                <a:moveTo>
                  <a:pt x="398942" y="133461"/>
                </a:moveTo>
                <a:cubicBezTo>
                  <a:pt x="435640" y="133461"/>
                  <a:pt x="465396" y="103631"/>
                  <a:pt x="465396" y="67007"/>
                </a:cubicBezTo>
                <a:cubicBezTo>
                  <a:pt x="465396" y="30310"/>
                  <a:pt x="435566" y="554"/>
                  <a:pt x="398942" y="554"/>
                </a:cubicBezTo>
                <a:cubicBezTo>
                  <a:pt x="362245" y="554"/>
                  <a:pt x="332489" y="30384"/>
                  <a:pt x="332489" y="67007"/>
                </a:cubicBezTo>
                <a:cubicBezTo>
                  <a:pt x="332489" y="103631"/>
                  <a:pt x="362319" y="133461"/>
                  <a:pt x="398942" y="133461"/>
                </a:cubicBezTo>
                <a:moveTo>
                  <a:pt x="398942" y="27061"/>
                </a:moveTo>
                <a:cubicBezTo>
                  <a:pt x="420946" y="27061"/>
                  <a:pt x="438814" y="44930"/>
                  <a:pt x="438814" y="66933"/>
                </a:cubicBezTo>
                <a:cubicBezTo>
                  <a:pt x="438814" y="88937"/>
                  <a:pt x="420946" y="106805"/>
                  <a:pt x="398942" y="106805"/>
                </a:cubicBezTo>
                <a:cubicBezTo>
                  <a:pt x="376939" y="106805"/>
                  <a:pt x="359070" y="88937"/>
                  <a:pt x="359070" y="66933"/>
                </a:cubicBezTo>
                <a:cubicBezTo>
                  <a:pt x="359070" y="44930"/>
                  <a:pt x="376939" y="27061"/>
                  <a:pt x="398942" y="27061"/>
                </a:cubicBezTo>
                <a:moveTo>
                  <a:pt x="510141" y="208922"/>
                </a:moveTo>
                <a:cubicBezTo>
                  <a:pt x="510067" y="192974"/>
                  <a:pt x="502240" y="178058"/>
                  <a:pt x="489393" y="168977"/>
                </a:cubicBezTo>
                <a:cubicBezTo>
                  <a:pt x="471746" y="156572"/>
                  <a:pt x="450850" y="148006"/>
                  <a:pt x="428551" y="144019"/>
                </a:cubicBezTo>
                <a:cubicBezTo>
                  <a:pt x="428034" y="143872"/>
                  <a:pt x="427444" y="143798"/>
                  <a:pt x="426927" y="143724"/>
                </a:cubicBezTo>
                <a:cubicBezTo>
                  <a:pt x="417771" y="142173"/>
                  <a:pt x="408467" y="141361"/>
                  <a:pt x="399016" y="141361"/>
                </a:cubicBezTo>
                <a:lnTo>
                  <a:pt x="399016" y="141361"/>
                </a:lnTo>
                <a:lnTo>
                  <a:pt x="399016" y="141361"/>
                </a:lnTo>
                <a:cubicBezTo>
                  <a:pt x="389639" y="141361"/>
                  <a:pt x="380262" y="142173"/>
                  <a:pt x="371179" y="143724"/>
                </a:cubicBezTo>
                <a:cubicBezTo>
                  <a:pt x="370589" y="143798"/>
                  <a:pt x="370072" y="143872"/>
                  <a:pt x="369481" y="144019"/>
                </a:cubicBezTo>
                <a:cubicBezTo>
                  <a:pt x="347478" y="148006"/>
                  <a:pt x="326730" y="156424"/>
                  <a:pt x="309230" y="168607"/>
                </a:cubicBezTo>
                <a:cubicBezTo>
                  <a:pt x="295939" y="177911"/>
                  <a:pt x="287965" y="193047"/>
                  <a:pt x="287965" y="209218"/>
                </a:cubicBezTo>
                <a:lnTo>
                  <a:pt x="287965" y="335332"/>
                </a:lnTo>
                <a:cubicBezTo>
                  <a:pt x="287965" y="342641"/>
                  <a:pt x="293946" y="348622"/>
                  <a:pt x="301256" y="348622"/>
                </a:cubicBezTo>
                <a:lnTo>
                  <a:pt x="322890" y="348622"/>
                </a:lnTo>
                <a:lnTo>
                  <a:pt x="322890" y="500653"/>
                </a:lnTo>
                <a:cubicBezTo>
                  <a:pt x="322890" y="507963"/>
                  <a:pt x="328871" y="513944"/>
                  <a:pt x="336181" y="513944"/>
                </a:cubicBezTo>
                <a:lnTo>
                  <a:pt x="460744" y="513944"/>
                </a:lnTo>
                <a:cubicBezTo>
                  <a:pt x="468054" y="513944"/>
                  <a:pt x="474035" y="507963"/>
                  <a:pt x="474035" y="500653"/>
                </a:cubicBezTo>
                <a:lnTo>
                  <a:pt x="474035" y="348622"/>
                </a:lnTo>
                <a:lnTo>
                  <a:pt x="496998" y="348622"/>
                </a:lnTo>
                <a:cubicBezTo>
                  <a:pt x="504308" y="348622"/>
                  <a:pt x="510289" y="342641"/>
                  <a:pt x="510289" y="335332"/>
                </a:cubicBezTo>
                <a:cubicBezTo>
                  <a:pt x="510289" y="321450"/>
                  <a:pt x="510215" y="221992"/>
                  <a:pt x="510141" y="208922"/>
                </a:cubicBezTo>
                <a:moveTo>
                  <a:pt x="460744" y="321967"/>
                </a:moveTo>
                <a:cubicBezTo>
                  <a:pt x="453434" y="321967"/>
                  <a:pt x="447454" y="327948"/>
                  <a:pt x="447454" y="335258"/>
                </a:cubicBezTo>
                <a:lnTo>
                  <a:pt x="447454" y="487288"/>
                </a:lnTo>
                <a:lnTo>
                  <a:pt x="349471" y="487288"/>
                </a:lnTo>
                <a:lnTo>
                  <a:pt x="349471" y="335258"/>
                </a:lnTo>
                <a:cubicBezTo>
                  <a:pt x="349471" y="327948"/>
                  <a:pt x="343490" y="321967"/>
                  <a:pt x="336181" y="321967"/>
                </a:cubicBezTo>
                <a:lnTo>
                  <a:pt x="314547" y="321967"/>
                </a:lnTo>
                <a:lnTo>
                  <a:pt x="314547" y="209144"/>
                </a:lnTo>
                <a:cubicBezTo>
                  <a:pt x="314547" y="201686"/>
                  <a:pt x="318238" y="194672"/>
                  <a:pt x="324367" y="190315"/>
                </a:cubicBezTo>
                <a:cubicBezTo>
                  <a:pt x="337953" y="180790"/>
                  <a:pt x="354049" y="174145"/>
                  <a:pt x="371179" y="170675"/>
                </a:cubicBezTo>
                <a:lnTo>
                  <a:pt x="385652" y="176434"/>
                </a:lnTo>
                <a:lnTo>
                  <a:pt x="385726" y="279585"/>
                </a:lnTo>
                <a:cubicBezTo>
                  <a:pt x="385726" y="286894"/>
                  <a:pt x="391706" y="292875"/>
                  <a:pt x="399016" y="292875"/>
                </a:cubicBezTo>
                <a:lnTo>
                  <a:pt x="399016" y="292875"/>
                </a:lnTo>
                <a:cubicBezTo>
                  <a:pt x="406326" y="292875"/>
                  <a:pt x="412307" y="286894"/>
                  <a:pt x="412307" y="279585"/>
                </a:cubicBezTo>
                <a:lnTo>
                  <a:pt x="412233" y="176434"/>
                </a:lnTo>
                <a:lnTo>
                  <a:pt x="426705" y="170675"/>
                </a:lnTo>
                <a:cubicBezTo>
                  <a:pt x="444057" y="174219"/>
                  <a:pt x="460301" y="181012"/>
                  <a:pt x="474035" y="190685"/>
                </a:cubicBezTo>
                <a:cubicBezTo>
                  <a:pt x="479942" y="194820"/>
                  <a:pt x="483486" y="201760"/>
                  <a:pt x="483560" y="209070"/>
                </a:cubicBezTo>
                <a:cubicBezTo>
                  <a:pt x="483634" y="219924"/>
                  <a:pt x="483708" y="290660"/>
                  <a:pt x="483708" y="321967"/>
                </a:cubicBezTo>
                <a:lnTo>
                  <a:pt x="460744" y="321967"/>
                </a:lnTo>
                <a:close/>
                <a:moveTo>
                  <a:pt x="121240" y="346333"/>
                </a:moveTo>
                <a:cubicBezTo>
                  <a:pt x="126409" y="351502"/>
                  <a:pt x="126409" y="359919"/>
                  <a:pt x="121240" y="365162"/>
                </a:cubicBezTo>
                <a:cubicBezTo>
                  <a:pt x="118656" y="367746"/>
                  <a:pt x="115260" y="369075"/>
                  <a:pt x="111863" y="369075"/>
                </a:cubicBezTo>
                <a:cubicBezTo>
                  <a:pt x="108467" y="369075"/>
                  <a:pt x="105070" y="367746"/>
                  <a:pt x="102486" y="365162"/>
                </a:cubicBezTo>
                <a:lnTo>
                  <a:pt x="76126" y="338802"/>
                </a:lnTo>
                <a:lnTo>
                  <a:pt x="76126" y="500653"/>
                </a:lnTo>
                <a:cubicBezTo>
                  <a:pt x="76126" y="507963"/>
                  <a:pt x="70145" y="513944"/>
                  <a:pt x="62836" y="513944"/>
                </a:cubicBezTo>
                <a:cubicBezTo>
                  <a:pt x="55525" y="513944"/>
                  <a:pt x="49545" y="507963"/>
                  <a:pt x="49545" y="500653"/>
                </a:cubicBezTo>
                <a:lnTo>
                  <a:pt x="49545" y="338802"/>
                </a:lnTo>
                <a:lnTo>
                  <a:pt x="23185" y="365162"/>
                </a:lnTo>
                <a:cubicBezTo>
                  <a:pt x="20601" y="367746"/>
                  <a:pt x="17204" y="369075"/>
                  <a:pt x="13807" y="369075"/>
                </a:cubicBezTo>
                <a:cubicBezTo>
                  <a:pt x="10411" y="369075"/>
                  <a:pt x="7015" y="367746"/>
                  <a:pt x="4430" y="365162"/>
                </a:cubicBezTo>
                <a:cubicBezTo>
                  <a:pt x="-738" y="359993"/>
                  <a:pt x="-738" y="351576"/>
                  <a:pt x="4430" y="346333"/>
                </a:cubicBezTo>
                <a:lnTo>
                  <a:pt x="53532" y="297232"/>
                </a:lnTo>
                <a:cubicBezTo>
                  <a:pt x="53827" y="296936"/>
                  <a:pt x="54196" y="296641"/>
                  <a:pt x="54492" y="296346"/>
                </a:cubicBezTo>
                <a:cubicBezTo>
                  <a:pt x="54640" y="296198"/>
                  <a:pt x="54787" y="296124"/>
                  <a:pt x="54935" y="295977"/>
                </a:cubicBezTo>
                <a:cubicBezTo>
                  <a:pt x="55156" y="295829"/>
                  <a:pt x="55304" y="295681"/>
                  <a:pt x="55525" y="295533"/>
                </a:cubicBezTo>
                <a:cubicBezTo>
                  <a:pt x="55747" y="295386"/>
                  <a:pt x="55895" y="295312"/>
                  <a:pt x="56116" y="295164"/>
                </a:cubicBezTo>
                <a:cubicBezTo>
                  <a:pt x="56264" y="295090"/>
                  <a:pt x="56485" y="294943"/>
                  <a:pt x="56633" y="294869"/>
                </a:cubicBezTo>
                <a:cubicBezTo>
                  <a:pt x="56855" y="294795"/>
                  <a:pt x="57002" y="294647"/>
                  <a:pt x="57224" y="294573"/>
                </a:cubicBezTo>
                <a:cubicBezTo>
                  <a:pt x="57445" y="294500"/>
                  <a:pt x="57593" y="294352"/>
                  <a:pt x="57814" y="294278"/>
                </a:cubicBezTo>
                <a:cubicBezTo>
                  <a:pt x="58036" y="294204"/>
                  <a:pt x="58184" y="294131"/>
                  <a:pt x="58405" y="294057"/>
                </a:cubicBezTo>
                <a:cubicBezTo>
                  <a:pt x="58627" y="293983"/>
                  <a:pt x="58848" y="293909"/>
                  <a:pt x="59070" y="293835"/>
                </a:cubicBezTo>
                <a:cubicBezTo>
                  <a:pt x="59291" y="293761"/>
                  <a:pt x="59439" y="293761"/>
                  <a:pt x="59660" y="293688"/>
                </a:cubicBezTo>
                <a:cubicBezTo>
                  <a:pt x="59882" y="293614"/>
                  <a:pt x="60103" y="293540"/>
                  <a:pt x="60325" y="293540"/>
                </a:cubicBezTo>
                <a:cubicBezTo>
                  <a:pt x="60547" y="293466"/>
                  <a:pt x="60768" y="293466"/>
                  <a:pt x="60990" y="293466"/>
                </a:cubicBezTo>
                <a:cubicBezTo>
                  <a:pt x="61211" y="293466"/>
                  <a:pt x="61359" y="293392"/>
                  <a:pt x="61580" y="293392"/>
                </a:cubicBezTo>
                <a:cubicBezTo>
                  <a:pt x="62023" y="293318"/>
                  <a:pt x="62466" y="293318"/>
                  <a:pt x="62836" y="293318"/>
                </a:cubicBezTo>
                <a:cubicBezTo>
                  <a:pt x="62836" y="293318"/>
                  <a:pt x="62836" y="293318"/>
                  <a:pt x="62836" y="293318"/>
                </a:cubicBezTo>
                <a:cubicBezTo>
                  <a:pt x="62836" y="293318"/>
                  <a:pt x="62836" y="293318"/>
                  <a:pt x="62836" y="293318"/>
                </a:cubicBezTo>
                <a:cubicBezTo>
                  <a:pt x="63278" y="293318"/>
                  <a:pt x="63721" y="293318"/>
                  <a:pt x="64091" y="293392"/>
                </a:cubicBezTo>
                <a:cubicBezTo>
                  <a:pt x="64312" y="293392"/>
                  <a:pt x="64460" y="293466"/>
                  <a:pt x="64681" y="293466"/>
                </a:cubicBezTo>
                <a:cubicBezTo>
                  <a:pt x="64903" y="293466"/>
                  <a:pt x="65124" y="293540"/>
                  <a:pt x="65346" y="293540"/>
                </a:cubicBezTo>
                <a:cubicBezTo>
                  <a:pt x="65567" y="293614"/>
                  <a:pt x="65789" y="293614"/>
                  <a:pt x="66010" y="293688"/>
                </a:cubicBezTo>
                <a:cubicBezTo>
                  <a:pt x="66232" y="293761"/>
                  <a:pt x="66380" y="293761"/>
                  <a:pt x="66601" y="293835"/>
                </a:cubicBezTo>
                <a:cubicBezTo>
                  <a:pt x="66823" y="293909"/>
                  <a:pt x="67044" y="293983"/>
                  <a:pt x="67266" y="294057"/>
                </a:cubicBezTo>
                <a:cubicBezTo>
                  <a:pt x="67487" y="294131"/>
                  <a:pt x="67635" y="294204"/>
                  <a:pt x="67856" y="294278"/>
                </a:cubicBezTo>
                <a:cubicBezTo>
                  <a:pt x="68078" y="294352"/>
                  <a:pt x="68226" y="294426"/>
                  <a:pt x="68447" y="294573"/>
                </a:cubicBezTo>
                <a:cubicBezTo>
                  <a:pt x="68669" y="294647"/>
                  <a:pt x="68816" y="294721"/>
                  <a:pt x="69038" y="294869"/>
                </a:cubicBezTo>
                <a:cubicBezTo>
                  <a:pt x="69259" y="294943"/>
                  <a:pt x="69407" y="295090"/>
                  <a:pt x="69554" y="295164"/>
                </a:cubicBezTo>
                <a:cubicBezTo>
                  <a:pt x="69776" y="295312"/>
                  <a:pt x="69924" y="295386"/>
                  <a:pt x="70145" y="295533"/>
                </a:cubicBezTo>
                <a:cubicBezTo>
                  <a:pt x="70367" y="295681"/>
                  <a:pt x="70515" y="295829"/>
                  <a:pt x="70736" y="295977"/>
                </a:cubicBezTo>
                <a:cubicBezTo>
                  <a:pt x="70884" y="296124"/>
                  <a:pt x="71031" y="296198"/>
                  <a:pt x="71179" y="296346"/>
                </a:cubicBezTo>
                <a:cubicBezTo>
                  <a:pt x="71548" y="296641"/>
                  <a:pt x="71843" y="296936"/>
                  <a:pt x="72139" y="297232"/>
                </a:cubicBezTo>
                <a:lnTo>
                  <a:pt x="121240" y="346333"/>
                </a:lnTo>
                <a:close/>
                <a:moveTo>
                  <a:pt x="248979" y="210842"/>
                </a:moveTo>
                <a:cubicBezTo>
                  <a:pt x="254147" y="216011"/>
                  <a:pt x="254147" y="224428"/>
                  <a:pt x="248979" y="229671"/>
                </a:cubicBezTo>
                <a:cubicBezTo>
                  <a:pt x="246395" y="232255"/>
                  <a:pt x="242998" y="233584"/>
                  <a:pt x="239602" y="233584"/>
                </a:cubicBezTo>
                <a:cubicBezTo>
                  <a:pt x="236205" y="233584"/>
                  <a:pt x="232809" y="232255"/>
                  <a:pt x="230224" y="229671"/>
                </a:cubicBezTo>
                <a:lnTo>
                  <a:pt x="203865" y="203311"/>
                </a:lnTo>
                <a:lnTo>
                  <a:pt x="203865" y="500653"/>
                </a:lnTo>
                <a:cubicBezTo>
                  <a:pt x="203865" y="507963"/>
                  <a:pt x="197884" y="513944"/>
                  <a:pt x="190574" y="513944"/>
                </a:cubicBezTo>
                <a:cubicBezTo>
                  <a:pt x="183264" y="513944"/>
                  <a:pt x="177283" y="507963"/>
                  <a:pt x="177283" y="500653"/>
                </a:cubicBezTo>
                <a:lnTo>
                  <a:pt x="177283" y="203311"/>
                </a:lnTo>
                <a:lnTo>
                  <a:pt x="150923" y="229671"/>
                </a:lnTo>
                <a:cubicBezTo>
                  <a:pt x="148339" y="232255"/>
                  <a:pt x="144942" y="233584"/>
                  <a:pt x="141546" y="233584"/>
                </a:cubicBezTo>
                <a:cubicBezTo>
                  <a:pt x="138149" y="233584"/>
                  <a:pt x="134753" y="232255"/>
                  <a:pt x="132169" y="229671"/>
                </a:cubicBezTo>
                <a:cubicBezTo>
                  <a:pt x="127000" y="224502"/>
                  <a:pt x="127000" y="216085"/>
                  <a:pt x="132169" y="210842"/>
                </a:cubicBezTo>
                <a:lnTo>
                  <a:pt x="181270" y="161740"/>
                </a:lnTo>
                <a:cubicBezTo>
                  <a:pt x="181270" y="161740"/>
                  <a:pt x="181270" y="161740"/>
                  <a:pt x="181270" y="161740"/>
                </a:cubicBezTo>
                <a:cubicBezTo>
                  <a:pt x="181566" y="161445"/>
                  <a:pt x="181935" y="161150"/>
                  <a:pt x="182230" y="160854"/>
                </a:cubicBezTo>
                <a:cubicBezTo>
                  <a:pt x="182378" y="160707"/>
                  <a:pt x="182525" y="160633"/>
                  <a:pt x="182673" y="160485"/>
                </a:cubicBezTo>
                <a:cubicBezTo>
                  <a:pt x="182895" y="160337"/>
                  <a:pt x="183042" y="160190"/>
                  <a:pt x="183264" y="160042"/>
                </a:cubicBezTo>
                <a:cubicBezTo>
                  <a:pt x="183485" y="159894"/>
                  <a:pt x="183633" y="159820"/>
                  <a:pt x="183855" y="159673"/>
                </a:cubicBezTo>
                <a:cubicBezTo>
                  <a:pt x="184002" y="159599"/>
                  <a:pt x="184224" y="159451"/>
                  <a:pt x="184371" y="159378"/>
                </a:cubicBezTo>
                <a:cubicBezTo>
                  <a:pt x="184593" y="159304"/>
                  <a:pt x="184740" y="159156"/>
                  <a:pt x="184962" y="159082"/>
                </a:cubicBezTo>
                <a:cubicBezTo>
                  <a:pt x="185184" y="159009"/>
                  <a:pt x="185331" y="158861"/>
                  <a:pt x="185553" y="158787"/>
                </a:cubicBezTo>
                <a:cubicBezTo>
                  <a:pt x="185774" y="158713"/>
                  <a:pt x="185922" y="158639"/>
                  <a:pt x="186144" y="158565"/>
                </a:cubicBezTo>
                <a:cubicBezTo>
                  <a:pt x="186365" y="158492"/>
                  <a:pt x="186586" y="158418"/>
                  <a:pt x="186808" y="158344"/>
                </a:cubicBezTo>
                <a:cubicBezTo>
                  <a:pt x="187030" y="158270"/>
                  <a:pt x="187177" y="158270"/>
                  <a:pt x="187399" y="158196"/>
                </a:cubicBezTo>
                <a:cubicBezTo>
                  <a:pt x="187620" y="158122"/>
                  <a:pt x="187842" y="158048"/>
                  <a:pt x="188063" y="158048"/>
                </a:cubicBezTo>
                <a:cubicBezTo>
                  <a:pt x="188285" y="157975"/>
                  <a:pt x="188506" y="157975"/>
                  <a:pt x="188728" y="157975"/>
                </a:cubicBezTo>
                <a:cubicBezTo>
                  <a:pt x="188949" y="157975"/>
                  <a:pt x="189171" y="157901"/>
                  <a:pt x="189319" y="157901"/>
                </a:cubicBezTo>
                <a:cubicBezTo>
                  <a:pt x="189688" y="157827"/>
                  <a:pt x="190131" y="157827"/>
                  <a:pt x="190500" y="157827"/>
                </a:cubicBezTo>
                <a:cubicBezTo>
                  <a:pt x="190500" y="157827"/>
                  <a:pt x="190574" y="157827"/>
                  <a:pt x="190574" y="157827"/>
                </a:cubicBezTo>
                <a:cubicBezTo>
                  <a:pt x="190574" y="157827"/>
                  <a:pt x="190647" y="157827"/>
                  <a:pt x="190647" y="157827"/>
                </a:cubicBezTo>
                <a:cubicBezTo>
                  <a:pt x="191017" y="157827"/>
                  <a:pt x="191460" y="157827"/>
                  <a:pt x="191829" y="157901"/>
                </a:cubicBezTo>
                <a:cubicBezTo>
                  <a:pt x="192051" y="157901"/>
                  <a:pt x="192272" y="157975"/>
                  <a:pt x="192420" y="157975"/>
                </a:cubicBezTo>
                <a:cubicBezTo>
                  <a:pt x="192641" y="157975"/>
                  <a:pt x="192863" y="158048"/>
                  <a:pt x="193084" y="158048"/>
                </a:cubicBezTo>
                <a:cubicBezTo>
                  <a:pt x="193306" y="158122"/>
                  <a:pt x="193527" y="158122"/>
                  <a:pt x="193749" y="158196"/>
                </a:cubicBezTo>
                <a:cubicBezTo>
                  <a:pt x="193970" y="158270"/>
                  <a:pt x="194118" y="158270"/>
                  <a:pt x="194339" y="158344"/>
                </a:cubicBezTo>
                <a:cubicBezTo>
                  <a:pt x="194561" y="158418"/>
                  <a:pt x="194782" y="158492"/>
                  <a:pt x="195004" y="158565"/>
                </a:cubicBezTo>
                <a:cubicBezTo>
                  <a:pt x="195226" y="158639"/>
                  <a:pt x="195373" y="158713"/>
                  <a:pt x="195595" y="158787"/>
                </a:cubicBezTo>
                <a:cubicBezTo>
                  <a:pt x="195816" y="158861"/>
                  <a:pt x="195964" y="158935"/>
                  <a:pt x="196185" y="159082"/>
                </a:cubicBezTo>
                <a:cubicBezTo>
                  <a:pt x="196407" y="159156"/>
                  <a:pt x="196554" y="159230"/>
                  <a:pt x="196776" y="159378"/>
                </a:cubicBezTo>
                <a:cubicBezTo>
                  <a:pt x="196998" y="159451"/>
                  <a:pt x="197145" y="159599"/>
                  <a:pt x="197293" y="159673"/>
                </a:cubicBezTo>
                <a:cubicBezTo>
                  <a:pt x="197515" y="159820"/>
                  <a:pt x="197662" y="159894"/>
                  <a:pt x="197884" y="160042"/>
                </a:cubicBezTo>
                <a:cubicBezTo>
                  <a:pt x="198105" y="160190"/>
                  <a:pt x="198253" y="160337"/>
                  <a:pt x="198474" y="160485"/>
                </a:cubicBezTo>
                <a:cubicBezTo>
                  <a:pt x="198622" y="160633"/>
                  <a:pt x="198770" y="160707"/>
                  <a:pt x="198917" y="160854"/>
                </a:cubicBezTo>
                <a:cubicBezTo>
                  <a:pt x="199287" y="161150"/>
                  <a:pt x="199582" y="161445"/>
                  <a:pt x="199877" y="161740"/>
                </a:cubicBezTo>
                <a:cubicBezTo>
                  <a:pt x="199877" y="161740"/>
                  <a:pt x="199877" y="161740"/>
                  <a:pt x="199877" y="161740"/>
                </a:cubicBezTo>
                <a:cubicBezTo>
                  <a:pt x="199877" y="161740"/>
                  <a:pt x="199877" y="161740"/>
                  <a:pt x="199877" y="161740"/>
                </a:cubicBezTo>
                <a:lnTo>
                  <a:pt x="248979" y="210842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s-MX" sz="1400" dirty="0"/>
          </a:p>
        </p:txBody>
      </p:sp>
      <p:sp>
        <p:nvSpPr>
          <p:cNvPr id="23" name="Forma libre 87">
            <a:extLst>
              <a:ext uri="{FF2B5EF4-FFF2-40B4-BE49-F238E27FC236}">
                <a16:creationId xmlns:a16="http://schemas.microsoft.com/office/drawing/2014/main" id="{7830A52B-208F-2D5E-0104-5764D686F9CF}"/>
              </a:ext>
            </a:extLst>
          </p:cNvPr>
          <p:cNvSpPr/>
          <p:nvPr/>
        </p:nvSpPr>
        <p:spPr>
          <a:xfrm>
            <a:off x="6812266" y="4346926"/>
            <a:ext cx="338734" cy="338734"/>
          </a:xfrm>
          <a:custGeom>
            <a:avLst/>
            <a:gdLst>
              <a:gd name="connsiteX0" fmla="*/ 242383 w 483059"/>
              <a:gd name="connsiteY0" fmla="*/ 482731 h 483059"/>
              <a:gd name="connsiteX1" fmla="*/ 242777 w 483059"/>
              <a:gd name="connsiteY1" fmla="*/ 482731 h 483059"/>
              <a:gd name="connsiteX2" fmla="*/ 253672 w 483059"/>
              <a:gd name="connsiteY2" fmla="*/ 482469 h 483059"/>
              <a:gd name="connsiteX3" fmla="*/ 482731 w 483059"/>
              <a:gd name="connsiteY3" fmla="*/ 241858 h 483059"/>
              <a:gd name="connsiteX4" fmla="*/ 241858 w 483059"/>
              <a:gd name="connsiteY4" fmla="*/ 984 h 483059"/>
              <a:gd name="connsiteX5" fmla="*/ 984 w 483059"/>
              <a:gd name="connsiteY5" fmla="*/ 241858 h 483059"/>
              <a:gd name="connsiteX6" fmla="*/ 241858 w 483059"/>
              <a:gd name="connsiteY6" fmla="*/ 482731 h 483059"/>
              <a:gd name="connsiteX7" fmla="*/ 242383 w 483059"/>
              <a:gd name="connsiteY7" fmla="*/ 482731 h 483059"/>
              <a:gd name="connsiteX8" fmla="*/ 241070 w 483059"/>
              <a:gd name="connsiteY8" fmla="*/ 278613 h 483059"/>
              <a:gd name="connsiteX9" fmla="*/ 171106 w 483059"/>
              <a:gd name="connsiteY9" fmla="*/ 208648 h 483059"/>
              <a:gd name="connsiteX10" fmla="*/ 241070 w 483059"/>
              <a:gd name="connsiteY10" fmla="*/ 138683 h 483059"/>
              <a:gd name="connsiteX11" fmla="*/ 311035 w 483059"/>
              <a:gd name="connsiteY11" fmla="*/ 208648 h 483059"/>
              <a:gd name="connsiteX12" fmla="*/ 241070 w 483059"/>
              <a:gd name="connsiteY12" fmla="*/ 278613 h 483059"/>
              <a:gd name="connsiteX13" fmla="*/ 241070 w 483059"/>
              <a:gd name="connsiteY13" fmla="*/ 364329 h 483059"/>
              <a:gd name="connsiteX14" fmla="*/ 347659 w 483059"/>
              <a:gd name="connsiteY14" fmla="*/ 395833 h 483059"/>
              <a:gd name="connsiteX15" fmla="*/ 251178 w 483059"/>
              <a:gd name="connsiteY15" fmla="*/ 435344 h 483059"/>
              <a:gd name="connsiteX16" fmla="*/ 242383 w 483059"/>
              <a:gd name="connsiteY16" fmla="*/ 435607 h 483059"/>
              <a:gd name="connsiteX17" fmla="*/ 136451 w 483059"/>
              <a:gd name="connsiteY17" fmla="*/ 394520 h 483059"/>
              <a:gd name="connsiteX18" fmla="*/ 241070 w 483059"/>
              <a:gd name="connsiteY18" fmla="*/ 364329 h 483059"/>
              <a:gd name="connsiteX19" fmla="*/ 48503 w 483059"/>
              <a:gd name="connsiteY19" fmla="*/ 241858 h 483059"/>
              <a:gd name="connsiteX20" fmla="*/ 242121 w 483059"/>
              <a:gd name="connsiteY20" fmla="*/ 48240 h 483059"/>
              <a:gd name="connsiteX21" fmla="*/ 435738 w 483059"/>
              <a:gd name="connsiteY21" fmla="*/ 241858 h 483059"/>
              <a:gd name="connsiteX22" fmla="*/ 388482 w 483059"/>
              <a:gd name="connsiteY22" fmla="*/ 368398 h 483059"/>
              <a:gd name="connsiteX23" fmla="*/ 386645 w 483059"/>
              <a:gd name="connsiteY23" fmla="*/ 366692 h 483059"/>
              <a:gd name="connsiteX24" fmla="*/ 278875 w 483059"/>
              <a:gd name="connsiteY24" fmla="*/ 319699 h 483059"/>
              <a:gd name="connsiteX25" fmla="*/ 358291 w 483059"/>
              <a:gd name="connsiteY25" fmla="*/ 208648 h 483059"/>
              <a:gd name="connsiteX26" fmla="*/ 241070 w 483059"/>
              <a:gd name="connsiteY26" fmla="*/ 91427 h 483059"/>
              <a:gd name="connsiteX27" fmla="*/ 123850 w 483059"/>
              <a:gd name="connsiteY27" fmla="*/ 208648 h 483059"/>
              <a:gd name="connsiteX28" fmla="*/ 203397 w 483059"/>
              <a:gd name="connsiteY28" fmla="*/ 319699 h 483059"/>
              <a:gd name="connsiteX29" fmla="*/ 98121 w 483059"/>
              <a:gd name="connsiteY29" fmla="*/ 364461 h 483059"/>
              <a:gd name="connsiteX30" fmla="*/ 94971 w 483059"/>
              <a:gd name="connsiteY30" fmla="*/ 367611 h 483059"/>
              <a:gd name="connsiteX31" fmla="*/ 48503 w 483059"/>
              <a:gd name="connsiteY31" fmla="*/ 241858 h 4830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483059" h="483059">
                <a:moveTo>
                  <a:pt x="242383" y="482731"/>
                </a:moveTo>
                <a:cubicBezTo>
                  <a:pt x="242514" y="482731"/>
                  <a:pt x="242646" y="482731"/>
                  <a:pt x="242777" y="482731"/>
                </a:cubicBezTo>
                <a:cubicBezTo>
                  <a:pt x="246452" y="482731"/>
                  <a:pt x="249997" y="482600"/>
                  <a:pt x="253672" y="482469"/>
                </a:cubicBezTo>
                <a:cubicBezTo>
                  <a:pt x="381000" y="476299"/>
                  <a:pt x="482731" y="370761"/>
                  <a:pt x="482731" y="241858"/>
                </a:cubicBezTo>
                <a:cubicBezTo>
                  <a:pt x="482731" y="109017"/>
                  <a:pt x="374699" y="984"/>
                  <a:pt x="241858" y="984"/>
                </a:cubicBezTo>
                <a:cubicBezTo>
                  <a:pt x="109017" y="984"/>
                  <a:pt x="984" y="109017"/>
                  <a:pt x="984" y="241858"/>
                </a:cubicBezTo>
                <a:cubicBezTo>
                  <a:pt x="984" y="374699"/>
                  <a:pt x="109017" y="482731"/>
                  <a:pt x="241858" y="482731"/>
                </a:cubicBezTo>
                <a:cubicBezTo>
                  <a:pt x="242121" y="482731"/>
                  <a:pt x="242252" y="482731"/>
                  <a:pt x="242383" y="482731"/>
                </a:cubicBezTo>
                <a:close/>
                <a:moveTo>
                  <a:pt x="241070" y="278613"/>
                </a:moveTo>
                <a:cubicBezTo>
                  <a:pt x="202478" y="278613"/>
                  <a:pt x="171106" y="247240"/>
                  <a:pt x="171106" y="208648"/>
                </a:cubicBezTo>
                <a:cubicBezTo>
                  <a:pt x="171106" y="170055"/>
                  <a:pt x="202478" y="138683"/>
                  <a:pt x="241070" y="138683"/>
                </a:cubicBezTo>
                <a:cubicBezTo>
                  <a:pt x="279663" y="138683"/>
                  <a:pt x="311035" y="170055"/>
                  <a:pt x="311035" y="208648"/>
                </a:cubicBezTo>
                <a:cubicBezTo>
                  <a:pt x="311035" y="247240"/>
                  <a:pt x="279663" y="278613"/>
                  <a:pt x="241070" y="278613"/>
                </a:cubicBezTo>
                <a:close/>
                <a:moveTo>
                  <a:pt x="241070" y="364329"/>
                </a:moveTo>
                <a:cubicBezTo>
                  <a:pt x="282419" y="364329"/>
                  <a:pt x="321537" y="376012"/>
                  <a:pt x="347659" y="395833"/>
                </a:cubicBezTo>
                <a:cubicBezTo>
                  <a:pt x="320749" y="419724"/>
                  <a:pt x="287014" y="433507"/>
                  <a:pt x="251178" y="435344"/>
                </a:cubicBezTo>
                <a:cubicBezTo>
                  <a:pt x="248290" y="435476"/>
                  <a:pt x="245402" y="435607"/>
                  <a:pt x="242383" y="435607"/>
                </a:cubicBezTo>
                <a:cubicBezTo>
                  <a:pt x="202741" y="435476"/>
                  <a:pt x="165461" y="421036"/>
                  <a:pt x="136451" y="394520"/>
                </a:cubicBezTo>
                <a:cubicBezTo>
                  <a:pt x="162573" y="375356"/>
                  <a:pt x="200903" y="364329"/>
                  <a:pt x="241070" y="364329"/>
                </a:cubicBezTo>
                <a:close/>
                <a:moveTo>
                  <a:pt x="48503" y="241858"/>
                </a:moveTo>
                <a:cubicBezTo>
                  <a:pt x="48503" y="135139"/>
                  <a:pt x="135401" y="48240"/>
                  <a:pt x="242121" y="48240"/>
                </a:cubicBezTo>
                <a:cubicBezTo>
                  <a:pt x="348840" y="48240"/>
                  <a:pt x="435738" y="135139"/>
                  <a:pt x="435738" y="241858"/>
                </a:cubicBezTo>
                <a:cubicBezTo>
                  <a:pt x="435738" y="290164"/>
                  <a:pt x="417886" y="334532"/>
                  <a:pt x="388482" y="368398"/>
                </a:cubicBezTo>
                <a:cubicBezTo>
                  <a:pt x="387958" y="367742"/>
                  <a:pt x="387301" y="367217"/>
                  <a:pt x="386645" y="366692"/>
                </a:cubicBezTo>
                <a:cubicBezTo>
                  <a:pt x="359604" y="342145"/>
                  <a:pt x="321537" y="325868"/>
                  <a:pt x="278875" y="319699"/>
                </a:cubicBezTo>
                <a:cubicBezTo>
                  <a:pt x="325081" y="303947"/>
                  <a:pt x="358291" y="260104"/>
                  <a:pt x="358291" y="208648"/>
                </a:cubicBezTo>
                <a:cubicBezTo>
                  <a:pt x="358291" y="143933"/>
                  <a:pt x="305653" y="91427"/>
                  <a:pt x="241070" y="91427"/>
                </a:cubicBezTo>
                <a:cubicBezTo>
                  <a:pt x="176488" y="91427"/>
                  <a:pt x="123850" y="144065"/>
                  <a:pt x="123850" y="208648"/>
                </a:cubicBezTo>
                <a:cubicBezTo>
                  <a:pt x="123850" y="260104"/>
                  <a:pt x="157191" y="303947"/>
                  <a:pt x="203397" y="319699"/>
                </a:cubicBezTo>
                <a:cubicBezTo>
                  <a:pt x="162179" y="325606"/>
                  <a:pt x="125031" y="341226"/>
                  <a:pt x="98121" y="364461"/>
                </a:cubicBezTo>
                <a:cubicBezTo>
                  <a:pt x="96940" y="365379"/>
                  <a:pt x="95890" y="366429"/>
                  <a:pt x="94971" y="367611"/>
                </a:cubicBezTo>
                <a:cubicBezTo>
                  <a:pt x="65961" y="333613"/>
                  <a:pt x="48503" y="289770"/>
                  <a:pt x="48503" y="241858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s-MX" sz="1400" dirty="0"/>
          </a:p>
        </p:txBody>
      </p:sp>
      <p:sp>
        <p:nvSpPr>
          <p:cNvPr id="24" name="Forma libre 88">
            <a:extLst>
              <a:ext uri="{FF2B5EF4-FFF2-40B4-BE49-F238E27FC236}">
                <a16:creationId xmlns:a16="http://schemas.microsoft.com/office/drawing/2014/main" id="{4D52006E-7404-B7D4-804B-3233A0E09614}"/>
              </a:ext>
            </a:extLst>
          </p:cNvPr>
          <p:cNvSpPr/>
          <p:nvPr/>
        </p:nvSpPr>
        <p:spPr>
          <a:xfrm>
            <a:off x="7132682" y="4477081"/>
            <a:ext cx="338734" cy="533875"/>
          </a:xfrm>
          <a:custGeom>
            <a:avLst/>
            <a:gdLst>
              <a:gd name="connsiteX0" fmla="*/ 482863 w 483059"/>
              <a:gd name="connsiteY0" fmla="*/ 520667 h 761343"/>
              <a:gd name="connsiteX1" fmla="*/ 255641 w 483059"/>
              <a:gd name="connsiteY1" fmla="*/ 280188 h 761343"/>
              <a:gd name="connsiteX2" fmla="*/ 256429 w 483059"/>
              <a:gd name="connsiteY2" fmla="*/ 279925 h 761343"/>
              <a:gd name="connsiteX3" fmla="*/ 257478 w 483059"/>
              <a:gd name="connsiteY3" fmla="*/ 279663 h 761343"/>
              <a:gd name="connsiteX4" fmla="*/ 258660 w 483059"/>
              <a:gd name="connsiteY4" fmla="*/ 279269 h 761343"/>
              <a:gd name="connsiteX5" fmla="*/ 259710 w 483059"/>
              <a:gd name="connsiteY5" fmla="*/ 278875 h 761343"/>
              <a:gd name="connsiteX6" fmla="*/ 260760 w 483059"/>
              <a:gd name="connsiteY6" fmla="*/ 278350 h 761343"/>
              <a:gd name="connsiteX7" fmla="*/ 261811 w 483059"/>
              <a:gd name="connsiteY7" fmla="*/ 277825 h 761343"/>
              <a:gd name="connsiteX8" fmla="*/ 262729 w 483059"/>
              <a:gd name="connsiteY8" fmla="*/ 277300 h 761343"/>
              <a:gd name="connsiteX9" fmla="*/ 263780 w 483059"/>
              <a:gd name="connsiteY9" fmla="*/ 276643 h 761343"/>
              <a:gd name="connsiteX10" fmla="*/ 264829 w 483059"/>
              <a:gd name="connsiteY10" fmla="*/ 275856 h 761343"/>
              <a:gd name="connsiteX11" fmla="*/ 265749 w 483059"/>
              <a:gd name="connsiteY11" fmla="*/ 275199 h 761343"/>
              <a:gd name="connsiteX12" fmla="*/ 267455 w 483059"/>
              <a:gd name="connsiteY12" fmla="*/ 273624 h 761343"/>
              <a:gd name="connsiteX13" fmla="*/ 267455 w 483059"/>
              <a:gd name="connsiteY13" fmla="*/ 273624 h 761343"/>
              <a:gd name="connsiteX14" fmla="*/ 324424 w 483059"/>
              <a:gd name="connsiteY14" fmla="*/ 216655 h 761343"/>
              <a:gd name="connsiteX15" fmla="*/ 324424 w 483059"/>
              <a:gd name="connsiteY15" fmla="*/ 183182 h 761343"/>
              <a:gd name="connsiteX16" fmla="*/ 290951 w 483059"/>
              <a:gd name="connsiteY16" fmla="*/ 183182 h 761343"/>
              <a:gd name="connsiteX17" fmla="*/ 274281 w 483059"/>
              <a:gd name="connsiteY17" fmla="*/ 199853 h 761343"/>
              <a:gd name="connsiteX18" fmla="*/ 274281 w 483059"/>
              <a:gd name="connsiteY18" fmla="*/ 128969 h 761343"/>
              <a:gd name="connsiteX19" fmla="*/ 212060 w 483059"/>
              <a:gd name="connsiteY19" fmla="*/ 20018 h 761343"/>
              <a:gd name="connsiteX20" fmla="*/ 69636 w 483059"/>
              <a:gd name="connsiteY20" fmla="*/ 984 h 761343"/>
              <a:gd name="connsiteX21" fmla="*/ 46009 w 483059"/>
              <a:gd name="connsiteY21" fmla="*/ 24612 h 761343"/>
              <a:gd name="connsiteX22" fmla="*/ 69636 w 483059"/>
              <a:gd name="connsiteY22" fmla="*/ 48240 h 761343"/>
              <a:gd name="connsiteX23" fmla="*/ 192370 w 483059"/>
              <a:gd name="connsiteY23" fmla="*/ 62942 h 761343"/>
              <a:gd name="connsiteX24" fmla="*/ 227025 w 483059"/>
              <a:gd name="connsiteY24" fmla="*/ 128838 h 761343"/>
              <a:gd name="connsiteX25" fmla="*/ 227025 w 483059"/>
              <a:gd name="connsiteY25" fmla="*/ 199721 h 761343"/>
              <a:gd name="connsiteX26" fmla="*/ 210354 w 483059"/>
              <a:gd name="connsiteY26" fmla="*/ 183051 h 761343"/>
              <a:gd name="connsiteX27" fmla="*/ 176881 w 483059"/>
              <a:gd name="connsiteY27" fmla="*/ 183051 h 761343"/>
              <a:gd name="connsiteX28" fmla="*/ 176881 w 483059"/>
              <a:gd name="connsiteY28" fmla="*/ 216523 h 761343"/>
              <a:gd name="connsiteX29" fmla="*/ 233851 w 483059"/>
              <a:gd name="connsiteY29" fmla="*/ 273493 h 761343"/>
              <a:gd name="connsiteX30" fmla="*/ 235557 w 483059"/>
              <a:gd name="connsiteY30" fmla="*/ 275068 h 761343"/>
              <a:gd name="connsiteX31" fmla="*/ 236344 w 483059"/>
              <a:gd name="connsiteY31" fmla="*/ 275725 h 761343"/>
              <a:gd name="connsiteX32" fmla="*/ 237395 w 483059"/>
              <a:gd name="connsiteY32" fmla="*/ 276512 h 761343"/>
              <a:gd name="connsiteX33" fmla="*/ 238445 w 483059"/>
              <a:gd name="connsiteY33" fmla="*/ 277168 h 761343"/>
              <a:gd name="connsiteX34" fmla="*/ 239364 w 483059"/>
              <a:gd name="connsiteY34" fmla="*/ 277694 h 761343"/>
              <a:gd name="connsiteX35" fmla="*/ 240414 w 483059"/>
              <a:gd name="connsiteY35" fmla="*/ 278219 h 761343"/>
              <a:gd name="connsiteX36" fmla="*/ 241464 w 483059"/>
              <a:gd name="connsiteY36" fmla="*/ 278744 h 761343"/>
              <a:gd name="connsiteX37" fmla="*/ 242514 w 483059"/>
              <a:gd name="connsiteY37" fmla="*/ 279137 h 761343"/>
              <a:gd name="connsiteX38" fmla="*/ 243695 w 483059"/>
              <a:gd name="connsiteY38" fmla="*/ 279531 h 761343"/>
              <a:gd name="connsiteX39" fmla="*/ 244090 w 483059"/>
              <a:gd name="connsiteY39" fmla="*/ 279663 h 761343"/>
              <a:gd name="connsiteX40" fmla="*/ 241858 w 483059"/>
              <a:gd name="connsiteY40" fmla="*/ 279663 h 761343"/>
              <a:gd name="connsiteX41" fmla="*/ 984 w 483059"/>
              <a:gd name="connsiteY41" fmla="*/ 520536 h 761343"/>
              <a:gd name="connsiteX42" fmla="*/ 241858 w 483059"/>
              <a:gd name="connsiteY42" fmla="*/ 761409 h 761343"/>
              <a:gd name="connsiteX43" fmla="*/ 242251 w 483059"/>
              <a:gd name="connsiteY43" fmla="*/ 761409 h 761343"/>
              <a:gd name="connsiteX44" fmla="*/ 242646 w 483059"/>
              <a:gd name="connsiteY44" fmla="*/ 761409 h 761343"/>
              <a:gd name="connsiteX45" fmla="*/ 253540 w 483059"/>
              <a:gd name="connsiteY45" fmla="*/ 761147 h 761343"/>
              <a:gd name="connsiteX46" fmla="*/ 482863 w 483059"/>
              <a:gd name="connsiteY46" fmla="*/ 520667 h 761343"/>
              <a:gd name="connsiteX47" fmla="*/ 48372 w 483059"/>
              <a:gd name="connsiteY47" fmla="*/ 520667 h 761343"/>
              <a:gd name="connsiteX48" fmla="*/ 241989 w 483059"/>
              <a:gd name="connsiteY48" fmla="*/ 327049 h 761343"/>
              <a:gd name="connsiteX49" fmla="*/ 435607 w 483059"/>
              <a:gd name="connsiteY49" fmla="*/ 520667 h 761343"/>
              <a:gd name="connsiteX50" fmla="*/ 388351 w 483059"/>
              <a:gd name="connsiteY50" fmla="*/ 647208 h 761343"/>
              <a:gd name="connsiteX51" fmla="*/ 386513 w 483059"/>
              <a:gd name="connsiteY51" fmla="*/ 645501 h 761343"/>
              <a:gd name="connsiteX52" fmla="*/ 278744 w 483059"/>
              <a:gd name="connsiteY52" fmla="*/ 598508 h 761343"/>
              <a:gd name="connsiteX53" fmla="*/ 358160 w 483059"/>
              <a:gd name="connsiteY53" fmla="*/ 487457 h 761343"/>
              <a:gd name="connsiteX54" fmla="*/ 240939 w 483059"/>
              <a:gd name="connsiteY54" fmla="*/ 370236 h 761343"/>
              <a:gd name="connsiteX55" fmla="*/ 123718 w 483059"/>
              <a:gd name="connsiteY55" fmla="*/ 487457 h 761343"/>
              <a:gd name="connsiteX56" fmla="*/ 203266 w 483059"/>
              <a:gd name="connsiteY56" fmla="*/ 598508 h 761343"/>
              <a:gd name="connsiteX57" fmla="*/ 97990 w 483059"/>
              <a:gd name="connsiteY57" fmla="*/ 643270 h 761343"/>
              <a:gd name="connsiteX58" fmla="*/ 94840 w 483059"/>
              <a:gd name="connsiteY58" fmla="*/ 646420 h 761343"/>
              <a:gd name="connsiteX59" fmla="*/ 48372 w 483059"/>
              <a:gd name="connsiteY59" fmla="*/ 520667 h 761343"/>
              <a:gd name="connsiteX60" fmla="*/ 242383 w 483059"/>
              <a:gd name="connsiteY60" fmla="*/ 714285 h 761343"/>
              <a:gd name="connsiteX61" fmla="*/ 136451 w 483059"/>
              <a:gd name="connsiteY61" fmla="*/ 673199 h 761343"/>
              <a:gd name="connsiteX62" fmla="*/ 241070 w 483059"/>
              <a:gd name="connsiteY62" fmla="*/ 643138 h 761343"/>
              <a:gd name="connsiteX63" fmla="*/ 347659 w 483059"/>
              <a:gd name="connsiteY63" fmla="*/ 674642 h 761343"/>
              <a:gd name="connsiteX64" fmla="*/ 251178 w 483059"/>
              <a:gd name="connsiteY64" fmla="*/ 714154 h 761343"/>
              <a:gd name="connsiteX65" fmla="*/ 242383 w 483059"/>
              <a:gd name="connsiteY65" fmla="*/ 714285 h 761343"/>
              <a:gd name="connsiteX66" fmla="*/ 240939 w 483059"/>
              <a:gd name="connsiteY66" fmla="*/ 557553 h 761343"/>
              <a:gd name="connsiteX67" fmla="*/ 170974 w 483059"/>
              <a:gd name="connsiteY67" fmla="*/ 487588 h 761343"/>
              <a:gd name="connsiteX68" fmla="*/ 240939 w 483059"/>
              <a:gd name="connsiteY68" fmla="*/ 417623 h 761343"/>
              <a:gd name="connsiteX69" fmla="*/ 310904 w 483059"/>
              <a:gd name="connsiteY69" fmla="*/ 487588 h 761343"/>
              <a:gd name="connsiteX70" fmla="*/ 240939 w 483059"/>
              <a:gd name="connsiteY70" fmla="*/ 557553 h 7613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</a:cxnLst>
            <a:rect l="l" t="t" r="r" b="b"/>
            <a:pathLst>
              <a:path w="483059" h="761343">
                <a:moveTo>
                  <a:pt x="482863" y="520667"/>
                </a:moveTo>
                <a:cubicBezTo>
                  <a:pt x="482863" y="392420"/>
                  <a:pt x="382181" y="287276"/>
                  <a:pt x="255641" y="280188"/>
                </a:cubicBezTo>
                <a:cubicBezTo>
                  <a:pt x="255904" y="280188"/>
                  <a:pt x="256166" y="280056"/>
                  <a:pt x="256429" y="279925"/>
                </a:cubicBezTo>
                <a:cubicBezTo>
                  <a:pt x="256822" y="279794"/>
                  <a:pt x="257085" y="279794"/>
                  <a:pt x="257478" y="279663"/>
                </a:cubicBezTo>
                <a:cubicBezTo>
                  <a:pt x="257873" y="279531"/>
                  <a:pt x="258266" y="279400"/>
                  <a:pt x="258660" y="279269"/>
                </a:cubicBezTo>
                <a:cubicBezTo>
                  <a:pt x="259054" y="279137"/>
                  <a:pt x="259316" y="279006"/>
                  <a:pt x="259710" y="278875"/>
                </a:cubicBezTo>
                <a:cubicBezTo>
                  <a:pt x="260104" y="278744"/>
                  <a:pt x="260367" y="278612"/>
                  <a:pt x="260760" y="278350"/>
                </a:cubicBezTo>
                <a:cubicBezTo>
                  <a:pt x="261154" y="278219"/>
                  <a:pt x="261548" y="277956"/>
                  <a:pt x="261811" y="277825"/>
                </a:cubicBezTo>
                <a:cubicBezTo>
                  <a:pt x="262073" y="277694"/>
                  <a:pt x="262467" y="277431"/>
                  <a:pt x="262729" y="277300"/>
                </a:cubicBezTo>
                <a:cubicBezTo>
                  <a:pt x="263123" y="277037"/>
                  <a:pt x="263385" y="276906"/>
                  <a:pt x="263780" y="276643"/>
                </a:cubicBezTo>
                <a:cubicBezTo>
                  <a:pt x="264173" y="276381"/>
                  <a:pt x="264436" y="276118"/>
                  <a:pt x="264829" y="275856"/>
                </a:cubicBezTo>
                <a:cubicBezTo>
                  <a:pt x="265092" y="275593"/>
                  <a:pt x="265354" y="275462"/>
                  <a:pt x="265749" y="275199"/>
                </a:cubicBezTo>
                <a:cubicBezTo>
                  <a:pt x="266405" y="274674"/>
                  <a:pt x="266930" y="274149"/>
                  <a:pt x="267455" y="273624"/>
                </a:cubicBezTo>
                <a:cubicBezTo>
                  <a:pt x="267455" y="273624"/>
                  <a:pt x="267455" y="273624"/>
                  <a:pt x="267455" y="273624"/>
                </a:cubicBezTo>
                <a:lnTo>
                  <a:pt x="324424" y="216655"/>
                </a:lnTo>
                <a:cubicBezTo>
                  <a:pt x="333613" y="207466"/>
                  <a:pt x="333613" y="192502"/>
                  <a:pt x="324424" y="183182"/>
                </a:cubicBezTo>
                <a:cubicBezTo>
                  <a:pt x="315236" y="173993"/>
                  <a:pt x="300271" y="173993"/>
                  <a:pt x="290951" y="183182"/>
                </a:cubicBezTo>
                <a:lnTo>
                  <a:pt x="274281" y="199853"/>
                </a:lnTo>
                <a:lnTo>
                  <a:pt x="274281" y="128969"/>
                </a:lnTo>
                <a:cubicBezTo>
                  <a:pt x="274281" y="74887"/>
                  <a:pt x="253935" y="39314"/>
                  <a:pt x="212060" y="20018"/>
                </a:cubicBezTo>
                <a:cubicBezTo>
                  <a:pt x="177537" y="4135"/>
                  <a:pt x="131988" y="984"/>
                  <a:pt x="69636" y="984"/>
                </a:cubicBezTo>
                <a:cubicBezTo>
                  <a:pt x="56641" y="984"/>
                  <a:pt x="46009" y="11617"/>
                  <a:pt x="46009" y="24612"/>
                </a:cubicBezTo>
                <a:cubicBezTo>
                  <a:pt x="46009" y="37608"/>
                  <a:pt x="56641" y="48240"/>
                  <a:pt x="69636" y="48240"/>
                </a:cubicBezTo>
                <a:cubicBezTo>
                  <a:pt x="123981" y="48240"/>
                  <a:pt x="165724" y="50734"/>
                  <a:pt x="192370" y="62942"/>
                </a:cubicBezTo>
                <a:cubicBezTo>
                  <a:pt x="209566" y="70818"/>
                  <a:pt x="227025" y="84732"/>
                  <a:pt x="227025" y="128838"/>
                </a:cubicBezTo>
                <a:lnTo>
                  <a:pt x="227025" y="199721"/>
                </a:lnTo>
                <a:lnTo>
                  <a:pt x="210354" y="183051"/>
                </a:lnTo>
                <a:cubicBezTo>
                  <a:pt x="201165" y="173862"/>
                  <a:pt x="186201" y="173862"/>
                  <a:pt x="176881" y="183051"/>
                </a:cubicBezTo>
                <a:cubicBezTo>
                  <a:pt x="167693" y="192239"/>
                  <a:pt x="167693" y="207204"/>
                  <a:pt x="176881" y="216523"/>
                </a:cubicBezTo>
                <a:lnTo>
                  <a:pt x="233851" y="273493"/>
                </a:lnTo>
                <a:cubicBezTo>
                  <a:pt x="234375" y="274018"/>
                  <a:pt x="235032" y="274543"/>
                  <a:pt x="235557" y="275068"/>
                </a:cubicBezTo>
                <a:cubicBezTo>
                  <a:pt x="235820" y="275331"/>
                  <a:pt x="236082" y="275462"/>
                  <a:pt x="236344" y="275725"/>
                </a:cubicBezTo>
                <a:cubicBezTo>
                  <a:pt x="236739" y="275987"/>
                  <a:pt x="237001" y="276250"/>
                  <a:pt x="237395" y="276512"/>
                </a:cubicBezTo>
                <a:cubicBezTo>
                  <a:pt x="237789" y="276775"/>
                  <a:pt x="238051" y="276906"/>
                  <a:pt x="238445" y="277168"/>
                </a:cubicBezTo>
                <a:cubicBezTo>
                  <a:pt x="238708" y="277300"/>
                  <a:pt x="239101" y="277562"/>
                  <a:pt x="239364" y="277694"/>
                </a:cubicBezTo>
                <a:cubicBezTo>
                  <a:pt x="239758" y="277825"/>
                  <a:pt x="240020" y="278087"/>
                  <a:pt x="240414" y="278219"/>
                </a:cubicBezTo>
                <a:cubicBezTo>
                  <a:pt x="240808" y="278350"/>
                  <a:pt x="241070" y="278612"/>
                  <a:pt x="241464" y="278744"/>
                </a:cubicBezTo>
                <a:cubicBezTo>
                  <a:pt x="241858" y="278875"/>
                  <a:pt x="242121" y="279006"/>
                  <a:pt x="242514" y="279137"/>
                </a:cubicBezTo>
                <a:cubicBezTo>
                  <a:pt x="242908" y="279269"/>
                  <a:pt x="243302" y="279400"/>
                  <a:pt x="243695" y="279531"/>
                </a:cubicBezTo>
                <a:cubicBezTo>
                  <a:pt x="243827" y="279531"/>
                  <a:pt x="243958" y="279663"/>
                  <a:pt x="244090" y="279663"/>
                </a:cubicBezTo>
                <a:cubicBezTo>
                  <a:pt x="243302" y="279663"/>
                  <a:pt x="242646" y="279663"/>
                  <a:pt x="241858" y="279663"/>
                </a:cubicBezTo>
                <a:cubicBezTo>
                  <a:pt x="109016" y="279663"/>
                  <a:pt x="984" y="387695"/>
                  <a:pt x="984" y="520536"/>
                </a:cubicBezTo>
                <a:cubicBezTo>
                  <a:pt x="984" y="653377"/>
                  <a:pt x="109016" y="761409"/>
                  <a:pt x="241858" y="761409"/>
                </a:cubicBezTo>
                <a:cubicBezTo>
                  <a:pt x="241989" y="761409"/>
                  <a:pt x="242121" y="761409"/>
                  <a:pt x="242251" y="761409"/>
                </a:cubicBezTo>
                <a:cubicBezTo>
                  <a:pt x="242383" y="761409"/>
                  <a:pt x="242514" y="761409"/>
                  <a:pt x="242646" y="761409"/>
                </a:cubicBezTo>
                <a:cubicBezTo>
                  <a:pt x="246321" y="761409"/>
                  <a:pt x="249865" y="761278"/>
                  <a:pt x="253540" y="761147"/>
                </a:cubicBezTo>
                <a:cubicBezTo>
                  <a:pt x="381131" y="755109"/>
                  <a:pt x="482863" y="649571"/>
                  <a:pt x="482863" y="520667"/>
                </a:cubicBezTo>
                <a:close/>
                <a:moveTo>
                  <a:pt x="48372" y="520667"/>
                </a:moveTo>
                <a:cubicBezTo>
                  <a:pt x="48372" y="413948"/>
                  <a:pt x="135270" y="327049"/>
                  <a:pt x="241989" y="327049"/>
                </a:cubicBezTo>
                <a:cubicBezTo>
                  <a:pt x="348708" y="327049"/>
                  <a:pt x="435607" y="413948"/>
                  <a:pt x="435607" y="520667"/>
                </a:cubicBezTo>
                <a:cubicBezTo>
                  <a:pt x="435607" y="568973"/>
                  <a:pt x="417755" y="613341"/>
                  <a:pt x="388351" y="647208"/>
                </a:cubicBezTo>
                <a:cubicBezTo>
                  <a:pt x="387826" y="646551"/>
                  <a:pt x="387170" y="646026"/>
                  <a:pt x="386513" y="645501"/>
                </a:cubicBezTo>
                <a:cubicBezTo>
                  <a:pt x="359472" y="620955"/>
                  <a:pt x="321405" y="604677"/>
                  <a:pt x="278744" y="598508"/>
                </a:cubicBezTo>
                <a:cubicBezTo>
                  <a:pt x="324949" y="582756"/>
                  <a:pt x="358160" y="538913"/>
                  <a:pt x="358160" y="487457"/>
                </a:cubicBezTo>
                <a:cubicBezTo>
                  <a:pt x="358160" y="422743"/>
                  <a:pt x="305522" y="370236"/>
                  <a:pt x="240939" y="370236"/>
                </a:cubicBezTo>
                <a:cubicBezTo>
                  <a:pt x="176356" y="370236"/>
                  <a:pt x="123718" y="422874"/>
                  <a:pt x="123718" y="487457"/>
                </a:cubicBezTo>
                <a:cubicBezTo>
                  <a:pt x="123718" y="538913"/>
                  <a:pt x="157060" y="582756"/>
                  <a:pt x="203266" y="598508"/>
                </a:cubicBezTo>
                <a:cubicBezTo>
                  <a:pt x="162048" y="604415"/>
                  <a:pt x="124900" y="620036"/>
                  <a:pt x="97990" y="643270"/>
                </a:cubicBezTo>
                <a:cubicBezTo>
                  <a:pt x="96809" y="644189"/>
                  <a:pt x="95759" y="645239"/>
                  <a:pt x="94840" y="646420"/>
                </a:cubicBezTo>
                <a:cubicBezTo>
                  <a:pt x="65961" y="612553"/>
                  <a:pt x="48372" y="568579"/>
                  <a:pt x="48372" y="520667"/>
                </a:cubicBezTo>
                <a:close/>
                <a:moveTo>
                  <a:pt x="242383" y="714285"/>
                </a:moveTo>
                <a:cubicBezTo>
                  <a:pt x="202741" y="714154"/>
                  <a:pt x="165461" y="699714"/>
                  <a:pt x="136451" y="673199"/>
                </a:cubicBezTo>
                <a:cubicBezTo>
                  <a:pt x="162573" y="654296"/>
                  <a:pt x="200903" y="643138"/>
                  <a:pt x="241070" y="643138"/>
                </a:cubicBezTo>
                <a:cubicBezTo>
                  <a:pt x="282419" y="643138"/>
                  <a:pt x="321537" y="654821"/>
                  <a:pt x="347659" y="674642"/>
                </a:cubicBezTo>
                <a:cubicBezTo>
                  <a:pt x="320749" y="698533"/>
                  <a:pt x="287013" y="712316"/>
                  <a:pt x="251178" y="714154"/>
                </a:cubicBezTo>
                <a:cubicBezTo>
                  <a:pt x="248290" y="714154"/>
                  <a:pt x="245271" y="714285"/>
                  <a:pt x="242383" y="714285"/>
                </a:cubicBezTo>
                <a:close/>
                <a:moveTo>
                  <a:pt x="240939" y="557553"/>
                </a:moveTo>
                <a:cubicBezTo>
                  <a:pt x="202347" y="557553"/>
                  <a:pt x="170974" y="526181"/>
                  <a:pt x="170974" y="487588"/>
                </a:cubicBezTo>
                <a:cubicBezTo>
                  <a:pt x="170974" y="448996"/>
                  <a:pt x="202347" y="417623"/>
                  <a:pt x="240939" y="417623"/>
                </a:cubicBezTo>
                <a:cubicBezTo>
                  <a:pt x="279532" y="417623"/>
                  <a:pt x="310904" y="448996"/>
                  <a:pt x="310904" y="487588"/>
                </a:cubicBezTo>
                <a:cubicBezTo>
                  <a:pt x="310904" y="526049"/>
                  <a:pt x="279532" y="557553"/>
                  <a:pt x="240939" y="557553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s-MX" sz="1400" dirty="0"/>
          </a:p>
        </p:txBody>
      </p:sp>
      <p:sp>
        <p:nvSpPr>
          <p:cNvPr id="25" name="Forma libre 89">
            <a:extLst>
              <a:ext uri="{FF2B5EF4-FFF2-40B4-BE49-F238E27FC236}">
                <a16:creationId xmlns:a16="http://schemas.microsoft.com/office/drawing/2014/main" id="{029F7F26-DC9C-EB82-D2FA-853446570AA5}"/>
              </a:ext>
            </a:extLst>
          </p:cNvPr>
          <p:cNvSpPr/>
          <p:nvPr/>
        </p:nvSpPr>
        <p:spPr>
          <a:xfrm>
            <a:off x="6918166" y="4689342"/>
            <a:ext cx="200663" cy="196982"/>
          </a:xfrm>
          <a:custGeom>
            <a:avLst/>
            <a:gdLst>
              <a:gd name="connsiteX0" fmla="*/ 262926 w 286160"/>
              <a:gd name="connsiteY0" fmla="*/ 233063 h 280909"/>
              <a:gd name="connsiteX1" fmla="*/ 140192 w 286160"/>
              <a:gd name="connsiteY1" fmla="*/ 218361 h 280909"/>
              <a:gd name="connsiteX2" fmla="*/ 105538 w 286160"/>
              <a:gd name="connsiteY2" fmla="*/ 152466 h 280909"/>
              <a:gd name="connsiteX3" fmla="*/ 105538 w 286160"/>
              <a:gd name="connsiteY3" fmla="*/ 81582 h 280909"/>
              <a:gd name="connsiteX4" fmla="*/ 122209 w 286160"/>
              <a:gd name="connsiteY4" fmla="*/ 98253 h 280909"/>
              <a:gd name="connsiteX5" fmla="*/ 138880 w 286160"/>
              <a:gd name="connsiteY5" fmla="*/ 105210 h 280909"/>
              <a:gd name="connsiteX6" fmla="*/ 155550 w 286160"/>
              <a:gd name="connsiteY6" fmla="*/ 98253 h 280909"/>
              <a:gd name="connsiteX7" fmla="*/ 155550 w 286160"/>
              <a:gd name="connsiteY7" fmla="*/ 64780 h 280909"/>
              <a:gd name="connsiteX8" fmla="*/ 98581 w 286160"/>
              <a:gd name="connsiteY8" fmla="*/ 7810 h 280909"/>
              <a:gd name="connsiteX9" fmla="*/ 98450 w 286160"/>
              <a:gd name="connsiteY9" fmla="*/ 7810 h 280909"/>
              <a:gd name="connsiteX10" fmla="*/ 96743 w 286160"/>
              <a:gd name="connsiteY10" fmla="*/ 6366 h 280909"/>
              <a:gd name="connsiteX11" fmla="*/ 95956 w 286160"/>
              <a:gd name="connsiteY11" fmla="*/ 5710 h 280909"/>
              <a:gd name="connsiteX12" fmla="*/ 94905 w 286160"/>
              <a:gd name="connsiteY12" fmla="*/ 4922 h 280909"/>
              <a:gd name="connsiteX13" fmla="*/ 93855 w 286160"/>
              <a:gd name="connsiteY13" fmla="*/ 4266 h 280909"/>
              <a:gd name="connsiteX14" fmla="*/ 92937 w 286160"/>
              <a:gd name="connsiteY14" fmla="*/ 3741 h 280909"/>
              <a:gd name="connsiteX15" fmla="*/ 91886 w 286160"/>
              <a:gd name="connsiteY15" fmla="*/ 3216 h 280909"/>
              <a:gd name="connsiteX16" fmla="*/ 90836 w 286160"/>
              <a:gd name="connsiteY16" fmla="*/ 2691 h 280909"/>
              <a:gd name="connsiteX17" fmla="*/ 89786 w 286160"/>
              <a:gd name="connsiteY17" fmla="*/ 2297 h 280909"/>
              <a:gd name="connsiteX18" fmla="*/ 88605 w 286160"/>
              <a:gd name="connsiteY18" fmla="*/ 1903 h 280909"/>
              <a:gd name="connsiteX19" fmla="*/ 87554 w 286160"/>
              <a:gd name="connsiteY19" fmla="*/ 1641 h 280909"/>
              <a:gd name="connsiteX20" fmla="*/ 86373 w 286160"/>
              <a:gd name="connsiteY20" fmla="*/ 1378 h 280909"/>
              <a:gd name="connsiteX21" fmla="*/ 85192 w 286160"/>
              <a:gd name="connsiteY21" fmla="*/ 1247 h 280909"/>
              <a:gd name="connsiteX22" fmla="*/ 84142 w 286160"/>
              <a:gd name="connsiteY22" fmla="*/ 1116 h 280909"/>
              <a:gd name="connsiteX23" fmla="*/ 81779 w 286160"/>
              <a:gd name="connsiteY23" fmla="*/ 984 h 280909"/>
              <a:gd name="connsiteX24" fmla="*/ 81779 w 286160"/>
              <a:gd name="connsiteY24" fmla="*/ 984 h 280909"/>
              <a:gd name="connsiteX25" fmla="*/ 81779 w 286160"/>
              <a:gd name="connsiteY25" fmla="*/ 984 h 280909"/>
              <a:gd name="connsiteX26" fmla="*/ 81779 w 286160"/>
              <a:gd name="connsiteY26" fmla="*/ 984 h 280909"/>
              <a:gd name="connsiteX27" fmla="*/ 79416 w 286160"/>
              <a:gd name="connsiteY27" fmla="*/ 1116 h 280909"/>
              <a:gd name="connsiteX28" fmla="*/ 78366 w 286160"/>
              <a:gd name="connsiteY28" fmla="*/ 1247 h 280909"/>
              <a:gd name="connsiteX29" fmla="*/ 77053 w 286160"/>
              <a:gd name="connsiteY29" fmla="*/ 1378 h 280909"/>
              <a:gd name="connsiteX30" fmla="*/ 75872 w 286160"/>
              <a:gd name="connsiteY30" fmla="*/ 1641 h 280909"/>
              <a:gd name="connsiteX31" fmla="*/ 74691 w 286160"/>
              <a:gd name="connsiteY31" fmla="*/ 1903 h 280909"/>
              <a:gd name="connsiteX32" fmla="*/ 73640 w 286160"/>
              <a:gd name="connsiteY32" fmla="*/ 2297 h 280909"/>
              <a:gd name="connsiteX33" fmla="*/ 72590 w 286160"/>
              <a:gd name="connsiteY33" fmla="*/ 2691 h 280909"/>
              <a:gd name="connsiteX34" fmla="*/ 71671 w 286160"/>
              <a:gd name="connsiteY34" fmla="*/ 3085 h 280909"/>
              <a:gd name="connsiteX35" fmla="*/ 70490 w 286160"/>
              <a:gd name="connsiteY35" fmla="*/ 3610 h 280909"/>
              <a:gd name="connsiteX36" fmla="*/ 69571 w 286160"/>
              <a:gd name="connsiteY36" fmla="*/ 4135 h 280909"/>
              <a:gd name="connsiteX37" fmla="*/ 68521 w 286160"/>
              <a:gd name="connsiteY37" fmla="*/ 4791 h 280909"/>
              <a:gd name="connsiteX38" fmla="*/ 67602 w 286160"/>
              <a:gd name="connsiteY38" fmla="*/ 5447 h 280909"/>
              <a:gd name="connsiteX39" fmla="*/ 66815 w 286160"/>
              <a:gd name="connsiteY39" fmla="*/ 6104 h 280909"/>
              <a:gd name="connsiteX40" fmla="*/ 66683 w 286160"/>
              <a:gd name="connsiteY40" fmla="*/ 6104 h 280909"/>
              <a:gd name="connsiteX41" fmla="*/ 64977 w 286160"/>
              <a:gd name="connsiteY41" fmla="*/ 7548 h 280909"/>
              <a:gd name="connsiteX42" fmla="*/ 64846 w 286160"/>
              <a:gd name="connsiteY42" fmla="*/ 7679 h 280909"/>
              <a:gd name="connsiteX43" fmla="*/ 7876 w 286160"/>
              <a:gd name="connsiteY43" fmla="*/ 64649 h 280909"/>
              <a:gd name="connsiteX44" fmla="*/ 7876 w 286160"/>
              <a:gd name="connsiteY44" fmla="*/ 98121 h 280909"/>
              <a:gd name="connsiteX45" fmla="*/ 24547 w 286160"/>
              <a:gd name="connsiteY45" fmla="*/ 105078 h 280909"/>
              <a:gd name="connsiteX46" fmla="*/ 41218 w 286160"/>
              <a:gd name="connsiteY46" fmla="*/ 98121 h 280909"/>
              <a:gd name="connsiteX47" fmla="*/ 57889 w 286160"/>
              <a:gd name="connsiteY47" fmla="*/ 81450 h 280909"/>
              <a:gd name="connsiteX48" fmla="*/ 57889 w 286160"/>
              <a:gd name="connsiteY48" fmla="*/ 152334 h 280909"/>
              <a:gd name="connsiteX49" fmla="*/ 120109 w 286160"/>
              <a:gd name="connsiteY49" fmla="*/ 261285 h 280909"/>
              <a:gd name="connsiteX50" fmla="*/ 262533 w 286160"/>
              <a:gd name="connsiteY50" fmla="*/ 280319 h 280909"/>
              <a:gd name="connsiteX51" fmla="*/ 286161 w 286160"/>
              <a:gd name="connsiteY51" fmla="*/ 256691 h 280909"/>
              <a:gd name="connsiteX52" fmla="*/ 262926 w 286160"/>
              <a:gd name="connsiteY52" fmla="*/ 233063 h 280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</a:cxnLst>
            <a:rect l="l" t="t" r="r" b="b"/>
            <a:pathLst>
              <a:path w="286160" h="280909">
                <a:moveTo>
                  <a:pt x="262926" y="233063"/>
                </a:moveTo>
                <a:cubicBezTo>
                  <a:pt x="208582" y="233063"/>
                  <a:pt x="166839" y="230569"/>
                  <a:pt x="140192" y="218361"/>
                </a:cubicBezTo>
                <a:cubicBezTo>
                  <a:pt x="122996" y="210485"/>
                  <a:pt x="105538" y="196571"/>
                  <a:pt x="105538" y="152466"/>
                </a:cubicBezTo>
                <a:lnTo>
                  <a:pt x="105538" y="81582"/>
                </a:lnTo>
                <a:lnTo>
                  <a:pt x="122209" y="98253"/>
                </a:lnTo>
                <a:cubicBezTo>
                  <a:pt x="126803" y="102847"/>
                  <a:pt x="132841" y="105210"/>
                  <a:pt x="138880" y="105210"/>
                </a:cubicBezTo>
                <a:cubicBezTo>
                  <a:pt x="144918" y="105210"/>
                  <a:pt x="150956" y="102847"/>
                  <a:pt x="155550" y="98253"/>
                </a:cubicBezTo>
                <a:cubicBezTo>
                  <a:pt x="164739" y="89064"/>
                  <a:pt x="164739" y="74100"/>
                  <a:pt x="155550" y="64780"/>
                </a:cubicBezTo>
                <a:lnTo>
                  <a:pt x="98581" y="7810"/>
                </a:lnTo>
                <a:cubicBezTo>
                  <a:pt x="98581" y="7810"/>
                  <a:pt x="98581" y="7810"/>
                  <a:pt x="98450" y="7810"/>
                </a:cubicBezTo>
                <a:cubicBezTo>
                  <a:pt x="97925" y="7285"/>
                  <a:pt x="97399" y="6760"/>
                  <a:pt x="96743" y="6366"/>
                </a:cubicBezTo>
                <a:cubicBezTo>
                  <a:pt x="96481" y="6104"/>
                  <a:pt x="96218" y="5972"/>
                  <a:pt x="95956" y="5710"/>
                </a:cubicBezTo>
                <a:cubicBezTo>
                  <a:pt x="95562" y="5447"/>
                  <a:pt x="95299" y="5185"/>
                  <a:pt x="94905" y="4922"/>
                </a:cubicBezTo>
                <a:cubicBezTo>
                  <a:pt x="94512" y="4660"/>
                  <a:pt x="94249" y="4529"/>
                  <a:pt x="93855" y="4266"/>
                </a:cubicBezTo>
                <a:cubicBezTo>
                  <a:pt x="93593" y="4135"/>
                  <a:pt x="93199" y="3872"/>
                  <a:pt x="92937" y="3741"/>
                </a:cubicBezTo>
                <a:cubicBezTo>
                  <a:pt x="92543" y="3610"/>
                  <a:pt x="92280" y="3347"/>
                  <a:pt x="91886" y="3216"/>
                </a:cubicBezTo>
                <a:cubicBezTo>
                  <a:pt x="91492" y="3085"/>
                  <a:pt x="91230" y="2822"/>
                  <a:pt x="90836" y="2691"/>
                </a:cubicBezTo>
                <a:cubicBezTo>
                  <a:pt x="90443" y="2560"/>
                  <a:pt x="90180" y="2428"/>
                  <a:pt x="89786" y="2297"/>
                </a:cubicBezTo>
                <a:cubicBezTo>
                  <a:pt x="89392" y="2166"/>
                  <a:pt x="88999" y="2034"/>
                  <a:pt x="88605" y="1903"/>
                </a:cubicBezTo>
                <a:cubicBezTo>
                  <a:pt x="88211" y="1772"/>
                  <a:pt x="87948" y="1772"/>
                  <a:pt x="87554" y="1641"/>
                </a:cubicBezTo>
                <a:cubicBezTo>
                  <a:pt x="87161" y="1509"/>
                  <a:pt x="86767" y="1378"/>
                  <a:pt x="86373" y="1378"/>
                </a:cubicBezTo>
                <a:cubicBezTo>
                  <a:pt x="85979" y="1247"/>
                  <a:pt x="85585" y="1247"/>
                  <a:pt x="85192" y="1247"/>
                </a:cubicBezTo>
                <a:cubicBezTo>
                  <a:pt x="84798" y="1247"/>
                  <a:pt x="84536" y="1116"/>
                  <a:pt x="84142" y="1116"/>
                </a:cubicBezTo>
                <a:cubicBezTo>
                  <a:pt x="83354" y="984"/>
                  <a:pt x="82567" y="984"/>
                  <a:pt x="81779" y="984"/>
                </a:cubicBezTo>
                <a:cubicBezTo>
                  <a:pt x="81779" y="984"/>
                  <a:pt x="81779" y="984"/>
                  <a:pt x="81779" y="984"/>
                </a:cubicBezTo>
                <a:cubicBezTo>
                  <a:pt x="81779" y="984"/>
                  <a:pt x="81779" y="984"/>
                  <a:pt x="81779" y="984"/>
                </a:cubicBezTo>
                <a:cubicBezTo>
                  <a:pt x="81779" y="984"/>
                  <a:pt x="81779" y="984"/>
                  <a:pt x="81779" y="984"/>
                </a:cubicBezTo>
                <a:cubicBezTo>
                  <a:pt x="80991" y="984"/>
                  <a:pt x="80204" y="984"/>
                  <a:pt x="79416" y="1116"/>
                </a:cubicBezTo>
                <a:cubicBezTo>
                  <a:pt x="79022" y="1116"/>
                  <a:pt x="78760" y="1247"/>
                  <a:pt x="78366" y="1247"/>
                </a:cubicBezTo>
                <a:cubicBezTo>
                  <a:pt x="77972" y="1247"/>
                  <a:pt x="77447" y="1378"/>
                  <a:pt x="77053" y="1378"/>
                </a:cubicBezTo>
                <a:cubicBezTo>
                  <a:pt x="76660" y="1509"/>
                  <a:pt x="76266" y="1509"/>
                  <a:pt x="75872" y="1641"/>
                </a:cubicBezTo>
                <a:cubicBezTo>
                  <a:pt x="75478" y="1772"/>
                  <a:pt x="75084" y="1772"/>
                  <a:pt x="74691" y="1903"/>
                </a:cubicBezTo>
                <a:cubicBezTo>
                  <a:pt x="74297" y="2034"/>
                  <a:pt x="74034" y="2166"/>
                  <a:pt x="73640" y="2297"/>
                </a:cubicBezTo>
                <a:cubicBezTo>
                  <a:pt x="73247" y="2428"/>
                  <a:pt x="72853" y="2560"/>
                  <a:pt x="72590" y="2691"/>
                </a:cubicBezTo>
                <a:cubicBezTo>
                  <a:pt x="72196" y="2822"/>
                  <a:pt x="71934" y="2953"/>
                  <a:pt x="71671" y="3085"/>
                </a:cubicBezTo>
                <a:cubicBezTo>
                  <a:pt x="71278" y="3216"/>
                  <a:pt x="70884" y="3478"/>
                  <a:pt x="70490" y="3610"/>
                </a:cubicBezTo>
                <a:cubicBezTo>
                  <a:pt x="70227" y="3741"/>
                  <a:pt x="69834" y="4003"/>
                  <a:pt x="69571" y="4135"/>
                </a:cubicBezTo>
                <a:cubicBezTo>
                  <a:pt x="69177" y="4397"/>
                  <a:pt x="68784" y="4529"/>
                  <a:pt x="68521" y="4791"/>
                </a:cubicBezTo>
                <a:cubicBezTo>
                  <a:pt x="68258" y="5054"/>
                  <a:pt x="67865" y="5316"/>
                  <a:pt x="67602" y="5447"/>
                </a:cubicBezTo>
                <a:cubicBezTo>
                  <a:pt x="67340" y="5710"/>
                  <a:pt x="67077" y="5841"/>
                  <a:pt x="66815" y="6104"/>
                </a:cubicBezTo>
                <a:cubicBezTo>
                  <a:pt x="66815" y="6104"/>
                  <a:pt x="66815" y="6104"/>
                  <a:pt x="66683" y="6104"/>
                </a:cubicBezTo>
                <a:cubicBezTo>
                  <a:pt x="66158" y="6629"/>
                  <a:pt x="65502" y="7023"/>
                  <a:pt x="64977" y="7548"/>
                </a:cubicBezTo>
                <a:cubicBezTo>
                  <a:pt x="64977" y="7548"/>
                  <a:pt x="64977" y="7548"/>
                  <a:pt x="64846" y="7679"/>
                </a:cubicBezTo>
                <a:lnTo>
                  <a:pt x="7876" y="64649"/>
                </a:lnTo>
                <a:cubicBezTo>
                  <a:pt x="-1313" y="73837"/>
                  <a:pt x="-1313" y="88801"/>
                  <a:pt x="7876" y="98121"/>
                </a:cubicBezTo>
                <a:cubicBezTo>
                  <a:pt x="12470" y="102716"/>
                  <a:pt x="18509" y="105078"/>
                  <a:pt x="24547" y="105078"/>
                </a:cubicBezTo>
                <a:cubicBezTo>
                  <a:pt x="30585" y="105078"/>
                  <a:pt x="36623" y="102716"/>
                  <a:pt x="41218" y="98121"/>
                </a:cubicBezTo>
                <a:lnTo>
                  <a:pt x="57889" y="81450"/>
                </a:lnTo>
                <a:lnTo>
                  <a:pt x="57889" y="152334"/>
                </a:lnTo>
                <a:cubicBezTo>
                  <a:pt x="57889" y="206416"/>
                  <a:pt x="78235" y="241989"/>
                  <a:pt x="120109" y="261285"/>
                </a:cubicBezTo>
                <a:cubicBezTo>
                  <a:pt x="154632" y="277168"/>
                  <a:pt x="200181" y="280319"/>
                  <a:pt x="262533" y="280319"/>
                </a:cubicBezTo>
                <a:cubicBezTo>
                  <a:pt x="275528" y="280319"/>
                  <a:pt x="286161" y="269686"/>
                  <a:pt x="286161" y="256691"/>
                </a:cubicBezTo>
                <a:cubicBezTo>
                  <a:pt x="286161" y="243695"/>
                  <a:pt x="275921" y="233063"/>
                  <a:pt x="262926" y="233063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s-MX" sz="1400" dirty="0"/>
          </a:p>
        </p:txBody>
      </p:sp>
      <p:sp>
        <p:nvSpPr>
          <p:cNvPr id="22" name="Forma libre 6">
            <a:extLst>
              <a:ext uri="{FF2B5EF4-FFF2-40B4-BE49-F238E27FC236}">
                <a16:creationId xmlns:a16="http://schemas.microsoft.com/office/drawing/2014/main" id="{781E6DE1-1213-F341-EF4A-B7F34CDD5E91}"/>
              </a:ext>
            </a:extLst>
          </p:cNvPr>
          <p:cNvSpPr/>
          <p:nvPr/>
        </p:nvSpPr>
        <p:spPr>
          <a:xfrm>
            <a:off x="4504804" y="2121391"/>
            <a:ext cx="516914" cy="555702"/>
          </a:xfrm>
          <a:custGeom>
            <a:avLst/>
            <a:gdLst>
              <a:gd name="connsiteX0" fmla="*/ 317463 w 452622"/>
              <a:gd name="connsiteY0" fmla="*/ 34297 h 486587"/>
              <a:gd name="connsiteX1" fmla="*/ 260018 w 452622"/>
              <a:gd name="connsiteY1" fmla="*/ 34224 h 486587"/>
              <a:gd name="connsiteX2" fmla="*/ 255366 w 452622"/>
              <a:gd name="connsiteY2" fmla="*/ 27652 h 486587"/>
              <a:gd name="connsiteX3" fmla="*/ 168829 w 452622"/>
              <a:gd name="connsiteY3" fmla="*/ 554 h 486587"/>
              <a:gd name="connsiteX4" fmla="*/ 82292 w 452622"/>
              <a:gd name="connsiteY4" fmla="*/ 27652 h 486587"/>
              <a:gd name="connsiteX5" fmla="*/ 77640 w 452622"/>
              <a:gd name="connsiteY5" fmla="*/ 34224 h 486587"/>
              <a:gd name="connsiteX6" fmla="*/ 20194 w 452622"/>
              <a:gd name="connsiteY6" fmla="*/ 34224 h 486587"/>
              <a:gd name="connsiteX7" fmla="*/ 554 w 452622"/>
              <a:gd name="connsiteY7" fmla="*/ 60805 h 486587"/>
              <a:gd name="connsiteX8" fmla="*/ 554 w 452622"/>
              <a:gd name="connsiteY8" fmla="*/ 471487 h 486587"/>
              <a:gd name="connsiteX9" fmla="*/ 15174 w 452622"/>
              <a:gd name="connsiteY9" fmla="*/ 486107 h 486587"/>
              <a:gd name="connsiteX10" fmla="*/ 322484 w 452622"/>
              <a:gd name="connsiteY10" fmla="*/ 486181 h 486587"/>
              <a:gd name="connsiteX11" fmla="*/ 337104 w 452622"/>
              <a:gd name="connsiteY11" fmla="*/ 471561 h 486587"/>
              <a:gd name="connsiteX12" fmla="*/ 337104 w 452622"/>
              <a:gd name="connsiteY12" fmla="*/ 60805 h 486587"/>
              <a:gd name="connsiteX13" fmla="*/ 317463 w 452622"/>
              <a:gd name="connsiteY13" fmla="*/ 34297 h 486587"/>
              <a:gd name="connsiteX14" fmla="*/ 103040 w 452622"/>
              <a:gd name="connsiteY14" fmla="*/ 44635 h 486587"/>
              <a:gd name="connsiteX15" fmla="*/ 168829 w 452622"/>
              <a:gd name="connsiteY15" fmla="*/ 27135 h 486587"/>
              <a:gd name="connsiteX16" fmla="*/ 234618 w 452622"/>
              <a:gd name="connsiteY16" fmla="*/ 44635 h 486587"/>
              <a:gd name="connsiteX17" fmla="*/ 234618 w 452622"/>
              <a:gd name="connsiteY17" fmla="*/ 47514 h 486587"/>
              <a:gd name="connsiteX18" fmla="*/ 103040 w 452622"/>
              <a:gd name="connsiteY18" fmla="*/ 47514 h 486587"/>
              <a:gd name="connsiteX19" fmla="*/ 103040 w 452622"/>
              <a:gd name="connsiteY19" fmla="*/ 44635 h 486587"/>
              <a:gd name="connsiteX20" fmla="*/ 310522 w 452622"/>
              <a:gd name="connsiteY20" fmla="*/ 459526 h 486587"/>
              <a:gd name="connsiteX21" fmla="*/ 27209 w 452622"/>
              <a:gd name="connsiteY21" fmla="*/ 459526 h 486587"/>
              <a:gd name="connsiteX22" fmla="*/ 27209 w 452622"/>
              <a:gd name="connsiteY22" fmla="*/ 60805 h 486587"/>
              <a:gd name="connsiteX23" fmla="*/ 76532 w 452622"/>
              <a:gd name="connsiteY23" fmla="*/ 60805 h 486587"/>
              <a:gd name="connsiteX24" fmla="*/ 92703 w 452622"/>
              <a:gd name="connsiteY24" fmla="*/ 74096 h 486587"/>
              <a:gd name="connsiteX25" fmla="*/ 245029 w 452622"/>
              <a:gd name="connsiteY25" fmla="*/ 74096 h 486587"/>
              <a:gd name="connsiteX26" fmla="*/ 261273 w 452622"/>
              <a:gd name="connsiteY26" fmla="*/ 60805 h 486587"/>
              <a:gd name="connsiteX27" fmla="*/ 310596 w 452622"/>
              <a:gd name="connsiteY27" fmla="*/ 60805 h 486587"/>
              <a:gd name="connsiteX28" fmla="*/ 310596 w 452622"/>
              <a:gd name="connsiteY28" fmla="*/ 459526 h 486587"/>
              <a:gd name="connsiteX29" fmla="*/ 268583 w 452622"/>
              <a:gd name="connsiteY29" fmla="*/ 153914 h 486587"/>
              <a:gd name="connsiteX30" fmla="*/ 281874 w 452622"/>
              <a:gd name="connsiteY30" fmla="*/ 167204 h 486587"/>
              <a:gd name="connsiteX31" fmla="*/ 268583 w 452622"/>
              <a:gd name="connsiteY31" fmla="*/ 180495 h 486587"/>
              <a:gd name="connsiteX32" fmla="*/ 162257 w 452622"/>
              <a:gd name="connsiteY32" fmla="*/ 180495 h 486587"/>
              <a:gd name="connsiteX33" fmla="*/ 148967 w 452622"/>
              <a:gd name="connsiteY33" fmla="*/ 167204 h 486587"/>
              <a:gd name="connsiteX34" fmla="*/ 162257 w 452622"/>
              <a:gd name="connsiteY34" fmla="*/ 153914 h 486587"/>
              <a:gd name="connsiteX35" fmla="*/ 268583 w 452622"/>
              <a:gd name="connsiteY35" fmla="*/ 153914 h 486587"/>
              <a:gd name="connsiteX36" fmla="*/ 281874 w 452622"/>
              <a:gd name="connsiteY36" fmla="*/ 273530 h 486587"/>
              <a:gd name="connsiteX37" fmla="*/ 268583 w 452622"/>
              <a:gd name="connsiteY37" fmla="*/ 286821 h 486587"/>
              <a:gd name="connsiteX38" fmla="*/ 162257 w 452622"/>
              <a:gd name="connsiteY38" fmla="*/ 286821 h 486587"/>
              <a:gd name="connsiteX39" fmla="*/ 148967 w 452622"/>
              <a:gd name="connsiteY39" fmla="*/ 273530 h 486587"/>
              <a:gd name="connsiteX40" fmla="*/ 162257 w 452622"/>
              <a:gd name="connsiteY40" fmla="*/ 260239 h 486587"/>
              <a:gd name="connsiteX41" fmla="*/ 268583 w 452622"/>
              <a:gd name="connsiteY41" fmla="*/ 260239 h 486587"/>
              <a:gd name="connsiteX42" fmla="*/ 281874 w 452622"/>
              <a:gd name="connsiteY42" fmla="*/ 273530 h 486587"/>
              <a:gd name="connsiteX43" fmla="*/ 281874 w 452622"/>
              <a:gd name="connsiteY43" fmla="*/ 379856 h 486587"/>
              <a:gd name="connsiteX44" fmla="*/ 268583 w 452622"/>
              <a:gd name="connsiteY44" fmla="*/ 393146 h 486587"/>
              <a:gd name="connsiteX45" fmla="*/ 162257 w 452622"/>
              <a:gd name="connsiteY45" fmla="*/ 393146 h 486587"/>
              <a:gd name="connsiteX46" fmla="*/ 148967 w 452622"/>
              <a:gd name="connsiteY46" fmla="*/ 379856 h 486587"/>
              <a:gd name="connsiteX47" fmla="*/ 162257 w 452622"/>
              <a:gd name="connsiteY47" fmla="*/ 366565 h 486587"/>
              <a:gd name="connsiteX48" fmla="*/ 268583 w 452622"/>
              <a:gd name="connsiteY48" fmla="*/ 366565 h 486587"/>
              <a:gd name="connsiteX49" fmla="*/ 281874 w 452622"/>
              <a:gd name="connsiteY49" fmla="*/ 379856 h 486587"/>
              <a:gd name="connsiteX50" fmla="*/ 69222 w 452622"/>
              <a:gd name="connsiteY50" fmla="*/ 207003 h 486587"/>
              <a:gd name="connsiteX51" fmla="*/ 122385 w 452622"/>
              <a:gd name="connsiteY51" fmla="*/ 207003 h 486587"/>
              <a:gd name="connsiteX52" fmla="*/ 135676 w 452622"/>
              <a:gd name="connsiteY52" fmla="*/ 193712 h 486587"/>
              <a:gd name="connsiteX53" fmla="*/ 135676 w 452622"/>
              <a:gd name="connsiteY53" fmla="*/ 140549 h 486587"/>
              <a:gd name="connsiteX54" fmla="*/ 122385 w 452622"/>
              <a:gd name="connsiteY54" fmla="*/ 127258 h 486587"/>
              <a:gd name="connsiteX55" fmla="*/ 69222 w 452622"/>
              <a:gd name="connsiteY55" fmla="*/ 127258 h 486587"/>
              <a:gd name="connsiteX56" fmla="*/ 55932 w 452622"/>
              <a:gd name="connsiteY56" fmla="*/ 140549 h 486587"/>
              <a:gd name="connsiteX57" fmla="*/ 55932 w 452622"/>
              <a:gd name="connsiteY57" fmla="*/ 193712 h 486587"/>
              <a:gd name="connsiteX58" fmla="*/ 69222 w 452622"/>
              <a:gd name="connsiteY58" fmla="*/ 207003 h 486587"/>
              <a:gd name="connsiteX59" fmla="*/ 82513 w 452622"/>
              <a:gd name="connsiteY59" fmla="*/ 153840 h 486587"/>
              <a:gd name="connsiteX60" fmla="*/ 109094 w 452622"/>
              <a:gd name="connsiteY60" fmla="*/ 153840 h 486587"/>
              <a:gd name="connsiteX61" fmla="*/ 109094 w 452622"/>
              <a:gd name="connsiteY61" fmla="*/ 180421 h 486587"/>
              <a:gd name="connsiteX62" fmla="*/ 82513 w 452622"/>
              <a:gd name="connsiteY62" fmla="*/ 180421 h 486587"/>
              <a:gd name="connsiteX63" fmla="*/ 82513 w 452622"/>
              <a:gd name="connsiteY63" fmla="*/ 153840 h 486587"/>
              <a:gd name="connsiteX64" fmla="*/ 122385 w 452622"/>
              <a:gd name="connsiteY64" fmla="*/ 233658 h 486587"/>
              <a:gd name="connsiteX65" fmla="*/ 69222 w 452622"/>
              <a:gd name="connsiteY65" fmla="*/ 233658 h 486587"/>
              <a:gd name="connsiteX66" fmla="*/ 55932 w 452622"/>
              <a:gd name="connsiteY66" fmla="*/ 246949 h 486587"/>
              <a:gd name="connsiteX67" fmla="*/ 55932 w 452622"/>
              <a:gd name="connsiteY67" fmla="*/ 300111 h 486587"/>
              <a:gd name="connsiteX68" fmla="*/ 69222 w 452622"/>
              <a:gd name="connsiteY68" fmla="*/ 313402 h 486587"/>
              <a:gd name="connsiteX69" fmla="*/ 122385 w 452622"/>
              <a:gd name="connsiteY69" fmla="*/ 313402 h 486587"/>
              <a:gd name="connsiteX70" fmla="*/ 135676 w 452622"/>
              <a:gd name="connsiteY70" fmla="*/ 300111 h 486587"/>
              <a:gd name="connsiteX71" fmla="*/ 135676 w 452622"/>
              <a:gd name="connsiteY71" fmla="*/ 246949 h 486587"/>
              <a:gd name="connsiteX72" fmla="*/ 122385 w 452622"/>
              <a:gd name="connsiteY72" fmla="*/ 233658 h 486587"/>
              <a:gd name="connsiteX73" fmla="*/ 109094 w 452622"/>
              <a:gd name="connsiteY73" fmla="*/ 286821 h 486587"/>
              <a:gd name="connsiteX74" fmla="*/ 82513 w 452622"/>
              <a:gd name="connsiteY74" fmla="*/ 286821 h 486587"/>
              <a:gd name="connsiteX75" fmla="*/ 82513 w 452622"/>
              <a:gd name="connsiteY75" fmla="*/ 260239 h 486587"/>
              <a:gd name="connsiteX76" fmla="*/ 109094 w 452622"/>
              <a:gd name="connsiteY76" fmla="*/ 260239 h 486587"/>
              <a:gd name="connsiteX77" fmla="*/ 109094 w 452622"/>
              <a:gd name="connsiteY77" fmla="*/ 286821 h 486587"/>
              <a:gd name="connsiteX78" fmla="*/ 122311 w 452622"/>
              <a:gd name="connsiteY78" fmla="*/ 339983 h 486587"/>
              <a:gd name="connsiteX79" fmla="*/ 69149 w 452622"/>
              <a:gd name="connsiteY79" fmla="*/ 339983 h 486587"/>
              <a:gd name="connsiteX80" fmla="*/ 55858 w 452622"/>
              <a:gd name="connsiteY80" fmla="*/ 353274 h 486587"/>
              <a:gd name="connsiteX81" fmla="*/ 55858 w 452622"/>
              <a:gd name="connsiteY81" fmla="*/ 406437 h 486587"/>
              <a:gd name="connsiteX82" fmla="*/ 69149 w 452622"/>
              <a:gd name="connsiteY82" fmla="*/ 419728 h 486587"/>
              <a:gd name="connsiteX83" fmla="*/ 122311 w 452622"/>
              <a:gd name="connsiteY83" fmla="*/ 419728 h 486587"/>
              <a:gd name="connsiteX84" fmla="*/ 135602 w 452622"/>
              <a:gd name="connsiteY84" fmla="*/ 406437 h 486587"/>
              <a:gd name="connsiteX85" fmla="*/ 135602 w 452622"/>
              <a:gd name="connsiteY85" fmla="*/ 353274 h 486587"/>
              <a:gd name="connsiteX86" fmla="*/ 122311 w 452622"/>
              <a:gd name="connsiteY86" fmla="*/ 339983 h 486587"/>
              <a:gd name="connsiteX87" fmla="*/ 109021 w 452622"/>
              <a:gd name="connsiteY87" fmla="*/ 393146 h 486587"/>
              <a:gd name="connsiteX88" fmla="*/ 82439 w 452622"/>
              <a:gd name="connsiteY88" fmla="*/ 393146 h 486587"/>
              <a:gd name="connsiteX89" fmla="*/ 82439 w 452622"/>
              <a:gd name="connsiteY89" fmla="*/ 366565 h 486587"/>
              <a:gd name="connsiteX90" fmla="*/ 109021 w 452622"/>
              <a:gd name="connsiteY90" fmla="*/ 366565 h 486587"/>
              <a:gd name="connsiteX91" fmla="*/ 109021 w 452622"/>
              <a:gd name="connsiteY91" fmla="*/ 393146 h 486587"/>
              <a:gd name="connsiteX92" fmla="*/ 450296 w 452622"/>
              <a:gd name="connsiteY92" fmla="*/ 169493 h 486587"/>
              <a:gd name="connsiteX93" fmla="*/ 423715 w 452622"/>
              <a:gd name="connsiteY93" fmla="*/ 129621 h 486587"/>
              <a:gd name="connsiteX94" fmla="*/ 412565 w 452622"/>
              <a:gd name="connsiteY94" fmla="*/ 123714 h 486587"/>
              <a:gd name="connsiteX95" fmla="*/ 401490 w 452622"/>
              <a:gd name="connsiteY95" fmla="*/ 129769 h 486587"/>
              <a:gd name="connsiteX96" fmla="*/ 375425 w 452622"/>
              <a:gd name="connsiteY96" fmla="*/ 169641 h 486587"/>
              <a:gd name="connsiteX97" fmla="*/ 373284 w 452622"/>
              <a:gd name="connsiteY97" fmla="*/ 176877 h 486587"/>
              <a:gd name="connsiteX98" fmla="*/ 372767 w 452622"/>
              <a:gd name="connsiteY98" fmla="*/ 469199 h 486587"/>
              <a:gd name="connsiteX99" fmla="*/ 376681 w 452622"/>
              <a:gd name="connsiteY99" fmla="*/ 478576 h 486587"/>
              <a:gd name="connsiteX100" fmla="*/ 386058 w 452622"/>
              <a:gd name="connsiteY100" fmla="*/ 482489 h 486587"/>
              <a:gd name="connsiteX101" fmla="*/ 439221 w 452622"/>
              <a:gd name="connsiteY101" fmla="*/ 482489 h 486587"/>
              <a:gd name="connsiteX102" fmla="*/ 452511 w 452622"/>
              <a:gd name="connsiteY102" fmla="*/ 469199 h 486587"/>
              <a:gd name="connsiteX103" fmla="*/ 452511 w 452622"/>
              <a:gd name="connsiteY103" fmla="*/ 176803 h 486587"/>
              <a:gd name="connsiteX104" fmla="*/ 450296 w 452622"/>
              <a:gd name="connsiteY104" fmla="*/ 169493 h 486587"/>
              <a:gd name="connsiteX105" fmla="*/ 412713 w 452622"/>
              <a:gd name="connsiteY105" fmla="*/ 161076 h 486587"/>
              <a:gd name="connsiteX106" fmla="*/ 425930 w 452622"/>
              <a:gd name="connsiteY106" fmla="*/ 180864 h 486587"/>
              <a:gd name="connsiteX107" fmla="*/ 425930 w 452622"/>
              <a:gd name="connsiteY107" fmla="*/ 416110 h 486587"/>
              <a:gd name="connsiteX108" fmla="*/ 399422 w 452622"/>
              <a:gd name="connsiteY108" fmla="*/ 416110 h 486587"/>
              <a:gd name="connsiteX109" fmla="*/ 399865 w 452622"/>
              <a:gd name="connsiteY109" fmla="*/ 180864 h 486587"/>
              <a:gd name="connsiteX110" fmla="*/ 412713 w 452622"/>
              <a:gd name="connsiteY110" fmla="*/ 161076 h 486587"/>
              <a:gd name="connsiteX111" fmla="*/ 399349 w 452622"/>
              <a:gd name="connsiteY111" fmla="*/ 455982 h 486587"/>
              <a:gd name="connsiteX112" fmla="*/ 399349 w 452622"/>
              <a:gd name="connsiteY112" fmla="*/ 442691 h 486587"/>
              <a:gd name="connsiteX113" fmla="*/ 425856 w 452622"/>
              <a:gd name="connsiteY113" fmla="*/ 442691 h 486587"/>
              <a:gd name="connsiteX114" fmla="*/ 425856 w 452622"/>
              <a:gd name="connsiteY114" fmla="*/ 455982 h 486587"/>
              <a:gd name="connsiteX115" fmla="*/ 399349 w 452622"/>
              <a:gd name="connsiteY115" fmla="*/ 455982 h 4865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</a:cxnLst>
            <a:rect l="l" t="t" r="r" b="b"/>
            <a:pathLst>
              <a:path w="452622" h="486587">
                <a:moveTo>
                  <a:pt x="317463" y="34297"/>
                </a:moveTo>
                <a:lnTo>
                  <a:pt x="260018" y="34224"/>
                </a:lnTo>
                <a:cubicBezTo>
                  <a:pt x="259058" y="32008"/>
                  <a:pt x="257507" y="29793"/>
                  <a:pt x="255366" y="27652"/>
                </a:cubicBezTo>
                <a:cubicBezTo>
                  <a:pt x="238900" y="10965"/>
                  <a:pt x="205747" y="554"/>
                  <a:pt x="168829" y="554"/>
                </a:cubicBezTo>
                <a:cubicBezTo>
                  <a:pt x="131910" y="554"/>
                  <a:pt x="98757" y="10965"/>
                  <a:pt x="82292" y="27652"/>
                </a:cubicBezTo>
                <a:cubicBezTo>
                  <a:pt x="80150" y="29793"/>
                  <a:pt x="78600" y="32008"/>
                  <a:pt x="77640" y="34224"/>
                </a:cubicBezTo>
                <a:lnTo>
                  <a:pt x="20194" y="34224"/>
                </a:lnTo>
                <a:cubicBezTo>
                  <a:pt x="8824" y="34224"/>
                  <a:pt x="554" y="45373"/>
                  <a:pt x="554" y="60805"/>
                </a:cubicBezTo>
                <a:lnTo>
                  <a:pt x="554" y="471487"/>
                </a:lnTo>
                <a:cubicBezTo>
                  <a:pt x="554" y="479536"/>
                  <a:pt x="7125" y="486107"/>
                  <a:pt x="15174" y="486107"/>
                </a:cubicBezTo>
                <a:lnTo>
                  <a:pt x="322484" y="486181"/>
                </a:lnTo>
                <a:cubicBezTo>
                  <a:pt x="330532" y="486181"/>
                  <a:pt x="337104" y="479610"/>
                  <a:pt x="337104" y="471561"/>
                </a:cubicBezTo>
                <a:lnTo>
                  <a:pt x="337104" y="60805"/>
                </a:lnTo>
                <a:cubicBezTo>
                  <a:pt x="337104" y="45447"/>
                  <a:pt x="328834" y="34297"/>
                  <a:pt x="317463" y="34297"/>
                </a:cubicBezTo>
                <a:moveTo>
                  <a:pt x="103040" y="44635"/>
                </a:moveTo>
                <a:cubicBezTo>
                  <a:pt x="113525" y="35700"/>
                  <a:pt x="137153" y="27135"/>
                  <a:pt x="168829" y="27135"/>
                </a:cubicBezTo>
                <a:cubicBezTo>
                  <a:pt x="200505" y="27135"/>
                  <a:pt x="224133" y="35700"/>
                  <a:pt x="234618" y="44635"/>
                </a:cubicBezTo>
                <a:lnTo>
                  <a:pt x="234618" y="47514"/>
                </a:lnTo>
                <a:lnTo>
                  <a:pt x="103040" y="47514"/>
                </a:lnTo>
                <a:lnTo>
                  <a:pt x="103040" y="44635"/>
                </a:lnTo>
                <a:close/>
                <a:moveTo>
                  <a:pt x="310522" y="459526"/>
                </a:moveTo>
                <a:lnTo>
                  <a:pt x="27209" y="459526"/>
                </a:lnTo>
                <a:lnTo>
                  <a:pt x="27209" y="60805"/>
                </a:lnTo>
                <a:lnTo>
                  <a:pt x="76532" y="60805"/>
                </a:lnTo>
                <a:cubicBezTo>
                  <a:pt x="76754" y="66047"/>
                  <a:pt x="80446" y="74096"/>
                  <a:pt x="92703" y="74096"/>
                </a:cubicBezTo>
                <a:lnTo>
                  <a:pt x="245029" y="74096"/>
                </a:lnTo>
                <a:cubicBezTo>
                  <a:pt x="257360" y="74096"/>
                  <a:pt x="260978" y="66047"/>
                  <a:pt x="261273" y="60805"/>
                </a:cubicBezTo>
                <a:lnTo>
                  <a:pt x="310596" y="60805"/>
                </a:lnTo>
                <a:lnTo>
                  <a:pt x="310596" y="459526"/>
                </a:lnTo>
                <a:close/>
                <a:moveTo>
                  <a:pt x="268583" y="153914"/>
                </a:moveTo>
                <a:cubicBezTo>
                  <a:pt x="275893" y="153914"/>
                  <a:pt x="281874" y="159894"/>
                  <a:pt x="281874" y="167204"/>
                </a:cubicBezTo>
                <a:cubicBezTo>
                  <a:pt x="281874" y="174514"/>
                  <a:pt x="275893" y="180495"/>
                  <a:pt x="268583" y="180495"/>
                </a:cubicBezTo>
                <a:lnTo>
                  <a:pt x="162257" y="180495"/>
                </a:lnTo>
                <a:cubicBezTo>
                  <a:pt x="154947" y="180495"/>
                  <a:pt x="148967" y="174514"/>
                  <a:pt x="148967" y="167204"/>
                </a:cubicBezTo>
                <a:cubicBezTo>
                  <a:pt x="148967" y="159894"/>
                  <a:pt x="154947" y="153914"/>
                  <a:pt x="162257" y="153914"/>
                </a:cubicBezTo>
                <a:lnTo>
                  <a:pt x="268583" y="153914"/>
                </a:lnTo>
                <a:close/>
                <a:moveTo>
                  <a:pt x="281874" y="273530"/>
                </a:moveTo>
                <a:cubicBezTo>
                  <a:pt x="281874" y="280840"/>
                  <a:pt x="275893" y="286821"/>
                  <a:pt x="268583" y="286821"/>
                </a:cubicBezTo>
                <a:lnTo>
                  <a:pt x="162257" y="286821"/>
                </a:lnTo>
                <a:cubicBezTo>
                  <a:pt x="154947" y="286821"/>
                  <a:pt x="148967" y="280840"/>
                  <a:pt x="148967" y="273530"/>
                </a:cubicBezTo>
                <a:cubicBezTo>
                  <a:pt x="148967" y="266220"/>
                  <a:pt x="154947" y="260239"/>
                  <a:pt x="162257" y="260239"/>
                </a:cubicBezTo>
                <a:lnTo>
                  <a:pt x="268583" y="260239"/>
                </a:lnTo>
                <a:cubicBezTo>
                  <a:pt x="275893" y="260239"/>
                  <a:pt x="281874" y="266220"/>
                  <a:pt x="281874" y="273530"/>
                </a:cubicBezTo>
                <a:moveTo>
                  <a:pt x="281874" y="379856"/>
                </a:moveTo>
                <a:cubicBezTo>
                  <a:pt x="281874" y="387165"/>
                  <a:pt x="275893" y="393146"/>
                  <a:pt x="268583" y="393146"/>
                </a:cubicBezTo>
                <a:lnTo>
                  <a:pt x="162257" y="393146"/>
                </a:lnTo>
                <a:cubicBezTo>
                  <a:pt x="154947" y="393146"/>
                  <a:pt x="148967" y="387165"/>
                  <a:pt x="148967" y="379856"/>
                </a:cubicBezTo>
                <a:cubicBezTo>
                  <a:pt x="148967" y="372546"/>
                  <a:pt x="154947" y="366565"/>
                  <a:pt x="162257" y="366565"/>
                </a:cubicBezTo>
                <a:lnTo>
                  <a:pt x="268583" y="366565"/>
                </a:lnTo>
                <a:cubicBezTo>
                  <a:pt x="275893" y="366565"/>
                  <a:pt x="281874" y="372546"/>
                  <a:pt x="281874" y="379856"/>
                </a:cubicBezTo>
                <a:moveTo>
                  <a:pt x="69222" y="207003"/>
                </a:moveTo>
                <a:lnTo>
                  <a:pt x="122385" y="207003"/>
                </a:lnTo>
                <a:cubicBezTo>
                  <a:pt x="129695" y="207003"/>
                  <a:pt x="135676" y="201022"/>
                  <a:pt x="135676" y="193712"/>
                </a:cubicBezTo>
                <a:lnTo>
                  <a:pt x="135676" y="140549"/>
                </a:lnTo>
                <a:cubicBezTo>
                  <a:pt x="135676" y="133239"/>
                  <a:pt x="129695" y="127258"/>
                  <a:pt x="122385" y="127258"/>
                </a:cubicBezTo>
                <a:lnTo>
                  <a:pt x="69222" y="127258"/>
                </a:lnTo>
                <a:cubicBezTo>
                  <a:pt x="61913" y="127258"/>
                  <a:pt x="55932" y="133239"/>
                  <a:pt x="55932" y="140549"/>
                </a:cubicBezTo>
                <a:lnTo>
                  <a:pt x="55932" y="193712"/>
                </a:lnTo>
                <a:cubicBezTo>
                  <a:pt x="55932" y="201022"/>
                  <a:pt x="61913" y="207003"/>
                  <a:pt x="69222" y="207003"/>
                </a:cubicBezTo>
                <a:moveTo>
                  <a:pt x="82513" y="153840"/>
                </a:moveTo>
                <a:lnTo>
                  <a:pt x="109094" y="153840"/>
                </a:lnTo>
                <a:lnTo>
                  <a:pt x="109094" y="180421"/>
                </a:lnTo>
                <a:lnTo>
                  <a:pt x="82513" y="180421"/>
                </a:lnTo>
                <a:lnTo>
                  <a:pt x="82513" y="153840"/>
                </a:lnTo>
                <a:close/>
                <a:moveTo>
                  <a:pt x="122385" y="233658"/>
                </a:moveTo>
                <a:lnTo>
                  <a:pt x="69222" y="233658"/>
                </a:lnTo>
                <a:cubicBezTo>
                  <a:pt x="61913" y="233658"/>
                  <a:pt x="55932" y="239639"/>
                  <a:pt x="55932" y="246949"/>
                </a:cubicBezTo>
                <a:lnTo>
                  <a:pt x="55932" y="300111"/>
                </a:lnTo>
                <a:cubicBezTo>
                  <a:pt x="55932" y="307421"/>
                  <a:pt x="61913" y="313402"/>
                  <a:pt x="69222" y="313402"/>
                </a:cubicBezTo>
                <a:lnTo>
                  <a:pt x="122385" y="313402"/>
                </a:lnTo>
                <a:cubicBezTo>
                  <a:pt x="129695" y="313402"/>
                  <a:pt x="135676" y="307421"/>
                  <a:pt x="135676" y="300111"/>
                </a:cubicBezTo>
                <a:lnTo>
                  <a:pt x="135676" y="246949"/>
                </a:lnTo>
                <a:cubicBezTo>
                  <a:pt x="135676" y="239639"/>
                  <a:pt x="129769" y="233658"/>
                  <a:pt x="122385" y="233658"/>
                </a:cubicBezTo>
                <a:moveTo>
                  <a:pt x="109094" y="286821"/>
                </a:moveTo>
                <a:lnTo>
                  <a:pt x="82513" y="286821"/>
                </a:lnTo>
                <a:lnTo>
                  <a:pt x="82513" y="260239"/>
                </a:lnTo>
                <a:lnTo>
                  <a:pt x="109094" y="260239"/>
                </a:lnTo>
                <a:lnTo>
                  <a:pt x="109094" y="286821"/>
                </a:lnTo>
                <a:close/>
                <a:moveTo>
                  <a:pt x="122311" y="339983"/>
                </a:moveTo>
                <a:lnTo>
                  <a:pt x="69149" y="339983"/>
                </a:lnTo>
                <a:cubicBezTo>
                  <a:pt x="61839" y="339983"/>
                  <a:pt x="55858" y="345964"/>
                  <a:pt x="55858" y="353274"/>
                </a:cubicBezTo>
                <a:lnTo>
                  <a:pt x="55858" y="406437"/>
                </a:lnTo>
                <a:cubicBezTo>
                  <a:pt x="55858" y="413747"/>
                  <a:pt x="61839" y="419728"/>
                  <a:pt x="69149" y="419728"/>
                </a:cubicBezTo>
                <a:lnTo>
                  <a:pt x="122311" y="419728"/>
                </a:lnTo>
                <a:cubicBezTo>
                  <a:pt x="129621" y="419728"/>
                  <a:pt x="135602" y="413747"/>
                  <a:pt x="135602" y="406437"/>
                </a:cubicBezTo>
                <a:lnTo>
                  <a:pt x="135602" y="353274"/>
                </a:lnTo>
                <a:cubicBezTo>
                  <a:pt x="135602" y="345964"/>
                  <a:pt x="129621" y="339983"/>
                  <a:pt x="122311" y="339983"/>
                </a:cubicBezTo>
                <a:moveTo>
                  <a:pt x="109021" y="393146"/>
                </a:moveTo>
                <a:lnTo>
                  <a:pt x="82439" y="393146"/>
                </a:lnTo>
                <a:lnTo>
                  <a:pt x="82439" y="366565"/>
                </a:lnTo>
                <a:lnTo>
                  <a:pt x="109021" y="366565"/>
                </a:lnTo>
                <a:lnTo>
                  <a:pt x="109021" y="393146"/>
                </a:lnTo>
                <a:close/>
                <a:moveTo>
                  <a:pt x="450296" y="169493"/>
                </a:moveTo>
                <a:lnTo>
                  <a:pt x="423715" y="129621"/>
                </a:lnTo>
                <a:cubicBezTo>
                  <a:pt x="421204" y="125929"/>
                  <a:pt x="417069" y="123640"/>
                  <a:pt x="412565" y="123714"/>
                </a:cubicBezTo>
                <a:cubicBezTo>
                  <a:pt x="408135" y="123714"/>
                  <a:pt x="403926" y="126003"/>
                  <a:pt x="401490" y="129769"/>
                </a:cubicBezTo>
                <a:lnTo>
                  <a:pt x="375425" y="169641"/>
                </a:lnTo>
                <a:cubicBezTo>
                  <a:pt x="374022" y="171782"/>
                  <a:pt x="373284" y="174293"/>
                  <a:pt x="373284" y="176877"/>
                </a:cubicBezTo>
                <a:lnTo>
                  <a:pt x="372767" y="469199"/>
                </a:lnTo>
                <a:cubicBezTo>
                  <a:pt x="372767" y="472743"/>
                  <a:pt x="374170" y="476139"/>
                  <a:pt x="376681" y="478576"/>
                </a:cubicBezTo>
                <a:cubicBezTo>
                  <a:pt x="379191" y="481086"/>
                  <a:pt x="382588" y="482489"/>
                  <a:pt x="386058" y="482489"/>
                </a:cubicBezTo>
                <a:lnTo>
                  <a:pt x="439221" y="482489"/>
                </a:lnTo>
                <a:cubicBezTo>
                  <a:pt x="446531" y="482489"/>
                  <a:pt x="452511" y="476508"/>
                  <a:pt x="452511" y="469199"/>
                </a:cubicBezTo>
                <a:lnTo>
                  <a:pt x="452511" y="176803"/>
                </a:lnTo>
                <a:cubicBezTo>
                  <a:pt x="452511" y="174219"/>
                  <a:pt x="451773" y="171635"/>
                  <a:pt x="450296" y="169493"/>
                </a:cubicBezTo>
                <a:moveTo>
                  <a:pt x="412713" y="161076"/>
                </a:moveTo>
                <a:lnTo>
                  <a:pt x="425930" y="180864"/>
                </a:lnTo>
                <a:lnTo>
                  <a:pt x="425930" y="416110"/>
                </a:lnTo>
                <a:lnTo>
                  <a:pt x="399422" y="416110"/>
                </a:lnTo>
                <a:lnTo>
                  <a:pt x="399865" y="180864"/>
                </a:lnTo>
                <a:lnTo>
                  <a:pt x="412713" y="161076"/>
                </a:lnTo>
                <a:close/>
                <a:moveTo>
                  <a:pt x="399349" y="455982"/>
                </a:moveTo>
                <a:lnTo>
                  <a:pt x="399349" y="442691"/>
                </a:lnTo>
                <a:lnTo>
                  <a:pt x="425856" y="442691"/>
                </a:lnTo>
                <a:lnTo>
                  <a:pt x="425856" y="455982"/>
                </a:lnTo>
                <a:lnTo>
                  <a:pt x="399349" y="455982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s-MX" sz="1400" dirty="0"/>
          </a:p>
        </p:txBody>
      </p:sp>
    </p:spTree>
    <p:extLst>
      <p:ext uri="{BB962C8B-B14F-4D97-AF65-F5344CB8AC3E}">
        <p14:creationId xmlns:p14="http://schemas.microsoft.com/office/powerpoint/2010/main" val="463746559"/>
      </p:ext>
    </p:extLst>
  </p:cSld>
  <p:clrMapOvr>
    <a:masterClrMapping/>
  </p:clrMapOvr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EDB66B5-C272-876B-EFD4-D83B228F0C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24ADC82-8D76-E8EA-53DA-4DEA7DCA4E2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10136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40B72A9-728A-8AE6-39BE-2BC6392FAF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Factor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285BC84-B409-B185-6E2C-B7A78E92FB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11</a:t>
            </a:fld>
            <a:endParaRPr lang="en-US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1128B3E2-E230-C376-7CAA-86CBFC4621CB}"/>
              </a:ext>
            </a:extLst>
          </p:cNvPr>
          <p:cNvGrpSpPr/>
          <p:nvPr/>
        </p:nvGrpSpPr>
        <p:grpSpPr>
          <a:xfrm>
            <a:off x="2668346" y="2020916"/>
            <a:ext cx="7137890" cy="3525788"/>
            <a:chOff x="2433045" y="2091378"/>
            <a:chExt cx="7137890" cy="3525788"/>
          </a:xfrm>
        </p:grpSpPr>
        <p:sp>
          <p:nvSpPr>
            <p:cNvPr id="15" name="Freeform 3">
              <a:extLst>
                <a:ext uri="{FF2B5EF4-FFF2-40B4-BE49-F238E27FC236}">
                  <a16:creationId xmlns:a16="http://schemas.microsoft.com/office/drawing/2014/main" id="{BA8C5EFC-37BF-FD38-E65E-49A091BAD9C0}"/>
                </a:ext>
              </a:extLst>
            </p:cNvPr>
            <p:cNvSpPr>
              <a:spLocks/>
            </p:cNvSpPr>
            <p:nvPr/>
          </p:nvSpPr>
          <p:spPr bwMode="auto">
            <a:xfrm>
              <a:off x="5102200" y="4210304"/>
              <a:ext cx="30209" cy="71207"/>
            </a:xfrm>
            <a:custGeom>
              <a:avLst/>
              <a:gdLst>
                <a:gd name="T0" fmla="*/ 0 w 14"/>
                <a:gd name="T1" fmla="*/ 0 h 33"/>
                <a:gd name="T2" fmla="*/ 0 w 14"/>
                <a:gd name="T3" fmla="*/ 0 h 33"/>
                <a:gd name="T4" fmla="*/ 14 w 14"/>
                <a:gd name="T5" fmla="*/ 33 h 33"/>
                <a:gd name="T6" fmla="*/ 14 w 14"/>
                <a:gd name="T7" fmla="*/ 33 h 33"/>
                <a:gd name="T8" fmla="*/ 14 w 14"/>
                <a:gd name="T9" fmla="*/ 33 h 33"/>
                <a:gd name="T10" fmla="*/ 14 w 14"/>
                <a:gd name="T11" fmla="*/ 33 h 33"/>
                <a:gd name="T12" fmla="*/ 0 w 14"/>
                <a:gd name="T13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33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" y="11"/>
                    <a:pt x="9" y="22"/>
                    <a:pt x="14" y="33"/>
                  </a:cubicBezTo>
                  <a:cubicBezTo>
                    <a:pt x="14" y="33"/>
                    <a:pt x="14" y="33"/>
                    <a:pt x="14" y="33"/>
                  </a:cubicBezTo>
                  <a:cubicBezTo>
                    <a:pt x="14" y="33"/>
                    <a:pt x="14" y="33"/>
                    <a:pt x="14" y="33"/>
                  </a:cubicBezTo>
                  <a:cubicBezTo>
                    <a:pt x="14" y="33"/>
                    <a:pt x="14" y="33"/>
                    <a:pt x="14" y="33"/>
                  </a:cubicBezTo>
                  <a:cubicBezTo>
                    <a:pt x="9" y="22"/>
                    <a:pt x="4" y="11"/>
                    <a:pt x="0" y="0"/>
                  </a:cubicBezTo>
                </a:path>
              </a:pathLst>
            </a:custGeom>
            <a:solidFill>
              <a:srgbClr val="00090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94770" tIns="97385" rIns="194770" bIns="97385" numCol="1" anchor="t" anchorCtr="0" compatLnSpc="1">
              <a:prstTxWarp prst="textNoShape">
                <a:avLst/>
              </a:prstTxWarp>
            </a:bodyPr>
            <a:lstStyle/>
            <a:p>
              <a:endParaRPr lang="en-US" sz="36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" name="Freeform 4">
              <a:extLst>
                <a:ext uri="{FF2B5EF4-FFF2-40B4-BE49-F238E27FC236}">
                  <a16:creationId xmlns:a16="http://schemas.microsoft.com/office/drawing/2014/main" id="{189C93EC-EA4E-26CD-7DF9-B661FD03F01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23919" y="4210304"/>
              <a:ext cx="19421" cy="71207"/>
            </a:xfrm>
            <a:custGeom>
              <a:avLst/>
              <a:gdLst>
                <a:gd name="T0" fmla="*/ 0 w 9"/>
                <a:gd name="T1" fmla="*/ 0 h 33"/>
                <a:gd name="T2" fmla="*/ 0 w 9"/>
                <a:gd name="T3" fmla="*/ 0 h 33"/>
                <a:gd name="T4" fmla="*/ 9 w 9"/>
                <a:gd name="T5" fmla="*/ 33 h 33"/>
                <a:gd name="T6" fmla="*/ 9 w 9"/>
                <a:gd name="T7" fmla="*/ 33 h 33"/>
                <a:gd name="T8" fmla="*/ 0 w 9"/>
                <a:gd name="T9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33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" y="11"/>
                    <a:pt x="6" y="22"/>
                    <a:pt x="9" y="33"/>
                  </a:cubicBezTo>
                  <a:cubicBezTo>
                    <a:pt x="9" y="33"/>
                    <a:pt x="9" y="33"/>
                    <a:pt x="9" y="33"/>
                  </a:cubicBezTo>
                  <a:cubicBezTo>
                    <a:pt x="6" y="22"/>
                    <a:pt x="3" y="11"/>
                    <a:pt x="0" y="0"/>
                  </a:cubicBezTo>
                </a:path>
              </a:pathLst>
            </a:custGeom>
            <a:solidFill>
              <a:srgbClr val="37353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94770" tIns="97385" rIns="194770" bIns="97385" numCol="1" anchor="t" anchorCtr="0" compatLnSpc="1">
              <a:prstTxWarp prst="textNoShape">
                <a:avLst/>
              </a:prstTxWarp>
            </a:bodyPr>
            <a:lstStyle/>
            <a:p>
              <a:endParaRPr lang="en-US" sz="36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0EA64F23-77A7-85CC-FD30-94CC6ABBED5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71108" y="4210304"/>
              <a:ext cx="224408" cy="69049"/>
            </a:xfrm>
            <a:custGeom>
              <a:avLst/>
              <a:gdLst>
                <a:gd name="T0" fmla="*/ 104 w 104"/>
                <a:gd name="T1" fmla="*/ 32 h 32"/>
                <a:gd name="T2" fmla="*/ 104 w 104"/>
                <a:gd name="T3" fmla="*/ 32 h 32"/>
                <a:gd name="T4" fmla="*/ 104 w 104"/>
                <a:gd name="T5" fmla="*/ 32 h 32"/>
                <a:gd name="T6" fmla="*/ 101 w 104"/>
                <a:gd name="T7" fmla="*/ 32 h 32"/>
                <a:gd name="T8" fmla="*/ 102 w 104"/>
                <a:gd name="T9" fmla="*/ 32 h 32"/>
                <a:gd name="T10" fmla="*/ 101 w 104"/>
                <a:gd name="T11" fmla="*/ 32 h 32"/>
                <a:gd name="T12" fmla="*/ 89 w 104"/>
                <a:gd name="T13" fmla="*/ 31 h 32"/>
                <a:gd name="T14" fmla="*/ 89 w 104"/>
                <a:gd name="T15" fmla="*/ 31 h 32"/>
                <a:gd name="T16" fmla="*/ 89 w 104"/>
                <a:gd name="T17" fmla="*/ 31 h 32"/>
                <a:gd name="T18" fmla="*/ 84 w 104"/>
                <a:gd name="T19" fmla="*/ 31 h 32"/>
                <a:gd name="T20" fmla="*/ 84 w 104"/>
                <a:gd name="T21" fmla="*/ 31 h 32"/>
                <a:gd name="T22" fmla="*/ 84 w 104"/>
                <a:gd name="T23" fmla="*/ 31 h 32"/>
                <a:gd name="T24" fmla="*/ 81 w 104"/>
                <a:gd name="T25" fmla="*/ 30 h 32"/>
                <a:gd name="T26" fmla="*/ 82 w 104"/>
                <a:gd name="T27" fmla="*/ 30 h 32"/>
                <a:gd name="T28" fmla="*/ 81 w 104"/>
                <a:gd name="T29" fmla="*/ 30 h 32"/>
                <a:gd name="T30" fmla="*/ 78 w 104"/>
                <a:gd name="T31" fmla="*/ 30 h 32"/>
                <a:gd name="T32" fmla="*/ 79 w 104"/>
                <a:gd name="T33" fmla="*/ 30 h 32"/>
                <a:gd name="T34" fmla="*/ 78 w 104"/>
                <a:gd name="T35" fmla="*/ 30 h 32"/>
                <a:gd name="T36" fmla="*/ 76 w 104"/>
                <a:gd name="T37" fmla="*/ 30 h 32"/>
                <a:gd name="T38" fmla="*/ 77 w 104"/>
                <a:gd name="T39" fmla="*/ 30 h 32"/>
                <a:gd name="T40" fmla="*/ 76 w 104"/>
                <a:gd name="T41" fmla="*/ 30 h 32"/>
                <a:gd name="T42" fmla="*/ 71 w 104"/>
                <a:gd name="T43" fmla="*/ 29 h 32"/>
                <a:gd name="T44" fmla="*/ 75 w 104"/>
                <a:gd name="T45" fmla="*/ 29 h 32"/>
                <a:gd name="T46" fmla="*/ 71 w 104"/>
                <a:gd name="T47" fmla="*/ 29 h 32"/>
                <a:gd name="T48" fmla="*/ 0 w 104"/>
                <a:gd name="T49" fmla="*/ 0 h 32"/>
                <a:gd name="T50" fmla="*/ 0 w 104"/>
                <a:gd name="T51" fmla="*/ 0 h 32"/>
                <a:gd name="T52" fmla="*/ 70 w 104"/>
                <a:gd name="T53" fmla="*/ 29 h 32"/>
                <a:gd name="T54" fmla="*/ 0 w 104"/>
                <a:gd name="T55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04" h="32">
                  <a:moveTo>
                    <a:pt x="104" y="32"/>
                  </a:moveTo>
                  <a:cubicBezTo>
                    <a:pt x="104" y="32"/>
                    <a:pt x="104" y="32"/>
                    <a:pt x="104" y="32"/>
                  </a:cubicBezTo>
                  <a:cubicBezTo>
                    <a:pt x="104" y="32"/>
                    <a:pt x="104" y="32"/>
                    <a:pt x="104" y="32"/>
                  </a:cubicBezTo>
                  <a:moveTo>
                    <a:pt x="101" y="32"/>
                  </a:moveTo>
                  <a:cubicBezTo>
                    <a:pt x="101" y="32"/>
                    <a:pt x="102" y="32"/>
                    <a:pt x="102" y="32"/>
                  </a:cubicBezTo>
                  <a:cubicBezTo>
                    <a:pt x="102" y="32"/>
                    <a:pt x="101" y="32"/>
                    <a:pt x="101" y="32"/>
                  </a:cubicBezTo>
                  <a:moveTo>
                    <a:pt x="89" y="31"/>
                  </a:moveTo>
                  <a:cubicBezTo>
                    <a:pt x="89" y="31"/>
                    <a:pt x="89" y="31"/>
                    <a:pt x="89" y="31"/>
                  </a:cubicBezTo>
                  <a:cubicBezTo>
                    <a:pt x="89" y="31"/>
                    <a:pt x="89" y="31"/>
                    <a:pt x="89" y="31"/>
                  </a:cubicBezTo>
                  <a:moveTo>
                    <a:pt x="84" y="31"/>
                  </a:moveTo>
                  <a:cubicBezTo>
                    <a:pt x="84" y="31"/>
                    <a:pt x="84" y="31"/>
                    <a:pt x="84" y="31"/>
                  </a:cubicBezTo>
                  <a:cubicBezTo>
                    <a:pt x="84" y="31"/>
                    <a:pt x="84" y="31"/>
                    <a:pt x="84" y="31"/>
                  </a:cubicBezTo>
                  <a:moveTo>
                    <a:pt x="81" y="30"/>
                  </a:moveTo>
                  <a:cubicBezTo>
                    <a:pt x="81" y="30"/>
                    <a:pt x="82" y="30"/>
                    <a:pt x="82" y="30"/>
                  </a:cubicBezTo>
                  <a:cubicBezTo>
                    <a:pt x="82" y="30"/>
                    <a:pt x="81" y="30"/>
                    <a:pt x="81" y="30"/>
                  </a:cubicBezTo>
                  <a:moveTo>
                    <a:pt x="78" y="30"/>
                  </a:moveTo>
                  <a:cubicBezTo>
                    <a:pt x="79" y="30"/>
                    <a:pt x="79" y="30"/>
                    <a:pt x="79" y="30"/>
                  </a:cubicBezTo>
                  <a:cubicBezTo>
                    <a:pt x="79" y="30"/>
                    <a:pt x="79" y="30"/>
                    <a:pt x="78" y="30"/>
                  </a:cubicBezTo>
                  <a:moveTo>
                    <a:pt x="76" y="30"/>
                  </a:moveTo>
                  <a:cubicBezTo>
                    <a:pt x="76" y="30"/>
                    <a:pt x="77" y="30"/>
                    <a:pt x="77" y="30"/>
                  </a:cubicBezTo>
                  <a:cubicBezTo>
                    <a:pt x="77" y="30"/>
                    <a:pt x="76" y="30"/>
                    <a:pt x="76" y="30"/>
                  </a:cubicBezTo>
                  <a:moveTo>
                    <a:pt x="71" y="29"/>
                  </a:moveTo>
                  <a:cubicBezTo>
                    <a:pt x="72" y="29"/>
                    <a:pt x="74" y="29"/>
                    <a:pt x="75" y="29"/>
                  </a:cubicBezTo>
                  <a:cubicBezTo>
                    <a:pt x="74" y="29"/>
                    <a:pt x="72" y="29"/>
                    <a:pt x="71" y="29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1" y="14"/>
                    <a:pt x="45" y="24"/>
                    <a:pt x="70" y="29"/>
                  </a:cubicBezTo>
                  <a:cubicBezTo>
                    <a:pt x="45" y="24"/>
                    <a:pt x="21" y="14"/>
                    <a:pt x="0" y="0"/>
                  </a:cubicBezTo>
                </a:path>
              </a:pathLst>
            </a:custGeom>
            <a:solidFill>
              <a:srgbClr val="37353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94770" tIns="97385" rIns="194770" bIns="97385" numCol="1" anchor="t" anchorCtr="0" compatLnSpc="1">
              <a:prstTxWarp prst="textNoShape">
                <a:avLst/>
              </a:prstTxWarp>
            </a:bodyPr>
            <a:lstStyle/>
            <a:p>
              <a:endParaRPr lang="en-US" sz="36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" name="Freeform 12">
              <a:extLst>
                <a:ext uri="{FF2B5EF4-FFF2-40B4-BE49-F238E27FC236}">
                  <a16:creationId xmlns:a16="http://schemas.microsoft.com/office/drawing/2014/main" id="{E7189FA2-217B-D1FD-D370-116AD694F9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04147" y="3427033"/>
              <a:ext cx="51786" cy="6474"/>
            </a:xfrm>
            <a:custGeom>
              <a:avLst/>
              <a:gdLst>
                <a:gd name="T0" fmla="*/ 23 w 24"/>
                <a:gd name="T1" fmla="*/ 3 h 3"/>
                <a:gd name="T2" fmla="*/ 24 w 24"/>
                <a:gd name="T3" fmla="*/ 3 h 3"/>
                <a:gd name="T4" fmla="*/ 23 w 24"/>
                <a:gd name="T5" fmla="*/ 3 h 3"/>
                <a:gd name="T6" fmla="*/ 21 w 24"/>
                <a:gd name="T7" fmla="*/ 2 h 3"/>
                <a:gd name="T8" fmla="*/ 22 w 24"/>
                <a:gd name="T9" fmla="*/ 2 h 3"/>
                <a:gd name="T10" fmla="*/ 21 w 24"/>
                <a:gd name="T11" fmla="*/ 2 h 3"/>
                <a:gd name="T12" fmla="*/ 18 w 24"/>
                <a:gd name="T13" fmla="*/ 2 h 3"/>
                <a:gd name="T14" fmla="*/ 19 w 24"/>
                <a:gd name="T15" fmla="*/ 2 h 3"/>
                <a:gd name="T16" fmla="*/ 18 w 24"/>
                <a:gd name="T17" fmla="*/ 2 h 3"/>
                <a:gd name="T18" fmla="*/ 16 w 24"/>
                <a:gd name="T19" fmla="*/ 2 h 3"/>
                <a:gd name="T20" fmla="*/ 17 w 24"/>
                <a:gd name="T21" fmla="*/ 2 h 3"/>
                <a:gd name="T22" fmla="*/ 16 w 24"/>
                <a:gd name="T23" fmla="*/ 2 h 3"/>
                <a:gd name="T24" fmla="*/ 13 w 24"/>
                <a:gd name="T25" fmla="*/ 2 h 3"/>
                <a:gd name="T26" fmla="*/ 15 w 24"/>
                <a:gd name="T27" fmla="*/ 2 h 3"/>
                <a:gd name="T28" fmla="*/ 13 w 24"/>
                <a:gd name="T29" fmla="*/ 2 h 3"/>
                <a:gd name="T30" fmla="*/ 11 w 24"/>
                <a:gd name="T31" fmla="*/ 1 h 3"/>
                <a:gd name="T32" fmla="*/ 12 w 24"/>
                <a:gd name="T33" fmla="*/ 1 h 3"/>
                <a:gd name="T34" fmla="*/ 11 w 24"/>
                <a:gd name="T35" fmla="*/ 1 h 3"/>
                <a:gd name="T36" fmla="*/ 8 w 24"/>
                <a:gd name="T37" fmla="*/ 1 h 3"/>
                <a:gd name="T38" fmla="*/ 10 w 24"/>
                <a:gd name="T39" fmla="*/ 1 h 3"/>
                <a:gd name="T40" fmla="*/ 8 w 24"/>
                <a:gd name="T41" fmla="*/ 1 h 3"/>
                <a:gd name="T42" fmla="*/ 5 w 24"/>
                <a:gd name="T43" fmla="*/ 1 h 3"/>
                <a:gd name="T44" fmla="*/ 8 w 24"/>
                <a:gd name="T45" fmla="*/ 1 h 3"/>
                <a:gd name="T46" fmla="*/ 5 w 24"/>
                <a:gd name="T47" fmla="*/ 1 h 3"/>
                <a:gd name="T48" fmla="*/ 3 w 24"/>
                <a:gd name="T49" fmla="*/ 1 h 3"/>
                <a:gd name="T50" fmla="*/ 5 w 24"/>
                <a:gd name="T51" fmla="*/ 1 h 3"/>
                <a:gd name="T52" fmla="*/ 3 w 24"/>
                <a:gd name="T53" fmla="*/ 1 h 3"/>
                <a:gd name="T54" fmla="*/ 0 w 24"/>
                <a:gd name="T55" fmla="*/ 0 h 3"/>
                <a:gd name="T56" fmla="*/ 0 w 24"/>
                <a:gd name="T57" fmla="*/ 0 h 3"/>
                <a:gd name="T58" fmla="*/ 0 w 24"/>
                <a:gd name="T59" fmla="*/ 1 h 3"/>
                <a:gd name="T60" fmla="*/ 2 w 24"/>
                <a:gd name="T61" fmla="*/ 1 h 3"/>
                <a:gd name="T62" fmla="*/ 0 w 24"/>
                <a:gd name="T63" fmla="*/ 1 h 3"/>
                <a:gd name="T64" fmla="*/ 0 w 24"/>
                <a:gd name="T6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4" h="3">
                  <a:moveTo>
                    <a:pt x="23" y="3"/>
                  </a:moveTo>
                  <a:cubicBezTo>
                    <a:pt x="24" y="3"/>
                    <a:pt x="24" y="3"/>
                    <a:pt x="24" y="3"/>
                  </a:cubicBezTo>
                  <a:cubicBezTo>
                    <a:pt x="24" y="3"/>
                    <a:pt x="24" y="3"/>
                    <a:pt x="23" y="3"/>
                  </a:cubicBezTo>
                  <a:moveTo>
                    <a:pt x="21" y="2"/>
                  </a:moveTo>
                  <a:cubicBezTo>
                    <a:pt x="22" y="2"/>
                    <a:pt x="22" y="2"/>
                    <a:pt x="22" y="2"/>
                  </a:cubicBezTo>
                  <a:cubicBezTo>
                    <a:pt x="22" y="2"/>
                    <a:pt x="22" y="2"/>
                    <a:pt x="21" y="2"/>
                  </a:cubicBezTo>
                  <a:moveTo>
                    <a:pt x="18" y="2"/>
                  </a:moveTo>
                  <a:cubicBezTo>
                    <a:pt x="18" y="2"/>
                    <a:pt x="19" y="2"/>
                    <a:pt x="19" y="2"/>
                  </a:cubicBezTo>
                  <a:cubicBezTo>
                    <a:pt x="19" y="2"/>
                    <a:pt x="18" y="2"/>
                    <a:pt x="18" y="2"/>
                  </a:cubicBezTo>
                  <a:moveTo>
                    <a:pt x="16" y="2"/>
                  </a:moveTo>
                  <a:cubicBezTo>
                    <a:pt x="16" y="2"/>
                    <a:pt x="17" y="2"/>
                    <a:pt x="17" y="2"/>
                  </a:cubicBezTo>
                  <a:cubicBezTo>
                    <a:pt x="17" y="2"/>
                    <a:pt x="16" y="2"/>
                    <a:pt x="16" y="2"/>
                  </a:cubicBezTo>
                  <a:moveTo>
                    <a:pt x="13" y="2"/>
                  </a:moveTo>
                  <a:cubicBezTo>
                    <a:pt x="13" y="2"/>
                    <a:pt x="14" y="2"/>
                    <a:pt x="15" y="2"/>
                  </a:cubicBezTo>
                  <a:cubicBezTo>
                    <a:pt x="14" y="2"/>
                    <a:pt x="13" y="2"/>
                    <a:pt x="13" y="2"/>
                  </a:cubicBezTo>
                  <a:moveTo>
                    <a:pt x="11" y="1"/>
                  </a:moveTo>
                  <a:cubicBezTo>
                    <a:pt x="11" y="1"/>
                    <a:pt x="12" y="1"/>
                    <a:pt x="12" y="1"/>
                  </a:cubicBezTo>
                  <a:cubicBezTo>
                    <a:pt x="12" y="1"/>
                    <a:pt x="11" y="1"/>
                    <a:pt x="11" y="1"/>
                  </a:cubicBezTo>
                  <a:moveTo>
                    <a:pt x="8" y="1"/>
                  </a:moveTo>
                  <a:cubicBezTo>
                    <a:pt x="9" y="1"/>
                    <a:pt x="9" y="1"/>
                    <a:pt x="10" y="1"/>
                  </a:cubicBezTo>
                  <a:cubicBezTo>
                    <a:pt x="9" y="1"/>
                    <a:pt x="9" y="1"/>
                    <a:pt x="8" y="1"/>
                  </a:cubicBezTo>
                  <a:moveTo>
                    <a:pt x="5" y="1"/>
                  </a:moveTo>
                  <a:cubicBezTo>
                    <a:pt x="6" y="1"/>
                    <a:pt x="7" y="1"/>
                    <a:pt x="8" y="1"/>
                  </a:cubicBezTo>
                  <a:cubicBezTo>
                    <a:pt x="7" y="1"/>
                    <a:pt x="6" y="1"/>
                    <a:pt x="5" y="1"/>
                  </a:cubicBezTo>
                  <a:moveTo>
                    <a:pt x="3" y="1"/>
                  </a:moveTo>
                  <a:cubicBezTo>
                    <a:pt x="4" y="1"/>
                    <a:pt x="4" y="1"/>
                    <a:pt x="5" y="1"/>
                  </a:cubicBezTo>
                  <a:cubicBezTo>
                    <a:pt x="4" y="1"/>
                    <a:pt x="4" y="1"/>
                    <a:pt x="3" y="1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2" y="1"/>
                    <a:pt x="2" y="1"/>
                  </a:cubicBezTo>
                  <a:cubicBezTo>
                    <a:pt x="2" y="1"/>
                    <a:pt x="1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94770" tIns="97385" rIns="194770" bIns="97385" numCol="1" anchor="t" anchorCtr="0" compatLnSpc="1">
              <a:prstTxWarp prst="textNoShape">
                <a:avLst/>
              </a:prstTxWarp>
            </a:bodyPr>
            <a:lstStyle/>
            <a:p>
              <a:endParaRPr lang="en-US" sz="36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" name="Freeform 16">
              <a:extLst>
                <a:ext uri="{FF2B5EF4-FFF2-40B4-BE49-F238E27FC236}">
                  <a16:creationId xmlns:a16="http://schemas.microsoft.com/office/drawing/2014/main" id="{D8A4400A-FE6E-1D10-8592-9E41C26B78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08462" y="3429191"/>
              <a:ext cx="226566" cy="69049"/>
            </a:xfrm>
            <a:custGeom>
              <a:avLst/>
              <a:gdLst>
                <a:gd name="T0" fmla="*/ 22 w 105"/>
                <a:gd name="T1" fmla="*/ 2 h 32"/>
                <a:gd name="T2" fmla="*/ 105 w 105"/>
                <a:gd name="T3" fmla="*/ 32 h 32"/>
                <a:gd name="T4" fmla="*/ 105 w 105"/>
                <a:gd name="T5" fmla="*/ 32 h 32"/>
                <a:gd name="T6" fmla="*/ 22 w 105"/>
                <a:gd name="T7" fmla="*/ 2 h 32"/>
                <a:gd name="T8" fmla="*/ 20 w 105"/>
                <a:gd name="T9" fmla="*/ 1 h 32"/>
                <a:gd name="T10" fmla="*/ 21 w 105"/>
                <a:gd name="T11" fmla="*/ 2 h 32"/>
                <a:gd name="T12" fmla="*/ 20 w 105"/>
                <a:gd name="T13" fmla="*/ 1 h 32"/>
                <a:gd name="T14" fmla="*/ 17 w 105"/>
                <a:gd name="T15" fmla="*/ 1 h 32"/>
                <a:gd name="T16" fmla="*/ 19 w 105"/>
                <a:gd name="T17" fmla="*/ 1 h 32"/>
                <a:gd name="T18" fmla="*/ 17 w 105"/>
                <a:gd name="T19" fmla="*/ 1 h 32"/>
                <a:gd name="T20" fmla="*/ 15 w 105"/>
                <a:gd name="T21" fmla="*/ 1 h 32"/>
                <a:gd name="T22" fmla="*/ 16 w 105"/>
                <a:gd name="T23" fmla="*/ 1 h 32"/>
                <a:gd name="T24" fmla="*/ 15 w 105"/>
                <a:gd name="T25" fmla="*/ 1 h 32"/>
                <a:gd name="T26" fmla="*/ 13 w 105"/>
                <a:gd name="T27" fmla="*/ 1 h 32"/>
                <a:gd name="T28" fmla="*/ 14 w 105"/>
                <a:gd name="T29" fmla="*/ 1 h 32"/>
                <a:gd name="T30" fmla="*/ 13 w 105"/>
                <a:gd name="T31" fmla="*/ 1 h 32"/>
                <a:gd name="T32" fmla="*/ 10 w 105"/>
                <a:gd name="T33" fmla="*/ 0 h 32"/>
                <a:gd name="T34" fmla="*/ 11 w 105"/>
                <a:gd name="T35" fmla="*/ 1 h 32"/>
                <a:gd name="T36" fmla="*/ 10 w 105"/>
                <a:gd name="T37" fmla="*/ 0 h 32"/>
                <a:gd name="T38" fmla="*/ 8 w 105"/>
                <a:gd name="T39" fmla="*/ 0 h 32"/>
                <a:gd name="T40" fmla="*/ 9 w 105"/>
                <a:gd name="T41" fmla="*/ 0 h 32"/>
                <a:gd name="T42" fmla="*/ 8 w 105"/>
                <a:gd name="T43" fmla="*/ 0 h 32"/>
                <a:gd name="T44" fmla="*/ 6 w 105"/>
                <a:gd name="T45" fmla="*/ 0 h 32"/>
                <a:gd name="T46" fmla="*/ 6 w 105"/>
                <a:gd name="T47" fmla="*/ 0 h 32"/>
                <a:gd name="T48" fmla="*/ 6 w 105"/>
                <a:gd name="T49" fmla="*/ 0 h 32"/>
                <a:gd name="T50" fmla="*/ 3 w 105"/>
                <a:gd name="T51" fmla="*/ 0 h 32"/>
                <a:gd name="T52" fmla="*/ 3 w 105"/>
                <a:gd name="T53" fmla="*/ 0 h 32"/>
                <a:gd name="T54" fmla="*/ 3 w 105"/>
                <a:gd name="T55" fmla="*/ 0 h 32"/>
                <a:gd name="T56" fmla="*/ 0 w 105"/>
                <a:gd name="T57" fmla="*/ 0 h 32"/>
                <a:gd name="T58" fmla="*/ 1 w 105"/>
                <a:gd name="T59" fmla="*/ 0 h 32"/>
                <a:gd name="T60" fmla="*/ 0 w 105"/>
                <a:gd name="T61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5" h="32">
                  <a:moveTo>
                    <a:pt x="22" y="2"/>
                  </a:moveTo>
                  <a:cubicBezTo>
                    <a:pt x="52" y="5"/>
                    <a:pt x="80" y="16"/>
                    <a:pt x="105" y="32"/>
                  </a:cubicBezTo>
                  <a:cubicBezTo>
                    <a:pt x="105" y="32"/>
                    <a:pt x="105" y="32"/>
                    <a:pt x="105" y="32"/>
                  </a:cubicBezTo>
                  <a:cubicBezTo>
                    <a:pt x="80" y="16"/>
                    <a:pt x="52" y="5"/>
                    <a:pt x="22" y="2"/>
                  </a:cubicBezTo>
                  <a:moveTo>
                    <a:pt x="20" y="1"/>
                  </a:moveTo>
                  <a:cubicBezTo>
                    <a:pt x="20" y="1"/>
                    <a:pt x="21" y="1"/>
                    <a:pt x="21" y="2"/>
                  </a:cubicBezTo>
                  <a:cubicBezTo>
                    <a:pt x="21" y="1"/>
                    <a:pt x="20" y="1"/>
                    <a:pt x="20" y="1"/>
                  </a:cubicBezTo>
                  <a:moveTo>
                    <a:pt x="17" y="1"/>
                  </a:moveTo>
                  <a:cubicBezTo>
                    <a:pt x="18" y="1"/>
                    <a:pt x="19" y="1"/>
                    <a:pt x="19" y="1"/>
                  </a:cubicBezTo>
                  <a:cubicBezTo>
                    <a:pt x="19" y="1"/>
                    <a:pt x="18" y="1"/>
                    <a:pt x="17" y="1"/>
                  </a:cubicBezTo>
                  <a:moveTo>
                    <a:pt x="15" y="1"/>
                  </a:moveTo>
                  <a:cubicBezTo>
                    <a:pt x="15" y="1"/>
                    <a:pt x="16" y="1"/>
                    <a:pt x="16" y="1"/>
                  </a:cubicBezTo>
                  <a:cubicBezTo>
                    <a:pt x="16" y="1"/>
                    <a:pt x="15" y="1"/>
                    <a:pt x="15" y="1"/>
                  </a:cubicBezTo>
                  <a:moveTo>
                    <a:pt x="13" y="1"/>
                  </a:moveTo>
                  <a:cubicBezTo>
                    <a:pt x="13" y="1"/>
                    <a:pt x="14" y="1"/>
                    <a:pt x="14" y="1"/>
                  </a:cubicBezTo>
                  <a:cubicBezTo>
                    <a:pt x="14" y="1"/>
                    <a:pt x="13" y="1"/>
                    <a:pt x="13" y="1"/>
                  </a:cubicBezTo>
                  <a:moveTo>
                    <a:pt x="10" y="0"/>
                  </a:moveTo>
                  <a:cubicBezTo>
                    <a:pt x="10" y="1"/>
                    <a:pt x="11" y="1"/>
                    <a:pt x="11" y="1"/>
                  </a:cubicBezTo>
                  <a:cubicBezTo>
                    <a:pt x="11" y="1"/>
                    <a:pt x="10" y="1"/>
                    <a:pt x="10" y="0"/>
                  </a:cubicBezTo>
                  <a:moveTo>
                    <a:pt x="8" y="0"/>
                  </a:moveTo>
                  <a:cubicBezTo>
                    <a:pt x="8" y="0"/>
                    <a:pt x="8" y="0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3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</a:path>
              </a:pathLst>
            </a:custGeom>
            <a:solidFill>
              <a:srgbClr val="37353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94770" tIns="97385" rIns="194770" bIns="97385" numCol="1" anchor="t" anchorCtr="0" compatLnSpc="1">
              <a:prstTxWarp prst="textNoShape">
                <a:avLst/>
              </a:prstTxWarp>
            </a:bodyPr>
            <a:lstStyle/>
            <a:p>
              <a:endParaRPr lang="en-US" sz="36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" name="Freeform 18">
              <a:extLst>
                <a:ext uri="{FF2B5EF4-FFF2-40B4-BE49-F238E27FC236}">
                  <a16:creationId xmlns:a16="http://schemas.microsoft.com/office/drawing/2014/main" id="{F837BA45-6910-6D93-7D2D-FBFBC4339E2A}"/>
                </a:ext>
              </a:extLst>
            </p:cNvPr>
            <p:cNvSpPr>
              <a:spLocks/>
            </p:cNvSpPr>
            <p:nvPr/>
          </p:nvSpPr>
          <p:spPr bwMode="auto">
            <a:xfrm>
              <a:off x="6873727" y="3427033"/>
              <a:ext cx="12947" cy="30209"/>
            </a:xfrm>
            <a:custGeom>
              <a:avLst/>
              <a:gdLst>
                <a:gd name="T0" fmla="*/ 0 w 6"/>
                <a:gd name="T1" fmla="*/ 0 h 14"/>
                <a:gd name="T2" fmla="*/ 0 w 6"/>
                <a:gd name="T3" fmla="*/ 0 h 14"/>
                <a:gd name="T4" fmla="*/ 6 w 6"/>
                <a:gd name="T5" fmla="*/ 14 h 14"/>
                <a:gd name="T6" fmla="*/ 0 w 6"/>
                <a:gd name="T7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4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5"/>
                    <a:pt x="4" y="9"/>
                    <a:pt x="6" y="14"/>
                  </a:cubicBezTo>
                  <a:cubicBezTo>
                    <a:pt x="4" y="9"/>
                    <a:pt x="2" y="5"/>
                    <a:pt x="0" y="0"/>
                  </a:cubicBezTo>
                </a:path>
              </a:pathLst>
            </a:custGeom>
            <a:solidFill>
              <a:srgbClr val="1106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94770" tIns="97385" rIns="194770" bIns="97385" numCol="1" anchor="t" anchorCtr="0" compatLnSpc="1">
              <a:prstTxWarp prst="textNoShape">
                <a:avLst/>
              </a:prstTxWarp>
            </a:bodyPr>
            <a:lstStyle/>
            <a:p>
              <a:endParaRPr lang="en-US" sz="36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" name="Freeform 23">
              <a:extLst>
                <a:ext uri="{FF2B5EF4-FFF2-40B4-BE49-F238E27FC236}">
                  <a16:creationId xmlns:a16="http://schemas.microsoft.com/office/drawing/2014/main" id="{7571A577-BBA3-E8BA-EFF8-5314ABE48445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6674" y="3457242"/>
              <a:ext cx="17262" cy="40998"/>
            </a:xfrm>
            <a:custGeom>
              <a:avLst/>
              <a:gdLst>
                <a:gd name="T0" fmla="*/ 0 w 8"/>
                <a:gd name="T1" fmla="*/ 0 h 19"/>
                <a:gd name="T2" fmla="*/ 8 w 8"/>
                <a:gd name="T3" fmla="*/ 19 h 19"/>
                <a:gd name="T4" fmla="*/ 8 w 8"/>
                <a:gd name="T5" fmla="*/ 19 h 19"/>
                <a:gd name="T6" fmla="*/ 0 w 8"/>
                <a:gd name="T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19">
                  <a:moveTo>
                    <a:pt x="0" y="0"/>
                  </a:moveTo>
                  <a:cubicBezTo>
                    <a:pt x="3" y="6"/>
                    <a:pt x="5" y="12"/>
                    <a:pt x="8" y="19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5" y="12"/>
                    <a:pt x="3" y="6"/>
                    <a:pt x="0" y="0"/>
                  </a:cubicBezTo>
                </a:path>
              </a:pathLst>
            </a:custGeom>
            <a:solidFill>
              <a:srgbClr val="050B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94770" tIns="97385" rIns="194770" bIns="97385" numCol="1" anchor="t" anchorCtr="0" compatLnSpc="1">
              <a:prstTxWarp prst="textNoShape">
                <a:avLst/>
              </a:prstTxWarp>
            </a:bodyPr>
            <a:lstStyle/>
            <a:p>
              <a:endParaRPr lang="en-US" sz="36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3270821E-A384-FE13-CD39-72B7884F8F2A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6674" y="3457242"/>
              <a:ext cx="17262" cy="40998"/>
            </a:xfrm>
            <a:custGeom>
              <a:avLst/>
              <a:gdLst>
                <a:gd name="T0" fmla="*/ 0 w 8"/>
                <a:gd name="T1" fmla="*/ 0 h 19"/>
                <a:gd name="T2" fmla="*/ 0 w 8"/>
                <a:gd name="T3" fmla="*/ 0 h 19"/>
                <a:gd name="T4" fmla="*/ 8 w 8"/>
                <a:gd name="T5" fmla="*/ 19 h 19"/>
                <a:gd name="T6" fmla="*/ 8 w 8"/>
                <a:gd name="T7" fmla="*/ 19 h 19"/>
                <a:gd name="T8" fmla="*/ 0 w 8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9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" y="6"/>
                    <a:pt x="5" y="12"/>
                    <a:pt x="8" y="19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5" y="12"/>
                    <a:pt x="3" y="6"/>
                    <a:pt x="0" y="0"/>
                  </a:cubicBezTo>
                </a:path>
              </a:pathLst>
            </a:custGeom>
            <a:solidFill>
              <a:srgbClr val="1106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94770" tIns="97385" rIns="194770" bIns="97385" numCol="1" anchor="t" anchorCtr="0" compatLnSpc="1">
              <a:prstTxWarp prst="textNoShape">
                <a:avLst/>
              </a:prstTxWarp>
            </a:bodyPr>
            <a:lstStyle/>
            <a:p>
              <a:endParaRPr lang="en-US" sz="36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" name="Freeform 14">
              <a:extLst>
                <a:ext uri="{FF2B5EF4-FFF2-40B4-BE49-F238E27FC236}">
                  <a16:creationId xmlns:a16="http://schemas.microsoft.com/office/drawing/2014/main" id="{D6F1F369-2C03-FE2F-5C9C-04B6780EB3B1}"/>
                </a:ext>
              </a:extLst>
            </p:cNvPr>
            <p:cNvSpPr>
              <a:spLocks/>
            </p:cNvSpPr>
            <p:nvPr/>
          </p:nvSpPr>
          <p:spPr bwMode="auto">
            <a:xfrm>
              <a:off x="6903936" y="3498240"/>
              <a:ext cx="69049" cy="358189"/>
            </a:xfrm>
            <a:custGeom>
              <a:avLst/>
              <a:gdLst>
                <a:gd name="T0" fmla="*/ 0 w 32"/>
                <a:gd name="T1" fmla="*/ 0 h 165"/>
                <a:gd name="T2" fmla="*/ 0 w 32"/>
                <a:gd name="T3" fmla="*/ 0 h 165"/>
                <a:gd name="T4" fmla="*/ 32 w 32"/>
                <a:gd name="T5" fmla="*/ 165 h 165"/>
                <a:gd name="T6" fmla="*/ 32 w 32"/>
                <a:gd name="T7" fmla="*/ 165 h 165"/>
                <a:gd name="T8" fmla="*/ 0 w 32"/>
                <a:gd name="T9" fmla="*/ 0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65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0" y="51"/>
                    <a:pt x="32" y="107"/>
                    <a:pt x="32" y="165"/>
                  </a:cubicBezTo>
                  <a:cubicBezTo>
                    <a:pt x="32" y="165"/>
                    <a:pt x="32" y="165"/>
                    <a:pt x="32" y="165"/>
                  </a:cubicBezTo>
                  <a:cubicBezTo>
                    <a:pt x="32" y="107"/>
                    <a:pt x="20" y="51"/>
                    <a:pt x="0" y="0"/>
                  </a:cubicBezTo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94770" tIns="97385" rIns="194770" bIns="97385" numCol="1" anchor="t" anchorCtr="0" compatLnSpc="1">
              <a:prstTxWarp prst="textNoShape">
                <a:avLst/>
              </a:prstTxWarp>
            </a:bodyPr>
            <a:lstStyle/>
            <a:p>
              <a:endParaRPr lang="en-US" sz="36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" name="Freeform 19">
              <a:extLst>
                <a:ext uri="{FF2B5EF4-FFF2-40B4-BE49-F238E27FC236}">
                  <a16:creationId xmlns:a16="http://schemas.microsoft.com/office/drawing/2014/main" id="{CBE1CB21-E9EC-2C84-2E95-E90F496CE6C4}"/>
                </a:ext>
              </a:extLst>
            </p:cNvPr>
            <p:cNvSpPr>
              <a:spLocks/>
            </p:cNvSpPr>
            <p:nvPr/>
          </p:nvSpPr>
          <p:spPr bwMode="auto">
            <a:xfrm>
              <a:off x="7462797" y="3427034"/>
              <a:ext cx="15105" cy="56102"/>
            </a:xfrm>
            <a:custGeom>
              <a:avLst/>
              <a:gdLst>
                <a:gd name="T0" fmla="*/ 0 w 7"/>
                <a:gd name="T1" fmla="*/ 0 h 26"/>
                <a:gd name="T2" fmla="*/ 0 w 7"/>
                <a:gd name="T3" fmla="*/ 0 h 26"/>
                <a:gd name="T4" fmla="*/ 7 w 7"/>
                <a:gd name="T5" fmla="*/ 26 h 26"/>
                <a:gd name="T6" fmla="*/ 0 w 7"/>
                <a:gd name="T7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26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9"/>
                    <a:pt x="5" y="17"/>
                    <a:pt x="7" y="26"/>
                  </a:cubicBezTo>
                  <a:cubicBezTo>
                    <a:pt x="5" y="17"/>
                    <a:pt x="2" y="9"/>
                    <a:pt x="0" y="0"/>
                  </a:cubicBezTo>
                </a:path>
              </a:pathLst>
            </a:custGeom>
            <a:solidFill>
              <a:srgbClr val="37353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94770" tIns="97385" rIns="194770" bIns="97385" numCol="1" anchor="t" anchorCtr="0" compatLnSpc="1">
              <a:prstTxWarp prst="textNoShape">
                <a:avLst/>
              </a:prstTxWarp>
            </a:bodyPr>
            <a:lstStyle/>
            <a:p>
              <a:endParaRPr lang="en-US" sz="36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" name="Freeform 20">
              <a:extLst>
                <a:ext uri="{FF2B5EF4-FFF2-40B4-BE49-F238E27FC236}">
                  <a16:creationId xmlns:a16="http://schemas.microsoft.com/office/drawing/2014/main" id="{0A49D63B-3332-BC58-CA99-5228C4615E26}"/>
                </a:ext>
              </a:extLst>
            </p:cNvPr>
            <p:cNvSpPr>
              <a:spLocks/>
            </p:cNvSpPr>
            <p:nvPr/>
          </p:nvSpPr>
          <p:spPr bwMode="auto">
            <a:xfrm>
              <a:off x="6873727" y="3427034"/>
              <a:ext cx="589070" cy="0"/>
            </a:xfrm>
            <a:custGeom>
              <a:avLst/>
              <a:gdLst>
                <a:gd name="T0" fmla="*/ 273 w 273"/>
                <a:gd name="T1" fmla="*/ 0 w 273"/>
                <a:gd name="T2" fmla="*/ 0 w 273"/>
                <a:gd name="T3" fmla="*/ 273 w 273"/>
                <a:gd name="T4" fmla="*/ 273 w 273"/>
                <a:gd name="T5" fmla="*/ 273 w 273"/>
                <a:gd name="T6" fmla="*/ 273 w 27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</a:cxnLst>
              <a:rect l="0" t="0" r="r" b="b"/>
              <a:pathLst>
                <a:path w="273">
                  <a:moveTo>
                    <a:pt x="273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273" y="0"/>
                  </a:lnTo>
                  <a:lnTo>
                    <a:pt x="273" y="0"/>
                  </a:lnTo>
                  <a:lnTo>
                    <a:pt x="273" y="0"/>
                  </a:lnTo>
                  <a:lnTo>
                    <a:pt x="273" y="0"/>
                  </a:lnTo>
                  <a:close/>
                </a:path>
              </a:pathLst>
            </a:custGeom>
            <a:solidFill>
              <a:srgbClr val="202A3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94770" tIns="97385" rIns="194770" bIns="97385" numCol="1" anchor="t" anchorCtr="0" compatLnSpc="1">
              <a:prstTxWarp prst="textNoShape">
                <a:avLst/>
              </a:prstTxWarp>
            </a:bodyPr>
            <a:lstStyle/>
            <a:p>
              <a:endParaRPr lang="en-US" sz="36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" name="Freeform 21">
              <a:extLst>
                <a:ext uri="{FF2B5EF4-FFF2-40B4-BE49-F238E27FC236}">
                  <a16:creationId xmlns:a16="http://schemas.microsoft.com/office/drawing/2014/main" id="{4BFA12EA-4E8A-3100-BBCF-8C864BDCB02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73727" y="3427034"/>
              <a:ext cx="589070" cy="0"/>
            </a:xfrm>
            <a:custGeom>
              <a:avLst/>
              <a:gdLst>
                <a:gd name="T0" fmla="*/ 273 w 273"/>
                <a:gd name="T1" fmla="*/ 0 w 273"/>
                <a:gd name="T2" fmla="*/ 0 w 273"/>
                <a:gd name="T3" fmla="*/ 273 w 273"/>
                <a:gd name="T4" fmla="*/ 273 w 273"/>
                <a:gd name="T5" fmla="*/ 273 w 273"/>
                <a:gd name="T6" fmla="*/ 273 w 27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</a:cxnLst>
              <a:rect l="0" t="0" r="r" b="b"/>
              <a:pathLst>
                <a:path w="273">
                  <a:moveTo>
                    <a:pt x="273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273" y="0"/>
                  </a:lnTo>
                  <a:lnTo>
                    <a:pt x="273" y="0"/>
                  </a:lnTo>
                  <a:lnTo>
                    <a:pt x="273" y="0"/>
                  </a:lnTo>
                  <a:lnTo>
                    <a:pt x="273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94770" tIns="97385" rIns="194770" bIns="97385" numCol="1" anchor="t" anchorCtr="0" compatLnSpc="1">
              <a:prstTxWarp prst="textNoShape">
                <a:avLst/>
              </a:prstTxWarp>
            </a:bodyPr>
            <a:lstStyle/>
            <a:p>
              <a:endParaRPr lang="en-US" sz="36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" name="Freeform 22">
              <a:extLst>
                <a:ext uri="{FF2B5EF4-FFF2-40B4-BE49-F238E27FC236}">
                  <a16:creationId xmlns:a16="http://schemas.microsoft.com/office/drawing/2014/main" id="{FF75FBAF-8477-4CCE-9978-28B09371A28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77902" y="3487451"/>
              <a:ext cx="2158" cy="10789"/>
            </a:xfrm>
            <a:custGeom>
              <a:avLst/>
              <a:gdLst>
                <a:gd name="T0" fmla="*/ 1 w 1"/>
                <a:gd name="T1" fmla="*/ 3 h 5"/>
                <a:gd name="T2" fmla="*/ 1 w 1"/>
                <a:gd name="T3" fmla="*/ 5 h 5"/>
                <a:gd name="T4" fmla="*/ 1 w 1"/>
                <a:gd name="T5" fmla="*/ 5 h 5"/>
                <a:gd name="T6" fmla="*/ 1 w 1"/>
                <a:gd name="T7" fmla="*/ 3 h 5"/>
                <a:gd name="T8" fmla="*/ 0 w 1"/>
                <a:gd name="T9" fmla="*/ 0 h 5"/>
                <a:gd name="T10" fmla="*/ 1 w 1"/>
                <a:gd name="T11" fmla="*/ 1 h 5"/>
                <a:gd name="T12" fmla="*/ 0 w 1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" h="5">
                  <a:moveTo>
                    <a:pt x="1" y="3"/>
                  </a:moveTo>
                  <a:cubicBezTo>
                    <a:pt x="1" y="4"/>
                    <a:pt x="1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4"/>
                    <a:pt x="1" y="4"/>
                    <a:pt x="1" y="3"/>
                  </a:cubicBezTo>
                  <a:moveTo>
                    <a:pt x="0" y="0"/>
                  </a:moveTo>
                  <a:cubicBezTo>
                    <a:pt x="0" y="0"/>
                    <a:pt x="0" y="1"/>
                    <a:pt x="1" y="1"/>
                  </a:cubicBezTo>
                  <a:cubicBezTo>
                    <a:pt x="0" y="1"/>
                    <a:pt x="0" y="0"/>
                    <a:pt x="0" y="0"/>
                  </a:cubicBezTo>
                </a:path>
              </a:pathLst>
            </a:custGeom>
            <a:solidFill>
              <a:srgbClr val="37353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94770" tIns="97385" rIns="194770" bIns="97385" numCol="1" anchor="t" anchorCtr="0" compatLnSpc="1">
              <a:prstTxWarp prst="textNoShape">
                <a:avLst/>
              </a:prstTxWarp>
            </a:bodyPr>
            <a:lstStyle/>
            <a:p>
              <a:endParaRPr lang="en-US" sz="36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Freeform 11">
              <a:extLst>
                <a:ext uri="{FF2B5EF4-FFF2-40B4-BE49-F238E27FC236}">
                  <a16:creationId xmlns:a16="http://schemas.microsoft.com/office/drawing/2014/main" id="{C177AAA6-62AC-724D-B6AF-CA77B20A0239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7729" y="3427034"/>
              <a:ext cx="4205486" cy="2190132"/>
            </a:xfrm>
            <a:custGeom>
              <a:avLst/>
              <a:gdLst>
                <a:gd name="T0" fmla="*/ 1691 w 1946"/>
                <a:gd name="T1" fmla="*/ 198 h 1013"/>
                <a:gd name="T2" fmla="*/ 1243 w 1946"/>
                <a:gd name="T3" fmla="*/ 645 h 1013"/>
                <a:gd name="T4" fmla="*/ 264 w 1946"/>
                <a:gd name="T5" fmla="*/ 645 h 1013"/>
                <a:gd name="T6" fmla="*/ 264 w 1946"/>
                <a:gd name="T7" fmla="*/ 532 h 1013"/>
                <a:gd name="T8" fmla="*/ 0 w 1946"/>
                <a:gd name="T9" fmla="*/ 772 h 1013"/>
                <a:gd name="T10" fmla="*/ 264 w 1946"/>
                <a:gd name="T11" fmla="*/ 1013 h 1013"/>
                <a:gd name="T12" fmla="*/ 264 w 1946"/>
                <a:gd name="T13" fmla="*/ 901 h 1013"/>
                <a:gd name="T14" fmla="*/ 1243 w 1946"/>
                <a:gd name="T15" fmla="*/ 901 h 1013"/>
                <a:gd name="T16" fmla="*/ 1946 w 1946"/>
                <a:gd name="T17" fmla="*/ 198 h 1013"/>
                <a:gd name="T18" fmla="*/ 1918 w 1946"/>
                <a:gd name="T19" fmla="*/ 0 h 1013"/>
                <a:gd name="T20" fmla="*/ 1645 w 1946"/>
                <a:gd name="T21" fmla="*/ 0 h 1013"/>
                <a:gd name="T22" fmla="*/ 1691 w 1946"/>
                <a:gd name="T23" fmla="*/ 198 h 10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6" h="1013">
                  <a:moveTo>
                    <a:pt x="1691" y="198"/>
                  </a:moveTo>
                  <a:cubicBezTo>
                    <a:pt x="1691" y="445"/>
                    <a:pt x="1490" y="645"/>
                    <a:pt x="1243" y="645"/>
                  </a:cubicBezTo>
                  <a:cubicBezTo>
                    <a:pt x="264" y="645"/>
                    <a:pt x="264" y="645"/>
                    <a:pt x="264" y="645"/>
                  </a:cubicBezTo>
                  <a:cubicBezTo>
                    <a:pt x="264" y="532"/>
                    <a:pt x="264" y="532"/>
                    <a:pt x="264" y="532"/>
                  </a:cubicBezTo>
                  <a:cubicBezTo>
                    <a:pt x="264" y="532"/>
                    <a:pt x="216" y="733"/>
                    <a:pt x="0" y="772"/>
                  </a:cubicBezTo>
                  <a:cubicBezTo>
                    <a:pt x="216" y="812"/>
                    <a:pt x="264" y="1013"/>
                    <a:pt x="264" y="1013"/>
                  </a:cubicBezTo>
                  <a:cubicBezTo>
                    <a:pt x="264" y="901"/>
                    <a:pt x="264" y="901"/>
                    <a:pt x="264" y="901"/>
                  </a:cubicBezTo>
                  <a:cubicBezTo>
                    <a:pt x="1243" y="901"/>
                    <a:pt x="1243" y="901"/>
                    <a:pt x="1243" y="901"/>
                  </a:cubicBezTo>
                  <a:cubicBezTo>
                    <a:pt x="1631" y="901"/>
                    <a:pt x="1946" y="586"/>
                    <a:pt x="1946" y="198"/>
                  </a:cubicBezTo>
                  <a:cubicBezTo>
                    <a:pt x="1946" y="129"/>
                    <a:pt x="1936" y="63"/>
                    <a:pt x="1918" y="0"/>
                  </a:cubicBezTo>
                  <a:cubicBezTo>
                    <a:pt x="1645" y="0"/>
                    <a:pt x="1645" y="0"/>
                    <a:pt x="1645" y="0"/>
                  </a:cubicBezTo>
                  <a:cubicBezTo>
                    <a:pt x="1674" y="60"/>
                    <a:pt x="1691" y="127"/>
                    <a:pt x="1691" y="198"/>
                  </a:cubicBezTo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194770" tIns="97385" rIns="194770" bIns="97385" numCol="1" anchor="t" anchorCtr="0" compatLnSpc="1">
              <a:prstTxWarp prst="textNoShape">
                <a:avLst/>
              </a:prstTxWarp>
            </a:bodyPr>
            <a:lstStyle/>
            <a:p>
              <a:endParaRPr lang="en-US" sz="36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Freeform 10">
              <a:extLst>
                <a:ext uri="{FF2B5EF4-FFF2-40B4-BE49-F238E27FC236}">
                  <a16:creationId xmlns:a16="http://schemas.microsoft.com/office/drawing/2014/main" id="{D860965C-71A4-80C1-A0D9-ED0577C3B5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433045" y="3427033"/>
              <a:ext cx="4539940" cy="1646376"/>
            </a:xfrm>
            <a:custGeom>
              <a:avLst/>
              <a:gdLst>
                <a:gd name="T0" fmla="*/ 1652 w 2100"/>
                <a:gd name="T1" fmla="*/ 1 h 761"/>
                <a:gd name="T2" fmla="*/ 1849 w 2100"/>
                <a:gd name="T3" fmla="*/ 198 h 761"/>
                <a:gd name="T4" fmla="*/ 1652 w 2100"/>
                <a:gd name="T5" fmla="*/ 395 h 761"/>
                <a:gd name="T6" fmla="*/ 265 w 2100"/>
                <a:gd name="T7" fmla="*/ 395 h 761"/>
                <a:gd name="T8" fmla="*/ 265 w 2100"/>
                <a:gd name="T9" fmla="*/ 280 h 761"/>
                <a:gd name="T10" fmla="*/ 0 w 2100"/>
                <a:gd name="T11" fmla="*/ 520 h 761"/>
                <a:gd name="T12" fmla="*/ 265 w 2100"/>
                <a:gd name="T13" fmla="*/ 761 h 761"/>
                <a:gd name="T14" fmla="*/ 265 w 2100"/>
                <a:gd name="T15" fmla="*/ 645 h 761"/>
                <a:gd name="T16" fmla="*/ 1652 w 2100"/>
                <a:gd name="T17" fmla="*/ 645 h 761"/>
                <a:gd name="T18" fmla="*/ 2100 w 2100"/>
                <a:gd name="T19" fmla="*/ 198 h 761"/>
                <a:gd name="T20" fmla="*/ 2054 w 2100"/>
                <a:gd name="T21" fmla="*/ 0 h 761"/>
                <a:gd name="T22" fmla="*/ 1652 w 2100"/>
                <a:gd name="T23" fmla="*/ 0 h 761"/>
                <a:gd name="T24" fmla="*/ 1652 w 2100"/>
                <a:gd name="T25" fmla="*/ 1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00" h="761">
                  <a:moveTo>
                    <a:pt x="1652" y="1"/>
                  </a:moveTo>
                  <a:cubicBezTo>
                    <a:pt x="1761" y="1"/>
                    <a:pt x="1849" y="89"/>
                    <a:pt x="1849" y="198"/>
                  </a:cubicBezTo>
                  <a:cubicBezTo>
                    <a:pt x="1849" y="307"/>
                    <a:pt x="1761" y="395"/>
                    <a:pt x="1652" y="395"/>
                  </a:cubicBezTo>
                  <a:cubicBezTo>
                    <a:pt x="265" y="395"/>
                    <a:pt x="265" y="395"/>
                    <a:pt x="265" y="395"/>
                  </a:cubicBezTo>
                  <a:cubicBezTo>
                    <a:pt x="265" y="280"/>
                    <a:pt x="265" y="280"/>
                    <a:pt x="265" y="280"/>
                  </a:cubicBezTo>
                  <a:cubicBezTo>
                    <a:pt x="265" y="280"/>
                    <a:pt x="217" y="481"/>
                    <a:pt x="0" y="520"/>
                  </a:cubicBezTo>
                  <a:cubicBezTo>
                    <a:pt x="217" y="560"/>
                    <a:pt x="265" y="761"/>
                    <a:pt x="265" y="761"/>
                  </a:cubicBezTo>
                  <a:cubicBezTo>
                    <a:pt x="265" y="645"/>
                    <a:pt x="265" y="645"/>
                    <a:pt x="265" y="645"/>
                  </a:cubicBezTo>
                  <a:cubicBezTo>
                    <a:pt x="1652" y="645"/>
                    <a:pt x="1652" y="645"/>
                    <a:pt x="1652" y="645"/>
                  </a:cubicBezTo>
                  <a:cubicBezTo>
                    <a:pt x="1899" y="645"/>
                    <a:pt x="2100" y="445"/>
                    <a:pt x="2100" y="198"/>
                  </a:cubicBezTo>
                  <a:cubicBezTo>
                    <a:pt x="2100" y="127"/>
                    <a:pt x="2083" y="60"/>
                    <a:pt x="2054" y="0"/>
                  </a:cubicBezTo>
                  <a:cubicBezTo>
                    <a:pt x="1652" y="0"/>
                    <a:pt x="1652" y="0"/>
                    <a:pt x="1652" y="0"/>
                  </a:cubicBezTo>
                  <a:cubicBezTo>
                    <a:pt x="1652" y="1"/>
                    <a:pt x="1652" y="1"/>
                    <a:pt x="1652" y="1"/>
                  </a:cubicBezTo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194770" tIns="97385" rIns="194770" bIns="97385" numCol="1" anchor="t" anchorCtr="0" compatLnSpc="1">
              <a:prstTxWarp prst="textNoShape">
                <a:avLst/>
              </a:prstTxWarp>
            </a:bodyPr>
            <a:lstStyle/>
            <a:p>
              <a:endParaRPr lang="en-US" sz="36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Freeform 6">
              <a:extLst>
                <a:ext uri="{FF2B5EF4-FFF2-40B4-BE49-F238E27FC236}">
                  <a16:creationId xmlns:a16="http://schemas.microsoft.com/office/drawing/2014/main" id="{167661E6-E431-CC61-98A3-5598D7BD97AE}"/>
                </a:ext>
              </a:extLst>
            </p:cNvPr>
            <p:cNvSpPr>
              <a:spLocks/>
            </p:cNvSpPr>
            <p:nvPr/>
          </p:nvSpPr>
          <p:spPr bwMode="auto">
            <a:xfrm>
              <a:off x="5033152" y="2635135"/>
              <a:ext cx="4537783" cy="1646376"/>
            </a:xfrm>
            <a:custGeom>
              <a:avLst/>
              <a:gdLst>
                <a:gd name="T0" fmla="*/ 1835 w 2099"/>
                <a:gd name="T1" fmla="*/ 0 h 761"/>
                <a:gd name="T2" fmla="*/ 1835 w 2099"/>
                <a:gd name="T3" fmla="*/ 116 h 761"/>
                <a:gd name="T4" fmla="*/ 448 w 2099"/>
                <a:gd name="T5" fmla="*/ 116 h 761"/>
                <a:gd name="T6" fmla="*/ 0 w 2099"/>
                <a:gd name="T7" fmla="*/ 563 h 761"/>
                <a:gd name="T8" fmla="*/ 46 w 2099"/>
                <a:gd name="T9" fmla="*/ 761 h 761"/>
                <a:gd name="T10" fmla="*/ 448 w 2099"/>
                <a:gd name="T11" fmla="*/ 761 h 761"/>
                <a:gd name="T12" fmla="*/ 448 w 2099"/>
                <a:gd name="T13" fmla="*/ 760 h 761"/>
                <a:gd name="T14" fmla="*/ 251 w 2099"/>
                <a:gd name="T15" fmla="*/ 563 h 761"/>
                <a:gd name="T16" fmla="*/ 448 w 2099"/>
                <a:gd name="T17" fmla="*/ 366 h 761"/>
                <a:gd name="T18" fmla="*/ 1835 w 2099"/>
                <a:gd name="T19" fmla="*/ 366 h 761"/>
                <a:gd name="T20" fmla="*/ 1835 w 2099"/>
                <a:gd name="T21" fmla="*/ 481 h 761"/>
                <a:gd name="T22" fmla="*/ 2099 w 2099"/>
                <a:gd name="T23" fmla="*/ 241 h 761"/>
                <a:gd name="T24" fmla="*/ 1835 w 2099"/>
                <a:gd name="T25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99" h="761">
                  <a:moveTo>
                    <a:pt x="1835" y="0"/>
                  </a:moveTo>
                  <a:cubicBezTo>
                    <a:pt x="1835" y="116"/>
                    <a:pt x="1835" y="116"/>
                    <a:pt x="1835" y="116"/>
                  </a:cubicBezTo>
                  <a:cubicBezTo>
                    <a:pt x="448" y="116"/>
                    <a:pt x="448" y="116"/>
                    <a:pt x="448" y="116"/>
                  </a:cubicBezTo>
                  <a:cubicBezTo>
                    <a:pt x="200" y="116"/>
                    <a:pt x="0" y="316"/>
                    <a:pt x="0" y="563"/>
                  </a:cubicBezTo>
                  <a:cubicBezTo>
                    <a:pt x="0" y="634"/>
                    <a:pt x="17" y="701"/>
                    <a:pt x="46" y="761"/>
                  </a:cubicBezTo>
                  <a:cubicBezTo>
                    <a:pt x="448" y="761"/>
                    <a:pt x="448" y="761"/>
                    <a:pt x="448" y="761"/>
                  </a:cubicBezTo>
                  <a:cubicBezTo>
                    <a:pt x="448" y="760"/>
                    <a:pt x="448" y="760"/>
                    <a:pt x="448" y="760"/>
                  </a:cubicBezTo>
                  <a:cubicBezTo>
                    <a:pt x="339" y="760"/>
                    <a:pt x="251" y="672"/>
                    <a:pt x="251" y="563"/>
                  </a:cubicBezTo>
                  <a:cubicBezTo>
                    <a:pt x="251" y="454"/>
                    <a:pt x="339" y="366"/>
                    <a:pt x="448" y="366"/>
                  </a:cubicBezTo>
                  <a:cubicBezTo>
                    <a:pt x="1835" y="366"/>
                    <a:pt x="1835" y="366"/>
                    <a:pt x="1835" y="366"/>
                  </a:cubicBezTo>
                  <a:cubicBezTo>
                    <a:pt x="1835" y="481"/>
                    <a:pt x="1835" y="481"/>
                    <a:pt x="1835" y="481"/>
                  </a:cubicBezTo>
                  <a:cubicBezTo>
                    <a:pt x="1835" y="481"/>
                    <a:pt x="1882" y="280"/>
                    <a:pt x="2099" y="241"/>
                  </a:cubicBezTo>
                  <a:cubicBezTo>
                    <a:pt x="1882" y="201"/>
                    <a:pt x="1835" y="0"/>
                    <a:pt x="1835" y="0"/>
                  </a:cubicBezTo>
                </a:path>
              </a:pathLst>
            </a:custGeom>
            <a:solidFill>
              <a:schemeClr val="accent3"/>
            </a:solidFill>
            <a:ln w="952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194770" tIns="97385" rIns="194770" bIns="97385" numCol="1" anchor="t" anchorCtr="0" compatLnSpc="1">
              <a:prstTxWarp prst="textNoShape">
                <a:avLst/>
              </a:prstTxWarp>
            </a:bodyPr>
            <a:lstStyle/>
            <a:p>
              <a:endParaRPr lang="en-US" sz="36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Freeform 7">
              <a:extLst>
                <a:ext uri="{FF2B5EF4-FFF2-40B4-BE49-F238E27FC236}">
                  <a16:creationId xmlns:a16="http://schemas.microsoft.com/office/drawing/2014/main" id="{2303E9C2-90F0-2F35-5895-847B83731547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2923" y="2091378"/>
              <a:ext cx="4205486" cy="2190133"/>
            </a:xfrm>
            <a:custGeom>
              <a:avLst/>
              <a:gdLst>
                <a:gd name="T0" fmla="*/ 1682 w 1946"/>
                <a:gd name="T1" fmla="*/ 0 h 1013"/>
                <a:gd name="T2" fmla="*/ 1682 w 1946"/>
                <a:gd name="T3" fmla="*/ 112 h 1013"/>
                <a:gd name="T4" fmla="*/ 703 w 1946"/>
                <a:gd name="T5" fmla="*/ 112 h 1013"/>
                <a:gd name="T6" fmla="*/ 0 w 1946"/>
                <a:gd name="T7" fmla="*/ 815 h 1013"/>
                <a:gd name="T8" fmla="*/ 28 w 1946"/>
                <a:gd name="T9" fmla="*/ 1013 h 1013"/>
                <a:gd name="T10" fmla="*/ 301 w 1946"/>
                <a:gd name="T11" fmla="*/ 1013 h 1013"/>
                <a:gd name="T12" fmla="*/ 255 w 1946"/>
                <a:gd name="T13" fmla="*/ 815 h 1013"/>
                <a:gd name="T14" fmla="*/ 703 w 1946"/>
                <a:gd name="T15" fmla="*/ 368 h 1013"/>
                <a:gd name="T16" fmla="*/ 1682 w 1946"/>
                <a:gd name="T17" fmla="*/ 368 h 1013"/>
                <a:gd name="T18" fmla="*/ 1682 w 1946"/>
                <a:gd name="T19" fmla="*/ 481 h 1013"/>
                <a:gd name="T20" fmla="*/ 1946 w 1946"/>
                <a:gd name="T21" fmla="*/ 241 h 1013"/>
                <a:gd name="T22" fmla="*/ 1682 w 1946"/>
                <a:gd name="T23" fmla="*/ 0 h 10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6" h="1013">
                  <a:moveTo>
                    <a:pt x="1682" y="0"/>
                  </a:moveTo>
                  <a:cubicBezTo>
                    <a:pt x="1682" y="112"/>
                    <a:pt x="1682" y="112"/>
                    <a:pt x="1682" y="112"/>
                  </a:cubicBezTo>
                  <a:cubicBezTo>
                    <a:pt x="703" y="112"/>
                    <a:pt x="703" y="112"/>
                    <a:pt x="703" y="112"/>
                  </a:cubicBezTo>
                  <a:cubicBezTo>
                    <a:pt x="314" y="112"/>
                    <a:pt x="0" y="427"/>
                    <a:pt x="0" y="815"/>
                  </a:cubicBezTo>
                  <a:cubicBezTo>
                    <a:pt x="0" y="884"/>
                    <a:pt x="9" y="950"/>
                    <a:pt x="28" y="1013"/>
                  </a:cubicBezTo>
                  <a:cubicBezTo>
                    <a:pt x="301" y="1013"/>
                    <a:pt x="301" y="1013"/>
                    <a:pt x="301" y="1013"/>
                  </a:cubicBezTo>
                  <a:cubicBezTo>
                    <a:pt x="272" y="953"/>
                    <a:pt x="255" y="886"/>
                    <a:pt x="255" y="815"/>
                  </a:cubicBezTo>
                  <a:cubicBezTo>
                    <a:pt x="255" y="568"/>
                    <a:pt x="455" y="368"/>
                    <a:pt x="703" y="368"/>
                  </a:cubicBezTo>
                  <a:cubicBezTo>
                    <a:pt x="1682" y="368"/>
                    <a:pt x="1682" y="368"/>
                    <a:pt x="1682" y="368"/>
                  </a:cubicBezTo>
                  <a:cubicBezTo>
                    <a:pt x="1682" y="481"/>
                    <a:pt x="1682" y="481"/>
                    <a:pt x="1682" y="481"/>
                  </a:cubicBezTo>
                  <a:cubicBezTo>
                    <a:pt x="1682" y="481"/>
                    <a:pt x="1729" y="280"/>
                    <a:pt x="1946" y="241"/>
                  </a:cubicBezTo>
                  <a:cubicBezTo>
                    <a:pt x="1729" y="201"/>
                    <a:pt x="1682" y="0"/>
                    <a:pt x="1682" y="0"/>
                  </a:cubicBezTo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194770" tIns="97385" rIns="194770" bIns="97385" numCol="1" anchor="t" anchorCtr="0" compatLnSpc="1">
              <a:prstTxWarp prst="textNoShape">
                <a:avLst/>
              </a:prstTxWarp>
            </a:bodyPr>
            <a:lstStyle/>
            <a:p>
              <a:endParaRPr lang="en-US" sz="36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75B04CC2-AA08-D84F-52AA-493FC613C053}"/>
              </a:ext>
            </a:extLst>
          </p:cNvPr>
          <p:cNvSpPr txBox="1"/>
          <p:nvPr/>
        </p:nvSpPr>
        <p:spPr>
          <a:xfrm>
            <a:off x="8545924" y="3783810"/>
            <a:ext cx="2837522" cy="723321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600" b="1" dirty="0">
                <a:solidFill>
                  <a:schemeClr val="accent4"/>
                </a:solidFill>
                <a:ea typeface="Open Sans Light" panose="020B0306030504020204" pitchFamily="34" charset="0"/>
                <a:cs typeface="Arial" panose="020B0604020202020204" pitchFamily="34" charset="0"/>
              </a:rPr>
              <a:t>Insert Text Here</a:t>
            </a:r>
            <a:br>
              <a:rPr lang="en-US" sz="1000" dirty="0">
                <a:solidFill>
                  <a:schemeClr val="tx2"/>
                </a:solidFill>
                <a:ea typeface="Open Sans Light" panose="020B0306030504020204" pitchFamily="34" charset="0"/>
                <a:cs typeface="Arial" panose="020B0604020202020204" pitchFamily="34" charset="0"/>
              </a:rPr>
            </a:br>
            <a:r>
              <a:rPr lang="en-US" sz="1000" dirty="0">
                <a:solidFill>
                  <a:schemeClr val="tx2"/>
                </a:solidFill>
                <a:ea typeface="Open Sans Light" panose="020B0306030504020204" pitchFamily="34" charset="0"/>
                <a:cs typeface="Arial" panose="020B0604020202020204" pitchFamily="34" charset="0"/>
              </a:rPr>
              <a:t> Insert your text here Insert your text here Insert your text here Insert your text her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B3FDD88-1B45-97F3-6AF9-8645E7B13ACB}"/>
              </a:ext>
            </a:extLst>
          </p:cNvPr>
          <p:cNvSpPr txBox="1"/>
          <p:nvPr/>
        </p:nvSpPr>
        <p:spPr>
          <a:xfrm>
            <a:off x="798863" y="1663580"/>
            <a:ext cx="2837522" cy="723321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US" sz="1600" b="1" dirty="0">
                <a:solidFill>
                  <a:schemeClr val="accent2"/>
                </a:solidFill>
                <a:ea typeface="Open Sans Light" panose="020B0306030504020204" pitchFamily="34" charset="0"/>
                <a:cs typeface="Arial" panose="020B0604020202020204" pitchFamily="34" charset="0"/>
              </a:rPr>
              <a:t>Insert Text Here</a:t>
            </a:r>
            <a:br>
              <a:rPr lang="en-US" sz="1000" dirty="0">
                <a:solidFill>
                  <a:schemeClr val="tx2"/>
                </a:solidFill>
                <a:ea typeface="Open Sans Light" panose="020B0306030504020204" pitchFamily="34" charset="0"/>
                <a:cs typeface="Arial" panose="020B0604020202020204" pitchFamily="34" charset="0"/>
              </a:rPr>
            </a:br>
            <a:r>
              <a:rPr lang="en-US" sz="1000" dirty="0">
                <a:solidFill>
                  <a:schemeClr val="tx2"/>
                </a:solidFill>
                <a:ea typeface="Open Sans Light" panose="020B0306030504020204" pitchFamily="34" charset="0"/>
                <a:cs typeface="Arial" panose="020B0604020202020204" pitchFamily="34" charset="0"/>
              </a:rPr>
              <a:t> Insert your text here Insert your text here Insert your text here Insert your text her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10E7A51-049A-9730-A7F5-190C2050ACA9}"/>
              </a:ext>
            </a:extLst>
          </p:cNvPr>
          <p:cNvSpPr txBox="1"/>
          <p:nvPr/>
        </p:nvSpPr>
        <p:spPr>
          <a:xfrm>
            <a:off x="798948" y="2919261"/>
            <a:ext cx="2837522" cy="723321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US" sz="1600" b="1" dirty="0">
                <a:solidFill>
                  <a:schemeClr val="accent1"/>
                </a:solidFill>
                <a:ea typeface="Open Sans Light" panose="020B0306030504020204" pitchFamily="34" charset="0"/>
                <a:cs typeface="Arial" panose="020B0604020202020204" pitchFamily="34" charset="0"/>
              </a:rPr>
              <a:t>Insert Text Here</a:t>
            </a:r>
            <a:br>
              <a:rPr lang="en-US" sz="1000" dirty="0">
                <a:solidFill>
                  <a:schemeClr val="accent1"/>
                </a:solidFill>
                <a:ea typeface="Open Sans Light" panose="020B0306030504020204" pitchFamily="34" charset="0"/>
                <a:cs typeface="Arial" panose="020B0604020202020204" pitchFamily="34" charset="0"/>
              </a:rPr>
            </a:br>
            <a:r>
              <a:rPr lang="en-US" sz="1000" dirty="0">
                <a:solidFill>
                  <a:schemeClr val="tx2"/>
                </a:solidFill>
                <a:ea typeface="Open Sans Light" panose="020B0306030504020204" pitchFamily="34" charset="0"/>
                <a:cs typeface="Arial" panose="020B0604020202020204" pitchFamily="34" charset="0"/>
              </a:rPr>
              <a:t> Insert your text here Insert your text here Insert your text here Insert your text her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9356D4E-DE23-C7B0-10B8-74C4B1FBB064}"/>
              </a:ext>
            </a:extLst>
          </p:cNvPr>
          <p:cNvSpPr txBox="1"/>
          <p:nvPr/>
        </p:nvSpPr>
        <p:spPr>
          <a:xfrm>
            <a:off x="8545924" y="4985502"/>
            <a:ext cx="2837522" cy="723321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600" b="1" dirty="0">
                <a:solidFill>
                  <a:schemeClr val="accent3"/>
                </a:solidFill>
                <a:ea typeface="Open Sans Light" panose="020B0306030504020204" pitchFamily="34" charset="0"/>
                <a:cs typeface="Arial" panose="020B0604020202020204" pitchFamily="34" charset="0"/>
              </a:rPr>
              <a:t>Insert Text Here</a:t>
            </a:r>
            <a:br>
              <a:rPr lang="en-US" sz="1000" dirty="0">
                <a:solidFill>
                  <a:schemeClr val="accent3"/>
                </a:solidFill>
                <a:ea typeface="Open Sans Light" panose="020B0306030504020204" pitchFamily="34" charset="0"/>
                <a:cs typeface="Arial" panose="020B0604020202020204" pitchFamily="34" charset="0"/>
              </a:rPr>
            </a:br>
            <a:r>
              <a:rPr lang="en-US" sz="1000" dirty="0">
                <a:solidFill>
                  <a:schemeClr val="tx2"/>
                </a:solidFill>
                <a:ea typeface="Open Sans Light" panose="020B0306030504020204" pitchFamily="34" charset="0"/>
                <a:cs typeface="Arial" panose="020B0604020202020204" pitchFamily="34" charset="0"/>
              </a:rPr>
              <a:t> Insert your text here Insert your text here Insert your text here Insert your text her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2ABFD89-16BC-EA5F-FF86-93E8EC57218B}"/>
              </a:ext>
            </a:extLst>
          </p:cNvPr>
          <p:cNvSpPr txBox="1"/>
          <p:nvPr/>
        </p:nvSpPr>
        <p:spPr>
          <a:xfrm>
            <a:off x="6470329" y="2343874"/>
            <a:ext cx="1801578" cy="360593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US" sz="1600" b="1" dirty="0">
                <a:solidFill>
                  <a:schemeClr val="bg1"/>
                </a:solidFill>
                <a:ea typeface="Open Sans Light" panose="020B0306030504020204" pitchFamily="34" charset="0"/>
                <a:cs typeface="Arial" panose="020B0604020202020204" pitchFamily="34" charset="0"/>
              </a:rPr>
              <a:t>Insert Text Here</a:t>
            </a:r>
            <a:endParaRPr lang="en-US" sz="1000" dirty="0">
              <a:solidFill>
                <a:schemeClr val="bg1"/>
              </a:solidFill>
              <a:ea typeface="Open Sans Light" panose="020B0306030504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44C30E7-C709-2B9E-9ABD-4044A81D51B7}"/>
              </a:ext>
            </a:extLst>
          </p:cNvPr>
          <p:cNvSpPr txBox="1"/>
          <p:nvPr/>
        </p:nvSpPr>
        <p:spPr>
          <a:xfrm>
            <a:off x="7403563" y="2890685"/>
            <a:ext cx="1801578" cy="360593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US" sz="1600" b="1" dirty="0">
                <a:solidFill>
                  <a:schemeClr val="bg1"/>
                </a:solidFill>
                <a:ea typeface="Open Sans Light" panose="020B0306030504020204" pitchFamily="34" charset="0"/>
                <a:cs typeface="Arial" panose="020B0604020202020204" pitchFamily="34" charset="0"/>
              </a:rPr>
              <a:t>Insert Text Here</a:t>
            </a:r>
            <a:endParaRPr lang="en-US" sz="1000" dirty="0">
              <a:solidFill>
                <a:schemeClr val="bg1"/>
              </a:solidFill>
              <a:ea typeface="Open Sans Light" panose="020B0306030504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84A3FB2-7791-6950-B243-327BA8F8AD3B}"/>
              </a:ext>
            </a:extLst>
          </p:cNvPr>
          <p:cNvSpPr txBox="1"/>
          <p:nvPr/>
        </p:nvSpPr>
        <p:spPr>
          <a:xfrm>
            <a:off x="3347954" y="4268292"/>
            <a:ext cx="1801578" cy="360593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600" b="1" dirty="0">
                <a:solidFill>
                  <a:schemeClr val="bg1"/>
                </a:solidFill>
                <a:ea typeface="Open Sans Light" panose="020B0306030504020204" pitchFamily="34" charset="0"/>
                <a:cs typeface="Arial" panose="020B0604020202020204" pitchFamily="34" charset="0"/>
              </a:rPr>
              <a:t>Insert Text Here</a:t>
            </a:r>
            <a:endParaRPr lang="en-US" sz="1000" dirty="0">
              <a:solidFill>
                <a:schemeClr val="bg1"/>
              </a:solidFill>
              <a:ea typeface="Open Sans Light" panose="020B0306030504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EC3790B-5462-18BA-2F82-EB055AC898D9}"/>
              </a:ext>
            </a:extLst>
          </p:cNvPr>
          <p:cNvSpPr txBox="1"/>
          <p:nvPr/>
        </p:nvSpPr>
        <p:spPr>
          <a:xfrm>
            <a:off x="4204831" y="4795208"/>
            <a:ext cx="1801578" cy="360593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600" b="1" dirty="0">
                <a:solidFill>
                  <a:schemeClr val="bg1"/>
                </a:solidFill>
                <a:ea typeface="Open Sans Light" panose="020B0306030504020204" pitchFamily="34" charset="0"/>
                <a:cs typeface="Arial" panose="020B0604020202020204" pitchFamily="34" charset="0"/>
              </a:rPr>
              <a:t>Insert Text Here</a:t>
            </a:r>
            <a:endParaRPr lang="en-US" sz="1000" dirty="0">
              <a:solidFill>
                <a:schemeClr val="bg1"/>
              </a:solidFill>
              <a:ea typeface="Open Sans Light" panose="020B0306030504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6012553"/>
      </p:ext>
    </p:extLst>
  </p:cSld>
  <p:clrMapOvr>
    <a:masterClrMapping/>
  </p:clrMapOvr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AD705BF-82F8-5ABB-F5FB-80498A686D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26836E9-CBF9-4DAB-C262-A8C408422E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95289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574FAD1-FA06-8299-ADDE-9C45E950F2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irc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A719B4-7DE0-9CEE-B6AE-27FA94453A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12</a:t>
            </a:fld>
            <a:endParaRPr lang="en-US" dirty="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4EBCCC65-E84F-449D-5205-C3909AB56D86}"/>
              </a:ext>
            </a:extLst>
          </p:cNvPr>
          <p:cNvSpPr/>
          <p:nvPr/>
        </p:nvSpPr>
        <p:spPr>
          <a:xfrm>
            <a:off x="968450" y="1725722"/>
            <a:ext cx="1828800" cy="18288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Freeform 15">
            <a:extLst>
              <a:ext uri="{FF2B5EF4-FFF2-40B4-BE49-F238E27FC236}">
                <a16:creationId xmlns:a16="http://schemas.microsoft.com/office/drawing/2014/main" id="{8CCF24E7-1749-3F1C-CC23-EC1A53A1FA17}"/>
              </a:ext>
            </a:extLst>
          </p:cNvPr>
          <p:cNvSpPr/>
          <p:nvPr/>
        </p:nvSpPr>
        <p:spPr>
          <a:xfrm>
            <a:off x="1621230" y="2300055"/>
            <a:ext cx="523240" cy="680134"/>
          </a:xfrm>
          <a:custGeom>
            <a:avLst/>
            <a:gdLst/>
            <a:ahLst/>
            <a:cxnLst/>
            <a:rect l="l" t="t" r="r" b="b"/>
            <a:pathLst>
              <a:path w="146670" h="190649">
                <a:moveTo>
                  <a:pt x="73335" y="178036"/>
                </a:moveTo>
                <a:cubicBezTo>
                  <a:pt x="72070" y="178036"/>
                  <a:pt x="70991" y="178483"/>
                  <a:pt x="70098" y="179376"/>
                </a:cubicBezTo>
                <a:cubicBezTo>
                  <a:pt x="69205" y="180268"/>
                  <a:pt x="68759" y="181422"/>
                  <a:pt x="68759" y="182836"/>
                </a:cubicBezTo>
                <a:cubicBezTo>
                  <a:pt x="68759" y="184101"/>
                  <a:pt x="69205" y="185180"/>
                  <a:pt x="70098" y="186073"/>
                </a:cubicBezTo>
                <a:cubicBezTo>
                  <a:pt x="70991" y="186966"/>
                  <a:pt x="72070" y="187412"/>
                  <a:pt x="73335" y="187412"/>
                </a:cubicBezTo>
                <a:cubicBezTo>
                  <a:pt x="74600" y="187412"/>
                  <a:pt x="75679" y="186966"/>
                  <a:pt x="76572" y="186073"/>
                </a:cubicBezTo>
                <a:cubicBezTo>
                  <a:pt x="77465" y="185180"/>
                  <a:pt x="77912" y="184101"/>
                  <a:pt x="77912" y="182836"/>
                </a:cubicBezTo>
                <a:cubicBezTo>
                  <a:pt x="77912" y="181422"/>
                  <a:pt x="77465" y="180268"/>
                  <a:pt x="76572" y="179376"/>
                </a:cubicBezTo>
                <a:cubicBezTo>
                  <a:pt x="75679" y="178483"/>
                  <a:pt x="74600" y="178036"/>
                  <a:pt x="73335" y="178036"/>
                </a:cubicBezTo>
                <a:close/>
                <a:moveTo>
                  <a:pt x="16185" y="19199"/>
                </a:moveTo>
                <a:lnTo>
                  <a:pt x="16185" y="171674"/>
                </a:lnTo>
                <a:lnTo>
                  <a:pt x="130485" y="171674"/>
                </a:lnTo>
                <a:lnTo>
                  <a:pt x="130485" y="19199"/>
                </a:lnTo>
                <a:close/>
                <a:moveTo>
                  <a:pt x="9153" y="0"/>
                </a:moveTo>
                <a:lnTo>
                  <a:pt x="137517" y="0"/>
                </a:lnTo>
                <a:cubicBezTo>
                  <a:pt x="140271" y="0"/>
                  <a:pt x="142485" y="875"/>
                  <a:pt x="144159" y="2624"/>
                </a:cubicBezTo>
                <a:cubicBezTo>
                  <a:pt x="145833" y="4372"/>
                  <a:pt x="146670" y="6623"/>
                  <a:pt x="146670" y="9377"/>
                </a:cubicBezTo>
                <a:lnTo>
                  <a:pt x="146670" y="181496"/>
                </a:lnTo>
                <a:cubicBezTo>
                  <a:pt x="146670" y="184250"/>
                  <a:pt x="145833" y="186463"/>
                  <a:pt x="144159" y="188138"/>
                </a:cubicBezTo>
                <a:cubicBezTo>
                  <a:pt x="142485" y="189812"/>
                  <a:pt x="140271" y="190649"/>
                  <a:pt x="137517" y="190649"/>
                </a:cubicBezTo>
                <a:lnTo>
                  <a:pt x="9153" y="190649"/>
                </a:lnTo>
                <a:cubicBezTo>
                  <a:pt x="6400" y="190649"/>
                  <a:pt x="4186" y="189812"/>
                  <a:pt x="2512" y="188138"/>
                </a:cubicBezTo>
                <a:cubicBezTo>
                  <a:pt x="837" y="186463"/>
                  <a:pt x="0" y="184250"/>
                  <a:pt x="0" y="181496"/>
                </a:cubicBezTo>
                <a:lnTo>
                  <a:pt x="0" y="9377"/>
                </a:lnTo>
                <a:cubicBezTo>
                  <a:pt x="0" y="6623"/>
                  <a:pt x="837" y="4372"/>
                  <a:pt x="2512" y="2624"/>
                </a:cubicBezTo>
                <a:cubicBezTo>
                  <a:pt x="4186" y="875"/>
                  <a:pt x="6400" y="0"/>
                  <a:pt x="915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 dirty="0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7772BE40-70E3-873A-8752-611206854B46}"/>
              </a:ext>
            </a:extLst>
          </p:cNvPr>
          <p:cNvSpPr/>
          <p:nvPr/>
        </p:nvSpPr>
        <p:spPr>
          <a:xfrm>
            <a:off x="3739206" y="4497655"/>
            <a:ext cx="1153633" cy="1153633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18">
            <a:extLst>
              <a:ext uri="{FF2B5EF4-FFF2-40B4-BE49-F238E27FC236}">
                <a16:creationId xmlns:a16="http://schemas.microsoft.com/office/drawing/2014/main" id="{FD648931-ED54-3098-37E2-726DEBD35CD3}"/>
              </a:ext>
            </a:extLst>
          </p:cNvPr>
          <p:cNvSpPr/>
          <p:nvPr/>
        </p:nvSpPr>
        <p:spPr>
          <a:xfrm>
            <a:off x="4098471" y="4926035"/>
            <a:ext cx="435103" cy="296872"/>
          </a:xfrm>
          <a:custGeom>
            <a:avLst/>
            <a:gdLst/>
            <a:ahLst/>
            <a:cxnLst/>
            <a:rect l="l" t="t" r="r" b="b"/>
            <a:pathLst>
              <a:path w="209401" h="142875">
                <a:moveTo>
                  <a:pt x="87734" y="125239"/>
                </a:moveTo>
                <a:cubicBezTo>
                  <a:pt x="85799" y="125239"/>
                  <a:pt x="84683" y="125500"/>
                  <a:pt x="84385" y="126020"/>
                </a:cubicBezTo>
                <a:lnTo>
                  <a:pt x="78134" y="132160"/>
                </a:lnTo>
                <a:lnTo>
                  <a:pt x="77911" y="132383"/>
                </a:lnTo>
                <a:cubicBezTo>
                  <a:pt x="77911" y="132978"/>
                  <a:pt x="78916" y="133276"/>
                  <a:pt x="80925" y="133276"/>
                </a:cubicBezTo>
                <a:lnTo>
                  <a:pt x="128476" y="133276"/>
                </a:lnTo>
                <a:cubicBezTo>
                  <a:pt x="130485" y="133276"/>
                  <a:pt x="131489" y="132978"/>
                  <a:pt x="131489" y="132383"/>
                </a:cubicBezTo>
                <a:cubicBezTo>
                  <a:pt x="131489" y="132234"/>
                  <a:pt x="131415" y="132160"/>
                  <a:pt x="131266" y="132160"/>
                </a:cubicBezTo>
                <a:lnTo>
                  <a:pt x="125239" y="126020"/>
                </a:lnTo>
                <a:cubicBezTo>
                  <a:pt x="124718" y="125500"/>
                  <a:pt x="123527" y="125239"/>
                  <a:pt x="121667" y="125239"/>
                </a:cubicBezTo>
                <a:close/>
                <a:moveTo>
                  <a:pt x="28575" y="9600"/>
                </a:moveTo>
                <a:lnTo>
                  <a:pt x="28575" y="114300"/>
                </a:lnTo>
                <a:lnTo>
                  <a:pt x="180826" y="114300"/>
                </a:lnTo>
                <a:lnTo>
                  <a:pt x="180826" y="9600"/>
                </a:lnTo>
                <a:close/>
                <a:moveTo>
                  <a:pt x="28575" y="0"/>
                </a:moveTo>
                <a:lnTo>
                  <a:pt x="180826" y="0"/>
                </a:lnTo>
                <a:cubicBezTo>
                  <a:pt x="183207" y="0"/>
                  <a:pt x="185402" y="968"/>
                  <a:pt x="187411" y="2902"/>
                </a:cubicBezTo>
                <a:cubicBezTo>
                  <a:pt x="189421" y="4837"/>
                  <a:pt x="190425" y="6995"/>
                  <a:pt x="190425" y="9376"/>
                </a:cubicBezTo>
                <a:lnTo>
                  <a:pt x="190425" y="114300"/>
                </a:lnTo>
                <a:lnTo>
                  <a:pt x="209401" y="133276"/>
                </a:lnTo>
                <a:cubicBezTo>
                  <a:pt x="209401" y="135955"/>
                  <a:pt x="208526" y="138224"/>
                  <a:pt x="206778" y="140085"/>
                </a:cubicBezTo>
                <a:cubicBezTo>
                  <a:pt x="205029" y="141945"/>
                  <a:pt x="202778" y="142875"/>
                  <a:pt x="200025" y="142875"/>
                </a:cubicBezTo>
                <a:lnTo>
                  <a:pt x="9376" y="142875"/>
                </a:lnTo>
                <a:cubicBezTo>
                  <a:pt x="6623" y="142875"/>
                  <a:pt x="4371" y="141982"/>
                  <a:pt x="2623" y="140196"/>
                </a:cubicBezTo>
                <a:cubicBezTo>
                  <a:pt x="874" y="138410"/>
                  <a:pt x="0" y="136104"/>
                  <a:pt x="0" y="133276"/>
                </a:cubicBezTo>
                <a:lnTo>
                  <a:pt x="18975" y="114300"/>
                </a:lnTo>
                <a:lnTo>
                  <a:pt x="18975" y="9376"/>
                </a:lnTo>
                <a:cubicBezTo>
                  <a:pt x="18975" y="6995"/>
                  <a:pt x="19980" y="4837"/>
                  <a:pt x="21989" y="2902"/>
                </a:cubicBezTo>
                <a:cubicBezTo>
                  <a:pt x="23998" y="968"/>
                  <a:pt x="26193" y="0"/>
                  <a:pt x="2857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1E400080-A4FE-6C6F-501A-D2BAEBFD6E8D}"/>
              </a:ext>
            </a:extLst>
          </p:cNvPr>
          <p:cNvSpPr/>
          <p:nvPr/>
        </p:nvSpPr>
        <p:spPr>
          <a:xfrm>
            <a:off x="6363013" y="1725722"/>
            <a:ext cx="1467469" cy="1467469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C4266823-E58B-7C2B-A26C-9D921C8053EA}"/>
              </a:ext>
            </a:extLst>
          </p:cNvPr>
          <p:cNvSpPr/>
          <p:nvPr/>
        </p:nvSpPr>
        <p:spPr>
          <a:xfrm>
            <a:off x="7989969" y="4497655"/>
            <a:ext cx="789819" cy="789819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Freeform 22">
            <a:extLst>
              <a:ext uri="{FF2B5EF4-FFF2-40B4-BE49-F238E27FC236}">
                <a16:creationId xmlns:a16="http://schemas.microsoft.com/office/drawing/2014/main" id="{7A75471D-A744-41E3-D86C-3111611CDECC}"/>
              </a:ext>
            </a:extLst>
          </p:cNvPr>
          <p:cNvSpPr/>
          <p:nvPr/>
        </p:nvSpPr>
        <p:spPr>
          <a:xfrm>
            <a:off x="8242836" y="4750522"/>
            <a:ext cx="284084" cy="284084"/>
          </a:xfrm>
          <a:custGeom>
            <a:avLst/>
            <a:gdLst/>
            <a:ahLst/>
            <a:cxnLst/>
            <a:rect l="l" t="t" r="r" b="b"/>
            <a:pathLst>
              <a:path w="171450" h="171450">
                <a:moveTo>
                  <a:pt x="85725" y="116868"/>
                </a:moveTo>
                <a:cubicBezTo>
                  <a:pt x="84311" y="116868"/>
                  <a:pt x="83158" y="117322"/>
                  <a:pt x="82265" y="118230"/>
                </a:cubicBezTo>
                <a:cubicBezTo>
                  <a:pt x="81372" y="119138"/>
                  <a:pt x="80925" y="120310"/>
                  <a:pt x="80925" y="121748"/>
                </a:cubicBezTo>
                <a:cubicBezTo>
                  <a:pt x="80925" y="123185"/>
                  <a:pt x="81372" y="124357"/>
                  <a:pt x="82265" y="125265"/>
                </a:cubicBezTo>
                <a:cubicBezTo>
                  <a:pt x="83158" y="126173"/>
                  <a:pt x="84311" y="126627"/>
                  <a:pt x="85725" y="126627"/>
                </a:cubicBezTo>
                <a:cubicBezTo>
                  <a:pt x="87139" y="126627"/>
                  <a:pt x="88292" y="126173"/>
                  <a:pt x="89185" y="125265"/>
                </a:cubicBezTo>
                <a:cubicBezTo>
                  <a:pt x="90078" y="124357"/>
                  <a:pt x="90525" y="123185"/>
                  <a:pt x="90525" y="121748"/>
                </a:cubicBezTo>
                <a:cubicBezTo>
                  <a:pt x="90525" y="120310"/>
                  <a:pt x="90078" y="119138"/>
                  <a:pt x="89185" y="118230"/>
                </a:cubicBezTo>
                <a:cubicBezTo>
                  <a:pt x="88292" y="117322"/>
                  <a:pt x="87139" y="116868"/>
                  <a:pt x="85725" y="116868"/>
                </a:cubicBezTo>
                <a:close/>
                <a:moveTo>
                  <a:pt x="9600" y="9600"/>
                </a:moveTo>
                <a:lnTo>
                  <a:pt x="9600" y="107268"/>
                </a:lnTo>
                <a:lnTo>
                  <a:pt x="161851" y="107268"/>
                </a:lnTo>
                <a:lnTo>
                  <a:pt x="161851" y="9600"/>
                </a:lnTo>
                <a:close/>
                <a:moveTo>
                  <a:pt x="7367" y="0"/>
                </a:moveTo>
                <a:lnTo>
                  <a:pt x="164083" y="0"/>
                </a:lnTo>
                <a:cubicBezTo>
                  <a:pt x="166167" y="0"/>
                  <a:pt x="167915" y="707"/>
                  <a:pt x="169329" y="2121"/>
                </a:cubicBezTo>
                <a:cubicBezTo>
                  <a:pt x="170743" y="3535"/>
                  <a:pt x="171450" y="5284"/>
                  <a:pt x="171450" y="7367"/>
                </a:cubicBezTo>
                <a:lnTo>
                  <a:pt x="171450" y="134839"/>
                </a:lnTo>
                <a:cubicBezTo>
                  <a:pt x="171450" y="136922"/>
                  <a:pt x="170762" y="138671"/>
                  <a:pt x="169385" y="140085"/>
                </a:cubicBezTo>
                <a:cubicBezTo>
                  <a:pt x="168008" y="141499"/>
                  <a:pt x="166241" y="142206"/>
                  <a:pt x="164083" y="142206"/>
                </a:cubicBezTo>
                <a:lnTo>
                  <a:pt x="102915" y="142206"/>
                </a:lnTo>
                <a:lnTo>
                  <a:pt x="105817" y="164865"/>
                </a:lnTo>
                <a:lnTo>
                  <a:pt x="110617" y="169664"/>
                </a:lnTo>
                <a:lnTo>
                  <a:pt x="110617" y="170334"/>
                </a:lnTo>
                <a:cubicBezTo>
                  <a:pt x="110542" y="170632"/>
                  <a:pt x="110077" y="170874"/>
                  <a:pt x="109221" y="171060"/>
                </a:cubicBezTo>
                <a:cubicBezTo>
                  <a:pt x="108366" y="171246"/>
                  <a:pt x="107528" y="171339"/>
                  <a:pt x="106710" y="171339"/>
                </a:cubicBezTo>
                <a:lnTo>
                  <a:pt x="105370" y="171450"/>
                </a:lnTo>
                <a:lnTo>
                  <a:pt x="66080" y="171450"/>
                </a:lnTo>
                <a:cubicBezTo>
                  <a:pt x="62731" y="171450"/>
                  <a:pt x="60908" y="171078"/>
                  <a:pt x="60610" y="170334"/>
                </a:cubicBezTo>
                <a:lnTo>
                  <a:pt x="60610" y="169664"/>
                </a:lnTo>
                <a:lnTo>
                  <a:pt x="65633" y="164865"/>
                </a:lnTo>
                <a:lnTo>
                  <a:pt x="68535" y="142206"/>
                </a:lnTo>
                <a:lnTo>
                  <a:pt x="7367" y="142206"/>
                </a:lnTo>
                <a:cubicBezTo>
                  <a:pt x="5209" y="142206"/>
                  <a:pt x="3442" y="141499"/>
                  <a:pt x="2065" y="140085"/>
                </a:cubicBezTo>
                <a:cubicBezTo>
                  <a:pt x="688" y="138671"/>
                  <a:pt x="0" y="136922"/>
                  <a:pt x="0" y="134839"/>
                </a:cubicBezTo>
                <a:lnTo>
                  <a:pt x="0" y="7367"/>
                </a:lnTo>
                <a:cubicBezTo>
                  <a:pt x="0" y="5284"/>
                  <a:pt x="707" y="3535"/>
                  <a:pt x="2121" y="2121"/>
                </a:cubicBezTo>
                <a:cubicBezTo>
                  <a:pt x="3535" y="707"/>
                  <a:pt x="5284" y="0"/>
                  <a:pt x="7367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D75283B-511F-1347-5D60-F0FD1F30A547}"/>
              </a:ext>
            </a:extLst>
          </p:cNvPr>
          <p:cNvSpPr/>
          <p:nvPr/>
        </p:nvSpPr>
        <p:spPr>
          <a:xfrm>
            <a:off x="3375602" y="2486079"/>
            <a:ext cx="903767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9DCFE75-A9D7-2D82-768E-3D0E2E464725}"/>
              </a:ext>
            </a:extLst>
          </p:cNvPr>
          <p:cNvSpPr txBox="1"/>
          <p:nvPr/>
        </p:nvSpPr>
        <p:spPr>
          <a:xfrm>
            <a:off x="3280935" y="2020734"/>
            <a:ext cx="69301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0F62AD9-6ED9-4B83-60EC-F67C912B84F9}"/>
              </a:ext>
            </a:extLst>
          </p:cNvPr>
          <p:cNvSpPr txBox="1"/>
          <p:nvPr/>
        </p:nvSpPr>
        <p:spPr>
          <a:xfrm>
            <a:off x="3375602" y="2671054"/>
            <a:ext cx="217852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ea typeface="Open Sans" panose="020B0606030504020204" pitchFamily="34" charset="0"/>
                <a:cs typeface="Open Sans" panose="020B0606030504020204" pitchFamily="34" charset="0"/>
              </a:rPr>
              <a:t>Header</a:t>
            </a:r>
            <a:endParaRPr lang="en-US" sz="1200" b="1" dirty="0"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Text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endParaRPr lang="en-US" sz="1200" dirty="0"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FCCCA3C-AEFD-5123-8956-2D80B736E19E}"/>
              </a:ext>
            </a:extLst>
          </p:cNvPr>
          <p:cNvSpPr/>
          <p:nvPr/>
        </p:nvSpPr>
        <p:spPr>
          <a:xfrm>
            <a:off x="8406314" y="2486079"/>
            <a:ext cx="73152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6F44C44-4798-172F-2813-6FB3C50409D1}"/>
              </a:ext>
            </a:extLst>
          </p:cNvPr>
          <p:cNvSpPr txBox="1"/>
          <p:nvPr/>
        </p:nvSpPr>
        <p:spPr>
          <a:xfrm>
            <a:off x="8311647" y="2020734"/>
            <a:ext cx="69301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ACF88A1-D97E-8BE3-2CD3-79EFF095E1E4}"/>
              </a:ext>
            </a:extLst>
          </p:cNvPr>
          <p:cNvSpPr txBox="1"/>
          <p:nvPr/>
        </p:nvSpPr>
        <p:spPr>
          <a:xfrm>
            <a:off x="8406314" y="2671054"/>
            <a:ext cx="217852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ea typeface="Open Sans" panose="020B0606030504020204" pitchFamily="34" charset="0"/>
                <a:cs typeface="Open Sans" panose="020B0606030504020204" pitchFamily="34" charset="0"/>
              </a:rPr>
              <a:t>Header</a:t>
            </a:r>
            <a:endParaRPr lang="en-US" sz="1200" b="1" dirty="0"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Text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endParaRPr lang="en-US" sz="1200" dirty="0"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85D5981-A4D5-87D1-ACC7-0C76B06C8319}"/>
              </a:ext>
            </a:extLst>
          </p:cNvPr>
          <p:cNvSpPr/>
          <p:nvPr/>
        </p:nvSpPr>
        <p:spPr>
          <a:xfrm>
            <a:off x="9236411" y="4738521"/>
            <a:ext cx="18288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9B563CA-87F8-145B-8BA5-022BC3C6C2FC}"/>
              </a:ext>
            </a:extLst>
          </p:cNvPr>
          <p:cNvSpPr txBox="1"/>
          <p:nvPr/>
        </p:nvSpPr>
        <p:spPr>
          <a:xfrm>
            <a:off x="9141744" y="4273176"/>
            <a:ext cx="69301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C46155D-EA8A-5863-25EE-1717EEC0B48C}"/>
              </a:ext>
            </a:extLst>
          </p:cNvPr>
          <p:cNvSpPr txBox="1"/>
          <p:nvPr/>
        </p:nvSpPr>
        <p:spPr>
          <a:xfrm>
            <a:off x="9236411" y="4923496"/>
            <a:ext cx="217852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ea typeface="Open Sans" panose="020B0606030504020204" pitchFamily="34" charset="0"/>
                <a:cs typeface="Open Sans" panose="020B0606030504020204" pitchFamily="34" charset="0"/>
              </a:rPr>
              <a:t>Header</a:t>
            </a:r>
          </a:p>
          <a:p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Text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endParaRPr lang="en-US" sz="1200" dirty="0"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009C167-118F-2DDA-CE81-970F893B096A}"/>
              </a:ext>
            </a:extLst>
          </p:cNvPr>
          <p:cNvSpPr/>
          <p:nvPr/>
        </p:nvSpPr>
        <p:spPr>
          <a:xfrm>
            <a:off x="5355910" y="4819982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47C435D-D78F-A1B0-9769-72AD7B7753FB}"/>
              </a:ext>
            </a:extLst>
          </p:cNvPr>
          <p:cNvSpPr txBox="1"/>
          <p:nvPr/>
        </p:nvSpPr>
        <p:spPr>
          <a:xfrm>
            <a:off x="5261243" y="4354637"/>
            <a:ext cx="69301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A9AF518-B085-05DC-907F-8FC6C736D6D8}"/>
              </a:ext>
            </a:extLst>
          </p:cNvPr>
          <p:cNvSpPr txBox="1"/>
          <p:nvPr/>
        </p:nvSpPr>
        <p:spPr>
          <a:xfrm>
            <a:off x="5355910" y="5004957"/>
            <a:ext cx="217852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ea typeface="Open Sans" panose="020B0606030504020204" pitchFamily="34" charset="0"/>
                <a:cs typeface="Open Sans" panose="020B0606030504020204" pitchFamily="34" charset="0"/>
              </a:rPr>
              <a:t>Header</a:t>
            </a:r>
          </a:p>
          <a:p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Text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endParaRPr lang="en-US" sz="1200" dirty="0"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6" name="Freeform 15">
            <a:extLst>
              <a:ext uri="{FF2B5EF4-FFF2-40B4-BE49-F238E27FC236}">
                <a16:creationId xmlns:a16="http://schemas.microsoft.com/office/drawing/2014/main" id="{C9862978-A810-8794-4D5C-015B272F1551}"/>
              </a:ext>
            </a:extLst>
          </p:cNvPr>
          <p:cNvSpPr/>
          <p:nvPr/>
        </p:nvSpPr>
        <p:spPr>
          <a:xfrm>
            <a:off x="6869935" y="2168872"/>
            <a:ext cx="523240" cy="680134"/>
          </a:xfrm>
          <a:custGeom>
            <a:avLst/>
            <a:gdLst/>
            <a:ahLst/>
            <a:cxnLst/>
            <a:rect l="l" t="t" r="r" b="b"/>
            <a:pathLst>
              <a:path w="146670" h="190649">
                <a:moveTo>
                  <a:pt x="73335" y="178036"/>
                </a:moveTo>
                <a:cubicBezTo>
                  <a:pt x="72070" y="178036"/>
                  <a:pt x="70991" y="178483"/>
                  <a:pt x="70098" y="179376"/>
                </a:cubicBezTo>
                <a:cubicBezTo>
                  <a:pt x="69205" y="180268"/>
                  <a:pt x="68759" y="181422"/>
                  <a:pt x="68759" y="182836"/>
                </a:cubicBezTo>
                <a:cubicBezTo>
                  <a:pt x="68759" y="184101"/>
                  <a:pt x="69205" y="185180"/>
                  <a:pt x="70098" y="186073"/>
                </a:cubicBezTo>
                <a:cubicBezTo>
                  <a:pt x="70991" y="186966"/>
                  <a:pt x="72070" y="187412"/>
                  <a:pt x="73335" y="187412"/>
                </a:cubicBezTo>
                <a:cubicBezTo>
                  <a:pt x="74600" y="187412"/>
                  <a:pt x="75679" y="186966"/>
                  <a:pt x="76572" y="186073"/>
                </a:cubicBezTo>
                <a:cubicBezTo>
                  <a:pt x="77465" y="185180"/>
                  <a:pt x="77912" y="184101"/>
                  <a:pt x="77912" y="182836"/>
                </a:cubicBezTo>
                <a:cubicBezTo>
                  <a:pt x="77912" y="181422"/>
                  <a:pt x="77465" y="180268"/>
                  <a:pt x="76572" y="179376"/>
                </a:cubicBezTo>
                <a:cubicBezTo>
                  <a:pt x="75679" y="178483"/>
                  <a:pt x="74600" y="178036"/>
                  <a:pt x="73335" y="178036"/>
                </a:cubicBezTo>
                <a:close/>
                <a:moveTo>
                  <a:pt x="16185" y="19199"/>
                </a:moveTo>
                <a:lnTo>
                  <a:pt x="16185" y="171674"/>
                </a:lnTo>
                <a:lnTo>
                  <a:pt x="130485" y="171674"/>
                </a:lnTo>
                <a:lnTo>
                  <a:pt x="130485" y="19199"/>
                </a:lnTo>
                <a:close/>
                <a:moveTo>
                  <a:pt x="9153" y="0"/>
                </a:moveTo>
                <a:lnTo>
                  <a:pt x="137517" y="0"/>
                </a:lnTo>
                <a:cubicBezTo>
                  <a:pt x="140271" y="0"/>
                  <a:pt x="142485" y="875"/>
                  <a:pt x="144159" y="2624"/>
                </a:cubicBezTo>
                <a:cubicBezTo>
                  <a:pt x="145833" y="4372"/>
                  <a:pt x="146670" y="6623"/>
                  <a:pt x="146670" y="9377"/>
                </a:cubicBezTo>
                <a:lnTo>
                  <a:pt x="146670" y="181496"/>
                </a:lnTo>
                <a:cubicBezTo>
                  <a:pt x="146670" y="184250"/>
                  <a:pt x="145833" y="186463"/>
                  <a:pt x="144159" y="188138"/>
                </a:cubicBezTo>
                <a:cubicBezTo>
                  <a:pt x="142485" y="189812"/>
                  <a:pt x="140271" y="190649"/>
                  <a:pt x="137517" y="190649"/>
                </a:cubicBezTo>
                <a:lnTo>
                  <a:pt x="9153" y="190649"/>
                </a:lnTo>
                <a:cubicBezTo>
                  <a:pt x="6400" y="190649"/>
                  <a:pt x="4186" y="189812"/>
                  <a:pt x="2512" y="188138"/>
                </a:cubicBezTo>
                <a:cubicBezTo>
                  <a:pt x="837" y="186463"/>
                  <a:pt x="0" y="184250"/>
                  <a:pt x="0" y="181496"/>
                </a:cubicBezTo>
                <a:lnTo>
                  <a:pt x="0" y="9377"/>
                </a:lnTo>
                <a:cubicBezTo>
                  <a:pt x="0" y="6623"/>
                  <a:pt x="837" y="4372"/>
                  <a:pt x="2512" y="2624"/>
                </a:cubicBezTo>
                <a:cubicBezTo>
                  <a:pt x="4186" y="875"/>
                  <a:pt x="6400" y="0"/>
                  <a:pt x="915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9006479"/>
      </p:ext>
    </p:extLst>
  </p:cSld>
  <p:clrMapOvr>
    <a:masterClrMapping/>
  </p:clrMapOvr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E91114-EEC1-9B7C-F646-B475061076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75F6BFC-0D73-211C-0040-DD9C1733A1F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35758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01D09F4-A7E9-6226-757A-4CF791142D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irc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648B6AC-C75C-71EF-F013-E2E6A97E5C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13</a:t>
            </a:fld>
            <a:endParaRPr lang="en-US" dirty="0"/>
          </a:p>
        </p:txBody>
      </p:sp>
      <p:sp>
        <p:nvSpPr>
          <p:cNvPr id="6" name="Freeform 241">
            <a:extLst>
              <a:ext uri="{FF2B5EF4-FFF2-40B4-BE49-F238E27FC236}">
                <a16:creationId xmlns:a16="http://schemas.microsoft.com/office/drawing/2014/main" id="{67D49493-9DB2-F47F-A037-A419288F7A46}"/>
              </a:ext>
            </a:extLst>
          </p:cNvPr>
          <p:cNvSpPr>
            <a:spLocks noEditPoints="1"/>
          </p:cNvSpPr>
          <p:nvPr/>
        </p:nvSpPr>
        <p:spPr bwMode="auto">
          <a:xfrm rot="779672">
            <a:off x="1100132" y="1500930"/>
            <a:ext cx="2514110" cy="2514109"/>
          </a:xfrm>
          <a:custGeom>
            <a:avLst/>
            <a:gdLst>
              <a:gd name="T0" fmla="*/ 1335 w 1335"/>
              <a:gd name="T1" fmla="*/ 699 h 1335"/>
              <a:gd name="T2" fmla="*/ 1220 w 1335"/>
              <a:gd name="T3" fmla="*/ 586 h 1335"/>
              <a:gd name="T4" fmla="*/ 1300 w 1335"/>
              <a:gd name="T5" fmla="*/ 445 h 1335"/>
              <a:gd name="T6" fmla="*/ 1145 w 1335"/>
              <a:gd name="T7" fmla="*/ 378 h 1335"/>
              <a:gd name="T8" fmla="*/ 1162 w 1335"/>
              <a:gd name="T9" fmla="*/ 218 h 1335"/>
              <a:gd name="T10" fmla="*/ 1001 w 1335"/>
              <a:gd name="T11" fmla="*/ 219 h 1335"/>
              <a:gd name="T12" fmla="*/ 956 w 1335"/>
              <a:gd name="T13" fmla="*/ 65 h 1335"/>
              <a:gd name="T14" fmla="*/ 801 w 1335"/>
              <a:gd name="T15" fmla="*/ 125 h 1335"/>
              <a:gd name="T16" fmla="*/ 699 w 1335"/>
              <a:gd name="T17" fmla="*/ 0 h 1335"/>
              <a:gd name="T18" fmla="*/ 586 w 1335"/>
              <a:gd name="T19" fmla="*/ 115 h 1335"/>
              <a:gd name="T20" fmla="*/ 445 w 1335"/>
              <a:gd name="T21" fmla="*/ 35 h 1335"/>
              <a:gd name="T22" fmla="*/ 378 w 1335"/>
              <a:gd name="T23" fmla="*/ 190 h 1335"/>
              <a:gd name="T24" fmla="*/ 218 w 1335"/>
              <a:gd name="T25" fmla="*/ 173 h 1335"/>
              <a:gd name="T26" fmla="*/ 220 w 1335"/>
              <a:gd name="T27" fmla="*/ 334 h 1335"/>
              <a:gd name="T28" fmla="*/ 65 w 1335"/>
              <a:gd name="T29" fmla="*/ 379 h 1335"/>
              <a:gd name="T30" fmla="*/ 125 w 1335"/>
              <a:gd name="T31" fmla="*/ 535 h 1335"/>
              <a:gd name="T32" fmla="*/ 0 w 1335"/>
              <a:gd name="T33" fmla="*/ 636 h 1335"/>
              <a:gd name="T34" fmla="*/ 115 w 1335"/>
              <a:gd name="T35" fmla="*/ 749 h 1335"/>
              <a:gd name="T36" fmla="*/ 35 w 1335"/>
              <a:gd name="T37" fmla="*/ 890 h 1335"/>
              <a:gd name="T38" fmla="*/ 190 w 1335"/>
              <a:gd name="T39" fmla="*/ 957 h 1335"/>
              <a:gd name="T40" fmla="*/ 173 w 1335"/>
              <a:gd name="T41" fmla="*/ 1117 h 1335"/>
              <a:gd name="T42" fmla="*/ 334 w 1335"/>
              <a:gd name="T43" fmla="*/ 1116 h 1335"/>
              <a:gd name="T44" fmla="*/ 379 w 1335"/>
              <a:gd name="T45" fmla="*/ 1270 h 1335"/>
              <a:gd name="T46" fmla="*/ 535 w 1335"/>
              <a:gd name="T47" fmla="*/ 1210 h 1335"/>
              <a:gd name="T48" fmla="*/ 636 w 1335"/>
              <a:gd name="T49" fmla="*/ 1335 h 1335"/>
              <a:gd name="T50" fmla="*/ 749 w 1335"/>
              <a:gd name="T51" fmla="*/ 1220 h 1335"/>
              <a:gd name="T52" fmla="*/ 890 w 1335"/>
              <a:gd name="T53" fmla="*/ 1299 h 1335"/>
              <a:gd name="T54" fmla="*/ 957 w 1335"/>
              <a:gd name="T55" fmla="*/ 1145 h 1335"/>
              <a:gd name="T56" fmla="*/ 1117 w 1335"/>
              <a:gd name="T57" fmla="*/ 1162 h 1335"/>
              <a:gd name="T58" fmla="*/ 1116 w 1335"/>
              <a:gd name="T59" fmla="*/ 1001 h 1335"/>
              <a:gd name="T60" fmla="*/ 1271 w 1335"/>
              <a:gd name="T61" fmla="*/ 956 h 1335"/>
              <a:gd name="T62" fmla="*/ 1210 w 1335"/>
              <a:gd name="T63" fmla="*/ 801 h 1335"/>
              <a:gd name="T64" fmla="*/ 776 w 1335"/>
              <a:gd name="T65" fmla="*/ 1050 h 1335"/>
              <a:gd name="T66" fmla="*/ 560 w 1335"/>
              <a:gd name="T67" fmla="*/ 286 h 1335"/>
              <a:gd name="T68" fmla="*/ 776 w 1335"/>
              <a:gd name="T69" fmla="*/ 1050 h 13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335" h="1335">
                <a:moveTo>
                  <a:pt x="1326" y="784"/>
                </a:moveTo>
                <a:cubicBezTo>
                  <a:pt x="1335" y="699"/>
                  <a:pt x="1335" y="699"/>
                  <a:pt x="1335" y="699"/>
                </a:cubicBezTo>
                <a:cubicBezTo>
                  <a:pt x="1226" y="658"/>
                  <a:pt x="1226" y="658"/>
                  <a:pt x="1226" y="658"/>
                </a:cubicBezTo>
                <a:cubicBezTo>
                  <a:pt x="1226" y="634"/>
                  <a:pt x="1224" y="610"/>
                  <a:pt x="1220" y="586"/>
                </a:cubicBezTo>
                <a:cubicBezTo>
                  <a:pt x="1323" y="527"/>
                  <a:pt x="1323" y="527"/>
                  <a:pt x="1323" y="527"/>
                </a:cubicBezTo>
                <a:cubicBezTo>
                  <a:pt x="1300" y="445"/>
                  <a:pt x="1300" y="445"/>
                  <a:pt x="1300" y="445"/>
                </a:cubicBezTo>
                <a:cubicBezTo>
                  <a:pt x="1181" y="448"/>
                  <a:pt x="1181" y="448"/>
                  <a:pt x="1181" y="448"/>
                </a:cubicBezTo>
                <a:cubicBezTo>
                  <a:pt x="1171" y="424"/>
                  <a:pt x="1159" y="400"/>
                  <a:pt x="1145" y="378"/>
                </a:cubicBezTo>
                <a:cubicBezTo>
                  <a:pt x="1215" y="284"/>
                  <a:pt x="1215" y="284"/>
                  <a:pt x="1215" y="284"/>
                </a:cubicBezTo>
                <a:cubicBezTo>
                  <a:pt x="1162" y="218"/>
                  <a:pt x="1162" y="218"/>
                  <a:pt x="1162" y="218"/>
                </a:cubicBezTo>
                <a:cubicBezTo>
                  <a:pt x="1055" y="266"/>
                  <a:pt x="1055" y="266"/>
                  <a:pt x="1055" y="266"/>
                </a:cubicBezTo>
                <a:cubicBezTo>
                  <a:pt x="1038" y="249"/>
                  <a:pt x="1020" y="234"/>
                  <a:pt x="1001" y="219"/>
                </a:cubicBezTo>
                <a:cubicBezTo>
                  <a:pt x="1031" y="106"/>
                  <a:pt x="1031" y="106"/>
                  <a:pt x="1031" y="106"/>
                </a:cubicBezTo>
                <a:cubicBezTo>
                  <a:pt x="956" y="65"/>
                  <a:pt x="956" y="65"/>
                  <a:pt x="956" y="65"/>
                </a:cubicBezTo>
                <a:cubicBezTo>
                  <a:pt x="875" y="149"/>
                  <a:pt x="875" y="149"/>
                  <a:pt x="875" y="149"/>
                </a:cubicBezTo>
                <a:cubicBezTo>
                  <a:pt x="851" y="139"/>
                  <a:pt x="826" y="131"/>
                  <a:pt x="801" y="125"/>
                </a:cubicBezTo>
                <a:cubicBezTo>
                  <a:pt x="784" y="9"/>
                  <a:pt x="784" y="9"/>
                  <a:pt x="784" y="9"/>
                </a:cubicBezTo>
                <a:cubicBezTo>
                  <a:pt x="699" y="0"/>
                  <a:pt x="699" y="0"/>
                  <a:pt x="699" y="0"/>
                </a:cubicBezTo>
                <a:cubicBezTo>
                  <a:pt x="658" y="109"/>
                  <a:pt x="658" y="109"/>
                  <a:pt x="658" y="109"/>
                </a:cubicBezTo>
                <a:cubicBezTo>
                  <a:pt x="634" y="109"/>
                  <a:pt x="610" y="111"/>
                  <a:pt x="586" y="115"/>
                </a:cubicBezTo>
                <a:cubicBezTo>
                  <a:pt x="527" y="12"/>
                  <a:pt x="527" y="12"/>
                  <a:pt x="527" y="12"/>
                </a:cubicBezTo>
                <a:cubicBezTo>
                  <a:pt x="445" y="35"/>
                  <a:pt x="445" y="35"/>
                  <a:pt x="445" y="35"/>
                </a:cubicBezTo>
                <a:cubicBezTo>
                  <a:pt x="448" y="154"/>
                  <a:pt x="448" y="154"/>
                  <a:pt x="448" y="154"/>
                </a:cubicBezTo>
                <a:cubicBezTo>
                  <a:pt x="424" y="164"/>
                  <a:pt x="400" y="176"/>
                  <a:pt x="378" y="190"/>
                </a:cubicBezTo>
                <a:cubicBezTo>
                  <a:pt x="284" y="120"/>
                  <a:pt x="284" y="120"/>
                  <a:pt x="284" y="120"/>
                </a:cubicBezTo>
                <a:cubicBezTo>
                  <a:pt x="218" y="173"/>
                  <a:pt x="218" y="173"/>
                  <a:pt x="218" y="173"/>
                </a:cubicBezTo>
                <a:cubicBezTo>
                  <a:pt x="266" y="280"/>
                  <a:pt x="266" y="280"/>
                  <a:pt x="266" y="280"/>
                </a:cubicBezTo>
                <a:cubicBezTo>
                  <a:pt x="249" y="297"/>
                  <a:pt x="234" y="315"/>
                  <a:pt x="220" y="334"/>
                </a:cubicBezTo>
                <a:cubicBezTo>
                  <a:pt x="106" y="305"/>
                  <a:pt x="106" y="305"/>
                  <a:pt x="106" y="305"/>
                </a:cubicBezTo>
                <a:cubicBezTo>
                  <a:pt x="65" y="379"/>
                  <a:pt x="65" y="379"/>
                  <a:pt x="65" y="379"/>
                </a:cubicBezTo>
                <a:cubicBezTo>
                  <a:pt x="149" y="460"/>
                  <a:pt x="149" y="460"/>
                  <a:pt x="149" y="460"/>
                </a:cubicBezTo>
                <a:cubicBezTo>
                  <a:pt x="139" y="484"/>
                  <a:pt x="131" y="509"/>
                  <a:pt x="125" y="535"/>
                </a:cubicBezTo>
                <a:cubicBezTo>
                  <a:pt x="9" y="551"/>
                  <a:pt x="9" y="551"/>
                  <a:pt x="9" y="551"/>
                </a:cubicBezTo>
                <a:cubicBezTo>
                  <a:pt x="0" y="636"/>
                  <a:pt x="0" y="636"/>
                  <a:pt x="0" y="636"/>
                </a:cubicBezTo>
                <a:cubicBezTo>
                  <a:pt x="109" y="678"/>
                  <a:pt x="109" y="678"/>
                  <a:pt x="109" y="678"/>
                </a:cubicBezTo>
                <a:cubicBezTo>
                  <a:pt x="110" y="701"/>
                  <a:pt x="111" y="725"/>
                  <a:pt x="115" y="749"/>
                </a:cubicBezTo>
                <a:cubicBezTo>
                  <a:pt x="12" y="809"/>
                  <a:pt x="12" y="809"/>
                  <a:pt x="12" y="809"/>
                </a:cubicBezTo>
                <a:cubicBezTo>
                  <a:pt x="35" y="890"/>
                  <a:pt x="35" y="890"/>
                  <a:pt x="35" y="890"/>
                </a:cubicBezTo>
                <a:cubicBezTo>
                  <a:pt x="154" y="887"/>
                  <a:pt x="154" y="887"/>
                  <a:pt x="154" y="887"/>
                </a:cubicBezTo>
                <a:cubicBezTo>
                  <a:pt x="164" y="912"/>
                  <a:pt x="177" y="935"/>
                  <a:pt x="190" y="957"/>
                </a:cubicBezTo>
                <a:cubicBezTo>
                  <a:pt x="120" y="1051"/>
                  <a:pt x="120" y="1051"/>
                  <a:pt x="120" y="1051"/>
                </a:cubicBezTo>
                <a:cubicBezTo>
                  <a:pt x="173" y="1117"/>
                  <a:pt x="173" y="1117"/>
                  <a:pt x="173" y="1117"/>
                </a:cubicBezTo>
                <a:cubicBezTo>
                  <a:pt x="280" y="1070"/>
                  <a:pt x="280" y="1070"/>
                  <a:pt x="280" y="1070"/>
                </a:cubicBezTo>
                <a:cubicBezTo>
                  <a:pt x="297" y="1086"/>
                  <a:pt x="315" y="1102"/>
                  <a:pt x="334" y="1116"/>
                </a:cubicBezTo>
                <a:cubicBezTo>
                  <a:pt x="305" y="1229"/>
                  <a:pt x="305" y="1229"/>
                  <a:pt x="305" y="1229"/>
                </a:cubicBezTo>
                <a:cubicBezTo>
                  <a:pt x="379" y="1270"/>
                  <a:pt x="379" y="1270"/>
                  <a:pt x="379" y="1270"/>
                </a:cubicBezTo>
                <a:cubicBezTo>
                  <a:pt x="460" y="1186"/>
                  <a:pt x="460" y="1186"/>
                  <a:pt x="460" y="1186"/>
                </a:cubicBezTo>
                <a:cubicBezTo>
                  <a:pt x="484" y="1196"/>
                  <a:pt x="509" y="1204"/>
                  <a:pt x="535" y="1210"/>
                </a:cubicBezTo>
                <a:cubicBezTo>
                  <a:pt x="551" y="1326"/>
                  <a:pt x="551" y="1326"/>
                  <a:pt x="551" y="1326"/>
                </a:cubicBezTo>
                <a:cubicBezTo>
                  <a:pt x="636" y="1335"/>
                  <a:pt x="636" y="1335"/>
                  <a:pt x="636" y="1335"/>
                </a:cubicBezTo>
                <a:cubicBezTo>
                  <a:pt x="678" y="1226"/>
                  <a:pt x="678" y="1226"/>
                  <a:pt x="678" y="1226"/>
                </a:cubicBezTo>
                <a:cubicBezTo>
                  <a:pt x="701" y="1226"/>
                  <a:pt x="725" y="1224"/>
                  <a:pt x="749" y="1220"/>
                </a:cubicBezTo>
                <a:cubicBezTo>
                  <a:pt x="808" y="1323"/>
                  <a:pt x="808" y="1323"/>
                  <a:pt x="808" y="1323"/>
                </a:cubicBezTo>
                <a:cubicBezTo>
                  <a:pt x="890" y="1299"/>
                  <a:pt x="890" y="1299"/>
                  <a:pt x="890" y="1299"/>
                </a:cubicBezTo>
                <a:cubicBezTo>
                  <a:pt x="887" y="1181"/>
                  <a:pt x="887" y="1181"/>
                  <a:pt x="887" y="1181"/>
                </a:cubicBezTo>
                <a:cubicBezTo>
                  <a:pt x="912" y="1171"/>
                  <a:pt x="935" y="1159"/>
                  <a:pt x="957" y="1145"/>
                </a:cubicBezTo>
                <a:cubicBezTo>
                  <a:pt x="1051" y="1215"/>
                  <a:pt x="1051" y="1215"/>
                  <a:pt x="1051" y="1215"/>
                </a:cubicBezTo>
                <a:cubicBezTo>
                  <a:pt x="1117" y="1162"/>
                  <a:pt x="1117" y="1162"/>
                  <a:pt x="1117" y="1162"/>
                </a:cubicBezTo>
                <a:cubicBezTo>
                  <a:pt x="1070" y="1055"/>
                  <a:pt x="1070" y="1055"/>
                  <a:pt x="1070" y="1055"/>
                </a:cubicBezTo>
                <a:cubicBezTo>
                  <a:pt x="1086" y="1038"/>
                  <a:pt x="1102" y="1020"/>
                  <a:pt x="1116" y="1001"/>
                </a:cubicBezTo>
                <a:cubicBezTo>
                  <a:pt x="1229" y="1031"/>
                  <a:pt x="1229" y="1031"/>
                  <a:pt x="1229" y="1031"/>
                </a:cubicBezTo>
                <a:cubicBezTo>
                  <a:pt x="1271" y="956"/>
                  <a:pt x="1271" y="956"/>
                  <a:pt x="1271" y="956"/>
                </a:cubicBezTo>
                <a:cubicBezTo>
                  <a:pt x="1186" y="875"/>
                  <a:pt x="1186" y="875"/>
                  <a:pt x="1186" y="875"/>
                </a:cubicBezTo>
                <a:cubicBezTo>
                  <a:pt x="1196" y="851"/>
                  <a:pt x="1204" y="826"/>
                  <a:pt x="1210" y="801"/>
                </a:cubicBezTo>
                <a:lnTo>
                  <a:pt x="1326" y="784"/>
                </a:lnTo>
                <a:close/>
                <a:moveTo>
                  <a:pt x="776" y="1050"/>
                </a:moveTo>
                <a:cubicBezTo>
                  <a:pt x="565" y="1109"/>
                  <a:pt x="345" y="986"/>
                  <a:pt x="286" y="775"/>
                </a:cubicBezTo>
                <a:cubicBezTo>
                  <a:pt x="226" y="564"/>
                  <a:pt x="349" y="345"/>
                  <a:pt x="560" y="286"/>
                </a:cubicBezTo>
                <a:cubicBezTo>
                  <a:pt x="771" y="226"/>
                  <a:pt x="990" y="349"/>
                  <a:pt x="1050" y="560"/>
                </a:cubicBezTo>
                <a:cubicBezTo>
                  <a:pt x="1109" y="771"/>
                  <a:pt x="987" y="990"/>
                  <a:pt x="776" y="105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299" tIns="45649" rIns="91299" bIns="45649" numCol="1" anchor="t" anchorCtr="0" compatLnSpc="1">
            <a:prstTxWarp prst="textNoShape">
              <a:avLst/>
            </a:prstTxWarp>
          </a:bodyPr>
          <a:lstStyle/>
          <a:p>
            <a:endParaRPr lang="id-ID" sz="1798" dirty="0"/>
          </a:p>
        </p:txBody>
      </p:sp>
      <p:sp>
        <p:nvSpPr>
          <p:cNvPr id="7" name="Freeform 241">
            <a:extLst>
              <a:ext uri="{FF2B5EF4-FFF2-40B4-BE49-F238E27FC236}">
                <a16:creationId xmlns:a16="http://schemas.microsoft.com/office/drawing/2014/main" id="{7B0E7654-42E6-7D8D-2311-EC99AAFC128F}"/>
              </a:ext>
            </a:extLst>
          </p:cNvPr>
          <p:cNvSpPr>
            <a:spLocks noEditPoints="1"/>
          </p:cNvSpPr>
          <p:nvPr/>
        </p:nvSpPr>
        <p:spPr bwMode="auto">
          <a:xfrm rot="1734430">
            <a:off x="3589444" y="1500930"/>
            <a:ext cx="2514110" cy="2514109"/>
          </a:xfrm>
          <a:custGeom>
            <a:avLst/>
            <a:gdLst>
              <a:gd name="T0" fmla="*/ 1335 w 1335"/>
              <a:gd name="T1" fmla="*/ 699 h 1335"/>
              <a:gd name="T2" fmla="*/ 1220 w 1335"/>
              <a:gd name="T3" fmla="*/ 586 h 1335"/>
              <a:gd name="T4" fmla="*/ 1300 w 1335"/>
              <a:gd name="T5" fmla="*/ 445 h 1335"/>
              <a:gd name="T6" fmla="*/ 1145 w 1335"/>
              <a:gd name="T7" fmla="*/ 378 h 1335"/>
              <a:gd name="T8" fmla="*/ 1162 w 1335"/>
              <a:gd name="T9" fmla="*/ 218 h 1335"/>
              <a:gd name="T10" fmla="*/ 1001 w 1335"/>
              <a:gd name="T11" fmla="*/ 219 h 1335"/>
              <a:gd name="T12" fmla="*/ 956 w 1335"/>
              <a:gd name="T13" fmla="*/ 65 h 1335"/>
              <a:gd name="T14" fmla="*/ 801 w 1335"/>
              <a:gd name="T15" fmla="*/ 125 h 1335"/>
              <a:gd name="T16" fmla="*/ 699 w 1335"/>
              <a:gd name="T17" fmla="*/ 0 h 1335"/>
              <a:gd name="T18" fmla="*/ 586 w 1335"/>
              <a:gd name="T19" fmla="*/ 115 h 1335"/>
              <a:gd name="T20" fmla="*/ 445 w 1335"/>
              <a:gd name="T21" fmla="*/ 35 h 1335"/>
              <a:gd name="T22" fmla="*/ 378 w 1335"/>
              <a:gd name="T23" fmla="*/ 190 h 1335"/>
              <a:gd name="T24" fmla="*/ 218 w 1335"/>
              <a:gd name="T25" fmla="*/ 173 h 1335"/>
              <a:gd name="T26" fmla="*/ 220 w 1335"/>
              <a:gd name="T27" fmla="*/ 334 h 1335"/>
              <a:gd name="T28" fmla="*/ 65 w 1335"/>
              <a:gd name="T29" fmla="*/ 379 h 1335"/>
              <a:gd name="T30" fmla="*/ 125 w 1335"/>
              <a:gd name="T31" fmla="*/ 535 h 1335"/>
              <a:gd name="T32" fmla="*/ 0 w 1335"/>
              <a:gd name="T33" fmla="*/ 636 h 1335"/>
              <a:gd name="T34" fmla="*/ 115 w 1335"/>
              <a:gd name="T35" fmla="*/ 749 h 1335"/>
              <a:gd name="T36" fmla="*/ 35 w 1335"/>
              <a:gd name="T37" fmla="*/ 890 h 1335"/>
              <a:gd name="T38" fmla="*/ 190 w 1335"/>
              <a:gd name="T39" fmla="*/ 957 h 1335"/>
              <a:gd name="T40" fmla="*/ 173 w 1335"/>
              <a:gd name="T41" fmla="*/ 1117 h 1335"/>
              <a:gd name="T42" fmla="*/ 334 w 1335"/>
              <a:gd name="T43" fmla="*/ 1116 h 1335"/>
              <a:gd name="T44" fmla="*/ 379 w 1335"/>
              <a:gd name="T45" fmla="*/ 1270 h 1335"/>
              <a:gd name="T46" fmla="*/ 535 w 1335"/>
              <a:gd name="T47" fmla="*/ 1210 h 1335"/>
              <a:gd name="T48" fmla="*/ 636 w 1335"/>
              <a:gd name="T49" fmla="*/ 1335 h 1335"/>
              <a:gd name="T50" fmla="*/ 749 w 1335"/>
              <a:gd name="T51" fmla="*/ 1220 h 1335"/>
              <a:gd name="T52" fmla="*/ 890 w 1335"/>
              <a:gd name="T53" fmla="*/ 1299 h 1335"/>
              <a:gd name="T54" fmla="*/ 957 w 1335"/>
              <a:gd name="T55" fmla="*/ 1145 h 1335"/>
              <a:gd name="T56" fmla="*/ 1117 w 1335"/>
              <a:gd name="T57" fmla="*/ 1162 h 1335"/>
              <a:gd name="T58" fmla="*/ 1116 w 1335"/>
              <a:gd name="T59" fmla="*/ 1001 h 1335"/>
              <a:gd name="T60" fmla="*/ 1271 w 1335"/>
              <a:gd name="T61" fmla="*/ 956 h 1335"/>
              <a:gd name="T62" fmla="*/ 1210 w 1335"/>
              <a:gd name="T63" fmla="*/ 801 h 1335"/>
              <a:gd name="T64" fmla="*/ 776 w 1335"/>
              <a:gd name="T65" fmla="*/ 1050 h 1335"/>
              <a:gd name="T66" fmla="*/ 560 w 1335"/>
              <a:gd name="T67" fmla="*/ 286 h 1335"/>
              <a:gd name="T68" fmla="*/ 776 w 1335"/>
              <a:gd name="T69" fmla="*/ 1050 h 13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335" h="1335">
                <a:moveTo>
                  <a:pt x="1326" y="784"/>
                </a:moveTo>
                <a:cubicBezTo>
                  <a:pt x="1335" y="699"/>
                  <a:pt x="1335" y="699"/>
                  <a:pt x="1335" y="699"/>
                </a:cubicBezTo>
                <a:cubicBezTo>
                  <a:pt x="1226" y="658"/>
                  <a:pt x="1226" y="658"/>
                  <a:pt x="1226" y="658"/>
                </a:cubicBezTo>
                <a:cubicBezTo>
                  <a:pt x="1226" y="634"/>
                  <a:pt x="1224" y="610"/>
                  <a:pt x="1220" y="586"/>
                </a:cubicBezTo>
                <a:cubicBezTo>
                  <a:pt x="1323" y="527"/>
                  <a:pt x="1323" y="527"/>
                  <a:pt x="1323" y="527"/>
                </a:cubicBezTo>
                <a:cubicBezTo>
                  <a:pt x="1300" y="445"/>
                  <a:pt x="1300" y="445"/>
                  <a:pt x="1300" y="445"/>
                </a:cubicBezTo>
                <a:cubicBezTo>
                  <a:pt x="1181" y="448"/>
                  <a:pt x="1181" y="448"/>
                  <a:pt x="1181" y="448"/>
                </a:cubicBezTo>
                <a:cubicBezTo>
                  <a:pt x="1171" y="424"/>
                  <a:pt x="1159" y="400"/>
                  <a:pt x="1145" y="378"/>
                </a:cubicBezTo>
                <a:cubicBezTo>
                  <a:pt x="1215" y="284"/>
                  <a:pt x="1215" y="284"/>
                  <a:pt x="1215" y="284"/>
                </a:cubicBezTo>
                <a:cubicBezTo>
                  <a:pt x="1162" y="218"/>
                  <a:pt x="1162" y="218"/>
                  <a:pt x="1162" y="218"/>
                </a:cubicBezTo>
                <a:cubicBezTo>
                  <a:pt x="1055" y="266"/>
                  <a:pt x="1055" y="266"/>
                  <a:pt x="1055" y="266"/>
                </a:cubicBezTo>
                <a:cubicBezTo>
                  <a:pt x="1038" y="249"/>
                  <a:pt x="1020" y="234"/>
                  <a:pt x="1001" y="219"/>
                </a:cubicBezTo>
                <a:cubicBezTo>
                  <a:pt x="1031" y="106"/>
                  <a:pt x="1031" y="106"/>
                  <a:pt x="1031" y="106"/>
                </a:cubicBezTo>
                <a:cubicBezTo>
                  <a:pt x="956" y="65"/>
                  <a:pt x="956" y="65"/>
                  <a:pt x="956" y="65"/>
                </a:cubicBezTo>
                <a:cubicBezTo>
                  <a:pt x="875" y="149"/>
                  <a:pt x="875" y="149"/>
                  <a:pt x="875" y="149"/>
                </a:cubicBezTo>
                <a:cubicBezTo>
                  <a:pt x="851" y="139"/>
                  <a:pt x="826" y="131"/>
                  <a:pt x="801" y="125"/>
                </a:cubicBezTo>
                <a:cubicBezTo>
                  <a:pt x="784" y="9"/>
                  <a:pt x="784" y="9"/>
                  <a:pt x="784" y="9"/>
                </a:cubicBezTo>
                <a:cubicBezTo>
                  <a:pt x="699" y="0"/>
                  <a:pt x="699" y="0"/>
                  <a:pt x="699" y="0"/>
                </a:cubicBezTo>
                <a:cubicBezTo>
                  <a:pt x="658" y="109"/>
                  <a:pt x="658" y="109"/>
                  <a:pt x="658" y="109"/>
                </a:cubicBezTo>
                <a:cubicBezTo>
                  <a:pt x="634" y="109"/>
                  <a:pt x="610" y="111"/>
                  <a:pt x="586" y="115"/>
                </a:cubicBezTo>
                <a:cubicBezTo>
                  <a:pt x="527" y="12"/>
                  <a:pt x="527" y="12"/>
                  <a:pt x="527" y="12"/>
                </a:cubicBezTo>
                <a:cubicBezTo>
                  <a:pt x="445" y="35"/>
                  <a:pt x="445" y="35"/>
                  <a:pt x="445" y="35"/>
                </a:cubicBezTo>
                <a:cubicBezTo>
                  <a:pt x="448" y="154"/>
                  <a:pt x="448" y="154"/>
                  <a:pt x="448" y="154"/>
                </a:cubicBezTo>
                <a:cubicBezTo>
                  <a:pt x="424" y="164"/>
                  <a:pt x="400" y="176"/>
                  <a:pt x="378" y="190"/>
                </a:cubicBezTo>
                <a:cubicBezTo>
                  <a:pt x="284" y="120"/>
                  <a:pt x="284" y="120"/>
                  <a:pt x="284" y="120"/>
                </a:cubicBezTo>
                <a:cubicBezTo>
                  <a:pt x="218" y="173"/>
                  <a:pt x="218" y="173"/>
                  <a:pt x="218" y="173"/>
                </a:cubicBezTo>
                <a:cubicBezTo>
                  <a:pt x="266" y="280"/>
                  <a:pt x="266" y="280"/>
                  <a:pt x="266" y="280"/>
                </a:cubicBezTo>
                <a:cubicBezTo>
                  <a:pt x="249" y="297"/>
                  <a:pt x="234" y="315"/>
                  <a:pt x="220" y="334"/>
                </a:cubicBezTo>
                <a:cubicBezTo>
                  <a:pt x="106" y="305"/>
                  <a:pt x="106" y="305"/>
                  <a:pt x="106" y="305"/>
                </a:cubicBezTo>
                <a:cubicBezTo>
                  <a:pt x="65" y="379"/>
                  <a:pt x="65" y="379"/>
                  <a:pt x="65" y="379"/>
                </a:cubicBezTo>
                <a:cubicBezTo>
                  <a:pt x="149" y="460"/>
                  <a:pt x="149" y="460"/>
                  <a:pt x="149" y="460"/>
                </a:cubicBezTo>
                <a:cubicBezTo>
                  <a:pt x="139" y="484"/>
                  <a:pt x="131" y="509"/>
                  <a:pt x="125" y="535"/>
                </a:cubicBezTo>
                <a:cubicBezTo>
                  <a:pt x="9" y="551"/>
                  <a:pt x="9" y="551"/>
                  <a:pt x="9" y="551"/>
                </a:cubicBezTo>
                <a:cubicBezTo>
                  <a:pt x="0" y="636"/>
                  <a:pt x="0" y="636"/>
                  <a:pt x="0" y="636"/>
                </a:cubicBezTo>
                <a:cubicBezTo>
                  <a:pt x="109" y="678"/>
                  <a:pt x="109" y="678"/>
                  <a:pt x="109" y="678"/>
                </a:cubicBezTo>
                <a:cubicBezTo>
                  <a:pt x="110" y="701"/>
                  <a:pt x="111" y="725"/>
                  <a:pt x="115" y="749"/>
                </a:cubicBezTo>
                <a:cubicBezTo>
                  <a:pt x="12" y="809"/>
                  <a:pt x="12" y="809"/>
                  <a:pt x="12" y="809"/>
                </a:cubicBezTo>
                <a:cubicBezTo>
                  <a:pt x="35" y="890"/>
                  <a:pt x="35" y="890"/>
                  <a:pt x="35" y="890"/>
                </a:cubicBezTo>
                <a:cubicBezTo>
                  <a:pt x="154" y="887"/>
                  <a:pt x="154" y="887"/>
                  <a:pt x="154" y="887"/>
                </a:cubicBezTo>
                <a:cubicBezTo>
                  <a:pt x="164" y="912"/>
                  <a:pt x="177" y="935"/>
                  <a:pt x="190" y="957"/>
                </a:cubicBezTo>
                <a:cubicBezTo>
                  <a:pt x="120" y="1051"/>
                  <a:pt x="120" y="1051"/>
                  <a:pt x="120" y="1051"/>
                </a:cubicBezTo>
                <a:cubicBezTo>
                  <a:pt x="173" y="1117"/>
                  <a:pt x="173" y="1117"/>
                  <a:pt x="173" y="1117"/>
                </a:cubicBezTo>
                <a:cubicBezTo>
                  <a:pt x="280" y="1070"/>
                  <a:pt x="280" y="1070"/>
                  <a:pt x="280" y="1070"/>
                </a:cubicBezTo>
                <a:cubicBezTo>
                  <a:pt x="297" y="1086"/>
                  <a:pt x="315" y="1102"/>
                  <a:pt x="334" y="1116"/>
                </a:cubicBezTo>
                <a:cubicBezTo>
                  <a:pt x="305" y="1229"/>
                  <a:pt x="305" y="1229"/>
                  <a:pt x="305" y="1229"/>
                </a:cubicBezTo>
                <a:cubicBezTo>
                  <a:pt x="379" y="1270"/>
                  <a:pt x="379" y="1270"/>
                  <a:pt x="379" y="1270"/>
                </a:cubicBezTo>
                <a:cubicBezTo>
                  <a:pt x="460" y="1186"/>
                  <a:pt x="460" y="1186"/>
                  <a:pt x="460" y="1186"/>
                </a:cubicBezTo>
                <a:cubicBezTo>
                  <a:pt x="484" y="1196"/>
                  <a:pt x="509" y="1204"/>
                  <a:pt x="535" y="1210"/>
                </a:cubicBezTo>
                <a:cubicBezTo>
                  <a:pt x="551" y="1326"/>
                  <a:pt x="551" y="1326"/>
                  <a:pt x="551" y="1326"/>
                </a:cubicBezTo>
                <a:cubicBezTo>
                  <a:pt x="636" y="1335"/>
                  <a:pt x="636" y="1335"/>
                  <a:pt x="636" y="1335"/>
                </a:cubicBezTo>
                <a:cubicBezTo>
                  <a:pt x="678" y="1226"/>
                  <a:pt x="678" y="1226"/>
                  <a:pt x="678" y="1226"/>
                </a:cubicBezTo>
                <a:cubicBezTo>
                  <a:pt x="701" y="1226"/>
                  <a:pt x="725" y="1224"/>
                  <a:pt x="749" y="1220"/>
                </a:cubicBezTo>
                <a:cubicBezTo>
                  <a:pt x="808" y="1323"/>
                  <a:pt x="808" y="1323"/>
                  <a:pt x="808" y="1323"/>
                </a:cubicBezTo>
                <a:cubicBezTo>
                  <a:pt x="890" y="1299"/>
                  <a:pt x="890" y="1299"/>
                  <a:pt x="890" y="1299"/>
                </a:cubicBezTo>
                <a:cubicBezTo>
                  <a:pt x="887" y="1181"/>
                  <a:pt x="887" y="1181"/>
                  <a:pt x="887" y="1181"/>
                </a:cubicBezTo>
                <a:cubicBezTo>
                  <a:pt x="912" y="1171"/>
                  <a:pt x="935" y="1159"/>
                  <a:pt x="957" y="1145"/>
                </a:cubicBezTo>
                <a:cubicBezTo>
                  <a:pt x="1051" y="1215"/>
                  <a:pt x="1051" y="1215"/>
                  <a:pt x="1051" y="1215"/>
                </a:cubicBezTo>
                <a:cubicBezTo>
                  <a:pt x="1117" y="1162"/>
                  <a:pt x="1117" y="1162"/>
                  <a:pt x="1117" y="1162"/>
                </a:cubicBezTo>
                <a:cubicBezTo>
                  <a:pt x="1070" y="1055"/>
                  <a:pt x="1070" y="1055"/>
                  <a:pt x="1070" y="1055"/>
                </a:cubicBezTo>
                <a:cubicBezTo>
                  <a:pt x="1086" y="1038"/>
                  <a:pt x="1102" y="1020"/>
                  <a:pt x="1116" y="1001"/>
                </a:cubicBezTo>
                <a:cubicBezTo>
                  <a:pt x="1229" y="1031"/>
                  <a:pt x="1229" y="1031"/>
                  <a:pt x="1229" y="1031"/>
                </a:cubicBezTo>
                <a:cubicBezTo>
                  <a:pt x="1271" y="956"/>
                  <a:pt x="1271" y="956"/>
                  <a:pt x="1271" y="956"/>
                </a:cubicBezTo>
                <a:cubicBezTo>
                  <a:pt x="1186" y="875"/>
                  <a:pt x="1186" y="875"/>
                  <a:pt x="1186" y="875"/>
                </a:cubicBezTo>
                <a:cubicBezTo>
                  <a:pt x="1196" y="851"/>
                  <a:pt x="1204" y="826"/>
                  <a:pt x="1210" y="801"/>
                </a:cubicBezTo>
                <a:lnTo>
                  <a:pt x="1326" y="784"/>
                </a:lnTo>
                <a:close/>
                <a:moveTo>
                  <a:pt x="776" y="1050"/>
                </a:moveTo>
                <a:cubicBezTo>
                  <a:pt x="565" y="1109"/>
                  <a:pt x="345" y="986"/>
                  <a:pt x="286" y="775"/>
                </a:cubicBezTo>
                <a:cubicBezTo>
                  <a:pt x="226" y="564"/>
                  <a:pt x="349" y="345"/>
                  <a:pt x="560" y="286"/>
                </a:cubicBezTo>
                <a:cubicBezTo>
                  <a:pt x="771" y="226"/>
                  <a:pt x="990" y="349"/>
                  <a:pt x="1050" y="560"/>
                </a:cubicBezTo>
                <a:cubicBezTo>
                  <a:pt x="1109" y="771"/>
                  <a:pt x="987" y="990"/>
                  <a:pt x="776" y="105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299" tIns="45649" rIns="91299" bIns="45649" numCol="1" anchor="t" anchorCtr="0" compatLnSpc="1">
            <a:prstTxWarp prst="textNoShape">
              <a:avLst/>
            </a:prstTxWarp>
          </a:bodyPr>
          <a:lstStyle/>
          <a:p>
            <a:endParaRPr lang="id-ID" sz="1798"/>
          </a:p>
        </p:txBody>
      </p:sp>
      <p:sp>
        <p:nvSpPr>
          <p:cNvPr id="8" name="Freeform 241">
            <a:extLst>
              <a:ext uri="{FF2B5EF4-FFF2-40B4-BE49-F238E27FC236}">
                <a16:creationId xmlns:a16="http://schemas.microsoft.com/office/drawing/2014/main" id="{56FB98AF-1D08-1DC0-3908-D558F1469811}"/>
              </a:ext>
            </a:extLst>
          </p:cNvPr>
          <p:cNvSpPr>
            <a:spLocks noEditPoints="1"/>
          </p:cNvSpPr>
          <p:nvPr/>
        </p:nvSpPr>
        <p:spPr bwMode="auto">
          <a:xfrm rot="779672">
            <a:off x="6078756" y="1500930"/>
            <a:ext cx="2514110" cy="2514109"/>
          </a:xfrm>
          <a:custGeom>
            <a:avLst/>
            <a:gdLst>
              <a:gd name="T0" fmla="*/ 1335 w 1335"/>
              <a:gd name="T1" fmla="*/ 699 h 1335"/>
              <a:gd name="T2" fmla="*/ 1220 w 1335"/>
              <a:gd name="T3" fmla="*/ 586 h 1335"/>
              <a:gd name="T4" fmla="*/ 1300 w 1335"/>
              <a:gd name="T5" fmla="*/ 445 h 1335"/>
              <a:gd name="T6" fmla="*/ 1145 w 1335"/>
              <a:gd name="T7" fmla="*/ 378 h 1335"/>
              <a:gd name="T8" fmla="*/ 1162 w 1335"/>
              <a:gd name="T9" fmla="*/ 218 h 1335"/>
              <a:gd name="T10" fmla="*/ 1001 w 1335"/>
              <a:gd name="T11" fmla="*/ 219 h 1335"/>
              <a:gd name="T12" fmla="*/ 956 w 1335"/>
              <a:gd name="T13" fmla="*/ 65 h 1335"/>
              <a:gd name="T14" fmla="*/ 801 w 1335"/>
              <a:gd name="T15" fmla="*/ 125 h 1335"/>
              <a:gd name="T16" fmla="*/ 699 w 1335"/>
              <a:gd name="T17" fmla="*/ 0 h 1335"/>
              <a:gd name="T18" fmla="*/ 586 w 1335"/>
              <a:gd name="T19" fmla="*/ 115 h 1335"/>
              <a:gd name="T20" fmla="*/ 445 w 1335"/>
              <a:gd name="T21" fmla="*/ 35 h 1335"/>
              <a:gd name="T22" fmla="*/ 378 w 1335"/>
              <a:gd name="T23" fmla="*/ 190 h 1335"/>
              <a:gd name="T24" fmla="*/ 218 w 1335"/>
              <a:gd name="T25" fmla="*/ 173 h 1335"/>
              <a:gd name="T26" fmla="*/ 220 w 1335"/>
              <a:gd name="T27" fmla="*/ 334 h 1335"/>
              <a:gd name="T28" fmla="*/ 65 w 1335"/>
              <a:gd name="T29" fmla="*/ 379 h 1335"/>
              <a:gd name="T30" fmla="*/ 125 w 1335"/>
              <a:gd name="T31" fmla="*/ 535 h 1335"/>
              <a:gd name="T32" fmla="*/ 0 w 1335"/>
              <a:gd name="T33" fmla="*/ 636 h 1335"/>
              <a:gd name="T34" fmla="*/ 115 w 1335"/>
              <a:gd name="T35" fmla="*/ 749 h 1335"/>
              <a:gd name="T36" fmla="*/ 35 w 1335"/>
              <a:gd name="T37" fmla="*/ 890 h 1335"/>
              <a:gd name="T38" fmla="*/ 190 w 1335"/>
              <a:gd name="T39" fmla="*/ 957 h 1335"/>
              <a:gd name="T40" fmla="*/ 173 w 1335"/>
              <a:gd name="T41" fmla="*/ 1117 h 1335"/>
              <a:gd name="T42" fmla="*/ 334 w 1335"/>
              <a:gd name="T43" fmla="*/ 1116 h 1335"/>
              <a:gd name="T44" fmla="*/ 379 w 1335"/>
              <a:gd name="T45" fmla="*/ 1270 h 1335"/>
              <a:gd name="T46" fmla="*/ 535 w 1335"/>
              <a:gd name="T47" fmla="*/ 1210 h 1335"/>
              <a:gd name="T48" fmla="*/ 636 w 1335"/>
              <a:gd name="T49" fmla="*/ 1335 h 1335"/>
              <a:gd name="T50" fmla="*/ 749 w 1335"/>
              <a:gd name="T51" fmla="*/ 1220 h 1335"/>
              <a:gd name="T52" fmla="*/ 890 w 1335"/>
              <a:gd name="T53" fmla="*/ 1299 h 1335"/>
              <a:gd name="T54" fmla="*/ 957 w 1335"/>
              <a:gd name="T55" fmla="*/ 1145 h 1335"/>
              <a:gd name="T56" fmla="*/ 1117 w 1335"/>
              <a:gd name="T57" fmla="*/ 1162 h 1335"/>
              <a:gd name="T58" fmla="*/ 1116 w 1335"/>
              <a:gd name="T59" fmla="*/ 1001 h 1335"/>
              <a:gd name="T60" fmla="*/ 1271 w 1335"/>
              <a:gd name="T61" fmla="*/ 956 h 1335"/>
              <a:gd name="T62" fmla="*/ 1210 w 1335"/>
              <a:gd name="T63" fmla="*/ 801 h 1335"/>
              <a:gd name="T64" fmla="*/ 776 w 1335"/>
              <a:gd name="T65" fmla="*/ 1050 h 1335"/>
              <a:gd name="T66" fmla="*/ 560 w 1335"/>
              <a:gd name="T67" fmla="*/ 286 h 1335"/>
              <a:gd name="T68" fmla="*/ 776 w 1335"/>
              <a:gd name="T69" fmla="*/ 1050 h 13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335" h="1335">
                <a:moveTo>
                  <a:pt x="1326" y="784"/>
                </a:moveTo>
                <a:cubicBezTo>
                  <a:pt x="1335" y="699"/>
                  <a:pt x="1335" y="699"/>
                  <a:pt x="1335" y="699"/>
                </a:cubicBezTo>
                <a:cubicBezTo>
                  <a:pt x="1226" y="658"/>
                  <a:pt x="1226" y="658"/>
                  <a:pt x="1226" y="658"/>
                </a:cubicBezTo>
                <a:cubicBezTo>
                  <a:pt x="1226" y="634"/>
                  <a:pt x="1224" y="610"/>
                  <a:pt x="1220" y="586"/>
                </a:cubicBezTo>
                <a:cubicBezTo>
                  <a:pt x="1323" y="527"/>
                  <a:pt x="1323" y="527"/>
                  <a:pt x="1323" y="527"/>
                </a:cubicBezTo>
                <a:cubicBezTo>
                  <a:pt x="1300" y="445"/>
                  <a:pt x="1300" y="445"/>
                  <a:pt x="1300" y="445"/>
                </a:cubicBezTo>
                <a:cubicBezTo>
                  <a:pt x="1181" y="448"/>
                  <a:pt x="1181" y="448"/>
                  <a:pt x="1181" y="448"/>
                </a:cubicBezTo>
                <a:cubicBezTo>
                  <a:pt x="1171" y="424"/>
                  <a:pt x="1159" y="400"/>
                  <a:pt x="1145" y="378"/>
                </a:cubicBezTo>
                <a:cubicBezTo>
                  <a:pt x="1215" y="284"/>
                  <a:pt x="1215" y="284"/>
                  <a:pt x="1215" y="284"/>
                </a:cubicBezTo>
                <a:cubicBezTo>
                  <a:pt x="1162" y="218"/>
                  <a:pt x="1162" y="218"/>
                  <a:pt x="1162" y="218"/>
                </a:cubicBezTo>
                <a:cubicBezTo>
                  <a:pt x="1055" y="266"/>
                  <a:pt x="1055" y="266"/>
                  <a:pt x="1055" y="266"/>
                </a:cubicBezTo>
                <a:cubicBezTo>
                  <a:pt x="1038" y="249"/>
                  <a:pt x="1020" y="234"/>
                  <a:pt x="1001" y="219"/>
                </a:cubicBezTo>
                <a:cubicBezTo>
                  <a:pt x="1031" y="106"/>
                  <a:pt x="1031" y="106"/>
                  <a:pt x="1031" y="106"/>
                </a:cubicBezTo>
                <a:cubicBezTo>
                  <a:pt x="956" y="65"/>
                  <a:pt x="956" y="65"/>
                  <a:pt x="956" y="65"/>
                </a:cubicBezTo>
                <a:cubicBezTo>
                  <a:pt x="875" y="149"/>
                  <a:pt x="875" y="149"/>
                  <a:pt x="875" y="149"/>
                </a:cubicBezTo>
                <a:cubicBezTo>
                  <a:pt x="851" y="139"/>
                  <a:pt x="826" y="131"/>
                  <a:pt x="801" y="125"/>
                </a:cubicBezTo>
                <a:cubicBezTo>
                  <a:pt x="784" y="9"/>
                  <a:pt x="784" y="9"/>
                  <a:pt x="784" y="9"/>
                </a:cubicBezTo>
                <a:cubicBezTo>
                  <a:pt x="699" y="0"/>
                  <a:pt x="699" y="0"/>
                  <a:pt x="699" y="0"/>
                </a:cubicBezTo>
                <a:cubicBezTo>
                  <a:pt x="658" y="109"/>
                  <a:pt x="658" y="109"/>
                  <a:pt x="658" y="109"/>
                </a:cubicBezTo>
                <a:cubicBezTo>
                  <a:pt x="634" y="109"/>
                  <a:pt x="610" y="111"/>
                  <a:pt x="586" y="115"/>
                </a:cubicBezTo>
                <a:cubicBezTo>
                  <a:pt x="527" y="12"/>
                  <a:pt x="527" y="12"/>
                  <a:pt x="527" y="12"/>
                </a:cubicBezTo>
                <a:cubicBezTo>
                  <a:pt x="445" y="35"/>
                  <a:pt x="445" y="35"/>
                  <a:pt x="445" y="35"/>
                </a:cubicBezTo>
                <a:cubicBezTo>
                  <a:pt x="448" y="154"/>
                  <a:pt x="448" y="154"/>
                  <a:pt x="448" y="154"/>
                </a:cubicBezTo>
                <a:cubicBezTo>
                  <a:pt x="424" y="164"/>
                  <a:pt x="400" y="176"/>
                  <a:pt x="378" y="190"/>
                </a:cubicBezTo>
                <a:cubicBezTo>
                  <a:pt x="284" y="120"/>
                  <a:pt x="284" y="120"/>
                  <a:pt x="284" y="120"/>
                </a:cubicBezTo>
                <a:cubicBezTo>
                  <a:pt x="218" y="173"/>
                  <a:pt x="218" y="173"/>
                  <a:pt x="218" y="173"/>
                </a:cubicBezTo>
                <a:cubicBezTo>
                  <a:pt x="266" y="280"/>
                  <a:pt x="266" y="280"/>
                  <a:pt x="266" y="280"/>
                </a:cubicBezTo>
                <a:cubicBezTo>
                  <a:pt x="249" y="297"/>
                  <a:pt x="234" y="315"/>
                  <a:pt x="220" y="334"/>
                </a:cubicBezTo>
                <a:cubicBezTo>
                  <a:pt x="106" y="305"/>
                  <a:pt x="106" y="305"/>
                  <a:pt x="106" y="305"/>
                </a:cubicBezTo>
                <a:cubicBezTo>
                  <a:pt x="65" y="379"/>
                  <a:pt x="65" y="379"/>
                  <a:pt x="65" y="379"/>
                </a:cubicBezTo>
                <a:cubicBezTo>
                  <a:pt x="149" y="460"/>
                  <a:pt x="149" y="460"/>
                  <a:pt x="149" y="460"/>
                </a:cubicBezTo>
                <a:cubicBezTo>
                  <a:pt x="139" y="484"/>
                  <a:pt x="131" y="509"/>
                  <a:pt x="125" y="535"/>
                </a:cubicBezTo>
                <a:cubicBezTo>
                  <a:pt x="9" y="551"/>
                  <a:pt x="9" y="551"/>
                  <a:pt x="9" y="551"/>
                </a:cubicBezTo>
                <a:cubicBezTo>
                  <a:pt x="0" y="636"/>
                  <a:pt x="0" y="636"/>
                  <a:pt x="0" y="636"/>
                </a:cubicBezTo>
                <a:cubicBezTo>
                  <a:pt x="109" y="678"/>
                  <a:pt x="109" y="678"/>
                  <a:pt x="109" y="678"/>
                </a:cubicBezTo>
                <a:cubicBezTo>
                  <a:pt x="110" y="701"/>
                  <a:pt x="111" y="725"/>
                  <a:pt x="115" y="749"/>
                </a:cubicBezTo>
                <a:cubicBezTo>
                  <a:pt x="12" y="809"/>
                  <a:pt x="12" y="809"/>
                  <a:pt x="12" y="809"/>
                </a:cubicBezTo>
                <a:cubicBezTo>
                  <a:pt x="35" y="890"/>
                  <a:pt x="35" y="890"/>
                  <a:pt x="35" y="890"/>
                </a:cubicBezTo>
                <a:cubicBezTo>
                  <a:pt x="154" y="887"/>
                  <a:pt x="154" y="887"/>
                  <a:pt x="154" y="887"/>
                </a:cubicBezTo>
                <a:cubicBezTo>
                  <a:pt x="164" y="912"/>
                  <a:pt x="177" y="935"/>
                  <a:pt x="190" y="957"/>
                </a:cubicBezTo>
                <a:cubicBezTo>
                  <a:pt x="120" y="1051"/>
                  <a:pt x="120" y="1051"/>
                  <a:pt x="120" y="1051"/>
                </a:cubicBezTo>
                <a:cubicBezTo>
                  <a:pt x="173" y="1117"/>
                  <a:pt x="173" y="1117"/>
                  <a:pt x="173" y="1117"/>
                </a:cubicBezTo>
                <a:cubicBezTo>
                  <a:pt x="280" y="1070"/>
                  <a:pt x="280" y="1070"/>
                  <a:pt x="280" y="1070"/>
                </a:cubicBezTo>
                <a:cubicBezTo>
                  <a:pt x="297" y="1086"/>
                  <a:pt x="315" y="1102"/>
                  <a:pt x="334" y="1116"/>
                </a:cubicBezTo>
                <a:cubicBezTo>
                  <a:pt x="305" y="1229"/>
                  <a:pt x="305" y="1229"/>
                  <a:pt x="305" y="1229"/>
                </a:cubicBezTo>
                <a:cubicBezTo>
                  <a:pt x="379" y="1270"/>
                  <a:pt x="379" y="1270"/>
                  <a:pt x="379" y="1270"/>
                </a:cubicBezTo>
                <a:cubicBezTo>
                  <a:pt x="460" y="1186"/>
                  <a:pt x="460" y="1186"/>
                  <a:pt x="460" y="1186"/>
                </a:cubicBezTo>
                <a:cubicBezTo>
                  <a:pt x="484" y="1196"/>
                  <a:pt x="509" y="1204"/>
                  <a:pt x="535" y="1210"/>
                </a:cubicBezTo>
                <a:cubicBezTo>
                  <a:pt x="551" y="1326"/>
                  <a:pt x="551" y="1326"/>
                  <a:pt x="551" y="1326"/>
                </a:cubicBezTo>
                <a:cubicBezTo>
                  <a:pt x="636" y="1335"/>
                  <a:pt x="636" y="1335"/>
                  <a:pt x="636" y="1335"/>
                </a:cubicBezTo>
                <a:cubicBezTo>
                  <a:pt x="678" y="1226"/>
                  <a:pt x="678" y="1226"/>
                  <a:pt x="678" y="1226"/>
                </a:cubicBezTo>
                <a:cubicBezTo>
                  <a:pt x="701" y="1226"/>
                  <a:pt x="725" y="1224"/>
                  <a:pt x="749" y="1220"/>
                </a:cubicBezTo>
                <a:cubicBezTo>
                  <a:pt x="808" y="1323"/>
                  <a:pt x="808" y="1323"/>
                  <a:pt x="808" y="1323"/>
                </a:cubicBezTo>
                <a:cubicBezTo>
                  <a:pt x="890" y="1299"/>
                  <a:pt x="890" y="1299"/>
                  <a:pt x="890" y="1299"/>
                </a:cubicBezTo>
                <a:cubicBezTo>
                  <a:pt x="887" y="1181"/>
                  <a:pt x="887" y="1181"/>
                  <a:pt x="887" y="1181"/>
                </a:cubicBezTo>
                <a:cubicBezTo>
                  <a:pt x="912" y="1171"/>
                  <a:pt x="935" y="1159"/>
                  <a:pt x="957" y="1145"/>
                </a:cubicBezTo>
                <a:cubicBezTo>
                  <a:pt x="1051" y="1215"/>
                  <a:pt x="1051" y="1215"/>
                  <a:pt x="1051" y="1215"/>
                </a:cubicBezTo>
                <a:cubicBezTo>
                  <a:pt x="1117" y="1162"/>
                  <a:pt x="1117" y="1162"/>
                  <a:pt x="1117" y="1162"/>
                </a:cubicBezTo>
                <a:cubicBezTo>
                  <a:pt x="1070" y="1055"/>
                  <a:pt x="1070" y="1055"/>
                  <a:pt x="1070" y="1055"/>
                </a:cubicBezTo>
                <a:cubicBezTo>
                  <a:pt x="1086" y="1038"/>
                  <a:pt x="1102" y="1020"/>
                  <a:pt x="1116" y="1001"/>
                </a:cubicBezTo>
                <a:cubicBezTo>
                  <a:pt x="1229" y="1031"/>
                  <a:pt x="1229" y="1031"/>
                  <a:pt x="1229" y="1031"/>
                </a:cubicBezTo>
                <a:cubicBezTo>
                  <a:pt x="1271" y="956"/>
                  <a:pt x="1271" y="956"/>
                  <a:pt x="1271" y="956"/>
                </a:cubicBezTo>
                <a:cubicBezTo>
                  <a:pt x="1186" y="875"/>
                  <a:pt x="1186" y="875"/>
                  <a:pt x="1186" y="875"/>
                </a:cubicBezTo>
                <a:cubicBezTo>
                  <a:pt x="1196" y="851"/>
                  <a:pt x="1204" y="826"/>
                  <a:pt x="1210" y="801"/>
                </a:cubicBezTo>
                <a:lnTo>
                  <a:pt x="1326" y="784"/>
                </a:lnTo>
                <a:close/>
                <a:moveTo>
                  <a:pt x="776" y="1050"/>
                </a:moveTo>
                <a:cubicBezTo>
                  <a:pt x="565" y="1109"/>
                  <a:pt x="345" y="986"/>
                  <a:pt x="286" y="775"/>
                </a:cubicBezTo>
                <a:cubicBezTo>
                  <a:pt x="226" y="564"/>
                  <a:pt x="349" y="345"/>
                  <a:pt x="560" y="286"/>
                </a:cubicBezTo>
                <a:cubicBezTo>
                  <a:pt x="771" y="226"/>
                  <a:pt x="990" y="349"/>
                  <a:pt x="1050" y="560"/>
                </a:cubicBezTo>
                <a:cubicBezTo>
                  <a:pt x="1109" y="771"/>
                  <a:pt x="987" y="990"/>
                  <a:pt x="776" y="105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299" tIns="45649" rIns="91299" bIns="45649" numCol="1" anchor="t" anchorCtr="0" compatLnSpc="1">
            <a:prstTxWarp prst="textNoShape">
              <a:avLst/>
            </a:prstTxWarp>
          </a:bodyPr>
          <a:lstStyle/>
          <a:p>
            <a:endParaRPr lang="id-ID" sz="1798"/>
          </a:p>
        </p:txBody>
      </p:sp>
      <p:sp>
        <p:nvSpPr>
          <p:cNvPr id="9" name="Freeform 241">
            <a:extLst>
              <a:ext uri="{FF2B5EF4-FFF2-40B4-BE49-F238E27FC236}">
                <a16:creationId xmlns:a16="http://schemas.microsoft.com/office/drawing/2014/main" id="{8393FDB5-32B3-2A6F-1764-B0F2D0CCE9AE}"/>
              </a:ext>
            </a:extLst>
          </p:cNvPr>
          <p:cNvSpPr>
            <a:spLocks noEditPoints="1"/>
          </p:cNvSpPr>
          <p:nvPr/>
        </p:nvSpPr>
        <p:spPr bwMode="auto">
          <a:xfrm rot="1734430">
            <a:off x="8568068" y="1500930"/>
            <a:ext cx="2514110" cy="2514109"/>
          </a:xfrm>
          <a:custGeom>
            <a:avLst/>
            <a:gdLst>
              <a:gd name="T0" fmla="*/ 1335 w 1335"/>
              <a:gd name="T1" fmla="*/ 699 h 1335"/>
              <a:gd name="T2" fmla="*/ 1220 w 1335"/>
              <a:gd name="T3" fmla="*/ 586 h 1335"/>
              <a:gd name="T4" fmla="*/ 1300 w 1335"/>
              <a:gd name="T5" fmla="*/ 445 h 1335"/>
              <a:gd name="T6" fmla="*/ 1145 w 1335"/>
              <a:gd name="T7" fmla="*/ 378 h 1335"/>
              <a:gd name="T8" fmla="*/ 1162 w 1335"/>
              <a:gd name="T9" fmla="*/ 218 h 1335"/>
              <a:gd name="T10" fmla="*/ 1001 w 1335"/>
              <a:gd name="T11" fmla="*/ 219 h 1335"/>
              <a:gd name="T12" fmla="*/ 956 w 1335"/>
              <a:gd name="T13" fmla="*/ 65 h 1335"/>
              <a:gd name="T14" fmla="*/ 801 w 1335"/>
              <a:gd name="T15" fmla="*/ 125 h 1335"/>
              <a:gd name="T16" fmla="*/ 699 w 1335"/>
              <a:gd name="T17" fmla="*/ 0 h 1335"/>
              <a:gd name="T18" fmla="*/ 586 w 1335"/>
              <a:gd name="T19" fmla="*/ 115 h 1335"/>
              <a:gd name="T20" fmla="*/ 445 w 1335"/>
              <a:gd name="T21" fmla="*/ 35 h 1335"/>
              <a:gd name="T22" fmla="*/ 378 w 1335"/>
              <a:gd name="T23" fmla="*/ 190 h 1335"/>
              <a:gd name="T24" fmla="*/ 218 w 1335"/>
              <a:gd name="T25" fmla="*/ 173 h 1335"/>
              <a:gd name="T26" fmla="*/ 220 w 1335"/>
              <a:gd name="T27" fmla="*/ 334 h 1335"/>
              <a:gd name="T28" fmla="*/ 65 w 1335"/>
              <a:gd name="T29" fmla="*/ 379 h 1335"/>
              <a:gd name="T30" fmla="*/ 125 w 1335"/>
              <a:gd name="T31" fmla="*/ 535 h 1335"/>
              <a:gd name="T32" fmla="*/ 0 w 1335"/>
              <a:gd name="T33" fmla="*/ 636 h 1335"/>
              <a:gd name="T34" fmla="*/ 115 w 1335"/>
              <a:gd name="T35" fmla="*/ 749 h 1335"/>
              <a:gd name="T36" fmla="*/ 35 w 1335"/>
              <a:gd name="T37" fmla="*/ 890 h 1335"/>
              <a:gd name="T38" fmla="*/ 190 w 1335"/>
              <a:gd name="T39" fmla="*/ 957 h 1335"/>
              <a:gd name="T40" fmla="*/ 173 w 1335"/>
              <a:gd name="T41" fmla="*/ 1117 h 1335"/>
              <a:gd name="T42" fmla="*/ 334 w 1335"/>
              <a:gd name="T43" fmla="*/ 1116 h 1335"/>
              <a:gd name="T44" fmla="*/ 379 w 1335"/>
              <a:gd name="T45" fmla="*/ 1270 h 1335"/>
              <a:gd name="T46" fmla="*/ 535 w 1335"/>
              <a:gd name="T47" fmla="*/ 1210 h 1335"/>
              <a:gd name="T48" fmla="*/ 636 w 1335"/>
              <a:gd name="T49" fmla="*/ 1335 h 1335"/>
              <a:gd name="T50" fmla="*/ 749 w 1335"/>
              <a:gd name="T51" fmla="*/ 1220 h 1335"/>
              <a:gd name="T52" fmla="*/ 890 w 1335"/>
              <a:gd name="T53" fmla="*/ 1299 h 1335"/>
              <a:gd name="T54" fmla="*/ 957 w 1335"/>
              <a:gd name="T55" fmla="*/ 1145 h 1335"/>
              <a:gd name="T56" fmla="*/ 1117 w 1335"/>
              <a:gd name="T57" fmla="*/ 1162 h 1335"/>
              <a:gd name="T58" fmla="*/ 1116 w 1335"/>
              <a:gd name="T59" fmla="*/ 1001 h 1335"/>
              <a:gd name="T60" fmla="*/ 1271 w 1335"/>
              <a:gd name="T61" fmla="*/ 956 h 1335"/>
              <a:gd name="T62" fmla="*/ 1210 w 1335"/>
              <a:gd name="T63" fmla="*/ 801 h 1335"/>
              <a:gd name="T64" fmla="*/ 776 w 1335"/>
              <a:gd name="T65" fmla="*/ 1050 h 1335"/>
              <a:gd name="T66" fmla="*/ 560 w 1335"/>
              <a:gd name="T67" fmla="*/ 286 h 1335"/>
              <a:gd name="T68" fmla="*/ 776 w 1335"/>
              <a:gd name="T69" fmla="*/ 1050 h 13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335" h="1335">
                <a:moveTo>
                  <a:pt x="1326" y="784"/>
                </a:moveTo>
                <a:cubicBezTo>
                  <a:pt x="1335" y="699"/>
                  <a:pt x="1335" y="699"/>
                  <a:pt x="1335" y="699"/>
                </a:cubicBezTo>
                <a:cubicBezTo>
                  <a:pt x="1226" y="658"/>
                  <a:pt x="1226" y="658"/>
                  <a:pt x="1226" y="658"/>
                </a:cubicBezTo>
                <a:cubicBezTo>
                  <a:pt x="1226" y="634"/>
                  <a:pt x="1224" y="610"/>
                  <a:pt x="1220" y="586"/>
                </a:cubicBezTo>
                <a:cubicBezTo>
                  <a:pt x="1323" y="527"/>
                  <a:pt x="1323" y="527"/>
                  <a:pt x="1323" y="527"/>
                </a:cubicBezTo>
                <a:cubicBezTo>
                  <a:pt x="1300" y="445"/>
                  <a:pt x="1300" y="445"/>
                  <a:pt x="1300" y="445"/>
                </a:cubicBezTo>
                <a:cubicBezTo>
                  <a:pt x="1181" y="448"/>
                  <a:pt x="1181" y="448"/>
                  <a:pt x="1181" y="448"/>
                </a:cubicBezTo>
                <a:cubicBezTo>
                  <a:pt x="1171" y="424"/>
                  <a:pt x="1159" y="400"/>
                  <a:pt x="1145" y="378"/>
                </a:cubicBezTo>
                <a:cubicBezTo>
                  <a:pt x="1215" y="284"/>
                  <a:pt x="1215" y="284"/>
                  <a:pt x="1215" y="284"/>
                </a:cubicBezTo>
                <a:cubicBezTo>
                  <a:pt x="1162" y="218"/>
                  <a:pt x="1162" y="218"/>
                  <a:pt x="1162" y="218"/>
                </a:cubicBezTo>
                <a:cubicBezTo>
                  <a:pt x="1055" y="266"/>
                  <a:pt x="1055" y="266"/>
                  <a:pt x="1055" y="266"/>
                </a:cubicBezTo>
                <a:cubicBezTo>
                  <a:pt x="1038" y="249"/>
                  <a:pt x="1020" y="234"/>
                  <a:pt x="1001" y="219"/>
                </a:cubicBezTo>
                <a:cubicBezTo>
                  <a:pt x="1031" y="106"/>
                  <a:pt x="1031" y="106"/>
                  <a:pt x="1031" y="106"/>
                </a:cubicBezTo>
                <a:cubicBezTo>
                  <a:pt x="956" y="65"/>
                  <a:pt x="956" y="65"/>
                  <a:pt x="956" y="65"/>
                </a:cubicBezTo>
                <a:cubicBezTo>
                  <a:pt x="875" y="149"/>
                  <a:pt x="875" y="149"/>
                  <a:pt x="875" y="149"/>
                </a:cubicBezTo>
                <a:cubicBezTo>
                  <a:pt x="851" y="139"/>
                  <a:pt x="826" y="131"/>
                  <a:pt x="801" y="125"/>
                </a:cubicBezTo>
                <a:cubicBezTo>
                  <a:pt x="784" y="9"/>
                  <a:pt x="784" y="9"/>
                  <a:pt x="784" y="9"/>
                </a:cubicBezTo>
                <a:cubicBezTo>
                  <a:pt x="699" y="0"/>
                  <a:pt x="699" y="0"/>
                  <a:pt x="699" y="0"/>
                </a:cubicBezTo>
                <a:cubicBezTo>
                  <a:pt x="658" y="109"/>
                  <a:pt x="658" y="109"/>
                  <a:pt x="658" y="109"/>
                </a:cubicBezTo>
                <a:cubicBezTo>
                  <a:pt x="634" y="109"/>
                  <a:pt x="610" y="111"/>
                  <a:pt x="586" y="115"/>
                </a:cubicBezTo>
                <a:cubicBezTo>
                  <a:pt x="527" y="12"/>
                  <a:pt x="527" y="12"/>
                  <a:pt x="527" y="12"/>
                </a:cubicBezTo>
                <a:cubicBezTo>
                  <a:pt x="445" y="35"/>
                  <a:pt x="445" y="35"/>
                  <a:pt x="445" y="35"/>
                </a:cubicBezTo>
                <a:cubicBezTo>
                  <a:pt x="448" y="154"/>
                  <a:pt x="448" y="154"/>
                  <a:pt x="448" y="154"/>
                </a:cubicBezTo>
                <a:cubicBezTo>
                  <a:pt x="424" y="164"/>
                  <a:pt x="400" y="176"/>
                  <a:pt x="378" y="190"/>
                </a:cubicBezTo>
                <a:cubicBezTo>
                  <a:pt x="284" y="120"/>
                  <a:pt x="284" y="120"/>
                  <a:pt x="284" y="120"/>
                </a:cubicBezTo>
                <a:cubicBezTo>
                  <a:pt x="218" y="173"/>
                  <a:pt x="218" y="173"/>
                  <a:pt x="218" y="173"/>
                </a:cubicBezTo>
                <a:cubicBezTo>
                  <a:pt x="266" y="280"/>
                  <a:pt x="266" y="280"/>
                  <a:pt x="266" y="280"/>
                </a:cubicBezTo>
                <a:cubicBezTo>
                  <a:pt x="249" y="297"/>
                  <a:pt x="234" y="315"/>
                  <a:pt x="220" y="334"/>
                </a:cubicBezTo>
                <a:cubicBezTo>
                  <a:pt x="106" y="305"/>
                  <a:pt x="106" y="305"/>
                  <a:pt x="106" y="305"/>
                </a:cubicBezTo>
                <a:cubicBezTo>
                  <a:pt x="65" y="379"/>
                  <a:pt x="65" y="379"/>
                  <a:pt x="65" y="379"/>
                </a:cubicBezTo>
                <a:cubicBezTo>
                  <a:pt x="149" y="460"/>
                  <a:pt x="149" y="460"/>
                  <a:pt x="149" y="460"/>
                </a:cubicBezTo>
                <a:cubicBezTo>
                  <a:pt x="139" y="484"/>
                  <a:pt x="131" y="509"/>
                  <a:pt x="125" y="535"/>
                </a:cubicBezTo>
                <a:cubicBezTo>
                  <a:pt x="9" y="551"/>
                  <a:pt x="9" y="551"/>
                  <a:pt x="9" y="551"/>
                </a:cubicBezTo>
                <a:cubicBezTo>
                  <a:pt x="0" y="636"/>
                  <a:pt x="0" y="636"/>
                  <a:pt x="0" y="636"/>
                </a:cubicBezTo>
                <a:cubicBezTo>
                  <a:pt x="109" y="678"/>
                  <a:pt x="109" y="678"/>
                  <a:pt x="109" y="678"/>
                </a:cubicBezTo>
                <a:cubicBezTo>
                  <a:pt x="110" y="701"/>
                  <a:pt x="111" y="725"/>
                  <a:pt x="115" y="749"/>
                </a:cubicBezTo>
                <a:cubicBezTo>
                  <a:pt x="12" y="809"/>
                  <a:pt x="12" y="809"/>
                  <a:pt x="12" y="809"/>
                </a:cubicBezTo>
                <a:cubicBezTo>
                  <a:pt x="35" y="890"/>
                  <a:pt x="35" y="890"/>
                  <a:pt x="35" y="890"/>
                </a:cubicBezTo>
                <a:cubicBezTo>
                  <a:pt x="154" y="887"/>
                  <a:pt x="154" y="887"/>
                  <a:pt x="154" y="887"/>
                </a:cubicBezTo>
                <a:cubicBezTo>
                  <a:pt x="164" y="912"/>
                  <a:pt x="177" y="935"/>
                  <a:pt x="190" y="957"/>
                </a:cubicBezTo>
                <a:cubicBezTo>
                  <a:pt x="120" y="1051"/>
                  <a:pt x="120" y="1051"/>
                  <a:pt x="120" y="1051"/>
                </a:cubicBezTo>
                <a:cubicBezTo>
                  <a:pt x="173" y="1117"/>
                  <a:pt x="173" y="1117"/>
                  <a:pt x="173" y="1117"/>
                </a:cubicBezTo>
                <a:cubicBezTo>
                  <a:pt x="280" y="1070"/>
                  <a:pt x="280" y="1070"/>
                  <a:pt x="280" y="1070"/>
                </a:cubicBezTo>
                <a:cubicBezTo>
                  <a:pt x="297" y="1086"/>
                  <a:pt x="315" y="1102"/>
                  <a:pt x="334" y="1116"/>
                </a:cubicBezTo>
                <a:cubicBezTo>
                  <a:pt x="305" y="1229"/>
                  <a:pt x="305" y="1229"/>
                  <a:pt x="305" y="1229"/>
                </a:cubicBezTo>
                <a:cubicBezTo>
                  <a:pt x="379" y="1270"/>
                  <a:pt x="379" y="1270"/>
                  <a:pt x="379" y="1270"/>
                </a:cubicBezTo>
                <a:cubicBezTo>
                  <a:pt x="460" y="1186"/>
                  <a:pt x="460" y="1186"/>
                  <a:pt x="460" y="1186"/>
                </a:cubicBezTo>
                <a:cubicBezTo>
                  <a:pt x="484" y="1196"/>
                  <a:pt x="509" y="1204"/>
                  <a:pt x="535" y="1210"/>
                </a:cubicBezTo>
                <a:cubicBezTo>
                  <a:pt x="551" y="1326"/>
                  <a:pt x="551" y="1326"/>
                  <a:pt x="551" y="1326"/>
                </a:cubicBezTo>
                <a:cubicBezTo>
                  <a:pt x="636" y="1335"/>
                  <a:pt x="636" y="1335"/>
                  <a:pt x="636" y="1335"/>
                </a:cubicBezTo>
                <a:cubicBezTo>
                  <a:pt x="678" y="1226"/>
                  <a:pt x="678" y="1226"/>
                  <a:pt x="678" y="1226"/>
                </a:cubicBezTo>
                <a:cubicBezTo>
                  <a:pt x="701" y="1226"/>
                  <a:pt x="725" y="1224"/>
                  <a:pt x="749" y="1220"/>
                </a:cubicBezTo>
                <a:cubicBezTo>
                  <a:pt x="808" y="1323"/>
                  <a:pt x="808" y="1323"/>
                  <a:pt x="808" y="1323"/>
                </a:cubicBezTo>
                <a:cubicBezTo>
                  <a:pt x="890" y="1299"/>
                  <a:pt x="890" y="1299"/>
                  <a:pt x="890" y="1299"/>
                </a:cubicBezTo>
                <a:cubicBezTo>
                  <a:pt x="887" y="1181"/>
                  <a:pt x="887" y="1181"/>
                  <a:pt x="887" y="1181"/>
                </a:cubicBezTo>
                <a:cubicBezTo>
                  <a:pt x="912" y="1171"/>
                  <a:pt x="935" y="1159"/>
                  <a:pt x="957" y="1145"/>
                </a:cubicBezTo>
                <a:cubicBezTo>
                  <a:pt x="1051" y="1215"/>
                  <a:pt x="1051" y="1215"/>
                  <a:pt x="1051" y="1215"/>
                </a:cubicBezTo>
                <a:cubicBezTo>
                  <a:pt x="1117" y="1162"/>
                  <a:pt x="1117" y="1162"/>
                  <a:pt x="1117" y="1162"/>
                </a:cubicBezTo>
                <a:cubicBezTo>
                  <a:pt x="1070" y="1055"/>
                  <a:pt x="1070" y="1055"/>
                  <a:pt x="1070" y="1055"/>
                </a:cubicBezTo>
                <a:cubicBezTo>
                  <a:pt x="1086" y="1038"/>
                  <a:pt x="1102" y="1020"/>
                  <a:pt x="1116" y="1001"/>
                </a:cubicBezTo>
                <a:cubicBezTo>
                  <a:pt x="1229" y="1031"/>
                  <a:pt x="1229" y="1031"/>
                  <a:pt x="1229" y="1031"/>
                </a:cubicBezTo>
                <a:cubicBezTo>
                  <a:pt x="1271" y="956"/>
                  <a:pt x="1271" y="956"/>
                  <a:pt x="1271" y="956"/>
                </a:cubicBezTo>
                <a:cubicBezTo>
                  <a:pt x="1186" y="875"/>
                  <a:pt x="1186" y="875"/>
                  <a:pt x="1186" y="875"/>
                </a:cubicBezTo>
                <a:cubicBezTo>
                  <a:pt x="1196" y="851"/>
                  <a:pt x="1204" y="826"/>
                  <a:pt x="1210" y="801"/>
                </a:cubicBezTo>
                <a:lnTo>
                  <a:pt x="1326" y="784"/>
                </a:lnTo>
                <a:close/>
                <a:moveTo>
                  <a:pt x="776" y="1050"/>
                </a:moveTo>
                <a:cubicBezTo>
                  <a:pt x="565" y="1109"/>
                  <a:pt x="345" y="986"/>
                  <a:pt x="286" y="775"/>
                </a:cubicBezTo>
                <a:cubicBezTo>
                  <a:pt x="226" y="564"/>
                  <a:pt x="349" y="345"/>
                  <a:pt x="560" y="286"/>
                </a:cubicBezTo>
                <a:cubicBezTo>
                  <a:pt x="771" y="226"/>
                  <a:pt x="990" y="349"/>
                  <a:pt x="1050" y="560"/>
                </a:cubicBezTo>
                <a:cubicBezTo>
                  <a:pt x="1109" y="771"/>
                  <a:pt x="987" y="990"/>
                  <a:pt x="776" y="105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299" tIns="45649" rIns="91299" bIns="45649" numCol="1" anchor="t" anchorCtr="0" compatLnSpc="1">
            <a:prstTxWarp prst="textNoShape">
              <a:avLst/>
            </a:prstTxWarp>
          </a:bodyPr>
          <a:lstStyle/>
          <a:p>
            <a:endParaRPr lang="id-ID" sz="1798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021A203-1270-BC46-5D7B-CD7AA2C3D145}"/>
              </a:ext>
            </a:extLst>
          </p:cNvPr>
          <p:cNvSpPr/>
          <p:nvPr/>
        </p:nvSpPr>
        <p:spPr>
          <a:xfrm>
            <a:off x="1732500" y="2598460"/>
            <a:ext cx="1249375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sz="1600" b="1" dirty="0">
                <a:ea typeface="Open Sans" panose="020B0606030504020204" pitchFamily="34" charset="0"/>
                <a:cs typeface="Open Sans" panose="020B0606030504020204" pitchFamily="34" charset="0"/>
              </a:rPr>
              <a:t>Header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8222AF8-3CD5-AE18-C9E3-E12F2CCD8E82}"/>
              </a:ext>
            </a:extLst>
          </p:cNvPr>
          <p:cNvSpPr/>
          <p:nvPr/>
        </p:nvSpPr>
        <p:spPr>
          <a:xfrm>
            <a:off x="3767038" y="2598460"/>
            <a:ext cx="2166062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sz="1600" b="1" dirty="0">
                <a:ea typeface="Open Sans" panose="020B0606030504020204" pitchFamily="34" charset="0"/>
                <a:cs typeface="Open Sans" panose="020B0606030504020204" pitchFamily="34" charset="0"/>
              </a:rPr>
              <a:t>Header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761D4E4-0061-4B8B-A62C-DB8529488376}"/>
              </a:ext>
            </a:extLst>
          </p:cNvPr>
          <p:cNvSpPr/>
          <p:nvPr/>
        </p:nvSpPr>
        <p:spPr>
          <a:xfrm>
            <a:off x="6629323" y="2598460"/>
            <a:ext cx="1444998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sz="1600" b="1" dirty="0">
                <a:ea typeface="Open Sans" panose="020B0606030504020204" pitchFamily="34" charset="0"/>
                <a:cs typeface="Open Sans" panose="020B0606030504020204" pitchFamily="34" charset="0"/>
              </a:rPr>
              <a:t>Header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BFD0F5D-2B2D-9B9D-E322-3D7576316D4E}"/>
              </a:ext>
            </a:extLst>
          </p:cNvPr>
          <p:cNvSpPr/>
          <p:nvPr/>
        </p:nvSpPr>
        <p:spPr>
          <a:xfrm>
            <a:off x="9102624" y="2598460"/>
            <a:ext cx="1444998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sz="1600" b="1" dirty="0">
                <a:ea typeface="Open Sans" panose="020B0606030504020204" pitchFamily="34" charset="0"/>
                <a:cs typeface="Open Sans" panose="020B0606030504020204" pitchFamily="34" charset="0"/>
              </a:rPr>
              <a:t>Header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67FF6FA-72EE-6AFD-FCED-06DCA05E6B9E}"/>
              </a:ext>
            </a:extLst>
          </p:cNvPr>
          <p:cNvSpPr/>
          <p:nvPr/>
        </p:nvSpPr>
        <p:spPr>
          <a:xfrm>
            <a:off x="1289949" y="4329163"/>
            <a:ext cx="1992670" cy="107721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Text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b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endParaRPr lang="en-US" sz="1400" dirty="0"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ctr"/>
            <a:endParaRPr lang="en-US" sz="1400" dirty="0"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C283DF1-0736-5A81-6FB7-251428547040}"/>
              </a:ext>
            </a:extLst>
          </p:cNvPr>
          <p:cNvSpPr/>
          <p:nvPr/>
        </p:nvSpPr>
        <p:spPr>
          <a:xfrm>
            <a:off x="3980039" y="4329163"/>
            <a:ext cx="1788267" cy="107721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Text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b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endParaRPr lang="en-US" sz="1400" dirty="0"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ctr"/>
            <a:endParaRPr lang="en-US" sz="1400" dirty="0"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A757D65-EA44-1654-ACDC-0AC46A6ECA43}"/>
              </a:ext>
            </a:extLst>
          </p:cNvPr>
          <p:cNvSpPr/>
          <p:nvPr/>
        </p:nvSpPr>
        <p:spPr>
          <a:xfrm>
            <a:off x="6174897" y="4329163"/>
            <a:ext cx="2353850" cy="646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Text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b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endParaRPr lang="en-US" sz="1400" dirty="0"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ctr"/>
            <a:endParaRPr lang="en-US" sz="1400" dirty="0"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AEC3F81-B698-AC9F-7754-FFCC9C866E12}"/>
              </a:ext>
            </a:extLst>
          </p:cNvPr>
          <p:cNvSpPr/>
          <p:nvPr/>
        </p:nvSpPr>
        <p:spPr>
          <a:xfrm>
            <a:off x="8806714" y="4329163"/>
            <a:ext cx="2091990" cy="107721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Text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b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endParaRPr lang="en-US" sz="1400" dirty="0"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ctr"/>
            <a:endParaRPr lang="en-US" sz="1400" dirty="0"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4666714"/>
      </p:ext>
    </p:extLst>
  </p:cSld>
  <p:clrMapOvr>
    <a:masterClrMapping/>
  </p:clrMapOvr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B5AB60-DED8-8CF1-40D8-1478DB1947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8EAE3BC-F171-D849-84B1-2CD0BCB8DA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72535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45EDD79-7C1A-CF8F-2EAD-23B1AC45DE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irc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DE0DF96-0234-B5D3-0086-1D37004FB7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14</a:t>
            </a:fld>
            <a:endParaRPr lang="en-US" dirty="0"/>
          </a:p>
        </p:txBody>
      </p:sp>
      <p:grpSp>
        <p:nvGrpSpPr>
          <p:cNvPr id="6" name="กลุ่ม 78848">
            <a:extLst>
              <a:ext uri="{FF2B5EF4-FFF2-40B4-BE49-F238E27FC236}">
                <a16:creationId xmlns:a16="http://schemas.microsoft.com/office/drawing/2014/main" id="{12683DEA-5E86-B3CA-B5E0-79EAB0363A8A}"/>
              </a:ext>
            </a:extLst>
          </p:cNvPr>
          <p:cNvGrpSpPr/>
          <p:nvPr/>
        </p:nvGrpSpPr>
        <p:grpSpPr>
          <a:xfrm>
            <a:off x="3886481" y="1508541"/>
            <a:ext cx="4459349" cy="4467225"/>
            <a:chOff x="7296150" y="2687637"/>
            <a:chExt cx="9886950" cy="9904413"/>
          </a:xfrm>
        </p:grpSpPr>
        <p:sp>
          <p:nvSpPr>
            <p:cNvPr id="42" name="Freeform 6">
              <a:extLst>
                <a:ext uri="{FF2B5EF4-FFF2-40B4-BE49-F238E27FC236}">
                  <a16:creationId xmlns:a16="http://schemas.microsoft.com/office/drawing/2014/main" id="{21FC6454-CB6C-AD34-C9EE-6A30FBF93B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11125" y="2687637"/>
              <a:ext cx="4371975" cy="4370388"/>
            </a:xfrm>
            <a:custGeom>
              <a:avLst/>
              <a:gdLst>
                <a:gd name="T0" fmla="*/ 23 w 210"/>
                <a:gd name="T1" fmla="*/ 156 h 210"/>
                <a:gd name="T2" fmla="*/ 15 w 210"/>
                <a:gd name="T3" fmla="*/ 173 h 210"/>
                <a:gd name="T4" fmla="*/ 37 w 210"/>
                <a:gd name="T5" fmla="*/ 196 h 210"/>
                <a:gd name="T6" fmla="*/ 54 w 210"/>
                <a:gd name="T7" fmla="*/ 187 h 210"/>
                <a:gd name="T8" fmla="*/ 172 w 210"/>
                <a:gd name="T9" fmla="*/ 173 h 210"/>
                <a:gd name="T10" fmla="*/ 172 w 210"/>
                <a:gd name="T11" fmla="*/ 38 h 210"/>
                <a:gd name="T12" fmla="*/ 37 w 210"/>
                <a:gd name="T13" fmla="*/ 38 h 210"/>
                <a:gd name="T14" fmla="*/ 23 w 210"/>
                <a:gd name="T15" fmla="*/ 156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0" h="210">
                  <a:moveTo>
                    <a:pt x="23" y="156"/>
                  </a:moveTo>
                  <a:cubicBezTo>
                    <a:pt x="18" y="160"/>
                    <a:pt x="15" y="166"/>
                    <a:pt x="15" y="173"/>
                  </a:cubicBezTo>
                  <a:cubicBezTo>
                    <a:pt x="15" y="186"/>
                    <a:pt x="25" y="196"/>
                    <a:pt x="37" y="196"/>
                  </a:cubicBezTo>
                  <a:cubicBezTo>
                    <a:pt x="44" y="196"/>
                    <a:pt x="50" y="192"/>
                    <a:pt x="54" y="187"/>
                  </a:cubicBezTo>
                  <a:cubicBezTo>
                    <a:pt x="91" y="210"/>
                    <a:pt x="140" y="205"/>
                    <a:pt x="172" y="173"/>
                  </a:cubicBezTo>
                  <a:cubicBezTo>
                    <a:pt x="210" y="136"/>
                    <a:pt x="210" y="75"/>
                    <a:pt x="172" y="38"/>
                  </a:cubicBezTo>
                  <a:cubicBezTo>
                    <a:pt x="135" y="0"/>
                    <a:pt x="74" y="0"/>
                    <a:pt x="37" y="38"/>
                  </a:cubicBezTo>
                  <a:cubicBezTo>
                    <a:pt x="5" y="70"/>
                    <a:pt x="0" y="119"/>
                    <a:pt x="23" y="156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h-TH" sz="1677"/>
            </a:p>
          </p:txBody>
        </p:sp>
        <p:sp>
          <p:nvSpPr>
            <p:cNvPr id="43" name="Freeform 7">
              <a:extLst>
                <a:ext uri="{FF2B5EF4-FFF2-40B4-BE49-F238E27FC236}">
                  <a16:creationId xmlns:a16="http://schemas.microsoft.com/office/drawing/2014/main" id="{F2B99C51-1202-B3A1-A653-76FC7E3B9571}"/>
                </a:ext>
              </a:extLst>
            </p:cNvPr>
            <p:cNvSpPr>
              <a:spLocks/>
            </p:cNvSpPr>
            <p:nvPr/>
          </p:nvSpPr>
          <p:spPr bwMode="auto">
            <a:xfrm>
              <a:off x="7296150" y="8223250"/>
              <a:ext cx="4349750" cy="4368800"/>
            </a:xfrm>
            <a:custGeom>
              <a:avLst/>
              <a:gdLst>
                <a:gd name="T0" fmla="*/ 186 w 209"/>
                <a:gd name="T1" fmla="*/ 54 h 210"/>
                <a:gd name="T2" fmla="*/ 195 w 209"/>
                <a:gd name="T3" fmla="*/ 37 h 210"/>
                <a:gd name="T4" fmla="*/ 173 w 209"/>
                <a:gd name="T5" fmla="*/ 14 h 210"/>
                <a:gd name="T6" fmla="*/ 155 w 209"/>
                <a:gd name="T7" fmla="*/ 23 h 210"/>
                <a:gd name="T8" fmla="*/ 37 w 209"/>
                <a:gd name="T9" fmla="*/ 37 h 210"/>
                <a:gd name="T10" fmla="*/ 37 w 209"/>
                <a:gd name="T11" fmla="*/ 172 h 210"/>
                <a:gd name="T12" fmla="*/ 173 w 209"/>
                <a:gd name="T13" fmla="*/ 172 h 210"/>
                <a:gd name="T14" fmla="*/ 186 w 209"/>
                <a:gd name="T15" fmla="*/ 54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9" h="210">
                  <a:moveTo>
                    <a:pt x="186" y="54"/>
                  </a:moveTo>
                  <a:cubicBezTo>
                    <a:pt x="192" y="50"/>
                    <a:pt x="195" y="44"/>
                    <a:pt x="195" y="37"/>
                  </a:cubicBezTo>
                  <a:cubicBezTo>
                    <a:pt x="195" y="24"/>
                    <a:pt x="185" y="14"/>
                    <a:pt x="173" y="14"/>
                  </a:cubicBezTo>
                  <a:cubicBezTo>
                    <a:pt x="166" y="14"/>
                    <a:pt x="159" y="18"/>
                    <a:pt x="155" y="23"/>
                  </a:cubicBezTo>
                  <a:cubicBezTo>
                    <a:pt x="118" y="0"/>
                    <a:pt x="69" y="5"/>
                    <a:pt x="37" y="37"/>
                  </a:cubicBezTo>
                  <a:cubicBezTo>
                    <a:pt x="0" y="74"/>
                    <a:pt x="0" y="135"/>
                    <a:pt x="37" y="172"/>
                  </a:cubicBezTo>
                  <a:cubicBezTo>
                    <a:pt x="75" y="210"/>
                    <a:pt x="135" y="210"/>
                    <a:pt x="173" y="172"/>
                  </a:cubicBezTo>
                  <a:cubicBezTo>
                    <a:pt x="205" y="140"/>
                    <a:pt x="209" y="91"/>
                    <a:pt x="186" y="54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h-TH" sz="1677"/>
            </a:p>
          </p:txBody>
        </p:sp>
        <p:sp>
          <p:nvSpPr>
            <p:cNvPr id="44" name="Freeform 8">
              <a:extLst>
                <a:ext uri="{FF2B5EF4-FFF2-40B4-BE49-F238E27FC236}">
                  <a16:creationId xmlns:a16="http://schemas.microsoft.com/office/drawing/2014/main" id="{7A7372D0-05C6-BF6C-58D7-46847FE24F50}"/>
                </a:ext>
              </a:extLst>
            </p:cNvPr>
            <p:cNvSpPr>
              <a:spLocks/>
            </p:cNvSpPr>
            <p:nvPr/>
          </p:nvSpPr>
          <p:spPr bwMode="auto">
            <a:xfrm>
              <a:off x="7296150" y="2687637"/>
              <a:ext cx="4349750" cy="4370388"/>
            </a:xfrm>
            <a:custGeom>
              <a:avLst/>
              <a:gdLst>
                <a:gd name="T0" fmla="*/ 186 w 209"/>
                <a:gd name="T1" fmla="*/ 156 h 210"/>
                <a:gd name="T2" fmla="*/ 195 w 209"/>
                <a:gd name="T3" fmla="*/ 173 h 210"/>
                <a:gd name="T4" fmla="*/ 173 w 209"/>
                <a:gd name="T5" fmla="*/ 196 h 210"/>
                <a:gd name="T6" fmla="*/ 155 w 209"/>
                <a:gd name="T7" fmla="*/ 187 h 210"/>
                <a:gd name="T8" fmla="*/ 37 w 209"/>
                <a:gd name="T9" fmla="*/ 173 h 210"/>
                <a:gd name="T10" fmla="*/ 37 w 209"/>
                <a:gd name="T11" fmla="*/ 38 h 210"/>
                <a:gd name="T12" fmla="*/ 173 w 209"/>
                <a:gd name="T13" fmla="*/ 38 h 210"/>
                <a:gd name="T14" fmla="*/ 186 w 209"/>
                <a:gd name="T15" fmla="*/ 156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9" h="210">
                  <a:moveTo>
                    <a:pt x="186" y="156"/>
                  </a:moveTo>
                  <a:cubicBezTo>
                    <a:pt x="192" y="160"/>
                    <a:pt x="195" y="166"/>
                    <a:pt x="195" y="173"/>
                  </a:cubicBezTo>
                  <a:cubicBezTo>
                    <a:pt x="195" y="186"/>
                    <a:pt x="185" y="196"/>
                    <a:pt x="173" y="196"/>
                  </a:cubicBezTo>
                  <a:cubicBezTo>
                    <a:pt x="166" y="196"/>
                    <a:pt x="159" y="192"/>
                    <a:pt x="155" y="187"/>
                  </a:cubicBezTo>
                  <a:cubicBezTo>
                    <a:pt x="118" y="210"/>
                    <a:pt x="69" y="205"/>
                    <a:pt x="37" y="173"/>
                  </a:cubicBezTo>
                  <a:cubicBezTo>
                    <a:pt x="0" y="136"/>
                    <a:pt x="0" y="75"/>
                    <a:pt x="37" y="38"/>
                  </a:cubicBezTo>
                  <a:cubicBezTo>
                    <a:pt x="75" y="0"/>
                    <a:pt x="135" y="0"/>
                    <a:pt x="173" y="38"/>
                  </a:cubicBezTo>
                  <a:cubicBezTo>
                    <a:pt x="205" y="70"/>
                    <a:pt x="209" y="119"/>
                    <a:pt x="186" y="15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h-TH" sz="1677"/>
            </a:p>
          </p:txBody>
        </p:sp>
        <p:sp>
          <p:nvSpPr>
            <p:cNvPr id="45" name="Freeform 9">
              <a:extLst>
                <a:ext uri="{FF2B5EF4-FFF2-40B4-BE49-F238E27FC236}">
                  <a16:creationId xmlns:a16="http://schemas.microsoft.com/office/drawing/2014/main" id="{C84C9B03-B30E-8A9F-990D-4300499E6A5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11125" y="8223250"/>
              <a:ext cx="4371975" cy="4368800"/>
            </a:xfrm>
            <a:custGeom>
              <a:avLst/>
              <a:gdLst>
                <a:gd name="T0" fmla="*/ 23 w 210"/>
                <a:gd name="T1" fmla="*/ 54 h 210"/>
                <a:gd name="T2" fmla="*/ 15 w 210"/>
                <a:gd name="T3" fmla="*/ 37 h 210"/>
                <a:gd name="T4" fmla="*/ 37 w 210"/>
                <a:gd name="T5" fmla="*/ 14 h 210"/>
                <a:gd name="T6" fmla="*/ 54 w 210"/>
                <a:gd name="T7" fmla="*/ 23 h 210"/>
                <a:gd name="T8" fmla="*/ 172 w 210"/>
                <a:gd name="T9" fmla="*/ 37 h 210"/>
                <a:gd name="T10" fmla="*/ 172 w 210"/>
                <a:gd name="T11" fmla="*/ 172 h 210"/>
                <a:gd name="T12" fmla="*/ 37 w 210"/>
                <a:gd name="T13" fmla="*/ 172 h 210"/>
                <a:gd name="T14" fmla="*/ 23 w 210"/>
                <a:gd name="T15" fmla="*/ 54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0" h="210">
                  <a:moveTo>
                    <a:pt x="23" y="54"/>
                  </a:moveTo>
                  <a:cubicBezTo>
                    <a:pt x="18" y="50"/>
                    <a:pt x="15" y="44"/>
                    <a:pt x="15" y="37"/>
                  </a:cubicBezTo>
                  <a:cubicBezTo>
                    <a:pt x="15" y="24"/>
                    <a:pt x="25" y="14"/>
                    <a:pt x="37" y="14"/>
                  </a:cubicBezTo>
                  <a:cubicBezTo>
                    <a:pt x="44" y="14"/>
                    <a:pt x="50" y="18"/>
                    <a:pt x="54" y="23"/>
                  </a:cubicBezTo>
                  <a:cubicBezTo>
                    <a:pt x="91" y="0"/>
                    <a:pt x="140" y="5"/>
                    <a:pt x="172" y="37"/>
                  </a:cubicBezTo>
                  <a:cubicBezTo>
                    <a:pt x="210" y="74"/>
                    <a:pt x="210" y="135"/>
                    <a:pt x="172" y="172"/>
                  </a:cubicBezTo>
                  <a:cubicBezTo>
                    <a:pt x="135" y="210"/>
                    <a:pt x="74" y="210"/>
                    <a:pt x="37" y="172"/>
                  </a:cubicBezTo>
                  <a:cubicBezTo>
                    <a:pt x="5" y="140"/>
                    <a:pt x="0" y="91"/>
                    <a:pt x="23" y="54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h-TH" sz="1677"/>
            </a:p>
          </p:txBody>
        </p:sp>
        <p:sp>
          <p:nvSpPr>
            <p:cNvPr id="46" name="Freeform 10">
              <a:extLst>
                <a:ext uri="{FF2B5EF4-FFF2-40B4-BE49-F238E27FC236}">
                  <a16:creationId xmlns:a16="http://schemas.microsoft.com/office/drawing/2014/main" id="{1F99DAA1-656C-CF19-C7CD-F0DF4D3DD2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87238" y="7618413"/>
              <a:ext cx="915988" cy="895350"/>
            </a:xfrm>
            <a:custGeom>
              <a:avLst/>
              <a:gdLst>
                <a:gd name="T0" fmla="*/ 538 w 577"/>
                <a:gd name="T1" fmla="*/ 564 h 564"/>
                <a:gd name="T2" fmla="*/ 0 w 577"/>
                <a:gd name="T3" fmla="*/ 27 h 564"/>
                <a:gd name="T4" fmla="*/ 26 w 577"/>
                <a:gd name="T5" fmla="*/ 0 h 564"/>
                <a:gd name="T6" fmla="*/ 577 w 577"/>
                <a:gd name="T7" fmla="*/ 538 h 564"/>
                <a:gd name="T8" fmla="*/ 538 w 577"/>
                <a:gd name="T9" fmla="*/ 564 h 5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7" h="564">
                  <a:moveTo>
                    <a:pt x="538" y="564"/>
                  </a:moveTo>
                  <a:lnTo>
                    <a:pt x="0" y="27"/>
                  </a:lnTo>
                  <a:lnTo>
                    <a:pt x="26" y="0"/>
                  </a:lnTo>
                  <a:lnTo>
                    <a:pt x="577" y="538"/>
                  </a:lnTo>
                  <a:lnTo>
                    <a:pt x="538" y="564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h-TH" sz="1677"/>
            </a:p>
          </p:txBody>
        </p:sp>
        <p:sp>
          <p:nvSpPr>
            <p:cNvPr id="47" name="Freeform 11">
              <a:extLst>
                <a:ext uri="{FF2B5EF4-FFF2-40B4-BE49-F238E27FC236}">
                  <a16:creationId xmlns:a16="http://schemas.microsoft.com/office/drawing/2014/main" id="{11250B7D-67CA-EDBC-749C-49412764463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12525" y="6745288"/>
              <a:ext cx="915988" cy="915988"/>
            </a:xfrm>
            <a:custGeom>
              <a:avLst/>
              <a:gdLst>
                <a:gd name="T0" fmla="*/ 551 w 577"/>
                <a:gd name="T1" fmla="*/ 577 h 577"/>
                <a:gd name="T2" fmla="*/ 0 w 577"/>
                <a:gd name="T3" fmla="*/ 26 h 577"/>
                <a:gd name="T4" fmla="*/ 27 w 577"/>
                <a:gd name="T5" fmla="*/ 0 h 577"/>
                <a:gd name="T6" fmla="*/ 577 w 577"/>
                <a:gd name="T7" fmla="*/ 550 h 577"/>
                <a:gd name="T8" fmla="*/ 551 w 577"/>
                <a:gd name="T9" fmla="*/ 577 h 5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7" h="577">
                  <a:moveTo>
                    <a:pt x="551" y="577"/>
                  </a:moveTo>
                  <a:lnTo>
                    <a:pt x="0" y="26"/>
                  </a:lnTo>
                  <a:lnTo>
                    <a:pt x="27" y="0"/>
                  </a:lnTo>
                  <a:lnTo>
                    <a:pt x="577" y="550"/>
                  </a:lnTo>
                  <a:lnTo>
                    <a:pt x="551" y="57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h-TH" sz="1677"/>
            </a:p>
          </p:txBody>
        </p:sp>
        <p:sp>
          <p:nvSpPr>
            <p:cNvPr id="48" name="Freeform 12">
              <a:extLst>
                <a:ext uri="{FF2B5EF4-FFF2-40B4-BE49-F238E27FC236}">
                  <a16:creationId xmlns:a16="http://schemas.microsoft.com/office/drawing/2014/main" id="{5810FCF0-BDAC-6830-D65A-A8FE2597BF9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87238" y="6745288"/>
              <a:ext cx="915988" cy="915988"/>
            </a:xfrm>
            <a:custGeom>
              <a:avLst/>
              <a:gdLst>
                <a:gd name="T0" fmla="*/ 26 w 577"/>
                <a:gd name="T1" fmla="*/ 577 h 577"/>
                <a:gd name="T2" fmla="*/ 0 w 577"/>
                <a:gd name="T3" fmla="*/ 550 h 577"/>
                <a:gd name="T4" fmla="*/ 538 w 577"/>
                <a:gd name="T5" fmla="*/ 0 h 577"/>
                <a:gd name="T6" fmla="*/ 577 w 577"/>
                <a:gd name="T7" fmla="*/ 26 h 577"/>
                <a:gd name="T8" fmla="*/ 26 w 577"/>
                <a:gd name="T9" fmla="*/ 577 h 5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7" h="577">
                  <a:moveTo>
                    <a:pt x="26" y="577"/>
                  </a:moveTo>
                  <a:lnTo>
                    <a:pt x="0" y="550"/>
                  </a:lnTo>
                  <a:lnTo>
                    <a:pt x="538" y="0"/>
                  </a:lnTo>
                  <a:lnTo>
                    <a:pt x="577" y="26"/>
                  </a:lnTo>
                  <a:lnTo>
                    <a:pt x="26" y="577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h-TH" sz="1677"/>
            </a:p>
          </p:txBody>
        </p:sp>
        <p:sp>
          <p:nvSpPr>
            <p:cNvPr id="49" name="Freeform 13">
              <a:extLst>
                <a:ext uri="{FF2B5EF4-FFF2-40B4-BE49-F238E27FC236}">
                  <a16:creationId xmlns:a16="http://schemas.microsoft.com/office/drawing/2014/main" id="{E80574A4-8B30-76A6-2453-7E799BBE67B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12525" y="7618413"/>
              <a:ext cx="915988" cy="895350"/>
            </a:xfrm>
            <a:custGeom>
              <a:avLst/>
              <a:gdLst>
                <a:gd name="T0" fmla="*/ 27 w 577"/>
                <a:gd name="T1" fmla="*/ 564 h 564"/>
                <a:gd name="T2" fmla="*/ 0 w 577"/>
                <a:gd name="T3" fmla="*/ 538 h 564"/>
                <a:gd name="T4" fmla="*/ 551 w 577"/>
                <a:gd name="T5" fmla="*/ 0 h 564"/>
                <a:gd name="T6" fmla="*/ 577 w 577"/>
                <a:gd name="T7" fmla="*/ 27 h 564"/>
                <a:gd name="T8" fmla="*/ 27 w 577"/>
                <a:gd name="T9" fmla="*/ 564 h 5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7" h="564">
                  <a:moveTo>
                    <a:pt x="27" y="564"/>
                  </a:moveTo>
                  <a:lnTo>
                    <a:pt x="0" y="538"/>
                  </a:lnTo>
                  <a:lnTo>
                    <a:pt x="551" y="0"/>
                  </a:lnTo>
                  <a:lnTo>
                    <a:pt x="577" y="27"/>
                  </a:lnTo>
                  <a:lnTo>
                    <a:pt x="27" y="56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h-TH" sz="1677"/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4C3C9DDB-69CA-6012-4ADA-5C41E6739A0F}"/>
              </a:ext>
            </a:extLst>
          </p:cNvPr>
          <p:cNvGrpSpPr/>
          <p:nvPr/>
        </p:nvGrpSpPr>
        <p:grpSpPr>
          <a:xfrm flipV="1">
            <a:off x="4440363" y="4604364"/>
            <a:ext cx="772336" cy="772335"/>
            <a:chOff x="8622743" y="3656822"/>
            <a:chExt cx="507940" cy="507941"/>
          </a:xfrm>
          <a:effectLst>
            <a:outerShdw blurRad="152400" dist="1143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98BA0FC6-C832-CB85-5352-E121D025410F}"/>
                </a:ext>
              </a:extLst>
            </p:cNvPr>
            <p:cNvSpPr/>
            <p:nvPr/>
          </p:nvSpPr>
          <p:spPr>
            <a:xfrm>
              <a:off x="8622743" y="3656822"/>
              <a:ext cx="507940" cy="50794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dirty="0"/>
            </a:p>
          </p:txBody>
        </p:sp>
        <p:sp>
          <p:nvSpPr>
            <p:cNvPr id="41" name="Star: 5 Points 8">
              <a:extLst>
                <a:ext uri="{FF2B5EF4-FFF2-40B4-BE49-F238E27FC236}">
                  <a16:creationId xmlns:a16="http://schemas.microsoft.com/office/drawing/2014/main" id="{B4D39887-6BBE-E775-4680-B04E69D471BB}"/>
                </a:ext>
              </a:extLst>
            </p:cNvPr>
            <p:cNvSpPr/>
            <p:nvPr/>
          </p:nvSpPr>
          <p:spPr>
            <a:xfrm>
              <a:off x="8743776" y="3775414"/>
              <a:ext cx="265866" cy="265866"/>
            </a:xfrm>
            <a:prstGeom prst="star5">
              <a:avLst/>
            </a:prstGeom>
            <a:noFill/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10F01412-4EB8-EC2A-FF8C-A217BB40A116}"/>
              </a:ext>
            </a:extLst>
          </p:cNvPr>
          <p:cNvGrpSpPr/>
          <p:nvPr/>
        </p:nvGrpSpPr>
        <p:grpSpPr>
          <a:xfrm flipV="1">
            <a:off x="6973710" y="4604364"/>
            <a:ext cx="772336" cy="772335"/>
            <a:chOff x="5485521" y="5388923"/>
            <a:chExt cx="507940" cy="507941"/>
          </a:xfrm>
          <a:effectLst>
            <a:outerShdw blurRad="152400" dist="1143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67EDEF7A-409B-3C8B-D9BF-CA463B253EE1}"/>
                </a:ext>
              </a:extLst>
            </p:cNvPr>
            <p:cNvSpPr/>
            <p:nvPr/>
          </p:nvSpPr>
          <p:spPr>
            <a:xfrm>
              <a:off x="5485521" y="5388923"/>
              <a:ext cx="507940" cy="50794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dirty="0"/>
            </a:p>
          </p:txBody>
        </p:sp>
        <p:sp>
          <p:nvSpPr>
            <p:cNvPr id="39" name="Star: 5 Points 8">
              <a:extLst>
                <a:ext uri="{FF2B5EF4-FFF2-40B4-BE49-F238E27FC236}">
                  <a16:creationId xmlns:a16="http://schemas.microsoft.com/office/drawing/2014/main" id="{D315121E-07AE-6BD1-8AB4-EC536480B4F1}"/>
                </a:ext>
              </a:extLst>
            </p:cNvPr>
            <p:cNvSpPr/>
            <p:nvPr/>
          </p:nvSpPr>
          <p:spPr>
            <a:xfrm>
              <a:off x="5608546" y="5501466"/>
              <a:ext cx="265866" cy="265866"/>
            </a:xfrm>
            <a:prstGeom prst="star5">
              <a:avLst/>
            </a:prstGeom>
            <a:noFill/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9B929565-4F3E-96DC-218F-51639B2190AC}"/>
              </a:ext>
            </a:extLst>
          </p:cNvPr>
          <p:cNvGrpSpPr/>
          <p:nvPr/>
        </p:nvGrpSpPr>
        <p:grpSpPr>
          <a:xfrm flipV="1">
            <a:off x="4440363" y="2107974"/>
            <a:ext cx="772336" cy="772335"/>
            <a:chOff x="2974262" y="4412485"/>
            <a:chExt cx="507940" cy="507941"/>
          </a:xfrm>
          <a:effectLst>
            <a:outerShdw blurRad="152400" dist="1143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AEBBEB72-2750-5B5A-9950-8F3FC5C516DE}"/>
                </a:ext>
              </a:extLst>
            </p:cNvPr>
            <p:cNvSpPr/>
            <p:nvPr/>
          </p:nvSpPr>
          <p:spPr>
            <a:xfrm>
              <a:off x="2974262" y="4412485"/>
              <a:ext cx="507940" cy="507941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dirty="0"/>
            </a:p>
          </p:txBody>
        </p:sp>
        <p:sp>
          <p:nvSpPr>
            <p:cNvPr id="37" name="Star: 5 Points 8">
              <a:extLst>
                <a:ext uri="{FF2B5EF4-FFF2-40B4-BE49-F238E27FC236}">
                  <a16:creationId xmlns:a16="http://schemas.microsoft.com/office/drawing/2014/main" id="{F89FB491-60E6-1AFC-5B48-53420963DE47}"/>
                </a:ext>
              </a:extLst>
            </p:cNvPr>
            <p:cNvSpPr/>
            <p:nvPr/>
          </p:nvSpPr>
          <p:spPr>
            <a:xfrm>
              <a:off x="3095295" y="4538750"/>
              <a:ext cx="265866" cy="265866"/>
            </a:xfrm>
            <a:prstGeom prst="star5">
              <a:avLst/>
            </a:prstGeom>
            <a:noFill/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6FFABBB4-E305-476D-1F5B-5A30AA53CAEC}"/>
              </a:ext>
            </a:extLst>
          </p:cNvPr>
          <p:cNvGrpSpPr/>
          <p:nvPr/>
        </p:nvGrpSpPr>
        <p:grpSpPr>
          <a:xfrm flipV="1">
            <a:off x="6973713" y="2080315"/>
            <a:ext cx="772336" cy="772335"/>
            <a:chOff x="5485523" y="5388921"/>
            <a:chExt cx="507940" cy="507941"/>
          </a:xfrm>
          <a:effectLst>
            <a:outerShdw blurRad="152400" dist="1143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0C517681-31E2-0484-C648-366468105509}"/>
                </a:ext>
              </a:extLst>
            </p:cNvPr>
            <p:cNvSpPr/>
            <p:nvPr/>
          </p:nvSpPr>
          <p:spPr>
            <a:xfrm>
              <a:off x="5485523" y="5388921"/>
              <a:ext cx="507940" cy="507941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dirty="0"/>
            </a:p>
          </p:txBody>
        </p:sp>
        <p:sp>
          <p:nvSpPr>
            <p:cNvPr id="35" name="Star: 5 Points 8">
              <a:extLst>
                <a:ext uri="{FF2B5EF4-FFF2-40B4-BE49-F238E27FC236}">
                  <a16:creationId xmlns:a16="http://schemas.microsoft.com/office/drawing/2014/main" id="{7AAEA154-B553-96D2-CDFF-DA370DEB655F}"/>
                </a:ext>
              </a:extLst>
            </p:cNvPr>
            <p:cNvSpPr/>
            <p:nvPr/>
          </p:nvSpPr>
          <p:spPr>
            <a:xfrm>
              <a:off x="5608546" y="5501466"/>
              <a:ext cx="265866" cy="265866"/>
            </a:xfrm>
            <a:prstGeom prst="star5">
              <a:avLst/>
            </a:prstGeom>
            <a:noFill/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</p:grpSp>
      <p:sp>
        <p:nvSpPr>
          <p:cNvPr id="15" name="Shape1_20180321_132008">
            <a:extLst>
              <a:ext uri="{FF2B5EF4-FFF2-40B4-BE49-F238E27FC236}">
                <a16:creationId xmlns:a16="http://schemas.microsoft.com/office/drawing/2014/main" id="{841E5F4D-BE09-04E7-22F1-993E74270CF8}"/>
              </a:ext>
            </a:extLst>
          </p:cNvPr>
          <p:cNvSpPr txBox="1">
            <a:spLocks/>
          </p:cNvSpPr>
          <p:nvPr/>
        </p:nvSpPr>
        <p:spPr>
          <a:xfrm>
            <a:off x="8621867" y="4257864"/>
            <a:ext cx="2503614" cy="102592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16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tx1"/>
                </a:solidFill>
                <a:latin typeface="+mn-lt"/>
              </a:rPr>
              <a:t>TITLE GOES HERE</a:t>
            </a:r>
            <a:br>
              <a:rPr lang="en-US" sz="1400" b="1" dirty="0">
                <a:solidFill>
                  <a:schemeClr val="tx1"/>
                </a:solidFill>
                <a:latin typeface="+mn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ext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br>
              <a:rPr lang="en-US" sz="1100" dirty="0">
                <a:solidFill>
                  <a:schemeClr val="tx1"/>
                </a:solidFill>
                <a:latin typeface="+mn-lt"/>
              </a:rPr>
            </a:b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</a:t>
            </a:r>
            <a:br>
              <a:rPr lang="en-US" sz="1100" dirty="0">
                <a:solidFill>
                  <a:schemeClr val="tx1"/>
                </a:solidFill>
                <a:latin typeface="+mn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ext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br>
              <a:rPr lang="en-US" sz="1100" dirty="0">
                <a:solidFill>
                  <a:schemeClr val="tx1"/>
                </a:solidFill>
                <a:latin typeface="+mn-lt"/>
              </a:rPr>
            </a:b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endParaRPr lang="en-US" sz="1100" dirty="0">
              <a:solidFill>
                <a:schemeClr val="tx1"/>
              </a:solidFill>
              <a:latin typeface="+mn-lt"/>
            </a:endParaRPr>
          </a:p>
          <a:p>
            <a:pPr marL="0" indent="0">
              <a:lnSpc>
                <a:spcPts val="1600"/>
              </a:lnSpc>
              <a:spcAft>
                <a:spcPts val="1200"/>
              </a:spcAft>
              <a:buNone/>
            </a:pPr>
            <a:endParaRPr lang="en-US" sz="1100" dirty="0">
              <a:solidFill>
                <a:schemeClr val="tx1"/>
              </a:solidFill>
              <a:latin typeface="+mn-lt"/>
            </a:endParaRPr>
          </a:p>
          <a:p>
            <a:pPr marL="0" indent="0">
              <a:lnSpc>
                <a:spcPts val="1600"/>
              </a:lnSpc>
              <a:spcAft>
                <a:spcPts val="1200"/>
              </a:spcAft>
              <a:buNone/>
            </a:pPr>
            <a:endParaRPr lang="en-US" sz="11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6" name="Shape2_20180321_132008">
            <a:extLst>
              <a:ext uri="{FF2B5EF4-FFF2-40B4-BE49-F238E27FC236}">
                <a16:creationId xmlns:a16="http://schemas.microsoft.com/office/drawing/2014/main" id="{92C6D0F8-CC3F-DBD4-1A03-9B996EC2260C}"/>
              </a:ext>
            </a:extLst>
          </p:cNvPr>
          <p:cNvSpPr txBox="1">
            <a:spLocks/>
          </p:cNvSpPr>
          <p:nvPr/>
        </p:nvSpPr>
        <p:spPr>
          <a:xfrm>
            <a:off x="1066520" y="4257864"/>
            <a:ext cx="2503614" cy="102592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ts val="16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tx1"/>
                </a:solidFill>
                <a:latin typeface="+mn-lt"/>
              </a:rPr>
              <a:t>TITLE GOES HERE</a:t>
            </a:r>
            <a:br>
              <a:rPr lang="en-US" sz="1400" b="1" dirty="0">
                <a:solidFill>
                  <a:schemeClr val="tx1"/>
                </a:solidFill>
                <a:latin typeface="+mn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ext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br>
              <a:rPr lang="en-US" sz="1100" dirty="0">
                <a:solidFill>
                  <a:schemeClr val="tx1"/>
                </a:solidFill>
                <a:latin typeface="+mn-lt"/>
              </a:rPr>
            </a:b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</a:t>
            </a:r>
            <a:br>
              <a:rPr lang="en-US" sz="1100" dirty="0">
                <a:solidFill>
                  <a:schemeClr val="tx1"/>
                </a:solidFill>
                <a:latin typeface="+mn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ext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br>
              <a:rPr lang="en-US" sz="1100" dirty="0">
                <a:solidFill>
                  <a:schemeClr val="tx1"/>
                </a:solidFill>
                <a:latin typeface="+mn-lt"/>
              </a:rPr>
            </a:b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endParaRPr lang="en-US" sz="1100" dirty="0">
              <a:solidFill>
                <a:schemeClr val="tx1"/>
              </a:solidFill>
              <a:latin typeface="+mn-lt"/>
            </a:endParaRPr>
          </a:p>
          <a:p>
            <a:pPr marL="0" indent="0" algn="r">
              <a:lnSpc>
                <a:spcPts val="1600"/>
              </a:lnSpc>
              <a:spcAft>
                <a:spcPts val="1200"/>
              </a:spcAft>
              <a:buNone/>
            </a:pPr>
            <a:endParaRPr lang="en-US" sz="1100" dirty="0">
              <a:solidFill>
                <a:schemeClr val="tx1"/>
              </a:solidFill>
              <a:latin typeface="+mn-lt"/>
            </a:endParaRPr>
          </a:p>
          <a:p>
            <a:pPr marL="0" indent="0" algn="r">
              <a:lnSpc>
                <a:spcPts val="1600"/>
              </a:lnSpc>
              <a:spcAft>
                <a:spcPts val="1200"/>
              </a:spcAft>
              <a:buNone/>
            </a:pPr>
            <a:endParaRPr lang="en-US" sz="11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7" name="Shape3_20180321_132008">
            <a:extLst>
              <a:ext uri="{FF2B5EF4-FFF2-40B4-BE49-F238E27FC236}">
                <a16:creationId xmlns:a16="http://schemas.microsoft.com/office/drawing/2014/main" id="{AFDFE065-10CF-82F9-C0FA-DD6A294B997A}"/>
              </a:ext>
            </a:extLst>
          </p:cNvPr>
          <p:cNvSpPr txBox="1">
            <a:spLocks/>
          </p:cNvSpPr>
          <p:nvPr/>
        </p:nvSpPr>
        <p:spPr>
          <a:xfrm>
            <a:off x="8621867" y="2081114"/>
            <a:ext cx="2503614" cy="102592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16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tx1"/>
                </a:solidFill>
                <a:latin typeface="+mn-lt"/>
              </a:rPr>
              <a:t>TITLE GOES HERE</a:t>
            </a:r>
            <a:br>
              <a:rPr lang="en-US" sz="1400" b="1" dirty="0">
                <a:solidFill>
                  <a:schemeClr val="tx1"/>
                </a:solidFill>
                <a:latin typeface="+mn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ext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br>
              <a:rPr lang="en-US" sz="1100" dirty="0">
                <a:solidFill>
                  <a:schemeClr val="tx1"/>
                </a:solidFill>
                <a:latin typeface="+mn-lt"/>
              </a:rPr>
            </a:b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</a:t>
            </a:r>
            <a:br>
              <a:rPr lang="en-US" sz="1100" dirty="0">
                <a:solidFill>
                  <a:schemeClr val="tx1"/>
                </a:solidFill>
                <a:latin typeface="+mn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ext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br>
              <a:rPr lang="en-US" sz="1100" dirty="0">
                <a:solidFill>
                  <a:schemeClr val="tx1"/>
                </a:solidFill>
                <a:latin typeface="+mn-lt"/>
              </a:rPr>
            </a:b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endParaRPr lang="en-US" sz="1100" dirty="0">
              <a:solidFill>
                <a:schemeClr val="tx1"/>
              </a:solidFill>
              <a:latin typeface="+mn-lt"/>
            </a:endParaRPr>
          </a:p>
          <a:p>
            <a:pPr marL="0" indent="0">
              <a:lnSpc>
                <a:spcPts val="1600"/>
              </a:lnSpc>
              <a:spcAft>
                <a:spcPts val="1200"/>
              </a:spcAft>
              <a:buNone/>
            </a:pPr>
            <a:endParaRPr lang="en-US" sz="1100" dirty="0">
              <a:solidFill>
                <a:schemeClr val="tx1"/>
              </a:solidFill>
              <a:latin typeface="+mn-lt"/>
            </a:endParaRPr>
          </a:p>
          <a:p>
            <a:pPr marL="0" indent="0">
              <a:lnSpc>
                <a:spcPts val="1600"/>
              </a:lnSpc>
              <a:spcAft>
                <a:spcPts val="1200"/>
              </a:spcAft>
              <a:buNone/>
            </a:pPr>
            <a:endParaRPr lang="en-US" sz="11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8" name="Shape0_20180321_132008">
            <a:extLst>
              <a:ext uri="{FF2B5EF4-FFF2-40B4-BE49-F238E27FC236}">
                <a16:creationId xmlns:a16="http://schemas.microsoft.com/office/drawing/2014/main" id="{1CD72850-3FEB-97AF-8EF7-3BC6338627F8}"/>
              </a:ext>
            </a:extLst>
          </p:cNvPr>
          <p:cNvSpPr txBox="1">
            <a:spLocks/>
          </p:cNvSpPr>
          <p:nvPr/>
        </p:nvSpPr>
        <p:spPr>
          <a:xfrm>
            <a:off x="1066520" y="2081114"/>
            <a:ext cx="2503614" cy="102592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ts val="16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tx1"/>
                </a:solidFill>
                <a:latin typeface="+mn-lt"/>
              </a:rPr>
              <a:t>TITLE GOES HERE</a:t>
            </a:r>
            <a:br>
              <a:rPr lang="en-US" sz="1400" b="1" dirty="0">
                <a:solidFill>
                  <a:schemeClr val="tx1"/>
                </a:solidFill>
                <a:latin typeface="+mn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ext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br>
              <a:rPr lang="en-US" sz="1100" dirty="0">
                <a:solidFill>
                  <a:schemeClr val="tx1"/>
                </a:solidFill>
                <a:latin typeface="+mn-lt"/>
              </a:rPr>
            </a:b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</a:t>
            </a:r>
            <a:br>
              <a:rPr lang="en-US" sz="1100" dirty="0">
                <a:solidFill>
                  <a:schemeClr val="tx1"/>
                </a:solidFill>
                <a:latin typeface="+mn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ext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br>
              <a:rPr lang="en-US" sz="1100" dirty="0">
                <a:solidFill>
                  <a:schemeClr val="tx1"/>
                </a:solidFill>
                <a:latin typeface="+mn-lt"/>
              </a:rPr>
            </a:b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endParaRPr lang="en-US" sz="1100" dirty="0">
              <a:solidFill>
                <a:schemeClr val="tx1"/>
              </a:solidFill>
              <a:latin typeface="+mn-lt"/>
            </a:endParaRPr>
          </a:p>
          <a:p>
            <a:pPr marL="0" indent="0" algn="r">
              <a:lnSpc>
                <a:spcPts val="1600"/>
              </a:lnSpc>
              <a:spcAft>
                <a:spcPts val="1200"/>
              </a:spcAft>
              <a:buNone/>
            </a:pPr>
            <a:endParaRPr lang="en-US" sz="1100" dirty="0">
              <a:solidFill>
                <a:schemeClr val="tx1"/>
              </a:solidFill>
              <a:latin typeface="+mn-lt"/>
            </a:endParaRPr>
          </a:p>
          <a:p>
            <a:pPr marL="0" indent="0" algn="r">
              <a:lnSpc>
                <a:spcPts val="1600"/>
              </a:lnSpc>
              <a:spcAft>
                <a:spcPts val="1200"/>
              </a:spcAft>
              <a:buNone/>
            </a:pPr>
            <a:endParaRPr lang="en-US" sz="1100" dirty="0">
              <a:solidFill>
                <a:schemeClr val="tx1"/>
              </a:solidFill>
              <a:latin typeface="+mn-lt"/>
            </a:endParaRPr>
          </a:p>
          <a:p>
            <a:pPr marL="0" indent="0" algn="r">
              <a:lnSpc>
                <a:spcPts val="1600"/>
              </a:lnSpc>
              <a:spcAft>
                <a:spcPts val="1200"/>
              </a:spcAft>
              <a:buNone/>
            </a:pPr>
            <a:endParaRPr lang="en-US" sz="1100" dirty="0">
              <a:solidFill>
                <a:schemeClr val="tx1"/>
              </a:solidFill>
              <a:latin typeface="+mn-lt"/>
            </a:endParaRPr>
          </a:p>
          <a:p>
            <a:pPr marL="0" indent="0" algn="r">
              <a:lnSpc>
                <a:spcPts val="1600"/>
              </a:lnSpc>
              <a:spcAft>
                <a:spcPts val="1200"/>
              </a:spcAft>
              <a:buNone/>
            </a:pPr>
            <a:endParaRPr lang="en-US" sz="1100" dirty="0">
              <a:solidFill>
                <a:schemeClr val="tx1"/>
              </a:solidFill>
              <a:latin typeface="+mn-lt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65FF108D-8747-5174-A4C6-E737525D1199}"/>
              </a:ext>
            </a:extLst>
          </p:cNvPr>
          <p:cNvGrpSpPr/>
          <p:nvPr/>
        </p:nvGrpSpPr>
        <p:grpSpPr>
          <a:xfrm>
            <a:off x="7128638" y="4855661"/>
            <a:ext cx="497124" cy="335236"/>
            <a:chOff x="6716027" y="5411634"/>
            <a:chExt cx="583964" cy="393797"/>
          </a:xfrm>
          <a:solidFill>
            <a:schemeClr val="bg1"/>
          </a:solidFill>
        </p:grpSpPr>
        <p:sp>
          <p:nvSpPr>
            <p:cNvPr id="31" name="Freeform 17">
              <a:extLst>
                <a:ext uri="{FF2B5EF4-FFF2-40B4-BE49-F238E27FC236}">
                  <a16:creationId xmlns:a16="http://schemas.microsoft.com/office/drawing/2014/main" id="{BFAEA40A-9CC2-F039-255B-F542CBD2A069}"/>
                </a:ext>
              </a:extLst>
            </p:cNvPr>
            <p:cNvSpPr>
              <a:spLocks noEditPoints="1"/>
            </p:cNvSpPr>
            <p:nvPr/>
          </p:nvSpPr>
          <p:spPr bwMode="auto">
            <a:xfrm rot="2700000">
              <a:off x="6832931" y="5294730"/>
              <a:ext cx="350155" cy="583964"/>
            </a:xfrm>
            <a:custGeom>
              <a:avLst/>
              <a:gdLst>
                <a:gd name="T0" fmla="*/ 50 w 184"/>
                <a:gd name="T1" fmla="*/ 310 h 310"/>
                <a:gd name="T2" fmla="*/ 32 w 184"/>
                <a:gd name="T3" fmla="*/ 282 h 310"/>
                <a:gd name="T4" fmla="*/ 10 w 184"/>
                <a:gd name="T5" fmla="*/ 199 h 310"/>
                <a:gd name="T6" fmla="*/ 39 w 184"/>
                <a:gd name="T7" fmla="*/ 171 h 310"/>
                <a:gd name="T8" fmla="*/ 30 w 184"/>
                <a:gd name="T9" fmla="*/ 116 h 310"/>
                <a:gd name="T10" fmla="*/ 36 w 184"/>
                <a:gd name="T11" fmla="*/ 73 h 310"/>
                <a:gd name="T12" fmla="*/ 36 w 184"/>
                <a:gd name="T13" fmla="*/ 72 h 310"/>
                <a:gd name="T14" fmla="*/ 92 w 184"/>
                <a:gd name="T15" fmla="*/ 0 h 310"/>
                <a:gd name="T16" fmla="*/ 148 w 184"/>
                <a:gd name="T17" fmla="*/ 72 h 310"/>
                <a:gd name="T18" fmla="*/ 148 w 184"/>
                <a:gd name="T19" fmla="*/ 73 h 310"/>
                <a:gd name="T20" fmla="*/ 155 w 184"/>
                <a:gd name="T21" fmla="*/ 116 h 310"/>
                <a:gd name="T22" fmla="*/ 145 w 184"/>
                <a:gd name="T23" fmla="*/ 171 h 310"/>
                <a:gd name="T24" fmla="*/ 174 w 184"/>
                <a:gd name="T25" fmla="*/ 199 h 310"/>
                <a:gd name="T26" fmla="*/ 153 w 184"/>
                <a:gd name="T27" fmla="*/ 282 h 310"/>
                <a:gd name="T28" fmla="*/ 134 w 184"/>
                <a:gd name="T29" fmla="*/ 310 h 310"/>
                <a:gd name="T30" fmla="*/ 134 w 184"/>
                <a:gd name="T31" fmla="*/ 276 h 310"/>
                <a:gd name="T32" fmla="*/ 118 w 184"/>
                <a:gd name="T33" fmla="*/ 239 h 310"/>
                <a:gd name="T34" fmla="*/ 118 w 184"/>
                <a:gd name="T35" fmla="*/ 240 h 310"/>
                <a:gd name="T36" fmla="*/ 115 w 184"/>
                <a:gd name="T37" fmla="*/ 246 h 310"/>
                <a:gd name="T38" fmla="*/ 108 w 184"/>
                <a:gd name="T39" fmla="*/ 245 h 310"/>
                <a:gd name="T40" fmla="*/ 76 w 184"/>
                <a:gd name="T41" fmla="*/ 245 h 310"/>
                <a:gd name="T42" fmla="*/ 69 w 184"/>
                <a:gd name="T43" fmla="*/ 246 h 310"/>
                <a:gd name="T44" fmla="*/ 66 w 184"/>
                <a:gd name="T45" fmla="*/ 240 h 310"/>
                <a:gd name="T46" fmla="*/ 66 w 184"/>
                <a:gd name="T47" fmla="*/ 239 h 310"/>
                <a:gd name="T48" fmla="*/ 50 w 184"/>
                <a:gd name="T49" fmla="*/ 276 h 310"/>
                <a:gd name="T50" fmla="*/ 50 w 184"/>
                <a:gd name="T51" fmla="*/ 310 h 310"/>
                <a:gd name="T52" fmla="*/ 55 w 184"/>
                <a:gd name="T53" fmla="*/ 79 h 310"/>
                <a:gd name="T54" fmla="*/ 50 w 184"/>
                <a:gd name="T55" fmla="*/ 116 h 310"/>
                <a:gd name="T56" fmla="*/ 61 w 184"/>
                <a:gd name="T57" fmla="*/ 174 h 310"/>
                <a:gd name="T58" fmla="*/ 64 w 184"/>
                <a:gd name="T59" fmla="*/ 184 h 310"/>
                <a:gd name="T60" fmla="*/ 54 w 184"/>
                <a:gd name="T61" fmla="*/ 187 h 310"/>
                <a:gd name="T62" fmla="*/ 29 w 184"/>
                <a:gd name="T63" fmla="*/ 205 h 310"/>
                <a:gd name="T64" fmla="*/ 36 w 184"/>
                <a:gd name="T65" fmla="*/ 247 h 310"/>
                <a:gd name="T66" fmla="*/ 65 w 184"/>
                <a:gd name="T67" fmla="*/ 215 h 310"/>
                <a:gd name="T68" fmla="*/ 74 w 184"/>
                <a:gd name="T69" fmla="*/ 209 h 310"/>
                <a:gd name="T70" fmla="*/ 79 w 184"/>
                <a:gd name="T71" fmla="*/ 219 h 310"/>
                <a:gd name="T72" fmla="*/ 82 w 184"/>
                <a:gd name="T73" fmla="*/ 225 h 310"/>
                <a:gd name="T74" fmla="*/ 103 w 184"/>
                <a:gd name="T75" fmla="*/ 225 h 310"/>
                <a:gd name="T76" fmla="*/ 105 w 184"/>
                <a:gd name="T77" fmla="*/ 219 h 310"/>
                <a:gd name="T78" fmla="*/ 110 w 184"/>
                <a:gd name="T79" fmla="*/ 209 h 310"/>
                <a:gd name="T80" fmla="*/ 120 w 184"/>
                <a:gd name="T81" fmla="*/ 215 h 310"/>
                <a:gd name="T82" fmla="*/ 148 w 184"/>
                <a:gd name="T83" fmla="*/ 247 h 310"/>
                <a:gd name="T84" fmla="*/ 155 w 184"/>
                <a:gd name="T85" fmla="*/ 205 h 310"/>
                <a:gd name="T86" fmla="*/ 130 w 184"/>
                <a:gd name="T87" fmla="*/ 187 h 310"/>
                <a:gd name="T88" fmla="*/ 120 w 184"/>
                <a:gd name="T89" fmla="*/ 184 h 310"/>
                <a:gd name="T90" fmla="*/ 123 w 184"/>
                <a:gd name="T91" fmla="*/ 174 h 310"/>
                <a:gd name="T92" fmla="*/ 135 w 184"/>
                <a:gd name="T93" fmla="*/ 116 h 310"/>
                <a:gd name="T94" fmla="*/ 129 w 184"/>
                <a:gd name="T95" fmla="*/ 79 h 310"/>
                <a:gd name="T96" fmla="*/ 92 w 184"/>
                <a:gd name="T97" fmla="*/ 21 h 310"/>
                <a:gd name="T98" fmla="*/ 55 w 184"/>
                <a:gd name="T99" fmla="*/ 79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84" h="310">
                  <a:moveTo>
                    <a:pt x="50" y="310"/>
                  </a:moveTo>
                  <a:cubicBezTo>
                    <a:pt x="32" y="282"/>
                    <a:pt x="32" y="282"/>
                    <a:pt x="32" y="282"/>
                  </a:cubicBezTo>
                  <a:cubicBezTo>
                    <a:pt x="28" y="276"/>
                    <a:pt x="0" y="230"/>
                    <a:pt x="10" y="199"/>
                  </a:cubicBezTo>
                  <a:cubicBezTo>
                    <a:pt x="14" y="187"/>
                    <a:pt x="24" y="178"/>
                    <a:pt x="39" y="171"/>
                  </a:cubicBezTo>
                  <a:cubicBezTo>
                    <a:pt x="33" y="151"/>
                    <a:pt x="30" y="132"/>
                    <a:pt x="30" y="116"/>
                  </a:cubicBezTo>
                  <a:cubicBezTo>
                    <a:pt x="30" y="102"/>
                    <a:pt x="32" y="87"/>
                    <a:pt x="36" y="73"/>
                  </a:cubicBezTo>
                  <a:cubicBezTo>
                    <a:pt x="36" y="72"/>
                    <a:pt x="36" y="72"/>
                    <a:pt x="36" y="72"/>
                  </a:cubicBezTo>
                  <a:cubicBezTo>
                    <a:pt x="50" y="35"/>
                    <a:pt x="77" y="0"/>
                    <a:pt x="92" y="0"/>
                  </a:cubicBezTo>
                  <a:cubicBezTo>
                    <a:pt x="107" y="0"/>
                    <a:pt x="134" y="35"/>
                    <a:pt x="148" y="72"/>
                  </a:cubicBezTo>
                  <a:cubicBezTo>
                    <a:pt x="148" y="73"/>
                    <a:pt x="148" y="73"/>
                    <a:pt x="148" y="73"/>
                  </a:cubicBezTo>
                  <a:cubicBezTo>
                    <a:pt x="152" y="87"/>
                    <a:pt x="155" y="102"/>
                    <a:pt x="155" y="116"/>
                  </a:cubicBezTo>
                  <a:cubicBezTo>
                    <a:pt x="155" y="132"/>
                    <a:pt x="152" y="151"/>
                    <a:pt x="145" y="171"/>
                  </a:cubicBezTo>
                  <a:cubicBezTo>
                    <a:pt x="160" y="178"/>
                    <a:pt x="170" y="187"/>
                    <a:pt x="174" y="199"/>
                  </a:cubicBezTo>
                  <a:cubicBezTo>
                    <a:pt x="184" y="230"/>
                    <a:pt x="156" y="276"/>
                    <a:pt x="153" y="282"/>
                  </a:cubicBezTo>
                  <a:cubicBezTo>
                    <a:pt x="134" y="310"/>
                    <a:pt x="134" y="310"/>
                    <a:pt x="134" y="310"/>
                  </a:cubicBezTo>
                  <a:cubicBezTo>
                    <a:pt x="134" y="276"/>
                    <a:pt x="134" y="276"/>
                    <a:pt x="134" y="276"/>
                  </a:cubicBezTo>
                  <a:cubicBezTo>
                    <a:pt x="134" y="262"/>
                    <a:pt x="128" y="248"/>
                    <a:pt x="118" y="239"/>
                  </a:cubicBezTo>
                  <a:cubicBezTo>
                    <a:pt x="118" y="239"/>
                    <a:pt x="118" y="239"/>
                    <a:pt x="118" y="240"/>
                  </a:cubicBezTo>
                  <a:cubicBezTo>
                    <a:pt x="115" y="246"/>
                    <a:pt x="115" y="246"/>
                    <a:pt x="115" y="246"/>
                  </a:cubicBezTo>
                  <a:cubicBezTo>
                    <a:pt x="108" y="245"/>
                    <a:pt x="108" y="245"/>
                    <a:pt x="108" y="245"/>
                  </a:cubicBezTo>
                  <a:cubicBezTo>
                    <a:pt x="98" y="245"/>
                    <a:pt x="87" y="245"/>
                    <a:pt x="76" y="245"/>
                  </a:cubicBezTo>
                  <a:cubicBezTo>
                    <a:pt x="69" y="246"/>
                    <a:pt x="69" y="246"/>
                    <a:pt x="69" y="246"/>
                  </a:cubicBezTo>
                  <a:cubicBezTo>
                    <a:pt x="66" y="240"/>
                    <a:pt x="66" y="240"/>
                    <a:pt x="66" y="240"/>
                  </a:cubicBezTo>
                  <a:cubicBezTo>
                    <a:pt x="66" y="239"/>
                    <a:pt x="66" y="239"/>
                    <a:pt x="66" y="239"/>
                  </a:cubicBezTo>
                  <a:cubicBezTo>
                    <a:pt x="56" y="249"/>
                    <a:pt x="50" y="262"/>
                    <a:pt x="50" y="276"/>
                  </a:cubicBezTo>
                  <a:lnTo>
                    <a:pt x="50" y="310"/>
                  </a:lnTo>
                  <a:close/>
                  <a:moveTo>
                    <a:pt x="55" y="79"/>
                  </a:moveTo>
                  <a:cubicBezTo>
                    <a:pt x="52" y="91"/>
                    <a:pt x="50" y="104"/>
                    <a:pt x="50" y="116"/>
                  </a:cubicBezTo>
                  <a:cubicBezTo>
                    <a:pt x="50" y="132"/>
                    <a:pt x="53" y="152"/>
                    <a:pt x="61" y="174"/>
                  </a:cubicBezTo>
                  <a:cubicBezTo>
                    <a:pt x="64" y="184"/>
                    <a:pt x="64" y="184"/>
                    <a:pt x="64" y="184"/>
                  </a:cubicBezTo>
                  <a:cubicBezTo>
                    <a:pt x="54" y="187"/>
                    <a:pt x="54" y="187"/>
                    <a:pt x="54" y="187"/>
                  </a:cubicBezTo>
                  <a:cubicBezTo>
                    <a:pt x="45" y="190"/>
                    <a:pt x="33" y="196"/>
                    <a:pt x="29" y="205"/>
                  </a:cubicBezTo>
                  <a:cubicBezTo>
                    <a:pt x="26" y="216"/>
                    <a:pt x="30" y="233"/>
                    <a:pt x="36" y="247"/>
                  </a:cubicBezTo>
                  <a:cubicBezTo>
                    <a:pt x="42" y="234"/>
                    <a:pt x="52" y="223"/>
                    <a:pt x="65" y="215"/>
                  </a:cubicBezTo>
                  <a:cubicBezTo>
                    <a:pt x="74" y="209"/>
                    <a:pt x="74" y="209"/>
                    <a:pt x="74" y="209"/>
                  </a:cubicBezTo>
                  <a:cubicBezTo>
                    <a:pt x="79" y="219"/>
                    <a:pt x="79" y="219"/>
                    <a:pt x="79" y="219"/>
                  </a:cubicBezTo>
                  <a:cubicBezTo>
                    <a:pt x="80" y="221"/>
                    <a:pt x="81" y="223"/>
                    <a:pt x="82" y="225"/>
                  </a:cubicBezTo>
                  <a:cubicBezTo>
                    <a:pt x="89" y="225"/>
                    <a:pt x="96" y="225"/>
                    <a:pt x="103" y="225"/>
                  </a:cubicBezTo>
                  <a:cubicBezTo>
                    <a:pt x="104" y="223"/>
                    <a:pt x="105" y="221"/>
                    <a:pt x="105" y="219"/>
                  </a:cubicBezTo>
                  <a:cubicBezTo>
                    <a:pt x="110" y="209"/>
                    <a:pt x="110" y="209"/>
                    <a:pt x="110" y="209"/>
                  </a:cubicBezTo>
                  <a:cubicBezTo>
                    <a:pt x="120" y="215"/>
                    <a:pt x="120" y="215"/>
                    <a:pt x="120" y="215"/>
                  </a:cubicBezTo>
                  <a:cubicBezTo>
                    <a:pt x="133" y="223"/>
                    <a:pt x="142" y="234"/>
                    <a:pt x="148" y="247"/>
                  </a:cubicBezTo>
                  <a:cubicBezTo>
                    <a:pt x="154" y="233"/>
                    <a:pt x="159" y="216"/>
                    <a:pt x="155" y="205"/>
                  </a:cubicBezTo>
                  <a:cubicBezTo>
                    <a:pt x="152" y="196"/>
                    <a:pt x="140" y="190"/>
                    <a:pt x="130" y="187"/>
                  </a:cubicBezTo>
                  <a:cubicBezTo>
                    <a:pt x="120" y="184"/>
                    <a:pt x="120" y="184"/>
                    <a:pt x="120" y="184"/>
                  </a:cubicBezTo>
                  <a:cubicBezTo>
                    <a:pt x="123" y="174"/>
                    <a:pt x="123" y="174"/>
                    <a:pt x="123" y="174"/>
                  </a:cubicBezTo>
                  <a:cubicBezTo>
                    <a:pt x="131" y="152"/>
                    <a:pt x="135" y="132"/>
                    <a:pt x="135" y="116"/>
                  </a:cubicBezTo>
                  <a:cubicBezTo>
                    <a:pt x="135" y="104"/>
                    <a:pt x="133" y="91"/>
                    <a:pt x="129" y="79"/>
                  </a:cubicBezTo>
                  <a:cubicBezTo>
                    <a:pt x="117" y="47"/>
                    <a:pt x="99" y="26"/>
                    <a:pt x="92" y="21"/>
                  </a:cubicBezTo>
                  <a:cubicBezTo>
                    <a:pt x="85" y="26"/>
                    <a:pt x="67" y="47"/>
                    <a:pt x="55" y="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  <p:sp>
          <p:nvSpPr>
            <p:cNvPr id="32" name="Freeform 18">
              <a:extLst>
                <a:ext uri="{FF2B5EF4-FFF2-40B4-BE49-F238E27FC236}">
                  <a16:creationId xmlns:a16="http://schemas.microsoft.com/office/drawing/2014/main" id="{EF45A0FE-22C5-47C0-2770-93093F873B6C}"/>
                </a:ext>
              </a:extLst>
            </p:cNvPr>
            <p:cNvSpPr>
              <a:spLocks noEditPoints="1"/>
            </p:cNvSpPr>
            <p:nvPr/>
          </p:nvSpPr>
          <p:spPr bwMode="auto">
            <a:xfrm rot="2700000">
              <a:off x="6989613" y="5483631"/>
              <a:ext cx="121724" cy="120112"/>
            </a:xfrm>
            <a:custGeom>
              <a:avLst/>
              <a:gdLst>
                <a:gd name="T0" fmla="*/ 32 w 64"/>
                <a:gd name="T1" fmla="*/ 64 h 64"/>
                <a:gd name="T2" fmla="*/ 0 w 64"/>
                <a:gd name="T3" fmla="*/ 32 h 64"/>
                <a:gd name="T4" fmla="*/ 32 w 64"/>
                <a:gd name="T5" fmla="*/ 0 h 64"/>
                <a:gd name="T6" fmla="*/ 64 w 64"/>
                <a:gd name="T7" fmla="*/ 32 h 64"/>
                <a:gd name="T8" fmla="*/ 32 w 64"/>
                <a:gd name="T9" fmla="*/ 64 h 64"/>
                <a:gd name="T10" fmla="*/ 32 w 64"/>
                <a:gd name="T11" fmla="*/ 12 h 64"/>
                <a:gd name="T12" fmla="*/ 12 w 64"/>
                <a:gd name="T13" fmla="*/ 32 h 64"/>
                <a:gd name="T14" fmla="*/ 32 w 64"/>
                <a:gd name="T15" fmla="*/ 52 h 64"/>
                <a:gd name="T16" fmla="*/ 52 w 64"/>
                <a:gd name="T17" fmla="*/ 32 h 64"/>
                <a:gd name="T18" fmla="*/ 32 w 64"/>
                <a:gd name="T19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32" y="64"/>
                  </a:moveTo>
                  <a:cubicBezTo>
                    <a:pt x="14" y="64"/>
                    <a:pt x="0" y="50"/>
                    <a:pt x="0" y="32"/>
                  </a:cubicBezTo>
                  <a:cubicBezTo>
                    <a:pt x="0" y="14"/>
                    <a:pt x="14" y="0"/>
                    <a:pt x="32" y="0"/>
                  </a:cubicBezTo>
                  <a:cubicBezTo>
                    <a:pt x="50" y="0"/>
                    <a:pt x="64" y="14"/>
                    <a:pt x="64" y="32"/>
                  </a:cubicBezTo>
                  <a:cubicBezTo>
                    <a:pt x="64" y="50"/>
                    <a:pt x="50" y="64"/>
                    <a:pt x="32" y="64"/>
                  </a:cubicBezTo>
                  <a:close/>
                  <a:moveTo>
                    <a:pt x="32" y="12"/>
                  </a:moveTo>
                  <a:cubicBezTo>
                    <a:pt x="21" y="12"/>
                    <a:pt x="12" y="21"/>
                    <a:pt x="12" y="32"/>
                  </a:cubicBezTo>
                  <a:cubicBezTo>
                    <a:pt x="12" y="43"/>
                    <a:pt x="21" y="52"/>
                    <a:pt x="32" y="52"/>
                  </a:cubicBezTo>
                  <a:cubicBezTo>
                    <a:pt x="43" y="52"/>
                    <a:pt x="52" y="43"/>
                    <a:pt x="52" y="32"/>
                  </a:cubicBezTo>
                  <a:cubicBezTo>
                    <a:pt x="52" y="21"/>
                    <a:pt x="43" y="12"/>
                    <a:pt x="3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  <p:sp>
          <p:nvSpPr>
            <p:cNvPr id="33" name="Freeform 19">
              <a:extLst>
                <a:ext uri="{FF2B5EF4-FFF2-40B4-BE49-F238E27FC236}">
                  <a16:creationId xmlns:a16="http://schemas.microsoft.com/office/drawing/2014/main" id="{7BB30320-E1B0-D89E-FFFB-A6F2F3507A1C}"/>
                </a:ext>
              </a:extLst>
            </p:cNvPr>
            <p:cNvSpPr>
              <a:spLocks noEditPoints="1"/>
            </p:cNvSpPr>
            <p:nvPr/>
          </p:nvSpPr>
          <p:spPr bwMode="auto">
            <a:xfrm rot="2700000">
              <a:off x="6790966" y="5660018"/>
              <a:ext cx="112239" cy="178587"/>
            </a:xfrm>
            <a:custGeom>
              <a:avLst/>
              <a:gdLst>
                <a:gd name="T0" fmla="*/ 29 w 59"/>
                <a:gd name="T1" fmla="*/ 95 h 95"/>
                <a:gd name="T2" fmla="*/ 24 w 59"/>
                <a:gd name="T3" fmla="*/ 85 h 95"/>
                <a:gd name="T4" fmla="*/ 0 w 59"/>
                <a:gd name="T5" fmla="*/ 26 h 95"/>
                <a:gd name="T6" fmla="*/ 29 w 59"/>
                <a:gd name="T7" fmla="*/ 0 h 95"/>
                <a:gd name="T8" fmla="*/ 59 w 59"/>
                <a:gd name="T9" fmla="*/ 26 h 95"/>
                <a:gd name="T10" fmla="*/ 34 w 59"/>
                <a:gd name="T11" fmla="*/ 85 h 95"/>
                <a:gd name="T12" fmla="*/ 29 w 59"/>
                <a:gd name="T13" fmla="*/ 95 h 95"/>
                <a:gd name="T14" fmla="*/ 29 w 59"/>
                <a:gd name="T15" fmla="*/ 12 h 95"/>
                <a:gd name="T16" fmla="*/ 12 w 59"/>
                <a:gd name="T17" fmla="*/ 26 h 95"/>
                <a:gd name="T18" fmla="*/ 29 w 59"/>
                <a:gd name="T19" fmla="*/ 69 h 95"/>
                <a:gd name="T20" fmla="*/ 47 w 59"/>
                <a:gd name="T21" fmla="*/ 26 h 95"/>
                <a:gd name="T22" fmla="*/ 29 w 59"/>
                <a:gd name="T23" fmla="*/ 12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" h="95">
                  <a:moveTo>
                    <a:pt x="29" y="95"/>
                  </a:moveTo>
                  <a:cubicBezTo>
                    <a:pt x="24" y="85"/>
                    <a:pt x="24" y="85"/>
                    <a:pt x="24" y="85"/>
                  </a:cubicBezTo>
                  <a:cubicBezTo>
                    <a:pt x="20" y="77"/>
                    <a:pt x="0" y="38"/>
                    <a:pt x="0" y="26"/>
                  </a:cubicBezTo>
                  <a:cubicBezTo>
                    <a:pt x="0" y="12"/>
                    <a:pt x="13" y="0"/>
                    <a:pt x="29" y="0"/>
                  </a:cubicBezTo>
                  <a:cubicBezTo>
                    <a:pt x="45" y="0"/>
                    <a:pt x="59" y="12"/>
                    <a:pt x="59" y="26"/>
                  </a:cubicBezTo>
                  <a:cubicBezTo>
                    <a:pt x="59" y="38"/>
                    <a:pt x="39" y="77"/>
                    <a:pt x="34" y="85"/>
                  </a:cubicBezTo>
                  <a:lnTo>
                    <a:pt x="29" y="95"/>
                  </a:lnTo>
                  <a:close/>
                  <a:moveTo>
                    <a:pt x="29" y="12"/>
                  </a:moveTo>
                  <a:cubicBezTo>
                    <a:pt x="19" y="12"/>
                    <a:pt x="12" y="18"/>
                    <a:pt x="12" y="26"/>
                  </a:cubicBezTo>
                  <a:cubicBezTo>
                    <a:pt x="12" y="31"/>
                    <a:pt x="20" y="50"/>
                    <a:pt x="29" y="69"/>
                  </a:cubicBezTo>
                  <a:cubicBezTo>
                    <a:pt x="38" y="50"/>
                    <a:pt x="47" y="31"/>
                    <a:pt x="47" y="26"/>
                  </a:cubicBezTo>
                  <a:cubicBezTo>
                    <a:pt x="47" y="18"/>
                    <a:pt x="39" y="12"/>
                    <a:pt x="29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5AA005CD-6816-4584-0150-1453D45003BE}"/>
              </a:ext>
            </a:extLst>
          </p:cNvPr>
          <p:cNvGrpSpPr>
            <a:grpSpLocks noChangeAspect="1"/>
          </p:cNvGrpSpPr>
          <p:nvPr/>
        </p:nvGrpSpPr>
        <p:grpSpPr>
          <a:xfrm>
            <a:off x="7189267" y="2235753"/>
            <a:ext cx="327210" cy="522210"/>
            <a:chOff x="6513513" y="557213"/>
            <a:chExt cx="471488" cy="752475"/>
          </a:xfrm>
          <a:solidFill>
            <a:schemeClr val="bg1"/>
          </a:solidFill>
        </p:grpSpPr>
        <p:sp>
          <p:nvSpPr>
            <p:cNvPr id="29" name="Freeform 21">
              <a:extLst>
                <a:ext uri="{FF2B5EF4-FFF2-40B4-BE49-F238E27FC236}">
                  <a16:creationId xmlns:a16="http://schemas.microsoft.com/office/drawing/2014/main" id="{17720D73-92F0-1A0F-DE28-8172251971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13513" y="557213"/>
              <a:ext cx="471488" cy="752475"/>
            </a:xfrm>
            <a:custGeom>
              <a:avLst/>
              <a:gdLst>
                <a:gd name="T0" fmla="*/ 80 w 160"/>
                <a:gd name="T1" fmla="*/ 0 h 256"/>
                <a:gd name="T2" fmla="*/ 11 w 160"/>
                <a:gd name="T3" fmla="*/ 120 h 256"/>
                <a:gd name="T4" fmla="*/ 42 w 160"/>
                <a:gd name="T5" fmla="*/ 179 h 256"/>
                <a:gd name="T6" fmla="*/ 49 w 160"/>
                <a:gd name="T7" fmla="*/ 187 h 256"/>
                <a:gd name="T8" fmla="*/ 48 w 160"/>
                <a:gd name="T9" fmla="*/ 208 h 256"/>
                <a:gd name="T10" fmla="*/ 52 w 160"/>
                <a:gd name="T11" fmla="*/ 231 h 256"/>
                <a:gd name="T12" fmla="*/ 108 w 160"/>
                <a:gd name="T13" fmla="*/ 231 h 256"/>
                <a:gd name="T14" fmla="*/ 112 w 160"/>
                <a:gd name="T15" fmla="*/ 208 h 256"/>
                <a:gd name="T16" fmla="*/ 110 w 160"/>
                <a:gd name="T17" fmla="*/ 187 h 256"/>
                <a:gd name="T18" fmla="*/ 118 w 160"/>
                <a:gd name="T19" fmla="*/ 179 h 256"/>
                <a:gd name="T20" fmla="*/ 149 w 160"/>
                <a:gd name="T21" fmla="*/ 120 h 256"/>
                <a:gd name="T22" fmla="*/ 80 w 160"/>
                <a:gd name="T23" fmla="*/ 248 h 256"/>
                <a:gd name="T24" fmla="*/ 99 w 160"/>
                <a:gd name="T25" fmla="*/ 232 h 256"/>
                <a:gd name="T26" fmla="*/ 108 w 160"/>
                <a:gd name="T27" fmla="*/ 218 h 256"/>
                <a:gd name="T28" fmla="*/ 58 w 160"/>
                <a:gd name="T29" fmla="*/ 224 h 256"/>
                <a:gd name="T30" fmla="*/ 58 w 160"/>
                <a:gd name="T31" fmla="*/ 212 h 256"/>
                <a:gd name="T32" fmla="*/ 108 w 160"/>
                <a:gd name="T33" fmla="*/ 218 h 256"/>
                <a:gd name="T34" fmla="*/ 108 w 160"/>
                <a:gd name="T35" fmla="*/ 198 h 256"/>
                <a:gd name="T36" fmla="*/ 58 w 160"/>
                <a:gd name="T37" fmla="*/ 204 h 256"/>
                <a:gd name="T38" fmla="*/ 58 w 160"/>
                <a:gd name="T39" fmla="*/ 192 h 256"/>
                <a:gd name="T40" fmla="*/ 96 w 160"/>
                <a:gd name="T41" fmla="*/ 192 h 256"/>
                <a:gd name="T42" fmla="*/ 135 w 160"/>
                <a:gd name="T43" fmla="*/ 112 h 256"/>
                <a:gd name="T44" fmla="*/ 104 w 160"/>
                <a:gd name="T45" fmla="*/ 170 h 256"/>
                <a:gd name="T46" fmla="*/ 96 w 160"/>
                <a:gd name="T47" fmla="*/ 176 h 256"/>
                <a:gd name="T48" fmla="*/ 96 w 160"/>
                <a:gd name="T49" fmla="*/ 124 h 256"/>
                <a:gd name="T50" fmla="*/ 88 w 160"/>
                <a:gd name="T51" fmla="*/ 176 h 256"/>
                <a:gd name="T52" fmla="*/ 68 w 160"/>
                <a:gd name="T53" fmla="*/ 128 h 256"/>
                <a:gd name="T54" fmla="*/ 60 w 160"/>
                <a:gd name="T55" fmla="*/ 129 h 256"/>
                <a:gd name="T56" fmla="*/ 57 w 160"/>
                <a:gd name="T57" fmla="*/ 172 h 256"/>
                <a:gd name="T58" fmla="*/ 26 w 160"/>
                <a:gd name="T59" fmla="*/ 114 h 256"/>
                <a:gd name="T60" fmla="*/ 16 w 160"/>
                <a:gd name="T61" fmla="*/ 80 h 256"/>
                <a:gd name="T62" fmla="*/ 144 w 160"/>
                <a:gd name="T63" fmla="*/ 80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0" h="256">
                  <a:moveTo>
                    <a:pt x="160" y="80"/>
                  </a:moveTo>
                  <a:cubicBezTo>
                    <a:pt x="160" y="36"/>
                    <a:pt x="124" y="0"/>
                    <a:pt x="80" y="0"/>
                  </a:cubicBezTo>
                  <a:cubicBezTo>
                    <a:pt x="36" y="0"/>
                    <a:pt x="0" y="36"/>
                    <a:pt x="0" y="80"/>
                  </a:cubicBezTo>
                  <a:cubicBezTo>
                    <a:pt x="0" y="95"/>
                    <a:pt x="4" y="109"/>
                    <a:pt x="11" y="120"/>
                  </a:cubicBezTo>
                  <a:cubicBezTo>
                    <a:pt x="11" y="120"/>
                    <a:pt x="11" y="120"/>
                    <a:pt x="11" y="120"/>
                  </a:cubicBezTo>
                  <a:cubicBezTo>
                    <a:pt x="42" y="179"/>
                    <a:pt x="42" y="179"/>
                    <a:pt x="42" y="179"/>
                  </a:cubicBezTo>
                  <a:cubicBezTo>
                    <a:pt x="42" y="179"/>
                    <a:pt x="42" y="179"/>
                    <a:pt x="42" y="179"/>
                  </a:cubicBezTo>
                  <a:cubicBezTo>
                    <a:pt x="44" y="182"/>
                    <a:pt x="46" y="185"/>
                    <a:pt x="49" y="187"/>
                  </a:cubicBezTo>
                  <a:cubicBezTo>
                    <a:pt x="46" y="190"/>
                    <a:pt x="44" y="194"/>
                    <a:pt x="44" y="198"/>
                  </a:cubicBezTo>
                  <a:cubicBezTo>
                    <a:pt x="44" y="202"/>
                    <a:pt x="46" y="206"/>
                    <a:pt x="48" y="208"/>
                  </a:cubicBezTo>
                  <a:cubicBezTo>
                    <a:pt x="46" y="211"/>
                    <a:pt x="44" y="214"/>
                    <a:pt x="44" y="218"/>
                  </a:cubicBezTo>
                  <a:cubicBezTo>
                    <a:pt x="44" y="224"/>
                    <a:pt x="47" y="229"/>
                    <a:pt x="52" y="231"/>
                  </a:cubicBezTo>
                  <a:cubicBezTo>
                    <a:pt x="53" y="245"/>
                    <a:pt x="65" y="256"/>
                    <a:pt x="80" y="256"/>
                  </a:cubicBezTo>
                  <a:cubicBezTo>
                    <a:pt x="94" y="256"/>
                    <a:pt x="106" y="245"/>
                    <a:pt x="108" y="231"/>
                  </a:cubicBezTo>
                  <a:cubicBezTo>
                    <a:pt x="112" y="229"/>
                    <a:pt x="116" y="224"/>
                    <a:pt x="116" y="218"/>
                  </a:cubicBezTo>
                  <a:cubicBezTo>
                    <a:pt x="116" y="214"/>
                    <a:pt x="114" y="211"/>
                    <a:pt x="112" y="208"/>
                  </a:cubicBezTo>
                  <a:cubicBezTo>
                    <a:pt x="114" y="206"/>
                    <a:pt x="116" y="202"/>
                    <a:pt x="116" y="198"/>
                  </a:cubicBezTo>
                  <a:cubicBezTo>
                    <a:pt x="116" y="194"/>
                    <a:pt x="114" y="190"/>
                    <a:pt x="110" y="187"/>
                  </a:cubicBezTo>
                  <a:cubicBezTo>
                    <a:pt x="113" y="185"/>
                    <a:pt x="116" y="182"/>
                    <a:pt x="118" y="179"/>
                  </a:cubicBezTo>
                  <a:cubicBezTo>
                    <a:pt x="118" y="179"/>
                    <a:pt x="118" y="179"/>
                    <a:pt x="118" y="179"/>
                  </a:cubicBezTo>
                  <a:cubicBezTo>
                    <a:pt x="149" y="120"/>
                    <a:pt x="149" y="120"/>
                    <a:pt x="149" y="120"/>
                  </a:cubicBezTo>
                  <a:cubicBezTo>
                    <a:pt x="149" y="120"/>
                    <a:pt x="149" y="120"/>
                    <a:pt x="149" y="120"/>
                  </a:cubicBezTo>
                  <a:cubicBezTo>
                    <a:pt x="156" y="109"/>
                    <a:pt x="160" y="95"/>
                    <a:pt x="160" y="80"/>
                  </a:cubicBezTo>
                  <a:close/>
                  <a:moveTo>
                    <a:pt x="80" y="248"/>
                  </a:moveTo>
                  <a:cubicBezTo>
                    <a:pt x="70" y="248"/>
                    <a:pt x="62" y="241"/>
                    <a:pt x="60" y="232"/>
                  </a:cubicBezTo>
                  <a:cubicBezTo>
                    <a:pt x="99" y="232"/>
                    <a:pt x="99" y="232"/>
                    <a:pt x="99" y="232"/>
                  </a:cubicBezTo>
                  <a:cubicBezTo>
                    <a:pt x="97" y="241"/>
                    <a:pt x="89" y="248"/>
                    <a:pt x="80" y="248"/>
                  </a:cubicBezTo>
                  <a:close/>
                  <a:moveTo>
                    <a:pt x="108" y="218"/>
                  </a:moveTo>
                  <a:cubicBezTo>
                    <a:pt x="108" y="222"/>
                    <a:pt x="105" y="224"/>
                    <a:pt x="102" y="224"/>
                  </a:cubicBezTo>
                  <a:cubicBezTo>
                    <a:pt x="58" y="224"/>
                    <a:pt x="58" y="224"/>
                    <a:pt x="58" y="224"/>
                  </a:cubicBezTo>
                  <a:cubicBezTo>
                    <a:pt x="55" y="224"/>
                    <a:pt x="52" y="222"/>
                    <a:pt x="52" y="218"/>
                  </a:cubicBezTo>
                  <a:cubicBezTo>
                    <a:pt x="52" y="215"/>
                    <a:pt x="55" y="212"/>
                    <a:pt x="58" y="212"/>
                  </a:cubicBezTo>
                  <a:cubicBezTo>
                    <a:pt x="102" y="212"/>
                    <a:pt x="102" y="212"/>
                    <a:pt x="102" y="212"/>
                  </a:cubicBezTo>
                  <a:cubicBezTo>
                    <a:pt x="105" y="212"/>
                    <a:pt x="108" y="215"/>
                    <a:pt x="108" y="218"/>
                  </a:cubicBezTo>
                  <a:close/>
                  <a:moveTo>
                    <a:pt x="102" y="192"/>
                  </a:moveTo>
                  <a:cubicBezTo>
                    <a:pt x="105" y="192"/>
                    <a:pt x="108" y="195"/>
                    <a:pt x="108" y="198"/>
                  </a:cubicBezTo>
                  <a:cubicBezTo>
                    <a:pt x="108" y="202"/>
                    <a:pt x="105" y="204"/>
                    <a:pt x="102" y="204"/>
                  </a:cubicBezTo>
                  <a:cubicBezTo>
                    <a:pt x="58" y="204"/>
                    <a:pt x="58" y="204"/>
                    <a:pt x="58" y="204"/>
                  </a:cubicBezTo>
                  <a:cubicBezTo>
                    <a:pt x="55" y="204"/>
                    <a:pt x="52" y="202"/>
                    <a:pt x="52" y="198"/>
                  </a:cubicBezTo>
                  <a:cubicBezTo>
                    <a:pt x="52" y="195"/>
                    <a:pt x="55" y="192"/>
                    <a:pt x="58" y="192"/>
                  </a:cubicBezTo>
                  <a:cubicBezTo>
                    <a:pt x="64" y="192"/>
                    <a:pt x="64" y="192"/>
                    <a:pt x="64" y="192"/>
                  </a:cubicBezTo>
                  <a:cubicBezTo>
                    <a:pt x="96" y="192"/>
                    <a:pt x="96" y="192"/>
                    <a:pt x="96" y="192"/>
                  </a:cubicBezTo>
                  <a:lnTo>
                    <a:pt x="102" y="192"/>
                  </a:lnTo>
                  <a:close/>
                  <a:moveTo>
                    <a:pt x="135" y="112"/>
                  </a:moveTo>
                  <a:cubicBezTo>
                    <a:pt x="135" y="113"/>
                    <a:pt x="135" y="114"/>
                    <a:pt x="134" y="114"/>
                  </a:cubicBezTo>
                  <a:cubicBezTo>
                    <a:pt x="104" y="170"/>
                    <a:pt x="104" y="170"/>
                    <a:pt x="104" y="170"/>
                  </a:cubicBezTo>
                  <a:cubicBezTo>
                    <a:pt x="104" y="170"/>
                    <a:pt x="103" y="171"/>
                    <a:pt x="103" y="172"/>
                  </a:cubicBezTo>
                  <a:cubicBezTo>
                    <a:pt x="102" y="174"/>
                    <a:pt x="100" y="176"/>
                    <a:pt x="96" y="176"/>
                  </a:cubicBezTo>
                  <a:cubicBezTo>
                    <a:pt x="100" y="129"/>
                    <a:pt x="100" y="129"/>
                    <a:pt x="100" y="129"/>
                  </a:cubicBezTo>
                  <a:cubicBezTo>
                    <a:pt x="100" y="126"/>
                    <a:pt x="98" y="124"/>
                    <a:pt x="96" y="124"/>
                  </a:cubicBezTo>
                  <a:cubicBezTo>
                    <a:pt x="94" y="124"/>
                    <a:pt x="92" y="126"/>
                    <a:pt x="92" y="128"/>
                  </a:cubicBezTo>
                  <a:cubicBezTo>
                    <a:pt x="88" y="176"/>
                    <a:pt x="88" y="176"/>
                    <a:pt x="88" y="176"/>
                  </a:cubicBezTo>
                  <a:cubicBezTo>
                    <a:pt x="72" y="176"/>
                    <a:pt x="72" y="176"/>
                    <a:pt x="72" y="176"/>
                  </a:cubicBezTo>
                  <a:cubicBezTo>
                    <a:pt x="68" y="128"/>
                    <a:pt x="68" y="128"/>
                    <a:pt x="68" y="128"/>
                  </a:cubicBezTo>
                  <a:cubicBezTo>
                    <a:pt x="68" y="126"/>
                    <a:pt x="66" y="124"/>
                    <a:pt x="64" y="124"/>
                  </a:cubicBezTo>
                  <a:cubicBezTo>
                    <a:pt x="61" y="124"/>
                    <a:pt x="60" y="126"/>
                    <a:pt x="60" y="129"/>
                  </a:cubicBezTo>
                  <a:cubicBezTo>
                    <a:pt x="64" y="176"/>
                    <a:pt x="64" y="176"/>
                    <a:pt x="64" y="176"/>
                  </a:cubicBezTo>
                  <a:cubicBezTo>
                    <a:pt x="60" y="176"/>
                    <a:pt x="58" y="174"/>
                    <a:pt x="57" y="172"/>
                  </a:cubicBezTo>
                  <a:cubicBezTo>
                    <a:pt x="56" y="171"/>
                    <a:pt x="56" y="171"/>
                    <a:pt x="56" y="170"/>
                  </a:cubicBezTo>
                  <a:cubicBezTo>
                    <a:pt x="26" y="114"/>
                    <a:pt x="26" y="114"/>
                    <a:pt x="26" y="114"/>
                  </a:cubicBezTo>
                  <a:cubicBezTo>
                    <a:pt x="25" y="114"/>
                    <a:pt x="25" y="113"/>
                    <a:pt x="25" y="112"/>
                  </a:cubicBezTo>
                  <a:cubicBezTo>
                    <a:pt x="19" y="103"/>
                    <a:pt x="16" y="91"/>
                    <a:pt x="16" y="80"/>
                  </a:cubicBezTo>
                  <a:cubicBezTo>
                    <a:pt x="16" y="45"/>
                    <a:pt x="45" y="16"/>
                    <a:pt x="80" y="16"/>
                  </a:cubicBezTo>
                  <a:cubicBezTo>
                    <a:pt x="115" y="16"/>
                    <a:pt x="144" y="45"/>
                    <a:pt x="144" y="80"/>
                  </a:cubicBezTo>
                  <a:cubicBezTo>
                    <a:pt x="144" y="91"/>
                    <a:pt x="141" y="103"/>
                    <a:pt x="135" y="1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840"/>
            </a:p>
          </p:txBody>
        </p:sp>
        <p:sp>
          <p:nvSpPr>
            <p:cNvPr id="30" name="Freeform 22">
              <a:extLst>
                <a:ext uri="{FF2B5EF4-FFF2-40B4-BE49-F238E27FC236}">
                  <a16:creationId xmlns:a16="http://schemas.microsoft.com/office/drawing/2014/main" id="{B366FD68-5C1A-AAA1-566B-6B2153FF98DB}"/>
                </a:ext>
              </a:extLst>
            </p:cNvPr>
            <p:cNvSpPr>
              <a:spLocks/>
            </p:cNvSpPr>
            <p:nvPr/>
          </p:nvSpPr>
          <p:spPr bwMode="auto">
            <a:xfrm>
              <a:off x="6608763" y="642938"/>
              <a:ext cx="120650" cy="103188"/>
            </a:xfrm>
            <a:custGeom>
              <a:avLst/>
              <a:gdLst>
                <a:gd name="T0" fmla="*/ 35 w 41"/>
                <a:gd name="T1" fmla="*/ 1 h 35"/>
                <a:gd name="T2" fmla="*/ 1 w 41"/>
                <a:gd name="T3" fmla="*/ 29 h 35"/>
                <a:gd name="T4" fmla="*/ 3 w 41"/>
                <a:gd name="T5" fmla="*/ 35 h 35"/>
                <a:gd name="T6" fmla="*/ 4 w 41"/>
                <a:gd name="T7" fmla="*/ 35 h 35"/>
                <a:gd name="T8" fmla="*/ 8 w 41"/>
                <a:gd name="T9" fmla="*/ 33 h 35"/>
                <a:gd name="T10" fmla="*/ 37 w 41"/>
                <a:gd name="T11" fmla="*/ 9 h 35"/>
                <a:gd name="T12" fmla="*/ 40 w 41"/>
                <a:gd name="T13" fmla="*/ 4 h 35"/>
                <a:gd name="T14" fmla="*/ 35 w 41"/>
                <a:gd name="T15" fmla="*/ 1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" h="35">
                  <a:moveTo>
                    <a:pt x="35" y="1"/>
                  </a:moveTo>
                  <a:cubicBezTo>
                    <a:pt x="20" y="5"/>
                    <a:pt x="7" y="15"/>
                    <a:pt x="1" y="29"/>
                  </a:cubicBezTo>
                  <a:cubicBezTo>
                    <a:pt x="0" y="31"/>
                    <a:pt x="1" y="34"/>
                    <a:pt x="3" y="35"/>
                  </a:cubicBezTo>
                  <a:cubicBezTo>
                    <a:pt x="3" y="35"/>
                    <a:pt x="4" y="35"/>
                    <a:pt x="4" y="35"/>
                  </a:cubicBezTo>
                  <a:cubicBezTo>
                    <a:pt x="6" y="35"/>
                    <a:pt x="7" y="34"/>
                    <a:pt x="8" y="33"/>
                  </a:cubicBezTo>
                  <a:cubicBezTo>
                    <a:pt x="14" y="21"/>
                    <a:pt x="24" y="12"/>
                    <a:pt x="37" y="9"/>
                  </a:cubicBezTo>
                  <a:cubicBezTo>
                    <a:pt x="39" y="8"/>
                    <a:pt x="41" y="6"/>
                    <a:pt x="40" y="4"/>
                  </a:cubicBezTo>
                  <a:cubicBezTo>
                    <a:pt x="40" y="2"/>
                    <a:pt x="37" y="0"/>
                    <a:pt x="3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840"/>
            </a:p>
          </p:txBody>
        </p:sp>
      </p:grpSp>
      <p:sp>
        <p:nvSpPr>
          <p:cNvPr id="21" name="Freeform 23">
            <a:extLst>
              <a:ext uri="{FF2B5EF4-FFF2-40B4-BE49-F238E27FC236}">
                <a16:creationId xmlns:a16="http://schemas.microsoft.com/office/drawing/2014/main" id="{DE051BE7-9740-DBD0-E988-23AC8194042A}"/>
              </a:ext>
            </a:extLst>
          </p:cNvPr>
          <p:cNvSpPr>
            <a:spLocks noEditPoints="1"/>
          </p:cNvSpPr>
          <p:nvPr/>
        </p:nvSpPr>
        <p:spPr bwMode="auto">
          <a:xfrm>
            <a:off x="4607525" y="4798686"/>
            <a:ext cx="441366" cy="390872"/>
          </a:xfrm>
          <a:custGeom>
            <a:avLst/>
            <a:gdLst>
              <a:gd name="T0" fmla="*/ 232 w 256"/>
              <a:gd name="T1" fmla="*/ 84 h 227"/>
              <a:gd name="T2" fmla="*/ 172 w 256"/>
              <a:gd name="T3" fmla="*/ 44 h 227"/>
              <a:gd name="T4" fmla="*/ 120 w 256"/>
              <a:gd name="T5" fmla="*/ 48 h 227"/>
              <a:gd name="T6" fmla="*/ 64 w 256"/>
              <a:gd name="T7" fmla="*/ 107 h 227"/>
              <a:gd name="T8" fmla="*/ 0 w 256"/>
              <a:gd name="T9" fmla="*/ 131 h 227"/>
              <a:gd name="T10" fmla="*/ 32 w 256"/>
              <a:gd name="T11" fmla="*/ 227 h 227"/>
              <a:gd name="T12" fmla="*/ 87 w 256"/>
              <a:gd name="T13" fmla="*/ 212 h 227"/>
              <a:gd name="T14" fmla="*/ 103 w 256"/>
              <a:gd name="T15" fmla="*/ 219 h 227"/>
              <a:gd name="T16" fmla="*/ 232 w 256"/>
              <a:gd name="T17" fmla="*/ 197 h 227"/>
              <a:gd name="T18" fmla="*/ 240 w 256"/>
              <a:gd name="T19" fmla="*/ 169 h 227"/>
              <a:gd name="T20" fmla="*/ 248 w 256"/>
              <a:gd name="T21" fmla="*/ 140 h 227"/>
              <a:gd name="T22" fmla="*/ 256 w 256"/>
              <a:gd name="T23" fmla="*/ 108 h 227"/>
              <a:gd name="T24" fmla="*/ 32 w 256"/>
              <a:gd name="T25" fmla="*/ 211 h 227"/>
              <a:gd name="T26" fmla="*/ 16 w 256"/>
              <a:gd name="T27" fmla="*/ 131 h 227"/>
              <a:gd name="T28" fmla="*/ 64 w 256"/>
              <a:gd name="T29" fmla="*/ 123 h 227"/>
              <a:gd name="T30" fmla="*/ 72 w 256"/>
              <a:gd name="T31" fmla="*/ 198 h 227"/>
              <a:gd name="T32" fmla="*/ 72 w 256"/>
              <a:gd name="T33" fmla="*/ 203 h 227"/>
              <a:gd name="T34" fmla="*/ 210 w 256"/>
              <a:gd name="T35" fmla="*/ 203 h 227"/>
              <a:gd name="T36" fmla="*/ 88 w 256"/>
              <a:gd name="T37" fmla="*/ 194 h 227"/>
              <a:gd name="T38" fmla="*/ 86 w 256"/>
              <a:gd name="T39" fmla="*/ 121 h 227"/>
              <a:gd name="T40" fmla="*/ 140 w 256"/>
              <a:gd name="T41" fmla="*/ 16 h 227"/>
              <a:gd name="T42" fmla="*/ 152 w 256"/>
              <a:gd name="T43" fmla="*/ 90 h 227"/>
              <a:gd name="T44" fmla="*/ 160 w 256"/>
              <a:gd name="T45" fmla="*/ 100 h 227"/>
              <a:gd name="T46" fmla="*/ 240 w 256"/>
              <a:gd name="T47" fmla="*/ 108 h 227"/>
              <a:gd name="T48" fmla="*/ 223 w 256"/>
              <a:gd name="T49" fmla="*/ 116 h 227"/>
              <a:gd name="T50" fmla="*/ 223 w 256"/>
              <a:gd name="T51" fmla="*/ 132 h 227"/>
              <a:gd name="T52" fmla="*/ 224 w 256"/>
              <a:gd name="T53" fmla="*/ 132 h 227"/>
              <a:gd name="T54" fmla="*/ 224 w 256"/>
              <a:gd name="T55" fmla="*/ 148 h 227"/>
              <a:gd name="T56" fmla="*/ 218 w 256"/>
              <a:gd name="T57" fmla="*/ 147 h 227"/>
              <a:gd name="T58" fmla="*/ 215 w 256"/>
              <a:gd name="T59" fmla="*/ 148 h 227"/>
              <a:gd name="T60" fmla="*/ 215 w 256"/>
              <a:gd name="T61" fmla="*/ 164 h 227"/>
              <a:gd name="T62" fmla="*/ 224 w 256"/>
              <a:gd name="T63" fmla="*/ 169 h 227"/>
              <a:gd name="T64" fmla="*/ 210 w 256"/>
              <a:gd name="T65" fmla="*/ 175 h 227"/>
              <a:gd name="T66" fmla="*/ 210 w 256"/>
              <a:gd name="T67" fmla="*/ 175 h 227"/>
              <a:gd name="T68" fmla="*/ 210 w 256"/>
              <a:gd name="T69" fmla="*/ 191 h 227"/>
              <a:gd name="T70" fmla="*/ 210 w 256"/>
              <a:gd name="T71" fmla="*/ 203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56" h="227">
                <a:moveTo>
                  <a:pt x="256" y="108"/>
                </a:moveTo>
                <a:cubicBezTo>
                  <a:pt x="256" y="94"/>
                  <a:pt x="245" y="84"/>
                  <a:pt x="232" y="84"/>
                </a:cubicBezTo>
                <a:cubicBezTo>
                  <a:pt x="169" y="84"/>
                  <a:pt x="169" y="84"/>
                  <a:pt x="169" y="84"/>
                </a:cubicBezTo>
                <a:cubicBezTo>
                  <a:pt x="171" y="74"/>
                  <a:pt x="172" y="59"/>
                  <a:pt x="172" y="44"/>
                </a:cubicBezTo>
                <a:cubicBezTo>
                  <a:pt x="172" y="13"/>
                  <a:pt x="156" y="0"/>
                  <a:pt x="140" y="0"/>
                </a:cubicBezTo>
                <a:cubicBezTo>
                  <a:pt x="120" y="0"/>
                  <a:pt x="120" y="21"/>
                  <a:pt x="120" y="48"/>
                </a:cubicBezTo>
                <a:cubicBezTo>
                  <a:pt x="120" y="67"/>
                  <a:pt x="90" y="97"/>
                  <a:pt x="75" y="110"/>
                </a:cubicBezTo>
                <a:cubicBezTo>
                  <a:pt x="71" y="108"/>
                  <a:pt x="68" y="107"/>
                  <a:pt x="64" y="107"/>
                </a:cubicBezTo>
                <a:cubicBezTo>
                  <a:pt x="24" y="107"/>
                  <a:pt x="24" y="107"/>
                  <a:pt x="24" y="107"/>
                </a:cubicBezTo>
                <a:cubicBezTo>
                  <a:pt x="11" y="107"/>
                  <a:pt x="0" y="118"/>
                  <a:pt x="0" y="131"/>
                </a:cubicBezTo>
                <a:cubicBezTo>
                  <a:pt x="8" y="203"/>
                  <a:pt x="8" y="203"/>
                  <a:pt x="8" y="203"/>
                </a:cubicBezTo>
                <a:cubicBezTo>
                  <a:pt x="10" y="216"/>
                  <a:pt x="19" y="227"/>
                  <a:pt x="32" y="227"/>
                </a:cubicBezTo>
                <a:cubicBezTo>
                  <a:pt x="64" y="227"/>
                  <a:pt x="64" y="227"/>
                  <a:pt x="64" y="227"/>
                </a:cubicBezTo>
                <a:cubicBezTo>
                  <a:pt x="74" y="227"/>
                  <a:pt x="83" y="221"/>
                  <a:pt x="87" y="212"/>
                </a:cubicBezTo>
                <a:cubicBezTo>
                  <a:pt x="100" y="219"/>
                  <a:pt x="100" y="219"/>
                  <a:pt x="100" y="219"/>
                </a:cubicBezTo>
                <a:cubicBezTo>
                  <a:pt x="101" y="219"/>
                  <a:pt x="102" y="219"/>
                  <a:pt x="103" y="219"/>
                </a:cubicBezTo>
                <a:cubicBezTo>
                  <a:pt x="210" y="219"/>
                  <a:pt x="210" y="219"/>
                  <a:pt x="210" y="219"/>
                </a:cubicBezTo>
                <a:cubicBezTo>
                  <a:pt x="222" y="219"/>
                  <a:pt x="232" y="210"/>
                  <a:pt x="232" y="197"/>
                </a:cubicBezTo>
                <a:cubicBezTo>
                  <a:pt x="232" y="194"/>
                  <a:pt x="231" y="191"/>
                  <a:pt x="230" y="188"/>
                </a:cubicBezTo>
                <a:cubicBezTo>
                  <a:pt x="236" y="184"/>
                  <a:pt x="240" y="177"/>
                  <a:pt x="240" y="169"/>
                </a:cubicBezTo>
                <a:cubicBezTo>
                  <a:pt x="240" y="166"/>
                  <a:pt x="239" y="162"/>
                  <a:pt x="238" y="159"/>
                </a:cubicBezTo>
                <a:cubicBezTo>
                  <a:pt x="244" y="155"/>
                  <a:pt x="248" y="148"/>
                  <a:pt x="248" y="140"/>
                </a:cubicBezTo>
                <a:cubicBezTo>
                  <a:pt x="248" y="135"/>
                  <a:pt x="247" y="131"/>
                  <a:pt x="245" y="128"/>
                </a:cubicBezTo>
                <a:cubicBezTo>
                  <a:pt x="252" y="123"/>
                  <a:pt x="256" y="116"/>
                  <a:pt x="256" y="108"/>
                </a:cubicBezTo>
                <a:close/>
                <a:moveTo>
                  <a:pt x="64" y="211"/>
                </a:moveTo>
                <a:cubicBezTo>
                  <a:pt x="32" y="211"/>
                  <a:pt x="32" y="211"/>
                  <a:pt x="32" y="211"/>
                </a:cubicBezTo>
                <a:cubicBezTo>
                  <a:pt x="28" y="211"/>
                  <a:pt x="25" y="206"/>
                  <a:pt x="24" y="202"/>
                </a:cubicBezTo>
                <a:cubicBezTo>
                  <a:pt x="16" y="131"/>
                  <a:pt x="16" y="131"/>
                  <a:pt x="16" y="131"/>
                </a:cubicBezTo>
                <a:cubicBezTo>
                  <a:pt x="17" y="127"/>
                  <a:pt x="20" y="123"/>
                  <a:pt x="24" y="123"/>
                </a:cubicBezTo>
                <a:cubicBezTo>
                  <a:pt x="64" y="123"/>
                  <a:pt x="64" y="123"/>
                  <a:pt x="64" y="123"/>
                </a:cubicBezTo>
                <a:cubicBezTo>
                  <a:pt x="69" y="123"/>
                  <a:pt x="72" y="127"/>
                  <a:pt x="72" y="131"/>
                </a:cubicBezTo>
                <a:cubicBezTo>
                  <a:pt x="72" y="198"/>
                  <a:pt x="72" y="198"/>
                  <a:pt x="72" y="198"/>
                </a:cubicBezTo>
                <a:cubicBezTo>
                  <a:pt x="72" y="199"/>
                  <a:pt x="72" y="200"/>
                  <a:pt x="72" y="201"/>
                </a:cubicBezTo>
                <a:cubicBezTo>
                  <a:pt x="72" y="203"/>
                  <a:pt x="72" y="203"/>
                  <a:pt x="72" y="203"/>
                </a:cubicBezTo>
                <a:cubicBezTo>
                  <a:pt x="72" y="208"/>
                  <a:pt x="69" y="211"/>
                  <a:pt x="64" y="211"/>
                </a:cubicBezTo>
                <a:close/>
                <a:moveTo>
                  <a:pt x="210" y="203"/>
                </a:moveTo>
                <a:cubicBezTo>
                  <a:pt x="105" y="203"/>
                  <a:pt x="105" y="203"/>
                  <a:pt x="105" y="203"/>
                </a:cubicBezTo>
                <a:cubicBezTo>
                  <a:pt x="88" y="194"/>
                  <a:pt x="88" y="194"/>
                  <a:pt x="88" y="194"/>
                </a:cubicBezTo>
                <a:cubicBezTo>
                  <a:pt x="88" y="131"/>
                  <a:pt x="88" y="131"/>
                  <a:pt x="88" y="131"/>
                </a:cubicBezTo>
                <a:cubicBezTo>
                  <a:pt x="88" y="128"/>
                  <a:pt x="87" y="124"/>
                  <a:pt x="86" y="121"/>
                </a:cubicBezTo>
                <a:cubicBezTo>
                  <a:pt x="100" y="109"/>
                  <a:pt x="136" y="75"/>
                  <a:pt x="136" y="48"/>
                </a:cubicBezTo>
                <a:cubicBezTo>
                  <a:pt x="136" y="31"/>
                  <a:pt x="136" y="16"/>
                  <a:pt x="140" y="16"/>
                </a:cubicBezTo>
                <a:cubicBezTo>
                  <a:pt x="148" y="16"/>
                  <a:pt x="156" y="25"/>
                  <a:pt x="156" y="44"/>
                </a:cubicBezTo>
                <a:cubicBezTo>
                  <a:pt x="156" y="67"/>
                  <a:pt x="152" y="90"/>
                  <a:pt x="152" y="90"/>
                </a:cubicBezTo>
                <a:cubicBezTo>
                  <a:pt x="152" y="93"/>
                  <a:pt x="153" y="95"/>
                  <a:pt x="154" y="97"/>
                </a:cubicBezTo>
                <a:cubicBezTo>
                  <a:pt x="156" y="98"/>
                  <a:pt x="158" y="100"/>
                  <a:pt x="160" y="100"/>
                </a:cubicBezTo>
                <a:cubicBezTo>
                  <a:pt x="232" y="100"/>
                  <a:pt x="232" y="100"/>
                  <a:pt x="232" y="100"/>
                </a:cubicBezTo>
                <a:cubicBezTo>
                  <a:pt x="237" y="100"/>
                  <a:pt x="240" y="103"/>
                  <a:pt x="240" y="108"/>
                </a:cubicBezTo>
                <a:cubicBezTo>
                  <a:pt x="240" y="112"/>
                  <a:pt x="237" y="116"/>
                  <a:pt x="232" y="116"/>
                </a:cubicBezTo>
                <a:cubicBezTo>
                  <a:pt x="223" y="116"/>
                  <a:pt x="223" y="116"/>
                  <a:pt x="223" y="116"/>
                </a:cubicBezTo>
                <a:cubicBezTo>
                  <a:pt x="219" y="116"/>
                  <a:pt x="215" y="119"/>
                  <a:pt x="215" y="124"/>
                </a:cubicBezTo>
                <a:cubicBezTo>
                  <a:pt x="215" y="128"/>
                  <a:pt x="219" y="132"/>
                  <a:pt x="223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9" y="132"/>
                  <a:pt x="232" y="135"/>
                  <a:pt x="232" y="140"/>
                </a:cubicBezTo>
                <a:cubicBezTo>
                  <a:pt x="232" y="144"/>
                  <a:pt x="229" y="148"/>
                  <a:pt x="224" y="148"/>
                </a:cubicBezTo>
                <a:cubicBezTo>
                  <a:pt x="219" y="148"/>
                  <a:pt x="219" y="148"/>
                  <a:pt x="219" y="148"/>
                </a:cubicBezTo>
                <a:cubicBezTo>
                  <a:pt x="219" y="148"/>
                  <a:pt x="218" y="147"/>
                  <a:pt x="218" y="147"/>
                </a:cubicBezTo>
                <a:cubicBezTo>
                  <a:pt x="218" y="147"/>
                  <a:pt x="218" y="148"/>
                  <a:pt x="218" y="148"/>
                </a:cubicBezTo>
                <a:cubicBezTo>
                  <a:pt x="215" y="148"/>
                  <a:pt x="215" y="148"/>
                  <a:pt x="215" y="148"/>
                </a:cubicBezTo>
                <a:cubicBezTo>
                  <a:pt x="211" y="148"/>
                  <a:pt x="207" y="151"/>
                  <a:pt x="207" y="156"/>
                </a:cubicBezTo>
                <a:cubicBezTo>
                  <a:pt x="207" y="160"/>
                  <a:pt x="211" y="164"/>
                  <a:pt x="215" y="164"/>
                </a:cubicBezTo>
                <a:cubicBezTo>
                  <a:pt x="218" y="164"/>
                  <a:pt x="218" y="164"/>
                  <a:pt x="218" y="164"/>
                </a:cubicBezTo>
                <a:cubicBezTo>
                  <a:pt x="222" y="164"/>
                  <a:pt x="224" y="166"/>
                  <a:pt x="224" y="169"/>
                </a:cubicBezTo>
                <a:cubicBezTo>
                  <a:pt x="224" y="173"/>
                  <a:pt x="221" y="175"/>
                  <a:pt x="218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06" y="175"/>
                  <a:pt x="202" y="179"/>
                  <a:pt x="202" y="183"/>
                </a:cubicBezTo>
                <a:cubicBezTo>
                  <a:pt x="202" y="188"/>
                  <a:pt x="206" y="191"/>
                  <a:pt x="210" y="191"/>
                </a:cubicBezTo>
                <a:cubicBezTo>
                  <a:pt x="213" y="191"/>
                  <a:pt x="216" y="194"/>
                  <a:pt x="216" y="197"/>
                </a:cubicBezTo>
                <a:cubicBezTo>
                  <a:pt x="216" y="201"/>
                  <a:pt x="213" y="203"/>
                  <a:pt x="210" y="20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US" sz="840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CAA013C9-452F-6C17-AE4B-521BD40AA668}"/>
              </a:ext>
            </a:extLst>
          </p:cNvPr>
          <p:cNvGrpSpPr>
            <a:grpSpLocks noChangeAspect="1"/>
          </p:cNvGrpSpPr>
          <p:nvPr/>
        </p:nvGrpSpPr>
        <p:grpSpPr>
          <a:xfrm>
            <a:off x="4619836" y="2312754"/>
            <a:ext cx="407556" cy="387934"/>
            <a:chOff x="6719888" y="887413"/>
            <a:chExt cx="492125" cy="468312"/>
          </a:xfrm>
          <a:solidFill>
            <a:schemeClr val="bg1"/>
          </a:solidFill>
        </p:grpSpPr>
        <p:sp>
          <p:nvSpPr>
            <p:cNvPr id="23" name="Freeform 26">
              <a:extLst>
                <a:ext uri="{FF2B5EF4-FFF2-40B4-BE49-F238E27FC236}">
                  <a16:creationId xmlns:a16="http://schemas.microsoft.com/office/drawing/2014/main" id="{D1E3DC6A-BE9C-A4AF-5220-EC5C240BE9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19888" y="887413"/>
              <a:ext cx="492125" cy="468312"/>
            </a:xfrm>
            <a:custGeom>
              <a:avLst/>
              <a:gdLst>
                <a:gd name="T0" fmla="*/ 117 w 128"/>
                <a:gd name="T1" fmla="*/ 0 h 122"/>
                <a:gd name="T2" fmla="*/ 11 w 128"/>
                <a:gd name="T3" fmla="*/ 0 h 122"/>
                <a:gd name="T4" fmla="*/ 0 w 128"/>
                <a:gd name="T5" fmla="*/ 11 h 122"/>
                <a:gd name="T6" fmla="*/ 0 w 128"/>
                <a:gd name="T7" fmla="*/ 93 h 122"/>
                <a:gd name="T8" fmla="*/ 11 w 128"/>
                <a:gd name="T9" fmla="*/ 104 h 122"/>
                <a:gd name="T10" fmla="*/ 43 w 128"/>
                <a:gd name="T11" fmla="*/ 104 h 122"/>
                <a:gd name="T12" fmla="*/ 38 w 128"/>
                <a:gd name="T13" fmla="*/ 110 h 122"/>
                <a:gd name="T14" fmla="*/ 35 w 128"/>
                <a:gd name="T15" fmla="*/ 113 h 122"/>
                <a:gd name="T16" fmla="*/ 34 w 128"/>
                <a:gd name="T17" fmla="*/ 118 h 122"/>
                <a:gd name="T18" fmla="*/ 42 w 128"/>
                <a:gd name="T19" fmla="*/ 122 h 122"/>
                <a:gd name="T20" fmla="*/ 86 w 128"/>
                <a:gd name="T21" fmla="*/ 122 h 122"/>
                <a:gd name="T22" fmla="*/ 94 w 128"/>
                <a:gd name="T23" fmla="*/ 118 h 122"/>
                <a:gd name="T24" fmla="*/ 94 w 128"/>
                <a:gd name="T25" fmla="*/ 113 h 122"/>
                <a:gd name="T26" fmla="*/ 91 w 128"/>
                <a:gd name="T27" fmla="*/ 110 h 122"/>
                <a:gd name="T28" fmla="*/ 85 w 128"/>
                <a:gd name="T29" fmla="*/ 104 h 122"/>
                <a:gd name="T30" fmla="*/ 117 w 128"/>
                <a:gd name="T31" fmla="*/ 104 h 122"/>
                <a:gd name="T32" fmla="*/ 128 w 128"/>
                <a:gd name="T33" fmla="*/ 93 h 122"/>
                <a:gd name="T34" fmla="*/ 128 w 128"/>
                <a:gd name="T35" fmla="*/ 11 h 122"/>
                <a:gd name="T36" fmla="*/ 117 w 128"/>
                <a:gd name="T37" fmla="*/ 0 h 122"/>
                <a:gd name="T38" fmla="*/ 88 w 128"/>
                <a:gd name="T39" fmla="*/ 113 h 122"/>
                <a:gd name="T40" fmla="*/ 90 w 128"/>
                <a:gd name="T41" fmla="*/ 116 h 122"/>
                <a:gd name="T42" fmla="*/ 90 w 128"/>
                <a:gd name="T43" fmla="*/ 116 h 122"/>
                <a:gd name="T44" fmla="*/ 86 w 128"/>
                <a:gd name="T45" fmla="*/ 118 h 122"/>
                <a:gd name="T46" fmla="*/ 42 w 128"/>
                <a:gd name="T47" fmla="*/ 118 h 122"/>
                <a:gd name="T48" fmla="*/ 38 w 128"/>
                <a:gd name="T49" fmla="*/ 116 h 122"/>
                <a:gd name="T50" fmla="*/ 38 w 128"/>
                <a:gd name="T51" fmla="*/ 116 h 122"/>
                <a:gd name="T52" fmla="*/ 38 w 128"/>
                <a:gd name="T53" fmla="*/ 116 h 122"/>
                <a:gd name="T54" fmla="*/ 40 w 128"/>
                <a:gd name="T55" fmla="*/ 113 h 122"/>
                <a:gd name="T56" fmla="*/ 48 w 128"/>
                <a:gd name="T57" fmla="*/ 104 h 122"/>
                <a:gd name="T58" fmla="*/ 80 w 128"/>
                <a:gd name="T59" fmla="*/ 104 h 122"/>
                <a:gd name="T60" fmla="*/ 88 w 128"/>
                <a:gd name="T61" fmla="*/ 113 h 122"/>
                <a:gd name="T62" fmla="*/ 120 w 128"/>
                <a:gd name="T63" fmla="*/ 93 h 122"/>
                <a:gd name="T64" fmla="*/ 117 w 128"/>
                <a:gd name="T65" fmla="*/ 96 h 122"/>
                <a:gd name="T66" fmla="*/ 11 w 128"/>
                <a:gd name="T67" fmla="*/ 96 h 122"/>
                <a:gd name="T68" fmla="*/ 8 w 128"/>
                <a:gd name="T69" fmla="*/ 93 h 122"/>
                <a:gd name="T70" fmla="*/ 8 w 128"/>
                <a:gd name="T71" fmla="*/ 11 h 122"/>
                <a:gd name="T72" fmla="*/ 11 w 128"/>
                <a:gd name="T73" fmla="*/ 8 h 122"/>
                <a:gd name="T74" fmla="*/ 117 w 128"/>
                <a:gd name="T75" fmla="*/ 8 h 122"/>
                <a:gd name="T76" fmla="*/ 120 w 128"/>
                <a:gd name="T77" fmla="*/ 11 h 122"/>
                <a:gd name="T78" fmla="*/ 120 w 128"/>
                <a:gd name="T79" fmla="*/ 93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8" h="122">
                  <a:moveTo>
                    <a:pt x="117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99"/>
                    <a:pt x="5" y="104"/>
                    <a:pt x="11" y="104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42" y="106"/>
                    <a:pt x="39" y="109"/>
                    <a:pt x="38" y="110"/>
                  </a:cubicBezTo>
                  <a:cubicBezTo>
                    <a:pt x="36" y="111"/>
                    <a:pt x="35" y="112"/>
                    <a:pt x="35" y="113"/>
                  </a:cubicBezTo>
                  <a:cubicBezTo>
                    <a:pt x="34" y="114"/>
                    <a:pt x="33" y="116"/>
                    <a:pt x="34" y="118"/>
                  </a:cubicBezTo>
                  <a:cubicBezTo>
                    <a:pt x="35" y="120"/>
                    <a:pt x="37" y="122"/>
                    <a:pt x="42" y="122"/>
                  </a:cubicBezTo>
                  <a:cubicBezTo>
                    <a:pt x="86" y="122"/>
                    <a:pt x="86" y="122"/>
                    <a:pt x="86" y="122"/>
                  </a:cubicBezTo>
                  <a:cubicBezTo>
                    <a:pt x="91" y="122"/>
                    <a:pt x="93" y="120"/>
                    <a:pt x="94" y="118"/>
                  </a:cubicBezTo>
                  <a:cubicBezTo>
                    <a:pt x="95" y="116"/>
                    <a:pt x="95" y="114"/>
                    <a:pt x="94" y="113"/>
                  </a:cubicBezTo>
                  <a:cubicBezTo>
                    <a:pt x="93" y="112"/>
                    <a:pt x="92" y="111"/>
                    <a:pt x="91" y="110"/>
                  </a:cubicBezTo>
                  <a:cubicBezTo>
                    <a:pt x="89" y="109"/>
                    <a:pt x="87" y="106"/>
                    <a:pt x="85" y="104"/>
                  </a:cubicBezTo>
                  <a:cubicBezTo>
                    <a:pt x="117" y="104"/>
                    <a:pt x="117" y="104"/>
                    <a:pt x="117" y="104"/>
                  </a:cubicBezTo>
                  <a:cubicBezTo>
                    <a:pt x="123" y="104"/>
                    <a:pt x="128" y="99"/>
                    <a:pt x="128" y="93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28" y="5"/>
                    <a:pt x="123" y="0"/>
                    <a:pt x="117" y="0"/>
                  </a:cubicBezTo>
                  <a:close/>
                  <a:moveTo>
                    <a:pt x="88" y="113"/>
                  </a:moveTo>
                  <a:cubicBezTo>
                    <a:pt x="89" y="114"/>
                    <a:pt x="90" y="115"/>
                    <a:pt x="90" y="116"/>
                  </a:cubicBezTo>
                  <a:cubicBezTo>
                    <a:pt x="90" y="116"/>
                    <a:pt x="91" y="116"/>
                    <a:pt x="90" y="116"/>
                  </a:cubicBezTo>
                  <a:cubicBezTo>
                    <a:pt x="90" y="117"/>
                    <a:pt x="88" y="118"/>
                    <a:pt x="86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0" y="118"/>
                    <a:pt x="38" y="117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5"/>
                    <a:pt x="39" y="114"/>
                    <a:pt x="40" y="113"/>
                  </a:cubicBezTo>
                  <a:cubicBezTo>
                    <a:pt x="44" y="109"/>
                    <a:pt x="47" y="106"/>
                    <a:pt x="48" y="104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82" y="106"/>
                    <a:pt x="84" y="109"/>
                    <a:pt x="88" y="113"/>
                  </a:cubicBezTo>
                  <a:close/>
                  <a:moveTo>
                    <a:pt x="120" y="93"/>
                  </a:moveTo>
                  <a:cubicBezTo>
                    <a:pt x="120" y="95"/>
                    <a:pt x="119" y="96"/>
                    <a:pt x="117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9" y="96"/>
                    <a:pt x="8" y="95"/>
                    <a:pt x="8" y="93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9"/>
                    <a:pt x="9" y="8"/>
                    <a:pt x="11" y="8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9" y="8"/>
                    <a:pt x="120" y="9"/>
                    <a:pt x="120" y="11"/>
                  </a:cubicBezTo>
                  <a:lnTo>
                    <a:pt x="120" y="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27">
              <a:extLst>
                <a:ext uri="{FF2B5EF4-FFF2-40B4-BE49-F238E27FC236}">
                  <a16:creationId xmlns:a16="http://schemas.microsoft.com/office/drawing/2014/main" id="{71834456-D768-1E84-99C4-F87C2E6332C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81801" y="947738"/>
              <a:ext cx="368300" cy="247650"/>
            </a:xfrm>
            <a:custGeom>
              <a:avLst/>
              <a:gdLst>
                <a:gd name="T0" fmla="*/ 89 w 96"/>
                <a:gd name="T1" fmla="*/ 0 h 64"/>
                <a:gd name="T2" fmla="*/ 7 w 96"/>
                <a:gd name="T3" fmla="*/ 0 h 64"/>
                <a:gd name="T4" fmla="*/ 0 w 96"/>
                <a:gd name="T5" fmla="*/ 7 h 64"/>
                <a:gd name="T6" fmla="*/ 0 w 96"/>
                <a:gd name="T7" fmla="*/ 57 h 64"/>
                <a:gd name="T8" fmla="*/ 7 w 96"/>
                <a:gd name="T9" fmla="*/ 64 h 64"/>
                <a:gd name="T10" fmla="*/ 89 w 96"/>
                <a:gd name="T11" fmla="*/ 64 h 64"/>
                <a:gd name="T12" fmla="*/ 96 w 96"/>
                <a:gd name="T13" fmla="*/ 57 h 64"/>
                <a:gd name="T14" fmla="*/ 96 w 96"/>
                <a:gd name="T15" fmla="*/ 7 h 64"/>
                <a:gd name="T16" fmla="*/ 89 w 96"/>
                <a:gd name="T17" fmla="*/ 0 h 64"/>
                <a:gd name="T18" fmla="*/ 92 w 96"/>
                <a:gd name="T19" fmla="*/ 57 h 64"/>
                <a:gd name="T20" fmla="*/ 89 w 96"/>
                <a:gd name="T21" fmla="*/ 60 h 64"/>
                <a:gd name="T22" fmla="*/ 7 w 96"/>
                <a:gd name="T23" fmla="*/ 60 h 64"/>
                <a:gd name="T24" fmla="*/ 4 w 96"/>
                <a:gd name="T25" fmla="*/ 57 h 64"/>
                <a:gd name="T26" fmla="*/ 4 w 96"/>
                <a:gd name="T27" fmla="*/ 7 h 64"/>
                <a:gd name="T28" fmla="*/ 7 w 96"/>
                <a:gd name="T29" fmla="*/ 4 h 64"/>
                <a:gd name="T30" fmla="*/ 89 w 96"/>
                <a:gd name="T31" fmla="*/ 4 h 64"/>
                <a:gd name="T32" fmla="*/ 92 w 96"/>
                <a:gd name="T33" fmla="*/ 7 h 64"/>
                <a:gd name="T34" fmla="*/ 92 w 96"/>
                <a:gd name="T35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6" h="64">
                  <a:moveTo>
                    <a:pt x="89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1"/>
                    <a:pt x="3" y="64"/>
                    <a:pt x="7" y="64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93" y="64"/>
                    <a:pt x="96" y="61"/>
                    <a:pt x="96" y="5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3"/>
                    <a:pt x="93" y="0"/>
                    <a:pt x="89" y="0"/>
                  </a:cubicBezTo>
                  <a:close/>
                  <a:moveTo>
                    <a:pt x="92" y="57"/>
                  </a:moveTo>
                  <a:cubicBezTo>
                    <a:pt x="92" y="59"/>
                    <a:pt x="91" y="60"/>
                    <a:pt x="89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5" y="60"/>
                    <a:pt x="4" y="59"/>
                    <a:pt x="4" y="5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5" y="4"/>
                    <a:pt x="7" y="4"/>
                  </a:cubicBezTo>
                  <a:cubicBezTo>
                    <a:pt x="89" y="4"/>
                    <a:pt x="89" y="4"/>
                    <a:pt x="89" y="4"/>
                  </a:cubicBezTo>
                  <a:cubicBezTo>
                    <a:pt x="91" y="4"/>
                    <a:pt x="92" y="5"/>
                    <a:pt x="92" y="7"/>
                  </a:cubicBezTo>
                  <a:lnTo>
                    <a:pt x="92" y="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  <p:sp>
          <p:nvSpPr>
            <p:cNvPr id="25" name="Freeform 28">
              <a:extLst>
                <a:ext uri="{FF2B5EF4-FFF2-40B4-BE49-F238E27FC236}">
                  <a16:creationId xmlns:a16="http://schemas.microsoft.com/office/drawing/2014/main" id="{FC9870BE-B9E7-79F9-36EE-2F72CAC71D7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43726" y="1201738"/>
              <a:ext cx="46038" cy="47625"/>
            </a:xfrm>
            <a:custGeom>
              <a:avLst/>
              <a:gdLst>
                <a:gd name="T0" fmla="*/ 6 w 12"/>
                <a:gd name="T1" fmla="*/ 0 h 12"/>
                <a:gd name="T2" fmla="*/ 0 w 12"/>
                <a:gd name="T3" fmla="*/ 6 h 12"/>
                <a:gd name="T4" fmla="*/ 6 w 12"/>
                <a:gd name="T5" fmla="*/ 12 h 12"/>
                <a:gd name="T6" fmla="*/ 12 w 12"/>
                <a:gd name="T7" fmla="*/ 6 h 12"/>
                <a:gd name="T8" fmla="*/ 6 w 12"/>
                <a:gd name="T9" fmla="*/ 0 h 12"/>
                <a:gd name="T10" fmla="*/ 6 w 12"/>
                <a:gd name="T11" fmla="*/ 8 h 12"/>
                <a:gd name="T12" fmla="*/ 4 w 12"/>
                <a:gd name="T13" fmla="*/ 6 h 12"/>
                <a:gd name="T14" fmla="*/ 6 w 12"/>
                <a:gd name="T15" fmla="*/ 4 h 12"/>
                <a:gd name="T16" fmla="*/ 8 w 12"/>
                <a:gd name="T17" fmla="*/ 6 h 12"/>
                <a:gd name="T18" fmla="*/ 6 w 12"/>
                <a:gd name="T1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9" y="12"/>
                    <a:pt x="12" y="9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lose/>
                  <a:moveTo>
                    <a:pt x="6" y="8"/>
                  </a:moveTo>
                  <a:cubicBezTo>
                    <a:pt x="5" y="8"/>
                    <a:pt x="4" y="7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7" y="4"/>
                    <a:pt x="8" y="5"/>
                    <a:pt x="8" y="6"/>
                  </a:cubicBezTo>
                  <a:cubicBezTo>
                    <a:pt x="8" y="7"/>
                    <a:pt x="7" y="8"/>
                    <a:pt x="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  <p:sp>
          <p:nvSpPr>
            <p:cNvPr id="26" name="Freeform 29">
              <a:extLst>
                <a:ext uri="{FF2B5EF4-FFF2-40B4-BE49-F238E27FC236}">
                  <a16:creationId xmlns:a16="http://schemas.microsoft.com/office/drawing/2014/main" id="{1D495937-4003-AB03-88D3-EA333586F645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1813" y="1044575"/>
              <a:ext cx="61913" cy="65087"/>
            </a:xfrm>
            <a:custGeom>
              <a:avLst/>
              <a:gdLst>
                <a:gd name="T0" fmla="*/ 0 w 39"/>
                <a:gd name="T1" fmla="*/ 24 h 41"/>
                <a:gd name="T2" fmla="*/ 39 w 39"/>
                <a:gd name="T3" fmla="*/ 41 h 41"/>
                <a:gd name="T4" fmla="*/ 39 w 39"/>
                <a:gd name="T5" fmla="*/ 32 h 41"/>
                <a:gd name="T6" fmla="*/ 12 w 39"/>
                <a:gd name="T7" fmla="*/ 19 h 41"/>
                <a:gd name="T8" fmla="*/ 39 w 39"/>
                <a:gd name="T9" fmla="*/ 10 h 41"/>
                <a:gd name="T10" fmla="*/ 39 w 39"/>
                <a:gd name="T11" fmla="*/ 0 h 41"/>
                <a:gd name="T12" fmla="*/ 0 w 39"/>
                <a:gd name="T13" fmla="*/ 17 h 41"/>
                <a:gd name="T14" fmla="*/ 0 w 39"/>
                <a:gd name="T15" fmla="*/ 2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41">
                  <a:moveTo>
                    <a:pt x="0" y="24"/>
                  </a:moveTo>
                  <a:lnTo>
                    <a:pt x="39" y="41"/>
                  </a:lnTo>
                  <a:lnTo>
                    <a:pt x="39" y="32"/>
                  </a:lnTo>
                  <a:lnTo>
                    <a:pt x="12" y="19"/>
                  </a:lnTo>
                  <a:lnTo>
                    <a:pt x="39" y="10"/>
                  </a:lnTo>
                  <a:lnTo>
                    <a:pt x="39" y="0"/>
                  </a:lnTo>
                  <a:lnTo>
                    <a:pt x="0" y="17"/>
                  </a:lnTo>
                  <a:lnTo>
                    <a:pt x="0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  <p:sp>
          <p:nvSpPr>
            <p:cNvPr id="27" name="Freeform 30">
              <a:extLst>
                <a:ext uri="{FF2B5EF4-FFF2-40B4-BE49-F238E27FC236}">
                  <a16:creationId xmlns:a16="http://schemas.microsoft.com/office/drawing/2014/main" id="{3CE0E166-1C4C-6330-A427-9A51539D20C5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0076" y="1033463"/>
              <a:ext cx="31750" cy="87312"/>
            </a:xfrm>
            <a:custGeom>
              <a:avLst/>
              <a:gdLst>
                <a:gd name="T0" fmla="*/ 7 w 8"/>
                <a:gd name="T1" fmla="*/ 0 h 23"/>
                <a:gd name="T2" fmla="*/ 5 w 8"/>
                <a:gd name="T3" fmla="*/ 0 h 23"/>
                <a:gd name="T4" fmla="*/ 5 w 8"/>
                <a:gd name="T5" fmla="*/ 2 h 23"/>
                <a:gd name="T6" fmla="*/ 0 w 8"/>
                <a:gd name="T7" fmla="*/ 20 h 23"/>
                <a:gd name="T8" fmla="*/ 0 w 8"/>
                <a:gd name="T9" fmla="*/ 22 h 23"/>
                <a:gd name="T10" fmla="*/ 2 w 8"/>
                <a:gd name="T11" fmla="*/ 23 h 23"/>
                <a:gd name="T12" fmla="*/ 3 w 8"/>
                <a:gd name="T13" fmla="*/ 23 h 23"/>
                <a:gd name="T14" fmla="*/ 3 w 8"/>
                <a:gd name="T15" fmla="*/ 22 h 23"/>
                <a:gd name="T16" fmla="*/ 4 w 8"/>
                <a:gd name="T17" fmla="*/ 21 h 23"/>
                <a:gd name="T18" fmla="*/ 8 w 8"/>
                <a:gd name="T19" fmla="*/ 3 h 23"/>
                <a:gd name="T20" fmla="*/ 8 w 8"/>
                <a:gd name="T21" fmla="*/ 1 h 23"/>
                <a:gd name="T22" fmla="*/ 8 w 8"/>
                <a:gd name="T23" fmla="*/ 0 h 23"/>
                <a:gd name="T24" fmla="*/ 7 w 8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3">
                  <a:moveTo>
                    <a:pt x="7" y="0"/>
                  </a:move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1"/>
                    <a:pt x="5" y="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0" y="23"/>
                    <a:pt x="1" y="23"/>
                    <a:pt x="2" y="23"/>
                  </a:cubicBezTo>
                  <a:cubicBezTo>
                    <a:pt x="2" y="23"/>
                    <a:pt x="2" y="23"/>
                    <a:pt x="3" y="23"/>
                  </a:cubicBezTo>
                  <a:cubicBezTo>
                    <a:pt x="3" y="23"/>
                    <a:pt x="3" y="22"/>
                    <a:pt x="3" y="22"/>
                  </a:cubicBezTo>
                  <a:cubicBezTo>
                    <a:pt x="3" y="22"/>
                    <a:pt x="3" y="21"/>
                    <a:pt x="4" y="2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  <p:sp>
          <p:nvSpPr>
            <p:cNvPr id="28" name="Freeform 31">
              <a:extLst>
                <a:ext uri="{FF2B5EF4-FFF2-40B4-BE49-F238E27FC236}">
                  <a16:creationId xmlns:a16="http://schemas.microsoft.com/office/drawing/2014/main" id="{6E99BDF2-A70C-AB0D-B813-48C62579A835}"/>
                </a:ext>
              </a:extLst>
            </p:cNvPr>
            <p:cNvSpPr>
              <a:spLocks/>
            </p:cNvSpPr>
            <p:nvPr/>
          </p:nvSpPr>
          <p:spPr bwMode="auto">
            <a:xfrm>
              <a:off x="6989763" y="1044575"/>
              <a:ext cx="60325" cy="65087"/>
            </a:xfrm>
            <a:custGeom>
              <a:avLst/>
              <a:gdLst>
                <a:gd name="T0" fmla="*/ 0 w 38"/>
                <a:gd name="T1" fmla="*/ 10 h 41"/>
                <a:gd name="T2" fmla="*/ 26 w 38"/>
                <a:gd name="T3" fmla="*/ 19 h 41"/>
                <a:gd name="T4" fmla="*/ 0 w 38"/>
                <a:gd name="T5" fmla="*/ 32 h 41"/>
                <a:gd name="T6" fmla="*/ 0 w 38"/>
                <a:gd name="T7" fmla="*/ 41 h 41"/>
                <a:gd name="T8" fmla="*/ 38 w 38"/>
                <a:gd name="T9" fmla="*/ 24 h 41"/>
                <a:gd name="T10" fmla="*/ 38 w 38"/>
                <a:gd name="T11" fmla="*/ 17 h 41"/>
                <a:gd name="T12" fmla="*/ 0 w 38"/>
                <a:gd name="T13" fmla="*/ 0 h 41"/>
                <a:gd name="T14" fmla="*/ 0 w 38"/>
                <a:gd name="T15" fmla="*/ 1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41">
                  <a:moveTo>
                    <a:pt x="0" y="10"/>
                  </a:moveTo>
                  <a:lnTo>
                    <a:pt x="26" y="19"/>
                  </a:lnTo>
                  <a:lnTo>
                    <a:pt x="0" y="32"/>
                  </a:lnTo>
                  <a:lnTo>
                    <a:pt x="0" y="41"/>
                  </a:lnTo>
                  <a:lnTo>
                    <a:pt x="38" y="24"/>
                  </a:lnTo>
                  <a:lnTo>
                    <a:pt x="38" y="17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71794066"/>
      </p:ext>
    </p:extLst>
  </p:cSld>
  <p:clrMapOvr>
    <a:masterClrMapping/>
  </p:clrMapOvr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1EC1DB3-0439-679B-547F-085E20E4A4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3" name="think-cell data - do not delete" hidden="1">
            <a:extLst>
              <a:ext uri="{FF2B5EF4-FFF2-40B4-BE49-F238E27FC236}">
                <a16:creationId xmlns:a16="http://schemas.microsoft.com/office/drawing/2014/main" id="{1412AA66-7261-D04D-24EB-E7C577AD08B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12AA66-7261-D04D-24EB-E7C577AD08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EC922D4-517D-DC0D-6C67-74BABC203C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ircular Layou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3D887FF-3B94-2B47-8570-C89FE71BFD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15</a:t>
            </a:fld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F47FDEA0-6462-7386-2B62-86C404944418}"/>
              </a:ext>
            </a:extLst>
          </p:cNvPr>
          <p:cNvGrpSpPr/>
          <p:nvPr/>
        </p:nvGrpSpPr>
        <p:grpSpPr>
          <a:xfrm>
            <a:off x="2275307" y="866740"/>
            <a:ext cx="7923058" cy="5465764"/>
            <a:chOff x="2275307" y="866740"/>
            <a:chExt cx="7923058" cy="5465764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D6F9D7B6-A659-8480-5A98-D3874AC92FB8}"/>
                </a:ext>
              </a:extLst>
            </p:cNvPr>
            <p:cNvSpPr txBox="1"/>
            <p:nvPr/>
          </p:nvSpPr>
          <p:spPr>
            <a:xfrm>
              <a:off x="2275307" y="3430854"/>
              <a:ext cx="1617751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spcBef>
                  <a:spcPts val="300"/>
                </a:spcBef>
                <a:spcAft>
                  <a:spcPts val="200"/>
                </a:spcAft>
              </a:pPr>
              <a:r>
                <a:rPr lang="en-US" sz="1400" b="1" dirty="0">
                  <a:solidFill>
                    <a:prstClr val="black"/>
                  </a:solidFill>
                </a:rPr>
                <a:t>Sample Headline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2E0C0B56-8585-A377-8199-EBA493A89498}"/>
                </a:ext>
              </a:extLst>
            </p:cNvPr>
            <p:cNvSpPr txBox="1"/>
            <p:nvPr/>
          </p:nvSpPr>
          <p:spPr>
            <a:xfrm>
              <a:off x="5462101" y="866740"/>
              <a:ext cx="1617751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spcBef>
                  <a:spcPts val="300"/>
                </a:spcBef>
                <a:spcAft>
                  <a:spcPts val="200"/>
                </a:spcAft>
              </a:pPr>
              <a:r>
                <a:rPr lang="en-US" sz="1400" b="1" dirty="0">
                  <a:solidFill>
                    <a:prstClr val="black"/>
                  </a:solidFill>
                </a:rPr>
                <a:t>Sample Headline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8E06B345-F4FF-BF70-9B41-5FE3F436B90B}"/>
                </a:ext>
              </a:extLst>
            </p:cNvPr>
            <p:cNvSpPr txBox="1"/>
            <p:nvPr/>
          </p:nvSpPr>
          <p:spPr>
            <a:xfrm>
              <a:off x="7986266" y="1978170"/>
              <a:ext cx="1617751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spcBef>
                  <a:spcPts val="300"/>
                </a:spcBef>
                <a:spcAft>
                  <a:spcPts val="200"/>
                </a:spcAft>
              </a:pPr>
              <a:r>
                <a:rPr lang="en-US" sz="1400" b="1" dirty="0">
                  <a:solidFill>
                    <a:prstClr val="black"/>
                  </a:solidFill>
                </a:rPr>
                <a:t>Sample Headline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477AC82C-3B29-14AC-34A3-0131758474F3}"/>
                </a:ext>
              </a:extLst>
            </p:cNvPr>
            <p:cNvSpPr txBox="1"/>
            <p:nvPr/>
          </p:nvSpPr>
          <p:spPr>
            <a:xfrm>
              <a:off x="8580614" y="3420865"/>
              <a:ext cx="1617751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spcBef>
                  <a:spcPts val="300"/>
                </a:spcBef>
                <a:spcAft>
                  <a:spcPts val="200"/>
                </a:spcAft>
              </a:pPr>
              <a:r>
                <a:rPr lang="en-US" sz="1400" b="1" dirty="0">
                  <a:solidFill>
                    <a:prstClr val="black"/>
                  </a:solidFill>
                </a:rPr>
                <a:t>Sample Headline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61FBE65A-08D3-372E-9AB8-1AEEC1F071F9}"/>
                </a:ext>
              </a:extLst>
            </p:cNvPr>
            <p:cNvSpPr txBox="1"/>
            <p:nvPr/>
          </p:nvSpPr>
          <p:spPr>
            <a:xfrm>
              <a:off x="2825341" y="4946849"/>
              <a:ext cx="1617751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spcBef>
                  <a:spcPts val="300"/>
                </a:spcBef>
                <a:spcAft>
                  <a:spcPts val="200"/>
                </a:spcAft>
              </a:pPr>
              <a:r>
                <a:rPr lang="en-US" sz="1400" b="1" dirty="0">
                  <a:solidFill>
                    <a:prstClr val="black"/>
                  </a:solidFill>
                </a:rPr>
                <a:t>Sample Headline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DE7FAEC1-C02C-336A-E4E3-9627C6320B34}"/>
                </a:ext>
              </a:extLst>
            </p:cNvPr>
            <p:cNvSpPr txBox="1"/>
            <p:nvPr/>
          </p:nvSpPr>
          <p:spPr>
            <a:xfrm>
              <a:off x="5310784" y="6024727"/>
              <a:ext cx="1617751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spcBef>
                  <a:spcPts val="300"/>
                </a:spcBef>
                <a:spcAft>
                  <a:spcPts val="200"/>
                </a:spcAft>
              </a:pPr>
              <a:r>
                <a:rPr lang="en-US" sz="1400" b="1" dirty="0">
                  <a:solidFill>
                    <a:prstClr val="black"/>
                  </a:solidFill>
                </a:rPr>
                <a:t>Sample Headline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CF69DEF1-AD92-BE08-A14F-237B353C936E}"/>
                </a:ext>
              </a:extLst>
            </p:cNvPr>
            <p:cNvSpPr txBox="1"/>
            <p:nvPr/>
          </p:nvSpPr>
          <p:spPr>
            <a:xfrm>
              <a:off x="7986266" y="4988009"/>
              <a:ext cx="1617751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spcBef>
                  <a:spcPts val="300"/>
                </a:spcBef>
                <a:spcAft>
                  <a:spcPts val="200"/>
                </a:spcAft>
              </a:pPr>
              <a:r>
                <a:rPr lang="en-US" sz="1400" b="1" dirty="0">
                  <a:solidFill>
                    <a:prstClr val="black"/>
                  </a:solidFill>
                </a:rPr>
                <a:t>Sample Headline</a:t>
              </a:r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552AB59B-FD0C-E84E-9E2A-ECEE4DAFED6C}"/>
                </a:ext>
              </a:extLst>
            </p:cNvPr>
            <p:cNvSpPr/>
            <p:nvPr/>
          </p:nvSpPr>
          <p:spPr bwMode="auto">
            <a:xfrm>
              <a:off x="4917186" y="2385493"/>
              <a:ext cx="2432742" cy="2432738"/>
            </a:xfrm>
            <a:prstGeom prst="ellipse">
              <a:avLst/>
            </a:prstGeom>
            <a:solidFill>
              <a:schemeClr val="bg1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</a:pPr>
              <a:endParaRPr lang="en-US" dirty="0" err="1">
                <a:solidFill>
                  <a:schemeClr val="bg1"/>
                </a:solidFill>
              </a:endParaRPr>
            </a:p>
          </p:txBody>
        </p:sp>
        <p:sp>
          <p:nvSpPr>
            <p:cNvPr id="41" name="Oval 95">
              <a:extLst>
                <a:ext uri="{FF2B5EF4-FFF2-40B4-BE49-F238E27FC236}">
                  <a16:creationId xmlns:a16="http://schemas.microsoft.com/office/drawing/2014/main" id="{04BDE6C2-F44D-D5E3-FDAC-AB8A5B98B6B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366293" y="2867376"/>
              <a:ext cx="1462457" cy="1462455"/>
            </a:xfrm>
            <a:prstGeom prst="ellipse">
              <a:avLst/>
            </a:prstGeom>
            <a:solidFill>
              <a:schemeClr val="tx2"/>
            </a:solidFill>
            <a:ln w="9525">
              <a:solidFill>
                <a:schemeClr val="bg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 altLang="en-US">
                <a:cs typeface="Arial" panose="020B0604020202020204" pitchFamily="34" charset="0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9D923732-5D78-8D4C-0DEF-5552477C7925}"/>
                </a:ext>
              </a:extLst>
            </p:cNvPr>
            <p:cNvSpPr txBox="1"/>
            <p:nvPr/>
          </p:nvSpPr>
          <p:spPr>
            <a:xfrm>
              <a:off x="5707696" y="3413814"/>
              <a:ext cx="856325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600" dirty="0">
                  <a:solidFill>
                    <a:schemeClr val="bg1"/>
                  </a:solidFill>
                </a:rPr>
                <a:t>Header</a:t>
              </a:r>
            </a:p>
          </p:txBody>
        </p:sp>
        <p:sp>
          <p:nvSpPr>
            <p:cNvPr id="24" name="Teardrop 23">
              <a:extLst>
                <a:ext uri="{FF2B5EF4-FFF2-40B4-BE49-F238E27FC236}">
                  <a16:creationId xmlns:a16="http://schemas.microsoft.com/office/drawing/2014/main" id="{39F202E6-6240-02D1-5B11-26D6C9DB0901}"/>
                </a:ext>
              </a:extLst>
            </p:cNvPr>
            <p:cNvSpPr/>
            <p:nvPr/>
          </p:nvSpPr>
          <p:spPr bwMode="auto">
            <a:xfrm rot="8100000">
              <a:off x="5594144" y="1276956"/>
              <a:ext cx="1113718" cy="1113716"/>
            </a:xfrm>
            <a:prstGeom prst="teardrop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</a:pPr>
              <a:endParaRPr lang="en-US" dirty="0" err="1">
                <a:solidFill>
                  <a:schemeClr val="bg1"/>
                </a:solidFill>
              </a:endParaRPr>
            </a:p>
          </p:txBody>
        </p:sp>
        <p:sp>
          <p:nvSpPr>
            <p:cNvPr id="25" name="Teardrop 24">
              <a:extLst>
                <a:ext uri="{FF2B5EF4-FFF2-40B4-BE49-F238E27FC236}">
                  <a16:creationId xmlns:a16="http://schemas.microsoft.com/office/drawing/2014/main" id="{5AB682FB-F47D-EC32-1A52-6BD86F1DD05F}"/>
                </a:ext>
              </a:extLst>
            </p:cNvPr>
            <p:cNvSpPr/>
            <p:nvPr/>
          </p:nvSpPr>
          <p:spPr bwMode="auto">
            <a:xfrm rot="10800000">
              <a:off x="6824577" y="1783191"/>
              <a:ext cx="1113718" cy="1113716"/>
            </a:xfrm>
            <a:prstGeom prst="teardrop">
              <a:avLst/>
            </a:prstGeom>
            <a:solidFill>
              <a:schemeClr val="accent2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</a:pPr>
              <a:endParaRPr lang="en-US" dirty="0" err="1">
                <a:solidFill>
                  <a:schemeClr val="bg1"/>
                </a:solidFill>
              </a:endParaRPr>
            </a:p>
          </p:txBody>
        </p:sp>
        <p:sp>
          <p:nvSpPr>
            <p:cNvPr id="26" name="Teardrop 25">
              <a:extLst>
                <a:ext uri="{FF2B5EF4-FFF2-40B4-BE49-F238E27FC236}">
                  <a16:creationId xmlns:a16="http://schemas.microsoft.com/office/drawing/2014/main" id="{8FD059D0-8FC9-092B-9486-71F4B23DFAD5}"/>
                </a:ext>
              </a:extLst>
            </p:cNvPr>
            <p:cNvSpPr/>
            <p:nvPr/>
          </p:nvSpPr>
          <p:spPr bwMode="auto">
            <a:xfrm rot="13500000">
              <a:off x="7358937" y="3041745"/>
              <a:ext cx="1113716" cy="1113718"/>
            </a:xfrm>
            <a:prstGeom prst="teardrop">
              <a:avLst/>
            </a:prstGeom>
            <a:solidFill>
              <a:schemeClr val="accent3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</a:pPr>
              <a:endParaRPr lang="en-US" dirty="0" err="1">
                <a:solidFill>
                  <a:schemeClr val="bg1"/>
                </a:solidFill>
              </a:endParaRPr>
            </a:p>
          </p:txBody>
        </p:sp>
        <p:sp>
          <p:nvSpPr>
            <p:cNvPr id="27" name="Teardrop 26">
              <a:extLst>
                <a:ext uri="{FF2B5EF4-FFF2-40B4-BE49-F238E27FC236}">
                  <a16:creationId xmlns:a16="http://schemas.microsoft.com/office/drawing/2014/main" id="{33137D01-D215-C932-610A-6DA92E00D326}"/>
                </a:ext>
              </a:extLst>
            </p:cNvPr>
            <p:cNvSpPr/>
            <p:nvPr/>
          </p:nvSpPr>
          <p:spPr bwMode="auto">
            <a:xfrm rot="16200000">
              <a:off x="6803485" y="4279207"/>
              <a:ext cx="1113716" cy="1113718"/>
            </a:xfrm>
            <a:prstGeom prst="teardrop">
              <a:avLst/>
            </a:prstGeom>
            <a:solidFill>
              <a:schemeClr val="accent4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</a:pPr>
              <a:endParaRPr lang="en-US" dirty="0" err="1">
                <a:solidFill>
                  <a:schemeClr val="bg1"/>
                </a:solidFill>
              </a:endParaRPr>
            </a:p>
          </p:txBody>
        </p:sp>
        <p:sp>
          <p:nvSpPr>
            <p:cNvPr id="28" name="Teardrop 27">
              <a:extLst>
                <a:ext uri="{FF2B5EF4-FFF2-40B4-BE49-F238E27FC236}">
                  <a16:creationId xmlns:a16="http://schemas.microsoft.com/office/drawing/2014/main" id="{6165FB5C-0C4F-D3EA-6E4B-D56EC429D606}"/>
                </a:ext>
              </a:extLst>
            </p:cNvPr>
            <p:cNvSpPr/>
            <p:nvPr/>
          </p:nvSpPr>
          <p:spPr bwMode="auto">
            <a:xfrm rot="18900000">
              <a:off x="5551958" y="4785442"/>
              <a:ext cx="1113718" cy="1113716"/>
            </a:xfrm>
            <a:prstGeom prst="teardrop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</a:pPr>
              <a:endParaRPr lang="en-US" dirty="0" err="1">
                <a:solidFill>
                  <a:schemeClr val="bg1"/>
                </a:solidFill>
              </a:endParaRPr>
            </a:p>
          </p:txBody>
        </p:sp>
        <p:sp>
          <p:nvSpPr>
            <p:cNvPr id="29" name="Teardrop 28">
              <a:extLst>
                <a:ext uri="{FF2B5EF4-FFF2-40B4-BE49-F238E27FC236}">
                  <a16:creationId xmlns:a16="http://schemas.microsoft.com/office/drawing/2014/main" id="{312D1A7B-0162-9907-66EB-47717060074D}"/>
                </a:ext>
              </a:extLst>
            </p:cNvPr>
            <p:cNvSpPr/>
            <p:nvPr/>
          </p:nvSpPr>
          <p:spPr bwMode="auto">
            <a:xfrm>
              <a:off x="4300432" y="4258115"/>
              <a:ext cx="1113718" cy="1113716"/>
            </a:xfrm>
            <a:prstGeom prst="teardrop">
              <a:avLst/>
            </a:prstGeom>
            <a:solidFill>
              <a:schemeClr val="accent2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</a:pPr>
              <a:endParaRPr lang="en-US" dirty="0" err="1">
                <a:solidFill>
                  <a:schemeClr val="bg1"/>
                </a:solidFill>
              </a:endParaRPr>
            </a:p>
          </p:txBody>
        </p:sp>
        <p:sp>
          <p:nvSpPr>
            <p:cNvPr id="30" name="Teardrop 29">
              <a:extLst>
                <a:ext uri="{FF2B5EF4-FFF2-40B4-BE49-F238E27FC236}">
                  <a16:creationId xmlns:a16="http://schemas.microsoft.com/office/drawing/2014/main" id="{99EF3F7F-248B-C4F3-F531-2D4B1CE862CE}"/>
                </a:ext>
              </a:extLst>
            </p:cNvPr>
            <p:cNvSpPr/>
            <p:nvPr/>
          </p:nvSpPr>
          <p:spPr bwMode="auto">
            <a:xfrm rot="2700000">
              <a:off x="3787166" y="3013621"/>
              <a:ext cx="1113716" cy="1113718"/>
            </a:xfrm>
            <a:prstGeom prst="teardrop">
              <a:avLst/>
            </a:prstGeom>
            <a:solidFill>
              <a:schemeClr val="accent3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</a:pPr>
              <a:endParaRPr lang="en-US" dirty="0" err="1">
                <a:solidFill>
                  <a:schemeClr val="bg1"/>
                </a:solidFill>
              </a:endParaRPr>
            </a:p>
          </p:txBody>
        </p:sp>
        <p:sp>
          <p:nvSpPr>
            <p:cNvPr id="31" name="Teardrop 30">
              <a:extLst>
                <a:ext uri="{FF2B5EF4-FFF2-40B4-BE49-F238E27FC236}">
                  <a16:creationId xmlns:a16="http://schemas.microsoft.com/office/drawing/2014/main" id="{DEFC1F60-656E-71E9-186C-C3536275A5AF}"/>
                </a:ext>
              </a:extLst>
            </p:cNvPr>
            <p:cNvSpPr/>
            <p:nvPr/>
          </p:nvSpPr>
          <p:spPr bwMode="auto">
            <a:xfrm rot="5400000">
              <a:off x="4349650" y="1762097"/>
              <a:ext cx="1113716" cy="1113718"/>
            </a:xfrm>
            <a:prstGeom prst="teardrop">
              <a:avLst/>
            </a:prstGeom>
            <a:solidFill>
              <a:schemeClr val="accent4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</a:pPr>
              <a:endParaRPr lang="en-US" dirty="0" err="1">
                <a:solidFill>
                  <a:schemeClr val="bg1"/>
                </a:solidFill>
              </a:endParaRP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8E4D5E0E-A71D-7CEC-A173-2D2C1D25F16A}"/>
                </a:ext>
              </a:extLst>
            </p:cNvPr>
            <p:cNvSpPr txBox="1"/>
            <p:nvPr/>
          </p:nvSpPr>
          <p:spPr>
            <a:xfrm>
              <a:off x="5741996" y="1644972"/>
              <a:ext cx="821059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b="1" dirty="0">
                  <a:solidFill>
                    <a:schemeClr val="bg1"/>
                  </a:solidFill>
                </a:rPr>
                <a:t>Stage 1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CA330277-83CD-39FB-3501-5053A004DB0D}"/>
                </a:ext>
              </a:extLst>
            </p:cNvPr>
            <p:cNvSpPr txBox="1"/>
            <p:nvPr/>
          </p:nvSpPr>
          <p:spPr>
            <a:xfrm>
              <a:off x="6986491" y="2165268"/>
              <a:ext cx="821059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b="1" dirty="0">
                  <a:solidFill>
                    <a:schemeClr val="bg1"/>
                  </a:solidFill>
                </a:rPr>
                <a:t>Stage 2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F750D151-1FA2-B3D1-6654-35C2B0A45170}"/>
                </a:ext>
              </a:extLst>
            </p:cNvPr>
            <p:cNvSpPr txBox="1"/>
            <p:nvPr/>
          </p:nvSpPr>
          <p:spPr>
            <a:xfrm>
              <a:off x="7513820" y="3430854"/>
              <a:ext cx="821059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b="1" dirty="0">
                  <a:solidFill>
                    <a:schemeClr val="bg1"/>
                  </a:solidFill>
                </a:rPr>
                <a:t>Stage 3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2A1E9FF6-9507-9771-C2D3-F433CFC35EAC}"/>
                </a:ext>
              </a:extLst>
            </p:cNvPr>
            <p:cNvSpPr txBox="1"/>
            <p:nvPr/>
          </p:nvSpPr>
          <p:spPr>
            <a:xfrm>
              <a:off x="6965398" y="4710503"/>
              <a:ext cx="821059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b="1" dirty="0">
                  <a:solidFill>
                    <a:schemeClr val="bg1"/>
                  </a:solidFill>
                </a:rPr>
                <a:t>Stage 4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6A10C141-B8F4-4078-24E7-2B766D12E152}"/>
                </a:ext>
              </a:extLst>
            </p:cNvPr>
            <p:cNvSpPr txBox="1"/>
            <p:nvPr/>
          </p:nvSpPr>
          <p:spPr>
            <a:xfrm>
              <a:off x="5706841" y="5202675"/>
              <a:ext cx="821059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b="1" dirty="0">
                  <a:solidFill>
                    <a:schemeClr val="bg1"/>
                  </a:solidFill>
                </a:rPr>
                <a:t>Stage 5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CBA3B6A9-A93E-EFE0-1C03-33013DA82DDF}"/>
                </a:ext>
              </a:extLst>
            </p:cNvPr>
            <p:cNvSpPr txBox="1"/>
            <p:nvPr/>
          </p:nvSpPr>
          <p:spPr>
            <a:xfrm>
              <a:off x="4469377" y="4647223"/>
              <a:ext cx="821059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b="1" dirty="0">
                  <a:solidFill>
                    <a:schemeClr val="bg1"/>
                  </a:solidFill>
                </a:rPr>
                <a:t>Stage 6</a:t>
              </a: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24321052-CAE1-379D-ACD7-5E4860A0475F}"/>
                </a:ext>
              </a:extLst>
            </p:cNvPr>
            <p:cNvSpPr txBox="1"/>
            <p:nvPr/>
          </p:nvSpPr>
          <p:spPr>
            <a:xfrm>
              <a:off x="3963142" y="3423823"/>
              <a:ext cx="821059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b="1" dirty="0">
                  <a:solidFill>
                    <a:schemeClr val="bg1"/>
                  </a:solidFill>
                </a:rPr>
                <a:t>Stage 7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009F09BE-AA25-FBE1-4028-A8EC38FC9927}"/>
                </a:ext>
              </a:extLst>
            </p:cNvPr>
            <p:cNvSpPr txBox="1"/>
            <p:nvPr/>
          </p:nvSpPr>
          <p:spPr>
            <a:xfrm>
              <a:off x="4483439" y="2151206"/>
              <a:ext cx="821059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b="1" dirty="0">
                  <a:solidFill>
                    <a:schemeClr val="bg1"/>
                  </a:solidFill>
                </a:rPr>
                <a:t>Stage 8</a:t>
              </a: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D9C18987-568B-A327-C639-4A5905EB85E4}"/>
                </a:ext>
              </a:extLst>
            </p:cNvPr>
            <p:cNvSpPr txBox="1"/>
            <p:nvPr/>
          </p:nvSpPr>
          <p:spPr>
            <a:xfrm>
              <a:off x="2851127" y="1978170"/>
              <a:ext cx="1617751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spcBef>
                  <a:spcPts val="300"/>
                </a:spcBef>
                <a:spcAft>
                  <a:spcPts val="200"/>
                </a:spcAft>
              </a:pPr>
              <a:r>
                <a:rPr lang="en-US" sz="1400" b="1" dirty="0">
                  <a:solidFill>
                    <a:prstClr val="black"/>
                  </a:solidFill>
                </a:rPr>
                <a:t>Sample Headlin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60617239"/>
      </p:ext>
    </p:extLst>
  </p:cSld>
  <p:clrMapOvr>
    <a:masterClrMapping/>
  </p:clrMapOvr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815C67A-2B44-F554-30DB-B9E64E40F8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9" name="think-cell data - do not delete" hidden="1">
            <a:extLst>
              <a:ext uri="{FF2B5EF4-FFF2-40B4-BE49-F238E27FC236}">
                <a16:creationId xmlns:a16="http://schemas.microsoft.com/office/drawing/2014/main" id="{B5AEC03E-0618-5AAA-5737-8B8D2077217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6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5AEC03E-0618-5AAA-5737-8B8D207721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92D45DC-EDEF-8A64-41D4-FDB41452AA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ircular Layou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5708914-7CDE-6406-78F6-F009AFA6AD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16</a:t>
            </a:fld>
            <a:endParaRPr lang="en-US" dirty="0"/>
          </a:p>
        </p:txBody>
      </p:sp>
      <p:grpSp>
        <p:nvGrpSpPr>
          <p:cNvPr id="5" name="Group 6">
            <a:extLst>
              <a:ext uri="{FF2B5EF4-FFF2-40B4-BE49-F238E27FC236}">
                <a16:creationId xmlns:a16="http://schemas.microsoft.com/office/drawing/2014/main" id="{62786F8B-7A64-52D1-AF95-3DE22317EC28}"/>
              </a:ext>
            </a:extLst>
          </p:cNvPr>
          <p:cNvGrpSpPr/>
          <p:nvPr/>
        </p:nvGrpSpPr>
        <p:grpSpPr>
          <a:xfrm>
            <a:off x="3945264" y="1308835"/>
            <a:ext cx="2083524" cy="1799442"/>
            <a:chOff x="2021296" y="608417"/>
            <a:chExt cx="2505907" cy="2164234"/>
          </a:xfrm>
          <a:solidFill>
            <a:schemeClr val="accent1"/>
          </a:solidFill>
        </p:grpSpPr>
        <p:sp>
          <p:nvSpPr>
            <p:cNvPr id="6" name="Oval 17">
              <a:extLst>
                <a:ext uri="{FF2B5EF4-FFF2-40B4-BE49-F238E27FC236}">
                  <a16:creationId xmlns:a16="http://schemas.microsoft.com/office/drawing/2014/main" id="{AAF2189F-2BD8-AE00-8659-E053D4AF6888}"/>
                </a:ext>
              </a:extLst>
            </p:cNvPr>
            <p:cNvSpPr/>
            <p:nvPr/>
          </p:nvSpPr>
          <p:spPr>
            <a:xfrm>
              <a:off x="2021296" y="608417"/>
              <a:ext cx="2505907" cy="2164234"/>
            </a:xfrm>
            <a:custGeom>
              <a:avLst/>
              <a:gdLst/>
              <a:ahLst/>
              <a:cxnLst/>
              <a:rect l="l" t="t" r="r" b="b"/>
              <a:pathLst>
                <a:path w="2505907" h="2164234">
                  <a:moveTo>
                    <a:pt x="2501728" y="0"/>
                  </a:moveTo>
                  <a:lnTo>
                    <a:pt x="2505907" y="212"/>
                  </a:lnTo>
                  <a:lnTo>
                    <a:pt x="2505907" y="1459214"/>
                  </a:lnTo>
                  <a:cubicBezTo>
                    <a:pt x="1978887" y="1477002"/>
                    <a:pt x="1519120" y="1753805"/>
                    <a:pt x="1254596" y="2164234"/>
                  </a:cubicBezTo>
                  <a:lnTo>
                    <a:pt x="856130" y="1936482"/>
                  </a:lnTo>
                  <a:lnTo>
                    <a:pt x="499541" y="1732665"/>
                  </a:lnTo>
                  <a:lnTo>
                    <a:pt x="0" y="1447142"/>
                  </a:lnTo>
                  <a:cubicBezTo>
                    <a:pt x="497351" y="581525"/>
                    <a:pt x="1431629" y="0"/>
                    <a:pt x="2501728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" name="Oval 17">
              <a:extLst>
                <a:ext uri="{FF2B5EF4-FFF2-40B4-BE49-F238E27FC236}">
                  <a16:creationId xmlns:a16="http://schemas.microsoft.com/office/drawing/2014/main" id="{71EFE7C9-892B-F897-38E4-7FF6B66FE3EF}"/>
                </a:ext>
              </a:extLst>
            </p:cNvPr>
            <p:cNvSpPr/>
            <p:nvPr/>
          </p:nvSpPr>
          <p:spPr>
            <a:xfrm>
              <a:off x="2156518" y="724467"/>
              <a:ext cx="2283731" cy="1991773"/>
            </a:xfrm>
            <a:custGeom>
              <a:avLst/>
              <a:gdLst>
                <a:gd name="connsiteX0" fmla="*/ 2330413 w 2330413"/>
                <a:gd name="connsiteY0" fmla="*/ 0 h 2010588"/>
                <a:gd name="connsiteX1" fmla="*/ 2330413 w 2330413"/>
                <a:gd name="connsiteY1" fmla="*/ 1345628 h 2010588"/>
                <a:gd name="connsiteX2" fmla="*/ 1152414 w 2330413"/>
                <a:gd name="connsiteY2" fmla="*/ 2010588 h 2010588"/>
                <a:gd name="connsiteX3" fmla="*/ 0 w 2330413"/>
                <a:gd name="connsiteY3" fmla="*/ 1345241 h 2010588"/>
                <a:gd name="connsiteX4" fmla="*/ 2330413 w 2330413"/>
                <a:gd name="connsiteY4" fmla="*/ 0 h 2010588"/>
                <a:gd name="connsiteX0" fmla="*/ 2330413 w 2330413"/>
                <a:gd name="connsiteY0" fmla="*/ 0 h 2010588"/>
                <a:gd name="connsiteX1" fmla="*/ 2330413 w 2330413"/>
                <a:gd name="connsiteY1" fmla="*/ 1345628 h 2010588"/>
                <a:gd name="connsiteX2" fmla="*/ 1152414 w 2330413"/>
                <a:gd name="connsiteY2" fmla="*/ 2010588 h 2010588"/>
                <a:gd name="connsiteX3" fmla="*/ 0 w 2330413"/>
                <a:gd name="connsiteY3" fmla="*/ 1345241 h 2010588"/>
                <a:gd name="connsiteX4" fmla="*/ 2330413 w 2330413"/>
                <a:gd name="connsiteY4" fmla="*/ 0 h 2010588"/>
                <a:gd name="connsiteX0" fmla="*/ 2330413 w 2330413"/>
                <a:gd name="connsiteY0" fmla="*/ 0 h 2010588"/>
                <a:gd name="connsiteX1" fmla="*/ 2330413 w 2330413"/>
                <a:gd name="connsiteY1" fmla="*/ 1345628 h 2010588"/>
                <a:gd name="connsiteX2" fmla="*/ 1152414 w 2330413"/>
                <a:gd name="connsiteY2" fmla="*/ 2010588 h 2010588"/>
                <a:gd name="connsiteX3" fmla="*/ 0 w 2330413"/>
                <a:gd name="connsiteY3" fmla="*/ 1345241 h 2010588"/>
                <a:gd name="connsiteX4" fmla="*/ 2330413 w 2330413"/>
                <a:gd name="connsiteY4" fmla="*/ 0 h 2010588"/>
                <a:gd name="connsiteX0" fmla="*/ 2330413 w 2330413"/>
                <a:gd name="connsiteY0" fmla="*/ 0 h 2010588"/>
                <a:gd name="connsiteX1" fmla="*/ 2330413 w 2330413"/>
                <a:gd name="connsiteY1" fmla="*/ 1345628 h 2010588"/>
                <a:gd name="connsiteX2" fmla="*/ 1152414 w 2330413"/>
                <a:gd name="connsiteY2" fmla="*/ 2010588 h 2010588"/>
                <a:gd name="connsiteX3" fmla="*/ 0 w 2330413"/>
                <a:gd name="connsiteY3" fmla="*/ 1345241 h 2010588"/>
                <a:gd name="connsiteX4" fmla="*/ 2330413 w 2330413"/>
                <a:gd name="connsiteY4" fmla="*/ 0 h 2010588"/>
                <a:gd name="connsiteX0" fmla="*/ 2330413 w 2330413"/>
                <a:gd name="connsiteY0" fmla="*/ 0 h 1982013"/>
                <a:gd name="connsiteX1" fmla="*/ 2330413 w 2330413"/>
                <a:gd name="connsiteY1" fmla="*/ 1345628 h 1982013"/>
                <a:gd name="connsiteX2" fmla="*/ 1166701 w 2330413"/>
                <a:gd name="connsiteY2" fmla="*/ 1982013 h 1982013"/>
                <a:gd name="connsiteX3" fmla="*/ 0 w 2330413"/>
                <a:gd name="connsiteY3" fmla="*/ 1345241 h 1982013"/>
                <a:gd name="connsiteX4" fmla="*/ 2330413 w 2330413"/>
                <a:gd name="connsiteY4" fmla="*/ 0 h 1982013"/>
                <a:gd name="connsiteX0" fmla="*/ 2330413 w 2330413"/>
                <a:gd name="connsiteY0" fmla="*/ 0 h 1982013"/>
                <a:gd name="connsiteX1" fmla="*/ 2311363 w 2330413"/>
                <a:gd name="connsiteY1" fmla="*/ 1340866 h 1982013"/>
                <a:gd name="connsiteX2" fmla="*/ 1166701 w 2330413"/>
                <a:gd name="connsiteY2" fmla="*/ 1982013 h 1982013"/>
                <a:gd name="connsiteX3" fmla="*/ 0 w 2330413"/>
                <a:gd name="connsiteY3" fmla="*/ 1345241 h 1982013"/>
                <a:gd name="connsiteX4" fmla="*/ 2330413 w 2330413"/>
                <a:gd name="connsiteY4" fmla="*/ 0 h 1982013"/>
                <a:gd name="connsiteX0" fmla="*/ 2330413 w 2330413"/>
                <a:gd name="connsiteY0" fmla="*/ 0 h 1982013"/>
                <a:gd name="connsiteX1" fmla="*/ 2311363 w 2330413"/>
                <a:gd name="connsiteY1" fmla="*/ 1340866 h 1982013"/>
                <a:gd name="connsiteX2" fmla="*/ 1166701 w 2330413"/>
                <a:gd name="connsiteY2" fmla="*/ 1982013 h 1982013"/>
                <a:gd name="connsiteX3" fmla="*/ 0 w 2330413"/>
                <a:gd name="connsiteY3" fmla="*/ 1345241 h 1982013"/>
                <a:gd name="connsiteX4" fmla="*/ 2330413 w 2330413"/>
                <a:gd name="connsiteY4" fmla="*/ 0 h 1982013"/>
                <a:gd name="connsiteX0" fmla="*/ 2330413 w 2330413"/>
                <a:gd name="connsiteY0" fmla="*/ 0 h 1982013"/>
                <a:gd name="connsiteX1" fmla="*/ 2311363 w 2330413"/>
                <a:gd name="connsiteY1" fmla="*/ 1340866 h 1982013"/>
                <a:gd name="connsiteX2" fmla="*/ 1166701 w 2330413"/>
                <a:gd name="connsiteY2" fmla="*/ 1982013 h 1982013"/>
                <a:gd name="connsiteX3" fmla="*/ 0 w 2330413"/>
                <a:gd name="connsiteY3" fmla="*/ 1345241 h 1982013"/>
                <a:gd name="connsiteX4" fmla="*/ 2330413 w 2330413"/>
                <a:gd name="connsiteY4" fmla="*/ 0 h 1982013"/>
                <a:gd name="connsiteX0" fmla="*/ 2301838 w 2311363"/>
                <a:gd name="connsiteY0" fmla="*/ 0 h 1982013"/>
                <a:gd name="connsiteX1" fmla="*/ 2311363 w 2311363"/>
                <a:gd name="connsiteY1" fmla="*/ 1340866 h 1982013"/>
                <a:gd name="connsiteX2" fmla="*/ 1166701 w 2311363"/>
                <a:gd name="connsiteY2" fmla="*/ 1982013 h 1982013"/>
                <a:gd name="connsiteX3" fmla="*/ 0 w 2311363"/>
                <a:gd name="connsiteY3" fmla="*/ 1345241 h 1982013"/>
                <a:gd name="connsiteX4" fmla="*/ 2301838 w 2311363"/>
                <a:gd name="connsiteY4" fmla="*/ 0 h 1982013"/>
                <a:gd name="connsiteX0" fmla="*/ 2292313 w 2301838"/>
                <a:gd name="connsiteY0" fmla="*/ 0 h 1982013"/>
                <a:gd name="connsiteX1" fmla="*/ 2301838 w 2301838"/>
                <a:gd name="connsiteY1" fmla="*/ 1340866 h 1982013"/>
                <a:gd name="connsiteX2" fmla="*/ 1157176 w 2301838"/>
                <a:gd name="connsiteY2" fmla="*/ 1982013 h 1982013"/>
                <a:gd name="connsiteX3" fmla="*/ 0 w 2301838"/>
                <a:gd name="connsiteY3" fmla="*/ 1321428 h 1982013"/>
                <a:gd name="connsiteX4" fmla="*/ 2292313 w 2301838"/>
                <a:gd name="connsiteY4" fmla="*/ 0 h 1982013"/>
                <a:gd name="connsiteX0" fmla="*/ 2282788 w 2292313"/>
                <a:gd name="connsiteY0" fmla="*/ 0 h 1982013"/>
                <a:gd name="connsiteX1" fmla="*/ 2292313 w 2292313"/>
                <a:gd name="connsiteY1" fmla="*/ 1340866 h 1982013"/>
                <a:gd name="connsiteX2" fmla="*/ 1147651 w 2292313"/>
                <a:gd name="connsiteY2" fmla="*/ 1982013 h 1982013"/>
                <a:gd name="connsiteX3" fmla="*/ 0 w 2292313"/>
                <a:gd name="connsiteY3" fmla="*/ 1321428 h 1982013"/>
                <a:gd name="connsiteX4" fmla="*/ 2282788 w 2292313"/>
                <a:gd name="connsiteY4" fmla="*/ 0 h 1982013"/>
                <a:gd name="connsiteX0" fmla="*/ 2297076 w 2306601"/>
                <a:gd name="connsiteY0" fmla="*/ 0 h 1982013"/>
                <a:gd name="connsiteX1" fmla="*/ 2306601 w 2306601"/>
                <a:gd name="connsiteY1" fmla="*/ 1340866 h 1982013"/>
                <a:gd name="connsiteX2" fmla="*/ 1161939 w 2306601"/>
                <a:gd name="connsiteY2" fmla="*/ 1982013 h 1982013"/>
                <a:gd name="connsiteX3" fmla="*/ 0 w 2306601"/>
                <a:gd name="connsiteY3" fmla="*/ 1307141 h 1982013"/>
                <a:gd name="connsiteX4" fmla="*/ 2297076 w 2306601"/>
                <a:gd name="connsiteY4" fmla="*/ 0 h 1982013"/>
                <a:gd name="connsiteX0" fmla="*/ 2282788 w 2292313"/>
                <a:gd name="connsiteY0" fmla="*/ 0 h 1982013"/>
                <a:gd name="connsiteX1" fmla="*/ 2292313 w 2292313"/>
                <a:gd name="connsiteY1" fmla="*/ 1340866 h 1982013"/>
                <a:gd name="connsiteX2" fmla="*/ 1147651 w 2292313"/>
                <a:gd name="connsiteY2" fmla="*/ 1982013 h 1982013"/>
                <a:gd name="connsiteX3" fmla="*/ 0 w 2292313"/>
                <a:gd name="connsiteY3" fmla="*/ 1311903 h 1982013"/>
                <a:gd name="connsiteX4" fmla="*/ 2282788 w 2292313"/>
                <a:gd name="connsiteY4" fmla="*/ 0 h 1982013"/>
                <a:gd name="connsiteX0" fmla="*/ 2282788 w 2292313"/>
                <a:gd name="connsiteY0" fmla="*/ 0 h 1982013"/>
                <a:gd name="connsiteX1" fmla="*/ 2292313 w 2292313"/>
                <a:gd name="connsiteY1" fmla="*/ 1340866 h 1982013"/>
                <a:gd name="connsiteX2" fmla="*/ 1157176 w 2292313"/>
                <a:gd name="connsiteY2" fmla="*/ 1982013 h 1982013"/>
                <a:gd name="connsiteX3" fmla="*/ 0 w 2292313"/>
                <a:gd name="connsiteY3" fmla="*/ 1311903 h 1982013"/>
                <a:gd name="connsiteX4" fmla="*/ 2282788 w 2292313"/>
                <a:gd name="connsiteY4" fmla="*/ 0 h 1982013"/>
                <a:gd name="connsiteX0" fmla="*/ 2282788 w 2292313"/>
                <a:gd name="connsiteY0" fmla="*/ 0 h 1982013"/>
                <a:gd name="connsiteX1" fmla="*/ 2292313 w 2292313"/>
                <a:gd name="connsiteY1" fmla="*/ 1340866 h 1982013"/>
                <a:gd name="connsiteX2" fmla="*/ 1157176 w 2292313"/>
                <a:gd name="connsiteY2" fmla="*/ 1982013 h 1982013"/>
                <a:gd name="connsiteX3" fmla="*/ 0 w 2292313"/>
                <a:gd name="connsiteY3" fmla="*/ 1311903 h 1982013"/>
                <a:gd name="connsiteX4" fmla="*/ 2282788 w 2292313"/>
                <a:gd name="connsiteY4" fmla="*/ 0 h 1982013"/>
                <a:gd name="connsiteX0" fmla="*/ 2282788 w 2292313"/>
                <a:gd name="connsiteY0" fmla="*/ 0 h 1982013"/>
                <a:gd name="connsiteX1" fmla="*/ 2292313 w 2292313"/>
                <a:gd name="connsiteY1" fmla="*/ 1340866 h 1982013"/>
                <a:gd name="connsiteX2" fmla="*/ 1157176 w 2292313"/>
                <a:gd name="connsiteY2" fmla="*/ 1982013 h 1982013"/>
                <a:gd name="connsiteX3" fmla="*/ 0 w 2292313"/>
                <a:gd name="connsiteY3" fmla="*/ 1311903 h 1982013"/>
                <a:gd name="connsiteX4" fmla="*/ 2282788 w 2292313"/>
                <a:gd name="connsiteY4" fmla="*/ 0 h 1982013"/>
                <a:gd name="connsiteX0" fmla="*/ 2282788 w 2292313"/>
                <a:gd name="connsiteY0" fmla="*/ 0 h 1982013"/>
                <a:gd name="connsiteX1" fmla="*/ 2292313 w 2292313"/>
                <a:gd name="connsiteY1" fmla="*/ 1355153 h 1982013"/>
                <a:gd name="connsiteX2" fmla="*/ 1157176 w 2292313"/>
                <a:gd name="connsiteY2" fmla="*/ 1982013 h 1982013"/>
                <a:gd name="connsiteX3" fmla="*/ 0 w 2292313"/>
                <a:gd name="connsiteY3" fmla="*/ 1311903 h 1982013"/>
                <a:gd name="connsiteX4" fmla="*/ 2282788 w 2292313"/>
                <a:gd name="connsiteY4" fmla="*/ 0 h 1982013"/>
                <a:gd name="connsiteX0" fmla="*/ 2282788 w 2292313"/>
                <a:gd name="connsiteY0" fmla="*/ 0 h 1996300"/>
                <a:gd name="connsiteX1" fmla="*/ 2292313 w 2292313"/>
                <a:gd name="connsiteY1" fmla="*/ 1355153 h 1996300"/>
                <a:gd name="connsiteX2" fmla="*/ 1147651 w 2292313"/>
                <a:gd name="connsiteY2" fmla="*/ 1996300 h 1996300"/>
                <a:gd name="connsiteX3" fmla="*/ 0 w 2292313"/>
                <a:gd name="connsiteY3" fmla="*/ 1311903 h 1996300"/>
                <a:gd name="connsiteX4" fmla="*/ 2282788 w 2292313"/>
                <a:gd name="connsiteY4" fmla="*/ 0 h 1996300"/>
                <a:gd name="connsiteX0" fmla="*/ 2292313 w 2301838"/>
                <a:gd name="connsiteY0" fmla="*/ 0 h 1996300"/>
                <a:gd name="connsiteX1" fmla="*/ 2301838 w 2301838"/>
                <a:gd name="connsiteY1" fmla="*/ 1355153 h 1996300"/>
                <a:gd name="connsiteX2" fmla="*/ 1157176 w 2301838"/>
                <a:gd name="connsiteY2" fmla="*/ 1996300 h 1996300"/>
                <a:gd name="connsiteX3" fmla="*/ 0 w 2301838"/>
                <a:gd name="connsiteY3" fmla="*/ 1326191 h 1996300"/>
                <a:gd name="connsiteX4" fmla="*/ 2292313 w 2301838"/>
                <a:gd name="connsiteY4" fmla="*/ 0 h 1996300"/>
                <a:gd name="connsiteX0" fmla="*/ 2292313 w 2292758"/>
                <a:gd name="connsiteY0" fmla="*/ 0 h 1996300"/>
                <a:gd name="connsiteX1" fmla="*/ 2283731 w 2292758"/>
                <a:gd name="connsiteY1" fmla="*/ 1355153 h 1996300"/>
                <a:gd name="connsiteX2" fmla="*/ 1157176 w 2292758"/>
                <a:gd name="connsiteY2" fmla="*/ 1996300 h 1996300"/>
                <a:gd name="connsiteX3" fmla="*/ 0 w 2292758"/>
                <a:gd name="connsiteY3" fmla="*/ 1326191 h 1996300"/>
                <a:gd name="connsiteX4" fmla="*/ 2292313 w 2292758"/>
                <a:gd name="connsiteY4" fmla="*/ 0 h 1996300"/>
                <a:gd name="connsiteX0" fmla="*/ 2269680 w 2283731"/>
                <a:gd name="connsiteY0" fmla="*/ 0 h 1996300"/>
                <a:gd name="connsiteX1" fmla="*/ 2283731 w 2283731"/>
                <a:gd name="connsiteY1" fmla="*/ 1355153 h 1996300"/>
                <a:gd name="connsiteX2" fmla="*/ 1157176 w 2283731"/>
                <a:gd name="connsiteY2" fmla="*/ 1996300 h 1996300"/>
                <a:gd name="connsiteX3" fmla="*/ 0 w 2283731"/>
                <a:gd name="connsiteY3" fmla="*/ 1326191 h 1996300"/>
                <a:gd name="connsiteX4" fmla="*/ 2269680 w 2283731"/>
                <a:gd name="connsiteY4" fmla="*/ 0 h 1996300"/>
                <a:gd name="connsiteX0" fmla="*/ 2278733 w 2283731"/>
                <a:gd name="connsiteY0" fmla="*/ 0 h 1996300"/>
                <a:gd name="connsiteX1" fmla="*/ 2283731 w 2283731"/>
                <a:gd name="connsiteY1" fmla="*/ 1355153 h 1996300"/>
                <a:gd name="connsiteX2" fmla="*/ 1157176 w 2283731"/>
                <a:gd name="connsiteY2" fmla="*/ 1996300 h 1996300"/>
                <a:gd name="connsiteX3" fmla="*/ 0 w 2283731"/>
                <a:gd name="connsiteY3" fmla="*/ 1326191 h 1996300"/>
                <a:gd name="connsiteX4" fmla="*/ 2278733 w 2283731"/>
                <a:gd name="connsiteY4" fmla="*/ 0 h 1996300"/>
                <a:gd name="connsiteX0" fmla="*/ 2278733 w 2283731"/>
                <a:gd name="connsiteY0" fmla="*/ 0 h 1978193"/>
                <a:gd name="connsiteX1" fmla="*/ 2283731 w 2283731"/>
                <a:gd name="connsiteY1" fmla="*/ 1355153 h 1978193"/>
                <a:gd name="connsiteX2" fmla="*/ 1179810 w 2283731"/>
                <a:gd name="connsiteY2" fmla="*/ 1978193 h 1978193"/>
                <a:gd name="connsiteX3" fmla="*/ 0 w 2283731"/>
                <a:gd name="connsiteY3" fmla="*/ 1326191 h 1978193"/>
                <a:gd name="connsiteX4" fmla="*/ 2278733 w 2283731"/>
                <a:gd name="connsiteY4" fmla="*/ 0 h 1978193"/>
                <a:gd name="connsiteX0" fmla="*/ 2278733 w 2283731"/>
                <a:gd name="connsiteY0" fmla="*/ 0 h 1991773"/>
                <a:gd name="connsiteX1" fmla="*/ 2283731 w 2283731"/>
                <a:gd name="connsiteY1" fmla="*/ 1355153 h 1991773"/>
                <a:gd name="connsiteX2" fmla="*/ 1179810 w 2283731"/>
                <a:gd name="connsiteY2" fmla="*/ 1991773 h 1991773"/>
                <a:gd name="connsiteX3" fmla="*/ 0 w 2283731"/>
                <a:gd name="connsiteY3" fmla="*/ 1326191 h 1991773"/>
                <a:gd name="connsiteX4" fmla="*/ 2278733 w 2283731"/>
                <a:gd name="connsiteY4" fmla="*/ 0 h 1991773"/>
                <a:gd name="connsiteX0" fmla="*/ 2278733 w 2283731"/>
                <a:gd name="connsiteY0" fmla="*/ 0 h 1991773"/>
                <a:gd name="connsiteX1" fmla="*/ 2283731 w 2283731"/>
                <a:gd name="connsiteY1" fmla="*/ 1355153 h 1991773"/>
                <a:gd name="connsiteX2" fmla="*/ 1179810 w 2283731"/>
                <a:gd name="connsiteY2" fmla="*/ 1991773 h 1991773"/>
                <a:gd name="connsiteX3" fmla="*/ 0 w 2283731"/>
                <a:gd name="connsiteY3" fmla="*/ 1312610 h 1991773"/>
                <a:gd name="connsiteX4" fmla="*/ 2278733 w 2283731"/>
                <a:gd name="connsiteY4" fmla="*/ 0 h 1991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83731" h="1991773">
                  <a:moveTo>
                    <a:pt x="2278733" y="0"/>
                  </a:moveTo>
                  <a:cubicBezTo>
                    <a:pt x="2281908" y="451718"/>
                    <a:pt x="2280556" y="903435"/>
                    <a:pt x="2283731" y="1355153"/>
                  </a:cubicBezTo>
                  <a:cubicBezTo>
                    <a:pt x="1735489" y="1416469"/>
                    <a:pt x="1337527" y="1759006"/>
                    <a:pt x="1179810" y="1991773"/>
                  </a:cubicBezTo>
                  <a:lnTo>
                    <a:pt x="0" y="1312610"/>
                  </a:lnTo>
                  <a:cubicBezTo>
                    <a:pt x="475368" y="517019"/>
                    <a:pt x="1288136" y="14810"/>
                    <a:pt x="2278733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8" name="Group 1">
            <a:extLst>
              <a:ext uri="{FF2B5EF4-FFF2-40B4-BE49-F238E27FC236}">
                <a16:creationId xmlns:a16="http://schemas.microsoft.com/office/drawing/2014/main" id="{759AB686-BAC7-3EAC-5A62-CFC5536B7F91}"/>
              </a:ext>
            </a:extLst>
          </p:cNvPr>
          <p:cNvGrpSpPr/>
          <p:nvPr/>
        </p:nvGrpSpPr>
        <p:grpSpPr>
          <a:xfrm>
            <a:off x="6121296" y="1295401"/>
            <a:ext cx="2075206" cy="1795203"/>
            <a:chOff x="4638465" y="592259"/>
            <a:chExt cx="2495902" cy="2159136"/>
          </a:xfrm>
          <a:solidFill>
            <a:schemeClr val="accent2"/>
          </a:solidFill>
        </p:grpSpPr>
        <p:sp>
          <p:nvSpPr>
            <p:cNvPr id="9" name="Oval 2">
              <a:extLst>
                <a:ext uri="{FF2B5EF4-FFF2-40B4-BE49-F238E27FC236}">
                  <a16:creationId xmlns:a16="http://schemas.microsoft.com/office/drawing/2014/main" id="{F09C94F0-28C1-2B07-47B3-97C3CB52DB48}"/>
                </a:ext>
              </a:extLst>
            </p:cNvPr>
            <p:cNvSpPr/>
            <p:nvPr/>
          </p:nvSpPr>
          <p:spPr>
            <a:xfrm>
              <a:off x="4638465" y="592259"/>
              <a:ext cx="2495902" cy="2159136"/>
            </a:xfrm>
            <a:custGeom>
              <a:avLst/>
              <a:gdLst/>
              <a:ahLst/>
              <a:cxnLst/>
              <a:rect l="l" t="t" r="r" b="b"/>
              <a:pathLst>
                <a:path w="2495902" h="2159136">
                  <a:moveTo>
                    <a:pt x="2107" y="0"/>
                  </a:moveTo>
                  <a:cubicBezTo>
                    <a:pt x="1067639" y="1071"/>
                    <a:pt x="1998134" y="578783"/>
                    <a:pt x="2495902" y="1439337"/>
                  </a:cubicBezTo>
                  <a:lnTo>
                    <a:pt x="1246952" y="2159136"/>
                  </a:lnTo>
                  <a:cubicBezTo>
                    <a:pt x="978355" y="1758323"/>
                    <a:pt x="521683" y="1489789"/>
                    <a:pt x="0" y="1474936"/>
                  </a:cubicBezTo>
                  <a:cubicBezTo>
                    <a:pt x="289" y="1324012"/>
                    <a:pt x="543" y="1173076"/>
                    <a:pt x="756" y="1022276"/>
                  </a:cubicBezTo>
                  <a:cubicBezTo>
                    <a:pt x="1015" y="852989"/>
                    <a:pt x="1099" y="762801"/>
                    <a:pt x="1325" y="592421"/>
                  </a:cubicBezTo>
                  <a:cubicBezTo>
                    <a:pt x="1944" y="394361"/>
                    <a:pt x="2107" y="196775"/>
                    <a:pt x="210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" name="Oval 2">
              <a:extLst>
                <a:ext uri="{FF2B5EF4-FFF2-40B4-BE49-F238E27FC236}">
                  <a16:creationId xmlns:a16="http://schemas.microsoft.com/office/drawing/2014/main" id="{985CD7E0-73D3-159E-6211-46D6E55649A2}"/>
                </a:ext>
              </a:extLst>
            </p:cNvPr>
            <p:cNvSpPr/>
            <p:nvPr/>
          </p:nvSpPr>
          <p:spPr>
            <a:xfrm>
              <a:off x="4715095" y="694402"/>
              <a:ext cx="2277246" cy="1989743"/>
            </a:xfrm>
            <a:custGeom>
              <a:avLst/>
              <a:gdLst>
                <a:gd name="connsiteX0" fmla="*/ 0 w 2310583"/>
                <a:gd name="connsiteY0" fmla="*/ 0 h 1975455"/>
                <a:gd name="connsiteX1" fmla="*/ 2310583 w 2310583"/>
                <a:gd name="connsiteY1" fmla="*/ 1334030 h 1975455"/>
                <a:gd name="connsiteX2" fmla="*/ 1144072 w 2310583"/>
                <a:gd name="connsiteY2" fmla="*/ 1975455 h 1975455"/>
                <a:gd name="connsiteX3" fmla="*/ 0 w 2310583"/>
                <a:gd name="connsiteY3" fmla="*/ 1361355 h 1975455"/>
                <a:gd name="connsiteX4" fmla="*/ 0 w 2310583"/>
                <a:gd name="connsiteY4" fmla="*/ 0 h 1975455"/>
                <a:gd name="connsiteX0" fmla="*/ 0 w 2296296"/>
                <a:gd name="connsiteY0" fmla="*/ 0 h 1975455"/>
                <a:gd name="connsiteX1" fmla="*/ 2296296 w 2296296"/>
                <a:gd name="connsiteY1" fmla="*/ 1314980 h 1975455"/>
                <a:gd name="connsiteX2" fmla="*/ 1144072 w 2296296"/>
                <a:gd name="connsiteY2" fmla="*/ 1975455 h 1975455"/>
                <a:gd name="connsiteX3" fmla="*/ 0 w 2296296"/>
                <a:gd name="connsiteY3" fmla="*/ 1361355 h 1975455"/>
                <a:gd name="connsiteX4" fmla="*/ 0 w 2296296"/>
                <a:gd name="connsiteY4" fmla="*/ 0 h 1975455"/>
                <a:gd name="connsiteX0" fmla="*/ 0 w 2296296"/>
                <a:gd name="connsiteY0" fmla="*/ 0 h 1975455"/>
                <a:gd name="connsiteX1" fmla="*/ 2296296 w 2296296"/>
                <a:gd name="connsiteY1" fmla="*/ 1314980 h 1975455"/>
                <a:gd name="connsiteX2" fmla="*/ 1153597 w 2296296"/>
                <a:gd name="connsiteY2" fmla="*/ 1975455 h 1975455"/>
                <a:gd name="connsiteX3" fmla="*/ 0 w 2296296"/>
                <a:gd name="connsiteY3" fmla="*/ 1361355 h 1975455"/>
                <a:gd name="connsiteX4" fmla="*/ 0 w 2296296"/>
                <a:gd name="connsiteY4" fmla="*/ 0 h 1975455"/>
                <a:gd name="connsiteX0" fmla="*/ 0 w 2296296"/>
                <a:gd name="connsiteY0" fmla="*/ 0 h 1975455"/>
                <a:gd name="connsiteX1" fmla="*/ 2296296 w 2296296"/>
                <a:gd name="connsiteY1" fmla="*/ 1314980 h 1975455"/>
                <a:gd name="connsiteX2" fmla="*/ 1153597 w 2296296"/>
                <a:gd name="connsiteY2" fmla="*/ 1975455 h 1975455"/>
                <a:gd name="connsiteX3" fmla="*/ 19050 w 2296296"/>
                <a:gd name="connsiteY3" fmla="*/ 1370880 h 1975455"/>
                <a:gd name="connsiteX4" fmla="*/ 0 w 2296296"/>
                <a:gd name="connsiteY4" fmla="*/ 0 h 1975455"/>
                <a:gd name="connsiteX0" fmla="*/ 4762 w 2277246"/>
                <a:gd name="connsiteY0" fmla="*/ 0 h 1980217"/>
                <a:gd name="connsiteX1" fmla="*/ 2277246 w 2277246"/>
                <a:gd name="connsiteY1" fmla="*/ 1319742 h 1980217"/>
                <a:gd name="connsiteX2" fmla="*/ 1134547 w 2277246"/>
                <a:gd name="connsiteY2" fmla="*/ 1980217 h 1980217"/>
                <a:gd name="connsiteX3" fmla="*/ 0 w 2277246"/>
                <a:gd name="connsiteY3" fmla="*/ 1375642 h 1980217"/>
                <a:gd name="connsiteX4" fmla="*/ 4762 w 2277246"/>
                <a:gd name="connsiteY4" fmla="*/ 0 h 1980217"/>
                <a:gd name="connsiteX0" fmla="*/ 19050 w 2277246"/>
                <a:gd name="connsiteY0" fmla="*/ 0 h 1984980"/>
                <a:gd name="connsiteX1" fmla="*/ 2277246 w 2277246"/>
                <a:gd name="connsiteY1" fmla="*/ 1324505 h 1984980"/>
                <a:gd name="connsiteX2" fmla="*/ 1134547 w 2277246"/>
                <a:gd name="connsiteY2" fmla="*/ 1984980 h 1984980"/>
                <a:gd name="connsiteX3" fmla="*/ 0 w 2277246"/>
                <a:gd name="connsiteY3" fmla="*/ 1380405 h 1984980"/>
                <a:gd name="connsiteX4" fmla="*/ 19050 w 2277246"/>
                <a:gd name="connsiteY4" fmla="*/ 0 h 1984980"/>
                <a:gd name="connsiteX0" fmla="*/ 19050 w 2277246"/>
                <a:gd name="connsiteY0" fmla="*/ 0 h 1984980"/>
                <a:gd name="connsiteX1" fmla="*/ 2277246 w 2277246"/>
                <a:gd name="connsiteY1" fmla="*/ 1324505 h 1984980"/>
                <a:gd name="connsiteX2" fmla="*/ 1134547 w 2277246"/>
                <a:gd name="connsiteY2" fmla="*/ 1984980 h 1984980"/>
                <a:gd name="connsiteX3" fmla="*/ 0 w 2277246"/>
                <a:gd name="connsiteY3" fmla="*/ 1370880 h 1984980"/>
                <a:gd name="connsiteX4" fmla="*/ 19050 w 2277246"/>
                <a:gd name="connsiteY4" fmla="*/ 0 h 1984980"/>
                <a:gd name="connsiteX0" fmla="*/ 14288 w 2277246"/>
                <a:gd name="connsiteY0" fmla="*/ 0 h 1989743"/>
                <a:gd name="connsiteX1" fmla="*/ 2277246 w 2277246"/>
                <a:gd name="connsiteY1" fmla="*/ 1329268 h 1989743"/>
                <a:gd name="connsiteX2" fmla="*/ 1134547 w 2277246"/>
                <a:gd name="connsiteY2" fmla="*/ 1989743 h 1989743"/>
                <a:gd name="connsiteX3" fmla="*/ 0 w 2277246"/>
                <a:gd name="connsiteY3" fmla="*/ 1375643 h 1989743"/>
                <a:gd name="connsiteX4" fmla="*/ 14288 w 2277246"/>
                <a:gd name="connsiteY4" fmla="*/ 0 h 1989743"/>
                <a:gd name="connsiteX0" fmla="*/ 14288 w 2277246"/>
                <a:gd name="connsiteY0" fmla="*/ 0 h 1989743"/>
                <a:gd name="connsiteX1" fmla="*/ 2277246 w 2277246"/>
                <a:gd name="connsiteY1" fmla="*/ 1329268 h 1989743"/>
                <a:gd name="connsiteX2" fmla="*/ 1120259 w 2277246"/>
                <a:gd name="connsiteY2" fmla="*/ 1989743 h 1989743"/>
                <a:gd name="connsiteX3" fmla="*/ 0 w 2277246"/>
                <a:gd name="connsiteY3" fmla="*/ 1375643 h 1989743"/>
                <a:gd name="connsiteX4" fmla="*/ 14288 w 2277246"/>
                <a:gd name="connsiteY4" fmla="*/ 0 h 1989743"/>
                <a:gd name="connsiteX0" fmla="*/ 14288 w 2277246"/>
                <a:gd name="connsiteY0" fmla="*/ 0 h 1989743"/>
                <a:gd name="connsiteX1" fmla="*/ 2277246 w 2277246"/>
                <a:gd name="connsiteY1" fmla="*/ 1329268 h 1989743"/>
                <a:gd name="connsiteX2" fmla="*/ 1120259 w 2277246"/>
                <a:gd name="connsiteY2" fmla="*/ 1989743 h 1989743"/>
                <a:gd name="connsiteX3" fmla="*/ 0 w 2277246"/>
                <a:gd name="connsiteY3" fmla="*/ 1375643 h 1989743"/>
                <a:gd name="connsiteX4" fmla="*/ 14288 w 2277246"/>
                <a:gd name="connsiteY4" fmla="*/ 0 h 1989743"/>
                <a:gd name="connsiteX0" fmla="*/ 14288 w 2277246"/>
                <a:gd name="connsiteY0" fmla="*/ 0 h 1989743"/>
                <a:gd name="connsiteX1" fmla="*/ 2277246 w 2277246"/>
                <a:gd name="connsiteY1" fmla="*/ 1329268 h 1989743"/>
                <a:gd name="connsiteX2" fmla="*/ 1120259 w 2277246"/>
                <a:gd name="connsiteY2" fmla="*/ 1989743 h 1989743"/>
                <a:gd name="connsiteX3" fmla="*/ 0 w 2277246"/>
                <a:gd name="connsiteY3" fmla="*/ 1375643 h 1989743"/>
                <a:gd name="connsiteX4" fmla="*/ 14288 w 2277246"/>
                <a:gd name="connsiteY4" fmla="*/ 0 h 1989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77246" h="1989743">
                  <a:moveTo>
                    <a:pt x="14288" y="0"/>
                  </a:moveTo>
                  <a:cubicBezTo>
                    <a:pt x="994912" y="18966"/>
                    <a:pt x="1802859" y="543026"/>
                    <a:pt x="2277246" y="1329268"/>
                  </a:cubicBezTo>
                  <a:lnTo>
                    <a:pt x="1120259" y="1989743"/>
                  </a:lnTo>
                  <a:cubicBezTo>
                    <a:pt x="859344" y="1646389"/>
                    <a:pt x="478579" y="1420695"/>
                    <a:pt x="0" y="1375643"/>
                  </a:cubicBezTo>
                  <a:cubicBezTo>
                    <a:pt x="1587" y="917096"/>
                    <a:pt x="12701" y="458547"/>
                    <a:pt x="1428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1" name="Group 2">
            <a:extLst>
              <a:ext uri="{FF2B5EF4-FFF2-40B4-BE49-F238E27FC236}">
                <a16:creationId xmlns:a16="http://schemas.microsoft.com/office/drawing/2014/main" id="{BF9A5DFD-21D5-53EE-72AE-E07A0C9BD221}"/>
              </a:ext>
            </a:extLst>
          </p:cNvPr>
          <p:cNvGrpSpPr/>
          <p:nvPr/>
        </p:nvGrpSpPr>
        <p:grpSpPr>
          <a:xfrm>
            <a:off x="7198448" y="2567432"/>
            <a:ext cx="1352221" cy="2412916"/>
            <a:chOff x="5933982" y="2122163"/>
            <a:chExt cx="1626350" cy="2902074"/>
          </a:xfrm>
          <a:solidFill>
            <a:schemeClr val="accent3"/>
          </a:solidFill>
        </p:grpSpPr>
        <p:sp>
          <p:nvSpPr>
            <p:cNvPr id="12" name="Oval 5">
              <a:extLst>
                <a:ext uri="{FF2B5EF4-FFF2-40B4-BE49-F238E27FC236}">
                  <a16:creationId xmlns:a16="http://schemas.microsoft.com/office/drawing/2014/main" id="{0D52830C-BE67-EAE6-C784-B036C8EE0EEA}"/>
                </a:ext>
              </a:extLst>
            </p:cNvPr>
            <p:cNvSpPr/>
            <p:nvPr/>
          </p:nvSpPr>
          <p:spPr>
            <a:xfrm>
              <a:off x="5933982" y="2122163"/>
              <a:ext cx="1626350" cy="2902074"/>
            </a:xfrm>
            <a:custGeom>
              <a:avLst/>
              <a:gdLst/>
              <a:ahLst/>
              <a:cxnLst/>
              <a:rect l="l" t="t" r="r" b="b"/>
              <a:pathLst>
                <a:path w="1626350" h="2902074">
                  <a:moveTo>
                    <a:pt x="1227897" y="0"/>
                  </a:moveTo>
                  <a:cubicBezTo>
                    <a:pt x="1477313" y="424433"/>
                    <a:pt x="1626350" y="930541"/>
                    <a:pt x="1626350" y="1458261"/>
                  </a:cubicBezTo>
                  <a:cubicBezTo>
                    <a:pt x="1626350" y="1984715"/>
                    <a:pt x="1485604" y="2478295"/>
                    <a:pt x="1237349" y="2902074"/>
                  </a:cubicBezTo>
                  <a:lnTo>
                    <a:pt x="642002" y="2555751"/>
                  </a:lnTo>
                  <a:lnTo>
                    <a:pt x="250330" y="2327909"/>
                  </a:lnTo>
                  <a:lnTo>
                    <a:pt x="19640" y="2193713"/>
                  </a:lnTo>
                  <a:cubicBezTo>
                    <a:pt x="139604" y="1977605"/>
                    <a:pt x="207735" y="1729857"/>
                    <a:pt x="207735" y="1466507"/>
                  </a:cubicBezTo>
                  <a:cubicBezTo>
                    <a:pt x="207735" y="1189911"/>
                    <a:pt x="132577" y="930525"/>
                    <a:pt x="0" y="707607"/>
                  </a:cubicBezTo>
                  <a:lnTo>
                    <a:pt x="372243" y="493093"/>
                  </a:lnTo>
                  <a:lnTo>
                    <a:pt x="759088" y="2701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" name="Oval 5">
              <a:extLst>
                <a:ext uri="{FF2B5EF4-FFF2-40B4-BE49-F238E27FC236}">
                  <a16:creationId xmlns:a16="http://schemas.microsoft.com/office/drawing/2014/main" id="{A15EEF8F-8C05-BF1A-4F26-55C0B813CBCC}"/>
                </a:ext>
              </a:extLst>
            </p:cNvPr>
            <p:cNvSpPr/>
            <p:nvPr/>
          </p:nvSpPr>
          <p:spPr>
            <a:xfrm>
              <a:off x="5973377" y="2250298"/>
              <a:ext cx="1472458" cy="2635777"/>
            </a:xfrm>
            <a:custGeom>
              <a:avLst/>
              <a:gdLst>
                <a:gd name="connsiteX0" fmla="*/ 1117743 w 1472454"/>
                <a:gd name="connsiteY0" fmla="*/ 0 h 2683402"/>
                <a:gd name="connsiteX1" fmla="*/ 1472454 w 1472454"/>
                <a:gd name="connsiteY1" fmla="*/ 1349176 h 2683402"/>
                <a:gd name="connsiteX2" fmla="*/ 1127300 w 1472454"/>
                <a:gd name="connsiteY2" fmla="*/ 2683402 h 2683402"/>
                <a:gd name="connsiteX3" fmla="*/ 4620 w 1472454"/>
                <a:gd name="connsiteY3" fmla="*/ 2035222 h 2683402"/>
                <a:gd name="connsiteX4" fmla="*/ 168341 w 1472454"/>
                <a:gd name="connsiteY4" fmla="*/ 1357421 h 2683402"/>
                <a:gd name="connsiteX5" fmla="*/ 0 w 1472454"/>
                <a:gd name="connsiteY5" fmla="*/ 669881 h 2683402"/>
                <a:gd name="connsiteX6" fmla="*/ 1117743 w 1472454"/>
                <a:gd name="connsiteY6" fmla="*/ 0 h 2683402"/>
                <a:gd name="connsiteX0" fmla="*/ 1141556 w 1472491"/>
                <a:gd name="connsiteY0" fmla="*/ 0 h 2664352"/>
                <a:gd name="connsiteX1" fmla="*/ 1472454 w 1472491"/>
                <a:gd name="connsiteY1" fmla="*/ 1330126 h 2664352"/>
                <a:gd name="connsiteX2" fmla="*/ 1127300 w 1472491"/>
                <a:gd name="connsiteY2" fmla="*/ 2664352 h 2664352"/>
                <a:gd name="connsiteX3" fmla="*/ 4620 w 1472491"/>
                <a:gd name="connsiteY3" fmla="*/ 2016172 h 2664352"/>
                <a:gd name="connsiteX4" fmla="*/ 168341 w 1472491"/>
                <a:gd name="connsiteY4" fmla="*/ 1338371 h 2664352"/>
                <a:gd name="connsiteX5" fmla="*/ 0 w 1472491"/>
                <a:gd name="connsiteY5" fmla="*/ 650831 h 2664352"/>
                <a:gd name="connsiteX6" fmla="*/ 1141556 w 1472491"/>
                <a:gd name="connsiteY6" fmla="*/ 0 h 2664352"/>
                <a:gd name="connsiteX0" fmla="*/ 1141556 w 1472491"/>
                <a:gd name="connsiteY0" fmla="*/ 0 h 2664352"/>
                <a:gd name="connsiteX1" fmla="*/ 1472454 w 1472491"/>
                <a:gd name="connsiteY1" fmla="*/ 1330126 h 2664352"/>
                <a:gd name="connsiteX2" fmla="*/ 1127300 w 1472491"/>
                <a:gd name="connsiteY2" fmla="*/ 2664352 h 2664352"/>
                <a:gd name="connsiteX3" fmla="*/ 18907 w 1472491"/>
                <a:gd name="connsiteY3" fmla="*/ 1982835 h 2664352"/>
                <a:gd name="connsiteX4" fmla="*/ 168341 w 1472491"/>
                <a:gd name="connsiteY4" fmla="*/ 1338371 h 2664352"/>
                <a:gd name="connsiteX5" fmla="*/ 0 w 1472491"/>
                <a:gd name="connsiteY5" fmla="*/ 650831 h 2664352"/>
                <a:gd name="connsiteX6" fmla="*/ 1141556 w 1472491"/>
                <a:gd name="connsiteY6" fmla="*/ 0 h 2664352"/>
                <a:gd name="connsiteX0" fmla="*/ 1141556 w 1472458"/>
                <a:gd name="connsiteY0" fmla="*/ 0 h 2635777"/>
                <a:gd name="connsiteX1" fmla="*/ 1472454 w 1472458"/>
                <a:gd name="connsiteY1" fmla="*/ 1330126 h 2635777"/>
                <a:gd name="connsiteX2" fmla="*/ 1146350 w 1472458"/>
                <a:gd name="connsiteY2" fmla="*/ 2635777 h 2635777"/>
                <a:gd name="connsiteX3" fmla="*/ 18907 w 1472458"/>
                <a:gd name="connsiteY3" fmla="*/ 1982835 h 2635777"/>
                <a:gd name="connsiteX4" fmla="*/ 168341 w 1472458"/>
                <a:gd name="connsiteY4" fmla="*/ 1338371 h 2635777"/>
                <a:gd name="connsiteX5" fmla="*/ 0 w 1472458"/>
                <a:gd name="connsiteY5" fmla="*/ 650831 h 2635777"/>
                <a:gd name="connsiteX6" fmla="*/ 1141556 w 1472458"/>
                <a:gd name="connsiteY6" fmla="*/ 0 h 26357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72458" h="2635777">
                  <a:moveTo>
                    <a:pt x="1141556" y="0"/>
                  </a:moveTo>
                  <a:cubicBezTo>
                    <a:pt x="1364668" y="396325"/>
                    <a:pt x="1471655" y="890830"/>
                    <a:pt x="1472454" y="1330126"/>
                  </a:cubicBezTo>
                  <a:cubicBezTo>
                    <a:pt x="1473253" y="1769422"/>
                    <a:pt x="1367478" y="2241204"/>
                    <a:pt x="1146350" y="2635777"/>
                  </a:cubicBezTo>
                  <a:lnTo>
                    <a:pt x="18907" y="1982835"/>
                  </a:lnTo>
                  <a:cubicBezTo>
                    <a:pt x="124238" y="1779257"/>
                    <a:pt x="168341" y="1582168"/>
                    <a:pt x="168341" y="1338371"/>
                  </a:cubicBezTo>
                  <a:cubicBezTo>
                    <a:pt x="168341" y="1083189"/>
                    <a:pt x="113895" y="861705"/>
                    <a:pt x="0" y="650831"/>
                  </a:cubicBezTo>
                  <a:lnTo>
                    <a:pt x="114155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4" name="Group 3">
            <a:extLst>
              <a:ext uri="{FF2B5EF4-FFF2-40B4-BE49-F238E27FC236}">
                <a16:creationId xmlns:a16="http://schemas.microsoft.com/office/drawing/2014/main" id="{E9DF5356-B268-054C-B7A6-FEA7C499947E}"/>
              </a:ext>
            </a:extLst>
          </p:cNvPr>
          <p:cNvGrpSpPr/>
          <p:nvPr/>
        </p:nvGrpSpPr>
        <p:grpSpPr>
          <a:xfrm>
            <a:off x="6118163" y="4468368"/>
            <a:ext cx="2087029" cy="1809599"/>
            <a:chOff x="4634697" y="4408466"/>
            <a:chExt cx="2510123" cy="2176451"/>
          </a:xfrm>
          <a:solidFill>
            <a:schemeClr val="accent4"/>
          </a:solidFill>
        </p:grpSpPr>
        <p:sp>
          <p:nvSpPr>
            <p:cNvPr id="15" name="Oval 8">
              <a:extLst>
                <a:ext uri="{FF2B5EF4-FFF2-40B4-BE49-F238E27FC236}">
                  <a16:creationId xmlns:a16="http://schemas.microsoft.com/office/drawing/2014/main" id="{63594FEF-CF4C-CB86-D7C3-1096378B7D56}"/>
                </a:ext>
              </a:extLst>
            </p:cNvPr>
            <p:cNvSpPr/>
            <p:nvPr/>
          </p:nvSpPr>
          <p:spPr>
            <a:xfrm>
              <a:off x="4634697" y="4408466"/>
              <a:ext cx="2510123" cy="2176451"/>
            </a:xfrm>
            <a:custGeom>
              <a:avLst/>
              <a:gdLst/>
              <a:ahLst/>
              <a:cxnLst/>
              <a:rect l="l" t="t" r="r" b="b"/>
              <a:pathLst>
                <a:path w="2510123" h="2176451">
                  <a:moveTo>
                    <a:pt x="1261552" y="0"/>
                  </a:moveTo>
                  <a:lnTo>
                    <a:pt x="1509996" y="143960"/>
                  </a:lnTo>
                  <a:lnTo>
                    <a:pt x="1923464" y="383544"/>
                  </a:lnTo>
                  <a:lnTo>
                    <a:pt x="2510123" y="723481"/>
                  </a:lnTo>
                  <a:cubicBezTo>
                    <a:pt x="2012157" y="1583166"/>
                    <a:pt x="1070742" y="2175381"/>
                    <a:pt x="5876" y="2176451"/>
                  </a:cubicBezTo>
                  <a:lnTo>
                    <a:pt x="4300" y="1536109"/>
                  </a:lnTo>
                  <a:cubicBezTo>
                    <a:pt x="3718" y="1362261"/>
                    <a:pt x="3223" y="1294687"/>
                    <a:pt x="2383" y="1133366"/>
                  </a:cubicBezTo>
                  <a:lnTo>
                    <a:pt x="0" y="701867"/>
                  </a:lnTo>
                  <a:cubicBezTo>
                    <a:pt x="530664" y="687903"/>
                    <a:pt x="994451" y="411586"/>
                    <a:pt x="126155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Oval 8">
              <a:extLst>
                <a:ext uri="{FF2B5EF4-FFF2-40B4-BE49-F238E27FC236}">
                  <a16:creationId xmlns:a16="http://schemas.microsoft.com/office/drawing/2014/main" id="{A6079825-3961-B723-FB57-D54E04DAB8DD}"/>
                </a:ext>
              </a:extLst>
            </p:cNvPr>
            <p:cNvSpPr/>
            <p:nvPr/>
          </p:nvSpPr>
          <p:spPr>
            <a:xfrm>
              <a:off x="4727861" y="4469347"/>
              <a:ext cx="2279945" cy="2008712"/>
            </a:xfrm>
            <a:custGeom>
              <a:avLst/>
              <a:gdLst>
                <a:gd name="connsiteX0" fmla="*/ 1161282 w 2322807"/>
                <a:gd name="connsiteY0" fmla="*/ 0 h 1999186"/>
                <a:gd name="connsiteX1" fmla="*/ 2322807 w 2322807"/>
                <a:gd name="connsiteY1" fmla="*/ 650822 h 1999186"/>
                <a:gd name="connsiteX2" fmla="*/ 0 w 2322807"/>
                <a:gd name="connsiteY2" fmla="*/ 1999186 h 1999186"/>
                <a:gd name="connsiteX3" fmla="*/ 0 w 2322807"/>
                <a:gd name="connsiteY3" fmla="*/ 638025 h 1999186"/>
                <a:gd name="connsiteX4" fmla="*/ 1161282 w 2322807"/>
                <a:gd name="connsiteY4" fmla="*/ 0 h 1999186"/>
                <a:gd name="connsiteX0" fmla="*/ 1161282 w 2313282"/>
                <a:gd name="connsiteY0" fmla="*/ 0 h 1999186"/>
                <a:gd name="connsiteX1" fmla="*/ 2313282 w 2313282"/>
                <a:gd name="connsiteY1" fmla="*/ 669872 h 1999186"/>
                <a:gd name="connsiteX2" fmla="*/ 0 w 2313282"/>
                <a:gd name="connsiteY2" fmla="*/ 1999186 h 1999186"/>
                <a:gd name="connsiteX3" fmla="*/ 0 w 2313282"/>
                <a:gd name="connsiteY3" fmla="*/ 638025 h 1999186"/>
                <a:gd name="connsiteX4" fmla="*/ 1161282 w 2313282"/>
                <a:gd name="connsiteY4" fmla="*/ 0 h 1999186"/>
                <a:gd name="connsiteX0" fmla="*/ 1161282 w 2313282"/>
                <a:gd name="connsiteY0" fmla="*/ 0 h 1999186"/>
                <a:gd name="connsiteX1" fmla="*/ 2313282 w 2313282"/>
                <a:gd name="connsiteY1" fmla="*/ 669872 h 1999186"/>
                <a:gd name="connsiteX2" fmla="*/ 0 w 2313282"/>
                <a:gd name="connsiteY2" fmla="*/ 1999186 h 1999186"/>
                <a:gd name="connsiteX3" fmla="*/ 23812 w 2313282"/>
                <a:gd name="connsiteY3" fmla="*/ 642787 h 1999186"/>
                <a:gd name="connsiteX4" fmla="*/ 1161282 w 2313282"/>
                <a:gd name="connsiteY4" fmla="*/ 0 h 1999186"/>
                <a:gd name="connsiteX0" fmla="*/ 1137470 w 2289470"/>
                <a:gd name="connsiteY0" fmla="*/ 0 h 2003949"/>
                <a:gd name="connsiteX1" fmla="*/ 2289470 w 2289470"/>
                <a:gd name="connsiteY1" fmla="*/ 669872 h 2003949"/>
                <a:gd name="connsiteX2" fmla="*/ 0 w 2289470"/>
                <a:gd name="connsiteY2" fmla="*/ 2003949 h 2003949"/>
                <a:gd name="connsiteX3" fmla="*/ 0 w 2289470"/>
                <a:gd name="connsiteY3" fmla="*/ 642787 h 2003949"/>
                <a:gd name="connsiteX4" fmla="*/ 1137470 w 2289470"/>
                <a:gd name="connsiteY4" fmla="*/ 0 h 2003949"/>
                <a:gd name="connsiteX0" fmla="*/ 1137470 w 2289470"/>
                <a:gd name="connsiteY0" fmla="*/ 0 h 2008712"/>
                <a:gd name="connsiteX1" fmla="*/ 2289470 w 2289470"/>
                <a:gd name="connsiteY1" fmla="*/ 669872 h 2008712"/>
                <a:gd name="connsiteX2" fmla="*/ 9525 w 2289470"/>
                <a:gd name="connsiteY2" fmla="*/ 2008712 h 2008712"/>
                <a:gd name="connsiteX3" fmla="*/ 0 w 2289470"/>
                <a:gd name="connsiteY3" fmla="*/ 642787 h 2008712"/>
                <a:gd name="connsiteX4" fmla="*/ 1137470 w 2289470"/>
                <a:gd name="connsiteY4" fmla="*/ 0 h 2008712"/>
                <a:gd name="connsiteX0" fmla="*/ 1127945 w 2279945"/>
                <a:gd name="connsiteY0" fmla="*/ 0 h 2008712"/>
                <a:gd name="connsiteX1" fmla="*/ 2279945 w 2279945"/>
                <a:gd name="connsiteY1" fmla="*/ 669872 h 2008712"/>
                <a:gd name="connsiteX2" fmla="*/ 0 w 2279945"/>
                <a:gd name="connsiteY2" fmla="*/ 2008712 h 2008712"/>
                <a:gd name="connsiteX3" fmla="*/ 0 w 2279945"/>
                <a:gd name="connsiteY3" fmla="*/ 638025 h 2008712"/>
                <a:gd name="connsiteX4" fmla="*/ 1127945 w 2279945"/>
                <a:gd name="connsiteY4" fmla="*/ 0 h 2008712"/>
                <a:gd name="connsiteX0" fmla="*/ 1127945 w 2279945"/>
                <a:gd name="connsiteY0" fmla="*/ 0 h 2008712"/>
                <a:gd name="connsiteX1" fmla="*/ 2279945 w 2279945"/>
                <a:gd name="connsiteY1" fmla="*/ 669872 h 2008712"/>
                <a:gd name="connsiteX2" fmla="*/ 0 w 2279945"/>
                <a:gd name="connsiteY2" fmla="*/ 2008712 h 2008712"/>
                <a:gd name="connsiteX3" fmla="*/ 0 w 2279945"/>
                <a:gd name="connsiteY3" fmla="*/ 638025 h 2008712"/>
                <a:gd name="connsiteX4" fmla="*/ 1127945 w 2279945"/>
                <a:gd name="connsiteY4" fmla="*/ 0 h 2008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79945" h="2008712">
                  <a:moveTo>
                    <a:pt x="1127945" y="0"/>
                  </a:moveTo>
                  <a:lnTo>
                    <a:pt x="2279945" y="669872"/>
                  </a:lnTo>
                  <a:cubicBezTo>
                    <a:pt x="1804909" y="1456867"/>
                    <a:pt x="981490" y="1989781"/>
                    <a:pt x="0" y="2008712"/>
                  </a:cubicBezTo>
                  <a:lnTo>
                    <a:pt x="0" y="638025"/>
                  </a:lnTo>
                  <a:cubicBezTo>
                    <a:pt x="485649" y="583459"/>
                    <a:pt x="867087" y="370493"/>
                    <a:pt x="112794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7" name="Group 4">
            <a:extLst>
              <a:ext uri="{FF2B5EF4-FFF2-40B4-BE49-F238E27FC236}">
                <a16:creationId xmlns:a16="http://schemas.microsoft.com/office/drawing/2014/main" id="{BC4CD179-0042-C80A-FE24-6AC43CBAC061}"/>
              </a:ext>
            </a:extLst>
          </p:cNvPr>
          <p:cNvGrpSpPr/>
          <p:nvPr/>
        </p:nvGrpSpPr>
        <p:grpSpPr>
          <a:xfrm>
            <a:off x="3927368" y="4455558"/>
            <a:ext cx="2087846" cy="1822547"/>
            <a:chOff x="1999772" y="4393059"/>
            <a:chExt cx="2511107" cy="2192023"/>
          </a:xfrm>
          <a:solidFill>
            <a:schemeClr val="accent5"/>
          </a:solidFill>
        </p:grpSpPr>
        <p:sp>
          <p:nvSpPr>
            <p:cNvPr id="18" name="Oval 11">
              <a:extLst>
                <a:ext uri="{FF2B5EF4-FFF2-40B4-BE49-F238E27FC236}">
                  <a16:creationId xmlns:a16="http://schemas.microsoft.com/office/drawing/2014/main" id="{4AD50AEA-28E1-EE52-C2DB-B9D04C6833DA}"/>
                </a:ext>
              </a:extLst>
            </p:cNvPr>
            <p:cNvSpPr/>
            <p:nvPr/>
          </p:nvSpPr>
          <p:spPr>
            <a:xfrm>
              <a:off x="1999772" y="4393059"/>
              <a:ext cx="2511107" cy="2192023"/>
            </a:xfrm>
            <a:custGeom>
              <a:avLst/>
              <a:gdLst/>
              <a:ahLst/>
              <a:cxnLst/>
              <a:rect l="l" t="t" r="r" b="b"/>
              <a:pathLst>
                <a:path w="2511107" h="2192023">
                  <a:moveTo>
                    <a:pt x="1268913" y="0"/>
                  </a:moveTo>
                  <a:cubicBezTo>
                    <a:pt x="1529018" y="412090"/>
                    <a:pt x="1984877" y="692196"/>
                    <a:pt x="2509179" y="715747"/>
                  </a:cubicBezTo>
                  <a:lnTo>
                    <a:pt x="2509741" y="1145483"/>
                  </a:lnTo>
                  <a:cubicBezTo>
                    <a:pt x="2509952" y="1307252"/>
                    <a:pt x="2510047" y="1379886"/>
                    <a:pt x="2510274" y="1554273"/>
                  </a:cubicBezTo>
                  <a:cubicBezTo>
                    <a:pt x="2510552" y="1766787"/>
                    <a:pt x="2510829" y="1979299"/>
                    <a:pt x="2511107" y="2191813"/>
                  </a:cubicBezTo>
                  <a:cubicBezTo>
                    <a:pt x="2509715" y="2192022"/>
                    <a:pt x="2508321" y="2192023"/>
                    <a:pt x="2506928" y="2192023"/>
                  </a:cubicBezTo>
                  <a:cubicBezTo>
                    <a:pt x="1435869" y="2192023"/>
                    <a:pt x="497069" y="1605649"/>
                    <a:pt x="0" y="738783"/>
                  </a:cubicBezTo>
                  <a:lnTo>
                    <a:pt x="557410" y="414250"/>
                  </a:lnTo>
                  <a:lnTo>
                    <a:pt x="905663" y="21149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" name="Oval 11">
              <a:extLst>
                <a:ext uri="{FF2B5EF4-FFF2-40B4-BE49-F238E27FC236}">
                  <a16:creationId xmlns:a16="http://schemas.microsoft.com/office/drawing/2014/main" id="{D6D5435F-5B38-AD08-14F3-0CE72A640718}"/>
                </a:ext>
              </a:extLst>
            </p:cNvPr>
            <p:cNvSpPr/>
            <p:nvPr/>
          </p:nvSpPr>
          <p:spPr>
            <a:xfrm>
              <a:off x="2144264" y="4457041"/>
              <a:ext cx="2286721" cy="2026220"/>
            </a:xfrm>
            <a:custGeom>
              <a:avLst/>
              <a:gdLst>
                <a:gd name="connsiteX0" fmla="*/ 1182943 w 2329583"/>
                <a:gd name="connsiteY0" fmla="*/ 0 h 2011932"/>
                <a:gd name="connsiteX1" fmla="*/ 2329583 w 2329583"/>
                <a:gd name="connsiteY1" fmla="*/ 649321 h 2011932"/>
                <a:gd name="connsiteX2" fmla="*/ 2329583 w 2329583"/>
                <a:gd name="connsiteY2" fmla="*/ 2011932 h 2011932"/>
                <a:gd name="connsiteX3" fmla="*/ 0 w 2329583"/>
                <a:gd name="connsiteY3" fmla="*/ 667948 h 2011932"/>
                <a:gd name="connsiteX4" fmla="*/ 1182943 w 2329583"/>
                <a:gd name="connsiteY4" fmla="*/ 0 h 2011932"/>
                <a:gd name="connsiteX0" fmla="*/ 1173418 w 2320058"/>
                <a:gd name="connsiteY0" fmla="*/ 0 h 2011932"/>
                <a:gd name="connsiteX1" fmla="*/ 2320058 w 2320058"/>
                <a:gd name="connsiteY1" fmla="*/ 649321 h 2011932"/>
                <a:gd name="connsiteX2" fmla="*/ 2320058 w 2320058"/>
                <a:gd name="connsiteY2" fmla="*/ 2011932 h 2011932"/>
                <a:gd name="connsiteX3" fmla="*/ 0 w 2320058"/>
                <a:gd name="connsiteY3" fmla="*/ 691760 h 2011932"/>
                <a:gd name="connsiteX4" fmla="*/ 1173418 w 2320058"/>
                <a:gd name="connsiteY4" fmla="*/ 0 h 2011932"/>
                <a:gd name="connsiteX0" fmla="*/ 1159131 w 2305771"/>
                <a:gd name="connsiteY0" fmla="*/ 0 h 2011932"/>
                <a:gd name="connsiteX1" fmla="*/ 2305771 w 2305771"/>
                <a:gd name="connsiteY1" fmla="*/ 649321 h 2011932"/>
                <a:gd name="connsiteX2" fmla="*/ 2305771 w 2305771"/>
                <a:gd name="connsiteY2" fmla="*/ 2011932 h 2011932"/>
                <a:gd name="connsiteX3" fmla="*/ 0 w 2305771"/>
                <a:gd name="connsiteY3" fmla="*/ 701285 h 2011932"/>
                <a:gd name="connsiteX4" fmla="*/ 1159131 w 2305771"/>
                <a:gd name="connsiteY4" fmla="*/ 0 h 2011932"/>
                <a:gd name="connsiteX0" fmla="*/ 1168656 w 2315296"/>
                <a:gd name="connsiteY0" fmla="*/ 0 h 2011932"/>
                <a:gd name="connsiteX1" fmla="*/ 2315296 w 2315296"/>
                <a:gd name="connsiteY1" fmla="*/ 649321 h 2011932"/>
                <a:gd name="connsiteX2" fmla="*/ 2315296 w 2315296"/>
                <a:gd name="connsiteY2" fmla="*/ 2011932 h 2011932"/>
                <a:gd name="connsiteX3" fmla="*/ 0 w 2315296"/>
                <a:gd name="connsiteY3" fmla="*/ 691760 h 2011932"/>
                <a:gd name="connsiteX4" fmla="*/ 1168656 w 2315296"/>
                <a:gd name="connsiteY4" fmla="*/ 0 h 2011932"/>
                <a:gd name="connsiteX0" fmla="*/ 1168656 w 2315296"/>
                <a:gd name="connsiteY0" fmla="*/ 0 h 2026220"/>
                <a:gd name="connsiteX1" fmla="*/ 2315296 w 2315296"/>
                <a:gd name="connsiteY1" fmla="*/ 649321 h 2026220"/>
                <a:gd name="connsiteX2" fmla="*/ 2277196 w 2315296"/>
                <a:gd name="connsiteY2" fmla="*/ 2026220 h 2026220"/>
                <a:gd name="connsiteX3" fmla="*/ 0 w 2315296"/>
                <a:gd name="connsiteY3" fmla="*/ 691760 h 2026220"/>
                <a:gd name="connsiteX4" fmla="*/ 1168656 w 2315296"/>
                <a:gd name="connsiteY4" fmla="*/ 0 h 2026220"/>
                <a:gd name="connsiteX0" fmla="*/ 1168656 w 2286721"/>
                <a:gd name="connsiteY0" fmla="*/ 0 h 2026220"/>
                <a:gd name="connsiteX1" fmla="*/ 2286721 w 2286721"/>
                <a:gd name="connsiteY1" fmla="*/ 649321 h 2026220"/>
                <a:gd name="connsiteX2" fmla="*/ 2277196 w 2286721"/>
                <a:gd name="connsiteY2" fmla="*/ 2026220 h 2026220"/>
                <a:gd name="connsiteX3" fmla="*/ 0 w 2286721"/>
                <a:gd name="connsiteY3" fmla="*/ 691760 h 2026220"/>
                <a:gd name="connsiteX4" fmla="*/ 1168656 w 2286721"/>
                <a:gd name="connsiteY4" fmla="*/ 0 h 2026220"/>
                <a:gd name="connsiteX0" fmla="*/ 1168656 w 2286721"/>
                <a:gd name="connsiteY0" fmla="*/ 0 h 2026220"/>
                <a:gd name="connsiteX1" fmla="*/ 2286721 w 2286721"/>
                <a:gd name="connsiteY1" fmla="*/ 649321 h 2026220"/>
                <a:gd name="connsiteX2" fmla="*/ 2286721 w 2286721"/>
                <a:gd name="connsiteY2" fmla="*/ 2026220 h 2026220"/>
                <a:gd name="connsiteX3" fmla="*/ 0 w 2286721"/>
                <a:gd name="connsiteY3" fmla="*/ 691760 h 2026220"/>
                <a:gd name="connsiteX4" fmla="*/ 1168656 w 2286721"/>
                <a:gd name="connsiteY4" fmla="*/ 0 h 2026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86721" h="2026220">
                  <a:moveTo>
                    <a:pt x="1168656" y="0"/>
                  </a:moveTo>
                  <a:cubicBezTo>
                    <a:pt x="1425717" y="369312"/>
                    <a:pt x="1806231" y="612248"/>
                    <a:pt x="2286721" y="649321"/>
                  </a:cubicBezTo>
                  <a:lnTo>
                    <a:pt x="2286721" y="2026220"/>
                  </a:lnTo>
                  <a:cubicBezTo>
                    <a:pt x="1298674" y="2010846"/>
                    <a:pt x="475836" y="1484425"/>
                    <a:pt x="0" y="691760"/>
                  </a:cubicBezTo>
                  <a:cubicBezTo>
                    <a:pt x="391139" y="465936"/>
                    <a:pt x="777517" y="225824"/>
                    <a:pt x="116865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20" name="Group 5">
            <a:extLst>
              <a:ext uri="{FF2B5EF4-FFF2-40B4-BE49-F238E27FC236}">
                <a16:creationId xmlns:a16="http://schemas.microsoft.com/office/drawing/2014/main" id="{B9C85665-6F3F-EEC7-27D9-F26D6821F2CE}"/>
              </a:ext>
            </a:extLst>
          </p:cNvPr>
          <p:cNvGrpSpPr/>
          <p:nvPr/>
        </p:nvGrpSpPr>
        <p:grpSpPr>
          <a:xfrm>
            <a:off x="3581400" y="2594496"/>
            <a:ext cx="1359386" cy="2392489"/>
            <a:chOff x="1583668" y="2154713"/>
            <a:chExt cx="1634968" cy="2877506"/>
          </a:xfrm>
          <a:solidFill>
            <a:schemeClr val="accent6"/>
          </a:solidFill>
        </p:grpSpPr>
        <p:sp>
          <p:nvSpPr>
            <p:cNvPr id="21" name="Oval 14">
              <a:extLst>
                <a:ext uri="{FF2B5EF4-FFF2-40B4-BE49-F238E27FC236}">
                  <a16:creationId xmlns:a16="http://schemas.microsoft.com/office/drawing/2014/main" id="{63C76326-4853-4472-020B-C5713D3EDCE0}"/>
                </a:ext>
              </a:extLst>
            </p:cNvPr>
            <p:cNvSpPr/>
            <p:nvPr/>
          </p:nvSpPr>
          <p:spPr>
            <a:xfrm>
              <a:off x="1583668" y="2154713"/>
              <a:ext cx="1634968" cy="2877506"/>
            </a:xfrm>
            <a:custGeom>
              <a:avLst/>
              <a:gdLst/>
              <a:ahLst/>
              <a:cxnLst/>
              <a:rect l="l" t="t" r="r" b="b"/>
              <a:pathLst>
                <a:path w="1634968" h="2877506">
                  <a:moveTo>
                    <a:pt x="387922" y="0"/>
                  </a:moveTo>
                  <a:lnTo>
                    <a:pt x="886724" y="284420"/>
                  </a:lnTo>
                  <a:lnTo>
                    <a:pt x="1244991" y="488705"/>
                  </a:lnTo>
                  <a:lnTo>
                    <a:pt x="1634968" y="711073"/>
                  </a:lnTo>
                  <a:cubicBezTo>
                    <a:pt x="1516337" y="926105"/>
                    <a:pt x="1449095" y="1172333"/>
                    <a:pt x="1449095" y="1433957"/>
                  </a:cubicBezTo>
                  <a:cubicBezTo>
                    <a:pt x="1449095" y="1694200"/>
                    <a:pt x="1515629" y="1939207"/>
                    <a:pt x="1633250" y="2153345"/>
                  </a:cubicBezTo>
                  <a:lnTo>
                    <a:pt x="1292206" y="2352461"/>
                  </a:lnTo>
                  <a:lnTo>
                    <a:pt x="939254" y="2557810"/>
                  </a:lnTo>
                  <a:lnTo>
                    <a:pt x="383934" y="2877506"/>
                  </a:lnTo>
                  <a:cubicBezTo>
                    <a:pt x="138888" y="2455524"/>
                    <a:pt x="0" y="1964999"/>
                    <a:pt x="0" y="1442037"/>
                  </a:cubicBezTo>
                  <a:cubicBezTo>
                    <a:pt x="0" y="916326"/>
                    <a:pt x="140350" y="423398"/>
                    <a:pt x="38792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Oval 14">
              <a:extLst>
                <a:ext uri="{FF2B5EF4-FFF2-40B4-BE49-F238E27FC236}">
                  <a16:creationId xmlns:a16="http://schemas.microsoft.com/office/drawing/2014/main" id="{D37B208F-C240-DB8F-D68F-B26F52A99346}"/>
                </a:ext>
              </a:extLst>
            </p:cNvPr>
            <p:cNvSpPr/>
            <p:nvPr/>
          </p:nvSpPr>
          <p:spPr>
            <a:xfrm>
              <a:off x="1698172" y="2281791"/>
              <a:ext cx="1489148" cy="2625883"/>
            </a:xfrm>
            <a:custGeom>
              <a:avLst/>
              <a:gdLst>
                <a:gd name="connsiteX0" fmla="*/ 347558 w 1500402"/>
                <a:gd name="connsiteY0" fmla="*/ 0 h 2654459"/>
                <a:gd name="connsiteX1" fmla="*/ 1493911 w 1500402"/>
                <a:gd name="connsiteY1" fmla="*/ 661847 h 2654459"/>
                <a:gd name="connsiteX2" fmla="*/ 1334591 w 1500402"/>
                <a:gd name="connsiteY2" fmla="*/ 1330691 h 2654459"/>
                <a:gd name="connsiteX3" fmla="*/ 1500402 w 1500402"/>
                <a:gd name="connsiteY3" fmla="*/ 2012747 h 2654459"/>
                <a:gd name="connsiteX4" fmla="*/ 328630 w 1500402"/>
                <a:gd name="connsiteY4" fmla="*/ 2654459 h 2654459"/>
                <a:gd name="connsiteX5" fmla="*/ 0 w 1500402"/>
                <a:gd name="connsiteY5" fmla="*/ 1338773 h 2654459"/>
                <a:gd name="connsiteX6" fmla="*/ 347558 w 1500402"/>
                <a:gd name="connsiteY6" fmla="*/ 0 h 2654459"/>
                <a:gd name="connsiteX0" fmla="*/ 347558 w 1493911"/>
                <a:gd name="connsiteY0" fmla="*/ 0 h 2654459"/>
                <a:gd name="connsiteX1" fmla="*/ 1493911 w 1493911"/>
                <a:gd name="connsiteY1" fmla="*/ 661847 h 2654459"/>
                <a:gd name="connsiteX2" fmla="*/ 1334591 w 1493911"/>
                <a:gd name="connsiteY2" fmla="*/ 1330691 h 2654459"/>
                <a:gd name="connsiteX3" fmla="*/ 1476590 w 1493911"/>
                <a:gd name="connsiteY3" fmla="*/ 1998460 h 2654459"/>
                <a:gd name="connsiteX4" fmla="*/ 328630 w 1493911"/>
                <a:gd name="connsiteY4" fmla="*/ 2654459 h 2654459"/>
                <a:gd name="connsiteX5" fmla="*/ 0 w 1493911"/>
                <a:gd name="connsiteY5" fmla="*/ 1338773 h 2654459"/>
                <a:gd name="connsiteX6" fmla="*/ 347558 w 1493911"/>
                <a:gd name="connsiteY6" fmla="*/ 0 h 2654459"/>
                <a:gd name="connsiteX0" fmla="*/ 347558 w 1493911"/>
                <a:gd name="connsiteY0" fmla="*/ 0 h 2654459"/>
                <a:gd name="connsiteX1" fmla="*/ 1493911 w 1493911"/>
                <a:gd name="connsiteY1" fmla="*/ 661847 h 2654459"/>
                <a:gd name="connsiteX2" fmla="*/ 1334591 w 1493911"/>
                <a:gd name="connsiteY2" fmla="*/ 1330691 h 2654459"/>
                <a:gd name="connsiteX3" fmla="*/ 1486115 w 1493911"/>
                <a:gd name="connsiteY3" fmla="*/ 1974647 h 2654459"/>
                <a:gd name="connsiteX4" fmla="*/ 328630 w 1493911"/>
                <a:gd name="connsiteY4" fmla="*/ 2654459 h 2654459"/>
                <a:gd name="connsiteX5" fmla="*/ 0 w 1493911"/>
                <a:gd name="connsiteY5" fmla="*/ 1338773 h 2654459"/>
                <a:gd name="connsiteX6" fmla="*/ 347558 w 1493911"/>
                <a:gd name="connsiteY6" fmla="*/ 0 h 2654459"/>
                <a:gd name="connsiteX0" fmla="*/ 347558 w 1493911"/>
                <a:gd name="connsiteY0" fmla="*/ 0 h 2654459"/>
                <a:gd name="connsiteX1" fmla="*/ 1493911 w 1493911"/>
                <a:gd name="connsiteY1" fmla="*/ 661847 h 2654459"/>
                <a:gd name="connsiteX2" fmla="*/ 1334591 w 1493911"/>
                <a:gd name="connsiteY2" fmla="*/ 1330691 h 2654459"/>
                <a:gd name="connsiteX3" fmla="*/ 1486115 w 1493911"/>
                <a:gd name="connsiteY3" fmla="*/ 1974647 h 2654459"/>
                <a:gd name="connsiteX4" fmla="*/ 323867 w 1493911"/>
                <a:gd name="connsiteY4" fmla="*/ 2654459 h 2654459"/>
                <a:gd name="connsiteX5" fmla="*/ 0 w 1493911"/>
                <a:gd name="connsiteY5" fmla="*/ 1338773 h 2654459"/>
                <a:gd name="connsiteX6" fmla="*/ 347558 w 1493911"/>
                <a:gd name="connsiteY6" fmla="*/ 0 h 2654459"/>
                <a:gd name="connsiteX0" fmla="*/ 347558 w 1493911"/>
                <a:gd name="connsiteY0" fmla="*/ 0 h 2649696"/>
                <a:gd name="connsiteX1" fmla="*/ 1493911 w 1493911"/>
                <a:gd name="connsiteY1" fmla="*/ 661847 h 2649696"/>
                <a:gd name="connsiteX2" fmla="*/ 1334591 w 1493911"/>
                <a:gd name="connsiteY2" fmla="*/ 1330691 h 2649696"/>
                <a:gd name="connsiteX3" fmla="*/ 1486115 w 1493911"/>
                <a:gd name="connsiteY3" fmla="*/ 1974647 h 2649696"/>
                <a:gd name="connsiteX4" fmla="*/ 319105 w 1493911"/>
                <a:gd name="connsiteY4" fmla="*/ 2649696 h 2649696"/>
                <a:gd name="connsiteX5" fmla="*/ 0 w 1493911"/>
                <a:gd name="connsiteY5" fmla="*/ 1338773 h 2649696"/>
                <a:gd name="connsiteX6" fmla="*/ 347558 w 1493911"/>
                <a:gd name="connsiteY6" fmla="*/ 0 h 2649696"/>
                <a:gd name="connsiteX0" fmla="*/ 347558 w 1486115"/>
                <a:gd name="connsiteY0" fmla="*/ 0 h 2649696"/>
                <a:gd name="connsiteX1" fmla="*/ 1474861 w 1486115"/>
                <a:gd name="connsiteY1" fmla="*/ 676135 h 2649696"/>
                <a:gd name="connsiteX2" fmla="*/ 1334591 w 1486115"/>
                <a:gd name="connsiteY2" fmla="*/ 1330691 h 2649696"/>
                <a:gd name="connsiteX3" fmla="*/ 1486115 w 1486115"/>
                <a:gd name="connsiteY3" fmla="*/ 1974647 h 2649696"/>
                <a:gd name="connsiteX4" fmla="*/ 319105 w 1486115"/>
                <a:gd name="connsiteY4" fmla="*/ 2649696 h 2649696"/>
                <a:gd name="connsiteX5" fmla="*/ 0 w 1486115"/>
                <a:gd name="connsiteY5" fmla="*/ 1338773 h 2649696"/>
                <a:gd name="connsiteX6" fmla="*/ 347558 w 1486115"/>
                <a:gd name="connsiteY6" fmla="*/ 0 h 2649696"/>
                <a:gd name="connsiteX0" fmla="*/ 323745 w 1486115"/>
                <a:gd name="connsiteY0" fmla="*/ 0 h 2611596"/>
                <a:gd name="connsiteX1" fmla="*/ 1474861 w 1486115"/>
                <a:gd name="connsiteY1" fmla="*/ 638035 h 2611596"/>
                <a:gd name="connsiteX2" fmla="*/ 1334591 w 1486115"/>
                <a:gd name="connsiteY2" fmla="*/ 1292591 h 2611596"/>
                <a:gd name="connsiteX3" fmla="*/ 1486115 w 1486115"/>
                <a:gd name="connsiteY3" fmla="*/ 1936547 h 2611596"/>
                <a:gd name="connsiteX4" fmla="*/ 319105 w 1486115"/>
                <a:gd name="connsiteY4" fmla="*/ 2611596 h 2611596"/>
                <a:gd name="connsiteX5" fmla="*/ 0 w 1486115"/>
                <a:gd name="connsiteY5" fmla="*/ 1300673 h 2611596"/>
                <a:gd name="connsiteX6" fmla="*/ 323745 w 1486115"/>
                <a:gd name="connsiteY6" fmla="*/ 0 h 2611596"/>
                <a:gd name="connsiteX0" fmla="*/ 323745 w 1486115"/>
                <a:gd name="connsiteY0" fmla="*/ 0 h 2611596"/>
                <a:gd name="connsiteX1" fmla="*/ 1474861 w 1486115"/>
                <a:gd name="connsiteY1" fmla="*/ 638035 h 2611596"/>
                <a:gd name="connsiteX2" fmla="*/ 1334591 w 1486115"/>
                <a:gd name="connsiteY2" fmla="*/ 1292591 h 2611596"/>
                <a:gd name="connsiteX3" fmla="*/ 1486115 w 1486115"/>
                <a:gd name="connsiteY3" fmla="*/ 1936547 h 2611596"/>
                <a:gd name="connsiteX4" fmla="*/ 319105 w 1486115"/>
                <a:gd name="connsiteY4" fmla="*/ 2611596 h 2611596"/>
                <a:gd name="connsiteX5" fmla="*/ 0 w 1486115"/>
                <a:gd name="connsiteY5" fmla="*/ 1300673 h 2611596"/>
                <a:gd name="connsiteX6" fmla="*/ 323745 w 1486115"/>
                <a:gd name="connsiteY6" fmla="*/ 0 h 2611596"/>
                <a:gd name="connsiteX0" fmla="*/ 328508 w 1486115"/>
                <a:gd name="connsiteY0" fmla="*/ 0 h 2625883"/>
                <a:gd name="connsiteX1" fmla="*/ 1474861 w 1486115"/>
                <a:gd name="connsiteY1" fmla="*/ 652322 h 2625883"/>
                <a:gd name="connsiteX2" fmla="*/ 1334591 w 1486115"/>
                <a:gd name="connsiteY2" fmla="*/ 1306878 h 2625883"/>
                <a:gd name="connsiteX3" fmla="*/ 1486115 w 1486115"/>
                <a:gd name="connsiteY3" fmla="*/ 1950834 h 2625883"/>
                <a:gd name="connsiteX4" fmla="*/ 319105 w 1486115"/>
                <a:gd name="connsiteY4" fmla="*/ 2625883 h 2625883"/>
                <a:gd name="connsiteX5" fmla="*/ 0 w 1486115"/>
                <a:gd name="connsiteY5" fmla="*/ 1314960 h 2625883"/>
                <a:gd name="connsiteX6" fmla="*/ 328508 w 1486115"/>
                <a:gd name="connsiteY6" fmla="*/ 0 h 2625883"/>
                <a:gd name="connsiteX0" fmla="*/ 328508 w 1489148"/>
                <a:gd name="connsiteY0" fmla="*/ 0 h 2625883"/>
                <a:gd name="connsiteX1" fmla="*/ 1489148 w 1489148"/>
                <a:gd name="connsiteY1" fmla="*/ 652322 h 2625883"/>
                <a:gd name="connsiteX2" fmla="*/ 1334591 w 1489148"/>
                <a:gd name="connsiteY2" fmla="*/ 1306878 h 2625883"/>
                <a:gd name="connsiteX3" fmla="*/ 1486115 w 1489148"/>
                <a:gd name="connsiteY3" fmla="*/ 1950834 h 2625883"/>
                <a:gd name="connsiteX4" fmla="*/ 319105 w 1489148"/>
                <a:gd name="connsiteY4" fmla="*/ 2625883 h 2625883"/>
                <a:gd name="connsiteX5" fmla="*/ 0 w 1489148"/>
                <a:gd name="connsiteY5" fmla="*/ 1314960 h 2625883"/>
                <a:gd name="connsiteX6" fmla="*/ 328508 w 1489148"/>
                <a:gd name="connsiteY6" fmla="*/ 0 h 2625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9148" h="2625883">
                  <a:moveTo>
                    <a:pt x="328508" y="0"/>
                  </a:moveTo>
                  <a:lnTo>
                    <a:pt x="1489148" y="652322"/>
                  </a:lnTo>
                  <a:cubicBezTo>
                    <a:pt x="1386534" y="853641"/>
                    <a:pt x="1335096" y="1090459"/>
                    <a:pt x="1334591" y="1306878"/>
                  </a:cubicBezTo>
                  <a:cubicBezTo>
                    <a:pt x="1334086" y="1523297"/>
                    <a:pt x="1379503" y="1746180"/>
                    <a:pt x="1486115" y="1950834"/>
                  </a:cubicBezTo>
                  <a:lnTo>
                    <a:pt x="319105" y="2625883"/>
                  </a:lnTo>
                  <a:cubicBezTo>
                    <a:pt x="96522" y="2229947"/>
                    <a:pt x="0" y="1801349"/>
                    <a:pt x="0" y="1314960"/>
                  </a:cubicBezTo>
                  <a:cubicBezTo>
                    <a:pt x="0" y="828814"/>
                    <a:pt x="105921" y="395672"/>
                    <a:pt x="32850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29" name="Group 53">
            <a:extLst>
              <a:ext uri="{FF2B5EF4-FFF2-40B4-BE49-F238E27FC236}">
                <a16:creationId xmlns:a16="http://schemas.microsoft.com/office/drawing/2014/main" id="{EB4FD8AA-846E-AC23-2B17-5535CB58C0A1}"/>
              </a:ext>
            </a:extLst>
          </p:cNvPr>
          <p:cNvGrpSpPr/>
          <p:nvPr/>
        </p:nvGrpSpPr>
        <p:grpSpPr>
          <a:xfrm>
            <a:off x="5200742" y="2956956"/>
            <a:ext cx="1752962" cy="1752960"/>
            <a:chOff x="2183857" y="1007017"/>
            <a:chExt cx="1803671" cy="1803669"/>
          </a:xfrm>
          <a:solidFill>
            <a:schemeClr val="bg2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1561F7CF-22A2-6868-0361-39A5F56D65D3}"/>
                </a:ext>
              </a:extLst>
            </p:cNvPr>
            <p:cNvSpPr/>
            <p:nvPr/>
          </p:nvSpPr>
          <p:spPr>
            <a:xfrm flipH="1">
              <a:off x="2183857" y="1007017"/>
              <a:ext cx="1803671" cy="1803669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D266F7DD-5E77-DC48-AF24-14182B3DC8C9}"/>
                </a:ext>
              </a:extLst>
            </p:cNvPr>
            <p:cNvSpPr/>
            <p:nvPr/>
          </p:nvSpPr>
          <p:spPr>
            <a:xfrm flipH="1">
              <a:off x="2406052" y="1072366"/>
              <a:ext cx="1372358" cy="104560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</p:grpSp>
      <p:sp>
        <p:nvSpPr>
          <p:cNvPr id="32" name="TextBox 31">
            <a:extLst>
              <a:ext uri="{FF2B5EF4-FFF2-40B4-BE49-F238E27FC236}">
                <a16:creationId xmlns:a16="http://schemas.microsoft.com/office/drawing/2014/main" id="{E24C38EE-BE62-2D88-BA90-94F1E2C8BE96}"/>
              </a:ext>
            </a:extLst>
          </p:cNvPr>
          <p:cNvSpPr txBox="1"/>
          <p:nvPr/>
        </p:nvSpPr>
        <p:spPr>
          <a:xfrm>
            <a:off x="4801450" y="1768984"/>
            <a:ext cx="101156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200" dirty="0">
                <a:solidFill>
                  <a:schemeClr val="bg1"/>
                </a:solidFill>
                <a:cs typeface="Calibri" pitchFamily="34" charset="0"/>
              </a:rPr>
              <a:t>This is a sample text that you can edit. </a:t>
            </a:r>
            <a:endParaRPr lang="en-US" sz="1200" dirty="0">
              <a:solidFill>
                <a:schemeClr val="bg1"/>
              </a:solidFill>
              <a:cs typeface="Calibri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EF46AA25-DA90-9D61-7C51-DBF749210741}"/>
              </a:ext>
            </a:extLst>
          </p:cNvPr>
          <p:cNvSpPr txBox="1"/>
          <p:nvPr/>
        </p:nvSpPr>
        <p:spPr>
          <a:xfrm>
            <a:off x="6551120" y="1680438"/>
            <a:ext cx="103024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200" dirty="0">
                <a:solidFill>
                  <a:schemeClr val="bg1"/>
                </a:solidFill>
                <a:cs typeface="Calibri" pitchFamily="34" charset="0"/>
              </a:rPr>
              <a:t>This is a sample text that you can edit. </a:t>
            </a:r>
            <a:endParaRPr lang="en-US" sz="1200" dirty="0">
              <a:solidFill>
                <a:schemeClr val="bg1"/>
              </a:solidFill>
              <a:cs typeface="Calibri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767F067B-1960-BA82-AB08-687226D7813F}"/>
              </a:ext>
            </a:extLst>
          </p:cNvPr>
          <p:cNvSpPr txBox="1"/>
          <p:nvPr/>
        </p:nvSpPr>
        <p:spPr>
          <a:xfrm>
            <a:off x="7516224" y="3383206"/>
            <a:ext cx="100167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200" dirty="0">
                <a:solidFill>
                  <a:schemeClr val="bg1"/>
                </a:solidFill>
                <a:cs typeface="Calibri" pitchFamily="34" charset="0"/>
              </a:rPr>
              <a:t>This is a sample text that you can edit. </a:t>
            </a:r>
            <a:endParaRPr lang="en-US" sz="1200" dirty="0">
              <a:solidFill>
                <a:schemeClr val="bg1"/>
              </a:solidFill>
              <a:cs typeface="Calibri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FA2A9844-F1B6-449E-8A80-CDF56963FB34}"/>
              </a:ext>
            </a:extLst>
          </p:cNvPr>
          <p:cNvSpPr txBox="1"/>
          <p:nvPr/>
        </p:nvSpPr>
        <p:spPr>
          <a:xfrm>
            <a:off x="6605785" y="4980348"/>
            <a:ext cx="114969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200" dirty="0">
                <a:solidFill>
                  <a:schemeClr val="bg1"/>
                </a:solidFill>
                <a:cs typeface="Calibri" pitchFamily="34" charset="0"/>
              </a:rPr>
              <a:t>This is a sample text that you can edit. </a:t>
            </a:r>
            <a:endParaRPr lang="en-US" sz="1200" dirty="0">
              <a:solidFill>
                <a:schemeClr val="bg1"/>
              </a:solidFill>
              <a:cs typeface="Calibri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C72D21F0-01BB-B60D-D7F2-42895FDD6D36}"/>
              </a:ext>
            </a:extLst>
          </p:cNvPr>
          <p:cNvSpPr txBox="1"/>
          <p:nvPr/>
        </p:nvSpPr>
        <p:spPr>
          <a:xfrm>
            <a:off x="4728948" y="4971510"/>
            <a:ext cx="101659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200" dirty="0">
                <a:solidFill>
                  <a:schemeClr val="bg1"/>
                </a:solidFill>
                <a:cs typeface="Calibri" pitchFamily="34" charset="0"/>
              </a:rPr>
              <a:t>This is a sample text that you can edit. </a:t>
            </a:r>
            <a:endParaRPr lang="en-US" sz="1200" dirty="0">
              <a:solidFill>
                <a:schemeClr val="bg1"/>
              </a:solidFill>
              <a:cs typeface="Calibri" pitchFamily="34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5B401108-8E92-3F5C-BE17-78C79303A927}"/>
              </a:ext>
            </a:extLst>
          </p:cNvPr>
          <p:cNvSpPr txBox="1"/>
          <p:nvPr/>
        </p:nvSpPr>
        <p:spPr>
          <a:xfrm>
            <a:off x="3733601" y="3393184"/>
            <a:ext cx="101410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200" dirty="0">
                <a:cs typeface="Calibri" pitchFamily="34" charset="0"/>
              </a:rPr>
              <a:t>This is a sample text that you can edit. </a:t>
            </a:r>
            <a:endParaRPr lang="en-US" sz="1200" dirty="0">
              <a:cs typeface="Calibri" pitchFamily="34" charset="0"/>
            </a:endParaRPr>
          </a:p>
        </p:txBody>
      </p:sp>
      <p:sp>
        <p:nvSpPr>
          <p:cNvPr id="38" name="Rounded Rectangle 45">
            <a:extLst>
              <a:ext uri="{FF2B5EF4-FFF2-40B4-BE49-F238E27FC236}">
                <a16:creationId xmlns:a16="http://schemas.microsoft.com/office/drawing/2014/main" id="{6393DE7C-517E-13B8-EA4D-8958B94CBCB0}"/>
              </a:ext>
            </a:extLst>
          </p:cNvPr>
          <p:cNvSpPr/>
          <p:nvPr/>
        </p:nvSpPr>
        <p:spPr>
          <a:xfrm>
            <a:off x="5347232" y="3122369"/>
            <a:ext cx="1468848" cy="1422058"/>
          </a:xfrm>
          <a:prstGeom prst="roundRect">
            <a:avLst>
              <a:gd name="adj" fmla="val 49783"/>
            </a:avLst>
          </a:prstGeom>
          <a:solidFill>
            <a:schemeClr val="bg1"/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D74177AE-2BD8-C792-044F-DBC6C94B1BAC}"/>
              </a:ext>
            </a:extLst>
          </p:cNvPr>
          <p:cNvSpPr txBox="1"/>
          <p:nvPr/>
        </p:nvSpPr>
        <p:spPr>
          <a:xfrm>
            <a:off x="5403302" y="3613099"/>
            <a:ext cx="1387672" cy="400110"/>
          </a:xfrm>
          <a:prstGeom prst="rect">
            <a:avLst/>
          </a:prstGeom>
          <a:noFill/>
          <a:scene3d>
            <a:camera prst="orthographicFront"/>
            <a:lightRig rig="threePt" dir="t"/>
          </a:scene3d>
          <a:sp3d>
            <a:bevelT w="127000" h="25400" prst="cross"/>
          </a:sp3d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cs typeface="Arial" pitchFamily="34" charset="0"/>
              </a:rPr>
              <a:t>Header</a:t>
            </a: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48B349BB-3634-F368-4ECD-D1C5CEE4388B}"/>
              </a:ext>
            </a:extLst>
          </p:cNvPr>
          <p:cNvCxnSpPr/>
          <p:nvPr/>
        </p:nvCxnSpPr>
        <p:spPr>
          <a:xfrm>
            <a:off x="1940539" y="1156150"/>
            <a:ext cx="1461216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8623904D-9920-F6E9-7A66-61B01BC0C95F}"/>
              </a:ext>
            </a:extLst>
          </p:cNvPr>
          <p:cNvCxnSpPr/>
          <p:nvPr/>
        </p:nvCxnSpPr>
        <p:spPr>
          <a:xfrm>
            <a:off x="8812309" y="1195076"/>
            <a:ext cx="1461216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4D80D7F0-8627-EF80-63F8-06E9EA3C31E2}"/>
              </a:ext>
            </a:extLst>
          </p:cNvPr>
          <p:cNvCxnSpPr/>
          <p:nvPr/>
        </p:nvCxnSpPr>
        <p:spPr>
          <a:xfrm>
            <a:off x="2005463" y="4647172"/>
            <a:ext cx="1461216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414539E6-9E9D-69E5-1C16-BE8D868DABD0}"/>
              </a:ext>
            </a:extLst>
          </p:cNvPr>
          <p:cNvCxnSpPr/>
          <p:nvPr/>
        </p:nvCxnSpPr>
        <p:spPr>
          <a:xfrm>
            <a:off x="8801805" y="4631167"/>
            <a:ext cx="1461216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TextBox 64">
            <a:extLst>
              <a:ext uri="{FF2B5EF4-FFF2-40B4-BE49-F238E27FC236}">
                <a16:creationId xmlns:a16="http://schemas.microsoft.com/office/drawing/2014/main" id="{FA20A552-45AA-E3AB-EF35-7D8A01B30EFC}"/>
              </a:ext>
            </a:extLst>
          </p:cNvPr>
          <p:cNvSpPr txBox="1"/>
          <p:nvPr/>
        </p:nvSpPr>
        <p:spPr>
          <a:xfrm>
            <a:off x="1984775" y="1165100"/>
            <a:ext cx="1357446" cy="12772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100" dirty="0">
                <a:cs typeface="Calibri" pitchFamily="34" charset="0"/>
              </a:rPr>
              <a:t>This is a sample text that you can edit. You can change font(size, colour, name), or apply any desired formatting.</a:t>
            </a:r>
            <a:endParaRPr lang="en-US" sz="1100" dirty="0">
              <a:cs typeface="Calibri" pitchFamily="34" charset="0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CB8E27AB-6BCB-8B4C-EFCF-F07134573F91}"/>
              </a:ext>
            </a:extLst>
          </p:cNvPr>
          <p:cNvSpPr txBox="1"/>
          <p:nvPr/>
        </p:nvSpPr>
        <p:spPr>
          <a:xfrm>
            <a:off x="8856545" y="1204026"/>
            <a:ext cx="1357446" cy="12772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100" dirty="0">
                <a:cs typeface="Calibri" pitchFamily="34" charset="0"/>
              </a:rPr>
              <a:t>This is a sample text that you can edit. You can change font(size, colour, name), or apply any desired formatting.</a:t>
            </a:r>
            <a:endParaRPr lang="en-US" sz="1100" dirty="0">
              <a:cs typeface="Calibri" pitchFamily="34" charset="0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E4AE222C-1858-6777-89CE-336221D03BAA}"/>
              </a:ext>
            </a:extLst>
          </p:cNvPr>
          <p:cNvSpPr txBox="1"/>
          <p:nvPr/>
        </p:nvSpPr>
        <p:spPr>
          <a:xfrm>
            <a:off x="2049699" y="4656122"/>
            <a:ext cx="1357446" cy="12772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100" dirty="0">
                <a:cs typeface="Calibri" pitchFamily="34" charset="0"/>
              </a:rPr>
              <a:t>This is a sample text that you can edit. You can change font(size, colour, name), or apply any desired formatting.</a:t>
            </a:r>
            <a:endParaRPr lang="en-US" sz="1100" dirty="0">
              <a:cs typeface="Calibri" pitchFamily="34" charset="0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A6A7FFC1-4E73-B1EA-F722-F280DF9ED66A}"/>
              </a:ext>
            </a:extLst>
          </p:cNvPr>
          <p:cNvSpPr txBox="1"/>
          <p:nvPr/>
        </p:nvSpPr>
        <p:spPr>
          <a:xfrm>
            <a:off x="8846041" y="4640117"/>
            <a:ext cx="1357446" cy="12772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100" dirty="0">
                <a:cs typeface="Calibri" pitchFamily="34" charset="0"/>
              </a:rPr>
              <a:t>This is a sample text that you can edit. You can change font(size, colour, name), or apply any desired formatting.</a:t>
            </a:r>
            <a:endParaRPr lang="en-US" sz="1100" dirty="0"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3795625"/>
      </p:ext>
    </p:extLst>
  </p:cSld>
  <p:clrMapOvr>
    <a:masterClrMapping/>
  </p:clrMapOvr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060A8B-BBAC-27F6-0A5E-CE0CAE6877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D57306F-6409-A659-5AEE-9E4CAAF389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D57306F-6409-A659-5AEE-9E4CAAF389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496C82E-E349-50AA-0F1C-E1A7849561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ircular Layou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2E3ECC-EB36-1525-C400-B7F8086C96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17</a:t>
            </a:fld>
            <a:endParaRPr lang="en-US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4EEBCE3-B889-6708-AF58-A5836FE1F323}"/>
              </a:ext>
            </a:extLst>
          </p:cNvPr>
          <p:cNvGrpSpPr/>
          <p:nvPr/>
        </p:nvGrpSpPr>
        <p:grpSpPr>
          <a:xfrm>
            <a:off x="4351023" y="2049958"/>
            <a:ext cx="3443890" cy="3442292"/>
            <a:chOff x="4374055" y="2438400"/>
            <a:chExt cx="3443890" cy="3442292"/>
          </a:xfrm>
        </p:grpSpPr>
        <p:sp>
          <p:nvSpPr>
            <p:cNvPr id="24" name="Freeform 5">
              <a:extLst>
                <a:ext uri="{FF2B5EF4-FFF2-40B4-BE49-F238E27FC236}">
                  <a16:creationId xmlns:a16="http://schemas.microsoft.com/office/drawing/2014/main" id="{55518681-5A8F-6D20-7974-403CEBFBDF10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1467" y="2452790"/>
              <a:ext cx="1829067" cy="709883"/>
            </a:xfrm>
            <a:custGeom>
              <a:avLst/>
              <a:gdLst>
                <a:gd name="T0" fmla="*/ 820 w 1308"/>
                <a:gd name="T1" fmla="*/ 419 h 507"/>
                <a:gd name="T2" fmla="*/ 1046 w 1308"/>
                <a:gd name="T3" fmla="*/ 507 h 507"/>
                <a:gd name="T4" fmla="*/ 1055 w 1308"/>
                <a:gd name="T5" fmla="*/ 507 h 507"/>
                <a:gd name="T6" fmla="*/ 1067 w 1308"/>
                <a:gd name="T7" fmla="*/ 507 h 507"/>
                <a:gd name="T8" fmla="*/ 1074 w 1308"/>
                <a:gd name="T9" fmla="*/ 507 h 507"/>
                <a:gd name="T10" fmla="*/ 1086 w 1308"/>
                <a:gd name="T11" fmla="*/ 506 h 507"/>
                <a:gd name="T12" fmla="*/ 1093 w 1308"/>
                <a:gd name="T13" fmla="*/ 505 h 507"/>
                <a:gd name="T14" fmla="*/ 1105 w 1308"/>
                <a:gd name="T15" fmla="*/ 503 h 507"/>
                <a:gd name="T16" fmla="*/ 1111 w 1308"/>
                <a:gd name="T17" fmla="*/ 501 h 507"/>
                <a:gd name="T18" fmla="*/ 1123 w 1308"/>
                <a:gd name="T19" fmla="*/ 498 h 507"/>
                <a:gd name="T20" fmla="*/ 1135 w 1308"/>
                <a:gd name="T21" fmla="*/ 495 h 507"/>
                <a:gd name="T22" fmla="*/ 1303 w 1308"/>
                <a:gd name="T23" fmla="*/ 306 h 507"/>
                <a:gd name="T24" fmla="*/ 1304 w 1308"/>
                <a:gd name="T25" fmla="*/ 300 h 507"/>
                <a:gd name="T26" fmla="*/ 1307 w 1308"/>
                <a:gd name="T27" fmla="*/ 280 h 507"/>
                <a:gd name="T28" fmla="*/ 1308 w 1308"/>
                <a:gd name="T29" fmla="*/ 274 h 507"/>
                <a:gd name="T30" fmla="*/ 1308 w 1308"/>
                <a:gd name="T31" fmla="*/ 254 h 507"/>
                <a:gd name="T32" fmla="*/ 1308 w 1308"/>
                <a:gd name="T33" fmla="*/ 247 h 507"/>
                <a:gd name="T34" fmla="*/ 1307 w 1308"/>
                <a:gd name="T35" fmla="*/ 227 h 507"/>
                <a:gd name="T36" fmla="*/ 1305 w 1308"/>
                <a:gd name="T37" fmla="*/ 214 h 507"/>
                <a:gd name="T38" fmla="*/ 1303 w 1308"/>
                <a:gd name="T39" fmla="*/ 201 h 507"/>
                <a:gd name="T40" fmla="*/ 1299 w 1308"/>
                <a:gd name="T41" fmla="*/ 183 h 507"/>
                <a:gd name="T42" fmla="*/ 1123 w 1308"/>
                <a:gd name="T43" fmla="*/ 9 h 507"/>
                <a:gd name="T44" fmla="*/ 1117 w 1308"/>
                <a:gd name="T45" fmla="*/ 7 h 507"/>
                <a:gd name="T46" fmla="*/ 1105 w 1308"/>
                <a:gd name="T47" fmla="*/ 5 h 507"/>
                <a:gd name="T48" fmla="*/ 1099 w 1308"/>
                <a:gd name="T49" fmla="*/ 4 h 507"/>
                <a:gd name="T50" fmla="*/ 1086 w 1308"/>
                <a:gd name="T51" fmla="*/ 2 h 507"/>
                <a:gd name="T52" fmla="*/ 1080 w 1308"/>
                <a:gd name="T53" fmla="*/ 1 h 507"/>
                <a:gd name="T54" fmla="*/ 1067 w 1308"/>
                <a:gd name="T55" fmla="*/ 0 h 507"/>
                <a:gd name="T56" fmla="*/ 1061 w 1308"/>
                <a:gd name="T57" fmla="*/ 0 h 507"/>
                <a:gd name="T58" fmla="*/ 1053 w 1308"/>
                <a:gd name="T59" fmla="*/ 0 h 507"/>
                <a:gd name="T60" fmla="*/ 1047 w 1308"/>
                <a:gd name="T61" fmla="*/ 0 h 507"/>
                <a:gd name="T62" fmla="*/ 489 w 1308"/>
                <a:gd name="T63" fmla="*/ 89 h 507"/>
                <a:gd name="T64" fmla="*/ 262 w 1308"/>
                <a:gd name="T65" fmla="*/ 0 h 507"/>
                <a:gd name="T66" fmla="*/ 254 w 1308"/>
                <a:gd name="T67" fmla="*/ 0 h 507"/>
                <a:gd name="T68" fmla="*/ 241 w 1308"/>
                <a:gd name="T69" fmla="*/ 0 h 507"/>
                <a:gd name="T70" fmla="*/ 234 w 1308"/>
                <a:gd name="T71" fmla="*/ 1 h 507"/>
                <a:gd name="T72" fmla="*/ 222 w 1308"/>
                <a:gd name="T73" fmla="*/ 2 h 507"/>
                <a:gd name="T74" fmla="*/ 215 w 1308"/>
                <a:gd name="T75" fmla="*/ 3 h 507"/>
                <a:gd name="T76" fmla="*/ 203 w 1308"/>
                <a:gd name="T77" fmla="*/ 5 h 507"/>
                <a:gd name="T78" fmla="*/ 197 w 1308"/>
                <a:gd name="T79" fmla="*/ 6 h 507"/>
                <a:gd name="T80" fmla="*/ 185 w 1308"/>
                <a:gd name="T81" fmla="*/ 9 h 507"/>
                <a:gd name="T82" fmla="*/ 173 w 1308"/>
                <a:gd name="T83" fmla="*/ 13 h 507"/>
                <a:gd name="T84" fmla="*/ 5 w 1308"/>
                <a:gd name="T85" fmla="*/ 201 h 507"/>
                <a:gd name="T86" fmla="*/ 4 w 1308"/>
                <a:gd name="T87" fmla="*/ 208 h 507"/>
                <a:gd name="T88" fmla="*/ 1 w 1308"/>
                <a:gd name="T89" fmla="*/ 227 h 507"/>
                <a:gd name="T90" fmla="*/ 0 w 1308"/>
                <a:gd name="T91" fmla="*/ 234 h 507"/>
                <a:gd name="T92" fmla="*/ 0 w 1308"/>
                <a:gd name="T93" fmla="*/ 254 h 507"/>
                <a:gd name="T94" fmla="*/ 0 w 1308"/>
                <a:gd name="T95" fmla="*/ 260 h 507"/>
                <a:gd name="T96" fmla="*/ 1 w 1308"/>
                <a:gd name="T97" fmla="*/ 280 h 507"/>
                <a:gd name="T98" fmla="*/ 3 w 1308"/>
                <a:gd name="T99" fmla="*/ 293 h 507"/>
                <a:gd name="T100" fmla="*/ 5 w 1308"/>
                <a:gd name="T101" fmla="*/ 306 h 507"/>
                <a:gd name="T102" fmla="*/ 9 w 1308"/>
                <a:gd name="T103" fmla="*/ 324 h 507"/>
                <a:gd name="T104" fmla="*/ 185 w 1308"/>
                <a:gd name="T105" fmla="*/ 498 h 507"/>
                <a:gd name="T106" fmla="*/ 191 w 1308"/>
                <a:gd name="T107" fmla="*/ 500 h 507"/>
                <a:gd name="T108" fmla="*/ 203 w 1308"/>
                <a:gd name="T109" fmla="*/ 503 h 507"/>
                <a:gd name="T110" fmla="*/ 209 w 1308"/>
                <a:gd name="T111" fmla="*/ 504 h 507"/>
                <a:gd name="T112" fmla="*/ 222 w 1308"/>
                <a:gd name="T113" fmla="*/ 506 h 507"/>
                <a:gd name="T114" fmla="*/ 228 w 1308"/>
                <a:gd name="T115" fmla="*/ 506 h 507"/>
                <a:gd name="T116" fmla="*/ 241 w 1308"/>
                <a:gd name="T117" fmla="*/ 507 h 507"/>
                <a:gd name="T118" fmla="*/ 247 w 1308"/>
                <a:gd name="T119" fmla="*/ 507 h 507"/>
                <a:gd name="T120" fmla="*/ 254 w 1308"/>
                <a:gd name="T121" fmla="*/ 507 h 507"/>
                <a:gd name="T122" fmla="*/ 268 w 1308"/>
                <a:gd name="T123" fmla="*/ 507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308" h="507">
                  <a:moveTo>
                    <a:pt x="489" y="418"/>
                  </a:moveTo>
                  <a:cubicBezTo>
                    <a:pt x="533" y="400"/>
                    <a:pt x="584" y="387"/>
                    <a:pt x="652" y="386"/>
                  </a:cubicBezTo>
                  <a:cubicBezTo>
                    <a:pt x="722" y="386"/>
                    <a:pt x="775" y="400"/>
                    <a:pt x="820" y="419"/>
                  </a:cubicBezTo>
                  <a:cubicBezTo>
                    <a:pt x="896" y="454"/>
                    <a:pt x="950" y="502"/>
                    <a:pt x="1039" y="507"/>
                  </a:cubicBezTo>
                  <a:cubicBezTo>
                    <a:pt x="1041" y="507"/>
                    <a:pt x="1043" y="507"/>
                    <a:pt x="1044" y="507"/>
                  </a:cubicBezTo>
                  <a:cubicBezTo>
                    <a:pt x="1046" y="507"/>
                    <a:pt x="1046" y="507"/>
                    <a:pt x="1046" y="507"/>
                  </a:cubicBezTo>
                  <a:cubicBezTo>
                    <a:pt x="1049" y="507"/>
                    <a:pt x="1052" y="507"/>
                    <a:pt x="1054" y="507"/>
                  </a:cubicBezTo>
                  <a:cubicBezTo>
                    <a:pt x="1055" y="507"/>
                    <a:pt x="1055" y="507"/>
                    <a:pt x="1055" y="507"/>
                  </a:cubicBezTo>
                  <a:cubicBezTo>
                    <a:pt x="1055" y="507"/>
                    <a:pt x="1055" y="507"/>
                    <a:pt x="1055" y="507"/>
                  </a:cubicBezTo>
                  <a:cubicBezTo>
                    <a:pt x="1057" y="507"/>
                    <a:pt x="1059" y="507"/>
                    <a:pt x="1061" y="507"/>
                  </a:cubicBezTo>
                  <a:cubicBezTo>
                    <a:pt x="1061" y="507"/>
                    <a:pt x="1061" y="507"/>
                    <a:pt x="1061" y="507"/>
                  </a:cubicBezTo>
                  <a:cubicBezTo>
                    <a:pt x="1063" y="507"/>
                    <a:pt x="1065" y="507"/>
                    <a:pt x="1067" y="507"/>
                  </a:cubicBezTo>
                  <a:cubicBezTo>
                    <a:pt x="1067" y="507"/>
                    <a:pt x="1067" y="507"/>
                    <a:pt x="1067" y="507"/>
                  </a:cubicBezTo>
                  <a:cubicBezTo>
                    <a:pt x="1069" y="507"/>
                    <a:pt x="1072" y="507"/>
                    <a:pt x="1074" y="507"/>
                  </a:cubicBezTo>
                  <a:cubicBezTo>
                    <a:pt x="1074" y="507"/>
                    <a:pt x="1074" y="507"/>
                    <a:pt x="1074" y="507"/>
                  </a:cubicBezTo>
                  <a:cubicBezTo>
                    <a:pt x="1076" y="507"/>
                    <a:pt x="1078" y="506"/>
                    <a:pt x="1080" y="506"/>
                  </a:cubicBezTo>
                  <a:cubicBezTo>
                    <a:pt x="1080" y="506"/>
                    <a:pt x="1080" y="506"/>
                    <a:pt x="1080" y="506"/>
                  </a:cubicBezTo>
                  <a:cubicBezTo>
                    <a:pt x="1082" y="506"/>
                    <a:pt x="1084" y="506"/>
                    <a:pt x="1086" y="506"/>
                  </a:cubicBezTo>
                  <a:cubicBezTo>
                    <a:pt x="1086" y="506"/>
                    <a:pt x="1086" y="506"/>
                    <a:pt x="1086" y="506"/>
                  </a:cubicBezTo>
                  <a:cubicBezTo>
                    <a:pt x="1088" y="505"/>
                    <a:pt x="1091" y="505"/>
                    <a:pt x="1093" y="505"/>
                  </a:cubicBezTo>
                  <a:cubicBezTo>
                    <a:pt x="1093" y="505"/>
                    <a:pt x="1093" y="505"/>
                    <a:pt x="1093" y="505"/>
                  </a:cubicBezTo>
                  <a:cubicBezTo>
                    <a:pt x="1095" y="504"/>
                    <a:pt x="1097" y="504"/>
                    <a:pt x="1099" y="504"/>
                  </a:cubicBezTo>
                  <a:cubicBezTo>
                    <a:pt x="1099" y="504"/>
                    <a:pt x="1099" y="504"/>
                    <a:pt x="1099" y="504"/>
                  </a:cubicBezTo>
                  <a:cubicBezTo>
                    <a:pt x="1101" y="503"/>
                    <a:pt x="1103" y="503"/>
                    <a:pt x="1105" y="503"/>
                  </a:cubicBezTo>
                  <a:cubicBezTo>
                    <a:pt x="1105" y="503"/>
                    <a:pt x="1105" y="503"/>
                    <a:pt x="1105" y="503"/>
                  </a:cubicBezTo>
                  <a:cubicBezTo>
                    <a:pt x="1107" y="502"/>
                    <a:pt x="1109" y="502"/>
                    <a:pt x="1111" y="501"/>
                  </a:cubicBezTo>
                  <a:cubicBezTo>
                    <a:pt x="1111" y="501"/>
                    <a:pt x="1111" y="501"/>
                    <a:pt x="1111" y="501"/>
                  </a:cubicBezTo>
                  <a:cubicBezTo>
                    <a:pt x="1113" y="501"/>
                    <a:pt x="1115" y="500"/>
                    <a:pt x="1117" y="500"/>
                  </a:cubicBezTo>
                  <a:cubicBezTo>
                    <a:pt x="1117" y="500"/>
                    <a:pt x="1117" y="500"/>
                    <a:pt x="1117" y="500"/>
                  </a:cubicBezTo>
                  <a:cubicBezTo>
                    <a:pt x="1119" y="499"/>
                    <a:pt x="1121" y="499"/>
                    <a:pt x="1123" y="498"/>
                  </a:cubicBezTo>
                  <a:cubicBezTo>
                    <a:pt x="1123" y="498"/>
                    <a:pt x="1123" y="498"/>
                    <a:pt x="1123" y="498"/>
                  </a:cubicBezTo>
                  <a:cubicBezTo>
                    <a:pt x="1127" y="497"/>
                    <a:pt x="1131" y="496"/>
                    <a:pt x="1135" y="495"/>
                  </a:cubicBezTo>
                  <a:cubicBezTo>
                    <a:pt x="1135" y="495"/>
                    <a:pt x="1135" y="495"/>
                    <a:pt x="1135" y="495"/>
                  </a:cubicBezTo>
                  <a:cubicBezTo>
                    <a:pt x="1213" y="468"/>
                    <a:pt x="1275" y="406"/>
                    <a:pt x="1299" y="324"/>
                  </a:cubicBezTo>
                  <a:cubicBezTo>
                    <a:pt x="1299" y="324"/>
                    <a:pt x="1299" y="324"/>
                    <a:pt x="1299" y="324"/>
                  </a:cubicBezTo>
                  <a:cubicBezTo>
                    <a:pt x="1300" y="318"/>
                    <a:pt x="1302" y="312"/>
                    <a:pt x="1303" y="306"/>
                  </a:cubicBezTo>
                  <a:cubicBezTo>
                    <a:pt x="1303" y="306"/>
                    <a:pt x="1303" y="306"/>
                    <a:pt x="1303" y="306"/>
                  </a:cubicBezTo>
                  <a:cubicBezTo>
                    <a:pt x="1304" y="304"/>
                    <a:pt x="1304" y="302"/>
                    <a:pt x="1304" y="300"/>
                  </a:cubicBezTo>
                  <a:cubicBezTo>
                    <a:pt x="1304" y="300"/>
                    <a:pt x="1304" y="300"/>
                    <a:pt x="1304" y="300"/>
                  </a:cubicBezTo>
                  <a:cubicBezTo>
                    <a:pt x="1305" y="297"/>
                    <a:pt x="1305" y="295"/>
                    <a:pt x="1305" y="293"/>
                  </a:cubicBezTo>
                  <a:cubicBezTo>
                    <a:pt x="1305" y="293"/>
                    <a:pt x="1305" y="293"/>
                    <a:pt x="1305" y="293"/>
                  </a:cubicBezTo>
                  <a:cubicBezTo>
                    <a:pt x="1306" y="289"/>
                    <a:pt x="1307" y="285"/>
                    <a:pt x="1307" y="280"/>
                  </a:cubicBezTo>
                  <a:cubicBezTo>
                    <a:pt x="1307" y="280"/>
                    <a:pt x="1307" y="280"/>
                    <a:pt x="1307" y="280"/>
                  </a:cubicBezTo>
                  <a:cubicBezTo>
                    <a:pt x="1307" y="278"/>
                    <a:pt x="1307" y="276"/>
                    <a:pt x="1308" y="274"/>
                  </a:cubicBezTo>
                  <a:cubicBezTo>
                    <a:pt x="1308" y="274"/>
                    <a:pt x="1308" y="274"/>
                    <a:pt x="1308" y="274"/>
                  </a:cubicBezTo>
                  <a:cubicBezTo>
                    <a:pt x="1308" y="269"/>
                    <a:pt x="1308" y="265"/>
                    <a:pt x="1308" y="260"/>
                  </a:cubicBezTo>
                  <a:cubicBezTo>
                    <a:pt x="1308" y="260"/>
                    <a:pt x="1308" y="260"/>
                    <a:pt x="1308" y="260"/>
                  </a:cubicBezTo>
                  <a:cubicBezTo>
                    <a:pt x="1308" y="258"/>
                    <a:pt x="1308" y="256"/>
                    <a:pt x="1308" y="254"/>
                  </a:cubicBezTo>
                  <a:cubicBezTo>
                    <a:pt x="1308" y="254"/>
                    <a:pt x="1308" y="254"/>
                    <a:pt x="1308" y="254"/>
                  </a:cubicBezTo>
                  <a:cubicBezTo>
                    <a:pt x="1308" y="251"/>
                    <a:pt x="1308" y="249"/>
                    <a:pt x="1308" y="247"/>
                  </a:cubicBezTo>
                  <a:cubicBezTo>
                    <a:pt x="1308" y="247"/>
                    <a:pt x="1308" y="247"/>
                    <a:pt x="1308" y="247"/>
                  </a:cubicBezTo>
                  <a:cubicBezTo>
                    <a:pt x="1308" y="243"/>
                    <a:pt x="1308" y="238"/>
                    <a:pt x="1308" y="234"/>
                  </a:cubicBezTo>
                  <a:cubicBezTo>
                    <a:pt x="1308" y="234"/>
                    <a:pt x="1308" y="234"/>
                    <a:pt x="1308" y="234"/>
                  </a:cubicBezTo>
                  <a:cubicBezTo>
                    <a:pt x="1307" y="231"/>
                    <a:pt x="1307" y="229"/>
                    <a:pt x="1307" y="227"/>
                  </a:cubicBezTo>
                  <a:cubicBezTo>
                    <a:pt x="1307" y="227"/>
                    <a:pt x="1307" y="227"/>
                    <a:pt x="1307" y="227"/>
                  </a:cubicBezTo>
                  <a:cubicBezTo>
                    <a:pt x="1307" y="223"/>
                    <a:pt x="1306" y="218"/>
                    <a:pt x="1305" y="214"/>
                  </a:cubicBezTo>
                  <a:cubicBezTo>
                    <a:pt x="1305" y="214"/>
                    <a:pt x="1305" y="214"/>
                    <a:pt x="1305" y="214"/>
                  </a:cubicBezTo>
                  <a:cubicBezTo>
                    <a:pt x="1305" y="212"/>
                    <a:pt x="1305" y="210"/>
                    <a:pt x="1304" y="208"/>
                  </a:cubicBezTo>
                  <a:cubicBezTo>
                    <a:pt x="1304" y="208"/>
                    <a:pt x="1304" y="208"/>
                    <a:pt x="1304" y="208"/>
                  </a:cubicBezTo>
                  <a:cubicBezTo>
                    <a:pt x="1304" y="206"/>
                    <a:pt x="1304" y="204"/>
                    <a:pt x="1303" y="201"/>
                  </a:cubicBezTo>
                  <a:cubicBezTo>
                    <a:pt x="1303" y="201"/>
                    <a:pt x="1303" y="201"/>
                    <a:pt x="1303" y="201"/>
                  </a:cubicBezTo>
                  <a:cubicBezTo>
                    <a:pt x="1302" y="195"/>
                    <a:pt x="1300" y="189"/>
                    <a:pt x="1299" y="183"/>
                  </a:cubicBezTo>
                  <a:cubicBezTo>
                    <a:pt x="1299" y="183"/>
                    <a:pt x="1299" y="183"/>
                    <a:pt x="1299" y="183"/>
                  </a:cubicBezTo>
                  <a:cubicBezTo>
                    <a:pt x="1275" y="102"/>
                    <a:pt x="1213" y="39"/>
                    <a:pt x="1135" y="13"/>
                  </a:cubicBezTo>
                  <a:cubicBezTo>
                    <a:pt x="1135" y="13"/>
                    <a:pt x="1135" y="13"/>
                    <a:pt x="1135" y="13"/>
                  </a:cubicBezTo>
                  <a:cubicBezTo>
                    <a:pt x="1131" y="11"/>
                    <a:pt x="1127" y="10"/>
                    <a:pt x="1123" y="9"/>
                  </a:cubicBezTo>
                  <a:cubicBezTo>
                    <a:pt x="1123" y="9"/>
                    <a:pt x="1123" y="9"/>
                    <a:pt x="1123" y="9"/>
                  </a:cubicBezTo>
                  <a:cubicBezTo>
                    <a:pt x="1121" y="9"/>
                    <a:pt x="1119" y="8"/>
                    <a:pt x="1117" y="7"/>
                  </a:cubicBezTo>
                  <a:cubicBezTo>
                    <a:pt x="1117" y="7"/>
                    <a:pt x="1117" y="7"/>
                    <a:pt x="1117" y="7"/>
                  </a:cubicBezTo>
                  <a:cubicBezTo>
                    <a:pt x="1115" y="7"/>
                    <a:pt x="1113" y="7"/>
                    <a:pt x="1111" y="6"/>
                  </a:cubicBezTo>
                  <a:cubicBezTo>
                    <a:pt x="1111" y="6"/>
                    <a:pt x="1111" y="6"/>
                    <a:pt x="1111" y="6"/>
                  </a:cubicBezTo>
                  <a:cubicBezTo>
                    <a:pt x="1109" y="6"/>
                    <a:pt x="1107" y="5"/>
                    <a:pt x="1105" y="5"/>
                  </a:cubicBezTo>
                  <a:cubicBezTo>
                    <a:pt x="1105" y="5"/>
                    <a:pt x="1105" y="5"/>
                    <a:pt x="1105" y="5"/>
                  </a:cubicBezTo>
                  <a:cubicBezTo>
                    <a:pt x="1103" y="4"/>
                    <a:pt x="1101" y="4"/>
                    <a:pt x="1099" y="4"/>
                  </a:cubicBezTo>
                  <a:cubicBezTo>
                    <a:pt x="1099" y="4"/>
                    <a:pt x="1099" y="4"/>
                    <a:pt x="1099" y="4"/>
                  </a:cubicBezTo>
                  <a:cubicBezTo>
                    <a:pt x="1097" y="3"/>
                    <a:pt x="1095" y="3"/>
                    <a:pt x="1093" y="3"/>
                  </a:cubicBezTo>
                  <a:cubicBezTo>
                    <a:pt x="1093" y="3"/>
                    <a:pt x="1093" y="3"/>
                    <a:pt x="1093" y="3"/>
                  </a:cubicBezTo>
                  <a:cubicBezTo>
                    <a:pt x="1091" y="2"/>
                    <a:pt x="1088" y="2"/>
                    <a:pt x="1086" y="2"/>
                  </a:cubicBezTo>
                  <a:cubicBezTo>
                    <a:pt x="1086" y="2"/>
                    <a:pt x="1086" y="2"/>
                    <a:pt x="1086" y="2"/>
                  </a:cubicBezTo>
                  <a:cubicBezTo>
                    <a:pt x="1084" y="1"/>
                    <a:pt x="1082" y="1"/>
                    <a:pt x="1080" y="1"/>
                  </a:cubicBezTo>
                  <a:cubicBezTo>
                    <a:pt x="1080" y="1"/>
                    <a:pt x="1080" y="1"/>
                    <a:pt x="1080" y="1"/>
                  </a:cubicBezTo>
                  <a:cubicBezTo>
                    <a:pt x="1078" y="1"/>
                    <a:pt x="1076" y="1"/>
                    <a:pt x="1074" y="1"/>
                  </a:cubicBezTo>
                  <a:cubicBezTo>
                    <a:pt x="1074" y="1"/>
                    <a:pt x="1074" y="1"/>
                    <a:pt x="1074" y="1"/>
                  </a:cubicBezTo>
                  <a:cubicBezTo>
                    <a:pt x="1072" y="0"/>
                    <a:pt x="1069" y="0"/>
                    <a:pt x="1067" y="0"/>
                  </a:cubicBezTo>
                  <a:cubicBezTo>
                    <a:pt x="1067" y="0"/>
                    <a:pt x="1067" y="0"/>
                    <a:pt x="1067" y="0"/>
                  </a:cubicBezTo>
                  <a:cubicBezTo>
                    <a:pt x="1065" y="0"/>
                    <a:pt x="1063" y="0"/>
                    <a:pt x="1061" y="0"/>
                  </a:cubicBezTo>
                  <a:cubicBezTo>
                    <a:pt x="1061" y="0"/>
                    <a:pt x="1061" y="0"/>
                    <a:pt x="1061" y="0"/>
                  </a:cubicBezTo>
                  <a:cubicBezTo>
                    <a:pt x="1059" y="0"/>
                    <a:pt x="1057" y="0"/>
                    <a:pt x="1055" y="0"/>
                  </a:cubicBezTo>
                  <a:cubicBezTo>
                    <a:pt x="1055" y="0"/>
                    <a:pt x="1055" y="0"/>
                    <a:pt x="1055" y="0"/>
                  </a:cubicBezTo>
                  <a:cubicBezTo>
                    <a:pt x="1053" y="0"/>
                    <a:pt x="1053" y="0"/>
                    <a:pt x="1053" y="0"/>
                  </a:cubicBezTo>
                  <a:cubicBezTo>
                    <a:pt x="1052" y="0"/>
                    <a:pt x="1051" y="0"/>
                    <a:pt x="1051" y="0"/>
                  </a:cubicBezTo>
                  <a:cubicBezTo>
                    <a:pt x="1050" y="0"/>
                    <a:pt x="1048" y="0"/>
                    <a:pt x="1047" y="0"/>
                  </a:cubicBezTo>
                  <a:cubicBezTo>
                    <a:pt x="1047" y="0"/>
                    <a:pt x="1047" y="0"/>
                    <a:pt x="1047" y="0"/>
                  </a:cubicBezTo>
                  <a:cubicBezTo>
                    <a:pt x="953" y="2"/>
                    <a:pt x="898" y="53"/>
                    <a:pt x="820" y="88"/>
                  </a:cubicBezTo>
                  <a:cubicBezTo>
                    <a:pt x="775" y="107"/>
                    <a:pt x="723" y="121"/>
                    <a:pt x="653" y="122"/>
                  </a:cubicBezTo>
                  <a:cubicBezTo>
                    <a:pt x="585" y="121"/>
                    <a:pt x="533" y="107"/>
                    <a:pt x="489" y="89"/>
                  </a:cubicBezTo>
                  <a:cubicBezTo>
                    <a:pt x="412" y="54"/>
                    <a:pt x="359" y="5"/>
                    <a:pt x="268" y="0"/>
                  </a:cubicBezTo>
                  <a:cubicBezTo>
                    <a:pt x="267" y="0"/>
                    <a:pt x="265" y="0"/>
                    <a:pt x="264" y="0"/>
                  </a:cubicBezTo>
                  <a:cubicBezTo>
                    <a:pt x="262" y="0"/>
                    <a:pt x="262" y="0"/>
                    <a:pt x="262" y="0"/>
                  </a:cubicBezTo>
                  <a:cubicBezTo>
                    <a:pt x="259" y="0"/>
                    <a:pt x="256" y="0"/>
                    <a:pt x="254" y="0"/>
                  </a:cubicBezTo>
                  <a:cubicBezTo>
                    <a:pt x="254" y="0"/>
                    <a:pt x="254" y="0"/>
                    <a:pt x="254" y="0"/>
                  </a:cubicBezTo>
                  <a:cubicBezTo>
                    <a:pt x="254" y="0"/>
                    <a:pt x="254" y="0"/>
                    <a:pt x="254" y="0"/>
                  </a:cubicBezTo>
                  <a:cubicBezTo>
                    <a:pt x="251" y="0"/>
                    <a:pt x="249" y="0"/>
                    <a:pt x="247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45" y="0"/>
                    <a:pt x="243" y="0"/>
                    <a:pt x="241" y="0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239" y="0"/>
                    <a:pt x="236" y="0"/>
                    <a:pt x="234" y="1"/>
                  </a:cubicBezTo>
                  <a:cubicBezTo>
                    <a:pt x="234" y="1"/>
                    <a:pt x="234" y="1"/>
                    <a:pt x="234" y="1"/>
                  </a:cubicBezTo>
                  <a:cubicBezTo>
                    <a:pt x="232" y="1"/>
                    <a:pt x="230" y="1"/>
                    <a:pt x="228" y="1"/>
                  </a:cubicBezTo>
                  <a:cubicBezTo>
                    <a:pt x="228" y="1"/>
                    <a:pt x="228" y="1"/>
                    <a:pt x="228" y="1"/>
                  </a:cubicBezTo>
                  <a:cubicBezTo>
                    <a:pt x="226" y="1"/>
                    <a:pt x="224" y="1"/>
                    <a:pt x="222" y="2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20" y="2"/>
                    <a:pt x="218" y="2"/>
                    <a:pt x="215" y="3"/>
                  </a:cubicBezTo>
                  <a:cubicBezTo>
                    <a:pt x="215" y="3"/>
                    <a:pt x="215" y="3"/>
                    <a:pt x="215" y="3"/>
                  </a:cubicBezTo>
                  <a:cubicBezTo>
                    <a:pt x="213" y="3"/>
                    <a:pt x="211" y="3"/>
                    <a:pt x="209" y="4"/>
                  </a:cubicBezTo>
                  <a:cubicBezTo>
                    <a:pt x="209" y="4"/>
                    <a:pt x="209" y="4"/>
                    <a:pt x="209" y="4"/>
                  </a:cubicBezTo>
                  <a:cubicBezTo>
                    <a:pt x="207" y="4"/>
                    <a:pt x="205" y="4"/>
                    <a:pt x="203" y="5"/>
                  </a:cubicBezTo>
                  <a:cubicBezTo>
                    <a:pt x="203" y="5"/>
                    <a:pt x="203" y="5"/>
                    <a:pt x="203" y="5"/>
                  </a:cubicBezTo>
                  <a:cubicBezTo>
                    <a:pt x="201" y="5"/>
                    <a:pt x="199" y="6"/>
                    <a:pt x="197" y="6"/>
                  </a:cubicBezTo>
                  <a:cubicBezTo>
                    <a:pt x="197" y="6"/>
                    <a:pt x="197" y="6"/>
                    <a:pt x="197" y="6"/>
                  </a:cubicBezTo>
                  <a:cubicBezTo>
                    <a:pt x="195" y="7"/>
                    <a:pt x="193" y="7"/>
                    <a:pt x="191" y="7"/>
                  </a:cubicBezTo>
                  <a:cubicBezTo>
                    <a:pt x="191" y="7"/>
                    <a:pt x="191" y="7"/>
                    <a:pt x="191" y="7"/>
                  </a:cubicBezTo>
                  <a:cubicBezTo>
                    <a:pt x="189" y="8"/>
                    <a:pt x="187" y="9"/>
                    <a:pt x="185" y="9"/>
                  </a:cubicBezTo>
                  <a:cubicBezTo>
                    <a:pt x="185" y="9"/>
                    <a:pt x="185" y="9"/>
                    <a:pt x="185" y="9"/>
                  </a:cubicBezTo>
                  <a:cubicBezTo>
                    <a:pt x="181" y="10"/>
                    <a:pt x="177" y="11"/>
                    <a:pt x="173" y="13"/>
                  </a:cubicBezTo>
                  <a:cubicBezTo>
                    <a:pt x="173" y="13"/>
                    <a:pt x="173" y="13"/>
                    <a:pt x="173" y="13"/>
                  </a:cubicBezTo>
                  <a:cubicBezTo>
                    <a:pt x="95" y="39"/>
                    <a:pt x="33" y="102"/>
                    <a:pt x="9" y="183"/>
                  </a:cubicBezTo>
                  <a:cubicBezTo>
                    <a:pt x="9" y="183"/>
                    <a:pt x="9" y="183"/>
                    <a:pt x="9" y="183"/>
                  </a:cubicBezTo>
                  <a:cubicBezTo>
                    <a:pt x="8" y="189"/>
                    <a:pt x="6" y="195"/>
                    <a:pt x="5" y="201"/>
                  </a:cubicBezTo>
                  <a:cubicBezTo>
                    <a:pt x="5" y="201"/>
                    <a:pt x="5" y="201"/>
                    <a:pt x="5" y="201"/>
                  </a:cubicBezTo>
                  <a:cubicBezTo>
                    <a:pt x="4" y="204"/>
                    <a:pt x="4" y="206"/>
                    <a:pt x="4" y="208"/>
                  </a:cubicBezTo>
                  <a:cubicBezTo>
                    <a:pt x="4" y="208"/>
                    <a:pt x="4" y="208"/>
                    <a:pt x="4" y="208"/>
                  </a:cubicBezTo>
                  <a:cubicBezTo>
                    <a:pt x="3" y="210"/>
                    <a:pt x="3" y="212"/>
                    <a:pt x="3" y="214"/>
                  </a:cubicBezTo>
                  <a:cubicBezTo>
                    <a:pt x="3" y="214"/>
                    <a:pt x="3" y="214"/>
                    <a:pt x="3" y="214"/>
                  </a:cubicBezTo>
                  <a:cubicBezTo>
                    <a:pt x="2" y="218"/>
                    <a:pt x="1" y="223"/>
                    <a:pt x="1" y="227"/>
                  </a:cubicBezTo>
                  <a:cubicBezTo>
                    <a:pt x="1" y="227"/>
                    <a:pt x="1" y="227"/>
                    <a:pt x="1" y="227"/>
                  </a:cubicBezTo>
                  <a:cubicBezTo>
                    <a:pt x="1" y="229"/>
                    <a:pt x="1" y="231"/>
                    <a:pt x="0" y="234"/>
                  </a:cubicBezTo>
                  <a:cubicBezTo>
                    <a:pt x="0" y="234"/>
                    <a:pt x="0" y="234"/>
                    <a:pt x="0" y="234"/>
                  </a:cubicBezTo>
                  <a:cubicBezTo>
                    <a:pt x="0" y="238"/>
                    <a:pt x="0" y="243"/>
                    <a:pt x="0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49"/>
                    <a:pt x="0" y="251"/>
                    <a:pt x="0" y="254"/>
                  </a:cubicBezTo>
                  <a:cubicBezTo>
                    <a:pt x="0" y="254"/>
                    <a:pt x="0" y="254"/>
                    <a:pt x="0" y="254"/>
                  </a:cubicBezTo>
                  <a:cubicBezTo>
                    <a:pt x="0" y="256"/>
                    <a:pt x="0" y="258"/>
                    <a:pt x="0" y="260"/>
                  </a:cubicBezTo>
                  <a:cubicBezTo>
                    <a:pt x="0" y="260"/>
                    <a:pt x="0" y="260"/>
                    <a:pt x="0" y="260"/>
                  </a:cubicBezTo>
                  <a:cubicBezTo>
                    <a:pt x="0" y="265"/>
                    <a:pt x="0" y="269"/>
                    <a:pt x="0" y="274"/>
                  </a:cubicBezTo>
                  <a:cubicBezTo>
                    <a:pt x="0" y="274"/>
                    <a:pt x="0" y="274"/>
                    <a:pt x="0" y="274"/>
                  </a:cubicBezTo>
                  <a:cubicBezTo>
                    <a:pt x="1" y="276"/>
                    <a:pt x="1" y="278"/>
                    <a:pt x="1" y="280"/>
                  </a:cubicBezTo>
                  <a:cubicBezTo>
                    <a:pt x="1" y="280"/>
                    <a:pt x="1" y="280"/>
                    <a:pt x="1" y="280"/>
                  </a:cubicBezTo>
                  <a:cubicBezTo>
                    <a:pt x="1" y="285"/>
                    <a:pt x="2" y="289"/>
                    <a:pt x="3" y="293"/>
                  </a:cubicBezTo>
                  <a:cubicBezTo>
                    <a:pt x="3" y="293"/>
                    <a:pt x="3" y="293"/>
                    <a:pt x="3" y="293"/>
                  </a:cubicBezTo>
                  <a:cubicBezTo>
                    <a:pt x="3" y="295"/>
                    <a:pt x="3" y="297"/>
                    <a:pt x="4" y="300"/>
                  </a:cubicBezTo>
                  <a:cubicBezTo>
                    <a:pt x="4" y="300"/>
                    <a:pt x="4" y="300"/>
                    <a:pt x="4" y="300"/>
                  </a:cubicBezTo>
                  <a:cubicBezTo>
                    <a:pt x="4" y="302"/>
                    <a:pt x="4" y="304"/>
                    <a:pt x="5" y="306"/>
                  </a:cubicBezTo>
                  <a:cubicBezTo>
                    <a:pt x="5" y="306"/>
                    <a:pt x="5" y="306"/>
                    <a:pt x="5" y="306"/>
                  </a:cubicBezTo>
                  <a:cubicBezTo>
                    <a:pt x="6" y="312"/>
                    <a:pt x="8" y="318"/>
                    <a:pt x="9" y="324"/>
                  </a:cubicBezTo>
                  <a:cubicBezTo>
                    <a:pt x="9" y="324"/>
                    <a:pt x="9" y="324"/>
                    <a:pt x="9" y="324"/>
                  </a:cubicBezTo>
                  <a:cubicBezTo>
                    <a:pt x="33" y="406"/>
                    <a:pt x="95" y="468"/>
                    <a:pt x="173" y="495"/>
                  </a:cubicBezTo>
                  <a:cubicBezTo>
                    <a:pt x="173" y="495"/>
                    <a:pt x="173" y="495"/>
                    <a:pt x="173" y="495"/>
                  </a:cubicBezTo>
                  <a:cubicBezTo>
                    <a:pt x="177" y="496"/>
                    <a:pt x="181" y="497"/>
                    <a:pt x="185" y="498"/>
                  </a:cubicBezTo>
                  <a:cubicBezTo>
                    <a:pt x="185" y="498"/>
                    <a:pt x="185" y="498"/>
                    <a:pt x="185" y="498"/>
                  </a:cubicBezTo>
                  <a:cubicBezTo>
                    <a:pt x="187" y="499"/>
                    <a:pt x="189" y="499"/>
                    <a:pt x="191" y="500"/>
                  </a:cubicBezTo>
                  <a:cubicBezTo>
                    <a:pt x="191" y="500"/>
                    <a:pt x="191" y="500"/>
                    <a:pt x="191" y="500"/>
                  </a:cubicBezTo>
                  <a:cubicBezTo>
                    <a:pt x="193" y="500"/>
                    <a:pt x="195" y="501"/>
                    <a:pt x="197" y="501"/>
                  </a:cubicBezTo>
                  <a:cubicBezTo>
                    <a:pt x="197" y="501"/>
                    <a:pt x="197" y="501"/>
                    <a:pt x="197" y="501"/>
                  </a:cubicBezTo>
                  <a:cubicBezTo>
                    <a:pt x="199" y="502"/>
                    <a:pt x="201" y="502"/>
                    <a:pt x="203" y="503"/>
                  </a:cubicBezTo>
                  <a:cubicBezTo>
                    <a:pt x="203" y="503"/>
                    <a:pt x="203" y="503"/>
                    <a:pt x="203" y="503"/>
                  </a:cubicBezTo>
                  <a:cubicBezTo>
                    <a:pt x="205" y="503"/>
                    <a:pt x="207" y="503"/>
                    <a:pt x="209" y="504"/>
                  </a:cubicBezTo>
                  <a:cubicBezTo>
                    <a:pt x="209" y="504"/>
                    <a:pt x="209" y="504"/>
                    <a:pt x="209" y="504"/>
                  </a:cubicBezTo>
                  <a:cubicBezTo>
                    <a:pt x="211" y="504"/>
                    <a:pt x="213" y="504"/>
                    <a:pt x="215" y="505"/>
                  </a:cubicBezTo>
                  <a:cubicBezTo>
                    <a:pt x="215" y="505"/>
                    <a:pt x="215" y="505"/>
                    <a:pt x="215" y="505"/>
                  </a:cubicBezTo>
                  <a:cubicBezTo>
                    <a:pt x="218" y="505"/>
                    <a:pt x="220" y="505"/>
                    <a:pt x="222" y="506"/>
                  </a:cubicBezTo>
                  <a:cubicBezTo>
                    <a:pt x="222" y="506"/>
                    <a:pt x="222" y="506"/>
                    <a:pt x="222" y="506"/>
                  </a:cubicBezTo>
                  <a:cubicBezTo>
                    <a:pt x="224" y="506"/>
                    <a:pt x="226" y="506"/>
                    <a:pt x="228" y="506"/>
                  </a:cubicBezTo>
                  <a:cubicBezTo>
                    <a:pt x="228" y="506"/>
                    <a:pt x="228" y="506"/>
                    <a:pt x="228" y="506"/>
                  </a:cubicBezTo>
                  <a:cubicBezTo>
                    <a:pt x="230" y="506"/>
                    <a:pt x="232" y="507"/>
                    <a:pt x="234" y="507"/>
                  </a:cubicBezTo>
                  <a:cubicBezTo>
                    <a:pt x="234" y="507"/>
                    <a:pt x="234" y="507"/>
                    <a:pt x="234" y="507"/>
                  </a:cubicBezTo>
                  <a:cubicBezTo>
                    <a:pt x="236" y="507"/>
                    <a:pt x="239" y="507"/>
                    <a:pt x="241" y="507"/>
                  </a:cubicBezTo>
                  <a:cubicBezTo>
                    <a:pt x="241" y="507"/>
                    <a:pt x="241" y="507"/>
                    <a:pt x="241" y="507"/>
                  </a:cubicBezTo>
                  <a:cubicBezTo>
                    <a:pt x="243" y="507"/>
                    <a:pt x="245" y="507"/>
                    <a:pt x="247" y="507"/>
                  </a:cubicBezTo>
                  <a:cubicBezTo>
                    <a:pt x="247" y="507"/>
                    <a:pt x="247" y="507"/>
                    <a:pt x="247" y="507"/>
                  </a:cubicBezTo>
                  <a:cubicBezTo>
                    <a:pt x="249" y="507"/>
                    <a:pt x="251" y="507"/>
                    <a:pt x="254" y="507"/>
                  </a:cubicBezTo>
                  <a:cubicBezTo>
                    <a:pt x="254" y="507"/>
                    <a:pt x="254" y="507"/>
                    <a:pt x="254" y="507"/>
                  </a:cubicBezTo>
                  <a:cubicBezTo>
                    <a:pt x="254" y="507"/>
                    <a:pt x="254" y="507"/>
                    <a:pt x="254" y="507"/>
                  </a:cubicBezTo>
                  <a:cubicBezTo>
                    <a:pt x="256" y="507"/>
                    <a:pt x="259" y="507"/>
                    <a:pt x="262" y="507"/>
                  </a:cubicBezTo>
                  <a:cubicBezTo>
                    <a:pt x="262" y="507"/>
                    <a:pt x="263" y="507"/>
                    <a:pt x="264" y="507"/>
                  </a:cubicBezTo>
                  <a:cubicBezTo>
                    <a:pt x="265" y="507"/>
                    <a:pt x="267" y="507"/>
                    <a:pt x="268" y="507"/>
                  </a:cubicBezTo>
                  <a:cubicBezTo>
                    <a:pt x="359" y="502"/>
                    <a:pt x="412" y="453"/>
                    <a:pt x="489" y="418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effectLst>
              <a:outerShdw blurRad="1397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Arial" panose="020B0604020202020204" pitchFamily="34" charset="0"/>
              </a:endParaRPr>
            </a:p>
          </p:txBody>
        </p:sp>
        <p:sp>
          <p:nvSpPr>
            <p:cNvPr id="25" name="Freeform 6">
              <a:extLst>
                <a:ext uri="{FF2B5EF4-FFF2-40B4-BE49-F238E27FC236}">
                  <a16:creationId xmlns:a16="http://schemas.microsoft.com/office/drawing/2014/main" id="{59A16074-8C5C-9FBE-E7E1-1AA3141F8E1B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0461" y="4382583"/>
              <a:ext cx="676308" cy="674708"/>
            </a:xfrm>
            <a:custGeom>
              <a:avLst/>
              <a:gdLst>
                <a:gd name="T0" fmla="*/ 86 w 483"/>
                <a:gd name="T1" fmla="*/ 86 h 483"/>
                <a:gd name="T2" fmla="*/ 397 w 483"/>
                <a:gd name="T3" fmla="*/ 86 h 483"/>
                <a:gd name="T4" fmla="*/ 397 w 483"/>
                <a:gd name="T5" fmla="*/ 397 h 483"/>
                <a:gd name="T6" fmla="*/ 86 w 483"/>
                <a:gd name="T7" fmla="*/ 397 h 483"/>
                <a:gd name="T8" fmla="*/ 86 w 483"/>
                <a:gd name="T9" fmla="*/ 86 h 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3" h="483">
                  <a:moveTo>
                    <a:pt x="86" y="86"/>
                  </a:moveTo>
                  <a:cubicBezTo>
                    <a:pt x="172" y="0"/>
                    <a:pt x="311" y="0"/>
                    <a:pt x="397" y="86"/>
                  </a:cubicBezTo>
                  <a:cubicBezTo>
                    <a:pt x="483" y="172"/>
                    <a:pt x="483" y="311"/>
                    <a:pt x="397" y="397"/>
                  </a:cubicBezTo>
                  <a:cubicBezTo>
                    <a:pt x="311" y="483"/>
                    <a:pt x="172" y="483"/>
                    <a:pt x="86" y="397"/>
                  </a:cubicBezTo>
                  <a:cubicBezTo>
                    <a:pt x="0" y="311"/>
                    <a:pt x="0" y="172"/>
                    <a:pt x="86" y="86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Arial" panose="020B0604020202020204" pitchFamily="34" charset="0"/>
              </a:endParaRPr>
            </a:p>
          </p:txBody>
        </p:sp>
        <p:sp>
          <p:nvSpPr>
            <p:cNvPr id="26" name="Freeform 7">
              <a:extLst>
                <a:ext uri="{FF2B5EF4-FFF2-40B4-BE49-F238E27FC236}">
                  <a16:creationId xmlns:a16="http://schemas.microsoft.com/office/drawing/2014/main" id="{B638F5F7-A80F-2E4A-321A-AD8A0ED5E6B3}"/>
                </a:ext>
              </a:extLst>
            </p:cNvPr>
            <p:cNvSpPr>
              <a:spLocks/>
            </p:cNvSpPr>
            <p:nvPr/>
          </p:nvSpPr>
          <p:spPr bwMode="auto">
            <a:xfrm>
              <a:off x="4390043" y="3242615"/>
              <a:ext cx="708285" cy="1832265"/>
            </a:xfrm>
            <a:custGeom>
              <a:avLst/>
              <a:gdLst>
                <a:gd name="T0" fmla="*/ 88 w 507"/>
                <a:gd name="T1" fmla="*/ 488 h 1309"/>
                <a:gd name="T2" fmla="*/ 0 w 507"/>
                <a:gd name="T3" fmla="*/ 262 h 1309"/>
                <a:gd name="T4" fmla="*/ 0 w 507"/>
                <a:gd name="T5" fmla="*/ 254 h 1309"/>
                <a:gd name="T6" fmla="*/ 0 w 507"/>
                <a:gd name="T7" fmla="*/ 241 h 1309"/>
                <a:gd name="T8" fmla="*/ 0 w 507"/>
                <a:gd name="T9" fmla="*/ 234 h 1309"/>
                <a:gd name="T10" fmla="*/ 1 w 507"/>
                <a:gd name="T11" fmla="*/ 222 h 1309"/>
                <a:gd name="T12" fmla="*/ 2 w 507"/>
                <a:gd name="T13" fmla="*/ 216 h 1309"/>
                <a:gd name="T14" fmla="*/ 5 w 507"/>
                <a:gd name="T15" fmla="*/ 203 h 1309"/>
                <a:gd name="T16" fmla="*/ 6 w 507"/>
                <a:gd name="T17" fmla="*/ 197 h 1309"/>
                <a:gd name="T18" fmla="*/ 9 w 507"/>
                <a:gd name="T19" fmla="*/ 185 h 1309"/>
                <a:gd name="T20" fmla="*/ 13 w 507"/>
                <a:gd name="T21" fmla="*/ 173 h 1309"/>
                <a:gd name="T22" fmla="*/ 201 w 507"/>
                <a:gd name="T23" fmla="*/ 5 h 1309"/>
                <a:gd name="T24" fmla="*/ 208 w 507"/>
                <a:gd name="T25" fmla="*/ 4 h 1309"/>
                <a:gd name="T26" fmla="*/ 227 w 507"/>
                <a:gd name="T27" fmla="*/ 1 h 1309"/>
                <a:gd name="T28" fmla="*/ 233 w 507"/>
                <a:gd name="T29" fmla="*/ 0 h 1309"/>
                <a:gd name="T30" fmla="*/ 253 w 507"/>
                <a:gd name="T31" fmla="*/ 0 h 1309"/>
                <a:gd name="T32" fmla="*/ 260 w 507"/>
                <a:gd name="T33" fmla="*/ 0 h 1309"/>
                <a:gd name="T34" fmla="*/ 280 w 507"/>
                <a:gd name="T35" fmla="*/ 1 h 1309"/>
                <a:gd name="T36" fmla="*/ 293 w 507"/>
                <a:gd name="T37" fmla="*/ 3 h 1309"/>
                <a:gd name="T38" fmla="*/ 305 w 507"/>
                <a:gd name="T39" fmla="*/ 5 h 1309"/>
                <a:gd name="T40" fmla="*/ 324 w 507"/>
                <a:gd name="T41" fmla="*/ 10 h 1309"/>
                <a:gd name="T42" fmla="*/ 498 w 507"/>
                <a:gd name="T43" fmla="*/ 185 h 1309"/>
                <a:gd name="T44" fmla="*/ 499 w 507"/>
                <a:gd name="T45" fmla="*/ 191 h 1309"/>
                <a:gd name="T46" fmla="*/ 502 w 507"/>
                <a:gd name="T47" fmla="*/ 203 h 1309"/>
                <a:gd name="T48" fmla="*/ 503 w 507"/>
                <a:gd name="T49" fmla="*/ 209 h 1309"/>
                <a:gd name="T50" fmla="*/ 505 w 507"/>
                <a:gd name="T51" fmla="*/ 222 h 1309"/>
                <a:gd name="T52" fmla="*/ 506 w 507"/>
                <a:gd name="T53" fmla="*/ 228 h 1309"/>
                <a:gd name="T54" fmla="*/ 507 w 507"/>
                <a:gd name="T55" fmla="*/ 241 h 1309"/>
                <a:gd name="T56" fmla="*/ 507 w 507"/>
                <a:gd name="T57" fmla="*/ 247 h 1309"/>
                <a:gd name="T58" fmla="*/ 507 w 507"/>
                <a:gd name="T59" fmla="*/ 255 h 1309"/>
                <a:gd name="T60" fmla="*/ 507 w 507"/>
                <a:gd name="T61" fmla="*/ 261 h 1309"/>
                <a:gd name="T62" fmla="*/ 418 w 507"/>
                <a:gd name="T63" fmla="*/ 819 h 1309"/>
                <a:gd name="T64" fmla="*/ 507 w 507"/>
                <a:gd name="T65" fmla="*/ 1047 h 1309"/>
                <a:gd name="T66" fmla="*/ 507 w 507"/>
                <a:gd name="T67" fmla="*/ 1055 h 1309"/>
                <a:gd name="T68" fmla="*/ 507 w 507"/>
                <a:gd name="T69" fmla="*/ 1067 h 1309"/>
                <a:gd name="T70" fmla="*/ 507 w 507"/>
                <a:gd name="T71" fmla="*/ 1074 h 1309"/>
                <a:gd name="T72" fmla="*/ 505 w 507"/>
                <a:gd name="T73" fmla="*/ 1086 h 1309"/>
                <a:gd name="T74" fmla="*/ 504 w 507"/>
                <a:gd name="T75" fmla="*/ 1093 h 1309"/>
                <a:gd name="T76" fmla="*/ 502 w 507"/>
                <a:gd name="T77" fmla="*/ 1105 h 1309"/>
                <a:gd name="T78" fmla="*/ 501 w 507"/>
                <a:gd name="T79" fmla="*/ 1111 h 1309"/>
                <a:gd name="T80" fmla="*/ 498 w 507"/>
                <a:gd name="T81" fmla="*/ 1123 h 1309"/>
                <a:gd name="T82" fmla="*/ 494 w 507"/>
                <a:gd name="T83" fmla="*/ 1135 h 1309"/>
                <a:gd name="T84" fmla="*/ 305 w 507"/>
                <a:gd name="T85" fmla="*/ 1303 h 1309"/>
                <a:gd name="T86" fmla="*/ 299 w 507"/>
                <a:gd name="T87" fmla="*/ 1305 h 1309"/>
                <a:gd name="T88" fmla="*/ 280 w 507"/>
                <a:gd name="T89" fmla="*/ 1307 h 1309"/>
                <a:gd name="T90" fmla="*/ 273 w 507"/>
                <a:gd name="T91" fmla="*/ 1308 h 1309"/>
                <a:gd name="T92" fmla="*/ 253 w 507"/>
                <a:gd name="T93" fmla="*/ 1309 h 1309"/>
                <a:gd name="T94" fmla="*/ 247 w 507"/>
                <a:gd name="T95" fmla="*/ 1309 h 1309"/>
                <a:gd name="T96" fmla="*/ 227 w 507"/>
                <a:gd name="T97" fmla="*/ 1307 h 1309"/>
                <a:gd name="T98" fmla="*/ 214 w 507"/>
                <a:gd name="T99" fmla="*/ 1306 h 1309"/>
                <a:gd name="T100" fmla="*/ 201 w 507"/>
                <a:gd name="T101" fmla="*/ 1303 h 1309"/>
                <a:gd name="T102" fmla="*/ 183 w 507"/>
                <a:gd name="T103" fmla="*/ 1299 h 1309"/>
                <a:gd name="T104" fmla="*/ 9 w 507"/>
                <a:gd name="T105" fmla="*/ 1123 h 1309"/>
                <a:gd name="T106" fmla="*/ 7 w 507"/>
                <a:gd name="T107" fmla="*/ 1117 h 1309"/>
                <a:gd name="T108" fmla="*/ 5 w 507"/>
                <a:gd name="T109" fmla="*/ 1105 h 1309"/>
                <a:gd name="T110" fmla="*/ 3 w 507"/>
                <a:gd name="T111" fmla="*/ 1099 h 1309"/>
                <a:gd name="T112" fmla="*/ 1 w 507"/>
                <a:gd name="T113" fmla="*/ 1086 h 1309"/>
                <a:gd name="T114" fmla="*/ 1 w 507"/>
                <a:gd name="T115" fmla="*/ 1080 h 1309"/>
                <a:gd name="T116" fmla="*/ 0 w 507"/>
                <a:gd name="T117" fmla="*/ 1067 h 1309"/>
                <a:gd name="T118" fmla="*/ 0 w 507"/>
                <a:gd name="T119" fmla="*/ 1061 h 1309"/>
                <a:gd name="T120" fmla="*/ 0 w 507"/>
                <a:gd name="T121" fmla="*/ 1055 h 1309"/>
                <a:gd name="T122" fmla="*/ 0 w 507"/>
                <a:gd name="T123" fmla="*/ 1040 h 1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07" h="1309">
                  <a:moveTo>
                    <a:pt x="89" y="819"/>
                  </a:moveTo>
                  <a:cubicBezTo>
                    <a:pt x="107" y="775"/>
                    <a:pt x="120" y="724"/>
                    <a:pt x="121" y="656"/>
                  </a:cubicBezTo>
                  <a:cubicBezTo>
                    <a:pt x="121" y="586"/>
                    <a:pt x="107" y="533"/>
                    <a:pt x="88" y="488"/>
                  </a:cubicBezTo>
                  <a:cubicBezTo>
                    <a:pt x="53" y="412"/>
                    <a:pt x="5" y="358"/>
                    <a:pt x="0" y="269"/>
                  </a:cubicBezTo>
                  <a:cubicBezTo>
                    <a:pt x="0" y="267"/>
                    <a:pt x="0" y="266"/>
                    <a:pt x="0" y="264"/>
                  </a:cubicBezTo>
                  <a:cubicBezTo>
                    <a:pt x="0" y="262"/>
                    <a:pt x="0" y="262"/>
                    <a:pt x="0" y="262"/>
                  </a:cubicBezTo>
                  <a:cubicBezTo>
                    <a:pt x="0" y="259"/>
                    <a:pt x="0" y="257"/>
                    <a:pt x="0" y="254"/>
                  </a:cubicBezTo>
                  <a:cubicBezTo>
                    <a:pt x="0" y="254"/>
                    <a:pt x="0" y="254"/>
                    <a:pt x="0" y="254"/>
                  </a:cubicBezTo>
                  <a:cubicBezTo>
                    <a:pt x="0" y="254"/>
                    <a:pt x="0" y="254"/>
                    <a:pt x="0" y="254"/>
                  </a:cubicBezTo>
                  <a:cubicBezTo>
                    <a:pt x="0" y="251"/>
                    <a:pt x="0" y="249"/>
                    <a:pt x="0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45"/>
                    <a:pt x="0" y="243"/>
                    <a:pt x="0" y="241"/>
                  </a:cubicBezTo>
                  <a:cubicBezTo>
                    <a:pt x="0" y="241"/>
                    <a:pt x="0" y="241"/>
                    <a:pt x="0" y="241"/>
                  </a:cubicBezTo>
                  <a:cubicBezTo>
                    <a:pt x="0" y="239"/>
                    <a:pt x="0" y="237"/>
                    <a:pt x="0" y="234"/>
                  </a:cubicBezTo>
                  <a:cubicBezTo>
                    <a:pt x="0" y="234"/>
                    <a:pt x="0" y="234"/>
                    <a:pt x="0" y="234"/>
                  </a:cubicBezTo>
                  <a:cubicBezTo>
                    <a:pt x="0" y="232"/>
                    <a:pt x="1" y="230"/>
                    <a:pt x="1" y="228"/>
                  </a:cubicBezTo>
                  <a:cubicBezTo>
                    <a:pt x="1" y="228"/>
                    <a:pt x="1" y="228"/>
                    <a:pt x="1" y="228"/>
                  </a:cubicBezTo>
                  <a:cubicBezTo>
                    <a:pt x="1" y="226"/>
                    <a:pt x="1" y="224"/>
                    <a:pt x="1" y="222"/>
                  </a:cubicBezTo>
                  <a:cubicBezTo>
                    <a:pt x="1" y="222"/>
                    <a:pt x="1" y="222"/>
                    <a:pt x="1" y="222"/>
                  </a:cubicBezTo>
                  <a:cubicBezTo>
                    <a:pt x="2" y="220"/>
                    <a:pt x="2" y="218"/>
                    <a:pt x="2" y="216"/>
                  </a:cubicBezTo>
                  <a:cubicBezTo>
                    <a:pt x="2" y="216"/>
                    <a:pt x="2" y="216"/>
                    <a:pt x="2" y="216"/>
                  </a:cubicBezTo>
                  <a:cubicBezTo>
                    <a:pt x="3" y="214"/>
                    <a:pt x="3" y="212"/>
                    <a:pt x="3" y="209"/>
                  </a:cubicBezTo>
                  <a:cubicBezTo>
                    <a:pt x="3" y="209"/>
                    <a:pt x="3" y="209"/>
                    <a:pt x="3" y="209"/>
                  </a:cubicBezTo>
                  <a:cubicBezTo>
                    <a:pt x="4" y="207"/>
                    <a:pt x="4" y="205"/>
                    <a:pt x="5" y="203"/>
                  </a:cubicBezTo>
                  <a:cubicBezTo>
                    <a:pt x="5" y="203"/>
                    <a:pt x="5" y="203"/>
                    <a:pt x="5" y="203"/>
                  </a:cubicBezTo>
                  <a:cubicBezTo>
                    <a:pt x="5" y="201"/>
                    <a:pt x="5" y="199"/>
                    <a:pt x="6" y="197"/>
                  </a:cubicBezTo>
                  <a:cubicBezTo>
                    <a:pt x="6" y="197"/>
                    <a:pt x="6" y="197"/>
                    <a:pt x="6" y="197"/>
                  </a:cubicBezTo>
                  <a:cubicBezTo>
                    <a:pt x="6" y="195"/>
                    <a:pt x="7" y="193"/>
                    <a:pt x="7" y="191"/>
                  </a:cubicBezTo>
                  <a:cubicBezTo>
                    <a:pt x="7" y="191"/>
                    <a:pt x="7" y="191"/>
                    <a:pt x="7" y="191"/>
                  </a:cubicBezTo>
                  <a:cubicBezTo>
                    <a:pt x="8" y="189"/>
                    <a:pt x="8" y="187"/>
                    <a:pt x="9" y="185"/>
                  </a:cubicBezTo>
                  <a:cubicBezTo>
                    <a:pt x="9" y="185"/>
                    <a:pt x="9" y="185"/>
                    <a:pt x="9" y="185"/>
                  </a:cubicBezTo>
                  <a:cubicBezTo>
                    <a:pt x="10" y="181"/>
                    <a:pt x="11" y="177"/>
                    <a:pt x="12" y="173"/>
                  </a:cubicBezTo>
                  <a:cubicBezTo>
                    <a:pt x="13" y="173"/>
                    <a:pt x="13" y="173"/>
                    <a:pt x="13" y="173"/>
                  </a:cubicBezTo>
                  <a:cubicBezTo>
                    <a:pt x="38" y="95"/>
                    <a:pt x="101" y="33"/>
                    <a:pt x="183" y="10"/>
                  </a:cubicBezTo>
                  <a:cubicBezTo>
                    <a:pt x="183" y="10"/>
                    <a:pt x="183" y="10"/>
                    <a:pt x="183" y="10"/>
                  </a:cubicBezTo>
                  <a:cubicBezTo>
                    <a:pt x="189" y="8"/>
                    <a:pt x="195" y="6"/>
                    <a:pt x="201" y="5"/>
                  </a:cubicBezTo>
                  <a:cubicBezTo>
                    <a:pt x="201" y="5"/>
                    <a:pt x="201" y="5"/>
                    <a:pt x="201" y="5"/>
                  </a:cubicBezTo>
                  <a:cubicBezTo>
                    <a:pt x="203" y="5"/>
                    <a:pt x="205" y="4"/>
                    <a:pt x="208" y="4"/>
                  </a:cubicBezTo>
                  <a:cubicBezTo>
                    <a:pt x="208" y="4"/>
                    <a:pt x="208" y="4"/>
                    <a:pt x="208" y="4"/>
                  </a:cubicBezTo>
                  <a:cubicBezTo>
                    <a:pt x="210" y="3"/>
                    <a:pt x="212" y="3"/>
                    <a:pt x="214" y="3"/>
                  </a:cubicBezTo>
                  <a:cubicBezTo>
                    <a:pt x="214" y="3"/>
                    <a:pt x="214" y="3"/>
                    <a:pt x="214" y="3"/>
                  </a:cubicBezTo>
                  <a:cubicBezTo>
                    <a:pt x="218" y="2"/>
                    <a:pt x="223" y="2"/>
                    <a:pt x="227" y="1"/>
                  </a:cubicBezTo>
                  <a:cubicBezTo>
                    <a:pt x="227" y="1"/>
                    <a:pt x="227" y="1"/>
                    <a:pt x="227" y="1"/>
                  </a:cubicBezTo>
                  <a:cubicBezTo>
                    <a:pt x="229" y="1"/>
                    <a:pt x="231" y="1"/>
                    <a:pt x="233" y="0"/>
                  </a:cubicBezTo>
                  <a:cubicBezTo>
                    <a:pt x="233" y="0"/>
                    <a:pt x="233" y="0"/>
                    <a:pt x="233" y="0"/>
                  </a:cubicBezTo>
                  <a:cubicBezTo>
                    <a:pt x="238" y="0"/>
                    <a:pt x="242" y="0"/>
                    <a:pt x="247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49" y="0"/>
                    <a:pt x="251" y="0"/>
                    <a:pt x="253" y="0"/>
                  </a:cubicBezTo>
                  <a:cubicBezTo>
                    <a:pt x="253" y="0"/>
                    <a:pt x="253" y="0"/>
                    <a:pt x="253" y="0"/>
                  </a:cubicBezTo>
                  <a:cubicBezTo>
                    <a:pt x="256" y="0"/>
                    <a:pt x="258" y="0"/>
                    <a:pt x="260" y="0"/>
                  </a:cubicBezTo>
                  <a:cubicBezTo>
                    <a:pt x="260" y="0"/>
                    <a:pt x="260" y="0"/>
                    <a:pt x="260" y="0"/>
                  </a:cubicBezTo>
                  <a:cubicBezTo>
                    <a:pt x="265" y="0"/>
                    <a:pt x="269" y="0"/>
                    <a:pt x="273" y="0"/>
                  </a:cubicBezTo>
                  <a:cubicBezTo>
                    <a:pt x="273" y="0"/>
                    <a:pt x="273" y="0"/>
                    <a:pt x="273" y="0"/>
                  </a:cubicBezTo>
                  <a:cubicBezTo>
                    <a:pt x="276" y="1"/>
                    <a:pt x="278" y="1"/>
                    <a:pt x="280" y="1"/>
                  </a:cubicBezTo>
                  <a:cubicBezTo>
                    <a:pt x="280" y="1"/>
                    <a:pt x="280" y="1"/>
                    <a:pt x="280" y="1"/>
                  </a:cubicBezTo>
                  <a:cubicBezTo>
                    <a:pt x="284" y="2"/>
                    <a:pt x="289" y="2"/>
                    <a:pt x="293" y="3"/>
                  </a:cubicBezTo>
                  <a:cubicBezTo>
                    <a:pt x="293" y="3"/>
                    <a:pt x="293" y="3"/>
                    <a:pt x="293" y="3"/>
                  </a:cubicBezTo>
                  <a:cubicBezTo>
                    <a:pt x="295" y="3"/>
                    <a:pt x="297" y="3"/>
                    <a:pt x="299" y="4"/>
                  </a:cubicBezTo>
                  <a:cubicBezTo>
                    <a:pt x="299" y="4"/>
                    <a:pt x="299" y="4"/>
                    <a:pt x="299" y="4"/>
                  </a:cubicBezTo>
                  <a:cubicBezTo>
                    <a:pt x="301" y="4"/>
                    <a:pt x="303" y="5"/>
                    <a:pt x="305" y="5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12" y="6"/>
                    <a:pt x="318" y="8"/>
                    <a:pt x="324" y="10"/>
                  </a:cubicBezTo>
                  <a:cubicBezTo>
                    <a:pt x="324" y="10"/>
                    <a:pt x="324" y="10"/>
                    <a:pt x="324" y="10"/>
                  </a:cubicBezTo>
                  <a:cubicBezTo>
                    <a:pt x="405" y="33"/>
                    <a:pt x="468" y="95"/>
                    <a:pt x="494" y="173"/>
                  </a:cubicBezTo>
                  <a:cubicBezTo>
                    <a:pt x="494" y="173"/>
                    <a:pt x="494" y="173"/>
                    <a:pt x="494" y="173"/>
                  </a:cubicBezTo>
                  <a:cubicBezTo>
                    <a:pt x="496" y="177"/>
                    <a:pt x="497" y="181"/>
                    <a:pt x="498" y="185"/>
                  </a:cubicBezTo>
                  <a:cubicBezTo>
                    <a:pt x="498" y="185"/>
                    <a:pt x="498" y="185"/>
                    <a:pt x="498" y="185"/>
                  </a:cubicBezTo>
                  <a:cubicBezTo>
                    <a:pt x="498" y="187"/>
                    <a:pt x="499" y="189"/>
                    <a:pt x="499" y="191"/>
                  </a:cubicBezTo>
                  <a:cubicBezTo>
                    <a:pt x="499" y="191"/>
                    <a:pt x="499" y="191"/>
                    <a:pt x="499" y="191"/>
                  </a:cubicBezTo>
                  <a:cubicBezTo>
                    <a:pt x="500" y="193"/>
                    <a:pt x="501" y="195"/>
                    <a:pt x="501" y="197"/>
                  </a:cubicBezTo>
                  <a:cubicBezTo>
                    <a:pt x="501" y="197"/>
                    <a:pt x="501" y="197"/>
                    <a:pt x="501" y="197"/>
                  </a:cubicBezTo>
                  <a:cubicBezTo>
                    <a:pt x="501" y="199"/>
                    <a:pt x="502" y="201"/>
                    <a:pt x="502" y="203"/>
                  </a:cubicBezTo>
                  <a:cubicBezTo>
                    <a:pt x="502" y="203"/>
                    <a:pt x="502" y="203"/>
                    <a:pt x="502" y="203"/>
                  </a:cubicBezTo>
                  <a:cubicBezTo>
                    <a:pt x="503" y="205"/>
                    <a:pt x="503" y="207"/>
                    <a:pt x="503" y="209"/>
                  </a:cubicBezTo>
                  <a:cubicBezTo>
                    <a:pt x="503" y="209"/>
                    <a:pt x="503" y="209"/>
                    <a:pt x="503" y="209"/>
                  </a:cubicBezTo>
                  <a:cubicBezTo>
                    <a:pt x="504" y="212"/>
                    <a:pt x="504" y="214"/>
                    <a:pt x="504" y="216"/>
                  </a:cubicBezTo>
                  <a:cubicBezTo>
                    <a:pt x="504" y="216"/>
                    <a:pt x="504" y="216"/>
                    <a:pt x="504" y="216"/>
                  </a:cubicBezTo>
                  <a:cubicBezTo>
                    <a:pt x="505" y="218"/>
                    <a:pt x="505" y="220"/>
                    <a:pt x="505" y="222"/>
                  </a:cubicBezTo>
                  <a:cubicBezTo>
                    <a:pt x="505" y="222"/>
                    <a:pt x="505" y="222"/>
                    <a:pt x="505" y="222"/>
                  </a:cubicBezTo>
                  <a:cubicBezTo>
                    <a:pt x="506" y="224"/>
                    <a:pt x="506" y="226"/>
                    <a:pt x="506" y="228"/>
                  </a:cubicBezTo>
                  <a:cubicBezTo>
                    <a:pt x="506" y="228"/>
                    <a:pt x="506" y="228"/>
                    <a:pt x="506" y="228"/>
                  </a:cubicBezTo>
                  <a:cubicBezTo>
                    <a:pt x="506" y="230"/>
                    <a:pt x="506" y="232"/>
                    <a:pt x="507" y="234"/>
                  </a:cubicBezTo>
                  <a:cubicBezTo>
                    <a:pt x="507" y="234"/>
                    <a:pt x="507" y="234"/>
                    <a:pt x="507" y="234"/>
                  </a:cubicBezTo>
                  <a:cubicBezTo>
                    <a:pt x="507" y="237"/>
                    <a:pt x="507" y="239"/>
                    <a:pt x="507" y="241"/>
                  </a:cubicBezTo>
                  <a:cubicBezTo>
                    <a:pt x="507" y="241"/>
                    <a:pt x="507" y="241"/>
                    <a:pt x="507" y="241"/>
                  </a:cubicBezTo>
                  <a:cubicBezTo>
                    <a:pt x="507" y="243"/>
                    <a:pt x="507" y="245"/>
                    <a:pt x="507" y="247"/>
                  </a:cubicBezTo>
                  <a:cubicBezTo>
                    <a:pt x="507" y="247"/>
                    <a:pt x="507" y="247"/>
                    <a:pt x="507" y="247"/>
                  </a:cubicBezTo>
                  <a:cubicBezTo>
                    <a:pt x="507" y="249"/>
                    <a:pt x="507" y="251"/>
                    <a:pt x="507" y="254"/>
                  </a:cubicBezTo>
                  <a:cubicBezTo>
                    <a:pt x="507" y="254"/>
                    <a:pt x="507" y="254"/>
                    <a:pt x="507" y="254"/>
                  </a:cubicBezTo>
                  <a:cubicBezTo>
                    <a:pt x="507" y="255"/>
                    <a:pt x="507" y="255"/>
                    <a:pt x="507" y="255"/>
                  </a:cubicBezTo>
                  <a:cubicBezTo>
                    <a:pt x="507" y="256"/>
                    <a:pt x="507" y="257"/>
                    <a:pt x="507" y="258"/>
                  </a:cubicBezTo>
                  <a:cubicBezTo>
                    <a:pt x="507" y="259"/>
                    <a:pt x="507" y="260"/>
                    <a:pt x="507" y="261"/>
                  </a:cubicBezTo>
                  <a:cubicBezTo>
                    <a:pt x="507" y="261"/>
                    <a:pt x="507" y="261"/>
                    <a:pt x="507" y="261"/>
                  </a:cubicBezTo>
                  <a:cubicBezTo>
                    <a:pt x="505" y="355"/>
                    <a:pt x="454" y="410"/>
                    <a:pt x="419" y="488"/>
                  </a:cubicBezTo>
                  <a:cubicBezTo>
                    <a:pt x="400" y="533"/>
                    <a:pt x="386" y="586"/>
                    <a:pt x="385" y="656"/>
                  </a:cubicBezTo>
                  <a:cubicBezTo>
                    <a:pt x="386" y="723"/>
                    <a:pt x="400" y="775"/>
                    <a:pt x="418" y="819"/>
                  </a:cubicBezTo>
                  <a:cubicBezTo>
                    <a:pt x="453" y="896"/>
                    <a:pt x="502" y="950"/>
                    <a:pt x="507" y="1040"/>
                  </a:cubicBezTo>
                  <a:cubicBezTo>
                    <a:pt x="507" y="1041"/>
                    <a:pt x="507" y="1043"/>
                    <a:pt x="507" y="1044"/>
                  </a:cubicBezTo>
                  <a:cubicBezTo>
                    <a:pt x="507" y="1047"/>
                    <a:pt x="507" y="1047"/>
                    <a:pt x="507" y="1047"/>
                  </a:cubicBezTo>
                  <a:cubicBezTo>
                    <a:pt x="507" y="1049"/>
                    <a:pt x="507" y="1052"/>
                    <a:pt x="507" y="1055"/>
                  </a:cubicBezTo>
                  <a:cubicBezTo>
                    <a:pt x="507" y="1055"/>
                    <a:pt x="507" y="1055"/>
                    <a:pt x="507" y="1055"/>
                  </a:cubicBezTo>
                  <a:cubicBezTo>
                    <a:pt x="507" y="1055"/>
                    <a:pt x="507" y="1055"/>
                    <a:pt x="507" y="1055"/>
                  </a:cubicBezTo>
                  <a:cubicBezTo>
                    <a:pt x="507" y="1057"/>
                    <a:pt x="507" y="1059"/>
                    <a:pt x="507" y="1061"/>
                  </a:cubicBezTo>
                  <a:cubicBezTo>
                    <a:pt x="507" y="1061"/>
                    <a:pt x="507" y="1061"/>
                    <a:pt x="507" y="1061"/>
                  </a:cubicBezTo>
                  <a:cubicBezTo>
                    <a:pt x="507" y="1063"/>
                    <a:pt x="507" y="1065"/>
                    <a:pt x="507" y="1067"/>
                  </a:cubicBezTo>
                  <a:cubicBezTo>
                    <a:pt x="507" y="1067"/>
                    <a:pt x="507" y="1067"/>
                    <a:pt x="507" y="1067"/>
                  </a:cubicBezTo>
                  <a:cubicBezTo>
                    <a:pt x="507" y="1070"/>
                    <a:pt x="507" y="1072"/>
                    <a:pt x="507" y="1074"/>
                  </a:cubicBezTo>
                  <a:cubicBezTo>
                    <a:pt x="507" y="1074"/>
                    <a:pt x="507" y="1074"/>
                    <a:pt x="507" y="1074"/>
                  </a:cubicBezTo>
                  <a:cubicBezTo>
                    <a:pt x="506" y="1076"/>
                    <a:pt x="506" y="1078"/>
                    <a:pt x="506" y="1080"/>
                  </a:cubicBezTo>
                  <a:cubicBezTo>
                    <a:pt x="506" y="1080"/>
                    <a:pt x="506" y="1080"/>
                    <a:pt x="506" y="1080"/>
                  </a:cubicBezTo>
                  <a:cubicBezTo>
                    <a:pt x="506" y="1082"/>
                    <a:pt x="506" y="1084"/>
                    <a:pt x="505" y="1086"/>
                  </a:cubicBezTo>
                  <a:cubicBezTo>
                    <a:pt x="505" y="1086"/>
                    <a:pt x="505" y="1086"/>
                    <a:pt x="505" y="1086"/>
                  </a:cubicBezTo>
                  <a:cubicBezTo>
                    <a:pt x="505" y="1089"/>
                    <a:pt x="505" y="1091"/>
                    <a:pt x="504" y="1093"/>
                  </a:cubicBezTo>
                  <a:cubicBezTo>
                    <a:pt x="504" y="1093"/>
                    <a:pt x="504" y="1093"/>
                    <a:pt x="504" y="1093"/>
                  </a:cubicBezTo>
                  <a:cubicBezTo>
                    <a:pt x="504" y="1095"/>
                    <a:pt x="504" y="1097"/>
                    <a:pt x="503" y="1099"/>
                  </a:cubicBezTo>
                  <a:cubicBezTo>
                    <a:pt x="503" y="1099"/>
                    <a:pt x="503" y="1099"/>
                    <a:pt x="503" y="1099"/>
                  </a:cubicBezTo>
                  <a:cubicBezTo>
                    <a:pt x="503" y="1101"/>
                    <a:pt x="503" y="1103"/>
                    <a:pt x="502" y="1105"/>
                  </a:cubicBezTo>
                  <a:cubicBezTo>
                    <a:pt x="502" y="1105"/>
                    <a:pt x="502" y="1105"/>
                    <a:pt x="502" y="1105"/>
                  </a:cubicBezTo>
                  <a:cubicBezTo>
                    <a:pt x="502" y="1107"/>
                    <a:pt x="501" y="1109"/>
                    <a:pt x="501" y="1111"/>
                  </a:cubicBezTo>
                  <a:cubicBezTo>
                    <a:pt x="501" y="1111"/>
                    <a:pt x="501" y="1111"/>
                    <a:pt x="501" y="1111"/>
                  </a:cubicBezTo>
                  <a:cubicBezTo>
                    <a:pt x="501" y="1113"/>
                    <a:pt x="500" y="1115"/>
                    <a:pt x="499" y="1117"/>
                  </a:cubicBezTo>
                  <a:cubicBezTo>
                    <a:pt x="499" y="1117"/>
                    <a:pt x="499" y="1117"/>
                    <a:pt x="499" y="1117"/>
                  </a:cubicBezTo>
                  <a:cubicBezTo>
                    <a:pt x="499" y="1119"/>
                    <a:pt x="498" y="1121"/>
                    <a:pt x="498" y="1123"/>
                  </a:cubicBezTo>
                  <a:cubicBezTo>
                    <a:pt x="498" y="1123"/>
                    <a:pt x="498" y="1123"/>
                    <a:pt x="498" y="1123"/>
                  </a:cubicBezTo>
                  <a:cubicBezTo>
                    <a:pt x="497" y="1127"/>
                    <a:pt x="496" y="1131"/>
                    <a:pt x="494" y="1135"/>
                  </a:cubicBezTo>
                  <a:cubicBezTo>
                    <a:pt x="494" y="1135"/>
                    <a:pt x="494" y="1135"/>
                    <a:pt x="494" y="1135"/>
                  </a:cubicBezTo>
                  <a:cubicBezTo>
                    <a:pt x="468" y="1213"/>
                    <a:pt x="405" y="1276"/>
                    <a:pt x="324" y="1299"/>
                  </a:cubicBezTo>
                  <a:cubicBezTo>
                    <a:pt x="324" y="1299"/>
                    <a:pt x="324" y="1299"/>
                    <a:pt x="324" y="1299"/>
                  </a:cubicBezTo>
                  <a:cubicBezTo>
                    <a:pt x="318" y="1301"/>
                    <a:pt x="312" y="1302"/>
                    <a:pt x="305" y="1303"/>
                  </a:cubicBezTo>
                  <a:cubicBezTo>
                    <a:pt x="305" y="1303"/>
                    <a:pt x="305" y="1303"/>
                    <a:pt x="305" y="1303"/>
                  </a:cubicBezTo>
                  <a:cubicBezTo>
                    <a:pt x="303" y="1304"/>
                    <a:pt x="301" y="1304"/>
                    <a:pt x="299" y="1305"/>
                  </a:cubicBezTo>
                  <a:cubicBezTo>
                    <a:pt x="299" y="1305"/>
                    <a:pt x="299" y="1305"/>
                    <a:pt x="299" y="1305"/>
                  </a:cubicBezTo>
                  <a:cubicBezTo>
                    <a:pt x="297" y="1305"/>
                    <a:pt x="295" y="1305"/>
                    <a:pt x="293" y="1306"/>
                  </a:cubicBezTo>
                  <a:cubicBezTo>
                    <a:pt x="293" y="1306"/>
                    <a:pt x="293" y="1306"/>
                    <a:pt x="293" y="1306"/>
                  </a:cubicBezTo>
                  <a:cubicBezTo>
                    <a:pt x="289" y="1306"/>
                    <a:pt x="284" y="1307"/>
                    <a:pt x="280" y="1307"/>
                  </a:cubicBezTo>
                  <a:cubicBezTo>
                    <a:pt x="280" y="1307"/>
                    <a:pt x="280" y="1307"/>
                    <a:pt x="280" y="1307"/>
                  </a:cubicBezTo>
                  <a:cubicBezTo>
                    <a:pt x="278" y="1308"/>
                    <a:pt x="276" y="1308"/>
                    <a:pt x="273" y="1308"/>
                  </a:cubicBezTo>
                  <a:cubicBezTo>
                    <a:pt x="273" y="1308"/>
                    <a:pt x="273" y="1308"/>
                    <a:pt x="273" y="1308"/>
                  </a:cubicBezTo>
                  <a:cubicBezTo>
                    <a:pt x="269" y="1308"/>
                    <a:pt x="265" y="1308"/>
                    <a:pt x="260" y="1309"/>
                  </a:cubicBezTo>
                  <a:cubicBezTo>
                    <a:pt x="260" y="1309"/>
                    <a:pt x="260" y="1309"/>
                    <a:pt x="260" y="1309"/>
                  </a:cubicBezTo>
                  <a:cubicBezTo>
                    <a:pt x="258" y="1309"/>
                    <a:pt x="256" y="1309"/>
                    <a:pt x="253" y="1309"/>
                  </a:cubicBezTo>
                  <a:cubicBezTo>
                    <a:pt x="253" y="1309"/>
                    <a:pt x="253" y="1309"/>
                    <a:pt x="253" y="1309"/>
                  </a:cubicBezTo>
                  <a:cubicBezTo>
                    <a:pt x="251" y="1309"/>
                    <a:pt x="249" y="1309"/>
                    <a:pt x="247" y="1309"/>
                  </a:cubicBezTo>
                  <a:cubicBezTo>
                    <a:pt x="247" y="1309"/>
                    <a:pt x="247" y="1309"/>
                    <a:pt x="247" y="1309"/>
                  </a:cubicBezTo>
                  <a:cubicBezTo>
                    <a:pt x="242" y="1308"/>
                    <a:pt x="238" y="1308"/>
                    <a:pt x="233" y="1308"/>
                  </a:cubicBezTo>
                  <a:cubicBezTo>
                    <a:pt x="233" y="1308"/>
                    <a:pt x="233" y="1308"/>
                    <a:pt x="233" y="1308"/>
                  </a:cubicBezTo>
                  <a:cubicBezTo>
                    <a:pt x="231" y="1308"/>
                    <a:pt x="229" y="1308"/>
                    <a:pt x="227" y="1307"/>
                  </a:cubicBezTo>
                  <a:cubicBezTo>
                    <a:pt x="227" y="1307"/>
                    <a:pt x="227" y="1307"/>
                    <a:pt x="227" y="1307"/>
                  </a:cubicBezTo>
                  <a:cubicBezTo>
                    <a:pt x="223" y="1307"/>
                    <a:pt x="218" y="1306"/>
                    <a:pt x="214" y="1306"/>
                  </a:cubicBezTo>
                  <a:cubicBezTo>
                    <a:pt x="214" y="1306"/>
                    <a:pt x="214" y="1306"/>
                    <a:pt x="214" y="1306"/>
                  </a:cubicBezTo>
                  <a:cubicBezTo>
                    <a:pt x="212" y="1305"/>
                    <a:pt x="210" y="1305"/>
                    <a:pt x="208" y="1305"/>
                  </a:cubicBezTo>
                  <a:cubicBezTo>
                    <a:pt x="208" y="1305"/>
                    <a:pt x="208" y="1305"/>
                    <a:pt x="208" y="1305"/>
                  </a:cubicBezTo>
                  <a:cubicBezTo>
                    <a:pt x="205" y="1304"/>
                    <a:pt x="203" y="1304"/>
                    <a:pt x="201" y="1303"/>
                  </a:cubicBezTo>
                  <a:cubicBezTo>
                    <a:pt x="201" y="1303"/>
                    <a:pt x="201" y="1303"/>
                    <a:pt x="201" y="1303"/>
                  </a:cubicBezTo>
                  <a:cubicBezTo>
                    <a:pt x="195" y="1302"/>
                    <a:pt x="189" y="1301"/>
                    <a:pt x="183" y="1299"/>
                  </a:cubicBezTo>
                  <a:cubicBezTo>
                    <a:pt x="183" y="1299"/>
                    <a:pt x="183" y="1299"/>
                    <a:pt x="183" y="1299"/>
                  </a:cubicBezTo>
                  <a:cubicBezTo>
                    <a:pt x="101" y="1276"/>
                    <a:pt x="38" y="1213"/>
                    <a:pt x="13" y="1135"/>
                  </a:cubicBezTo>
                  <a:cubicBezTo>
                    <a:pt x="12" y="1135"/>
                    <a:pt x="12" y="1135"/>
                    <a:pt x="12" y="1135"/>
                  </a:cubicBezTo>
                  <a:cubicBezTo>
                    <a:pt x="11" y="1131"/>
                    <a:pt x="10" y="1127"/>
                    <a:pt x="9" y="1123"/>
                  </a:cubicBezTo>
                  <a:cubicBezTo>
                    <a:pt x="9" y="1123"/>
                    <a:pt x="9" y="1123"/>
                    <a:pt x="9" y="1123"/>
                  </a:cubicBezTo>
                  <a:cubicBezTo>
                    <a:pt x="8" y="1121"/>
                    <a:pt x="8" y="1119"/>
                    <a:pt x="7" y="1117"/>
                  </a:cubicBezTo>
                  <a:cubicBezTo>
                    <a:pt x="7" y="1117"/>
                    <a:pt x="7" y="1117"/>
                    <a:pt x="7" y="1117"/>
                  </a:cubicBezTo>
                  <a:cubicBezTo>
                    <a:pt x="7" y="1115"/>
                    <a:pt x="6" y="1113"/>
                    <a:pt x="6" y="1111"/>
                  </a:cubicBezTo>
                  <a:cubicBezTo>
                    <a:pt x="6" y="1111"/>
                    <a:pt x="6" y="1111"/>
                    <a:pt x="6" y="1111"/>
                  </a:cubicBezTo>
                  <a:cubicBezTo>
                    <a:pt x="5" y="1109"/>
                    <a:pt x="5" y="1107"/>
                    <a:pt x="5" y="1105"/>
                  </a:cubicBezTo>
                  <a:cubicBezTo>
                    <a:pt x="5" y="1105"/>
                    <a:pt x="5" y="1105"/>
                    <a:pt x="5" y="1105"/>
                  </a:cubicBezTo>
                  <a:cubicBezTo>
                    <a:pt x="4" y="1103"/>
                    <a:pt x="4" y="1101"/>
                    <a:pt x="3" y="1099"/>
                  </a:cubicBezTo>
                  <a:cubicBezTo>
                    <a:pt x="3" y="1099"/>
                    <a:pt x="3" y="1099"/>
                    <a:pt x="3" y="1099"/>
                  </a:cubicBezTo>
                  <a:cubicBezTo>
                    <a:pt x="3" y="1097"/>
                    <a:pt x="3" y="1095"/>
                    <a:pt x="2" y="1093"/>
                  </a:cubicBezTo>
                  <a:cubicBezTo>
                    <a:pt x="2" y="1093"/>
                    <a:pt x="2" y="1093"/>
                    <a:pt x="2" y="1093"/>
                  </a:cubicBezTo>
                  <a:cubicBezTo>
                    <a:pt x="2" y="1091"/>
                    <a:pt x="2" y="1089"/>
                    <a:pt x="1" y="1086"/>
                  </a:cubicBezTo>
                  <a:cubicBezTo>
                    <a:pt x="1" y="1086"/>
                    <a:pt x="1" y="1086"/>
                    <a:pt x="1" y="1086"/>
                  </a:cubicBezTo>
                  <a:cubicBezTo>
                    <a:pt x="1" y="1084"/>
                    <a:pt x="1" y="1082"/>
                    <a:pt x="1" y="1080"/>
                  </a:cubicBezTo>
                  <a:cubicBezTo>
                    <a:pt x="1" y="1080"/>
                    <a:pt x="1" y="1080"/>
                    <a:pt x="1" y="1080"/>
                  </a:cubicBezTo>
                  <a:cubicBezTo>
                    <a:pt x="1" y="1078"/>
                    <a:pt x="0" y="1076"/>
                    <a:pt x="0" y="1074"/>
                  </a:cubicBezTo>
                  <a:cubicBezTo>
                    <a:pt x="0" y="1074"/>
                    <a:pt x="0" y="1074"/>
                    <a:pt x="0" y="1074"/>
                  </a:cubicBezTo>
                  <a:cubicBezTo>
                    <a:pt x="0" y="1072"/>
                    <a:pt x="0" y="1070"/>
                    <a:pt x="0" y="1067"/>
                  </a:cubicBezTo>
                  <a:cubicBezTo>
                    <a:pt x="0" y="1067"/>
                    <a:pt x="0" y="1067"/>
                    <a:pt x="0" y="1067"/>
                  </a:cubicBezTo>
                  <a:cubicBezTo>
                    <a:pt x="0" y="1065"/>
                    <a:pt x="0" y="1063"/>
                    <a:pt x="0" y="1061"/>
                  </a:cubicBezTo>
                  <a:cubicBezTo>
                    <a:pt x="0" y="1061"/>
                    <a:pt x="0" y="1061"/>
                    <a:pt x="0" y="1061"/>
                  </a:cubicBezTo>
                  <a:cubicBezTo>
                    <a:pt x="0" y="1059"/>
                    <a:pt x="0" y="1057"/>
                    <a:pt x="0" y="1055"/>
                  </a:cubicBezTo>
                  <a:cubicBezTo>
                    <a:pt x="0" y="1055"/>
                    <a:pt x="0" y="1055"/>
                    <a:pt x="0" y="1055"/>
                  </a:cubicBezTo>
                  <a:cubicBezTo>
                    <a:pt x="0" y="1055"/>
                    <a:pt x="0" y="1055"/>
                    <a:pt x="0" y="1055"/>
                  </a:cubicBezTo>
                  <a:cubicBezTo>
                    <a:pt x="0" y="1052"/>
                    <a:pt x="0" y="1049"/>
                    <a:pt x="0" y="1047"/>
                  </a:cubicBezTo>
                  <a:cubicBezTo>
                    <a:pt x="0" y="1046"/>
                    <a:pt x="0" y="1045"/>
                    <a:pt x="0" y="1044"/>
                  </a:cubicBezTo>
                  <a:cubicBezTo>
                    <a:pt x="0" y="1043"/>
                    <a:pt x="0" y="1041"/>
                    <a:pt x="0" y="1040"/>
                  </a:cubicBezTo>
                  <a:cubicBezTo>
                    <a:pt x="5" y="950"/>
                    <a:pt x="54" y="896"/>
                    <a:pt x="89" y="819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effectLst>
              <a:outerShdw blurRad="1397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Arial" panose="020B0604020202020204" pitchFamily="34" charset="0"/>
              </a:endParaRPr>
            </a:p>
          </p:txBody>
        </p:sp>
        <p:sp>
          <p:nvSpPr>
            <p:cNvPr id="27" name="Oval 8">
              <a:extLst>
                <a:ext uri="{FF2B5EF4-FFF2-40B4-BE49-F238E27FC236}">
                  <a16:creationId xmlns:a16="http://schemas.microsoft.com/office/drawing/2014/main" id="{87651672-B4A7-6C0C-34E8-1C5D4F6061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36409" y="3290580"/>
              <a:ext cx="615552" cy="617150"/>
            </a:xfrm>
            <a:prstGeom prst="ellipse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Arial" panose="020B0604020202020204" pitchFamily="34" charset="0"/>
              </a:endParaRPr>
            </a:p>
          </p:txBody>
        </p:sp>
        <p:sp>
          <p:nvSpPr>
            <p:cNvPr id="28" name="Freeform 9">
              <a:extLst>
                <a:ext uri="{FF2B5EF4-FFF2-40B4-BE49-F238E27FC236}">
                  <a16:creationId xmlns:a16="http://schemas.microsoft.com/office/drawing/2014/main" id="{78645BFD-8D71-620B-69AD-1680A2D4B522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1467" y="5154821"/>
              <a:ext cx="1829067" cy="711482"/>
            </a:xfrm>
            <a:custGeom>
              <a:avLst/>
              <a:gdLst>
                <a:gd name="T0" fmla="*/ 820 w 1308"/>
                <a:gd name="T1" fmla="*/ 89 h 508"/>
                <a:gd name="T2" fmla="*/ 1046 w 1308"/>
                <a:gd name="T3" fmla="*/ 1 h 508"/>
                <a:gd name="T4" fmla="*/ 1055 w 1308"/>
                <a:gd name="T5" fmla="*/ 0 h 508"/>
                <a:gd name="T6" fmla="*/ 1067 w 1308"/>
                <a:gd name="T7" fmla="*/ 1 h 508"/>
                <a:gd name="T8" fmla="*/ 1074 w 1308"/>
                <a:gd name="T9" fmla="*/ 1 h 508"/>
                <a:gd name="T10" fmla="*/ 1086 w 1308"/>
                <a:gd name="T11" fmla="*/ 2 h 508"/>
                <a:gd name="T12" fmla="*/ 1093 w 1308"/>
                <a:gd name="T13" fmla="*/ 3 h 508"/>
                <a:gd name="T14" fmla="*/ 1105 w 1308"/>
                <a:gd name="T15" fmla="*/ 5 h 508"/>
                <a:gd name="T16" fmla="*/ 1111 w 1308"/>
                <a:gd name="T17" fmla="*/ 7 h 508"/>
                <a:gd name="T18" fmla="*/ 1123 w 1308"/>
                <a:gd name="T19" fmla="*/ 10 h 508"/>
                <a:gd name="T20" fmla="*/ 1135 w 1308"/>
                <a:gd name="T21" fmla="*/ 13 h 508"/>
                <a:gd name="T22" fmla="*/ 1303 w 1308"/>
                <a:gd name="T23" fmla="*/ 202 h 508"/>
                <a:gd name="T24" fmla="*/ 1304 w 1308"/>
                <a:gd name="T25" fmla="*/ 208 h 508"/>
                <a:gd name="T26" fmla="*/ 1307 w 1308"/>
                <a:gd name="T27" fmla="*/ 228 h 508"/>
                <a:gd name="T28" fmla="*/ 1308 w 1308"/>
                <a:gd name="T29" fmla="*/ 234 h 508"/>
                <a:gd name="T30" fmla="*/ 1308 w 1308"/>
                <a:gd name="T31" fmla="*/ 254 h 508"/>
                <a:gd name="T32" fmla="*/ 1308 w 1308"/>
                <a:gd name="T33" fmla="*/ 261 h 508"/>
                <a:gd name="T34" fmla="*/ 1307 w 1308"/>
                <a:gd name="T35" fmla="*/ 281 h 508"/>
                <a:gd name="T36" fmla="*/ 1305 w 1308"/>
                <a:gd name="T37" fmla="*/ 294 h 508"/>
                <a:gd name="T38" fmla="*/ 1303 w 1308"/>
                <a:gd name="T39" fmla="*/ 306 h 508"/>
                <a:gd name="T40" fmla="*/ 1299 w 1308"/>
                <a:gd name="T41" fmla="*/ 325 h 508"/>
                <a:gd name="T42" fmla="*/ 1123 w 1308"/>
                <a:gd name="T43" fmla="*/ 499 h 508"/>
                <a:gd name="T44" fmla="*/ 1117 w 1308"/>
                <a:gd name="T45" fmla="*/ 500 h 508"/>
                <a:gd name="T46" fmla="*/ 1105 w 1308"/>
                <a:gd name="T47" fmla="*/ 503 h 508"/>
                <a:gd name="T48" fmla="*/ 1099 w 1308"/>
                <a:gd name="T49" fmla="*/ 504 h 508"/>
                <a:gd name="T50" fmla="*/ 1086 w 1308"/>
                <a:gd name="T51" fmla="*/ 506 h 508"/>
                <a:gd name="T52" fmla="*/ 1080 w 1308"/>
                <a:gd name="T53" fmla="*/ 507 h 508"/>
                <a:gd name="T54" fmla="*/ 1067 w 1308"/>
                <a:gd name="T55" fmla="*/ 508 h 508"/>
                <a:gd name="T56" fmla="*/ 1061 w 1308"/>
                <a:gd name="T57" fmla="*/ 508 h 508"/>
                <a:gd name="T58" fmla="*/ 1053 w 1308"/>
                <a:gd name="T59" fmla="*/ 508 h 508"/>
                <a:gd name="T60" fmla="*/ 1047 w 1308"/>
                <a:gd name="T61" fmla="*/ 508 h 508"/>
                <a:gd name="T62" fmla="*/ 489 w 1308"/>
                <a:gd name="T63" fmla="*/ 419 h 508"/>
                <a:gd name="T64" fmla="*/ 262 w 1308"/>
                <a:gd name="T65" fmla="*/ 508 h 508"/>
                <a:gd name="T66" fmla="*/ 254 w 1308"/>
                <a:gd name="T67" fmla="*/ 508 h 508"/>
                <a:gd name="T68" fmla="*/ 241 w 1308"/>
                <a:gd name="T69" fmla="*/ 508 h 508"/>
                <a:gd name="T70" fmla="*/ 234 w 1308"/>
                <a:gd name="T71" fmla="*/ 507 h 508"/>
                <a:gd name="T72" fmla="*/ 222 w 1308"/>
                <a:gd name="T73" fmla="*/ 506 h 508"/>
                <a:gd name="T74" fmla="*/ 215 w 1308"/>
                <a:gd name="T75" fmla="*/ 505 h 508"/>
                <a:gd name="T76" fmla="*/ 203 w 1308"/>
                <a:gd name="T77" fmla="*/ 503 h 508"/>
                <a:gd name="T78" fmla="*/ 197 w 1308"/>
                <a:gd name="T79" fmla="*/ 502 h 508"/>
                <a:gd name="T80" fmla="*/ 185 w 1308"/>
                <a:gd name="T81" fmla="*/ 499 h 508"/>
                <a:gd name="T82" fmla="*/ 173 w 1308"/>
                <a:gd name="T83" fmla="*/ 495 h 508"/>
                <a:gd name="T84" fmla="*/ 5 w 1308"/>
                <a:gd name="T85" fmla="*/ 306 h 508"/>
                <a:gd name="T86" fmla="*/ 4 w 1308"/>
                <a:gd name="T87" fmla="*/ 300 h 508"/>
                <a:gd name="T88" fmla="*/ 1 w 1308"/>
                <a:gd name="T89" fmla="*/ 281 h 508"/>
                <a:gd name="T90" fmla="*/ 0 w 1308"/>
                <a:gd name="T91" fmla="*/ 274 h 508"/>
                <a:gd name="T92" fmla="*/ 0 w 1308"/>
                <a:gd name="T93" fmla="*/ 254 h 508"/>
                <a:gd name="T94" fmla="*/ 0 w 1308"/>
                <a:gd name="T95" fmla="*/ 248 h 508"/>
                <a:gd name="T96" fmla="*/ 1 w 1308"/>
                <a:gd name="T97" fmla="*/ 228 h 508"/>
                <a:gd name="T98" fmla="*/ 3 w 1308"/>
                <a:gd name="T99" fmla="*/ 215 h 508"/>
                <a:gd name="T100" fmla="*/ 5 w 1308"/>
                <a:gd name="T101" fmla="*/ 202 h 508"/>
                <a:gd name="T102" fmla="*/ 9 w 1308"/>
                <a:gd name="T103" fmla="*/ 184 h 508"/>
                <a:gd name="T104" fmla="*/ 185 w 1308"/>
                <a:gd name="T105" fmla="*/ 10 h 508"/>
                <a:gd name="T106" fmla="*/ 191 w 1308"/>
                <a:gd name="T107" fmla="*/ 8 h 508"/>
                <a:gd name="T108" fmla="*/ 203 w 1308"/>
                <a:gd name="T109" fmla="*/ 5 h 508"/>
                <a:gd name="T110" fmla="*/ 209 w 1308"/>
                <a:gd name="T111" fmla="*/ 4 h 508"/>
                <a:gd name="T112" fmla="*/ 222 w 1308"/>
                <a:gd name="T113" fmla="*/ 2 h 508"/>
                <a:gd name="T114" fmla="*/ 228 w 1308"/>
                <a:gd name="T115" fmla="*/ 2 h 508"/>
                <a:gd name="T116" fmla="*/ 241 w 1308"/>
                <a:gd name="T117" fmla="*/ 1 h 508"/>
                <a:gd name="T118" fmla="*/ 247 w 1308"/>
                <a:gd name="T119" fmla="*/ 1 h 508"/>
                <a:gd name="T120" fmla="*/ 254 w 1308"/>
                <a:gd name="T121" fmla="*/ 0 h 508"/>
                <a:gd name="T122" fmla="*/ 268 w 1308"/>
                <a:gd name="T123" fmla="*/ 1 h 5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308" h="508">
                  <a:moveTo>
                    <a:pt x="489" y="89"/>
                  </a:moveTo>
                  <a:cubicBezTo>
                    <a:pt x="533" y="107"/>
                    <a:pt x="584" y="121"/>
                    <a:pt x="652" y="122"/>
                  </a:cubicBezTo>
                  <a:cubicBezTo>
                    <a:pt x="722" y="122"/>
                    <a:pt x="775" y="108"/>
                    <a:pt x="820" y="89"/>
                  </a:cubicBezTo>
                  <a:cubicBezTo>
                    <a:pt x="896" y="54"/>
                    <a:pt x="950" y="6"/>
                    <a:pt x="1039" y="1"/>
                  </a:cubicBezTo>
                  <a:cubicBezTo>
                    <a:pt x="1041" y="1"/>
                    <a:pt x="1043" y="1"/>
                    <a:pt x="1044" y="1"/>
                  </a:cubicBezTo>
                  <a:cubicBezTo>
                    <a:pt x="1046" y="1"/>
                    <a:pt x="1046" y="1"/>
                    <a:pt x="1046" y="1"/>
                  </a:cubicBezTo>
                  <a:cubicBezTo>
                    <a:pt x="1049" y="1"/>
                    <a:pt x="1052" y="0"/>
                    <a:pt x="1054" y="0"/>
                  </a:cubicBezTo>
                  <a:cubicBezTo>
                    <a:pt x="1055" y="0"/>
                    <a:pt x="1055" y="0"/>
                    <a:pt x="1055" y="0"/>
                  </a:cubicBezTo>
                  <a:cubicBezTo>
                    <a:pt x="1055" y="0"/>
                    <a:pt x="1055" y="0"/>
                    <a:pt x="1055" y="0"/>
                  </a:cubicBezTo>
                  <a:cubicBezTo>
                    <a:pt x="1057" y="0"/>
                    <a:pt x="1059" y="0"/>
                    <a:pt x="1061" y="1"/>
                  </a:cubicBezTo>
                  <a:cubicBezTo>
                    <a:pt x="1061" y="1"/>
                    <a:pt x="1061" y="1"/>
                    <a:pt x="1061" y="1"/>
                  </a:cubicBezTo>
                  <a:cubicBezTo>
                    <a:pt x="1063" y="1"/>
                    <a:pt x="1065" y="1"/>
                    <a:pt x="1067" y="1"/>
                  </a:cubicBezTo>
                  <a:cubicBezTo>
                    <a:pt x="1067" y="1"/>
                    <a:pt x="1067" y="1"/>
                    <a:pt x="1067" y="1"/>
                  </a:cubicBezTo>
                  <a:cubicBezTo>
                    <a:pt x="1069" y="1"/>
                    <a:pt x="1072" y="1"/>
                    <a:pt x="1074" y="1"/>
                  </a:cubicBezTo>
                  <a:cubicBezTo>
                    <a:pt x="1074" y="1"/>
                    <a:pt x="1074" y="1"/>
                    <a:pt x="1074" y="1"/>
                  </a:cubicBezTo>
                  <a:cubicBezTo>
                    <a:pt x="1076" y="1"/>
                    <a:pt x="1078" y="1"/>
                    <a:pt x="1080" y="2"/>
                  </a:cubicBezTo>
                  <a:cubicBezTo>
                    <a:pt x="1080" y="2"/>
                    <a:pt x="1080" y="2"/>
                    <a:pt x="1080" y="2"/>
                  </a:cubicBezTo>
                  <a:cubicBezTo>
                    <a:pt x="1082" y="2"/>
                    <a:pt x="1084" y="2"/>
                    <a:pt x="1086" y="2"/>
                  </a:cubicBezTo>
                  <a:cubicBezTo>
                    <a:pt x="1086" y="2"/>
                    <a:pt x="1086" y="2"/>
                    <a:pt x="1086" y="2"/>
                  </a:cubicBezTo>
                  <a:cubicBezTo>
                    <a:pt x="1088" y="3"/>
                    <a:pt x="1091" y="3"/>
                    <a:pt x="1093" y="3"/>
                  </a:cubicBezTo>
                  <a:cubicBezTo>
                    <a:pt x="1093" y="3"/>
                    <a:pt x="1093" y="3"/>
                    <a:pt x="1093" y="3"/>
                  </a:cubicBezTo>
                  <a:cubicBezTo>
                    <a:pt x="1095" y="4"/>
                    <a:pt x="1097" y="4"/>
                    <a:pt x="1099" y="4"/>
                  </a:cubicBezTo>
                  <a:cubicBezTo>
                    <a:pt x="1099" y="4"/>
                    <a:pt x="1099" y="4"/>
                    <a:pt x="1099" y="4"/>
                  </a:cubicBezTo>
                  <a:cubicBezTo>
                    <a:pt x="1101" y="5"/>
                    <a:pt x="1103" y="5"/>
                    <a:pt x="1105" y="5"/>
                  </a:cubicBezTo>
                  <a:cubicBezTo>
                    <a:pt x="1105" y="5"/>
                    <a:pt x="1105" y="5"/>
                    <a:pt x="1105" y="5"/>
                  </a:cubicBezTo>
                  <a:cubicBezTo>
                    <a:pt x="1107" y="6"/>
                    <a:pt x="1109" y="6"/>
                    <a:pt x="1111" y="7"/>
                  </a:cubicBezTo>
                  <a:cubicBezTo>
                    <a:pt x="1111" y="7"/>
                    <a:pt x="1111" y="7"/>
                    <a:pt x="1111" y="7"/>
                  </a:cubicBezTo>
                  <a:cubicBezTo>
                    <a:pt x="1113" y="7"/>
                    <a:pt x="1115" y="8"/>
                    <a:pt x="1117" y="8"/>
                  </a:cubicBezTo>
                  <a:cubicBezTo>
                    <a:pt x="1117" y="8"/>
                    <a:pt x="1117" y="8"/>
                    <a:pt x="1117" y="8"/>
                  </a:cubicBezTo>
                  <a:cubicBezTo>
                    <a:pt x="1119" y="9"/>
                    <a:pt x="1121" y="9"/>
                    <a:pt x="1123" y="10"/>
                  </a:cubicBezTo>
                  <a:cubicBezTo>
                    <a:pt x="1123" y="10"/>
                    <a:pt x="1123" y="10"/>
                    <a:pt x="1123" y="10"/>
                  </a:cubicBezTo>
                  <a:cubicBezTo>
                    <a:pt x="1127" y="11"/>
                    <a:pt x="1131" y="12"/>
                    <a:pt x="1135" y="13"/>
                  </a:cubicBezTo>
                  <a:cubicBezTo>
                    <a:pt x="1135" y="13"/>
                    <a:pt x="1135" y="13"/>
                    <a:pt x="1135" y="13"/>
                  </a:cubicBezTo>
                  <a:cubicBezTo>
                    <a:pt x="1213" y="39"/>
                    <a:pt x="1275" y="102"/>
                    <a:pt x="1299" y="184"/>
                  </a:cubicBezTo>
                  <a:cubicBezTo>
                    <a:pt x="1299" y="184"/>
                    <a:pt x="1299" y="184"/>
                    <a:pt x="1299" y="184"/>
                  </a:cubicBezTo>
                  <a:cubicBezTo>
                    <a:pt x="1300" y="190"/>
                    <a:pt x="1302" y="196"/>
                    <a:pt x="1303" y="202"/>
                  </a:cubicBezTo>
                  <a:cubicBezTo>
                    <a:pt x="1303" y="202"/>
                    <a:pt x="1303" y="202"/>
                    <a:pt x="1303" y="202"/>
                  </a:cubicBezTo>
                  <a:cubicBezTo>
                    <a:pt x="1304" y="204"/>
                    <a:pt x="1304" y="206"/>
                    <a:pt x="1304" y="208"/>
                  </a:cubicBezTo>
                  <a:cubicBezTo>
                    <a:pt x="1304" y="208"/>
                    <a:pt x="1304" y="208"/>
                    <a:pt x="1304" y="208"/>
                  </a:cubicBezTo>
                  <a:cubicBezTo>
                    <a:pt x="1305" y="210"/>
                    <a:pt x="1305" y="213"/>
                    <a:pt x="1305" y="215"/>
                  </a:cubicBezTo>
                  <a:cubicBezTo>
                    <a:pt x="1305" y="215"/>
                    <a:pt x="1305" y="215"/>
                    <a:pt x="1305" y="215"/>
                  </a:cubicBezTo>
                  <a:cubicBezTo>
                    <a:pt x="1306" y="219"/>
                    <a:pt x="1307" y="223"/>
                    <a:pt x="1307" y="228"/>
                  </a:cubicBezTo>
                  <a:cubicBezTo>
                    <a:pt x="1307" y="228"/>
                    <a:pt x="1307" y="228"/>
                    <a:pt x="1307" y="228"/>
                  </a:cubicBezTo>
                  <a:cubicBezTo>
                    <a:pt x="1307" y="230"/>
                    <a:pt x="1307" y="232"/>
                    <a:pt x="1308" y="234"/>
                  </a:cubicBezTo>
                  <a:cubicBezTo>
                    <a:pt x="1308" y="234"/>
                    <a:pt x="1308" y="234"/>
                    <a:pt x="1308" y="234"/>
                  </a:cubicBezTo>
                  <a:cubicBezTo>
                    <a:pt x="1308" y="239"/>
                    <a:pt x="1308" y="243"/>
                    <a:pt x="1308" y="248"/>
                  </a:cubicBezTo>
                  <a:cubicBezTo>
                    <a:pt x="1308" y="248"/>
                    <a:pt x="1308" y="248"/>
                    <a:pt x="1308" y="248"/>
                  </a:cubicBezTo>
                  <a:cubicBezTo>
                    <a:pt x="1308" y="250"/>
                    <a:pt x="1308" y="252"/>
                    <a:pt x="1308" y="254"/>
                  </a:cubicBezTo>
                  <a:cubicBezTo>
                    <a:pt x="1308" y="254"/>
                    <a:pt x="1308" y="254"/>
                    <a:pt x="1308" y="254"/>
                  </a:cubicBezTo>
                  <a:cubicBezTo>
                    <a:pt x="1308" y="257"/>
                    <a:pt x="1308" y="259"/>
                    <a:pt x="1308" y="261"/>
                  </a:cubicBezTo>
                  <a:cubicBezTo>
                    <a:pt x="1308" y="261"/>
                    <a:pt x="1308" y="261"/>
                    <a:pt x="1308" y="261"/>
                  </a:cubicBezTo>
                  <a:cubicBezTo>
                    <a:pt x="1308" y="265"/>
                    <a:pt x="1308" y="270"/>
                    <a:pt x="1308" y="274"/>
                  </a:cubicBezTo>
                  <a:cubicBezTo>
                    <a:pt x="1308" y="274"/>
                    <a:pt x="1308" y="274"/>
                    <a:pt x="1308" y="274"/>
                  </a:cubicBezTo>
                  <a:cubicBezTo>
                    <a:pt x="1307" y="276"/>
                    <a:pt x="1307" y="279"/>
                    <a:pt x="1307" y="281"/>
                  </a:cubicBezTo>
                  <a:cubicBezTo>
                    <a:pt x="1307" y="281"/>
                    <a:pt x="1307" y="281"/>
                    <a:pt x="1307" y="281"/>
                  </a:cubicBezTo>
                  <a:cubicBezTo>
                    <a:pt x="1307" y="285"/>
                    <a:pt x="1306" y="289"/>
                    <a:pt x="1305" y="294"/>
                  </a:cubicBezTo>
                  <a:cubicBezTo>
                    <a:pt x="1305" y="294"/>
                    <a:pt x="1305" y="294"/>
                    <a:pt x="1305" y="294"/>
                  </a:cubicBezTo>
                  <a:cubicBezTo>
                    <a:pt x="1305" y="296"/>
                    <a:pt x="1305" y="298"/>
                    <a:pt x="1304" y="300"/>
                  </a:cubicBezTo>
                  <a:cubicBezTo>
                    <a:pt x="1304" y="300"/>
                    <a:pt x="1304" y="300"/>
                    <a:pt x="1304" y="300"/>
                  </a:cubicBezTo>
                  <a:cubicBezTo>
                    <a:pt x="1304" y="302"/>
                    <a:pt x="1304" y="304"/>
                    <a:pt x="1303" y="306"/>
                  </a:cubicBezTo>
                  <a:cubicBezTo>
                    <a:pt x="1303" y="306"/>
                    <a:pt x="1303" y="306"/>
                    <a:pt x="1303" y="306"/>
                  </a:cubicBezTo>
                  <a:cubicBezTo>
                    <a:pt x="1302" y="313"/>
                    <a:pt x="1300" y="319"/>
                    <a:pt x="1299" y="325"/>
                  </a:cubicBezTo>
                  <a:cubicBezTo>
                    <a:pt x="1299" y="325"/>
                    <a:pt x="1299" y="325"/>
                    <a:pt x="1299" y="325"/>
                  </a:cubicBezTo>
                  <a:cubicBezTo>
                    <a:pt x="1275" y="406"/>
                    <a:pt x="1213" y="469"/>
                    <a:pt x="1135" y="495"/>
                  </a:cubicBezTo>
                  <a:cubicBezTo>
                    <a:pt x="1135" y="495"/>
                    <a:pt x="1135" y="495"/>
                    <a:pt x="1135" y="495"/>
                  </a:cubicBezTo>
                  <a:cubicBezTo>
                    <a:pt x="1131" y="496"/>
                    <a:pt x="1127" y="498"/>
                    <a:pt x="1123" y="499"/>
                  </a:cubicBezTo>
                  <a:cubicBezTo>
                    <a:pt x="1123" y="499"/>
                    <a:pt x="1123" y="499"/>
                    <a:pt x="1123" y="499"/>
                  </a:cubicBezTo>
                  <a:cubicBezTo>
                    <a:pt x="1121" y="499"/>
                    <a:pt x="1119" y="500"/>
                    <a:pt x="1117" y="500"/>
                  </a:cubicBezTo>
                  <a:cubicBezTo>
                    <a:pt x="1117" y="500"/>
                    <a:pt x="1117" y="500"/>
                    <a:pt x="1117" y="500"/>
                  </a:cubicBezTo>
                  <a:cubicBezTo>
                    <a:pt x="1115" y="501"/>
                    <a:pt x="1113" y="501"/>
                    <a:pt x="1111" y="502"/>
                  </a:cubicBezTo>
                  <a:cubicBezTo>
                    <a:pt x="1111" y="502"/>
                    <a:pt x="1111" y="502"/>
                    <a:pt x="1111" y="502"/>
                  </a:cubicBezTo>
                  <a:cubicBezTo>
                    <a:pt x="1109" y="502"/>
                    <a:pt x="1107" y="503"/>
                    <a:pt x="1105" y="503"/>
                  </a:cubicBezTo>
                  <a:cubicBezTo>
                    <a:pt x="1105" y="503"/>
                    <a:pt x="1105" y="503"/>
                    <a:pt x="1105" y="503"/>
                  </a:cubicBezTo>
                  <a:cubicBezTo>
                    <a:pt x="1103" y="504"/>
                    <a:pt x="1101" y="504"/>
                    <a:pt x="1099" y="504"/>
                  </a:cubicBezTo>
                  <a:cubicBezTo>
                    <a:pt x="1099" y="504"/>
                    <a:pt x="1099" y="504"/>
                    <a:pt x="1099" y="504"/>
                  </a:cubicBezTo>
                  <a:cubicBezTo>
                    <a:pt x="1097" y="505"/>
                    <a:pt x="1095" y="505"/>
                    <a:pt x="1093" y="505"/>
                  </a:cubicBezTo>
                  <a:cubicBezTo>
                    <a:pt x="1093" y="505"/>
                    <a:pt x="1093" y="505"/>
                    <a:pt x="1093" y="505"/>
                  </a:cubicBezTo>
                  <a:cubicBezTo>
                    <a:pt x="1091" y="506"/>
                    <a:pt x="1088" y="506"/>
                    <a:pt x="1086" y="506"/>
                  </a:cubicBezTo>
                  <a:cubicBezTo>
                    <a:pt x="1086" y="506"/>
                    <a:pt x="1086" y="506"/>
                    <a:pt x="1086" y="506"/>
                  </a:cubicBezTo>
                  <a:cubicBezTo>
                    <a:pt x="1084" y="506"/>
                    <a:pt x="1082" y="507"/>
                    <a:pt x="1080" y="507"/>
                  </a:cubicBezTo>
                  <a:cubicBezTo>
                    <a:pt x="1080" y="507"/>
                    <a:pt x="1080" y="507"/>
                    <a:pt x="1080" y="507"/>
                  </a:cubicBezTo>
                  <a:cubicBezTo>
                    <a:pt x="1078" y="507"/>
                    <a:pt x="1076" y="507"/>
                    <a:pt x="1074" y="507"/>
                  </a:cubicBezTo>
                  <a:cubicBezTo>
                    <a:pt x="1074" y="507"/>
                    <a:pt x="1074" y="507"/>
                    <a:pt x="1074" y="507"/>
                  </a:cubicBezTo>
                  <a:cubicBezTo>
                    <a:pt x="1072" y="508"/>
                    <a:pt x="1069" y="508"/>
                    <a:pt x="1067" y="508"/>
                  </a:cubicBezTo>
                  <a:cubicBezTo>
                    <a:pt x="1067" y="508"/>
                    <a:pt x="1067" y="508"/>
                    <a:pt x="1067" y="508"/>
                  </a:cubicBezTo>
                  <a:cubicBezTo>
                    <a:pt x="1065" y="508"/>
                    <a:pt x="1063" y="508"/>
                    <a:pt x="1061" y="508"/>
                  </a:cubicBezTo>
                  <a:cubicBezTo>
                    <a:pt x="1061" y="508"/>
                    <a:pt x="1061" y="508"/>
                    <a:pt x="1061" y="508"/>
                  </a:cubicBezTo>
                  <a:cubicBezTo>
                    <a:pt x="1059" y="508"/>
                    <a:pt x="1057" y="508"/>
                    <a:pt x="1055" y="508"/>
                  </a:cubicBezTo>
                  <a:cubicBezTo>
                    <a:pt x="1055" y="508"/>
                    <a:pt x="1055" y="508"/>
                    <a:pt x="1055" y="508"/>
                  </a:cubicBezTo>
                  <a:cubicBezTo>
                    <a:pt x="1053" y="508"/>
                    <a:pt x="1053" y="508"/>
                    <a:pt x="1053" y="508"/>
                  </a:cubicBezTo>
                  <a:cubicBezTo>
                    <a:pt x="1052" y="508"/>
                    <a:pt x="1051" y="508"/>
                    <a:pt x="1051" y="508"/>
                  </a:cubicBezTo>
                  <a:cubicBezTo>
                    <a:pt x="1050" y="508"/>
                    <a:pt x="1048" y="508"/>
                    <a:pt x="1047" y="508"/>
                  </a:cubicBezTo>
                  <a:cubicBezTo>
                    <a:pt x="1047" y="508"/>
                    <a:pt x="1047" y="508"/>
                    <a:pt x="1047" y="508"/>
                  </a:cubicBezTo>
                  <a:cubicBezTo>
                    <a:pt x="953" y="505"/>
                    <a:pt x="898" y="455"/>
                    <a:pt x="820" y="420"/>
                  </a:cubicBezTo>
                  <a:cubicBezTo>
                    <a:pt x="775" y="401"/>
                    <a:pt x="723" y="387"/>
                    <a:pt x="653" y="386"/>
                  </a:cubicBezTo>
                  <a:cubicBezTo>
                    <a:pt x="585" y="387"/>
                    <a:pt x="533" y="401"/>
                    <a:pt x="489" y="419"/>
                  </a:cubicBezTo>
                  <a:cubicBezTo>
                    <a:pt x="412" y="454"/>
                    <a:pt x="359" y="503"/>
                    <a:pt x="268" y="508"/>
                  </a:cubicBezTo>
                  <a:cubicBezTo>
                    <a:pt x="267" y="508"/>
                    <a:pt x="265" y="508"/>
                    <a:pt x="264" y="508"/>
                  </a:cubicBezTo>
                  <a:cubicBezTo>
                    <a:pt x="262" y="508"/>
                    <a:pt x="262" y="508"/>
                    <a:pt x="262" y="508"/>
                  </a:cubicBezTo>
                  <a:cubicBezTo>
                    <a:pt x="259" y="508"/>
                    <a:pt x="256" y="508"/>
                    <a:pt x="254" y="508"/>
                  </a:cubicBezTo>
                  <a:cubicBezTo>
                    <a:pt x="254" y="508"/>
                    <a:pt x="254" y="508"/>
                    <a:pt x="254" y="508"/>
                  </a:cubicBezTo>
                  <a:cubicBezTo>
                    <a:pt x="254" y="508"/>
                    <a:pt x="254" y="508"/>
                    <a:pt x="254" y="508"/>
                  </a:cubicBezTo>
                  <a:cubicBezTo>
                    <a:pt x="251" y="508"/>
                    <a:pt x="249" y="508"/>
                    <a:pt x="247" y="508"/>
                  </a:cubicBezTo>
                  <a:cubicBezTo>
                    <a:pt x="247" y="508"/>
                    <a:pt x="247" y="508"/>
                    <a:pt x="247" y="508"/>
                  </a:cubicBezTo>
                  <a:cubicBezTo>
                    <a:pt x="245" y="508"/>
                    <a:pt x="243" y="508"/>
                    <a:pt x="241" y="508"/>
                  </a:cubicBezTo>
                  <a:cubicBezTo>
                    <a:pt x="241" y="508"/>
                    <a:pt x="241" y="508"/>
                    <a:pt x="241" y="508"/>
                  </a:cubicBezTo>
                  <a:cubicBezTo>
                    <a:pt x="239" y="508"/>
                    <a:pt x="236" y="508"/>
                    <a:pt x="234" y="507"/>
                  </a:cubicBezTo>
                  <a:cubicBezTo>
                    <a:pt x="234" y="507"/>
                    <a:pt x="234" y="507"/>
                    <a:pt x="234" y="507"/>
                  </a:cubicBezTo>
                  <a:cubicBezTo>
                    <a:pt x="232" y="507"/>
                    <a:pt x="230" y="507"/>
                    <a:pt x="228" y="507"/>
                  </a:cubicBezTo>
                  <a:cubicBezTo>
                    <a:pt x="228" y="507"/>
                    <a:pt x="228" y="507"/>
                    <a:pt x="228" y="507"/>
                  </a:cubicBezTo>
                  <a:cubicBezTo>
                    <a:pt x="226" y="507"/>
                    <a:pt x="224" y="506"/>
                    <a:pt x="222" y="506"/>
                  </a:cubicBezTo>
                  <a:cubicBezTo>
                    <a:pt x="222" y="506"/>
                    <a:pt x="222" y="506"/>
                    <a:pt x="222" y="506"/>
                  </a:cubicBezTo>
                  <a:cubicBezTo>
                    <a:pt x="220" y="506"/>
                    <a:pt x="218" y="506"/>
                    <a:pt x="215" y="505"/>
                  </a:cubicBezTo>
                  <a:cubicBezTo>
                    <a:pt x="215" y="505"/>
                    <a:pt x="215" y="505"/>
                    <a:pt x="215" y="505"/>
                  </a:cubicBezTo>
                  <a:cubicBezTo>
                    <a:pt x="213" y="505"/>
                    <a:pt x="211" y="505"/>
                    <a:pt x="209" y="504"/>
                  </a:cubicBezTo>
                  <a:cubicBezTo>
                    <a:pt x="209" y="504"/>
                    <a:pt x="209" y="504"/>
                    <a:pt x="209" y="504"/>
                  </a:cubicBezTo>
                  <a:cubicBezTo>
                    <a:pt x="207" y="504"/>
                    <a:pt x="205" y="504"/>
                    <a:pt x="203" y="503"/>
                  </a:cubicBezTo>
                  <a:cubicBezTo>
                    <a:pt x="203" y="503"/>
                    <a:pt x="203" y="503"/>
                    <a:pt x="203" y="503"/>
                  </a:cubicBezTo>
                  <a:cubicBezTo>
                    <a:pt x="201" y="503"/>
                    <a:pt x="199" y="502"/>
                    <a:pt x="197" y="502"/>
                  </a:cubicBezTo>
                  <a:cubicBezTo>
                    <a:pt x="197" y="502"/>
                    <a:pt x="197" y="502"/>
                    <a:pt x="197" y="502"/>
                  </a:cubicBezTo>
                  <a:cubicBezTo>
                    <a:pt x="195" y="501"/>
                    <a:pt x="193" y="501"/>
                    <a:pt x="191" y="500"/>
                  </a:cubicBezTo>
                  <a:cubicBezTo>
                    <a:pt x="191" y="500"/>
                    <a:pt x="191" y="500"/>
                    <a:pt x="191" y="500"/>
                  </a:cubicBezTo>
                  <a:cubicBezTo>
                    <a:pt x="189" y="500"/>
                    <a:pt x="187" y="499"/>
                    <a:pt x="185" y="499"/>
                  </a:cubicBezTo>
                  <a:cubicBezTo>
                    <a:pt x="185" y="499"/>
                    <a:pt x="185" y="499"/>
                    <a:pt x="185" y="499"/>
                  </a:cubicBezTo>
                  <a:cubicBezTo>
                    <a:pt x="181" y="498"/>
                    <a:pt x="177" y="496"/>
                    <a:pt x="173" y="495"/>
                  </a:cubicBezTo>
                  <a:cubicBezTo>
                    <a:pt x="173" y="495"/>
                    <a:pt x="173" y="495"/>
                    <a:pt x="173" y="495"/>
                  </a:cubicBezTo>
                  <a:cubicBezTo>
                    <a:pt x="95" y="469"/>
                    <a:pt x="33" y="406"/>
                    <a:pt x="9" y="325"/>
                  </a:cubicBezTo>
                  <a:cubicBezTo>
                    <a:pt x="9" y="325"/>
                    <a:pt x="9" y="325"/>
                    <a:pt x="9" y="325"/>
                  </a:cubicBezTo>
                  <a:cubicBezTo>
                    <a:pt x="8" y="319"/>
                    <a:pt x="6" y="313"/>
                    <a:pt x="5" y="306"/>
                  </a:cubicBezTo>
                  <a:cubicBezTo>
                    <a:pt x="5" y="306"/>
                    <a:pt x="5" y="306"/>
                    <a:pt x="5" y="306"/>
                  </a:cubicBezTo>
                  <a:cubicBezTo>
                    <a:pt x="4" y="304"/>
                    <a:pt x="4" y="302"/>
                    <a:pt x="4" y="300"/>
                  </a:cubicBezTo>
                  <a:cubicBezTo>
                    <a:pt x="4" y="300"/>
                    <a:pt x="4" y="300"/>
                    <a:pt x="4" y="300"/>
                  </a:cubicBezTo>
                  <a:cubicBezTo>
                    <a:pt x="3" y="298"/>
                    <a:pt x="3" y="296"/>
                    <a:pt x="3" y="294"/>
                  </a:cubicBezTo>
                  <a:cubicBezTo>
                    <a:pt x="3" y="294"/>
                    <a:pt x="3" y="294"/>
                    <a:pt x="3" y="294"/>
                  </a:cubicBezTo>
                  <a:cubicBezTo>
                    <a:pt x="2" y="289"/>
                    <a:pt x="1" y="285"/>
                    <a:pt x="1" y="281"/>
                  </a:cubicBezTo>
                  <a:cubicBezTo>
                    <a:pt x="1" y="281"/>
                    <a:pt x="1" y="281"/>
                    <a:pt x="1" y="281"/>
                  </a:cubicBezTo>
                  <a:cubicBezTo>
                    <a:pt x="1" y="279"/>
                    <a:pt x="1" y="276"/>
                    <a:pt x="0" y="274"/>
                  </a:cubicBezTo>
                  <a:cubicBezTo>
                    <a:pt x="0" y="274"/>
                    <a:pt x="0" y="274"/>
                    <a:pt x="0" y="274"/>
                  </a:cubicBezTo>
                  <a:cubicBezTo>
                    <a:pt x="0" y="270"/>
                    <a:pt x="0" y="265"/>
                    <a:pt x="0" y="261"/>
                  </a:cubicBezTo>
                  <a:cubicBezTo>
                    <a:pt x="0" y="261"/>
                    <a:pt x="0" y="261"/>
                    <a:pt x="0" y="261"/>
                  </a:cubicBezTo>
                  <a:cubicBezTo>
                    <a:pt x="0" y="259"/>
                    <a:pt x="0" y="257"/>
                    <a:pt x="0" y="254"/>
                  </a:cubicBezTo>
                  <a:cubicBezTo>
                    <a:pt x="0" y="254"/>
                    <a:pt x="0" y="254"/>
                    <a:pt x="0" y="254"/>
                  </a:cubicBezTo>
                  <a:cubicBezTo>
                    <a:pt x="0" y="252"/>
                    <a:pt x="0" y="250"/>
                    <a:pt x="0" y="248"/>
                  </a:cubicBezTo>
                  <a:cubicBezTo>
                    <a:pt x="0" y="248"/>
                    <a:pt x="0" y="248"/>
                    <a:pt x="0" y="248"/>
                  </a:cubicBezTo>
                  <a:cubicBezTo>
                    <a:pt x="0" y="243"/>
                    <a:pt x="0" y="239"/>
                    <a:pt x="0" y="234"/>
                  </a:cubicBezTo>
                  <a:cubicBezTo>
                    <a:pt x="0" y="234"/>
                    <a:pt x="0" y="234"/>
                    <a:pt x="0" y="234"/>
                  </a:cubicBezTo>
                  <a:cubicBezTo>
                    <a:pt x="1" y="232"/>
                    <a:pt x="1" y="230"/>
                    <a:pt x="1" y="228"/>
                  </a:cubicBezTo>
                  <a:cubicBezTo>
                    <a:pt x="1" y="228"/>
                    <a:pt x="1" y="228"/>
                    <a:pt x="1" y="228"/>
                  </a:cubicBezTo>
                  <a:cubicBezTo>
                    <a:pt x="1" y="223"/>
                    <a:pt x="2" y="219"/>
                    <a:pt x="3" y="215"/>
                  </a:cubicBezTo>
                  <a:cubicBezTo>
                    <a:pt x="3" y="215"/>
                    <a:pt x="3" y="215"/>
                    <a:pt x="3" y="215"/>
                  </a:cubicBezTo>
                  <a:cubicBezTo>
                    <a:pt x="3" y="213"/>
                    <a:pt x="3" y="210"/>
                    <a:pt x="4" y="208"/>
                  </a:cubicBezTo>
                  <a:cubicBezTo>
                    <a:pt x="4" y="208"/>
                    <a:pt x="4" y="208"/>
                    <a:pt x="4" y="208"/>
                  </a:cubicBezTo>
                  <a:cubicBezTo>
                    <a:pt x="4" y="206"/>
                    <a:pt x="4" y="204"/>
                    <a:pt x="5" y="202"/>
                  </a:cubicBezTo>
                  <a:cubicBezTo>
                    <a:pt x="5" y="202"/>
                    <a:pt x="5" y="202"/>
                    <a:pt x="5" y="202"/>
                  </a:cubicBezTo>
                  <a:cubicBezTo>
                    <a:pt x="6" y="196"/>
                    <a:pt x="8" y="190"/>
                    <a:pt x="9" y="184"/>
                  </a:cubicBezTo>
                  <a:cubicBezTo>
                    <a:pt x="9" y="184"/>
                    <a:pt x="9" y="184"/>
                    <a:pt x="9" y="184"/>
                  </a:cubicBezTo>
                  <a:cubicBezTo>
                    <a:pt x="33" y="102"/>
                    <a:pt x="95" y="39"/>
                    <a:pt x="173" y="13"/>
                  </a:cubicBezTo>
                  <a:cubicBezTo>
                    <a:pt x="173" y="13"/>
                    <a:pt x="173" y="13"/>
                    <a:pt x="173" y="13"/>
                  </a:cubicBezTo>
                  <a:cubicBezTo>
                    <a:pt x="177" y="12"/>
                    <a:pt x="181" y="11"/>
                    <a:pt x="185" y="10"/>
                  </a:cubicBezTo>
                  <a:cubicBezTo>
                    <a:pt x="185" y="10"/>
                    <a:pt x="185" y="10"/>
                    <a:pt x="185" y="10"/>
                  </a:cubicBezTo>
                  <a:cubicBezTo>
                    <a:pt x="187" y="9"/>
                    <a:pt x="189" y="9"/>
                    <a:pt x="191" y="8"/>
                  </a:cubicBezTo>
                  <a:cubicBezTo>
                    <a:pt x="191" y="8"/>
                    <a:pt x="191" y="8"/>
                    <a:pt x="191" y="8"/>
                  </a:cubicBezTo>
                  <a:cubicBezTo>
                    <a:pt x="193" y="8"/>
                    <a:pt x="195" y="7"/>
                    <a:pt x="197" y="7"/>
                  </a:cubicBezTo>
                  <a:cubicBezTo>
                    <a:pt x="197" y="7"/>
                    <a:pt x="197" y="7"/>
                    <a:pt x="197" y="7"/>
                  </a:cubicBezTo>
                  <a:cubicBezTo>
                    <a:pt x="199" y="6"/>
                    <a:pt x="201" y="6"/>
                    <a:pt x="203" y="5"/>
                  </a:cubicBezTo>
                  <a:cubicBezTo>
                    <a:pt x="203" y="5"/>
                    <a:pt x="203" y="5"/>
                    <a:pt x="203" y="5"/>
                  </a:cubicBezTo>
                  <a:cubicBezTo>
                    <a:pt x="205" y="5"/>
                    <a:pt x="207" y="5"/>
                    <a:pt x="209" y="4"/>
                  </a:cubicBezTo>
                  <a:cubicBezTo>
                    <a:pt x="209" y="4"/>
                    <a:pt x="209" y="4"/>
                    <a:pt x="209" y="4"/>
                  </a:cubicBezTo>
                  <a:cubicBezTo>
                    <a:pt x="211" y="4"/>
                    <a:pt x="213" y="4"/>
                    <a:pt x="215" y="3"/>
                  </a:cubicBezTo>
                  <a:cubicBezTo>
                    <a:pt x="215" y="3"/>
                    <a:pt x="215" y="3"/>
                    <a:pt x="215" y="3"/>
                  </a:cubicBezTo>
                  <a:cubicBezTo>
                    <a:pt x="218" y="3"/>
                    <a:pt x="220" y="3"/>
                    <a:pt x="222" y="2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24" y="2"/>
                    <a:pt x="226" y="2"/>
                    <a:pt x="228" y="2"/>
                  </a:cubicBezTo>
                  <a:cubicBezTo>
                    <a:pt x="228" y="2"/>
                    <a:pt x="228" y="2"/>
                    <a:pt x="228" y="2"/>
                  </a:cubicBezTo>
                  <a:cubicBezTo>
                    <a:pt x="230" y="1"/>
                    <a:pt x="232" y="1"/>
                    <a:pt x="234" y="1"/>
                  </a:cubicBezTo>
                  <a:cubicBezTo>
                    <a:pt x="234" y="1"/>
                    <a:pt x="234" y="1"/>
                    <a:pt x="234" y="1"/>
                  </a:cubicBezTo>
                  <a:cubicBezTo>
                    <a:pt x="236" y="1"/>
                    <a:pt x="239" y="1"/>
                    <a:pt x="241" y="1"/>
                  </a:cubicBezTo>
                  <a:cubicBezTo>
                    <a:pt x="241" y="1"/>
                    <a:pt x="241" y="1"/>
                    <a:pt x="241" y="1"/>
                  </a:cubicBezTo>
                  <a:cubicBezTo>
                    <a:pt x="243" y="1"/>
                    <a:pt x="245" y="1"/>
                    <a:pt x="247" y="1"/>
                  </a:cubicBezTo>
                  <a:cubicBezTo>
                    <a:pt x="247" y="1"/>
                    <a:pt x="247" y="1"/>
                    <a:pt x="247" y="1"/>
                  </a:cubicBezTo>
                  <a:cubicBezTo>
                    <a:pt x="249" y="0"/>
                    <a:pt x="251" y="0"/>
                    <a:pt x="254" y="0"/>
                  </a:cubicBezTo>
                  <a:cubicBezTo>
                    <a:pt x="254" y="0"/>
                    <a:pt x="254" y="0"/>
                    <a:pt x="254" y="0"/>
                  </a:cubicBezTo>
                  <a:cubicBezTo>
                    <a:pt x="254" y="0"/>
                    <a:pt x="254" y="0"/>
                    <a:pt x="254" y="0"/>
                  </a:cubicBezTo>
                  <a:cubicBezTo>
                    <a:pt x="256" y="0"/>
                    <a:pt x="259" y="1"/>
                    <a:pt x="262" y="1"/>
                  </a:cubicBezTo>
                  <a:cubicBezTo>
                    <a:pt x="262" y="1"/>
                    <a:pt x="263" y="1"/>
                    <a:pt x="264" y="1"/>
                  </a:cubicBezTo>
                  <a:cubicBezTo>
                    <a:pt x="265" y="1"/>
                    <a:pt x="267" y="1"/>
                    <a:pt x="268" y="1"/>
                  </a:cubicBezTo>
                  <a:cubicBezTo>
                    <a:pt x="359" y="6"/>
                    <a:pt x="412" y="55"/>
                    <a:pt x="489" y="89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effectLst>
              <a:outerShdw blurRad="1397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Arial" panose="020B0604020202020204" pitchFamily="34" charset="0"/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A89695AB-6172-270B-7FDB-A1F08694F5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9662" y="3261801"/>
              <a:ext cx="676308" cy="674708"/>
            </a:xfrm>
            <a:custGeom>
              <a:avLst/>
              <a:gdLst>
                <a:gd name="T0" fmla="*/ 86 w 483"/>
                <a:gd name="T1" fmla="*/ 397 h 483"/>
                <a:gd name="T2" fmla="*/ 397 w 483"/>
                <a:gd name="T3" fmla="*/ 397 h 483"/>
                <a:gd name="T4" fmla="*/ 397 w 483"/>
                <a:gd name="T5" fmla="*/ 86 h 483"/>
                <a:gd name="T6" fmla="*/ 86 w 483"/>
                <a:gd name="T7" fmla="*/ 86 h 483"/>
                <a:gd name="T8" fmla="*/ 86 w 483"/>
                <a:gd name="T9" fmla="*/ 397 h 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3" h="483">
                  <a:moveTo>
                    <a:pt x="86" y="397"/>
                  </a:moveTo>
                  <a:cubicBezTo>
                    <a:pt x="172" y="483"/>
                    <a:pt x="311" y="483"/>
                    <a:pt x="397" y="397"/>
                  </a:cubicBezTo>
                  <a:cubicBezTo>
                    <a:pt x="483" y="311"/>
                    <a:pt x="483" y="172"/>
                    <a:pt x="397" y="86"/>
                  </a:cubicBezTo>
                  <a:cubicBezTo>
                    <a:pt x="311" y="0"/>
                    <a:pt x="172" y="0"/>
                    <a:pt x="86" y="86"/>
                  </a:cubicBezTo>
                  <a:cubicBezTo>
                    <a:pt x="0" y="172"/>
                    <a:pt x="0" y="311"/>
                    <a:pt x="86" y="397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Arial" panose="020B0604020202020204" pitchFamily="34" charset="0"/>
              </a:endParaRPr>
            </a:p>
          </p:txBody>
        </p:sp>
        <p:sp>
          <p:nvSpPr>
            <p:cNvPr id="30" name="Freeform 17">
              <a:extLst>
                <a:ext uri="{FF2B5EF4-FFF2-40B4-BE49-F238E27FC236}">
                  <a16:creationId xmlns:a16="http://schemas.microsoft.com/office/drawing/2014/main" id="{DD10B919-710D-8D2F-5FCF-35C2AA2C98FB}"/>
                </a:ext>
              </a:extLst>
            </p:cNvPr>
            <p:cNvSpPr>
              <a:spLocks/>
            </p:cNvSpPr>
            <p:nvPr/>
          </p:nvSpPr>
          <p:spPr bwMode="auto">
            <a:xfrm>
              <a:off x="7093673" y="3242615"/>
              <a:ext cx="709883" cy="1832265"/>
            </a:xfrm>
            <a:custGeom>
              <a:avLst/>
              <a:gdLst>
                <a:gd name="T0" fmla="*/ 89 w 508"/>
                <a:gd name="T1" fmla="*/ 488 h 1309"/>
                <a:gd name="T2" fmla="*/ 0 w 508"/>
                <a:gd name="T3" fmla="*/ 262 h 1309"/>
                <a:gd name="T4" fmla="*/ 0 w 508"/>
                <a:gd name="T5" fmla="*/ 254 h 1309"/>
                <a:gd name="T6" fmla="*/ 0 w 508"/>
                <a:gd name="T7" fmla="*/ 241 h 1309"/>
                <a:gd name="T8" fmla="*/ 1 w 508"/>
                <a:gd name="T9" fmla="*/ 234 h 1309"/>
                <a:gd name="T10" fmla="*/ 2 w 508"/>
                <a:gd name="T11" fmla="*/ 222 h 1309"/>
                <a:gd name="T12" fmla="*/ 3 w 508"/>
                <a:gd name="T13" fmla="*/ 216 h 1309"/>
                <a:gd name="T14" fmla="*/ 5 w 508"/>
                <a:gd name="T15" fmla="*/ 203 h 1309"/>
                <a:gd name="T16" fmla="*/ 7 w 508"/>
                <a:gd name="T17" fmla="*/ 197 h 1309"/>
                <a:gd name="T18" fmla="*/ 9 w 508"/>
                <a:gd name="T19" fmla="*/ 185 h 1309"/>
                <a:gd name="T20" fmla="*/ 13 w 508"/>
                <a:gd name="T21" fmla="*/ 173 h 1309"/>
                <a:gd name="T22" fmla="*/ 202 w 508"/>
                <a:gd name="T23" fmla="*/ 5 h 1309"/>
                <a:gd name="T24" fmla="*/ 208 w 508"/>
                <a:gd name="T25" fmla="*/ 4 h 1309"/>
                <a:gd name="T26" fmla="*/ 227 w 508"/>
                <a:gd name="T27" fmla="*/ 1 h 1309"/>
                <a:gd name="T28" fmla="*/ 234 w 508"/>
                <a:gd name="T29" fmla="*/ 0 h 1309"/>
                <a:gd name="T30" fmla="*/ 254 w 508"/>
                <a:gd name="T31" fmla="*/ 0 h 1309"/>
                <a:gd name="T32" fmla="*/ 261 w 508"/>
                <a:gd name="T33" fmla="*/ 0 h 1309"/>
                <a:gd name="T34" fmla="*/ 281 w 508"/>
                <a:gd name="T35" fmla="*/ 1 h 1309"/>
                <a:gd name="T36" fmla="*/ 294 w 508"/>
                <a:gd name="T37" fmla="*/ 3 h 1309"/>
                <a:gd name="T38" fmla="*/ 306 w 508"/>
                <a:gd name="T39" fmla="*/ 5 h 1309"/>
                <a:gd name="T40" fmla="*/ 325 w 508"/>
                <a:gd name="T41" fmla="*/ 10 h 1309"/>
                <a:gd name="T42" fmla="*/ 498 w 508"/>
                <a:gd name="T43" fmla="*/ 185 h 1309"/>
                <a:gd name="T44" fmla="*/ 500 w 508"/>
                <a:gd name="T45" fmla="*/ 191 h 1309"/>
                <a:gd name="T46" fmla="*/ 503 w 508"/>
                <a:gd name="T47" fmla="*/ 203 h 1309"/>
                <a:gd name="T48" fmla="*/ 504 w 508"/>
                <a:gd name="T49" fmla="*/ 209 h 1309"/>
                <a:gd name="T50" fmla="*/ 506 w 508"/>
                <a:gd name="T51" fmla="*/ 222 h 1309"/>
                <a:gd name="T52" fmla="*/ 507 w 508"/>
                <a:gd name="T53" fmla="*/ 228 h 1309"/>
                <a:gd name="T54" fmla="*/ 508 w 508"/>
                <a:gd name="T55" fmla="*/ 241 h 1309"/>
                <a:gd name="T56" fmla="*/ 508 w 508"/>
                <a:gd name="T57" fmla="*/ 247 h 1309"/>
                <a:gd name="T58" fmla="*/ 508 w 508"/>
                <a:gd name="T59" fmla="*/ 255 h 1309"/>
                <a:gd name="T60" fmla="*/ 508 w 508"/>
                <a:gd name="T61" fmla="*/ 261 h 1309"/>
                <a:gd name="T62" fmla="*/ 419 w 508"/>
                <a:gd name="T63" fmla="*/ 819 h 1309"/>
                <a:gd name="T64" fmla="*/ 508 w 508"/>
                <a:gd name="T65" fmla="*/ 1047 h 1309"/>
                <a:gd name="T66" fmla="*/ 508 w 508"/>
                <a:gd name="T67" fmla="*/ 1055 h 1309"/>
                <a:gd name="T68" fmla="*/ 508 w 508"/>
                <a:gd name="T69" fmla="*/ 1067 h 1309"/>
                <a:gd name="T70" fmla="*/ 507 w 508"/>
                <a:gd name="T71" fmla="*/ 1074 h 1309"/>
                <a:gd name="T72" fmla="*/ 506 w 508"/>
                <a:gd name="T73" fmla="*/ 1086 h 1309"/>
                <a:gd name="T74" fmla="*/ 505 w 508"/>
                <a:gd name="T75" fmla="*/ 1093 h 1309"/>
                <a:gd name="T76" fmla="*/ 503 w 508"/>
                <a:gd name="T77" fmla="*/ 1105 h 1309"/>
                <a:gd name="T78" fmla="*/ 502 w 508"/>
                <a:gd name="T79" fmla="*/ 1111 h 1309"/>
                <a:gd name="T80" fmla="*/ 498 w 508"/>
                <a:gd name="T81" fmla="*/ 1123 h 1309"/>
                <a:gd name="T82" fmla="*/ 495 w 508"/>
                <a:gd name="T83" fmla="*/ 1135 h 1309"/>
                <a:gd name="T84" fmla="*/ 306 w 508"/>
                <a:gd name="T85" fmla="*/ 1303 h 1309"/>
                <a:gd name="T86" fmla="*/ 300 w 508"/>
                <a:gd name="T87" fmla="*/ 1305 h 1309"/>
                <a:gd name="T88" fmla="*/ 281 w 508"/>
                <a:gd name="T89" fmla="*/ 1307 h 1309"/>
                <a:gd name="T90" fmla="*/ 274 w 508"/>
                <a:gd name="T91" fmla="*/ 1308 h 1309"/>
                <a:gd name="T92" fmla="*/ 254 w 508"/>
                <a:gd name="T93" fmla="*/ 1309 h 1309"/>
                <a:gd name="T94" fmla="*/ 247 w 508"/>
                <a:gd name="T95" fmla="*/ 1309 h 1309"/>
                <a:gd name="T96" fmla="*/ 227 w 508"/>
                <a:gd name="T97" fmla="*/ 1307 h 1309"/>
                <a:gd name="T98" fmla="*/ 215 w 508"/>
                <a:gd name="T99" fmla="*/ 1306 h 1309"/>
                <a:gd name="T100" fmla="*/ 202 w 508"/>
                <a:gd name="T101" fmla="*/ 1303 h 1309"/>
                <a:gd name="T102" fmla="*/ 183 w 508"/>
                <a:gd name="T103" fmla="*/ 1299 h 1309"/>
                <a:gd name="T104" fmla="*/ 9 w 508"/>
                <a:gd name="T105" fmla="*/ 1123 h 1309"/>
                <a:gd name="T106" fmla="*/ 8 w 508"/>
                <a:gd name="T107" fmla="*/ 1117 h 1309"/>
                <a:gd name="T108" fmla="*/ 5 w 508"/>
                <a:gd name="T109" fmla="*/ 1105 h 1309"/>
                <a:gd name="T110" fmla="*/ 4 w 508"/>
                <a:gd name="T111" fmla="*/ 1099 h 1309"/>
                <a:gd name="T112" fmla="*/ 2 w 508"/>
                <a:gd name="T113" fmla="*/ 1086 h 1309"/>
                <a:gd name="T114" fmla="*/ 1 w 508"/>
                <a:gd name="T115" fmla="*/ 1080 h 1309"/>
                <a:gd name="T116" fmla="*/ 0 w 508"/>
                <a:gd name="T117" fmla="*/ 1067 h 1309"/>
                <a:gd name="T118" fmla="*/ 0 w 508"/>
                <a:gd name="T119" fmla="*/ 1061 h 1309"/>
                <a:gd name="T120" fmla="*/ 0 w 508"/>
                <a:gd name="T121" fmla="*/ 1055 h 1309"/>
                <a:gd name="T122" fmla="*/ 1 w 508"/>
                <a:gd name="T123" fmla="*/ 1040 h 1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08" h="1309">
                  <a:moveTo>
                    <a:pt x="89" y="819"/>
                  </a:moveTo>
                  <a:cubicBezTo>
                    <a:pt x="107" y="775"/>
                    <a:pt x="121" y="724"/>
                    <a:pt x="122" y="656"/>
                  </a:cubicBezTo>
                  <a:cubicBezTo>
                    <a:pt x="122" y="586"/>
                    <a:pt x="107" y="533"/>
                    <a:pt x="89" y="488"/>
                  </a:cubicBezTo>
                  <a:cubicBezTo>
                    <a:pt x="54" y="412"/>
                    <a:pt x="6" y="358"/>
                    <a:pt x="1" y="269"/>
                  </a:cubicBezTo>
                  <a:cubicBezTo>
                    <a:pt x="0" y="267"/>
                    <a:pt x="0" y="266"/>
                    <a:pt x="0" y="264"/>
                  </a:cubicBezTo>
                  <a:cubicBezTo>
                    <a:pt x="0" y="262"/>
                    <a:pt x="0" y="262"/>
                    <a:pt x="0" y="262"/>
                  </a:cubicBezTo>
                  <a:cubicBezTo>
                    <a:pt x="0" y="259"/>
                    <a:pt x="0" y="257"/>
                    <a:pt x="0" y="254"/>
                  </a:cubicBezTo>
                  <a:cubicBezTo>
                    <a:pt x="0" y="254"/>
                    <a:pt x="0" y="254"/>
                    <a:pt x="0" y="254"/>
                  </a:cubicBezTo>
                  <a:cubicBezTo>
                    <a:pt x="0" y="254"/>
                    <a:pt x="0" y="254"/>
                    <a:pt x="0" y="254"/>
                  </a:cubicBezTo>
                  <a:cubicBezTo>
                    <a:pt x="0" y="251"/>
                    <a:pt x="0" y="249"/>
                    <a:pt x="0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45"/>
                    <a:pt x="0" y="243"/>
                    <a:pt x="0" y="241"/>
                  </a:cubicBezTo>
                  <a:cubicBezTo>
                    <a:pt x="0" y="241"/>
                    <a:pt x="0" y="241"/>
                    <a:pt x="0" y="241"/>
                  </a:cubicBezTo>
                  <a:cubicBezTo>
                    <a:pt x="1" y="239"/>
                    <a:pt x="1" y="237"/>
                    <a:pt x="1" y="234"/>
                  </a:cubicBezTo>
                  <a:cubicBezTo>
                    <a:pt x="1" y="234"/>
                    <a:pt x="1" y="234"/>
                    <a:pt x="1" y="234"/>
                  </a:cubicBezTo>
                  <a:cubicBezTo>
                    <a:pt x="1" y="232"/>
                    <a:pt x="1" y="230"/>
                    <a:pt x="1" y="228"/>
                  </a:cubicBezTo>
                  <a:cubicBezTo>
                    <a:pt x="1" y="228"/>
                    <a:pt x="1" y="228"/>
                    <a:pt x="1" y="228"/>
                  </a:cubicBezTo>
                  <a:cubicBezTo>
                    <a:pt x="2" y="226"/>
                    <a:pt x="2" y="224"/>
                    <a:pt x="2" y="222"/>
                  </a:cubicBezTo>
                  <a:cubicBezTo>
                    <a:pt x="2" y="222"/>
                    <a:pt x="2" y="222"/>
                    <a:pt x="2" y="222"/>
                  </a:cubicBezTo>
                  <a:cubicBezTo>
                    <a:pt x="2" y="220"/>
                    <a:pt x="3" y="218"/>
                    <a:pt x="3" y="216"/>
                  </a:cubicBezTo>
                  <a:cubicBezTo>
                    <a:pt x="3" y="216"/>
                    <a:pt x="3" y="216"/>
                    <a:pt x="3" y="216"/>
                  </a:cubicBezTo>
                  <a:cubicBezTo>
                    <a:pt x="3" y="214"/>
                    <a:pt x="4" y="212"/>
                    <a:pt x="4" y="209"/>
                  </a:cubicBezTo>
                  <a:cubicBezTo>
                    <a:pt x="4" y="209"/>
                    <a:pt x="4" y="209"/>
                    <a:pt x="4" y="209"/>
                  </a:cubicBezTo>
                  <a:cubicBezTo>
                    <a:pt x="4" y="207"/>
                    <a:pt x="5" y="205"/>
                    <a:pt x="5" y="203"/>
                  </a:cubicBezTo>
                  <a:cubicBezTo>
                    <a:pt x="5" y="203"/>
                    <a:pt x="5" y="203"/>
                    <a:pt x="5" y="203"/>
                  </a:cubicBezTo>
                  <a:cubicBezTo>
                    <a:pt x="6" y="201"/>
                    <a:pt x="6" y="199"/>
                    <a:pt x="7" y="197"/>
                  </a:cubicBezTo>
                  <a:cubicBezTo>
                    <a:pt x="7" y="197"/>
                    <a:pt x="7" y="197"/>
                    <a:pt x="7" y="197"/>
                  </a:cubicBezTo>
                  <a:cubicBezTo>
                    <a:pt x="7" y="195"/>
                    <a:pt x="7" y="193"/>
                    <a:pt x="8" y="191"/>
                  </a:cubicBezTo>
                  <a:cubicBezTo>
                    <a:pt x="8" y="191"/>
                    <a:pt x="8" y="191"/>
                    <a:pt x="8" y="191"/>
                  </a:cubicBezTo>
                  <a:cubicBezTo>
                    <a:pt x="8" y="189"/>
                    <a:pt x="9" y="187"/>
                    <a:pt x="9" y="185"/>
                  </a:cubicBezTo>
                  <a:cubicBezTo>
                    <a:pt x="9" y="185"/>
                    <a:pt x="9" y="185"/>
                    <a:pt x="9" y="185"/>
                  </a:cubicBezTo>
                  <a:cubicBezTo>
                    <a:pt x="11" y="181"/>
                    <a:pt x="12" y="177"/>
                    <a:pt x="13" y="173"/>
                  </a:cubicBezTo>
                  <a:cubicBezTo>
                    <a:pt x="13" y="173"/>
                    <a:pt x="13" y="173"/>
                    <a:pt x="13" y="173"/>
                  </a:cubicBezTo>
                  <a:cubicBezTo>
                    <a:pt x="39" y="95"/>
                    <a:pt x="102" y="33"/>
                    <a:pt x="183" y="10"/>
                  </a:cubicBezTo>
                  <a:cubicBezTo>
                    <a:pt x="183" y="10"/>
                    <a:pt x="183" y="10"/>
                    <a:pt x="183" y="10"/>
                  </a:cubicBezTo>
                  <a:cubicBezTo>
                    <a:pt x="189" y="8"/>
                    <a:pt x="196" y="6"/>
                    <a:pt x="202" y="5"/>
                  </a:cubicBezTo>
                  <a:cubicBezTo>
                    <a:pt x="202" y="5"/>
                    <a:pt x="202" y="5"/>
                    <a:pt x="202" y="5"/>
                  </a:cubicBezTo>
                  <a:cubicBezTo>
                    <a:pt x="204" y="5"/>
                    <a:pt x="206" y="4"/>
                    <a:pt x="208" y="4"/>
                  </a:cubicBezTo>
                  <a:cubicBezTo>
                    <a:pt x="208" y="4"/>
                    <a:pt x="208" y="4"/>
                    <a:pt x="208" y="4"/>
                  </a:cubicBezTo>
                  <a:cubicBezTo>
                    <a:pt x="210" y="3"/>
                    <a:pt x="212" y="3"/>
                    <a:pt x="215" y="3"/>
                  </a:cubicBezTo>
                  <a:cubicBezTo>
                    <a:pt x="215" y="3"/>
                    <a:pt x="215" y="3"/>
                    <a:pt x="215" y="3"/>
                  </a:cubicBezTo>
                  <a:cubicBezTo>
                    <a:pt x="219" y="2"/>
                    <a:pt x="223" y="2"/>
                    <a:pt x="227" y="1"/>
                  </a:cubicBezTo>
                  <a:cubicBezTo>
                    <a:pt x="227" y="1"/>
                    <a:pt x="227" y="1"/>
                    <a:pt x="227" y="1"/>
                  </a:cubicBezTo>
                  <a:cubicBezTo>
                    <a:pt x="230" y="1"/>
                    <a:pt x="232" y="1"/>
                    <a:pt x="234" y="0"/>
                  </a:cubicBezTo>
                  <a:cubicBezTo>
                    <a:pt x="234" y="0"/>
                    <a:pt x="234" y="0"/>
                    <a:pt x="234" y="0"/>
                  </a:cubicBezTo>
                  <a:cubicBezTo>
                    <a:pt x="238" y="0"/>
                    <a:pt x="243" y="0"/>
                    <a:pt x="247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50" y="0"/>
                    <a:pt x="252" y="0"/>
                    <a:pt x="254" y="0"/>
                  </a:cubicBezTo>
                  <a:cubicBezTo>
                    <a:pt x="254" y="0"/>
                    <a:pt x="254" y="0"/>
                    <a:pt x="254" y="0"/>
                  </a:cubicBezTo>
                  <a:cubicBezTo>
                    <a:pt x="256" y="0"/>
                    <a:pt x="259" y="0"/>
                    <a:pt x="261" y="0"/>
                  </a:cubicBezTo>
                  <a:cubicBezTo>
                    <a:pt x="261" y="0"/>
                    <a:pt x="261" y="0"/>
                    <a:pt x="261" y="0"/>
                  </a:cubicBezTo>
                  <a:cubicBezTo>
                    <a:pt x="265" y="0"/>
                    <a:pt x="270" y="0"/>
                    <a:pt x="274" y="0"/>
                  </a:cubicBezTo>
                  <a:cubicBezTo>
                    <a:pt x="274" y="0"/>
                    <a:pt x="274" y="0"/>
                    <a:pt x="274" y="0"/>
                  </a:cubicBezTo>
                  <a:cubicBezTo>
                    <a:pt x="276" y="1"/>
                    <a:pt x="278" y="1"/>
                    <a:pt x="281" y="1"/>
                  </a:cubicBezTo>
                  <a:cubicBezTo>
                    <a:pt x="281" y="1"/>
                    <a:pt x="281" y="1"/>
                    <a:pt x="281" y="1"/>
                  </a:cubicBezTo>
                  <a:cubicBezTo>
                    <a:pt x="285" y="2"/>
                    <a:pt x="289" y="2"/>
                    <a:pt x="294" y="3"/>
                  </a:cubicBezTo>
                  <a:cubicBezTo>
                    <a:pt x="294" y="3"/>
                    <a:pt x="294" y="3"/>
                    <a:pt x="294" y="3"/>
                  </a:cubicBezTo>
                  <a:cubicBezTo>
                    <a:pt x="296" y="3"/>
                    <a:pt x="298" y="3"/>
                    <a:pt x="300" y="4"/>
                  </a:cubicBezTo>
                  <a:cubicBezTo>
                    <a:pt x="300" y="4"/>
                    <a:pt x="300" y="4"/>
                    <a:pt x="300" y="4"/>
                  </a:cubicBezTo>
                  <a:cubicBezTo>
                    <a:pt x="302" y="4"/>
                    <a:pt x="304" y="5"/>
                    <a:pt x="306" y="5"/>
                  </a:cubicBezTo>
                  <a:cubicBezTo>
                    <a:pt x="306" y="5"/>
                    <a:pt x="306" y="5"/>
                    <a:pt x="306" y="5"/>
                  </a:cubicBezTo>
                  <a:cubicBezTo>
                    <a:pt x="312" y="6"/>
                    <a:pt x="319" y="8"/>
                    <a:pt x="325" y="10"/>
                  </a:cubicBezTo>
                  <a:cubicBezTo>
                    <a:pt x="325" y="10"/>
                    <a:pt x="325" y="10"/>
                    <a:pt x="325" y="10"/>
                  </a:cubicBezTo>
                  <a:cubicBezTo>
                    <a:pt x="406" y="33"/>
                    <a:pt x="469" y="95"/>
                    <a:pt x="495" y="173"/>
                  </a:cubicBezTo>
                  <a:cubicBezTo>
                    <a:pt x="495" y="173"/>
                    <a:pt x="495" y="173"/>
                    <a:pt x="495" y="173"/>
                  </a:cubicBezTo>
                  <a:cubicBezTo>
                    <a:pt x="496" y="177"/>
                    <a:pt x="497" y="181"/>
                    <a:pt x="498" y="185"/>
                  </a:cubicBezTo>
                  <a:cubicBezTo>
                    <a:pt x="498" y="185"/>
                    <a:pt x="498" y="185"/>
                    <a:pt x="498" y="185"/>
                  </a:cubicBezTo>
                  <a:cubicBezTo>
                    <a:pt x="499" y="187"/>
                    <a:pt x="500" y="189"/>
                    <a:pt x="500" y="191"/>
                  </a:cubicBezTo>
                  <a:cubicBezTo>
                    <a:pt x="500" y="191"/>
                    <a:pt x="500" y="191"/>
                    <a:pt x="500" y="191"/>
                  </a:cubicBezTo>
                  <a:cubicBezTo>
                    <a:pt x="501" y="193"/>
                    <a:pt x="501" y="195"/>
                    <a:pt x="502" y="197"/>
                  </a:cubicBezTo>
                  <a:cubicBezTo>
                    <a:pt x="502" y="197"/>
                    <a:pt x="502" y="197"/>
                    <a:pt x="502" y="197"/>
                  </a:cubicBezTo>
                  <a:cubicBezTo>
                    <a:pt x="502" y="199"/>
                    <a:pt x="502" y="201"/>
                    <a:pt x="503" y="203"/>
                  </a:cubicBezTo>
                  <a:cubicBezTo>
                    <a:pt x="503" y="203"/>
                    <a:pt x="503" y="203"/>
                    <a:pt x="503" y="203"/>
                  </a:cubicBezTo>
                  <a:cubicBezTo>
                    <a:pt x="503" y="205"/>
                    <a:pt x="504" y="207"/>
                    <a:pt x="504" y="209"/>
                  </a:cubicBezTo>
                  <a:cubicBezTo>
                    <a:pt x="504" y="209"/>
                    <a:pt x="504" y="209"/>
                    <a:pt x="504" y="209"/>
                  </a:cubicBezTo>
                  <a:cubicBezTo>
                    <a:pt x="504" y="212"/>
                    <a:pt x="505" y="214"/>
                    <a:pt x="505" y="216"/>
                  </a:cubicBezTo>
                  <a:cubicBezTo>
                    <a:pt x="505" y="216"/>
                    <a:pt x="505" y="216"/>
                    <a:pt x="505" y="216"/>
                  </a:cubicBezTo>
                  <a:cubicBezTo>
                    <a:pt x="505" y="218"/>
                    <a:pt x="506" y="220"/>
                    <a:pt x="506" y="222"/>
                  </a:cubicBezTo>
                  <a:cubicBezTo>
                    <a:pt x="506" y="222"/>
                    <a:pt x="506" y="222"/>
                    <a:pt x="506" y="222"/>
                  </a:cubicBezTo>
                  <a:cubicBezTo>
                    <a:pt x="506" y="224"/>
                    <a:pt x="506" y="226"/>
                    <a:pt x="507" y="228"/>
                  </a:cubicBezTo>
                  <a:cubicBezTo>
                    <a:pt x="507" y="228"/>
                    <a:pt x="507" y="228"/>
                    <a:pt x="507" y="228"/>
                  </a:cubicBezTo>
                  <a:cubicBezTo>
                    <a:pt x="507" y="230"/>
                    <a:pt x="507" y="232"/>
                    <a:pt x="507" y="234"/>
                  </a:cubicBezTo>
                  <a:cubicBezTo>
                    <a:pt x="507" y="234"/>
                    <a:pt x="507" y="234"/>
                    <a:pt x="507" y="234"/>
                  </a:cubicBezTo>
                  <a:cubicBezTo>
                    <a:pt x="507" y="237"/>
                    <a:pt x="508" y="239"/>
                    <a:pt x="508" y="241"/>
                  </a:cubicBezTo>
                  <a:cubicBezTo>
                    <a:pt x="508" y="241"/>
                    <a:pt x="508" y="241"/>
                    <a:pt x="508" y="241"/>
                  </a:cubicBezTo>
                  <a:cubicBezTo>
                    <a:pt x="508" y="243"/>
                    <a:pt x="508" y="245"/>
                    <a:pt x="508" y="247"/>
                  </a:cubicBezTo>
                  <a:cubicBezTo>
                    <a:pt x="508" y="247"/>
                    <a:pt x="508" y="247"/>
                    <a:pt x="508" y="247"/>
                  </a:cubicBezTo>
                  <a:cubicBezTo>
                    <a:pt x="508" y="249"/>
                    <a:pt x="508" y="251"/>
                    <a:pt x="508" y="254"/>
                  </a:cubicBezTo>
                  <a:cubicBezTo>
                    <a:pt x="508" y="254"/>
                    <a:pt x="508" y="254"/>
                    <a:pt x="508" y="254"/>
                  </a:cubicBezTo>
                  <a:cubicBezTo>
                    <a:pt x="508" y="255"/>
                    <a:pt x="508" y="255"/>
                    <a:pt x="508" y="255"/>
                  </a:cubicBezTo>
                  <a:cubicBezTo>
                    <a:pt x="508" y="256"/>
                    <a:pt x="508" y="257"/>
                    <a:pt x="508" y="258"/>
                  </a:cubicBezTo>
                  <a:cubicBezTo>
                    <a:pt x="508" y="259"/>
                    <a:pt x="508" y="260"/>
                    <a:pt x="508" y="261"/>
                  </a:cubicBezTo>
                  <a:cubicBezTo>
                    <a:pt x="508" y="261"/>
                    <a:pt x="508" y="261"/>
                    <a:pt x="508" y="261"/>
                  </a:cubicBezTo>
                  <a:cubicBezTo>
                    <a:pt x="505" y="355"/>
                    <a:pt x="455" y="410"/>
                    <a:pt x="419" y="488"/>
                  </a:cubicBezTo>
                  <a:cubicBezTo>
                    <a:pt x="401" y="533"/>
                    <a:pt x="387" y="586"/>
                    <a:pt x="386" y="656"/>
                  </a:cubicBezTo>
                  <a:cubicBezTo>
                    <a:pt x="387" y="723"/>
                    <a:pt x="401" y="775"/>
                    <a:pt x="419" y="819"/>
                  </a:cubicBezTo>
                  <a:cubicBezTo>
                    <a:pt x="453" y="896"/>
                    <a:pt x="502" y="950"/>
                    <a:pt x="508" y="1040"/>
                  </a:cubicBezTo>
                  <a:cubicBezTo>
                    <a:pt x="508" y="1041"/>
                    <a:pt x="508" y="1043"/>
                    <a:pt x="508" y="1044"/>
                  </a:cubicBezTo>
                  <a:cubicBezTo>
                    <a:pt x="508" y="1047"/>
                    <a:pt x="508" y="1047"/>
                    <a:pt x="508" y="1047"/>
                  </a:cubicBezTo>
                  <a:cubicBezTo>
                    <a:pt x="508" y="1049"/>
                    <a:pt x="508" y="1052"/>
                    <a:pt x="508" y="1055"/>
                  </a:cubicBezTo>
                  <a:cubicBezTo>
                    <a:pt x="508" y="1055"/>
                    <a:pt x="508" y="1055"/>
                    <a:pt x="508" y="1055"/>
                  </a:cubicBezTo>
                  <a:cubicBezTo>
                    <a:pt x="508" y="1055"/>
                    <a:pt x="508" y="1055"/>
                    <a:pt x="508" y="1055"/>
                  </a:cubicBezTo>
                  <a:cubicBezTo>
                    <a:pt x="508" y="1057"/>
                    <a:pt x="508" y="1059"/>
                    <a:pt x="508" y="1061"/>
                  </a:cubicBezTo>
                  <a:cubicBezTo>
                    <a:pt x="508" y="1061"/>
                    <a:pt x="508" y="1061"/>
                    <a:pt x="508" y="1061"/>
                  </a:cubicBezTo>
                  <a:cubicBezTo>
                    <a:pt x="508" y="1063"/>
                    <a:pt x="508" y="1065"/>
                    <a:pt x="508" y="1067"/>
                  </a:cubicBezTo>
                  <a:cubicBezTo>
                    <a:pt x="508" y="1067"/>
                    <a:pt x="508" y="1067"/>
                    <a:pt x="508" y="1067"/>
                  </a:cubicBezTo>
                  <a:cubicBezTo>
                    <a:pt x="508" y="1070"/>
                    <a:pt x="507" y="1072"/>
                    <a:pt x="507" y="1074"/>
                  </a:cubicBezTo>
                  <a:cubicBezTo>
                    <a:pt x="507" y="1074"/>
                    <a:pt x="507" y="1074"/>
                    <a:pt x="507" y="1074"/>
                  </a:cubicBezTo>
                  <a:cubicBezTo>
                    <a:pt x="507" y="1076"/>
                    <a:pt x="507" y="1078"/>
                    <a:pt x="507" y="1080"/>
                  </a:cubicBezTo>
                  <a:cubicBezTo>
                    <a:pt x="507" y="1080"/>
                    <a:pt x="507" y="1080"/>
                    <a:pt x="507" y="1080"/>
                  </a:cubicBezTo>
                  <a:cubicBezTo>
                    <a:pt x="506" y="1082"/>
                    <a:pt x="506" y="1084"/>
                    <a:pt x="506" y="1086"/>
                  </a:cubicBezTo>
                  <a:cubicBezTo>
                    <a:pt x="506" y="1086"/>
                    <a:pt x="506" y="1086"/>
                    <a:pt x="506" y="1086"/>
                  </a:cubicBezTo>
                  <a:cubicBezTo>
                    <a:pt x="506" y="1089"/>
                    <a:pt x="505" y="1091"/>
                    <a:pt x="505" y="1093"/>
                  </a:cubicBezTo>
                  <a:cubicBezTo>
                    <a:pt x="505" y="1093"/>
                    <a:pt x="505" y="1093"/>
                    <a:pt x="505" y="1093"/>
                  </a:cubicBezTo>
                  <a:cubicBezTo>
                    <a:pt x="505" y="1095"/>
                    <a:pt x="504" y="1097"/>
                    <a:pt x="504" y="1099"/>
                  </a:cubicBezTo>
                  <a:cubicBezTo>
                    <a:pt x="504" y="1099"/>
                    <a:pt x="504" y="1099"/>
                    <a:pt x="504" y="1099"/>
                  </a:cubicBezTo>
                  <a:cubicBezTo>
                    <a:pt x="504" y="1101"/>
                    <a:pt x="503" y="1103"/>
                    <a:pt x="503" y="1105"/>
                  </a:cubicBezTo>
                  <a:cubicBezTo>
                    <a:pt x="503" y="1105"/>
                    <a:pt x="503" y="1105"/>
                    <a:pt x="503" y="1105"/>
                  </a:cubicBezTo>
                  <a:cubicBezTo>
                    <a:pt x="502" y="1107"/>
                    <a:pt x="502" y="1109"/>
                    <a:pt x="502" y="1111"/>
                  </a:cubicBezTo>
                  <a:cubicBezTo>
                    <a:pt x="502" y="1111"/>
                    <a:pt x="502" y="1111"/>
                    <a:pt x="502" y="1111"/>
                  </a:cubicBezTo>
                  <a:cubicBezTo>
                    <a:pt x="501" y="1113"/>
                    <a:pt x="501" y="1115"/>
                    <a:pt x="500" y="1117"/>
                  </a:cubicBezTo>
                  <a:cubicBezTo>
                    <a:pt x="500" y="1117"/>
                    <a:pt x="500" y="1117"/>
                    <a:pt x="500" y="1117"/>
                  </a:cubicBezTo>
                  <a:cubicBezTo>
                    <a:pt x="500" y="1119"/>
                    <a:pt x="499" y="1121"/>
                    <a:pt x="498" y="1123"/>
                  </a:cubicBezTo>
                  <a:cubicBezTo>
                    <a:pt x="498" y="1123"/>
                    <a:pt x="498" y="1123"/>
                    <a:pt x="498" y="1123"/>
                  </a:cubicBezTo>
                  <a:cubicBezTo>
                    <a:pt x="497" y="1127"/>
                    <a:pt x="496" y="1131"/>
                    <a:pt x="495" y="1135"/>
                  </a:cubicBezTo>
                  <a:cubicBezTo>
                    <a:pt x="495" y="1135"/>
                    <a:pt x="495" y="1135"/>
                    <a:pt x="495" y="1135"/>
                  </a:cubicBezTo>
                  <a:cubicBezTo>
                    <a:pt x="469" y="1213"/>
                    <a:pt x="406" y="1276"/>
                    <a:pt x="325" y="1299"/>
                  </a:cubicBezTo>
                  <a:cubicBezTo>
                    <a:pt x="325" y="1299"/>
                    <a:pt x="325" y="1299"/>
                    <a:pt x="325" y="1299"/>
                  </a:cubicBezTo>
                  <a:cubicBezTo>
                    <a:pt x="319" y="1301"/>
                    <a:pt x="312" y="1302"/>
                    <a:pt x="306" y="1303"/>
                  </a:cubicBezTo>
                  <a:cubicBezTo>
                    <a:pt x="306" y="1303"/>
                    <a:pt x="306" y="1303"/>
                    <a:pt x="306" y="1303"/>
                  </a:cubicBezTo>
                  <a:cubicBezTo>
                    <a:pt x="304" y="1304"/>
                    <a:pt x="302" y="1304"/>
                    <a:pt x="300" y="1305"/>
                  </a:cubicBezTo>
                  <a:cubicBezTo>
                    <a:pt x="300" y="1305"/>
                    <a:pt x="300" y="1305"/>
                    <a:pt x="300" y="1305"/>
                  </a:cubicBezTo>
                  <a:cubicBezTo>
                    <a:pt x="298" y="1305"/>
                    <a:pt x="296" y="1305"/>
                    <a:pt x="294" y="1306"/>
                  </a:cubicBezTo>
                  <a:cubicBezTo>
                    <a:pt x="294" y="1306"/>
                    <a:pt x="294" y="1306"/>
                    <a:pt x="294" y="1306"/>
                  </a:cubicBezTo>
                  <a:cubicBezTo>
                    <a:pt x="289" y="1306"/>
                    <a:pt x="285" y="1307"/>
                    <a:pt x="281" y="1307"/>
                  </a:cubicBezTo>
                  <a:cubicBezTo>
                    <a:pt x="281" y="1307"/>
                    <a:pt x="281" y="1307"/>
                    <a:pt x="281" y="1307"/>
                  </a:cubicBezTo>
                  <a:cubicBezTo>
                    <a:pt x="278" y="1308"/>
                    <a:pt x="276" y="1308"/>
                    <a:pt x="274" y="1308"/>
                  </a:cubicBezTo>
                  <a:cubicBezTo>
                    <a:pt x="274" y="1308"/>
                    <a:pt x="274" y="1308"/>
                    <a:pt x="274" y="1308"/>
                  </a:cubicBezTo>
                  <a:cubicBezTo>
                    <a:pt x="270" y="1308"/>
                    <a:pt x="265" y="1308"/>
                    <a:pt x="261" y="1309"/>
                  </a:cubicBezTo>
                  <a:cubicBezTo>
                    <a:pt x="261" y="1309"/>
                    <a:pt x="261" y="1309"/>
                    <a:pt x="261" y="1309"/>
                  </a:cubicBezTo>
                  <a:cubicBezTo>
                    <a:pt x="259" y="1309"/>
                    <a:pt x="256" y="1309"/>
                    <a:pt x="254" y="1309"/>
                  </a:cubicBezTo>
                  <a:cubicBezTo>
                    <a:pt x="254" y="1309"/>
                    <a:pt x="254" y="1309"/>
                    <a:pt x="254" y="1309"/>
                  </a:cubicBezTo>
                  <a:cubicBezTo>
                    <a:pt x="252" y="1309"/>
                    <a:pt x="250" y="1309"/>
                    <a:pt x="247" y="1309"/>
                  </a:cubicBezTo>
                  <a:cubicBezTo>
                    <a:pt x="247" y="1309"/>
                    <a:pt x="247" y="1309"/>
                    <a:pt x="247" y="1309"/>
                  </a:cubicBezTo>
                  <a:cubicBezTo>
                    <a:pt x="243" y="1308"/>
                    <a:pt x="238" y="1308"/>
                    <a:pt x="234" y="1308"/>
                  </a:cubicBezTo>
                  <a:cubicBezTo>
                    <a:pt x="234" y="1308"/>
                    <a:pt x="234" y="1308"/>
                    <a:pt x="234" y="1308"/>
                  </a:cubicBezTo>
                  <a:cubicBezTo>
                    <a:pt x="232" y="1308"/>
                    <a:pt x="230" y="1308"/>
                    <a:pt x="227" y="1307"/>
                  </a:cubicBezTo>
                  <a:cubicBezTo>
                    <a:pt x="227" y="1307"/>
                    <a:pt x="227" y="1307"/>
                    <a:pt x="227" y="1307"/>
                  </a:cubicBezTo>
                  <a:cubicBezTo>
                    <a:pt x="223" y="1307"/>
                    <a:pt x="219" y="1306"/>
                    <a:pt x="215" y="1306"/>
                  </a:cubicBezTo>
                  <a:cubicBezTo>
                    <a:pt x="215" y="1306"/>
                    <a:pt x="215" y="1306"/>
                    <a:pt x="215" y="1306"/>
                  </a:cubicBezTo>
                  <a:cubicBezTo>
                    <a:pt x="212" y="1305"/>
                    <a:pt x="210" y="1305"/>
                    <a:pt x="208" y="1305"/>
                  </a:cubicBezTo>
                  <a:cubicBezTo>
                    <a:pt x="208" y="1305"/>
                    <a:pt x="208" y="1305"/>
                    <a:pt x="208" y="1305"/>
                  </a:cubicBezTo>
                  <a:cubicBezTo>
                    <a:pt x="206" y="1304"/>
                    <a:pt x="204" y="1304"/>
                    <a:pt x="202" y="1303"/>
                  </a:cubicBezTo>
                  <a:cubicBezTo>
                    <a:pt x="202" y="1303"/>
                    <a:pt x="202" y="1303"/>
                    <a:pt x="202" y="1303"/>
                  </a:cubicBezTo>
                  <a:cubicBezTo>
                    <a:pt x="196" y="1302"/>
                    <a:pt x="189" y="1301"/>
                    <a:pt x="183" y="1299"/>
                  </a:cubicBezTo>
                  <a:cubicBezTo>
                    <a:pt x="183" y="1299"/>
                    <a:pt x="183" y="1299"/>
                    <a:pt x="183" y="1299"/>
                  </a:cubicBezTo>
                  <a:cubicBezTo>
                    <a:pt x="102" y="1276"/>
                    <a:pt x="39" y="1213"/>
                    <a:pt x="13" y="1135"/>
                  </a:cubicBezTo>
                  <a:cubicBezTo>
                    <a:pt x="13" y="1135"/>
                    <a:pt x="13" y="1135"/>
                    <a:pt x="13" y="1135"/>
                  </a:cubicBezTo>
                  <a:cubicBezTo>
                    <a:pt x="12" y="1131"/>
                    <a:pt x="11" y="1127"/>
                    <a:pt x="9" y="1123"/>
                  </a:cubicBezTo>
                  <a:cubicBezTo>
                    <a:pt x="9" y="1123"/>
                    <a:pt x="9" y="1123"/>
                    <a:pt x="9" y="1123"/>
                  </a:cubicBezTo>
                  <a:cubicBezTo>
                    <a:pt x="9" y="1121"/>
                    <a:pt x="8" y="1119"/>
                    <a:pt x="8" y="1117"/>
                  </a:cubicBezTo>
                  <a:cubicBezTo>
                    <a:pt x="8" y="1117"/>
                    <a:pt x="8" y="1117"/>
                    <a:pt x="8" y="1117"/>
                  </a:cubicBezTo>
                  <a:cubicBezTo>
                    <a:pt x="7" y="1115"/>
                    <a:pt x="7" y="1113"/>
                    <a:pt x="7" y="1111"/>
                  </a:cubicBezTo>
                  <a:cubicBezTo>
                    <a:pt x="7" y="1111"/>
                    <a:pt x="7" y="1111"/>
                    <a:pt x="7" y="1111"/>
                  </a:cubicBezTo>
                  <a:cubicBezTo>
                    <a:pt x="6" y="1109"/>
                    <a:pt x="6" y="1107"/>
                    <a:pt x="5" y="1105"/>
                  </a:cubicBezTo>
                  <a:cubicBezTo>
                    <a:pt x="5" y="1105"/>
                    <a:pt x="5" y="1105"/>
                    <a:pt x="5" y="1105"/>
                  </a:cubicBezTo>
                  <a:cubicBezTo>
                    <a:pt x="5" y="1103"/>
                    <a:pt x="4" y="1101"/>
                    <a:pt x="4" y="1099"/>
                  </a:cubicBezTo>
                  <a:cubicBezTo>
                    <a:pt x="4" y="1099"/>
                    <a:pt x="4" y="1099"/>
                    <a:pt x="4" y="1099"/>
                  </a:cubicBezTo>
                  <a:cubicBezTo>
                    <a:pt x="4" y="1097"/>
                    <a:pt x="3" y="1095"/>
                    <a:pt x="3" y="1093"/>
                  </a:cubicBezTo>
                  <a:cubicBezTo>
                    <a:pt x="3" y="1093"/>
                    <a:pt x="3" y="1093"/>
                    <a:pt x="3" y="1093"/>
                  </a:cubicBezTo>
                  <a:cubicBezTo>
                    <a:pt x="3" y="1091"/>
                    <a:pt x="2" y="1089"/>
                    <a:pt x="2" y="1086"/>
                  </a:cubicBezTo>
                  <a:cubicBezTo>
                    <a:pt x="2" y="1086"/>
                    <a:pt x="2" y="1086"/>
                    <a:pt x="2" y="1086"/>
                  </a:cubicBezTo>
                  <a:cubicBezTo>
                    <a:pt x="2" y="1084"/>
                    <a:pt x="2" y="1082"/>
                    <a:pt x="1" y="1080"/>
                  </a:cubicBezTo>
                  <a:cubicBezTo>
                    <a:pt x="1" y="1080"/>
                    <a:pt x="1" y="1080"/>
                    <a:pt x="1" y="1080"/>
                  </a:cubicBezTo>
                  <a:cubicBezTo>
                    <a:pt x="1" y="1078"/>
                    <a:pt x="1" y="1076"/>
                    <a:pt x="1" y="1074"/>
                  </a:cubicBezTo>
                  <a:cubicBezTo>
                    <a:pt x="1" y="1074"/>
                    <a:pt x="1" y="1074"/>
                    <a:pt x="1" y="1074"/>
                  </a:cubicBezTo>
                  <a:cubicBezTo>
                    <a:pt x="1" y="1072"/>
                    <a:pt x="1" y="1070"/>
                    <a:pt x="0" y="1067"/>
                  </a:cubicBezTo>
                  <a:cubicBezTo>
                    <a:pt x="0" y="1067"/>
                    <a:pt x="0" y="1067"/>
                    <a:pt x="0" y="1067"/>
                  </a:cubicBezTo>
                  <a:cubicBezTo>
                    <a:pt x="0" y="1065"/>
                    <a:pt x="0" y="1063"/>
                    <a:pt x="0" y="1061"/>
                  </a:cubicBezTo>
                  <a:cubicBezTo>
                    <a:pt x="0" y="1061"/>
                    <a:pt x="0" y="1061"/>
                    <a:pt x="0" y="1061"/>
                  </a:cubicBezTo>
                  <a:cubicBezTo>
                    <a:pt x="0" y="1059"/>
                    <a:pt x="0" y="1057"/>
                    <a:pt x="0" y="1055"/>
                  </a:cubicBezTo>
                  <a:cubicBezTo>
                    <a:pt x="0" y="1055"/>
                    <a:pt x="0" y="1055"/>
                    <a:pt x="0" y="1055"/>
                  </a:cubicBezTo>
                  <a:cubicBezTo>
                    <a:pt x="0" y="1055"/>
                    <a:pt x="0" y="1055"/>
                    <a:pt x="0" y="1055"/>
                  </a:cubicBezTo>
                  <a:cubicBezTo>
                    <a:pt x="0" y="1052"/>
                    <a:pt x="0" y="1049"/>
                    <a:pt x="0" y="1047"/>
                  </a:cubicBezTo>
                  <a:cubicBezTo>
                    <a:pt x="0" y="1046"/>
                    <a:pt x="0" y="1045"/>
                    <a:pt x="0" y="1044"/>
                  </a:cubicBezTo>
                  <a:cubicBezTo>
                    <a:pt x="0" y="1043"/>
                    <a:pt x="0" y="1041"/>
                    <a:pt x="1" y="1040"/>
                  </a:cubicBezTo>
                  <a:cubicBezTo>
                    <a:pt x="6" y="950"/>
                    <a:pt x="55" y="896"/>
                    <a:pt x="89" y="819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effectLst>
              <a:outerShdw blurRad="1397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Arial" panose="020B0604020202020204" pitchFamily="34" charset="0"/>
              </a:endParaRPr>
            </a:p>
          </p:txBody>
        </p:sp>
        <p:sp>
          <p:nvSpPr>
            <p:cNvPr id="31" name="Freeform 14">
              <a:extLst>
                <a:ext uri="{FF2B5EF4-FFF2-40B4-BE49-F238E27FC236}">
                  <a16:creationId xmlns:a16="http://schemas.microsoft.com/office/drawing/2014/main" id="{666A8CC2-6802-0256-21B2-694251CDBC0D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4055" y="2438400"/>
              <a:ext cx="1531684" cy="1531684"/>
            </a:xfrm>
            <a:custGeom>
              <a:avLst/>
              <a:gdLst>
                <a:gd name="T0" fmla="*/ 547 w 1095"/>
                <a:gd name="T1" fmla="*/ 781 h 1094"/>
                <a:gd name="T2" fmla="*/ 449 w 1095"/>
                <a:gd name="T3" fmla="*/ 1004 h 1094"/>
                <a:gd name="T4" fmla="*/ 444 w 1095"/>
                <a:gd name="T5" fmla="*/ 1010 h 1094"/>
                <a:gd name="T6" fmla="*/ 434 w 1095"/>
                <a:gd name="T7" fmla="*/ 1019 h 1094"/>
                <a:gd name="T8" fmla="*/ 430 w 1095"/>
                <a:gd name="T9" fmla="*/ 1023 h 1094"/>
                <a:gd name="T10" fmla="*/ 420 w 1095"/>
                <a:gd name="T11" fmla="*/ 1031 h 1094"/>
                <a:gd name="T12" fmla="*/ 415 w 1095"/>
                <a:gd name="T13" fmla="*/ 1035 h 1094"/>
                <a:gd name="T14" fmla="*/ 405 w 1095"/>
                <a:gd name="T15" fmla="*/ 1042 h 1094"/>
                <a:gd name="T16" fmla="*/ 399 w 1095"/>
                <a:gd name="T17" fmla="*/ 1045 h 1094"/>
                <a:gd name="T18" fmla="*/ 389 w 1095"/>
                <a:gd name="T19" fmla="*/ 1051 h 1094"/>
                <a:gd name="T20" fmla="*/ 378 w 1095"/>
                <a:gd name="T21" fmla="*/ 1057 h 1094"/>
                <a:gd name="T22" fmla="*/ 125 w 1095"/>
                <a:gd name="T23" fmla="*/ 1043 h 1094"/>
                <a:gd name="T24" fmla="*/ 120 w 1095"/>
                <a:gd name="T25" fmla="*/ 1039 h 1094"/>
                <a:gd name="T26" fmla="*/ 104 w 1095"/>
                <a:gd name="T27" fmla="*/ 1027 h 1094"/>
                <a:gd name="T28" fmla="*/ 99 w 1095"/>
                <a:gd name="T29" fmla="*/ 1023 h 1094"/>
                <a:gd name="T30" fmla="*/ 85 w 1095"/>
                <a:gd name="T31" fmla="*/ 1010 h 1094"/>
                <a:gd name="T32" fmla="*/ 80 w 1095"/>
                <a:gd name="T33" fmla="*/ 1005 h 1094"/>
                <a:gd name="T34" fmla="*/ 67 w 1095"/>
                <a:gd name="T35" fmla="*/ 990 h 1094"/>
                <a:gd name="T36" fmla="*/ 59 w 1095"/>
                <a:gd name="T37" fmla="*/ 980 h 1094"/>
                <a:gd name="T38" fmla="*/ 52 w 1095"/>
                <a:gd name="T39" fmla="*/ 969 h 1094"/>
                <a:gd name="T40" fmla="*/ 42 w 1095"/>
                <a:gd name="T41" fmla="*/ 953 h 1094"/>
                <a:gd name="T42" fmla="*/ 43 w 1095"/>
                <a:gd name="T43" fmla="*/ 706 h 1094"/>
                <a:gd name="T44" fmla="*/ 46 w 1095"/>
                <a:gd name="T45" fmla="*/ 700 h 1094"/>
                <a:gd name="T46" fmla="*/ 53 w 1095"/>
                <a:gd name="T47" fmla="*/ 690 h 1094"/>
                <a:gd name="T48" fmla="*/ 56 w 1095"/>
                <a:gd name="T49" fmla="*/ 685 h 1094"/>
                <a:gd name="T50" fmla="*/ 64 w 1095"/>
                <a:gd name="T51" fmla="*/ 675 h 1094"/>
                <a:gd name="T52" fmla="*/ 68 w 1095"/>
                <a:gd name="T53" fmla="*/ 670 h 1094"/>
                <a:gd name="T54" fmla="*/ 76 w 1095"/>
                <a:gd name="T55" fmla="*/ 660 h 1094"/>
                <a:gd name="T56" fmla="*/ 80 w 1095"/>
                <a:gd name="T57" fmla="*/ 655 h 1094"/>
                <a:gd name="T58" fmla="*/ 86 w 1095"/>
                <a:gd name="T59" fmla="*/ 650 h 1094"/>
                <a:gd name="T60" fmla="*/ 90 w 1095"/>
                <a:gd name="T61" fmla="*/ 646 h 1094"/>
                <a:gd name="T62" fmla="*/ 547 w 1095"/>
                <a:gd name="T63" fmla="*/ 314 h 1094"/>
                <a:gd name="T64" fmla="*/ 645 w 1095"/>
                <a:gd name="T65" fmla="*/ 90 h 1094"/>
                <a:gd name="T66" fmla="*/ 651 w 1095"/>
                <a:gd name="T67" fmla="*/ 84 h 1094"/>
                <a:gd name="T68" fmla="*/ 660 w 1095"/>
                <a:gd name="T69" fmla="*/ 75 h 1094"/>
                <a:gd name="T70" fmla="*/ 665 w 1095"/>
                <a:gd name="T71" fmla="*/ 71 h 1094"/>
                <a:gd name="T72" fmla="*/ 675 w 1095"/>
                <a:gd name="T73" fmla="*/ 63 h 1094"/>
                <a:gd name="T74" fmla="*/ 680 w 1095"/>
                <a:gd name="T75" fmla="*/ 59 h 1094"/>
                <a:gd name="T76" fmla="*/ 690 w 1095"/>
                <a:gd name="T77" fmla="*/ 52 h 1094"/>
                <a:gd name="T78" fmla="*/ 695 w 1095"/>
                <a:gd name="T79" fmla="*/ 49 h 1094"/>
                <a:gd name="T80" fmla="*/ 706 w 1095"/>
                <a:gd name="T81" fmla="*/ 42 h 1094"/>
                <a:gd name="T82" fmla="*/ 717 w 1095"/>
                <a:gd name="T83" fmla="*/ 37 h 1094"/>
                <a:gd name="T84" fmla="*/ 970 w 1095"/>
                <a:gd name="T85" fmla="*/ 51 h 1094"/>
                <a:gd name="T86" fmla="*/ 975 w 1095"/>
                <a:gd name="T87" fmla="*/ 55 h 1094"/>
                <a:gd name="T88" fmla="*/ 990 w 1095"/>
                <a:gd name="T89" fmla="*/ 66 h 1094"/>
                <a:gd name="T90" fmla="*/ 995 w 1095"/>
                <a:gd name="T91" fmla="*/ 71 h 1094"/>
                <a:gd name="T92" fmla="*/ 1010 w 1095"/>
                <a:gd name="T93" fmla="*/ 84 h 1094"/>
                <a:gd name="T94" fmla="*/ 1015 w 1095"/>
                <a:gd name="T95" fmla="*/ 89 h 1094"/>
                <a:gd name="T96" fmla="*/ 1028 w 1095"/>
                <a:gd name="T97" fmla="*/ 104 h 1094"/>
                <a:gd name="T98" fmla="*/ 1036 w 1095"/>
                <a:gd name="T99" fmla="*/ 114 h 1094"/>
                <a:gd name="T100" fmla="*/ 1043 w 1095"/>
                <a:gd name="T101" fmla="*/ 125 h 1094"/>
                <a:gd name="T102" fmla="*/ 1053 w 1095"/>
                <a:gd name="T103" fmla="*/ 141 h 1094"/>
                <a:gd name="T104" fmla="*/ 1052 w 1095"/>
                <a:gd name="T105" fmla="*/ 388 h 1094"/>
                <a:gd name="T106" fmla="*/ 1049 w 1095"/>
                <a:gd name="T107" fmla="*/ 393 h 1094"/>
                <a:gd name="T108" fmla="*/ 1042 w 1095"/>
                <a:gd name="T109" fmla="*/ 404 h 1094"/>
                <a:gd name="T110" fmla="*/ 1039 w 1095"/>
                <a:gd name="T111" fmla="*/ 409 h 1094"/>
                <a:gd name="T112" fmla="*/ 1031 w 1095"/>
                <a:gd name="T113" fmla="*/ 419 h 1094"/>
                <a:gd name="T114" fmla="*/ 1027 w 1095"/>
                <a:gd name="T115" fmla="*/ 424 h 1094"/>
                <a:gd name="T116" fmla="*/ 1019 w 1095"/>
                <a:gd name="T117" fmla="*/ 434 h 1094"/>
                <a:gd name="T118" fmla="*/ 1015 w 1095"/>
                <a:gd name="T119" fmla="*/ 439 h 1094"/>
                <a:gd name="T120" fmla="*/ 1010 w 1095"/>
                <a:gd name="T121" fmla="*/ 443 h 1094"/>
                <a:gd name="T122" fmla="*/ 999 w 1095"/>
                <a:gd name="T123" fmla="*/ 454 h 10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95" h="1094">
                  <a:moveTo>
                    <a:pt x="780" y="547"/>
                  </a:moveTo>
                  <a:cubicBezTo>
                    <a:pt x="737" y="565"/>
                    <a:pt x="691" y="592"/>
                    <a:pt x="642" y="639"/>
                  </a:cubicBezTo>
                  <a:cubicBezTo>
                    <a:pt x="593" y="689"/>
                    <a:pt x="566" y="736"/>
                    <a:pt x="547" y="781"/>
                  </a:cubicBezTo>
                  <a:cubicBezTo>
                    <a:pt x="518" y="860"/>
                    <a:pt x="514" y="932"/>
                    <a:pt x="454" y="999"/>
                  </a:cubicBezTo>
                  <a:cubicBezTo>
                    <a:pt x="453" y="1000"/>
                    <a:pt x="452" y="1001"/>
                    <a:pt x="451" y="1002"/>
                  </a:cubicBezTo>
                  <a:cubicBezTo>
                    <a:pt x="449" y="1004"/>
                    <a:pt x="449" y="1004"/>
                    <a:pt x="449" y="1004"/>
                  </a:cubicBezTo>
                  <a:cubicBezTo>
                    <a:pt x="448" y="1006"/>
                    <a:pt x="446" y="1008"/>
                    <a:pt x="444" y="1010"/>
                  </a:cubicBezTo>
                  <a:cubicBezTo>
                    <a:pt x="444" y="1010"/>
                    <a:pt x="444" y="1010"/>
                    <a:pt x="444" y="1010"/>
                  </a:cubicBezTo>
                  <a:cubicBezTo>
                    <a:pt x="444" y="1010"/>
                    <a:pt x="444" y="1010"/>
                    <a:pt x="444" y="1010"/>
                  </a:cubicBezTo>
                  <a:cubicBezTo>
                    <a:pt x="442" y="1011"/>
                    <a:pt x="441" y="1013"/>
                    <a:pt x="439" y="1014"/>
                  </a:cubicBezTo>
                  <a:cubicBezTo>
                    <a:pt x="439" y="1014"/>
                    <a:pt x="439" y="1014"/>
                    <a:pt x="439" y="1014"/>
                  </a:cubicBezTo>
                  <a:cubicBezTo>
                    <a:pt x="437" y="1016"/>
                    <a:pt x="436" y="1017"/>
                    <a:pt x="434" y="1019"/>
                  </a:cubicBezTo>
                  <a:cubicBezTo>
                    <a:pt x="434" y="1019"/>
                    <a:pt x="434" y="1019"/>
                    <a:pt x="434" y="1019"/>
                  </a:cubicBezTo>
                  <a:cubicBezTo>
                    <a:pt x="433" y="1020"/>
                    <a:pt x="431" y="1021"/>
                    <a:pt x="430" y="1023"/>
                  </a:cubicBezTo>
                  <a:cubicBezTo>
                    <a:pt x="430" y="1023"/>
                    <a:pt x="430" y="1023"/>
                    <a:pt x="430" y="1023"/>
                  </a:cubicBezTo>
                  <a:cubicBezTo>
                    <a:pt x="428" y="1024"/>
                    <a:pt x="426" y="1026"/>
                    <a:pt x="425" y="1027"/>
                  </a:cubicBezTo>
                  <a:cubicBezTo>
                    <a:pt x="425" y="1027"/>
                    <a:pt x="425" y="1027"/>
                    <a:pt x="425" y="1027"/>
                  </a:cubicBezTo>
                  <a:cubicBezTo>
                    <a:pt x="423" y="1028"/>
                    <a:pt x="421" y="1029"/>
                    <a:pt x="420" y="1031"/>
                  </a:cubicBezTo>
                  <a:cubicBezTo>
                    <a:pt x="420" y="1031"/>
                    <a:pt x="420" y="1031"/>
                    <a:pt x="420" y="1031"/>
                  </a:cubicBezTo>
                  <a:cubicBezTo>
                    <a:pt x="418" y="1032"/>
                    <a:pt x="416" y="1033"/>
                    <a:pt x="415" y="1035"/>
                  </a:cubicBezTo>
                  <a:cubicBezTo>
                    <a:pt x="415" y="1035"/>
                    <a:pt x="415" y="1035"/>
                    <a:pt x="415" y="1035"/>
                  </a:cubicBezTo>
                  <a:cubicBezTo>
                    <a:pt x="413" y="1036"/>
                    <a:pt x="411" y="1037"/>
                    <a:pt x="410" y="1038"/>
                  </a:cubicBezTo>
                  <a:cubicBezTo>
                    <a:pt x="410" y="1038"/>
                    <a:pt x="410" y="1038"/>
                    <a:pt x="410" y="1038"/>
                  </a:cubicBezTo>
                  <a:cubicBezTo>
                    <a:pt x="408" y="1039"/>
                    <a:pt x="406" y="1041"/>
                    <a:pt x="405" y="1042"/>
                  </a:cubicBezTo>
                  <a:cubicBezTo>
                    <a:pt x="405" y="1042"/>
                    <a:pt x="405" y="1042"/>
                    <a:pt x="405" y="1042"/>
                  </a:cubicBezTo>
                  <a:cubicBezTo>
                    <a:pt x="403" y="1043"/>
                    <a:pt x="401" y="1044"/>
                    <a:pt x="399" y="1045"/>
                  </a:cubicBezTo>
                  <a:cubicBezTo>
                    <a:pt x="399" y="1045"/>
                    <a:pt x="399" y="1045"/>
                    <a:pt x="399" y="1045"/>
                  </a:cubicBezTo>
                  <a:cubicBezTo>
                    <a:pt x="398" y="1046"/>
                    <a:pt x="396" y="1047"/>
                    <a:pt x="394" y="1048"/>
                  </a:cubicBezTo>
                  <a:cubicBezTo>
                    <a:pt x="394" y="1048"/>
                    <a:pt x="394" y="1048"/>
                    <a:pt x="394" y="1048"/>
                  </a:cubicBezTo>
                  <a:cubicBezTo>
                    <a:pt x="392" y="1049"/>
                    <a:pt x="390" y="1050"/>
                    <a:pt x="389" y="1051"/>
                  </a:cubicBezTo>
                  <a:cubicBezTo>
                    <a:pt x="389" y="1051"/>
                    <a:pt x="389" y="1051"/>
                    <a:pt x="389" y="1051"/>
                  </a:cubicBezTo>
                  <a:cubicBezTo>
                    <a:pt x="385" y="1054"/>
                    <a:pt x="381" y="1055"/>
                    <a:pt x="378" y="1057"/>
                  </a:cubicBezTo>
                  <a:cubicBezTo>
                    <a:pt x="378" y="1057"/>
                    <a:pt x="378" y="1057"/>
                    <a:pt x="378" y="1057"/>
                  </a:cubicBezTo>
                  <a:cubicBezTo>
                    <a:pt x="304" y="1094"/>
                    <a:pt x="216" y="1094"/>
                    <a:pt x="142" y="1053"/>
                  </a:cubicBezTo>
                  <a:cubicBezTo>
                    <a:pt x="142" y="1053"/>
                    <a:pt x="142" y="1053"/>
                    <a:pt x="142" y="1053"/>
                  </a:cubicBezTo>
                  <a:cubicBezTo>
                    <a:pt x="136" y="1050"/>
                    <a:pt x="131" y="1046"/>
                    <a:pt x="125" y="1043"/>
                  </a:cubicBezTo>
                  <a:cubicBezTo>
                    <a:pt x="125" y="1043"/>
                    <a:pt x="125" y="1043"/>
                    <a:pt x="125" y="1043"/>
                  </a:cubicBezTo>
                  <a:cubicBezTo>
                    <a:pt x="124" y="1042"/>
                    <a:pt x="122" y="1040"/>
                    <a:pt x="120" y="1039"/>
                  </a:cubicBezTo>
                  <a:cubicBezTo>
                    <a:pt x="120" y="1039"/>
                    <a:pt x="120" y="1039"/>
                    <a:pt x="120" y="1039"/>
                  </a:cubicBezTo>
                  <a:cubicBezTo>
                    <a:pt x="118" y="1038"/>
                    <a:pt x="116" y="1037"/>
                    <a:pt x="115" y="1035"/>
                  </a:cubicBezTo>
                  <a:cubicBezTo>
                    <a:pt x="115" y="1035"/>
                    <a:pt x="115" y="1035"/>
                    <a:pt x="115" y="1035"/>
                  </a:cubicBezTo>
                  <a:cubicBezTo>
                    <a:pt x="111" y="1033"/>
                    <a:pt x="108" y="1030"/>
                    <a:pt x="104" y="1027"/>
                  </a:cubicBezTo>
                  <a:cubicBezTo>
                    <a:pt x="104" y="1027"/>
                    <a:pt x="104" y="1027"/>
                    <a:pt x="104" y="1027"/>
                  </a:cubicBezTo>
                  <a:cubicBezTo>
                    <a:pt x="103" y="1026"/>
                    <a:pt x="101" y="1025"/>
                    <a:pt x="99" y="1023"/>
                  </a:cubicBezTo>
                  <a:cubicBezTo>
                    <a:pt x="99" y="1023"/>
                    <a:pt x="99" y="1023"/>
                    <a:pt x="99" y="1023"/>
                  </a:cubicBezTo>
                  <a:cubicBezTo>
                    <a:pt x="96" y="1020"/>
                    <a:pt x="93" y="1017"/>
                    <a:pt x="89" y="1014"/>
                  </a:cubicBezTo>
                  <a:cubicBezTo>
                    <a:pt x="89" y="1014"/>
                    <a:pt x="89" y="1014"/>
                    <a:pt x="89" y="1014"/>
                  </a:cubicBezTo>
                  <a:cubicBezTo>
                    <a:pt x="88" y="1013"/>
                    <a:pt x="86" y="1011"/>
                    <a:pt x="85" y="1010"/>
                  </a:cubicBezTo>
                  <a:cubicBezTo>
                    <a:pt x="85" y="1010"/>
                    <a:pt x="85" y="1010"/>
                    <a:pt x="85" y="1010"/>
                  </a:cubicBezTo>
                  <a:cubicBezTo>
                    <a:pt x="83" y="1008"/>
                    <a:pt x="81" y="1006"/>
                    <a:pt x="80" y="1005"/>
                  </a:cubicBezTo>
                  <a:cubicBezTo>
                    <a:pt x="80" y="1005"/>
                    <a:pt x="80" y="1005"/>
                    <a:pt x="80" y="1005"/>
                  </a:cubicBezTo>
                  <a:cubicBezTo>
                    <a:pt x="77" y="1002"/>
                    <a:pt x="74" y="998"/>
                    <a:pt x="71" y="995"/>
                  </a:cubicBezTo>
                  <a:cubicBezTo>
                    <a:pt x="71" y="995"/>
                    <a:pt x="71" y="995"/>
                    <a:pt x="71" y="995"/>
                  </a:cubicBezTo>
                  <a:cubicBezTo>
                    <a:pt x="70" y="993"/>
                    <a:pt x="68" y="992"/>
                    <a:pt x="67" y="990"/>
                  </a:cubicBezTo>
                  <a:cubicBezTo>
                    <a:pt x="67" y="990"/>
                    <a:pt x="67" y="990"/>
                    <a:pt x="67" y="990"/>
                  </a:cubicBezTo>
                  <a:cubicBezTo>
                    <a:pt x="64" y="987"/>
                    <a:pt x="61" y="983"/>
                    <a:pt x="59" y="980"/>
                  </a:cubicBezTo>
                  <a:cubicBezTo>
                    <a:pt x="59" y="980"/>
                    <a:pt x="59" y="980"/>
                    <a:pt x="59" y="980"/>
                  </a:cubicBezTo>
                  <a:cubicBezTo>
                    <a:pt x="58" y="978"/>
                    <a:pt x="56" y="976"/>
                    <a:pt x="55" y="974"/>
                  </a:cubicBezTo>
                  <a:cubicBezTo>
                    <a:pt x="55" y="974"/>
                    <a:pt x="55" y="974"/>
                    <a:pt x="55" y="974"/>
                  </a:cubicBezTo>
                  <a:cubicBezTo>
                    <a:pt x="54" y="973"/>
                    <a:pt x="53" y="971"/>
                    <a:pt x="52" y="969"/>
                  </a:cubicBezTo>
                  <a:cubicBezTo>
                    <a:pt x="52" y="969"/>
                    <a:pt x="52" y="969"/>
                    <a:pt x="52" y="969"/>
                  </a:cubicBezTo>
                  <a:cubicBezTo>
                    <a:pt x="48" y="964"/>
                    <a:pt x="45" y="958"/>
                    <a:pt x="42" y="953"/>
                  </a:cubicBezTo>
                  <a:cubicBezTo>
                    <a:pt x="42" y="953"/>
                    <a:pt x="42" y="953"/>
                    <a:pt x="42" y="953"/>
                  </a:cubicBezTo>
                  <a:cubicBezTo>
                    <a:pt x="1" y="879"/>
                    <a:pt x="0" y="790"/>
                    <a:pt x="37" y="717"/>
                  </a:cubicBezTo>
                  <a:cubicBezTo>
                    <a:pt x="37" y="717"/>
                    <a:pt x="37" y="717"/>
                    <a:pt x="37" y="717"/>
                  </a:cubicBezTo>
                  <a:cubicBezTo>
                    <a:pt x="39" y="713"/>
                    <a:pt x="41" y="709"/>
                    <a:pt x="43" y="706"/>
                  </a:cubicBezTo>
                  <a:cubicBezTo>
                    <a:pt x="43" y="706"/>
                    <a:pt x="43" y="706"/>
                    <a:pt x="43" y="706"/>
                  </a:cubicBezTo>
                  <a:cubicBezTo>
                    <a:pt x="44" y="704"/>
                    <a:pt x="45" y="702"/>
                    <a:pt x="46" y="700"/>
                  </a:cubicBezTo>
                  <a:cubicBezTo>
                    <a:pt x="46" y="700"/>
                    <a:pt x="46" y="700"/>
                    <a:pt x="46" y="700"/>
                  </a:cubicBezTo>
                  <a:cubicBezTo>
                    <a:pt x="47" y="699"/>
                    <a:pt x="48" y="697"/>
                    <a:pt x="49" y="695"/>
                  </a:cubicBezTo>
                  <a:cubicBezTo>
                    <a:pt x="49" y="695"/>
                    <a:pt x="49" y="695"/>
                    <a:pt x="49" y="695"/>
                  </a:cubicBezTo>
                  <a:cubicBezTo>
                    <a:pt x="50" y="693"/>
                    <a:pt x="51" y="691"/>
                    <a:pt x="53" y="690"/>
                  </a:cubicBezTo>
                  <a:cubicBezTo>
                    <a:pt x="53" y="690"/>
                    <a:pt x="53" y="690"/>
                    <a:pt x="53" y="690"/>
                  </a:cubicBezTo>
                  <a:cubicBezTo>
                    <a:pt x="54" y="688"/>
                    <a:pt x="55" y="686"/>
                    <a:pt x="56" y="685"/>
                  </a:cubicBezTo>
                  <a:cubicBezTo>
                    <a:pt x="56" y="685"/>
                    <a:pt x="56" y="685"/>
                    <a:pt x="56" y="685"/>
                  </a:cubicBezTo>
                  <a:cubicBezTo>
                    <a:pt x="57" y="683"/>
                    <a:pt x="59" y="681"/>
                    <a:pt x="60" y="679"/>
                  </a:cubicBezTo>
                  <a:cubicBezTo>
                    <a:pt x="60" y="679"/>
                    <a:pt x="60" y="679"/>
                    <a:pt x="60" y="679"/>
                  </a:cubicBezTo>
                  <a:cubicBezTo>
                    <a:pt x="61" y="678"/>
                    <a:pt x="62" y="676"/>
                    <a:pt x="64" y="675"/>
                  </a:cubicBezTo>
                  <a:cubicBezTo>
                    <a:pt x="64" y="675"/>
                    <a:pt x="64" y="675"/>
                    <a:pt x="64" y="675"/>
                  </a:cubicBezTo>
                  <a:cubicBezTo>
                    <a:pt x="65" y="673"/>
                    <a:pt x="66" y="671"/>
                    <a:pt x="68" y="670"/>
                  </a:cubicBezTo>
                  <a:cubicBezTo>
                    <a:pt x="68" y="670"/>
                    <a:pt x="68" y="670"/>
                    <a:pt x="68" y="670"/>
                  </a:cubicBezTo>
                  <a:cubicBezTo>
                    <a:pt x="69" y="668"/>
                    <a:pt x="70" y="666"/>
                    <a:pt x="72" y="665"/>
                  </a:cubicBezTo>
                  <a:cubicBezTo>
                    <a:pt x="72" y="665"/>
                    <a:pt x="72" y="665"/>
                    <a:pt x="72" y="665"/>
                  </a:cubicBezTo>
                  <a:cubicBezTo>
                    <a:pt x="73" y="663"/>
                    <a:pt x="74" y="662"/>
                    <a:pt x="76" y="660"/>
                  </a:cubicBezTo>
                  <a:cubicBezTo>
                    <a:pt x="76" y="660"/>
                    <a:pt x="76" y="660"/>
                    <a:pt x="76" y="660"/>
                  </a:cubicBezTo>
                  <a:cubicBezTo>
                    <a:pt x="77" y="658"/>
                    <a:pt x="79" y="657"/>
                    <a:pt x="80" y="655"/>
                  </a:cubicBezTo>
                  <a:cubicBezTo>
                    <a:pt x="80" y="655"/>
                    <a:pt x="80" y="655"/>
                    <a:pt x="80" y="655"/>
                  </a:cubicBezTo>
                  <a:cubicBezTo>
                    <a:pt x="82" y="654"/>
                    <a:pt x="83" y="652"/>
                    <a:pt x="85" y="651"/>
                  </a:cubicBezTo>
                  <a:cubicBezTo>
                    <a:pt x="85" y="651"/>
                    <a:pt x="85" y="651"/>
                    <a:pt x="85" y="651"/>
                  </a:cubicBezTo>
                  <a:cubicBezTo>
                    <a:pt x="86" y="650"/>
                    <a:pt x="86" y="650"/>
                    <a:pt x="86" y="650"/>
                  </a:cubicBezTo>
                  <a:cubicBezTo>
                    <a:pt x="86" y="649"/>
                    <a:pt x="87" y="648"/>
                    <a:pt x="87" y="648"/>
                  </a:cubicBezTo>
                  <a:cubicBezTo>
                    <a:pt x="88" y="647"/>
                    <a:pt x="89" y="646"/>
                    <a:pt x="90" y="646"/>
                  </a:cubicBezTo>
                  <a:cubicBezTo>
                    <a:pt x="90" y="646"/>
                    <a:pt x="90" y="646"/>
                    <a:pt x="90" y="646"/>
                  </a:cubicBezTo>
                  <a:cubicBezTo>
                    <a:pt x="158" y="581"/>
                    <a:pt x="233" y="578"/>
                    <a:pt x="313" y="547"/>
                  </a:cubicBezTo>
                  <a:cubicBezTo>
                    <a:pt x="358" y="529"/>
                    <a:pt x="405" y="502"/>
                    <a:pt x="455" y="453"/>
                  </a:cubicBezTo>
                  <a:cubicBezTo>
                    <a:pt x="502" y="404"/>
                    <a:pt x="529" y="358"/>
                    <a:pt x="547" y="314"/>
                  </a:cubicBezTo>
                  <a:cubicBezTo>
                    <a:pt x="577" y="235"/>
                    <a:pt x="581" y="162"/>
                    <a:pt x="641" y="95"/>
                  </a:cubicBezTo>
                  <a:cubicBezTo>
                    <a:pt x="642" y="94"/>
                    <a:pt x="643" y="93"/>
                    <a:pt x="644" y="92"/>
                  </a:cubicBezTo>
                  <a:cubicBezTo>
                    <a:pt x="645" y="90"/>
                    <a:pt x="645" y="90"/>
                    <a:pt x="645" y="90"/>
                  </a:cubicBezTo>
                  <a:cubicBezTo>
                    <a:pt x="647" y="88"/>
                    <a:pt x="649" y="86"/>
                    <a:pt x="651" y="84"/>
                  </a:cubicBezTo>
                  <a:cubicBezTo>
                    <a:pt x="651" y="84"/>
                    <a:pt x="651" y="84"/>
                    <a:pt x="651" y="84"/>
                  </a:cubicBezTo>
                  <a:cubicBezTo>
                    <a:pt x="651" y="84"/>
                    <a:pt x="651" y="84"/>
                    <a:pt x="651" y="84"/>
                  </a:cubicBezTo>
                  <a:cubicBezTo>
                    <a:pt x="653" y="83"/>
                    <a:pt x="654" y="81"/>
                    <a:pt x="656" y="80"/>
                  </a:cubicBezTo>
                  <a:cubicBezTo>
                    <a:pt x="656" y="80"/>
                    <a:pt x="656" y="80"/>
                    <a:pt x="656" y="80"/>
                  </a:cubicBezTo>
                  <a:cubicBezTo>
                    <a:pt x="657" y="78"/>
                    <a:pt x="659" y="77"/>
                    <a:pt x="660" y="75"/>
                  </a:cubicBezTo>
                  <a:cubicBezTo>
                    <a:pt x="660" y="75"/>
                    <a:pt x="660" y="75"/>
                    <a:pt x="660" y="75"/>
                  </a:cubicBezTo>
                  <a:cubicBezTo>
                    <a:pt x="662" y="74"/>
                    <a:pt x="664" y="73"/>
                    <a:pt x="665" y="71"/>
                  </a:cubicBezTo>
                  <a:cubicBezTo>
                    <a:pt x="665" y="71"/>
                    <a:pt x="665" y="71"/>
                    <a:pt x="665" y="71"/>
                  </a:cubicBezTo>
                  <a:cubicBezTo>
                    <a:pt x="667" y="70"/>
                    <a:pt x="668" y="68"/>
                    <a:pt x="670" y="67"/>
                  </a:cubicBezTo>
                  <a:cubicBezTo>
                    <a:pt x="670" y="67"/>
                    <a:pt x="670" y="67"/>
                    <a:pt x="670" y="67"/>
                  </a:cubicBezTo>
                  <a:cubicBezTo>
                    <a:pt x="672" y="66"/>
                    <a:pt x="673" y="64"/>
                    <a:pt x="675" y="63"/>
                  </a:cubicBezTo>
                  <a:cubicBezTo>
                    <a:pt x="675" y="63"/>
                    <a:pt x="675" y="63"/>
                    <a:pt x="675" y="63"/>
                  </a:cubicBezTo>
                  <a:cubicBezTo>
                    <a:pt x="677" y="62"/>
                    <a:pt x="678" y="61"/>
                    <a:pt x="680" y="59"/>
                  </a:cubicBezTo>
                  <a:cubicBezTo>
                    <a:pt x="680" y="59"/>
                    <a:pt x="680" y="59"/>
                    <a:pt x="680" y="59"/>
                  </a:cubicBezTo>
                  <a:cubicBezTo>
                    <a:pt x="682" y="58"/>
                    <a:pt x="683" y="57"/>
                    <a:pt x="685" y="56"/>
                  </a:cubicBezTo>
                  <a:cubicBezTo>
                    <a:pt x="685" y="56"/>
                    <a:pt x="685" y="56"/>
                    <a:pt x="685" y="56"/>
                  </a:cubicBezTo>
                  <a:cubicBezTo>
                    <a:pt x="687" y="55"/>
                    <a:pt x="689" y="53"/>
                    <a:pt x="690" y="52"/>
                  </a:cubicBezTo>
                  <a:cubicBezTo>
                    <a:pt x="690" y="52"/>
                    <a:pt x="690" y="52"/>
                    <a:pt x="690" y="52"/>
                  </a:cubicBezTo>
                  <a:cubicBezTo>
                    <a:pt x="692" y="51"/>
                    <a:pt x="694" y="50"/>
                    <a:pt x="695" y="49"/>
                  </a:cubicBezTo>
                  <a:cubicBezTo>
                    <a:pt x="695" y="49"/>
                    <a:pt x="695" y="49"/>
                    <a:pt x="695" y="49"/>
                  </a:cubicBezTo>
                  <a:cubicBezTo>
                    <a:pt x="697" y="48"/>
                    <a:pt x="699" y="47"/>
                    <a:pt x="701" y="45"/>
                  </a:cubicBezTo>
                  <a:cubicBezTo>
                    <a:pt x="701" y="45"/>
                    <a:pt x="701" y="45"/>
                    <a:pt x="701" y="45"/>
                  </a:cubicBezTo>
                  <a:cubicBezTo>
                    <a:pt x="703" y="44"/>
                    <a:pt x="704" y="43"/>
                    <a:pt x="706" y="42"/>
                  </a:cubicBezTo>
                  <a:cubicBezTo>
                    <a:pt x="706" y="42"/>
                    <a:pt x="706" y="42"/>
                    <a:pt x="706" y="42"/>
                  </a:cubicBezTo>
                  <a:cubicBezTo>
                    <a:pt x="710" y="40"/>
                    <a:pt x="713" y="38"/>
                    <a:pt x="717" y="37"/>
                  </a:cubicBezTo>
                  <a:cubicBezTo>
                    <a:pt x="717" y="37"/>
                    <a:pt x="717" y="37"/>
                    <a:pt x="717" y="37"/>
                  </a:cubicBezTo>
                  <a:cubicBezTo>
                    <a:pt x="791" y="0"/>
                    <a:pt x="879" y="0"/>
                    <a:pt x="953" y="41"/>
                  </a:cubicBezTo>
                  <a:cubicBezTo>
                    <a:pt x="953" y="41"/>
                    <a:pt x="953" y="41"/>
                    <a:pt x="953" y="41"/>
                  </a:cubicBezTo>
                  <a:cubicBezTo>
                    <a:pt x="959" y="44"/>
                    <a:pt x="964" y="48"/>
                    <a:pt x="970" y="51"/>
                  </a:cubicBezTo>
                  <a:cubicBezTo>
                    <a:pt x="970" y="51"/>
                    <a:pt x="970" y="51"/>
                    <a:pt x="970" y="51"/>
                  </a:cubicBezTo>
                  <a:cubicBezTo>
                    <a:pt x="971" y="52"/>
                    <a:pt x="973" y="53"/>
                    <a:pt x="975" y="55"/>
                  </a:cubicBezTo>
                  <a:cubicBezTo>
                    <a:pt x="975" y="55"/>
                    <a:pt x="975" y="55"/>
                    <a:pt x="975" y="55"/>
                  </a:cubicBezTo>
                  <a:cubicBezTo>
                    <a:pt x="977" y="56"/>
                    <a:pt x="978" y="57"/>
                    <a:pt x="980" y="58"/>
                  </a:cubicBezTo>
                  <a:cubicBezTo>
                    <a:pt x="980" y="58"/>
                    <a:pt x="980" y="58"/>
                    <a:pt x="980" y="58"/>
                  </a:cubicBezTo>
                  <a:cubicBezTo>
                    <a:pt x="984" y="61"/>
                    <a:pt x="987" y="64"/>
                    <a:pt x="990" y="66"/>
                  </a:cubicBezTo>
                  <a:cubicBezTo>
                    <a:pt x="990" y="66"/>
                    <a:pt x="990" y="66"/>
                    <a:pt x="990" y="66"/>
                  </a:cubicBezTo>
                  <a:cubicBezTo>
                    <a:pt x="992" y="68"/>
                    <a:pt x="994" y="69"/>
                    <a:pt x="995" y="71"/>
                  </a:cubicBezTo>
                  <a:cubicBezTo>
                    <a:pt x="995" y="71"/>
                    <a:pt x="995" y="71"/>
                    <a:pt x="995" y="71"/>
                  </a:cubicBezTo>
                  <a:cubicBezTo>
                    <a:pt x="999" y="73"/>
                    <a:pt x="1002" y="76"/>
                    <a:pt x="1005" y="80"/>
                  </a:cubicBezTo>
                  <a:cubicBezTo>
                    <a:pt x="1005" y="80"/>
                    <a:pt x="1005" y="80"/>
                    <a:pt x="1005" y="80"/>
                  </a:cubicBezTo>
                  <a:cubicBezTo>
                    <a:pt x="1007" y="81"/>
                    <a:pt x="1009" y="83"/>
                    <a:pt x="1010" y="84"/>
                  </a:cubicBezTo>
                  <a:cubicBezTo>
                    <a:pt x="1010" y="84"/>
                    <a:pt x="1010" y="84"/>
                    <a:pt x="1010" y="84"/>
                  </a:cubicBezTo>
                  <a:cubicBezTo>
                    <a:pt x="1012" y="86"/>
                    <a:pt x="1013" y="87"/>
                    <a:pt x="1015" y="89"/>
                  </a:cubicBezTo>
                  <a:cubicBezTo>
                    <a:pt x="1015" y="89"/>
                    <a:pt x="1015" y="89"/>
                    <a:pt x="1015" y="89"/>
                  </a:cubicBezTo>
                  <a:cubicBezTo>
                    <a:pt x="1018" y="92"/>
                    <a:pt x="1021" y="96"/>
                    <a:pt x="1024" y="99"/>
                  </a:cubicBezTo>
                  <a:cubicBezTo>
                    <a:pt x="1024" y="99"/>
                    <a:pt x="1024" y="99"/>
                    <a:pt x="1024" y="99"/>
                  </a:cubicBezTo>
                  <a:cubicBezTo>
                    <a:pt x="1025" y="101"/>
                    <a:pt x="1027" y="102"/>
                    <a:pt x="1028" y="104"/>
                  </a:cubicBezTo>
                  <a:cubicBezTo>
                    <a:pt x="1028" y="104"/>
                    <a:pt x="1028" y="104"/>
                    <a:pt x="1028" y="104"/>
                  </a:cubicBezTo>
                  <a:cubicBezTo>
                    <a:pt x="1031" y="107"/>
                    <a:pt x="1033" y="111"/>
                    <a:pt x="1036" y="114"/>
                  </a:cubicBezTo>
                  <a:cubicBezTo>
                    <a:pt x="1036" y="114"/>
                    <a:pt x="1036" y="114"/>
                    <a:pt x="1036" y="114"/>
                  </a:cubicBezTo>
                  <a:cubicBezTo>
                    <a:pt x="1037" y="116"/>
                    <a:pt x="1038" y="118"/>
                    <a:pt x="1040" y="120"/>
                  </a:cubicBezTo>
                  <a:cubicBezTo>
                    <a:pt x="1040" y="120"/>
                    <a:pt x="1040" y="120"/>
                    <a:pt x="1040" y="120"/>
                  </a:cubicBezTo>
                  <a:cubicBezTo>
                    <a:pt x="1041" y="121"/>
                    <a:pt x="1042" y="123"/>
                    <a:pt x="1043" y="125"/>
                  </a:cubicBezTo>
                  <a:cubicBezTo>
                    <a:pt x="1043" y="125"/>
                    <a:pt x="1043" y="125"/>
                    <a:pt x="1043" y="125"/>
                  </a:cubicBezTo>
                  <a:cubicBezTo>
                    <a:pt x="1047" y="130"/>
                    <a:pt x="1050" y="136"/>
                    <a:pt x="1053" y="141"/>
                  </a:cubicBezTo>
                  <a:cubicBezTo>
                    <a:pt x="1053" y="141"/>
                    <a:pt x="1053" y="141"/>
                    <a:pt x="1053" y="141"/>
                  </a:cubicBezTo>
                  <a:cubicBezTo>
                    <a:pt x="1094" y="215"/>
                    <a:pt x="1095" y="304"/>
                    <a:pt x="1058" y="377"/>
                  </a:cubicBezTo>
                  <a:cubicBezTo>
                    <a:pt x="1058" y="377"/>
                    <a:pt x="1058" y="377"/>
                    <a:pt x="1058" y="377"/>
                  </a:cubicBezTo>
                  <a:cubicBezTo>
                    <a:pt x="1056" y="381"/>
                    <a:pt x="1054" y="385"/>
                    <a:pt x="1052" y="388"/>
                  </a:cubicBezTo>
                  <a:cubicBezTo>
                    <a:pt x="1052" y="388"/>
                    <a:pt x="1052" y="388"/>
                    <a:pt x="1052" y="388"/>
                  </a:cubicBezTo>
                  <a:cubicBezTo>
                    <a:pt x="1051" y="390"/>
                    <a:pt x="1050" y="392"/>
                    <a:pt x="1049" y="393"/>
                  </a:cubicBezTo>
                  <a:cubicBezTo>
                    <a:pt x="1049" y="393"/>
                    <a:pt x="1049" y="393"/>
                    <a:pt x="1049" y="393"/>
                  </a:cubicBezTo>
                  <a:cubicBezTo>
                    <a:pt x="1048" y="395"/>
                    <a:pt x="1047" y="397"/>
                    <a:pt x="1046" y="399"/>
                  </a:cubicBezTo>
                  <a:cubicBezTo>
                    <a:pt x="1046" y="399"/>
                    <a:pt x="1046" y="399"/>
                    <a:pt x="1046" y="399"/>
                  </a:cubicBezTo>
                  <a:cubicBezTo>
                    <a:pt x="1045" y="401"/>
                    <a:pt x="1043" y="402"/>
                    <a:pt x="1042" y="404"/>
                  </a:cubicBezTo>
                  <a:cubicBezTo>
                    <a:pt x="1042" y="404"/>
                    <a:pt x="1042" y="404"/>
                    <a:pt x="1042" y="404"/>
                  </a:cubicBezTo>
                  <a:cubicBezTo>
                    <a:pt x="1041" y="406"/>
                    <a:pt x="1040" y="408"/>
                    <a:pt x="1039" y="409"/>
                  </a:cubicBezTo>
                  <a:cubicBezTo>
                    <a:pt x="1039" y="409"/>
                    <a:pt x="1039" y="409"/>
                    <a:pt x="1039" y="409"/>
                  </a:cubicBezTo>
                  <a:cubicBezTo>
                    <a:pt x="1037" y="411"/>
                    <a:pt x="1036" y="413"/>
                    <a:pt x="1035" y="414"/>
                  </a:cubicBezTo>
                  <a:cubicBezTo>
                    <a:pt x="1035" y="414"/>
                    <a:pt x="1035" y="414"/>
                    <a:pt x="1035" y="414"/>
                  </a:cubicBezTo>
                  <a:cubicBezTo>
                    <a:pt x="1034" y="416"/>
                    <a:pt x="1033" y="418"/>
                    <a:pt x="1031" y="419"/>
                  </a:cubicBezTo>
                  <a:cubicBezTo>
                    <a:pt x="1031" y="419"/>
                    <a:pt x="1031" y="419"/>
                    <a:pt x="1031" y="419"/>
                  </a:cubicBezTo>
                  <a:cubicBezTo>
                    <a:pt x="1030" y="421"/>
                    <a:pt x="1029" y="423"/>
                    <a:pt x="1027" y="424"/>
                  </a:cubicBezTo>
                  <a:cubicBezTo>
                    <a:pt x="1027" y="424"/>
                    <a:pt x="1027" y="424"/>
                    <a:pt x="1027" y="424"/>
                  </a:cubicBezTo>
                  <a:cubicBezTo>
                    <a:pt x="1026" y="426"/>
                    <a:pt x="1025" y="428"/>
                    <a:pt x="1023" y="429"/>
                  </a:cubicBezTo>
                  <a:cubicBezTo>
                    <a:pt x="1023" y="429"/>
                    <a:pt x="1023" y="429"/>
                    <a:pt x="1023" y="429"/>
                  </a:cubicBezTo>
                  <a:cubicBezTo>
                    <a:pt x="1022" y="431"/>
                    <a:pt x="1020" y="432"/>
                    <a:pt x="1019" y="434"/>
                  </a:cubicBezTo>
                  <a:cubicBezTo>
                    <a:pt x="1019" y="434"/>
                    <a:pt x="1019" y="434"/>
                    <a:pt x="1019" y="434"/>
                  </a:cubicBezTo>
                  <a:cubicBezTo>
                    <a:pt x="1018" y="436"/>
                    <a:pt x="1016" y="437"/>
                    <a:pt x="1015" y="439"/>
                  </a:cubicBezTo>
                  <a:cubicBezTo>
                    <a:pt x="1015" y="439"/>
                    <a:pt x="1015" y="439"/>
                    <a:pt x="1015" y="439"/>
                  </a:cubicBezTo>
                  <a:cubicBezTo>
                    <a:pt x="1013" y="440"/>
                    <a:pt x="1012" y="442"/>
                    <a:pt x="1010" y="443"/>
                  </a:cubicBezTo>
                  <a:cubicBezTo>
                    <a:pt x="1010" y="443"/>
                    <a:pt x="1010" y="443"/>
                    <a:pt x="1010" y="443"/>
                  </a:cubicBezTo>
                  <a:cubicBezTo>
                    <a:pt x="1010" y="443"/>
                    <a:pt x="1010" y="443"/>
                    <a:pt x="1010" y="443"/>
                  </a:cubicBezTo>
                  <a:cubicBezTo>
                    <a:pt x="1008" y="445"/>
                    <a:pt x="1006" y="447"/>
                    <a:pt x="1004" y="449"/>
                  </a:cubicBezTo>
                  <a:cubicBezTo>
                    <a:pt x="1004" y="449"/>
                    <a:pt x="1003" y="450"/>
                    <a:pt x="1003" y="450"/>
                  </a:cubicBezTo>
                  <a:cubicBezTo>
                    <a:pt x="1001" y="452"/>
                    <a:pt x="1000" y="453"/>
                    <a:pt x="999" y="454"/>
                  </a:cubicBezTo>
                  <a:cubicBezTo>
                    <a:pt x="932" y="514"/>
                    <a:pt x="859" y="517"/>
                    <a:pt x="780" y="54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cs typeface="Arial" panose="020B0604020202020204" pitchFamily="34" charset="0"/>
              </a:endParaRPr>
            </a:p>
          </p:txBody>
        </p:sp>
        <p:sp>
          <p:nvSpPr>
            <p:cNvPr id="32" name="Freeform 15">
              <a:extLst>
                <a:ext uri="{FF2B5EF4-FFF2-40B4-BE49-F238E27FC236}">
                  <a16:creationId xmlns:a16="http://schemas.microsoft.com/office/drawing/2014/main" id="{94C15EF6-B0DC-10E8-4323-ACFCEC8A59CE}"/>
                </a:ext>
              </a:extLst>
            </p:cNvPr>
            <p:cNvSpPr>
              <a:spLocks/>
            </p:cNvSpPr>
            <p:nvPr/>
          </p:nvSpPr>
          <p:spPr bwMode="auto">
            <a:xfrm>
              <a:off x="4406032" y="3261801"/>
              <a:ext cx="676308" cy="674708"/>
            </a:xfrm>
            <a:custGeom>
              <a:avLst/>
              <a:gdLst>
                <a:gd name="T0" fmla="*/ 397 w 483"/>
                <a:gd name="T1" fmla="*/ 397 h 483"/>
                <a:gd name="T2" fmla="*/ 86 w 483"/>
                <a:gd name="T3" fmla="*/ 397 h 483"/>
                <a:gd name="T4" fmla="*/ 86 w 483"/>
                <a:gd name="T5" fmla="*/ 86 h 483"/>
                <a:gd name="T6" fmla="*/ 397 w 483"/>
                <a:gd name="T7" fmla="*/ 86 h 483"/>
                <a:gd name="T8" fmla="*/ 397 w 483"/>
                <a:gd name="T9" fmla="*/ 397 h 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3" h="483">
                  <a:moveTo>
                    <a:pt x="397" y="397"/>
                  </a:moveTo>
                  <a:cubicBezTo>
                    <a:pt x="311" y="483"/>
                    <a:pt x="172" y="483"/>
                    <a:pt x="86" y="397"/>
                  </a:cubicBezTo>
                  <a:cubicBezTo>
                    <a:pt x="0" y="311"/>
                    <a:pt x="0" y="172"/>
                    <a:pt x="86" y="86"/>
                  </a:cubicBezTo>
                  <a:cubicBezTo>
                    <a:pt x="172" y="0"/>
                    <a:pt x="311" y="0"/>
                    <a:pt x="397" y="86"/>
                  </a:cubicBezTo>
                  <a:cubicBezTo>
                    <a:pt x="483" y="172"/>
                    <a:pt x="483" y="311"/>
                    <a:pt x="397" y="397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Arial" panose="020B0604020202020204" pitchFamily="34" charset="0"/>
              </a:endParaRPr>
            </a:p>
          </p:txBody>
        </p:sp>
        <p:sp>
          <p:nvSpPr>
            <p:cNvPr id="33" name="Oval 16">
              <a:extLst>
                <a:ext uri="{FF2B5EF4-FFF2-40B4-BE49-F238E27FC236}">
                  <a16:creationId xmlns:a16="http://schemas.microsoft.com/office/drawing/2014/main" id="{46AEB365-A44D-6492-46C7-D275927594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34228" y="2500755"/>
              <a:ext cx="617150" cy="615552"/>
            </a:xfrm>
            <a:prstGeom prst="ellipse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Arial" panose="020B0604020202020204" pitchFamily="34" charset="0"/>
              </a:endParaRPr>
            </a:p>
          </p:txBody>
        </p:sp>
        <p:sp>
          <p:nvSpPr>
            <p:cNvPr id="34" name="Freeform 10">
              <a:extLst>
                <a:ext uri="{FF2B5EF4-FFF2-40B4-BE49-F238E27FC236}">
                  <a16:creationId xmlns:a16="http://schemas.microsoft.com/office/drawing/2014/main" id="{9D99152B-B923-4D42-4718-68C12D5FC835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4055" y="4350607"/>
              <a:ext cx="1531684" cy="1530085"/>
            </a:xfrm>
            <a:custGeom>
              <a:avLst/>
              <a:gdLst>
                <a:gd name="T0" fmla="*/ 547 w 1095"/>
                <a:gd name="T1" fmla="*/ 313 h 1094"/>
                <a:gd name="T2" fmla="*/ 449 w 1095"/>
                <a:gd name="T3" fmla="*/ 90 h 1094"/>
                <a:gd name="T4" fmla="*/ 444 w 1095"/>
                <a:gd name="T5" fmla="*/ 84 h 1094"/>
                <a:gd name="T6" fmla="*/ 434 w 1095"/>
                <a:gd name="T7" fmla="*/ 75 h 1094"/>
                <a:gd name="T8" fmla="*/ 430 w 1095"/>
                <a:gd name="T9" fmla="*/ 71 h 1094"/>
                <a:gd name="T10" fmla="*/ 420 w 1095"/>
                <a:gd name="T11" fmla="*/ 63 h 1094"/>
                <a:gd name="T12" fmla="*/ 415 w 1095"/>
                <a:gd name="T13" fmla="*/ 59 h 1094"/>
                <a:gd name="T14" fmla="*/ 405 w 1095"/>
                <a:gd name="T15" fmla="*/ 52 h 1094"/>
                <a:gd name="T16" fmla="*/ 399 w 1095"/>
                <a:gd name="T17" fmla="*/ 49 h 1094"/>
                <a:gd name="T18" fmla="*/ 389 w 1095"/>
                <a:gd name="T19" fmla="*/ 42 h 1094"/>
                <a:gd name="T20" fmla="*/ 378 w 1095"/>
                <a:gd name="T21" fmla="*/ 37 h 1094"/>
                <a:gd name="T22" fmla="*/ 125 w 1095"/>
                <a:gd name="T23" fmla="*/ 51 h 1094"/>
                <a:gd name="T24" fmla="*/ 120 w 1095"/>
                <a:gd name="T25" fmla="*/ 55 h 1094"/>
                <a:gd name="T26" fmla="*/ 104 w 1095"/>
                <a:gd name="T27" fmla="*/ 66 h 1094"/>
                <a:gd name="T28" fmla="*/ 99 w 1095"/>
                <a:gd name="T29" fmla="*/ 71 h 1094"/>
                <a:gd name="T30" fmla="*/ 85 w 1095"/>
                <a:gd name="T31" fmla="*/ 84 h 1094"/>
                <a:gd name="T32" fmla="*/ 80 w 1095"/>
                <a:gd name="T33" fmla="*/ 89 h 1094"/>
                <a:gd name="T34" fmla="*/ 67 w 1095"/>
                <a:gd name="T35" fmla="*/ 104 h 1094"/>
                <a:gd name="T36" fmla="*/ 59 w 1095"/>
                <a:gd name="T37" fmla="*/ 114 h 1094"/>
                <a:gd name="T38" fmla="*/ 52 w 1095"/>
                <a:gd name="T39" fmla="*/ 125 h 1094"/>
                <a:gd name="T40" fmla="*/ 42 w 1095"/>
                <a:gd name="T41" fmla="*/ 141 h 1094"/>
                <a:gd name="T42" fmla="*/ 43 w 1095"/>
                <a:gd name="T43" fmla="*/ 388 h 1094"/>
                <a:gd name="T44" fmla="*/ 46 w 1095"/>
                <a:gd name="T45" fmla="*/ 394 h 1094"/>
                <a:gd name="T46" fmla="*/ 53 w 1095"/>
                <a:gd name="T47" fmla="*/ 404 h 1094"/>
                <a:gd name="T48" fmla="*/ 56 w 1095"/>
                <a:gd name="T49" fmla="*/ 409 h 1094"/>
                <a:gd name="T50" fmla="*/ 64 w 1095"/>
                <a:gd name="T51" fmla="*/ 419 h 1094"/>
                <a:gd name="T52" fmla="*/ 68 w 1095"/>
                <a:gd name="T53" fmla="*/ 424 h 1094"/>
                <a:gd name="T54" fmla="*/ 76 w 1095"/>
                <a:gd name="T55" fmla="*/ 434 h 1094"/>
                <a:gd name="T56" fmla="*/ 80 w 1095"/>
                <a:gd name="T57" fmla="*/ 439 h 1094"/>
                <a:gd name="T58" fmla="*/ 86 w 1095"/>
                <a:gd name="T59" fmla="*/ 444 h 1094"/>
                <a:gd name="T60" fmla="*/ 90 w 1095"/>
                <a:gd name="T61" fmla="*/ 448 h 1094"/>
                <a:gd name="T62" fmla="*/ 547 w 1095"/>
                <a:gd name="T63" fmla="*/ 780 h 1094"/>
                <a:gd name="T64" fmla="*/ 645 w 1095"/>
                <a:gd name="T65" fmla="*/ 1004 h 1094"/>
                <a:gd name="T66" fmla="*/ 651 w 1095"/>
                <a:gd name="T67" fmla="*/ 1010 h 1094"/>
                <a:gd name="T68" fmla="*/ 660 w 1095"/>
                <a:gd name="T69" fmla="*/ 1019 h 1094"/>
                <a:gd name="T70" fmla="*/ 665 w 1095"/>
                <a:gd name="T71" fmla="*/ 1023 h 1094"/>
                <a:gd name="T72" fmla="*/ 675 w 1095"/>
                <a:gd name="T73" fmla="*/ 1031 h 1094"/>
                <a:gd name="T74" fmla="*/ 680 w 1095"/>
                <a:gd name="T75" fmla="*/ 1035 h 1094"/>
                <a:gd name="T76" fmla="*/ 690 w 1095"/>
                <a:gd name="T77" fmla="*/ 1042 h 1094"/>
                <a:gd name="T78" fmla="*/ 695 w 1095"/>
                <a:gd name="T79" fmla="*/ 1045 h 1094"/>
                <a:gd name="T80" fmla="*/ 706 w 1095"/>
                <a:gd name="T81" fmla="*/ 1052 h 1094"/>
                <a:gd name="T82" fmla="*/ 717 w 1095"/>
                <a:gd name="T83" fmla="*/ 1057 h 1094"/>
                <a:gd name="T84" fmla="*/ 970 w 1095"/>
                <a:gd name="T85" fmla="*/ 1043 h 1094"/>
                <a:gd name="T86" fmla="*/ 975 w 1095"/>
                <a:gd name="T87" fmla="*/ 1039 h 1094"/>
                <a:gd name="T88" fmla="*/ 990 w 1095"/>
                <a:gd name="T89" fmla="*/ 1028 h 1094"/>
                <a:gd name="T90" fmla="*/ 995 w 1095"/>
                <a:gd name="T91" fmla="*/ 1023 h 1094"/>
                <a:gd name="T92" fmla="*/ 1010 w 1095"/>
                <a:gd name="T93" fmla="*/ 1010 h 1094"/>
                <a:gd name="T94" fmla="*/ 1015 w 1095"/>
                <a:gd name="T95" fmla="*/ 1005 h 1094"/>
                <a:gd name="T96" fmla="*/ 1028 w 1095"/>
                <a:gd name="T97" fmla="*/ 990 h 1094"/>
                <a:gd name="T98" fmla="*/ 1036 w 1095"/>
                <a:gd name="T99" fmla="*/ 980 h 1094"/>
                <a:gd name="T100" fmla="*/ 1043 w 1095"/>
                <a:gd name="T101" fmla="*/ 969 h 1094"/>
                <a:gd name="T102" fmla="*/ 1053 w 1095"/>
                <a:gd name="T103" fmla="*/ 953 h 1094"/>
                <a:gd name="T104" fmla="*/ 1052 w 1095"/>
                <a:gd name="T105" fmla="*/ 706 h 1094"/>
                <a:gd name="T106" fmla="*/ 1049 w 1095"/>
                <a:gd name="T107" fmla="*/ 700 h 1094"/>
                <a:gd name="T108" fmla="*/ 1042 w 1095"/>
                <a:gd name="T109" fmla="*/ 690 h 1094"/>
                <a:gd name="T110" fmla="*/ 1039 w 1095"/>
                <a:gd name="T111" fmla="*/ 685 h 1094"/>
                <a:gd name="T112" fmla="*/ 1031 w 1095"/>
                <a:gd name="T113" fmla="*/ 675 h 1094"/>
                <a:gd name="T114" fmla="*/ 1027 w 1095"/>
                <a:gd name="T115" fmla="*/ 670 h 1094"/>
                <a:gd name="T116" fmla="*/ 1019 w 1095"/>
                <a:gd name="T117" fmla="*/ 660 h 1094"/>
                <a:gd name="T118" fmla="*/ 1015 w 1095"/>
                <a:gd name="T119" fmla="*/ 655 h 1094"/>
                <a:gd name="T120" fmla="*/ 1010 w 1095"/>
                <a:gd name="T121" fmla="*/ 651 h 1094"/>
                <a:gd name="T122" fmla="*/ 999 w 1095"/>
                <a:gd name="T123" fmla="*/ 640 h 10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95" h="1094">
                  <a:moveTo>
                    <a:pt x="780" y="547"/>
                  </a:moveTo>
                  <a:cubicBezTo>
                    <a:pt x="737" y="529"/>
                    <a:pt x="691" y="502"/>
                    <a:pt x="642" y="455"/>
                  </a:cubicBezTo>
                  <a:cubicBezTo>
                    <a:pt x="593" y="405"/>
                    <a:pt x="566" y="358"/>
                    <a:pt x="547" y="313"/>
                  </a:cubicBezTo>
                  <a:cubicBezTo>
                    <a:pt x="518" y="234"/>
                    <a:pt x="514" y="162"/>
                    <a:pt x="454" y="95"/>
                  </a:cubicBezTo>
                  <a:cubicBezTo>
                    <a:pt x="453" y="94"/>
                    <a:pt x="452" y="93"/>
                    <a:pt x="451" y="92"/>
                  </a:cubicBezTo>
                  <a:cubicBezTo>
                    <a:pt x="449" y="90"/>
                    <a:pt x="449" y="90"/>
                    <a:pt x="449" y="90"/>
                  </a:cubicBezTo>
                  <a:cubicBezTo>
                    <a:pt x="448" y="88"/>
                    <a:pt x="446" y="86"/>
                    <a:pt x="444" y="84"/>
                  </a:cubicBezTo>
                  <a:cubicBezTo>
                    <a:pt x="444" y="84"/>
                    <a:pt x="444" y="84"/>
                    <a:pt x="444" y="84"/>
                  </a:cubicBezTo>
                  <a:cubicBezTo>
                    <a:pt x="444" y="84"/>
                    <a:pt x="444" y="84"/>
                    <a:pt x="444" y="84"/>
                  </a:cubicBezTo>
                  <a:cubicBezTo>
                    <a:pt x="442" y="83"/>
                    <a:pt x="441" y="81"/>
                    <a:pt x="439" y="80"/>
                  </a:cubicBezTo>
                  <a:cubicBezTo>
                    <a:pt x="439" y="80"/>
                    <a:pt x="439" y="80"/>
                    <a:pt x="439" y="80"/>
                  </a:cubicBezTo>
                  <a:cubicBezTo>
                    <a:pt x="437" y="78"/>
                    <a:pt x="436" y="77"/>
                    <a:pt x="434" y="75"/>
                  </a:cubicBezTo>
                  <a:cubicBezTo>
                    <a:pt x="434" y="75"/>
                    <a:pt x="434" y="75"/>
                    <a:pt x="434" y="75"/>
                  </a:cubicBezTo>
                  <a:cubicBezTo>
                    <a:pt x="433" y="74"/>
                    <a:pt x="431" y="73"/>
                    <a:pt x="430" y="71"/>
                  </a:cubicBezTo>
                  <a:cubicBezTo>
                    <a:pt x="430" y="71"/>
                    <a:pt x="430" y="71"/>
                    <a:pt x="430" y="71"/>
                  </a:cubicBezTo>
                  <a:cubicBezTo>
                    <a:pt x="428" y="70"/>
                    <a:pt x="426" y="68"/>
                    <a:pt x="425" y="67"/>
                  </a:cubicBezTo>
                  <a:cubicBezTo>
                    <a:pt x="425" y="67"/>
                    <a:pt x="425" y="67"/>
                    <a:pt x="425" y="67"/>
                  </a:cubicBezTo>
                  <a:cubicBezTo>
                    <a:pt x="423" y="66"/>
                    <a:pt x="421" y="64"/>
                    <a:pt x="420" y="63"/>
                  </a:cubicBezTo>
                  <a:cubicBezTo>
                    <a:pt x="420" y="63"/>
                    <a:pt x="420" y="63"/>
                    <a:pt x="420" y="63"/>
                  </a:cubicBezTo>
                  <a:cubicBezTo>
                    <a:pt x="418" y="62"/>
                    <a:pt x="416" y="61"/>
                    <a:pt x="415" y="59"/>
                  </a:cubicBezTo>
                  <a:cubicBezTo>
                    <a:pt x="415" y="59"/>
                    <a:pt x="415" y="59"/>
                    <a:pt x="415" y="59"/>
                  </a:cubicBezTo>
                  <a:cubicBezTo>
                    <a:pt x="413" y="58"/>
                    <a:pt x="411" y="57"/>
                    <a:pt x="410" y="56"/>
                  </a:cubicBezTo>
                  <a:cubicBezTo>
                    <a:pt x="410" y="56"/>
                    <a:pt x="410" y="56"/>
                    <a:pt x="410" y="56"/>
                  </a:cubicBezTo>
                  <a:cubicBezTo>
                    <a:pt x="408" y="54"/>
                    <a:pt x="406" y="53"/>
                    <a:pt x="405" y="52"/>
                  </a:cubicBezTo>
                  <a:cubicBezTo>
                    <a:pt x="405" y="52"/>
                    <a:pt x="405" y="52"/>
                    <a:pt x="405" y="52"/>
                  </a:cubicBezTo>
                  <a:cubicBezTo>
                    <a:pt x="403" y="51"/>
                    <a:pt x="401" y="50"/>
                    <a:pt x="399" y="49"/>
                  </a:cubicBezTo>
                  <a:cubicBezTo>
                    <a:pt x="399" y="49"/>
                    <a:pt x="399" y="49"/>
                    <a:pt x="399" y="49"/>
                  </a:cubicBezTo>
                  <a:cubicBezTo>
                    <a:pt x="398" y="48"/>
                    <a:pt x="396" y="47"/>
                    <a:pt x="394" y="45"/>
                  </a:cubicBezTo>
                  <a:cubicBezTo>
                    <a:pt x="394" y="45"/>
                    <a:pt x="394" y="45"/>
                    <a:pt x="394" y="45"/>
                  </a:cubicBezTo>
                  <a:cubicBezTo>
                    <a:pt x="392" y="44"/>
                    <a:pt x="390" y="43"/>
                    <a:pt x="389" y="42"/>
                  </a:cubicBezTo>
                  <a:cubicBezTo>
                    <a:pt x="389" y="42"/>
                    <a:pt x="389" y="42"/>
                    <a:pt x="389" y="42"/>
                  </a:cubicBezTo>
                  <a:cubicBezTo>
                    <a:pt x="385" y="40"/>
                    <a:pt x="381" y="38"/>
                    <a:pt x="378" y="37"/>
                  </a:cubicBezTo>
                  <a:cubicBezTo>
                    <a:pt x="378" y="37"/>
                    <a:pt x="378" y="37"/>
                    <a:pt x="378" y="37"/>
                  </a:cubicBezTo>
                  <a:cubicBezTo>
                    <a:pt x="304" y="0"/>
                    <a:pt x="216" y="0"/>
                    <a:pt x="142" y="41"/>
                  </a:cubicBezTo>
                  <a:cubicBezTo>
                    <a:pt x="142" y="41"/>
                    <a:pt x="142" y="41"/>
                    <a:pt x="142" y="41"/>
                  </a:cubicBezTo>
                  <a:cubicBezTo>
                    <a:pt x="136" y="44"/>
                    <a:pt x="131" y="48"/>
                    <a:pt x="125" y="51"/>
                  </a:cubicBezTo>
                  <a:cubicBezTo>
                    <a:pt x="125" y="51"/>
                    <a:pt x="125" y="51"/>
                    <a:pt x="125" y="51"/>
                  </a:cubicBezTo>
                  <a:cubicBezTo>
                    <a:pt x="124" y="52"/>
                    <a:pt x="122" y="53"/>
                    <a:pt x="120" y="55"/>
                  </a:cubicBezTo>
                  <a:cubicBezTo>
                    <a:pt x="120" y="55"/>
                    <a:pt x="120" y="55"/>
                    <a:pt x="120" y="55"/>
                  </a:cubicBezTo>
                  <a:cubicBezTo>
                    <a:pt x="118" y="56"/>
                    <a:pt x="116" y="57"/>
                    <a:pt x="115" y="58"/>
                  </a:cubicBezTo>
                  <a:cubicBezTo>
                    <a:pt x="115" y="58"/>
                    <a:pt x="115" y="58"/>
                    <a:pt x="115" y="58"/>
                  </a:cubicBezTo>
                  <a:cubicBezTo>
                    <a:pt x="111" y="61"/>
                    <a:pt x="108" y="64"/>
                    <a:pt x="104" y="66"/>
                  </a:cubicBezTo>
                  <a:cubicBezTo>
                    <a:pt x="104" y="66"/>
                    <a:pt x="104" y="66"/>
                    <a:pt x="104" y="66"/>
                  </a:cubicBezTo>
                  <a:cubicBezTo>
                    <a:pt x="103" y="68"/>
                    <a:pt x="101" y="69"/>
                    <a:pt x="99" y="71"/>
                  </a:cubicBezTo>
                  <a:cubicBezTo>
                    <a:pt x="99" y="71"/>
                    <a:pt x="99" y="71"/>
                    <a:pt x="99" y="71"/>
                  </a:cubicBezTo>
                  <a:cubicBezTo>
                    <a:pt x="96" y="73"/>
                    <a:pt x="93" y="76"/>
                    <a:pt x="89" y="80"/>
                  </a:cubicBezTo>
                  <a:cubicBezTo>
                    <a:pt x="89" y="80"/>
                    <a:pt x="89" y="80"/>
                    <a:pt x="89" y="80"/>
                  </a:cubicBezTo>
                  <a:cubicBezTo>
                    <a:pt x="88" y="81"/>
                    <a:pt x="86" y="83"/>
                    <a:pt x="85" y="84"/>
                  </a:cubicBezTo>
                  <a:cubicBezTo>
                    <a:pt x="85" y="84"/>
                    <a:pt x="85" y="84"/>
                    <a:pt x="85" y="84"/>
                  </a:cubicBezTo>
                  <a:cubicBezTo>
                    <a:pt x="83" y="86"/>
                    <a:pt x="81" y="87"/>
                    <a:pt x="80" y="89"/>
                  </a:cubicBezTo>
                  <a:cubicBezTo>
                    <a:pt x="80" y="89"/>
                    <a:pt x="80" y="89"/>
                    <a:pt x="80" y="89"/>
                  </a:cubicBezTo>
                  <a:cubicBezTo>
                    <a:pt x="77" y="92"/>
                    <a:pt x="74" y="96"/>
                    <a:pt x="71" y="99"/>
                  </a:cubicBezTo>
                  <a:cubicBezTo>
                    <a:pt x="71" y="99"/>
                    <a:pt x="71" y="99"/>
                    <a:pt x="71" y="99"/>
                  </a:cubicBezTo>
                  <a:cubicBezTo>
                    <a:pt x="70" y="101"/>
                    <a:pt x="68" y="102"/>
                    <a:pt x="67" y="104"/>
                  </a:cubicBezTo>
                  <a:cubicBezTo>
                    <a:pt x="67" y="104"/>
                    <a:pt x="67" y="104"/>
                    <a:pt x="67" y="104"/>
                  </a:cubicBezTo>
                  <a:cubicBezTo>
                    <a:pt x="64" y="107"/>
                    <a:pt x="61" y="111"/>
                    <a:pt x="59" y="114"/>
                  </a:cubicBezTo>
                  <a:cubicBezTo>
                    <a:pt x="59" y="114"/>
                    <a:pt x="59" y="114"/>
                    <a:pt x="59" y="114"/>
                  </a:cubicBezTo>
                  <a:cubicBezTo>
                    <a:pt x="58" y="116"/>
                    <a:pt x="56" y="118"/>
                    <a:pt x="55" y="119"/>
                  </a:cubicBezTo>
                  <a:cubicBezTo>
                    <a:pt x="55" y="119"/>
                    <a:pt x="55" y="119"/>
                    <a:pt x="55" y="119"/>
                  </a:cubicBezTo>
                  <a:cubicBezTo>
                    <a:pt x="54" y="121"/>
                    <a:pt x="53" y="123"/>
                    <a:pt x="52" y="125"/>
                  </a:cubicBezTo>
                  <a:cubicBezTo>
                    <a:pt x="52" y="125"/>
                    <a:pt x="52" y="125"/>
                    <a:pt x="52" y="125"/>
                  </a:cubicBezTo>
                  <a:cubicBezTo>
                    <a:pt x="48" y="130"/>
                    <a:pt x="45" y="136"/>
                    <a:pt x="42" y="141"/>
                  </a:cubicBezTo>
                  <a:cubicBezTo>
                    <a:pt x="42" y="141"/>
                    <a:pt x="42" y="141"/>
                    <a:pt x="42" y="141"/>
                  </a:cubicBezTo>
                  <a:cubicBezTo>
                    <a:pt x="1" y="215"/>
                    <a:pt x="0" y="304"/>
                    <a:pt x="37" y="377"/>
                  </a:cubicBezTo>
                  <a:cubicBezTo>
                    <a:pt x="37" y="377"/>
                    <a:pt x="37" y="377"/>
                    <a:pt x="37" y="377"/>
                  </a:cubicBezTo>
                  <a:cubicBezTo>
                    <a:pt x="39" y="381"/>
                    <a:pt x="41" y="385"/>
                    <a:pt x="43" y="388"/>
                  </a:cubicBezTo>
                  <a:cubicBezTo>
                    <a:pt x="43" y="388"/>
                    <a:pt x="43" y="388"/>
                    <a:pt x="43" y="388"/>
                  </a:cubicBezTo>
                  <a:cubicBezTo>
                    <a:pt x="44" y="390"/>
                    <a:pt x="45" y="392"/>
                    <a:pt x="46" y="394"/>
                  </a:cubicBezTo>
                  <a:cubicBezTo>
                    <a:pt x="46" y="394"/>
                    <a:pt x="46" y="394"/>
                    <a:pt x="46" y="394"/>
                  </a:cubicBezTo>
                  <a:cubicBezTo>
                    <a:pt x="47" y="395"/>
                    <a:pt x="48" y="397"/>
                    <a:pt x="49" y="399"/>
                  </a:cubicBezTo>
                  <a:cubicBezTo>
                    <a:pt x="49" y="399"/>
                    <a:pt x="49" y="399"/>
                    <a:pt x="49" y="399"/>
                  </a:cubicBezTo>
                  <a:cubicBezTo>
                    <a:pt x="50" y="401"/>
                    <a:pt x="51" y="402"/>
                    <a:pt x="53" y="404"/>
                  </a:cubicBezTo>
                  <a:cubicBezTo>
                    <a:pt x="53" y="404"/>
                    <a:pt x="53" y="404"/>
                    <a:pt x="53" y="404"/>
                  </a:cubicBezTo>
                  <a:cubicBezTo>
                    <a:pt x="54" y="406"/>
                    <a:pt x="55" y="408"/>
                    <a:pt x="56" y="409"/>
                  </a:cubicBezTo>
                  <a:cubicBezTo>
                    <a:pt x="56" y="409"/>
                    <a:pt x="56" y="409"/>
                    <a:pt x="56" y="409"/>
                  </a:cubicBezTo>
                  <a:cubicBezTo>
                    <a:pt x="57" y="411"/>
                    <a:pt x="59" y="413"/>
                    <a:pt x="60" y="414"/>
                  </a:cubicBezTo>
                  <a:cubicBezTo>
                    <a:pt x="60" y="414"/>
                    <a:pt x="60" y="414"/>
                    <a:pt x="60" y="414"/>
                  </a:cubicBezTo>
                  <a:cubicBezTo>
                    <a:pt x="61" y="416"/>
                    <a:pt x="62" y="418"/>
                    <a:pt x="64" y="419"/>
                  </a:cubicBezTo>
                  <a:cubicBezTo>
                    <a:pt x="64" y="419"/>
                    <a:pt x="64" y="419"/>
                    <a:pt x="64" y="419"/>
                  </a:cubicBezTo>
                  <a:cubicBezTo>
                    <a:pt x="65" y="421"/>
                    <a:pt x="66" y="423"/>
                    <a:pt x="68" y="424"/>
                  </a:cubicBezTo>
                  <a:cubicBezTo>
                    <a:pt x="68" y="424"/>
                    <a:pt x="68" y="424"/>
                    <a:pt x="68" y="424"/>
                  </a:cubicBezTo>
                  <a:cubicBezTo>
                    <a:pt x="69" y="426"/>
                    <a:pt x="70" y="428"/>
                    <a:pt x="72" y="429"/>
                  </a:cubicBezTo>
                  <a:cubicBezTo>
                    <a:pt x="72" y="429"/>
                    <a:pt x="72" y="429"/>
                    <a:pt x="72" y="429"/>
                  </a:cubicBezTo>
                  <a:cubicBezTo>
                    <a:pt x="73" y="431"/>
                    <a:pt x="74" y="432"/>
                    <a:pt x="76" y="434"/>
                  </a:cubicBezTo>
                  <a:cubicBezTo>
                    <a:pt x="76" y="434"/>
                    <a:pt x="76" y="434"/>
                    <a:pt x="76" y="434"/>
                  </a:cubicBezTo>
                  <a:cubicBezTo>
                    <a:pt x="77" y="436"/>
                    <a:pt x="79" y="437"/>
                    <a:pt x="80" y="439"/>
                  </a:cubicBezTo>
                  <a:cubicBezTo>
                    <a:pt x="80" y="439"/>
                    <a:pt x="80" y="439"/>
                    <a:pt x="80" y="439"/>
                  </a:cubicBezTo>
                  <a:cubicBezTo>
                    <a:pt x="82" y="440"/>
                    <a:pt x="83" y="442"/>
                    <a:pt x="85" y="443"/>
                  </a:cubicBezTo>
                  <a:cubicBezTo>
                    <a:pt x="85" y="443"/>
                    <a:pt x="85" y="443"/>
                    <a:pt x="85" y="443"/>
                  </a:cubicBezTo>
                  <a:cubicBezTo>
                    <a:pt x="86" y="444"/>
                    <a:pt x="86" y="444"/>
                    <a:pt x="86" y="444"/>
                  </a:cubicBezTo>
                  <a:cubicBezTo>
                    <a:pt x="86" y="445"/>
                    <a:pt x="87" y="445"/>
                    <a:pt x="87" y="446"/>
                  </a:cubicBezTo>
                  <a:cubicBezTo>
                    <a:pt x="88" y="447"/>
                    <a:pt x="89" y="448"/>
                    <a:pt x="90" y="448"/>
                  </a:cubicBezTo>
                  <a:cubicBezTo>
                    <a:pt x="90" y="448"/>
                    <a:pt x="90" y="448"/>
                    <a:pt x="90" y="448"/>
                  </a:cubicBezTo>
                  <a:cubicBezTo>
                    <a:pt x="158" y="513"/>
                    <a:pt x="233" y="516"/>
                    <a:pt x="313" y="547"/>
                  </a:cubicBezTo>
                  <a:cubicBezTo>
                    <a:pt x="358" y="565"/>
                    <a:pt x="405" y="592"/>
                    <a:pt x="455" y="641"/>
                  </a:cubicBezTo>
                  <a:cubicBezTo>
                    <a:pt x="502" y="690"/>
                    <a:pt x="529" y="736"/>
                    <a:pt x="547" y="780"/>
                  </a:cubicBezTo>
                  <a:cubicBezTo>
                    <a:pt x="577" y="859"/>
                    <a:pt x="581" y="931"/>
                    <a:pt x="641" y="999"/>
                  </a:cubicBezTo>
                  <a:cubicBezTo>
                    <a:pt x="642" y="1000"/>
                    <a:pt x="643" y="1001"/>
                    <a:pt x="644" y="1002"/>
                  </a:cubicBezTo>
                  <a:cubicBezTo>
                    <a:pt x="645" y="1004"/>
                    <a:pt x="645" y="1004"/>
                    <a:pt x="645" y="1004"/>
                  </a:cubicBezTo>
                  <a:cubicBezTo>
                    <a:pt x="647" y="1006"/>
                    <a:pt x="649" y="1008"/>
                    <a:pt x="651" y="1010"/>
                  </a:cubicBezTo>
                  <a:cubicBezTo>
                    <a:pt x="651" y="1010"/>
                    <a:pt x="651" y="1010"/>
                    <a:pt x="651" y="1010"/>
                  </a:cubicBezTo>
                  <a:cubicBezTo>
                    <a:pt x="651" y="1010"/>
                    <a:pt x="651" y="1010"/>
                    <a:pt x="651" y="1010"/>
                  </a:cubicBezTo>
                  <a:cubicBezTo>
                    <a:pt x="653" y="1011"/>
                    <a:pt x="654" y="1013"/>
                    <a:pt x="656" y="1014"/>
                  </a:cubicBezTo>
                  <a:cubicBezTo>
                    <a:pt x="656" y="1014"/>
                    <a:pt x="656" y="1014"/>
                    <a:pt x="656" y="1014"/>
                  </a:cubicBezTo>
                  <a:cubicBezTo>
                    <a:pt x="657" y="1016"/>
                    <a:pt x="659" y="1017"/>
                    <a:pt x="660" y="1019"/>
                  </a:cubicBezTo>
                  <a:cubicBezTo>
                    <a:pt x="660" y="1019"/>
                    <a:pt x="660" y="1019"/>
                    <a:pt x="660" y="1019"/>
                  </a:cubicBezTo>
                  <a:cubicBezTo>
                    <a:pt x="662" y="1020"/>
                    <a:pt x="664" y="1021"/>
                    <a:pt x="665" y="1023"/>
                  </a:cubicBezTo>
                  <a:cubicBezTo>
                    <a:pt x="665" y="1023"/>
                    <a:pt x="665" y="1023"/>
                    <a:pt x="665" y="1023"/>
                  </a:cubicBezTo>
                  <a:cubicBezTo>
                    <a:pt x="667" y="1024"/>
                    <a:pt x="668" y="1026"/>
                    <a:pt x="670" y="1027"/>
                  </a:cubicBezTo>
                  <a:cubicBezTo>
                    <a:pt x="670" y="1027"/>
                    <a:pt x="670" y="1027"/>
                    <a:pt x="670" y="1027"/>
                  </a:cubicBezTo>
                  <a:cubicBezTo>
                    <a:pt x="672" y="1028"/>
                    <a:pt x="673" y="1030"/>
                    <a:pt x="675" y="1031"/>
                  </a:cubicBezTo>
                  <a:cubicBezTo>
                    <a:pt x="675" y="1031"/>
                    <a:pt x="675" y="1031"/>
                    <a:pt x="675" y="1031"/>
                  </a:cubicBezTo>
                  <a:cubicBezTo>
                    <a:pt x="677" y="1032"/>
                    <a:pt x="678" y="1033"/>
                    <a:pt x="680" y="1035"/>
                  </a:cubicBezTo>
                  <a:cubicBezTo>
                    <a:pt x="680" y="1035"/>
                    <a:pt x="680" y="1035"/>
                    <a:pt x="680" y="1035"/>
                  </a:cubicBezTo>
                  <a:cubicBezTo>
                    <a:pt x="682" y="1036"/>
                    <a:pt x="683" y="1037"/>
                    <a:pt x="685" y="1038"/>
                  </a:cubicBezTo>
                  <a:cubicBezTo>
                    <a:pt x="685" y="1038"/>
                    <a:pt x="685" y="1038"/>
                    <a:pt x="685" y="1038"/>
                  </a:cubicBezTo>
                  <a:cubicBezTo>
                    <a:pt x="687" y="1039"/>
                    <a:pt x="689" y="1041"/>
                    <a:pt x="690" y="1042"/>
                  </a:cubicBezTo>
                  <a:cubicBezTo>
                    <a:pt x="690" y="1042"/>
                    <a:pt x="690" y="1042"/>
                    <a:pt x="690" y="1042"/>
                  </a:cubicBezTo>
                  <a:cubicBezTo>
                    <a:pt x="692" y="1043"/>
                    <a:pt x="694" y="1044"/>
                    <a:pt x="695" y="1045"/>
                  </a:cubicBezTo>
                  <a:cubicBezTo>
                    <a:pt x="695" y="1045"/>
                    <a:pt x="695" y="1045"/>
                    <a:pt x="695" y="1045"/>
                  </a:cubicBezTo>
                  <a:cubicBezTo>
                    <a:pt x="697" y="1046"/>
                    <a:pt x="699" y="1047"/>
                    <a:pt x="701" y="1048"/>
                  </a:cubicBezTo>
                  <a:cubicBezTo>
                    <a:pt x="701" y="1048"/>
                    <a:pt x="701" y="1048"/>
                    <a:pt x="701" y="1048"/>
                  </a:cubicBezTo>
                  <a:cubicBezTo>
                    <a:pt x="703" y="1050"/>
                    <a:pt x="704" y="1051"/>
                    <a:pt x="706" y="1052"/>
                  </a:cubicBezTo>
                  <a:cubicBezTo>
                    <a:pt x="706" y="1052"/>
                    <a:pt x="706" y="1052"/>
                    <a:pt x="706" y="1052"/>
                  </a:cubicBezTo>
                  <a:cubicBezTo>
                    <a:pt x="710" y="1054"/>
                    <a:pt x="713" y="1055"/>
                    <a:pt x="717" y="1057"/>
                  </a:cubicBezTo>
                  <a:cubicBezTo>
                    <a:pt x="717" y="1057"/>
                    <a:pt x="717" y="1057"/>
                    <a:pt x="717" y="1057"/>
                  </a:cubicBezTo>
                  <a:cubicBezTo>
                    <a:pt x="791" y="1094"/>
                    <a:pt x="879" y="1094"/>
                    <a:pt x="953" y="1053"/>
                  </a:cubicBezTo>
                  <a:cubicBezTo>
                    <a:pt x="953" y="1053"/>
                    <a:pt x="953" y="1053"/>
                    <a:pt x="953" y="1053"/>
                  </a:cubicBezTo>
                  <a:cubicBezTo>
                    <a:pt x="959" y="1050"/>
                    <a:pt x="964" y="1046"/>
                    <a:pt x="970" y="1043"/>
                  </a:cubicBezTo>
                  <a:cubicBezTo>
                    <a:pt x="970" y="1043"/>
                    <a:pt x="970" y="1043"/>
                    <a:pt x="970" y="1043"/>
                  </a:cubicBezTo>
                  <a:cubicBezTo>
                    <a:pt x="971" y="1042"/>
                    <a:pt x="973" y="1040"/>
                    <a:pt x="975" y="1039"/>
                  </a:cubicBezTo>
                  <a:cubicBezTo>
                    <a:pt x="975" y="1039"/>
                    <a:pt x="975" y="1039"/>
                    <a:pt x="975" y="1039"/>
                  </a:cubicBezTo>
                  <a:cubicBezTo>
                    <a:pt x="977" y="1038"/>
                    <a:pt x="978" y="1037"/>
                    <a:pt x="980" y="1035"/>
                  </a:cubicBezTo>
                  <a:cubicBezTo>
                    <a:pt x="980" y="1035"/>
                    <a:pt x="980" y="1035"/>
                    <a:pt x="980" y="1035"/>
                  </a:cubicBezTo>
                  <a:cubicBezTo>
                    <a:pt x="984" y="1033"/>
                    <a:pt x="987" y="1030"/>
                    <a:pt x="990" y="1028"/>
                  </a:cubicBezTo>
                  <a:cubicBezTo>
                    <a:pt x="990" y="1027"/>
                    <a:pt x="990" y="1027"/>
                    <a:pt x="990" y="1027"/>
                  </a:cubicBezTo>
                  <a:cubicBezTo>
                    <a:pt x="992" y="1026"/>
                    <a:pt x="994" y="1025"/>
                    <a:pt x="995" y="1023"/>
                  </a:cubicBezTo>
                  <a:cubicBezTo>
                    <a:pt x="995" y="1023"/>
                    <a:pt x="995" y="1023"/>
                    <a:pt x="995" y="1023"/>
                  </a:cubicBezTo>
                  <a:cubicBezTo>
                    <a:pt x="999" y="1020"/>
                    <a:pt x="1002" y="1018"/>
                    <a:pt x="1005" y="1014"/>
                  </a:cubicBezTo>
                  <a:cubicBezTo>
                    <a:pt x="1005" y="1014"/>
                    <a:pt x="1005" y="1014"/>
                    <a:pt x="1005" y="1014"/>
                  </a:cubicBezTo>
                  <a:cubicBezTo>
                    <a:pt x="1007" y="1013"/>
                    <a:pt x="1009" y="1011"/>
                    <a:pt x="1010" y="1010"/>
                  </a:cubicBezTo>
                  <a:cubicBezTo>
                    <a:pt x="1010" y="1010"/>
                    <a:pt x="1010" y="1010"/>
                    <a:pt x="1010" y="1010"/>
                  </a:cubicBezTo>
                  <a:cubicBezTo>
                    <a:pt x="1012" y="1008"/>
                    <a:pt x="1013" y="1007"/>
                    <a:pt x="1015" y="1005"/>
                  </a:cubicBezTo>
                  <a:cubicBezTo>
                    <a:pt x="1015" y="1005"/>
                    <a:pt x="1015" y="1005"/>
                    <a:pt x="1015" y="1005"/>
                  </a:cubicBezTo>
                  <a:cubicBezTo>
                    <a:pt x="1018" y="1002"/>
                    <a:pt x="1021" y="998"/>
                    <a:pt x="1024" y="995"/>
                  </a:cubicBezTo>
                  <a:cubicBezTo>
                    <a:pt x="1024" y="995"/>
                    <a:pt x="1024" y="995"/>
                    <a:pt x="1024" y="995"/>
                  </a:cubicBezTo>
                  <a:cubicBezTo>
                    <a:pt x="1025" y="993"/>
                    <a:pt x="1027" y="992"/>
                    <a:pt x="1028" y="990"/>
                  </a:cubicBezTo>
                  <a:cubicBezTo>
                    <a:pt x="1028" y="990"/>
                    <a:pt x="1028" y="990"/>
                    <a:pt x="1028" y="990"/>
                  </a:cubicBezTo>
                  <a:cubicBezTo>
                    <a:pt x="1031" y="987"/>
                    <a:pt x="1033" y="983"/>
                    <a:pt x="1036" y="980"/>
                  </a:cubicBezTo>
                  <a:cubicBezTo>
                    <a:pt x="1036" y="980"/>
                    <a:pt x="1036" y="980"/>
                    <a:pt x="1036" y="980"/>
                  </a:cubicBezTo>
                  <a:cubicBezTo>
                    <a:pt x="1037" y="978"/>
                    <a:pt x="1038" y="976"/>
                    <a:pt x="1040" y="974"/>
                  </a:cubicBezTo>
                  <a:cubicBezTo>
                    <a:pt x="1040" y="974"/>
                    <a:pt x="1040" y="974"/>
                    <a:pt x="1040" y="974"/>
                  </a:cubicBezTo>
                  <a:cubicBezTo>
                    <a:pt x="1041" y="973"/>
                    <a:pt x="1042" y="971"/>
                    <a:pt x="1043" y="969"/>
                  </a:cubicBezTo>
                  <a:cubicBezTo>
                    <a:pt x="1043" y="969"/>
                    <a:pt x="1043" y="969"/>
                    <a:pt x="1043" y="969"/>
                  </a:cubicBezTo>
                  <a:cubicBezTo>
                    <a:pt x="1047" y="964"/>
                    <a:pt x="1050" y="958"/>
                    <a:pt x="1053" y="953"/>
                  </a:cubicBezTo>
                  <a:cubicBezTo>
                    <a:pt x="1053" y="953"/>
                    <a:pt x="1053" y="953"/>
                    <a:pt x="1053" y="953"/>
                  </a:cubicBezTo>
                  <a:cubicBezTo>
                    <a:pt x="1094" y="879"/>
                    <a:pt x="1095" y="790"/>
                    <a:pt x="1058" y="717"/>
                  </a:cubicBezTo>
                  <a:cubicBezTo>
                    <a:pt x="1058" y="717"/>
                    <a:pt x="1058" y="717"/>
                    <a:pt x="1058" y="717"/>
                  </a:cubicBezTo>
                  <a:cubicBezTo>
                    <a:pt x="1056" y="713"/>
                    <a:pt x="1054" y="709"/>
                    <a:pt x="1052" y="706"/>
                  </a:cubicBezTo>
                  <a:cubicBezTo>
                    <a:pt x="1052" y="706"/>
                    <a:pt x="1052" y="706"/>
                    <a:pt x="1052" y="706"/>
                  </a:cubicBezTo>
                  <a:cubicBezTo>
                    <a:pt x="1051" y="704"/>
                    <a:pt x="1050" y="702"/>
                    <a:pt x="1049" y="700"/>
                  </a:cubicBezTo>
                  <a:cubicBezTo>
                    <a:pt x="1049" y="700"/>
                    <a:pt x="1049" y="700"/>
                    <a:pt x="1049" y="700"/>
                  </a:cubicBezTo>
                  <a:cubicBezTo>
                    <a:pt x="1048" y="699"/>
                    <a:pt x="1047" y="697"/>
                    <a:pt x="1046" y="695"/>
                  </a:cubicBezTo>
                  <a:cubicBezTo>
                    <a:pt x="1046" y="695"/>
                    <a:pt x="1046" y="695"/>
                    <a:pt x="1046" y="695"/>
                  </a:cubicBezTo>
                  <a:cubicBezTo>
                    <a:pt x="1045" y="693"/>
                    <a:pt x="1043" y="692"/>
                    <a:pt x="1042" y="690"/>
                  </a:cubicBezTo>
                  <a:cubicBezTo>
                    <a:pt x="1042" y="690"/>
                    <a:pt x="1042" y="690"/>
                    <a:pt x="1042" y="690"/>
                  </a:cubicBezTo>
                  <a:cubicBezTo>
                    <a:pt x="1041" y="688"/>
                    <a:pt x="1040" y="686"/>
                    <a:pt x="1039" y="685"/>
                  </a:cubicBezTo>
                  <a:cubicBezTo>
                    <a:pt x="1039" y="685"/>
                    <a:pt x="1039" y="685"/>
                    <a:pt x="1039" y="685"/>
                  </a:cubicBezTo>
                  <a:cubicBezTo>
                    <a:pt x="1037" y="683"/>
                    <a:pt x="1036" y="681"/>
                    <a:pt x="1035" y="680"/>
                  </a:cubicBezTo>
                  <a:cubicBezTo>
                    <a:pt x="1035" y="680"/>
                    <a:pt x="1035" y="680"/>
                    <a:pt x="1035" y="680"/>
                  </a:cubicBezTo>
                  <a:cubicBezTo>
                    <a:pt x="1034" y="678"/>
                    <a:pt x="1033" y="676"/>
                    <a:pt x="1031" y="675"/>
                  </a:cubicBezTo>
                  <a:cubicBezTo>
                    <a:pt x="1031" y="675"/>
                    <a:pt x="1031" y="675"/>
                    <a:pt x="1031" y="675"/>
                  </a:cubicBezTo>
                  <a:cubicBezTo>
                    <a:pt x="1030" y="673"/>
                    <a:pt x="1029" y="671"/>
                    <a:pt x="1027" y="670"/>
                  </a:cubicBezTo>
                  <a:cubicBezTo>
                    <a:pt x="1027" y="670"/>
                    <a:pt x="1027" y="670"/>
                    <a:pt x="1027" y="670"/>
                  </a:cubicBezTo>
                  <a:cubicBezTo>
                    <a:pt x="1026" y="668"/>
                    <a:pt x="1025" y="666"/>
                    <a:pt x="1023" y="665"/>
                  </a:cubicBezTo>
                  <a:cubicBezTo>
                    <a:pt x="1023" y="665"/>
                    <a:pt x="1023" y="665"/>
                    <a:pt x="1023" y="665"/>
                  </a:cubicBezTo>
                  <a:cubicBezTo>
                    <a:pt x="1022" y="663"/>
                    <a:pt x="1020" y="662"/>
                    <a:pt x="1019" y="660"/>
                  </a:cubicBezTo>
                  <a:cubicBezTo>
                    <a:pt x="1019" y="660"/>
                    <a:pt x="1019" y="660"/>
                    <a:pt x="1019" y="660"/>
                  </a:cubicBezTo>
                  <a:cubicBezTo>
                    <a:pt x="1018" y="658"/>
                    <a:pt x="1016" y="657"/>
                    <a:pt x="1015" y="655"/>
                  </a:cubicBezTo>
                  <a:cubicBezTo>
                    <a:pt x="1015" y="655"/>
                    <a:pt x="1015" y="655"/>
                    <a:pt x="1015" y="655"/>
                  </a:cubicBezTo>
                  <a:cubicBezTo>
                    <a:pt x="1013" y="654"/>
                    <a:pt x="1012" y="652"/>
                    <a:pt x="1010" y="651"/>
                  </a:cubicBezTo>
                  <a:cubicBezTo>
                    <a:pt x="1010" y="651"/>
                    <a:pt x="1010" y="651"/>
                    <a:pt x="1010" y="651"/>
                  </a:cubicBezTo>
                  <a:cubicBezTo>
                    <a:pt x="1010" y="651"/>
                    <a:pt x="1010" y="651"/>
                    <a:pt x="1010" y="651"/>
                  </a:cubicBezTo>
                  <a:cubicBezTo>
                    <a:pt x="1008" y="649"/>
                    <a:pt x="1006" y="647"/>
                    <a:pt x="1004" y="645"/>
                  </a:cubicBezTo>
                  <a:cubicBezTo>
                    <a:pt x="1004" y="644"/>
                    <a:pt x="1003" y="644"/>
                    <a:pt x="1003" y="643"/>
                  </a:cubicBezTo>
                  <a:cubicBezTo>
                    <a:pt x="1001" y="642"/>
                    <a:pt x="1000" y="641"/>
                    <a:pt x="999" y="640"/>
                  </a:cubicBezTo>
                  <a:cubicBezTo>
                    <a:pt x="932" y="580"/>
                    <a:pt x="859" y="577"/>
                    <a:pt x="780" y="54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Arial" panose="020B0604020202020204" pitchFamily="34" charset="0"/>
              </a:endParaRPr>
            </a:p>
          </p:txBody>
        </p:sp>
        <p:sp>
          <p:nvSpPr>
            <p:cNvPr id="35" name="Freeform 11">
              <a:extLst>
                <a:ext uri="{FF2B5EF4-FFF2-40B4-BE49-F238E27FC236}">
                  <a16:creationId xmlns:a16="http://schemas.microsoft.com/office/drawing/2014/main" id="{0687F173-1DBE-726A-B548-3E3C958335DB}"/>
                </a:ext>
              </a:extLst>
            </p:cNvPr>
            <p:cNvSpPr>
              <a:spLocks/>
            </p:cNvSpPr>
            <p:nvPr/>
          </p:nvSpPr>
          <p:spPr bwMode="auto">
            <a:xfrm>
              <a:off x="4406032" y="4382584"/>
              <a:ext cx="676308" cy="674708"/>
            </a:xfrm>
            <a:custGeom>
              <a:avLst/>
              <a:gdLst>
                <a:gd name="T0" fmla="*/ 397 w 483"/>
                <a:gd name="T1" fmla="*/ 86 h 483"/>
                <a:gd name="T2" fmla="*/ 86 w 483"/>
                <a:gd name="T3" fmla="*/ 86 h 483"/>
                <a:gd name="T4" fmla="*/ 86 w 483"/>
                <a:gd name="T5" fmla="*/ 397 h 483"/>
                <a:gd name="T6" fmla="*/ 397 w 483"/>
                <a:gd name="T7" fmla="*/ 397 h 483"/>
                <a:gd name="T8" fmla="*/ 397 w 483"/>
                <a:gd name="T9" fmla="*/ 86 h 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3" h="483">
                  <a:moveTo>
                    <a:pt x="397" y="86"/>
                  </a:moveTo>
                  <a:cubicBezTo>
                    <a:pt x="311" y="0"/>
                    <a:pt x="172" y="0"/>
                    <a:pt x="86" y="86"/>
                  </a:cubicBezTo>
                  <a:cubicBezTo>
                    <a:pt x="0" y="172"/>
                    <a:pt x="0" y="311"/>
                    <a:pt x="86" y="397"/>
                  </a:cubicBezTo>
                  <a:cubicBezTo>
                    <a:pt x="172" y="483"/>
                    <a:pt x="311" y="483"/>
                    <a:pt x="397" y="397"/>
                  </a:cubicBezTo>
                  <a:cubicBezTo>
                    <a:pt x="483" y="311"/>
                    <a:pt x="483" y="172"/>
                    <a:pt x="397" y="86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Arial" panose="020B0604020202020204" pitchFamily="34" charset="0"/>
              </a:endParaRPr>
            </a:p>
          </p:txBody>
        </p:sp>
        <p:sp>
          <p:nvSpPr>
            <p:cNvPr id="36" name="Oval 12">
              <a:extLst>
                <a:ext uri="{FF2B5EF4-FFF2-40B4-BE49-F238E27FC236}">
                  <a16:creationId xmlns:a16="http://schemas.microsoft.com/office/drawing/2014/main" id="{26135C74-2104-5A3F-5A72-ADFDCAC877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34228" y="5202786"/>
              <a:ext cx="617150" cy="615552"/>
            </a:xfrm>
            <a:prstGeom prst="ellipse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Arial" panose="020B0604020202020204" pitchFamily="34" charset="0"/>
              </a:endParaRPr>
            </a:p>
          </p:txBody>
        </p:sp>
        <p:sp>
          <p:nvSpPr>
            <p:cNvPr id="37" name="Freeform 16">
              <a:extLst>
                <a:ext uri="{FF2B5EF4-FFF2-40B4-BE49-F238E27FC236}">
                  <a16:creationId xmlns:a16="http://schemas.microsoft.com/office/drawing/2014/main" id="{87A8BAC3-6EC9-CD53-F277-4AA5EE4DC74F}"/>
                </a:ext>
              </a:extLst>
            </p:cNvPr>
            <p:cNvSpPr>
              <a:spLocks/>
            </p:cNvSpPr>
            <p:nvPr/>
          </p:nvSpPr>
          <p:spPr bwMode="auto">
            <a:xfrm>
              <a:off x="6286261" y="2438400"/>
              <a:ext cx="1531684" cy="1531684"/>
            </a:xfrm>
            <a:custGeom>
              <a:avLst/>
              <a:gdLst>
                <a:gd name="T0" fmla="*/ 548 w 1095"/>
                <a:gd name="T1" fmla="*/ 781 h 1094"/>
                <a:gd name="T2" fmla="*/ 646 w 1095"/>
                <a:gd name="T3" fmla="*/ 1004 h 1094"/>
                <a:gd name="T4" fmla="*/ 651 w 1095"/>
                <a:gd name="T5" fmla="*/ 1010 h 1094"/>
                <a:gd name="T6" fmla="*/ 661 w 1095"/>
                <a:gd name="T7" fmla="*/ 1019 h 1094"/>
                <a:gd name="T8" fmla="*/ 666 w 1095"/>
                <a:gd name="T9" fmla="*/ 1023 h 1094"/>
                <a:gd name="T10" fmla="*/ 675 w 1095"/>
                <a:gd name="T11" fmla="*/ 1031 h 1094"/>
                <a:gd name="T12" fmla="*/ 680 w 1095"/>
                <a:gd name="T13" fmla="*/ 1035 h 1094"/>
                <a:gd name="T14" fmla="*/ 691 w 1095"/>
                <a:gd name="T15" fmla="*/ 1042 h 1094"/>
                <a:gd name="T16" fmla="*/ 696 w 1095"/>
                <a:gd name="T17" fmla="*/ 1045 h 1094"/>
                <a:gd name="T18" fmla="*/ 706 w 1095"/>
                <a:gd name="T19" fmla="*/ 1051 h 1094"/>
                <a:gd name="T20" fmla="*/ 717 w 1095"/>
                <a:gd name="T21" fmla="*/ 1057 h 1094"/>
                <a:gd name="T22" fmla="*/ 970 w 1095"/>
                <a:gd name="T23" fmla="*/ 1043 h 1094"/>
                <a:gd name="T24" fmla="*/ 975 w 1095"/>
                <a:gd name="T25" fmla="*/ 1039 h 1094"/>
                <a:gd name="T26" fmla="*/ 991 w 1095"/>
                <a:gd name="T27" fmla="*/ 1027 h 1094"/>
                <a:gd name="T28" fmla="*/ 996 w 1095"/>
                <a:gd name="T29" fmla="*/ 1023 h 1094"/>
                <a:gd name="T30" fmla="*/ 1010 w 1095"/>
                <a:gd name="T31" fmla="*/ 1010 h 1094"/>
                <a:gd name="T32" fmla="*/ 1015 w 1095"/>
                <a:gd name="T33" fmla="*/ 1005 h 1094"/>
                <a:gd name="T34" fmla="*/ 1028 w 1095"/>
                <a:gd name="T35" fmla="*/ 990 h 1094"/>
                <a:gd name="T36" fmla="*/ 1036 w 1095"/>
                <a:gd name="T37" fmla="*/ 980 h 1094"/>
                <a:gd name="T38" fmla="*/ 1044 w 1095"/>
                <a:gd name="T39" fmla="*/ 969 h 1094"/>
                <a:gd name="T40" fmla="*/ 1054 w 1095"/>
                <a:gd name="T41" fmla="*/ 953 h 1094"/>
                <a:gd name="T42" fmla="*/ 1052 w 1095"/>
                <a:gd name="T43" fmla="*/ 706 h 1094"/>
                <a:gd name="T44" fmla="*/ 1049 w 1095"/>
                <a:gd name="T45" fmla="*/ 700 h 1094"/>
                <a:gd name="T46" fmla="*/ 1043 w 1095"/>
                <a:gd name="T47" fmla="*/ 690 h 1094"/>
                <a:gd name="T48" fmla="*/ 1039 w 1095"/>
                <a:gd name="T49" fmla="*/ 685 h 1094"/>
                <a:gd name="T50" fmla="*/ 1031 w 1095"/>
                <a:gd name="T51" fmla="*/ 675 h 1094"/>
                <a:gd name="T52" fmla="*/ 1028 w 1095"/>
                <a:gd name="T53" fmla="*/ 670 h 1094"/>
                <a:gd name="T54" fmla="*/ 1019 w 1095"/>
                <a:gd name="T55" fmla="*/ 660 h 1094"/>
                <a:gd name="T56" fmla="*/ 1015 w 1095"/>
                <a:gd name="T57" fmla="*/ 655 h 1094"/>
                <a:gd name="T58" fmla="*/ 1010 w 1095"/>
                <a:gd name="T59" fmla="*/ 650 h 1094"/>
                <a:gd name="T60" fmla="*/ 1005 w 1095"/>
                <a:gd name="T61" fmla="*/ 646 h 1094"/>
                <a:gd name="T62" fmla="*/ 548 w 1095"/>
                <a:gd name="T63" fmla="*/ 314 h 1094"/>
                <a:gd name="T64" fmla="*/ 450 w 1095"/>
                <a:gd name="T65" fmla="*/ 90 h 1094"/>
                <a:gd name="T66" fmla="*/ 444 w 1095"/>
                <a:gd name="T67" fmla="*/ 84 h 1094"/>
                <a:gd name="T68" fmla="*/ 435 w 1095"/>
                <a:gd name="T69" fmla="*/ 75 h 1094"/>
                <a:gd name="T70" fmla="*/ 430 w 1095"/>
                <a:gd name="T71" fmla="*/ 71 h 1094"/>
                <a:gd name="T72" fmla="*/ 420 w 1095"/>
                <a:gd name="T73" fmla="*/ 63 h 1094"/>
                <a:gd name="T74" fmla="*/ 415 w 1095"/>
                <a:gd name="T75" fmla="*/ 59 h 1094"/>
                <a:gd name="T76" fmla="*/ 405 w 1095"/>
                <a:gd name="T77" fmla="*/ 52 h 1094"/>
                <a:gd name="T78" fmla="*/ 400 w 1095"/>
                <a:gd name="T79" fmla="*/ 49 h 1094"/>
                <a:gd name="T80" fmla="*/ 389 w 1095"/>
                <a:gd name="T81" fmla="*/ 42 h 1094"/>
                <a:gd name="T82" fmla="*/ 378 w 1095"/>
                <a:gd name="T83" fmla="*/ 37 h 1094"/>
                <a:gd name="T84" fmla="*/ 126 w 1095"/>
                <a:gd name="T85" fmla="*/ 51 h 1094"/>
                <a:gd name="T86" fmla="*/ 120 w 1095"/>
                <a:gd name="T87" fmla="*/ 55 h 1094"/>
                <a:gd name="T88" fmla="*/ 105 w 1095"/>
                <a:gd name="T89" fmla="*/ 66 h 1094"/>
                <a:gd name="T90" fmla="*/ 100 w 1095"/>
                <a:gd name="T91" fmla="*/ 71 h 1094"/>
                <a:gd name="T92" fmla="*/ 85 w 1095"/>
                <a:gd name="T93" fmla="*/ 84 h 1094"/>
                <a:gd name="T94" fmla="*/ 80 w 1095"/>
                <a:gd name="T95" fmla="*/ 89 h 1094"/>
                <a:gd name="T96" fmla="*/ 67 w 1095"/>
                <a:gd name="T97" fmla="*/ 104 h 1094"/>
                <a:gd name="T98" fmla="*/ 59 w 1095"/>
                <a:gd name="T99" fmla="*/ 114 h 1094"/>
                <a:gd name="T100" fmla="*/ 52 w 1095"/>
                <a:gd name="T101" fmla="*/ 125 h 1094"/>
                <a:gd name="T102" fmla="*/ 42 w 1095"/>
                <a:gd name="T103" fmla="*/ 141 h 1094"/>
                <a:gd name="T104" fmla="*/ 43 w 1095"/>
                <a:gd name="T105" fmla="*/ 388 h 1094"/>
                <a:gd name="T106" fmla="*/ 46 w 1095"/>
                <a:gd name="T107" fmla="*/ 393 h 1094"/>
                <a:gd name="T108" fmla="*/ 53 w 1095"/>
                <a:gd name="T109" fmla="*/ 404 h 1094"/>
                <a:gd name="T110" fmla="*/ 56 w 1095"/>
                <a:gd name="T111" fmla="*/ 409 h 1094"/>
                <a:gd name="T112" fmla="*/ 64 w 1095"/>
                <a:gd name="T113" fmla="*/ 419 h 1094"/>
                <a:gd name="T114" fmla="*/ 68 w 1095"/>
                <a:gd name="T115" fmla="*/ 424 h 1094"/>
                <a:gd name="T116" fmla="*/ 76 w 1095"/>
                <a:gd name="T117" fmla="*/ 434 h 1094"/>
                <a:gd name="T118" fmla="*/ 80 w 1095"/>
                <a:gd name="T119" fmla="*/ 439 h 1094"/>
                <a:gd name="T120" fmla="*/ 85 w 1095"/>
                <a:gd name="T121" fmla="*/ 443 h 1094"/>
                <a:gd name="T122" fmla="*/ 96 w 1095"/>
                <a:gd name="T123" fmla="*/ 454 h 10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95" h="1094">
                  <a:moveTo>
                    <a:pt x="315" y="547"/>
                  </a:moveTo>
                  <a:cubicBezTo>
                    <a:pt x="359" y="565"/>
                    <a:pt x="404" y="592"/>
                    <a:pt x="453" y="639"/>
                  </a:cubicBezTo>
                  <a:cubicBezTo>
                    <a:pt x="502" y="689"/>
                    <a:pt x="529" y="736"/>
                    <a:pt x="548" y="781"/>
                  </a:cubicBezTo>
                  <a:cubicBezTo>
                    <a:pt x="578" y="860"/>
                    <a:pt x="581" y="932"/>
                    <a:pt x="641" y="999"/>
                  </a:cubicBezTo>
                  <a:cubicBezTo>
                    <a:pt x="642" y="1000"/>
                    <a:pt x="643" y="1001"/>
                    <a:pt x="644" y="1002"/>
                  </a:cubicBezTo>
                  <a:cubicBezTo>
                    <a:pt x="646" y="1004"/>
                    <a:pt x="646" y="1004"/>
                    <a:pt x="646" y="1004"/>
                  </a:cubicBezTo>
                  <a:cubicBezTo>
                    <a:pt x="648" y="1006"/>
                    <a:pt x="649" y="1008"/>
                    <a:pt x="651" y="1010"/>
                  </a:cubicBezTo>
                  <a:cubicBezTo>
                    <a:pt x="651" y="1010"/>
                    <a:pt x="651" y="1010"/>
                    <a:pt x="651" y="1010"/>
                  </a:cubicBezTo>
                  <a:cubicBezTo>
                    <a:pt x="651" y="1010"/>
                    <a:pt x="651" y="1010"/>
                    <a:pt x="651" y="1010"/>
                  </a:cubicBezTo>
                  <a:cubicBezTo>
                    <a:pt x="653" y="1011"/>
                    <a:pt x="654" y="1013"/>
                    <a:pt x="656" y="1014"/>
                  </a:cubicBezTo>
                  <a:cubicBezTo>
                    <a:pt x="656" y="1014"/>
                    <a:pt x="656" y="1014"/>
                    <a:pt x="656" y="1014"/>
                  </a:cubicBezTo>
                  <a:cubicBezTo>
                    <a:pt x="658" y="1016"/>
                    <a:pt x="659" y="1017"/>
                    <a:pt x="661" y="1019"/>
                  </a:cubicBezTo>
                  <a:cubicBezTo>
                    <a:pt x="661" y="1019"/>
                    <a:pt x="661" y="1019"/>
                    <a:pt x="661" y="1019"/>
                  </a:cubicBezTo>
                  <a:cubicBezTo>
                    <a:pt x="662" y="1020"/>
                    <a:pt x="664" y="1021"/>
                    <a:pt x="666" y="1023"/>
                  </a:cubicBezTo>
                  <a:cubicBezTo>
                    <a:pt x="666" y="1023"/>
                    <a:pt x="666" y="1023"/>
                    <a:pt x="666" y="1023"/>
                  </a:cubicBezTo>
                  <a:cubicBezTo>
                    <a:pt x="667" y="1024"/>
                    <a:pt x="669" y="1026"/>
                    <a:pt x="670" y="1027"/>
                  </a:cubicBezTo>
                  <a:cubicBezTo>
                    <a:pt x="670" y="1027"/>
                    <a:pt x="670" y="1027"/>
                    <a:pt x="670" y="1027"/>
                  </a:cubicBezTo>
                  <a:cubicBezTo>
                    <a:pt x="672" y="1028"/>
                    <a:pt x="674" y="1029"/>
                    <a:pt x="675" y="1031"/>
                  </a:cubicBezTo>
                  <a:cubicBezTo>
                    <a:pt x="675" y="1031"/>
                    <a:pt x="675" y="1031"/>
                    <a:pt x="675" y="1031"/>
                  </a:cubicBezTo>
                  <a:cubicBezTo>
                    <a:pt x="677" y="1032"/>
                    <a:pt x="679" y="1033"/>
                    <a:pt x="680" y="1035"/>
                  </a:cubicBezTo>
                  <a:cubicBezTo>
                    <a:pt x="680" y="1035"/>
                    <a:pt x="680" y="1035"/>
                    <a:pt x="680" y="1035"/>
                  </a:cubicBezTo>
                  <a:cubicBezTo>
                    <a:pt x="682" y="1036"/>
                    <a:pt x="684" y="1037"/>
                    <a:pt x="685" y="1038"/>
                  </a:cubicBezTo>
                  <a:cubicBezTo>
                    <a:pt x="685" y="1038"/>
                    <a:pt x="685" y="1038"/>
                    <a:pt x="685" y="1038"/>
                  </a:cubicBezTo>
                  <a:cubicBezTo>
                    <a:pt x="687" y="1039"/>
                    <a:pt x="689" y="1041"/>
                    <a:pt x="691" y="1042"/>
                  </a:cubicBezTo>
                  <a:cubicBezTo>
                    <a:pt x="691" y="1042"/>
                    <a:pt x="691" y="1042"/>
                    <a:pt x="691" y="1042"/>
                  </a:cubicBezTo>
                  <a:cubicBezTo>
                    <a:pt x="692" y="1043"/>
                    <a:pt x="694" y="1044"/>
                    <a:pt x="696" y="1045"/>
                  </a:cubicBezTo>
                  <a:cubicBezTo>
                    <a:pt x="696" y="1045"/>
                    <a:pt x="696" y="1045"/>
                    <a:pt x="696" y="1045"/>
                  </a:cubicBezTo>
                  <a:cubicBezTo>
                    <a:pt x="698" y="1046"/>
                    <a:pt x="699" y="1047"/>
                    <a:pt x="701" y="1048"/>
                  </a:cubicBezTo>
                  <a:cubicBezTo>
                    <a:pt x="701" y="1048"/>
                    <a:pt x="701" y="1048"/>
                    <a:pt x="701" y="1048"/>
                  </a:cubicBezTo>
                  <a:cubicBezTo>
                    <a:pt x="703" y="1049"/>
                    <a:pt x="705" y="1050"/>
                    <a:pt x="706" y="1051"/>
                  </a:cubicBezTo>
                  <a:cubicBezTo>
                    <a:pt x="706" y="1051"/>
                    <a:pt x="706" y="1051"/>
                    <a:pt x="706" y="1051"/>
                  </a:cubicBezTo>
                  <a:cubicBezTo>
                    <a:pt x="710" y="1054"/>
                    <a:pt x="714" y="1055"/>
                    <a:pt x="717" y="1057"/>
                  </a:cubicBezTo>
                  <a:cubicBezTo>
                    <a:pt x="717" y="1057"/>
                    <a:pt x="717" y="1057"/>
                    <a:pt x="717" y="1057"/>
                  </a:cubicBezTo>
                  <a:cubicBezTo>
                    <a:pt x="791" y="1094"/>
                    <a:pt x="880" y="1094"/>
                    <a:pt x="953" y="1053"/>
                  </a:cubicBezTo>
                  <a:cubicBezTo>
                    <a:pt x="953" y="1053"/>
                    <a:pt x="953" y="1053"/>
                    <a:pt x="953" y="1053"/>
                  </a:cubicBezTo>
                  <a:cubicBezTo>
                    <a:pt x="959" y="1050"/>
                    <a:pt x="965" y="1046"/>
                    <a:pt x="970" y="1043"/>
                  </a:cubicBezTo>
                  <a:cubicBezTo>
                    <a:pt x="970" y="1043"/>
                    <a:pt x="970" y="1043"/>
                    <a:pt x="970" y="1043"/>
                  </a:cubicBezTo>
                  <a:cubicBezTo>
                    <a:pt x="972" y="1042"/>
                    <a:pt x="973" y="1040"/>
                    <a:pt x="975" y="1039"/>
                  </a:cubicBezTo>
                  <a:cubicBezTo>
                    <a:pt x="975" y="1039"/>
                    <a:pt x="975" y="1039"/>
                    <a:pt x="975" y="1039"/>
                  </a:cubicBezTo>
                  <a:cubicBezTo>
                    <a:pt x="977" y="1038"/>
                    <a:pt x="979" y="1037"/>
                    <a:pt x="980" y="1035"/>
                  </a:cubicBezTo>
                  <a:cubicBezTo>
                    <a:pt x="980" y="1035"/>
                    <a:pt x="980" y="1035"/>
                    <a:pt x="980" y="1035"/>
                  </a:cubicBezTo>
                  <a:cubicBezTo>
                    <a:pt x="984" y="1033"/>
                    <a:pt x="987" y="1030"/>
                    <a:pt x="991" y="1027"/>
                  </a:cubicBezTo>
                  <a:cubicBezTo>
                    <a:pt x="991" y="1027"/>
                    <a:pt x="991" y="1027"/>
                    <a:pt x="991" y="1027"/>
                  </a:cubicBezTo>
                  <a:cubicBezTo>
                    <a:pt x="993" y="1026"/>
                    <a:pt x="994" y="1025"/>
                    <a:pt x="996" y="1023"/>
                  </a:cubicBezTo>
                  <a:cubicBezTo>
                    <a:pt x="996" y="1023"/>
                    <a:pt x="996" y="1023"/>
                    <a:pt x="996" y="1023"/>
                  </a:cubicBezTo>
                  <a:cubicBezTo>
                    <a:pt x="999" y="1020"/>
                    <a:pt x="1002" y="1017"/>
                    <a:pt x="1006" y="1014"/>
                  </a:cubicBezTo>
                  <a:cubicBezTo>
                    <a:pt x="1006" y="1014"/>
                    <a:pt x="1006" y="1014"/>
                    <a:pt x="1006" y="1014"/>
                  </a:cubicBezTo>
                  <a:cubicBezTo>
                    <a:pt x="1007" y="1013"/>
                    <a:pt x="1009" y="1011"/>
                    <a:pt x="1010" y="1010"/>
                  </a:cubicBezTo>
                  <a:cubicBezTo>
                    <a:pt x="1010" y="1010"/>
                    <a:pt x="1010" y="1010"/>
                    <a:pt x="1010" y="1010"/>
                  </a:cubicBezTo>
                  <a:cubicBezTo>
                    <a:pt x="1012" y="1008"/>
                    <a:pt x="1014" y="1006"/>
                    <a:pt x="1015" y="1005"/>
                  </a:cubicBezTo>
                  <a:cubicBezTo>
                    <a:pt x="1015" y="1005"/>
                    <a:pt x="1015" y="1005"/>
                    <a:pt x="1015" y="1005"/>
                  </a:cubicBezTo>
                  <a:cubicBezTo>
                    <a:pt x="1018" y="1002"/>
                    <a:pt x="1021" y="998"/>
                    <a:pt x="1024" y="995"/>
                  </a:cubicBezTo>
                  <a:cubicBezTo>
                    <a:pt x="1024" y="995"/>
                    <a:pt x="1024" y="995"/>
                    <a:pt x="1024" y="995"/>
                  </a:cubicBezTo>
                  <a:cubicBezTo>
                    <a:pt x="1026" y="993"/>
                    <a:pt x="1027" y="992"/>
                    <a:pt x="1028" y="990"/>
                  </a:cubicBezTo>
                  <a:cubicBezTo>
                    <a:pt x="1028" y="990"/>
                    <a:pt x="1028" y="990"/>
                    <a:pt x="1028" y="990"/>
                  </a:cubicBezTo>
                  <a:cubicBezTo>
                    <a:pt x="1031" y="987"/>
                    <a:pt x="1034" y="983"/>
                    <a:pt x="1036" y="980"/>
                  </a:cubicBezTo>
                  <a:cubicBezTo>
                    <a:pt x="1036" y="980"/>
                    <a:pt x="1036" y="980"/>
                    <a:pt x="1036" y="980"/>
                  </a:cubicBezTo>
                  <a:cubicBezTo>
                    <a:pt x="1038" y="978"/>
                    <a:pt x="1039" y="976"/>
                    <a:pt x="1040" y="974"/>
                  </a:cubicBezTo>
                  <a:cubicBezTo>
                    <a:pt x="1040" y="974"/>
                    <a:pt x="1040" y="974"/>
                    <a:pt x="1040" y="974"/>
                  </a:cubicBezTo>
                  <a:cubicBezTo>
                    <a:pt x="1041" y="973"/>
                    <a:pt x="1042" y="971"/>
                    <a:pt x="1044" y="969"/>
                  </a:cubicBezTo>
                  <a:cubicBezTo>
                    <a:pt x="1044" y="969"/>
                    <a:pt x="1044" y="969"/>
                    <a:pt x="1044" y="969"/>
                  </a:cubicBezTo>
                  <a:cubicBezTo>
                    <a:pt x="1047" y="964"/>
                    <a:pt x="1050" y="958"/>
                    <a:pt x="1054" y="953"/>
                  </a:cubicBezTo>
                  <a:cubicBezTo>
                    <a:pt x="1054" y="953"/>
                    <a:pt x="1054" y="953"/>
                    <a:pt x="1054" y="953"/>
                  </a:cubicBezTo>
                  <a:cubicBezTo>
                    <a:pt x="1095" y="879"/>
                    <a:pt x="1095" y="790"/>
                    <a:pt x="1058" y="717"/>
                  </a:cubicBezTo>
                  <a:cubicBezTo>
                    <a:pt x="1058" y="717"/>
                    <a:pt x="1058" y="717"/>
                    <a:pt x="1058" y="717"/>
                  </a:cubicBezTo>
                  <a:cubicBezTo>
                    <a:pt x="1056" y="713"/>
                    <a:pt x="1054" y="709"/>
                    <a:pt x="1052" y="706"/>
                  </a:cubicBezTo>
                  <a:cubicBezTo>
                    <a:pt x="1052" y="706"/>
                    <a:pt x="1052" y="706"/>
                    <a:pt x="1052" y="706"/>
                  </a:cubicBezTo>
                  <a:cubicBezTo>
                    <a:pt x="1051" y="704"/>
                    <a:pt x="1050" y="702"/>
                    <a:pt x="1049" y="700"/>
                  </a:cubicBezTo>
                  <a:cubicBezTo>
                    <a:pt x="1049" y="700"/>
                    <a:pt x="1049" y="700"/>
                    <a:pt x="1049" y="700"/>
                  </a:cubicBezTo>
                  <a:cubicBezTo>
                    <a:pt x="1048" y="699"/>
                    <a:pt x="1047" y="697"/>
                    <a:pt x="1046" y="695"/>
                  </a:cubicBezTo>
                  <a:cubicBezTo>
                    <a:pt x="1046" y="695"/>
                    <a:pt x="1046" y="695"/>
                    <a:pt x="1046" y="695"/>
                  </a:cubicBezTo>
                  <a:cubicBezTo>
                    <a:pt x="1045" y="693"/>
                    <a:pt x="1044" y="691"/>
                    <a:pt x="1043" y="690"/>
                  </a:cubicBezTo>
                  <a:cubicBezTo>
                    <a:pt x="1043" y="690"/>
                    <a:pt x="1043" y="690"/>
                    <a:pt x="1043" y="690"/>
                  </a:cubicBezTo>
                  <a:cubicBezTo>
                    <a:pt x="1041" y="688"/>
                    <a:pt x="1040" y="686"/>
                    <a:pt x="1039" y="685"/>
                  </a:cubicBezTo>
                  <a:cubicBezTo>
                    <a:pt x="1039" y="685"/>
                    <a:pt x="1039" y="685"/>
                    <a:pt x="1039" y="685"/>
                  </a:cubicBezTo>
                  <a:cubicBezTo>
                    <a:pt x="1038" y="683"/>
                    <a:pt x="1037" y="681"/>
                    <a:pt x="1035" y="679"/>
                  </a:cubicBezTo>
                  <a:cubicBezTo>
                    <a:pt x="1035" y="679"/>
                    <a:pt x="1035" y="679"/>
                    <a:pt x="1035" y="679"/>
                  </a:cubicBezTo>
                  <a:cubicBezTo>
                    <a:pt x="1034" y="678"/>
                    <a:pt x="1033" y="676"/>
                    <a:pt x="1031" y="675"/>
                  </a:cubicBezTo>
                  <a:cubicBezTo>
                    <a:pt x="1031" y="675"/>
                    <a:pt x="1031" y="675"/>
                    <a:pt x="1031" y="675"/>
                  </a:cubicBezTo>
                  <a:cubicBezTo>
                    <a:pt x="1030" y="673"/>
                    <a:pt x="1029" y="671"/>
                    <a:pt x="1028" y="670"/>
                  </a:cubicBezTo>
                  <a:cubicBezTo>
                    <a:pt x="1028" y="670"/>
                    <a:pt x="1028" y="670"/>
                    <a:pt x="1028" y="670"/>
                  </a:cubicBezTo>
                  <a:cubicBezTo>
                    <a:pt x="1026" y="668"/>
                    <a:pt x="1025" y="666"/>
                    <a:pt x="1023" y="665"/>
                  </a:cubicBezTo>
                  <a:cubicBezTo>
                    <a:pt x="1023" y="665"/>
                    <a:pt x="1023" y="665"/>
                    <a:pt x="1023" y="665"/>
                  </a:cubicBezTo>
                  <a:cubicBezTo>
                    <a:pt x="1022" y="663"/>
                    <a:pt x="1021" y="662"/>
                    <a:pt x="1019" y="660"/>
                  </a:cubicBezTo>
                  <a:cubicBezTo>
                    <a:pt x="1019" y="660"/>
                    <a:pt x="1019" y="660"/>
                    <a:pt x="1019" y="660"/>
                  </a:cubicBezTo>
                  <a:cubicBezTo>
                    <a:pt x="1018" y="658"/>
                    <a:pt x="1016" y="657"/>
                    <a:pt x="1015" y="655"/>
                  </a:cubicBezTo>
                  <a:cubicBezTo>
                    <a:pt x="1015" y="655"/>
                    <a:pt x="1015" y="655"/>
                    <a:pt x="1015" y="655"/>
                  </a:cubicBezTo>
                  <a:cubicBezTo>
                    <a:pt x="1013" y="654"/>
                    <a:pt x="1012" y="652"/>
                    <a:pt x="1010" y="651"/>
                  </a:cubicBezTo>
                  <a:cubicBezTo>
                    <a:pt x="1010" y="651"/>
                    <a:pt x="1010" y="651"/>
                    <a:pt x="1010" y="651"/>
                  </a:cubicBezTo>
                  <a:cubicBezTo>
                    <a:pt x="1010" y="650"/>
                    <a:pt x="1010" y="650"/>
                    <a:pt x="1010" y="650"/>
                  </a:cubicBezTo>
                  <a:cubicBezTo>
                    <a:pt x="1009" y="649"/>
                    <a:pt x="1008" y="648"/>
                    <a:pt x="1008" y="648"/>
                  </a:cubicBezTo>
                  <a:cubicBezTo>
                    <a:pt x="1007" y="647"/>
                    <a:pt x="1006" y="646"/>
                    <a:pt x="1005" y="646"/>
                  </a:cubicBezTo>
                  <a:cubicBezTo>
                    <a:pt x="1005" y="646"/>
                    <a:pt x="1005" y="646"/>
                    <a:pt x="1005" y="646"/>
                  </a:cubicBezTo>
                  <a:cubicBezTo>
                    <a:pt x="937" y="581"/>
                    <a:pt x="863" y="578"/>
                    <a:pt x="782" y="547"/>
                  </a:cubicBezTo>
                  <a:cubicBezTo>
                    <a:pt x="737" y="529"/>
                    <a:pt x="690" y="502"/>
                    <a:pt x="640" y="453"/>
                  </a:cubicBezTo>
                  <a:cubicBezTo>
                    <a:pt x="593" y="404"/>
                    <a:pt x="566" y="358"/>
                    <a:pt x="548" y="314"/>
                  </a:cubicBezTo>
                  <a:cubicBezTo>
                    <a:pt x="518" y="235"/>
                    <a:pt x="515" y="162"/>
                    <a:pt x="454" y="95"/>
                  </a:cubicBezTo>
                  <a:cubicBezTo>
                    <a:pt x="453" y="94"/>
                    <a:pt x="452" y="93"/>
                    <a:pt x="451" y="92"/>
                  </a:cubicBezTo>
                  <a:cubicBezTo>
                    <a:pt x="450" y="90"/>
                    <a:pt x="450" y="90"/>
                    <a:pt x="450" y="90"/>
                  </a:cubicBezTo>
                  <a:cubicBezTo>
                    <a:pt x="448" y="88"/>
                    <a:pt x="446" y="86"/>
                    <a:pt x="444" y="84"/>
                  </a:cubicBezTo>
                  <a:cubicBezTo>
                    <a:pt x="444" y="84"/>
                    <a:pt x="444" y="84"/>
                    <a:pt x="444" y="84"/>
                  </a:cubicBezTo>
                  <a:cubicBezTo>
                    <a:pt x="444" y="84"/>
                    <a:pt x="444" y="84"/>
                    <a:pt x="444" y="84"/>
                  </a:cubicBezTo>
                  <a:cubicBezTo>
                    <a:pt x="443" y="83"/>
                    <a:pt x="441" y="81"/>
                    <a:pt x="439" y="80"/>
                  </a:cubicBezTo>
                  <a:cubicBezTo>
                    <a:pt x="439" y="80"/>
                    <a:pt x="439" y="80"/>
                    <a:pt x="439" y="80"/>
                  </a:cubicBezTo>
                  <a:cubicBezTo>
                    <a:pt x="438" y="78"/>
                    <a:pt x="436" y="77"/>
                    <a:pt x="435" y="75"/>
                  </a:cubicBezTo>
                  <a:cubicBezTo>
                    <a:pt x="435" y="75"/>
                    <a:pt x="435" y="75"/>
                    <a:pt x="435" y="75"/>
                  </a:cubicBezTo>
                  <a:cubicBezTo>
                    <a:pt x="433" y="74"/>
                    <a:pt x="432" y="73"/>
                    <a:pt x="430" y="71"/>
                  </a:cubicBezTo>
                  <a:cubicBezTo>
                    <a:pt x="430" y="71"/>
                    <a:pt x="430" y="71"/>
                    <a:pt x="430" y="71"/>
                  </a:cubicBezTo>
                  <a:cubicBezTo>
                    <a:pt x="428" y="70"/>
                    <a:pt x="427" y="68"/>
                    <a:pt x="425" y="67"/>
                  </a:cubicBezTo>
                  <a:cubicBezTo>
                    <a:pt x="425" y="67"/>
                    <a:pt x="425" y="67"/>
                    <a:pt x="425" y="67"/>
                  </a:cubicBezTo>
                  <a:cubicBezTo>
                    <a:pt x="423" y="66"/>
                    <a:pt x="422" y="64"/>
                    <a:pt x="420" y="63"/>
                  </a:cubicBezTo>
                  <a:cubicBezTo>
                    <a:pt x="420" y="63"/>
                    <a:pt x="420" y="63"/>
                    <a:pt x="420" y="63"/>
                  </a:cubicBezTo>
                  <a:cubicBezTo>
                    <a:pt x="419" y="62"/>
                    <a:pt x="417" y="61"/>
                    <a:pt x="415" y="59"/>
                  </a:cubicBezTo>
                  <a:cubicBezTo>
                    <a:pt x="415" y="59"/>
                    <a:pt x="415" y="59"/>
                    <a:pt x="415" y="59"/>
                  </a:cubicBezTo>
                  <a:cubicBezTo>
                    <a:pt x="414" y="58"/>
                    <a:pt x="412" y="57"/>
                    <a:pt x="410" y="56"/>
                  </a:cubicBezTo>
                  <a:cubicBezTo>
                    <a:pt x="410" y="56"/>
                    <a:pt x="410" y="56"/>
                    <a:pt x="410" y="56"/>
                  </a:cubicBezTo>
                  <a:cubicBezTo>
                    <a:pt x="408" y="55"/>
                    <a:pt x="407" y="53"/>
                    <a:pt x="405" y="52"/>
                  </a:cubicBezTo>
                  <a:cubicBezTo>
                    <a:pt x="405" y="52"/>
                    <a:pt x="405" y="52"/>
                    <a:pt x="405" y="52"/>
                  </a:cubicBezTo>
                  <a:cubicBezTo>
                    <a:pt x="403" y="51"/>
                    <a:pt x="401" y="50"/>
                    <a:pt x="400" y="49"/>
                  </a:cubicBezTo>
                  <a:cubicBezTo>
                    <a:pt x="400" y="49"/>
                    <a:pt x="400" y="49"/>
                    <a:pt x="400" y="49"/>
                  </a:cubicBezTo>
                  <a:cubicBezTo>
                    <a:pt x="398" y="48"/>
                    <a:pt x="396" y="47"/>
                    <a:pt x="394" y="45"/>
                  </a:cubicBezTo>
                  <a:cubicBezTo>
                    <a:pt x="394" y="45"/>
                    <a:pt x="394" y="45"/>
                    <a:pt x="394" y="45"/>
                  </a:cubicBezTo>
                  <a:cubicBezTo>
                    <a:pt x="393" y="44"/>
                    <a:pt x="391" y="43"/>
                    <a:pt x="389" y="42"/>
                  </a:cubicBezTo>
                  <a:cubicBezTo>
                    <a:pt x="389" y="42"/>
                    <a:pt x="389" y="42"/>
                    <a:pt x="389" y="42"/>
                  </a:cubicBezTo>
                  <a:cubicBezTo>
                    <a:pt x="385" y="40"/>
                    <a:pt x="382" y="38"/>
                    <a:pt x="378" y="37"/>
                  </a:cubicBezTo>
                  <a:cubicBezTo>
                    <a:pt x="378" y="37"/>
                    <a:pt x="378" y="37"/>
                    <a:pt x="378" y="37"/>
                  </a:cubicBezTo>
                  <a:cubicBezTo>
                    <a:pt x="305" y="0"/>
                    <a:pt x="216" y="0"/>
                    <a:pt x="142" y="41"/>
                  </a:cubicBezTo>
                  <a:cubicBezTo>
                    <a:pt x="142" y="41"/>
                    <a:pt x="142" y="41"/>
                    <a:pt x="142" y="41"/>
                  </a:cubicBezTo>
                  <a:cubicBezTo>
                    <a:pt x="136" y="44"/>
                    <a:pt x="131" y="48"/>
                    <a:pt x="126" y="51"/>
                  </a:cubicBezTo>
                  <a:cubicBezTo>
                    <a:pt x="126" y="51"/>
                    <a:pt x="126" y="51"/>
                    <a:pt x="126" y="51"/>
                  </a:cubicBezTo>
                  <a:cubicBezTo>
                    <a:pt x="124" y="52"/>
                    <a:pt x="122" y="53"/>
                    <a:pt x="120" y="55"/>
                  </a:cubicBezTo>
                  <a:cubicBezTo>
                    <a:pt x="120" y="55"/>
                    <a:pt x="120" y="55"/>
                    <a:pt x="120" y="55"/>
                  </a:cubicBezTo>
                  <a:cubicBezTo>
                    <a:pt x="119" y="56"/>
                    <a:pt x="117" y="57"/>
                    <a:pt x="115" y="58"/>
                  </a:cubicBezTo>
                  <a:cubicBezTo>
                    <a:pt x="115" y="58"/>
                    <a:pt x="115" y="58"/>
                    <a:pt x="115" y="58"/>
                  </a:cubicBezTo>
                  <a:cubicBezTo>
                    <a:pt x="112" y="61"/>
                    <a:pt x="108" y="64"/>
                    <a:pt x="105" y="66"/>
                  </a:cubicBezTo>
                  <a:cubicBezTo>
                    <a:pt x="105" y="66"/>
                    <a:pt x="105" y="66"/>
                    <a:pt x="105" y="66"/>
                  </a:cubicBezTo>
                  <a:cubicBezTo>
                    <a:pt x="103" y="68"/>
                    <a:pt x="101" y="69"/>
                    <a:pt x="100" y="71"/>
                  </a:cubicBezTo>
                  <a:cubicBezTo>
                    <a:pt x="100" y="71"/>
                    <a:pt x="100" y="71"/>
                    <a:pt x="100" y="71"/>
                  </a:cubicBezTo>
                  <a:cubicBezTo>
                    <a:pt x="96" y="73"/>
                    <a:pt x="93" y="76"/>
                    <a:pt x="90" y="80"/>
                  </a:cubicBezTo>
                  <a:cubicBezTo>
                    <a:pt x="90" y="80"/>
                    <a:pt x="90" y="80"/>
                    <a:pt x="90" y="80"/>
                  </a:cubicBezTo>
                  <a:cubicBezTo>
                    <a:pt x="88" y="81"/>
                    <a:pt x="87" y="83"/>
                    <a:pt x="85" y="84"/>
                  </a:cubicBezTo>
                  <a:cubicBezTo>
                    <a:pt x="85" y="84"/>
                    <a:pt x="85" y="84"/>
                    <a:pt x="85" y="84"/>
                  </a:cubicBezTo>
                  <a:cubicBezTo>
                    <a:pt x="83" y="86"/>
                    <a:pt x="82" y="87"/>
                    <a:pt x="80" y="89"/>
                  </a:cubicBezTo>
                  <a:cubicBezTo>
                    <a:pt x="80" y="89"/>
                    <a:pt x="80" y="89"/>
                    <a:pt x="80" y="89"/>
                  </a:cubicBezTo>
                  <a:cubicBezTo>
                    <a:pt x="77" y="92"/>
                    <a:pt x="74" y="96"/>
                    <a:pt x="71" y="99"/>
                  </a:cubicBezTo>
                  <a:cubicBezTo>
                    <a:pt x="71" y="99"/>
                    <a:pt x="71" y="99"/>
                    <a:pt x="71" y="99"/>
                  </a:cubicBezTo>
                  <a:cubicBezTo>
                    <a:pt x="70" y="101"/>
                    <a:pt x="69" y="102"/>
                    <a:pt x="67" y="104"/>
                  </a:cubicBezTo>
                  <a:cubicBezTo>
                    <a:pt x="67" y="104"/>
                    <a:pt x="67" y="104"/>
                    <a:pt x="67" y="104"/>
                  </a:cubicBezTo>
                  <a:cubicBezTo>
                    <a:pt x="64" y="107"/>
                    <a:pt x="62" y="111"/>
                    <a:pt x="59" y="114"/>
                  </a:cubicBezTo>
                  <a:cubicBezTo>
                    <a:pt x="59" y="114"/>
                    <a:pt x="59" y="114"/>
                    <a:pt x="59" y="114"/>
                  </a:cubicBezTo>
                  <a:cubicBezTo>
                    <a:pt x="58" y="116"/>
                    <a:pt x="57" y="118"/>
                    <a:pt x="55" y="120"/>
                  </a:cubicBezTo>
                  <a:cubicBezTo>
                    <a:pt x="55" y="120"/>
                    <a:pt x="55" y="120"/>
                    <a:pt x="55" y="120"/>
                  </a:cubicBezTo>
                  <a:cubicBezTo>
                    <a:pt x="54" y="121"/>
                    <a:pt x="53" y="123"/>
                    <a:pt x="52" y="125"/>
                  </a:cubicBezTo>
                  <a:cubicBezTo>
                    <a:pt x="52" y="125"/>
                    <a:pt x="52" y="125"/>
                    <a:pt x="52" y="125"/>
                  </a:cubicBezTo>
                  <a:cubicBezTo>
                    <a:pt x="48" y="130"/>
                    <a:pt x="45" y="136"/>
                    <a:pt x="42" y="141"/>
                  </a:cubicBezTo>
                  <a:cubicBezTo>
                    <a:pt x="42" y="141"/>
                    <a:pt x="42" y="141"/>
                    <a:pt x="42" y="141"/>
                  </a:cubicBezTo>
                  <a:cubicBezTo>
                    <a:pt x="1" y="215"/>
                    <a:pt x="0" y="304"/>
                    <a:pt x="37" y="377"/>
                  </a:cubicBezTo>
                  <a:cubicBezTo>
                    <a:pt x="37" y="377"/>
                    <a:pt x="37" y="377"/>
                    <a:pt x="37" y="377"/>
                  </a:cubicBezTo>
                  <a:cubicBezTo>
                    <a:pt x="39" y="381"/>
                    <a:pt x="41" y="385"/>
                    <a:pt x="43" y="388"/>
                  </a:cubicBezTo>
                  <a:cubicBezTo>
                    <a:pt x="43" y="388"/>
                    <a:pt x="43" y="388"/>
                    <a:pt x="43" y="388"/>
                  </a:cubicBezTo>
                  <a:cubicBezTo>
                    <a:pt x="44" y="390"/>
                    <a:pt x="45" y="392"/>
                    <a:pt x="46" y="393"/>
                  </a:cubicBezTo>
                  <a:cubicBezTo>
                    <a:pt x="46" y="393"/>
                    <a:pt x="46" y="393"/>
                    <a:pt x="46" y="393"/>
                  </a:cubicBezTo>
                  <a:cubicBezTo>
                    <a:pt x="47" y="395"/>
                    <a:pt x="48" y="397"/>
                    <a:pt x="50" y="399"/>
                  </a:cubicBezTo>
                  <a:cubicBezTo>
                    <a:pt x="50" y="399"/>
                    <a:pt x="50" y="399"/>
                    <a:pt x="50" y="399"/>
                  </a:cubicBezTo>
                  <a:cubicBezTo>
                    <a:pt x="51" y="401"/>
                    <a:pt x="52" y="402"/>
                    <a:pt x="53" y="404"/>
                  </a:cubicBezTo>
                  <a:cubicBezTo>
                    <a:pt x="53" y="404"/>
                    <a:pt x="53" y="404"/>
                    <a:pt x="53" y="404"/>
                  </a:cubicBezTo>
                  <a:cubicBezTo>
                    <a:pt x="54" y="406"/>
                    <a:pt x="55" y="408"/>
                    <a:pt x="56" y="409"/>
                  </a:cubicBezTo>
                  <a:cubicBezTo>
                    <a:pt x="56" y="409"/>
                    <a:pt x="56" y="409"/>
                    <a:pt x="56" y="409"/>
                  </a:cubicBezTo>
                  <a:cubicBezTo>
                    <a:pt x="58" y="411"/>
                    <a:pt x="59" y="413"/>
                    <a:pt x="60" y="414"/>
                  </a:cubicBezTo>
                  <a:cubicBezTo>
                    <a:pt x="60" y="414"/>
                    <a:pt x="60" y="414"/>
                    <a:pt x="60" y="414"/>
                  </a:cubicBezTo>
                  <a:cubicBezTo>
                    <a:pt x="61" y="416"/>
                    <a:pt x="63" y="418"/>
                    <a:pt x="64" y="419"/>
                  </a:cubicBezTo>
                  <a:cubicBezTo>
                    <a:pt x="64" y="419"/>
                    <a:pt x="64" y="419"/>
                    <a:pt x="64" y="419"/>
                  </a:cubicBezTo>
                  <a:cubicBezTo>
                    <a:pt x="65" y="421"/>
                    <a:pt x="67" y="423"/>
                    <a:pt x="68" y="424"/>
                  </a:cubicBezTo>
                  <a:cubicBezTo>
                    <a:pt x="68" y="424"/>
                    <a:pt x="68" y="424"/>
                    <a:pt x="68" y="424"/>
                  </a:cubicBezTo>
                  <a:cubicBezTo>
                    <a:pt x="69" y="426"/>
                    <a:pt x="71" y="428"/>
                    <a:pt x="72" y="429"/>
                  </a:cubicBezTo>
                  <a:cubicBezTo>
                    <a:pt x="72" y="429"/>
                    <a:pt x="72" y="429"/>
                    <a:pt x="72" y="429"/>
                  </a:cubicBezTo>
                  <a:cubicBezTo>
                    <a:pt x="73" y="431"/>
                    <a:pt x="75" y="432"/>
                    <a:pt x="76" y="434"/>
                  </a:cubicBezTo>
                  <a:cubicBezTo>
                    <a:pt x="76" y="434"/>
                    <a:pt x="76" y="434"/>
                    <a:pt x="76" y="434"/>
                  </a:cubicBezTo>
                  <a:cubicBezTo>
                    <a:pt x="78" y="436"/>
                    <a:pt x="79" y="437"/>
                    <a:pt x="80" y="439"/>
                  </a:cubicBezTo>
                  <a:cubicBezTo>
                    <a:pt x="80" y="439"/>
                    <a:pt x="80" y="439"/>
                    <a:pt x="80" y="439"/>
                  </a:cubicBezTo>
                  <a:cubicBezTo>
                    <a:pt x="82" y="440"/>
                    <a:pt x="83" y="442"/>
                    <a:pt x="85" y="443"/>
                  </a:cubicBezTo>
                  <a:cubicBezTo>
                    <a:pt x="85" y="443"/>
                    <a:pt x="85" y="443"/>
                    <a:pt x="85" y="443"/>
                  </a:cubicBezTo>
                  <a:cubicBezTo>
                    <a:pt x="85" y="443"/>
                    <a:pt x="85" y="443"/>
                    <a:pt x="85" y="443"/>
                  </a:cubicBezTo>
                  <a:cubicBezTo>
                    <a:pt x="87" y="445"/>
                    <a:pt x="89" y="447"/>
                    <a:pt x="91" y="449"/>
                  </a:cubicBezTo>
                  <a:cubicBezTo>
                    <a:pt x="91" y="449"/>
                    <a:pt x="92" y="450"/>
                    <a:pt x="92" y="450"/>
                  </a:cubicBezTo>
                  <a:cubicBezTo>
                    <a:pt x="94" y="452"/>
                    <a:pt x="95" y="453"/>
                    <a:pt x="96" y="454"/>
                  </a:cubicBezTo>
                  <a:cubicBezTo>
                    <a:pt x="163" y="514"/>
                    <a:pt x="236" y="517"/>
                    <a:pt x="315" y="547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Arial" panose="020B0604020202020204" pitchFamily="34" charset="0"/>
              </a:endParaRPr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693F54F5-90BF-DACD-8FD5-5735298E81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47017" y="2500755"/>
              <a:ext cx="615552" cy="615552"/>
            </a:xfrm>
            <a:prstGeom prst="ellipse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Arial" panose="020B0604020202020204" pitchFamily="34" charset="0"/>
              </a:endParaRPr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7FA48C59-4C67-FA3D-3CE2-FADD263C44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40039" y="3290580"/>
              <a:ext cx="615552" cy="617150"/>
            </a:xfrm>
            <a:prstGeom prst="ellipse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Arial" panose="020B0604020202020204" pitchFamily="34" charset="0"/>
              </a:endParaRPr>
            </a:p>
          </p:txBody>
        </p:sp>
        <p:sp>
          <p:nvSpPr>
            <p:cNvPr id="40" name="Freeform 19">
              <a:extLst>
                <a:ext uri="{FF2B5EF4-FFF2-40B4-BE49-F238E27FC236}">
                  <a16:creationId xmlns:a16="http://schemas.microsoft.com/office/drawing/2014/main" id="{346FD44B-51BF-C103-A34A-D99A939F91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286261" y="4350607"/>
              <a:ext cx="1531684" cy="1530085"/>
            </a:xfrm>
            <a:custGeom>
              <a:avLst/>
              <a:gdLst>
                <a:gd name="T0" fmla="*/ 548 w 1095"/>
                <a:gd name="T1" fmla="*/ 313 h 1094"/>
                <a:gd name="T2" fmla="*/ 646 w 1095"/>
                <a:gd name="T3" fmla="*/ 90 h 1094"/>
                <a:gd name="T4" fmla="*/ 651 w 1095"/>
                <a:gd name="T5" fmla="*/ 84 h 1094"/>
                <a:gd name="T6" fmla="*/ 661 w 1095"/>
                <a:gd name="T7" fmla="*/ 75 h 1094"/>
                <a:gd name="T8" fmla="*/ 666 w 1095"/>
                <a:gd name="T9" fmla="*/ 71 h 1094"/>
                <a:gd name="T10" fmla="*/ 675 w 1095"/>
                <a:gd name="T11" fmla="*/ 63 h 1094"/>
                <a:gd name="T12" fmla="*/ 680 w 1095"/>
                <a:gd name="T13" fmla="*/ 59 h 1094"/>
                <a:gd name="T14" fmla="*/ 691 w 1095"/>
                <a:gd name="T15" fmla="*/ 52 h 1094"/>
                <a:gd name="T16" fmla="*/ 696 w 1095"/>
                <a:gd name="T17" fmla="*/ 49 h 1094"/>
                <a:gd name="T18" fmla="*/ 706 w 1095"/>
                <a:gd name="T19" fmla="*/ 42 h 1094"/>
                <a:gd name="T20" fmla="*/ 717 w 1095"/>
                <a:gd name="T21" fmla="*/ 37 h 1094"/>
                <a:gd name="T22" fmla="*/ 970 w 1095"/>
                <a:gd name="T23" fmla="*/ 51 h 1094"/>
                <a:gd name="T24" fmla="*/ 975 w 1095"/>
                <a:gd name="T25" fmla="*/ 55 h 1094"/>
                <a:gd name="T26" fmla="*/ 991 w 1095"/>
                <a:gd name="T27" fmla="*/ 66 h 1094"/>
                <a:gd name="T28" fmla="*/ 996 w 1095"/>
                <a:gd name="T29" fmla="*/ 71 h 1094"/>
                <a:gd name="T30" fmla="*/ 1010 w 1095"/>
                <a:gd name="T31" fmla="*/ 84 h 1094"/>
                <a:gd name="T32" fmla="*/ 1015 w 1095"/>
                <a:gd name="T33" fmla="*/ 89 h 1094"/>
                <a:gd name="T34" fmla="*/ 1028 w 1095"/>
                <a:gd name="T35" fmla="*/ 104 h 1094"/>
                <a:gd name="T36" fmla="*/ 1036 w 1095"/>
                <a:gd name="T37" fmla="*/ 114 h 1094"/>
                <a:gd name="T38" fmla="*/ 1044 w 1095"/>
                <a:gd name="T39" fmla="*/ 125 h 1094"/>
                <a:gd name="T40" fmla="*/ 1054 w 1095"/>
                <a:gd name="T41" fmla="*/ 141 h 1094"/>
                <a:gd name="T42" fmla="*/ 1052 w 1095"/>
                <a:gd name="T43" fmla="*/ 388 h 1094"/>
                <a:gd name="T44" fmla="*/ 1049 w 1095"/>
                <a:gd name="T45" fmla="*/ 394 h 1094"/>
                <a:gd name="T46" fmla="*/ 1043 w 1095"/>
                <a:gd name="T47" fmla="*/ 404 h 1094"/>
                <a:gd name="T48" fmla="*/ 1039 w 1095"/>
                <a:gd name="T49" fmla="*/ 409 h 1094"/>
                <a:gd name="T50" fmla="*/ 1031 w 1095"/>
                <a:gd name="T51" fmla="*/ 419 h 1094"/>
                <a:gd name="T52" fmla="*/ 1028 w 1095"/>
                <a:gd name="T53" fmla="*/ 424 h 1094"/>
                <a:gd name="T54" fmla="*/ 1019 w 1095"/>
                <a:gd name="T55" fmla="*/ 434 h 1094"/>
                <a:gd name="T56" fmla="*/ 1015 w 1095"/>
                <a:gd name="T57" fmla="*/ 439 h 1094"/>
                <a:gd name="T58" fmla="*/ 1010 w 1095"/>
                <a:gd name="T59" fmla="*/ 444 h 1094"/>
                <a:gd name="T60" fmla="*/ 1005 w 1095"/>
                <a:gd name="T61" fmla="*/ 448 h 1094"/>
                <a:gd name="T62" fmla="*/ 548 w 1095"/>
                <a:gd name="T63" fmla="*/ 780 h 1094"/>
                <a:gd name="T64" fmla="*/ 450 w 1095"/>
                <a:gd name="T65" fmla="*/ 1004 h 1094"/>
                <a:gd name="T66" fmla="*/ 444 w 1095"/>
                <a:gd name="T67" fmla="*/ 1010 h 1094"/>
                <a:gd name="T68" fmla="*/ 435 w 1095"/>
                <a:gd name="T69" fmla="*/ 1019 h 1094"/>
                <a:gd name="T70" fmla="*/ 430 w 1095"/>
                <a:gd name="T71" fmla="*/ 1023 h 1094"/>
                <a:gd name="T72" fmla="*/ 420 w 1095"/>
                <a:gd name="T73" fmla="*/ 1031 h 1094"/>
                <a:gd name="T74" fmla="*/ 415 w 1095"/>
                <a:gd name="T75" fmla="*/ 1035 h 1094"/>
                <a:gd name="T76" fmla="*/ 405 w 1095"/>
                <a:gd name="T77" fmla="*/ 1042 h 1094"/>
                <a:gd name="T78" fmla="*/ 400 w 1095"/>
                <a:gd name="T79" fmla="*/ 1045 h 1094"/>
                <a:gd name="T80" fmla="*/ 389 w 1095"/>
                <a:gd name="T81" fmla="*/ 1052 h 1094"/>
                <a:gd name="T82" fmla="*/ 378 w 1095"/>
                <a:gd name="T83" fmla="*/ 1057 h 1094"/>
                <a:gd name="T84" fmla="*/ 126 w 1095"/>
                <a:gd name="T85" fmla="*/ 1043 h 1094"/>
                <a:gd name="T86" fmla="*/ 120 w 1095"/>
                <a:gd name="T87" fmla="*/ 1039 h 1094"/>
                <a:gd name="T88" fmla="*/ 105 w 1095"/>
                <a:gd name="T89" fmla="*/ 1028 h 1094"/>
                <a:gd name="T90" fmla="*/ 100 w 1095"/>
                <a:gd name="T91" fmla="*/ 1023 h 1094"/>
                <a:gd name="T92" fmla="*/ 85 w 1095"/>
                <a:gd name="T93" fmla="*/ 1010 h 1094"/>
                <a:gd name="T94" fmla="*/ 80 w 1095"/>
                <a:gd name="T95" fmla="*/ 1005 h 1094"/>
                <a:gd name="T96" fmla="*/ 67 w 1095"/>
                <a:gd name="T97" fmla="*/ 990 h 1094"/>
                <a:gd name="T98" fmla="*/ 59 w 1095"/>
                <a:gd name="T99" fmla="*/ 980 h 1094"/>
                <a:gd name="T100" fmla="*/ 52 w 1095"/>
                <a:gd name="T101" fmla="*/ 969 h 1094"/>
                <a:gd name="T102" fmla="*/ 42 w 1095"/>
                <a:gd name="T103" fmla="*/ 953 h 1094"/>
                <a:gd name="T104" fmla="*/ 43 w 1095"/>
                <a:gd name="T105" fmla="*/ 706 h 1094"/>
                <a:gd name="T106" fmla="*/ 46 w 1095"/>
                <a:gd name="T107" fmla="*/ 700 h 1094"/>
                <a:gd name="T108" fmla="*/ 53 w 1095"/>
                <a:gd name="T109" fmla="*/ 690 h 1094"/>
                <a:gd name="T110" fmla="*/ 56 w 1095"/>
                <a:gd name="T111" fmla="*/ 685 h 1094"/>
                <a:gd name="T112" fmla="*/ 64 w 1095"/>
                <a:gd name="T113" fmla="*/ 675 h 1094"/>
                <a:gd name="T114" fmla="*/ 68 w 1095"/>
                <a:gd name="T115" fmla="*/ 670 h 1094"/>
                <a:gd name="T116" fmla="*/ 76 w 1095"/>
                <a:gd name="T117" fmla="*/ 660 h 1094"/>
                <a:gd name="T118" fmla="*/ 80 w 1095"/>
                <a:gd name="T119" fmla="*/ 655 h 1094"/>
                <a:gd name="T120" fmla="*/ 85 w 1095"/>
                <a:gd name="T121" fmla="*/ 651 h 1094"/>
                <a:gd name="T122" fmla="*/ 96 w 1095"/>
                <a:gd name="T123" fmla="*/ 640 h 10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95" h="1094">
                  <a:moveTo>
                    <a:pt x="315" y="547"/>
                  </a:moveTo>
                  <a:cubicBezTo>
                    <a:pt x="359" y="529"/>
                    <a:pt x="404" y="502"/>
                    <a:pt x="453" y="455"/>
                  </a:cubicBezTo>
                  <a:cubicBezTo>
                    <a:pt x="502" y="405"/>
                    <a:pt x="529" y="358"/>
                    <a:pt x="548" y="313"/>
                  </a:cubicBezTo>
                  <a:cubicBezTo>
                    <a:pt x="578" y="234"/>
                    <a:pt x="581" y="162"/>
                    <a:pt x="641" y="95"/>
                  </a:cubicBezTo>
                  <a:cubicBezTo>
                    <a:pt x="642" y="94"/>
                    <a:pt x="643" y="93"/>
                    <a:pt x="644" y="92"/>
                  </a:cubicBezTo>
                  <a:cubicBezTo>
                    <a:pt x="646" y="90"/>
                    <a:pt x="646" y="90"/>
                    <a:pt x="646" y="90"/>
                  </a:cubicBezTo>
                  <a:cubicBezTo>
                    <a:pt x="648" y="88"/>
                    <a:pt x="649" y="86"/>
                    <a:pt x="651" y="84"/>
                  </a:cubicBezTo>
                  <a:cubicBezTo>
                    <a:pt x="651" y="84"/>
                    <a:pt x="651" y="84"/>
                    <a:pt x="651" y="84"/>
                  </a:cubicBezTo>
                  <a:cubicBezTo>
                    <a:pt x="651" y="84"/>
                    <a:pt x="651" y="84"/>
                    <a:pt x="651" y="84"/>
                  </a:cubicBezTo>
                  <a:cubicBezTo>
                    <a:pt x="653" y="83"/>
                    <a:pt x="654" y="81"/>
                    <a:pt x="656" y="80"/>
                  </a:cubicBezTo>
                  <a:cubicBezTo>
                    <a:pt x="656" y="80"/>
                    <a:pt x="656" y="80"/>
                    <a:pt x="656" y="80"/>
                  </a:cubicBezTo>
                  <a:cubicBezTo>
                    <a:pt x="658" y="78"/>
                    <a:pt x="659" y="77"/>
                    <a:pt x="661" y="75"/>
                  </a:cubicBezTo>
                  <a:cubicBezTo>
                    <a:pt x="661" y="75"/>
                    <a:pt x="661" y="75"/>
                    <a:pt x="661" y="75"/>
                  </a:cubicBezTo>
                  <a:cubicBezTo>
                    <a:pt x="662" y="74"/>
                    <a:pt x="664" y="73"/>
                    <a:pt x="666" y="71"/>
                  </a:cubicBezTo>
                  <a:cubicBezTo>
                    <a:pt x="666" y="71"/>
                    <a:pt x="666" y="71"/>
                    <a:pt x="666" y="71"/>
                  </a:cubicBezTo>
                  <a:cubicBezTo>
                    <a:pt x="667" y="70"/>
                    <a:pt x="669" y="68"/>
                    <a:pt x="670" y="67"/>
                  </a:cubicBezTo>
                  <a:cubicBezTo>
                    <a:pt x="670" y="67"/>
                    <a:pt x="670" y="67"/>
                    <a:pt x="670" y="67"/>
                  </a:cubicBezTo>
                  <a:cubicBezTo>
                    <a:pt x="672" y="66"/>
                    <a:pt x="674" y="64"/>
                    <a:pt x="675" y="63"/>
                  </a:cubicBezTo>
                  <a:cubicBezTo>
                    <a:pt x="675" y="63"/>
                    <a:pt x="675" y="63"/>
                    <a:pt x="675" y="63"/>
                  </a:cubicBezTo>
                  <a:cubicBezTo>
                    <a:pt x="677" y="62"/>
                    <a:pt x="679" y="61"/>
                    <a:pt x="680" y="59"/>
                  </a:cubicBezTo>
                  <a:cubicBezTo>
                    <a:pt x="680" y="59"/>
                    <a:pt x="680" y="59"/>
                    <a:pt x="680" y="59"/>
                  </a:cubicBezTo>
                  <a:cubicBezTo>
                    <a:pt x="682" y="58"/>
                    <a:pt x="684" y="57"/>
                    <a:pt x="685" y="56"/>
                  </a:cubicBezTo>
                  <a:cubicBezTo>
                    <a:pt x="685" y="56"/>
                    <a:pt x="685" y="56"/>
                    <a:pt x="685" y="56"/>
                  </a:cubicBezTo>
                  <a:cubicBezTo>
                    <a:pt x="687" y="54"/>
                    <a:pt x="689" y="53"/>
                    <a:pt x="691" y="52"/>
                  </a:cubicBezTo>
                  <a:cubicBezTo>
                    <a:pt x="691" y="52"/>
                    <a:pt x="691" y="52"/>
                    <a:pt x="691" y="52"/>
                  </a:cubicBezTo>
                  <a:cubicBezTo>
                    <a:pt x="692" y="51"/>
                    <a:pt x="694" y="50"/>
                    <a:pt x="696" y="49"/>
                  </a:cubicBezTo>
                  <a:cubicBezTo>
                    <a:pt x="696" y="49"/>
                    <a:pt x="696" y="49"/>
                    <a:pt x="696" y="49"/>
                  </a:cubicBezTo>
                  <a:cubicBezTo>
                    <a:pt x="698" y="48"/>
                    <a:pt x="699" y="47"/>
                    <a:pt x="701" y="45"/>
                  </a:cubicBezTo>
                  <a:cubicBezTo>
                    <a:pt x="701" y="45"/>
                    <a:pt x="701" y="45"/>
                    <a:pt x="701" y="45"/>
                  </a:cubicBezTo>
                  <a:cubicBezTo>
                    <a:pt x="703" y="44"/>
                    <a:pt x="705" y="43"/>
                    <a:pt x="706" y="42"/>
                  </a:cubicBezTo>
                  <a:cubicBezTo>
                    <a:pt x="706" y="42"/>
                    <a:pt x="706" y="42"/>
                    <a:pt x="706" y="42"/>
                  </a:cubicBezTo>
                  <a:cubicBezTo>
                    <a:pt x="710" y="40"/>
                    <a:pt x="714" y="38"/>
                    <a:pt x="717" y="37"/>
                  </a:cubicBezTo>
                  <a:cubicBezTo>
                    <a:pt x="717" y="37"/>
                    <a:pt x="717" y="37"/>
                    <a:pt x="717" y="37"/>
                  </a:cubicBezTo>
                  <a:cubicBezTo>
                    <a:pt x="791" y="0"/>
                    <a:pt x="880" y="0"/>
                    <a:pt x="953" y="41"/>
                  </a:cubicBezTo>
                  <a:cubicBezTo>
                    <a:pt x="953" y="41"/>
                    <a:pt x="953" y="41"/>
                    <a:pt x="953" y="41"/>
                  </a:cubicBezTo>
                  <a:cubicBezTo>
                    <a:pt x="959" y="44"/>
                    <a:pt x="965" y="48"/>
                    <a:pt x="970" y="51"/>
                  </a:cubicBezTo>
                  <a:cubicBezTo>
                    <a:pt x="970" y="51"/>
                    <a:pt x="970" y="51"/>
                    <a:pt x="970" y="51"/>
                  </a:cubicBezTo>
                  <a:cubicBezTo>
                    <a:pt x="972" y="52"/>
                    <a:pt x="973" y="53"/>
                    <a:pt x="975" y="55"/>
                  </a:cubicBezTo>
                  <a:cubicBezTo>
                    <a:pt x="975" y="55"/>
                    <a:pt x="975" y="55"/>
                    <a:pt x="975" y="55"/>
                  </a:cubicBezTo>
                  <a:cubicBezTo>
                    <a:pt x="977" y="56"/>
                    <a:pt x="979" y="57"/>
                    <a:pt x="980" y="58"/>
                  </a:cubicBezTo>
                  <a:cubicBezTo>
                    <a:pt x="980" y="58"/>
                    <a:pt x="980" y="58"/>
                    <a:pt x="980" y="58"/>
                  </a:cubicBezTo>
                  <a:cubicBezTo>
                    <a:pt x="984" y="61"/>
                    <a:pt x="987" y="64"/>
                    <a:pt x="991" y="66"/>
                  </a:cubicBezTo>
                  <a:cubicBezTo>
                    <a:pt x="991" y="66"/>
                    <a:pt x="991" y="66"/>
                    <a:pt x="991" y="66"/>
                  </a:cubicBezTo>
                  <a:cubicBezTo>
                    <a:pt x="993" y="68"/>
                    <a:pt x="994" y="69"/>
                    <a:pt x="996" y="71"/>
                  </a:cubicBezTo>
                  <a:cubicBezTo>
                    <a:pt x="996" y="71"/>
                    <a:pt x="996" y="71"/>
                    <a:pt x="996" y="71"/>
                  </a:cubicBezTo>
                  <a:cubicBezTo>
                    <a:pt x="999" y="73"/>
                    <a:pt x="1002" y="76"/>
                    <a:pt x="1006" y="80"/>
                  </a:cubicBezTo>
                  <a:cubicBezTo>
                    <a:pt x="1006" y="80"/>
                    <a:pt x="1006" y="80"/>
                    <a:pt x="1006" y="80"/>
                  </a:cubicBezTo>
                  <a:cubicBezTo>
                    <a:pt x="1007" y="81"/>
                    <a:pt x="1009" y="83"/>
                    <a:pt x="1010" y="84"/>
                  </a:cubicBezTo>
                  <a:cubicBezTo>
                    <a:pt x="1010" y="84"/>
                    <a:pt x="1010" y="84"/>
                    <a:pt x="1010" y="84"/>
                  </a:cubicBezTo>
                  <a:cubicBezTo>
                    <a:pt x="1012" y="86"/>
                    <a:pt x="1014" y="87"/>
                    <a:pt x="1015" y="89"/>
                  </a:cubicBezTo>
                  <a:cubicBezTo>
                    <a:pt x="1015" y="89"/>
                    <a:pt x="1015" y="89"/>
                    <a:pt x="1015" y="89"/>
                  </a:cubicBezTo>
                  <a:cubicBezTo>
                    <a:pt x="1018" y="92"/>
                    <a:pt x="1021" y="96"/>
                    <a:pt x="1024" y="99"/>
                  </a:cubicBezTo>
                  <a:cubicBezTo>
                    <a:pt x="1024" y="99"/>
                    <a:pt x="1024" y="99"/>
                    <a:pt x="1024" y="99"/>
                  </a:cubicBezTo>
                  <a:cubicBezTo>
                    <a:pt x="1026" y="101"/>
                    <a:pt x="1027" y="102"/>
                    <a:pt x="1028" y="104"/>
                  </a:cubicBezTo>
                  <a:cubicBezTo>
                    <a:pt x="1028" y="104"/>
                    <a:pt x="1028" y="104"/>
                    <a:pt x="1028" y="104"/>
                  </a:cubicBezTo>
                  <a:cubicBezTo>
                    <a:pt x="1031" y="107"/>
                    <a:pt x="1034" y="111"/>
                    <a:pt x="1036" y="114"/>
                  </a:cubicBezTo>
                  <a:cubicBezTo>
                    <a:pt x="1036" y="114"/>
                    <a:pt x="1036" y="114"/>
                    <a:pt x="1036" y="114"/>
                  </a:cubicBezTo>
                  <a:cubicBezTo>
                    <a:pt x="1038" y="116"/>
                    <a:pt x="1039" y="118"/>
                    <a:pt x="1040" y="119"/>
                  </a:cubicBezTo>
                  <a:cubicBezTo>
                    <a:pt x="1040" y="119"/>
                    <a:pt x="1040" y="119"/>
                    <a:pt x="1040" y="119"/>
                  </a:cubicBezTo>
                  <a:cubicBezTo>
                    <a:pt x="1041" y="121"/>
                    <a:pt x="1042" y="123"/>
                    <a:pt x="1044" y="125"/>
                  </a:cubicBezTo>
                  <a:cubicBezTo>
                    <a:pt x="1044" y="125"/>
                    <a:pt x="1044" y="125"/>
                    <a:pt x="1044" y="125"/>
                  </a:cubicBezTo>
                  <a:cubicBezTo>
                    <a:pt x="1047" y="130"/>
                    <a:pt x="1050" y="136"/>
                    <a:pt x="1054" y="141"/>
                  </a:cubicBezTo>
                  <a:cubicBezTo>
                    <a:pt x="1054" y="141"/>
                    <a:pt x="1054" y="141"/>
                    <a:pt x="1054" y="141"/>
                  </a:cubicBezTo>
                  <a:cubicBezTo>
                    <a:pt x="1095" y="215"/>
                    <a:pt x="1095" y="304"/>
                    <a:pt x="1058" y="377"/>
                  </a:cubicBezTo>
                  <a:cubicBezTo>
                    <a:pt x="1058" y="377"/>
                    <a:pt x="1058" y="377"/>
                    <a:pt x="1058" y="377"/>
                  </a:cubicBezTo>
                  <a:cubicBezTo>
                    <a:pt x="1056" y="381"/>
                    <a:pt x="1054" y="385"/>
                    <a:pt x="1052" y="388"/>
                  </a:cubicBezTo>
                  <a:cubicBezTo>
                    <a:pt x="1052" y="388"/>
                    <a:pt x="1052" y="388"/>
                    <a:pt x="1052" y="388"/>
                  </a:cubicBezTo>
                  <a:cubicBezTo>
                    <a:pt x="1051" y="390"/>
                    <a:pt x="1050" y="392"/>
                    <a:pt x="1049" y="394"/>
                  </a:cubicBezTo>
                  <a:cubicBezTo>
                    <a:pt x="1049" y="394"/>
                    <a:pt x="1049" y="394"/>
                    <a:pt x="1049" y="394"/>
                  </a:cubicBezTo>
                  <a:cubicBezTo>
                    <a:pt x="1048" y="395"/>
                    <a:pt x="1047" y="397"/>
                    <a:pt x="1046" y="399"/>
                  </a:cubicBezTo>
                  <a:cubicBezTo>
                    <a:pt x="1046" y="399"/>
                    <a:pt x="1046" y="399"/>
                    <a:pt x="1046" y="399"/>
                  </a:cubicBezTo>
                  <a:cubicBezTo>
                    <a:pt x="1045" y="401"/>
                    <a:pt x="1044" y="402"/>
                    <a:pt x="1043" y="404"/>
                  </a:cubicBezTo>
                  <a:cubicBezTo>
                    <a:pt x="1043" y="404"/>
                    <a:pt x="1043" y="404"/>
                    <a:pt x="1043" y="404"/>
                  </a:cubicBezTo>
                  <a:cubicBezTo>
                    <a:pt x="1041" y="406"/>
                    <a:pt x="1040" y="408"/>
                    <a:pt x="1039" y="409"/>
                  </a:cubicBezTo>
                  <a:cubicBezTo>
                    <a:pt x="1039" y="409"/>
                    <a:pt x="1039" y="409"/>
                    <a:pt x="1039" y="409"/>
                  </a:cubicBezTo>
                  <a:cubicBezTo>
                    <a:pt x="1038" y="411"/>
                    <a:pt x="1037" y="413"/>
                    <a:pt x="1035" y="414"/>
                  </a:cubicBezTo>
                  <a:cubicBezTo>
                    <a:pt x="1035" y="414"/>
                    <a:pt x="1035" y="414"/>
                    <a:pt x="1035" y="414"/>
                  </a:cubicBezTo>
                  <a:cubicBezTo>
                    <a:pt x="1034" y="416"/>
                    <a:pt x="1033" y="418"/>
                    <a:pt x="1031" y="419"/>
                  </a:cubicBezTo>
                  <a:cubicBezTo>
                    <a:pt x="1031" y="419"/>
                    <a:pt x="1031" y="419"/>
                    <a:pt x="1031" y="419"/>
                  </a:cubicBezTo>
                  <a:cubicBezTo>
                    <a:pt x="1030" y="421"/>
                    <a:pt x="1029" y="423"/>
                    <a:pt x="1028" y="424"/>
                  </a:cubicBezTo>
                  <a:cubicBezTo>
                    <a:pt x="1028" y="424"/>
                    <a:pt x="1028" y="424"/>
                    <a:pt x="1028" y="424"/>
                  </a:cubicBezTo>
                  <a:cubicBezTo>
                    <a:pt x="1026" y="426"/>
                    <a:pt x="1025" y="428"/>
                    <a:pt x="1023" y="429"/>
                  </a:cubicBezTo>
                  <a:cubicBezTo>
                    <a:pt x="1023" y="429"/>
                    <a:pt x="1023" y="429"/>
                    <a:pt x="1023" y="429"/>
                  </a:cubicBezTo>
                  <a:cubicBezTo>
                    <a:pt x="1022" y="431"/>
                    <a:pt x="1021" y="432"/>
                    <a:pt x="1019" y="434"/>
                  </a:cubicBezTo>
                  <a:cubicBezTo>
                    <a:pt x="1019" y="434"/>
                    <a:pt x="1019" y="434"/>
                    <a:pt x="1019" y="434"/>
                  </a:cubicBezTo>
                  <a:cubicBezTo>
                    <a:pt x="1018" y="436"/>
                    <a:pt x="1016" y="437"/>
                    <a:pt x="1015" y="439"/>
                  </a:cubicBezTo>
                  <a:cubicBezTo>
                    <a:pt x="1015" y="439"/>
                    <a:pt x="1015" y="439"/>
                    <a:pt x="1015" y="439"/>
                  </a:cubicBezTo>
                  <a:cubicBezTo>
                    <a:pt x="1013" y="440"/>
                    <a:pt x="1012" y="442"/>
                    <a:pt x="1010" y="443"/>
                  </a:cubicBezTo>
                  <a:cubicBezTo>
                    <a:pt x="1010" y="443"/>
                    <a:pt x="1010" y="443"/>
                    <a:pt x="1010" y="443"/>
                  </a:cubicBezTo>
                  <a:cubicBezTo>
                    <a:pt x="1010" y="444"/>
                    <a:pt x="1010" y="444"/>
                    <a:pt x="1010" y="444"/>
                  </a:cubicBezTo>
                  <a:cubicBezTo>
                    <a:pt x="1009" y="445"/>
                    <a:pt x="1008" y="445"/>
                    <a:pt x="1008" y="446"/>
                  </a:cubicBezTo>
                  <a:cubicBezTo>
                    <a:pt x="1007" y="447"/>
                    <a:pt x="1006" y="448"/>
                    <a:pt x="1005" y="448"/>
                  </a:cubicBezTo>
                  <a:cubicBezTo>
                    <a:pt x="1005" y="448"/>
                    <a:pt x="1005" y="448"/>
                    <a:pt x="1005" y="448"/>
                  </a:cubicBezTo>
                  <a:cubicBezTo>
                    <a:pt x="937" y="513"/>
                    <a:pt x="863" y="516"/>
                    <a:pt x="782" y="547"/>
                  </a:cubicBezTo>
                  <a:cubicBezTo>
                    <a:pt x="737" y="565"/>
                    <a:pt x="690" y="592"/>
                    <a:pt x="640" y="641"/>
                  </a:cubicBezTo>
                  <a:cubicBezTo>
                    <a:pt x="593" y="690"/>
                    <a:pt x="566" y="736"/>
                    <a:pt x="548" y="780"/>
                  </a:cubicBezTo>
                  <a:cubicBezTo>
                    <a:pt x="518" y="859"/>
                    <a:pt x="515" y="931"/>
                    <a:pt x="454" y="999"/>
                  </a:cubicBezTo>
                  <a:cubicBezTo>
                    <a:pt x="453" y="1000"/>
                    <a:pt x="452" y="1001"/>
                    <a:pt x="451" y="1002"/>
                  </a:cubicBezTo>
                  <a:cubicBezTo>
                    <a:pt x="450" y="1004"/>
                    <a:pt x="450" y="1004"/>
                    <a:pt x="450" y="1004"/>
                  </a:cubicBezTo>
                  <a:cubicBezTo>
                    <a:pt x="448" y="1006"/>
                    <a:pt x="446" y="1008"/>
                    <a:pt x="444" y="1010"/>
                  </a:cubicBezTo>
                  <a:cubicBezTo>
                    <a:pt x="444" y="1010"/>
                    <a:pt x="444" y="1010"/>
                    <a:pt x="444" y="1010"/>
                  </a:cubicBezTo>
                  <a:cubicBezTo>
                    <a:pt x="444" y="1010"/>
                    <a:pt x="444" y="1010"/>
                    <a:pt x="444" y="1010"/>
                  </a:cubicBezTo>
                  <a:cubicBezTo>
                    <a:pt x="443" y="1011"/>
                    <a:pt x="441" y="1013"/>
                    <a:pt x="439" y="1014"/>
                  </a:cubicBezTo>
                  <a:cubicBezTo>
                    <a:pt x="439" y="1014"/>
                    <a:pt x="439" y="1014"/>
                    <a:pt x="439" y="1014"/>
                  </a:cubicBezTo>
                  <a:cubicBezTo>
                    <a:pt x="438" y="1016"/>
                    <a:pt x="436" y="1017"/>
                    <a:pt x="435" y="1019"/>
                  </a:cubicBezTo>
                  <a:cubicBezTo>
                    <a:pt x="435" y="1019"/>
                    <a:pt x="435" y="1019"/>
                    <a:pt x="435" y="1019"/>
                  </a:cubicBezTo>
                  <a:cubicBezTo>
                    <a:pt x="433" y="1020"/>
                    <a:pt x="432" y="1021"/>
                    <a:pt x="430" y="1023"/>
                  </a:cubicBezTo>
                  <a:cubicBezTo>
                    <a:pt x="430" y="1023"/>
                    <a:pt x="430" y="1023"/>
                    <a:pt x="430" y="1023"/>
                  </a:cubicBezTo>
                  <a:cubicBezTo>
                    <a:pt x="428" y="1024"/>
                    <a:pt x="427" y="1026"/>
                    <a:pt x="425" y="1027"/>
                  </a:cubicBezTo>
                  <a:cubicBezTo>
                    <a:pt x="425" y="1027"/>
                    <a:pt x="425" y="1027"/>
                    <a:pt x="425" y="1027"/>
                  </a:cubicBezTo>
                  <a:cubicBezTo>
                    <a:pt x="423" y="1028"/>
                    <a:pt x="422" y="1030"/>
                    <a:pt x="420" y="1031"/>
                  </a:cubicBezTo>
                  <a:cubicBezTo>
                    <a:pt x="420" y="1031"/>
                    <a:pt x="420" y="1031"/>
                    <a:pt x="420" y="1031"/>
                  </a:cubicBezTo>
                  <a:cubicBezTo>
                    <a:pt x="419" y="1032"/>
                    <a:pt x="417" y="1033"/>
                    <a:pt x="415" y="1035"/>
                  </a:cubicBezTo>
                  <a:cubicBezTo>
                    <a:pt x="415" y="1035"/>
                    <a:pt x="415" y="1035"/>
                    <a:pt x="415" y="1035"/>
                  </a:cubicBezTo>
                  <a:cubicBezTo>
                    <a:pt x="414" y="1036"/>
                    <a:pt x="412" y="1037"/>
                    <a:pt x="410" y="1038"/>
                  </a:cubicBezTo>
                  <a:cubicBezTo>
                    <a:pt x="410" y="1038"/>
                    <a:pt x="410" y="1038"/>
                    <a:pt x="410" y="1038"/>
                  </a:cubicBezTo>
                  <a:cubicBezTo>
                    <a:pt x="408" y="1039"/>
                    <a:pt x="407" y="1041"/>
                    <a:pt x="405" y="1042"/>
                  </a:cubicBezTo>
                  <a:cubicBezTo>
                    <a:pt x="405" y="1042"/>
                    <a:pt x="405" y="1042"/>
                    <a:pt x="405" y="1042"/>
                  </a:cubicBezTo>
                  <a:cubicBezTo>
                    <a:pt x="403" y="1043"/>
                    <a:pt x="401" y="1044"/>
                    <a:pt x="400" y="1045"/>
                  </a:cubicBezTo>
                  <a:cubicBezTo>
                    <a:pt x="400" y="1045"/>
                    <a:pt x="400" y="1045"/>
                    <a:pt x="400" y="1045"/>
                  </a:cubicBezTo>
                  <a:cubicBezTo>
                    <a:pt x="398" y="1046"/>
                    <a:pt x="396" y="1047"/>
                    <a:pt x="394" y="1048"/>
                  </a:cubicBezTo>
                  <a:cubicBezTo>
                    <a:pt x="394" y="1048"/>
                    <a:pt x="394" y="1048"/>
                    <a:pt x="394" y="1048"/>
                  </a:cubicBezTo>
                  <a:cubicBezTo>
                    <a:pt x="393" y="1050"/>
                    <a:pt x="391" y="1051"/>
                    <a:pt x="389" y="1052"/>
                  </a:cubicBezTo>
                  <a:cubicBezTo>
                    <a:pt x="389" y="1052"/>
                    <a:pt x="389" y="1052"/>
                    <a:pt x="389" y="1052"/>
                  </a:cubicBezTo>
                  <a:cubicBezTo>
                    <a:pt x="385" y="1054"/>
                    <a:pt x="382" y="1055"/>
                    <a:pt x="378" y="1057"/>
                  </a:cubicBezTo>
                  <a:cubicBezTo>
                    <a:pt x="378" y="1057"/>
                    <a:pt x="378" y="1057"/>
                    <a:pt x="378" y="1057"/>
                  </a:cubicBezTo>
                  <a:cubicBezTo>
                    <a:pt x="305" y="1094"/>
                    <a:pt x="216" y="1094"/>
                    <a:pt x="142" y="1053"/>
                  </a:cubicBezTo>
                  <a:cubicBezTo>
                    <a:pt x="142" y="1053"/>
                    <a:pt x="142" y="1053"/>
                    <a:pt x="142" y="1053"/>
                  </a:cubicBezTo>
                  <a:cubicBezTo>
                    <a:pt x="136" y="1050"/>
                    <a:pt x="131" y="1046"/>
                    <a:pt x="126" y="1043"/>
                  </a:cubicBezTo>
                  <a:cubicBezTo>
                    <a:pt x="126" y="1043"/>
                    <a:pt x="126" y="1043"/>
                    <a:pt x="126" y="1043"/>
                  </a:cubicBezTo>
                  <a:cubicBezTo>
                    <a:pt x="124" y="1042"/>
                    <a:pt x="122" y="1040"/>
                    <a:pt x="120" y="1039"/>
                  </a:cubicBezTo>
                  <a:cubicBezTo>
                    <a:pt x="120" y="1039"/>
                    <a:pt x="120" y="1039"/>
                    <a:pt x="120" y="1039"/>
                  </a:cubicBezTo>
                  <a:cubicBezTo>
                    <a:pt x="119" y="1038"/>
                    <a:pt x="117" y="1037"/>
                    <a:pt x="115" y="1035"/>
                  </a:cubicBezTo>
                  <a:cubicBezTo>
                    <a:pt x="115" y="1035"/>
                    <a:pt x="115" y="1035"/>
                    <a:pt x="115" y="1035"/>
                  </a:cubicBezTo>
                  <a:cubicBezTo>
                    <a:pt x="112" y="1033"/>
                    <a:pt x="108" y="1030"/>
                    <a:pt x="105" y="1028"/>
                  </a:cubicBezTo>
                  <a:cubicBezTo>
                    <a:pt x="105" y="1027"/>
                    <a:pt x="105" y="1027"/>
                    <a:pt x="105" y="1027"/>
                  </a:cubicBezTo>
                  <a:cubicBezTo>
                    <a:pt x="103" y="1026"/>
                    <a:pt x="101" y="1025"/>
                    <a:pt x="100" y="1023"/>
                  </a:cubicBezTo>
                  <a:cubicBezTo>
                    <a:pt x="100" y="1023"/>
                    <a:pt x="100" y="1023"/>
                    <a:pt x="100" y="1023"/>
                  </a:cubicBezTo>
                  <a:cubicBezTo>
                    <a:pt x="96" y="1020"/>
                    <a:pt x="93" y="1018"/>
                    <a:pt x="90" y="1014"/>
                  </a:cubicBezTo>
                  <a:cubicBezTo>
                    <a:pt x="90" y="1014"/>
                    <a:pt x="90" y="1014"/>
                    <a:pt x="90" y="1014"/>
                  </a:cubicBezTo>
                  <a:cubicBezTo>
                    <a:pt x="88" y="1013"/>
                    <a:pt x="87" y="1011"/>
                    <a:pt x="85" y="1010"/>
                  </a:cubicBezTo>
                  <a:cubicBezTo>
                    <a:pt x="85" y="1010"/>
                    <a:pt x="85" y="1010"/>
                    <a:pt x="85" y="1010"/>
                  </a:cubicBezTo>
                  <a:cubicBezTo>
                    <a:pt x="83" y="1008"/>
                    <a:pt x="82" y="1007"/>
                    <a:pt x="80" y="1005"/>
                  </a:cubicBezTo>
                  <a:cubicBezTo>
                    <a:pt x="80" y="1005"/>
                    <a:pt x="80" y="1005"/>
                    <a:pt x="80" y="1005"/>
                  </a:cubicBezTo>
                  <a:cubicBezTo>
                    <a:pt x="77" y="1002"/>
                    <a:pt x="74" y="998"/>
                    <a:pt x="71" y="995"/>
                  </a:cubicBezTo>
                  <a:cubicBezTo>
                    <a:pt x="71" y="995"/>
                    <a:pt x="71" y="995"/>
                    <a:pt x="71" y="995"/>
                  </a:cubicBezTo>
                  <a:cubicBezTo>
                    <a:pt x="70" y="993"/>
                    <a:pt x="69" y="992"/>
                    <a:pt x="67" y="990"/>
                  </a:cubicBezTo>
                  <a:cubicBezTo>
                    <a:pt x="67" y="990"/>
                    <a:pt x="67" y="990"/>
                    <a:pt x="67" y="990"/>
                  </a:cubicBezTo>
                  <a:cubicBezTo>
                    <a:pt x="64" y="987"/>
                    <a:pt x="62" y="983"/>
                    <a:pt x="59" y="980"/>
                  </a:cubicBezTo>
                  <a:cubicBezTo>
                    <a:pt x="59" y="980"/>
                    <a:pt x="59" y="980"/>
                    <a:pt x="59" y="980"/>
                  </a:cubicBezTo>
                  <a:cubicBezTo>
                    <a:pt x="58" y="978"/>
                    <a:pt x="57" y="976"/>
                    <a:pt x="55" y="974"/>
                  </a:cubicBezTo>
                  <a:cubicBezTo>
                    <a:pt x="55" y="974"/>
                    <a:pt x="55" y="974"/>
                    <a:pt x="55" y="974"/>
                  </a:cubicBezTo>
                  <a:cubicBezTo>
                    <a:pt x="54" y="973"/>
                    <a:pt x="53" y="971"/>
                    <a:pt x="52" y="969"/>
                  </a:cubicBezTo>
                  <a:cubicBezTo>
                    <a:pt x="52" y="969"/>
                    <a:pt x="52" y="969"/>
                    <a:pt x="52" y="969"/>
                  </a:cubicBezTo>
                  <a:cubicBezTo>
                    <a:pt x="48" y="964"/>
                    <a:pt x="45" y="958"/>
                    <a:pt x="42" y="953"/>
                  </a:cubicBezTo>
                  <a:cubicBezTo>
                    <a:pt x="42" y="953"/>
                    <a:pt x="42" y="953"/>
                    <a:pt x="42" y="953"/>
                  </a:cubicBezTo>
                  <a:cubicBezTo>
                    <a:pt x="1" y="879"/>
                    <a:pt x="0" y="790"/>
                    <a:pt x="37" y="717"/>
                  </a:cubicBezTo>
                  <a:cubicBezTo>
                    <a:pt x="37" y="717"/>
                    <a:pt x="37" y="717"/>
                    <a:pt x="37" y="717"/>
                  </a:cubicBezTo>
                  <a:cubicBezTo>
                    <a:pt x="39" y="713"/>
                    <a:pt x="41" y="709"/>
                    <a:pt x="43" y="706"/>
                  </a:cubicBezTo>
                  <a:cubicBezTo>
                    <a:pt x="43" y="706"/>
                    <a:pt x="43" y="706"/>
                    <a:pt x="43" y="706"/>
                  </a:cubicBezTo>
                  <a:cubicBezTo>
                    <a:pt x="44" y="704"/>
                    <a:pt x="45" y="702"/>
                    <a:pt x="46" y="700"/>
                  </a:cubicBezTo>
                  <a:cubicBezTo>
                    <a:pt x="46" y="700"/>
                    <a:pt x="46" y="700"/>
                    <a:pt x="46" y="700"/>
                  </a:cubicBezTo>
                  <a:cubicBezTo>
                    <a:pt x="47" y="699"/>
                    <a:pt x="48" y="697"/>
                    <a:pt x="50" y="695"/>
                  </a:cubicBezTo>
                  <a:cubicBezTo>
                    <a:pt x="50" y="695"/>
                    <a:pt x="50" y="695"/>
                    <a:pt x="50" y="695"/>
                  </a:cubicBezTo>
                  <a:cubicBezTo>
                    <a:pt x="51" y="693"/>
                    <a:pt x="52" y="692"/>
                    <a:pt x="53" y="690"/>
                  </a:cubicBezTo>
                  <a:cubicBezTo>
                    <a:pt x="53" y="690"/>
                    <a:pt x="53" y="690"/>
                    <a:pt x="53" y="690"/>
                  </a:cubicBezTo>
                  <a:cubicBezTo>
                    <a:pt x="54" y="688"/>
                    <a:pt x="55" y="686"/>
                    <a:pt x="56" y="685"/>
                  </a:cubicBezTo>
                  <a:cubicBezTo>
                    <a:pt x="56" y="685"/>
                    <a:pt x="56" y="685"/>
                    <a:pt x="56" y="685"/>
                  </a:cubicBezTo>
                  <a:cubicBezTo>
                    <a:pt x="58" y="683"/>
                    <a:pt x="59" y="681"/>
                    <a:pt x="60" y="680"/>
                  </a:cubicBezTo>
                  <a:cubicBezTo>
                    <a:pt x="60" y="680"/>
                    <a:pt x="60" y="680"/>
                    <a:pt x="60" y="680"/>
                  </a:cubicBezTo>
                  <a:cubicBezTo>
                    <a:pt x="61" y="678"/>
                    <a:pt x="63" y="676"/>
                    <a:pt x="64" y="675"/>
                  </a:cubicBezTo>
                  <a:cubicBezTo>
                    <a:pt x="64" y="675"/>
                    <a:pt x="64" y="675"/>
                    <a:pt x="64" y="675"/>
                  </a:cubicBezTo>
                  <a:cubicBezTo>
                    <a:pt x="65" y="673"/>
                    <a:pt x="67" y="671"/>
                    <a:pt x="68" y="670"/>
                  </a:cubicBezTo>
                  <a:cubicBezTo>
                    <a:pt x="68" y="670"/>
                    <a:pt x="68" y="670"/>
                    <a:pt x="68" y="670"/>
                  </a:cubicBezTo>
                  <a:cubicBezTo>
                    <a:pt x="69" y="668"/>
                    <a:pt x="71" y="666"/>
                    <a:pt x="72" y="665"/>
                  </a:cubicBezTo>
                  <a:cubicBezTo>
                    <a:pt x="72" y="665"/>
                    <a:pt x="72" y="665"/>
                    <a:pt x="72" y="665"/>
                  </a:cubicBezTo>
                  <a:cubicBezTo>
                    <a:pt x="73" y="663"/>
                    <a:pt x="75" y="662"/>
                    <a:pt x="76" y="660"/>
                  </a:cubicBezTo>
                  <a:cubicBezTo>
                    <a:pt x="76" y="660"/>
                    <a:pt x="76" y="660"/>
                    <a:pt x="76" y="660"/>
                  </a:cubicBezTo>
                  <a:cubicBezTo>
                    <a:pt x="78" y="658"/>
                    <a:pt x="79" y="657"/>
                    <a:pt x="80" y="655"/>
                  </a:cubicBezTo>
                  <a:cubicBezTo>
                    <a:pt x="80" y="655"/>
                    <a:pt x="80" y="655"/>
                    <a:pt x="80" y="655"/>
                  </a:cubicBezTo>
                  <a:cubicBezTo>
                    <a:pt x="82" y="654"/>
                    <a:pt x="83" y="652"/>
                    <a:pt x="85" y="651"/>
                  </a:cubicBezTo>
                  <a:cubicBezTo>
                    <a:pt x="85" y="651"/>
                    <a:pt x="85" y="651"/>
                    <a:pt x="85" y="651"/>
                  </a:cubicBezTo>
                  <a:cubicBezTo>
                    <a:pt x="85" y="651"/>
                    <a:pt x="85" y="651"/>
                    <a:pt x="85" y="651"/>
                  </a:cubicBezTo>
                  <a:cubicBezTo>
                    <a:pt x="87" y="649"/>
                    <a:pt x="89" y="647"/>
                    <a:pt x="91" y="645"/>
                  </a:cubicBezTo>
                  <a:cubicBezTo>
                    <a:pt x="91" y="644"/>
                    <a:pt x="92" y="644"/>
                    <a:pt x="92" y="643"/>
                  </a:cubicBezTo>
                  <a:cubicBezTo>
                    <a:pt x="94" y="642"/>
                    <a:pt x="95" y="641"/>
                    <a:pt x="96" y="640"/>
                  </a:cubicBezTo>
                  <a:cubicBezTo>
                    <a:pt x="163" y="580"/>
                    <a:pt x="236" y="577"/>
                    <a:pt x="315" y="547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Arial" panose="020B0604020202020204" pitchFamily="34" charset="0"/>
              </a:endParaRP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8AD78AC7-9BC4-302B-278E-1346F7C539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47017" y="5202786"/>
              <a:ext cx="615552" cy="615552"/>
            </a:xfrm>
            <a:prstGeom prst="ellipse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Arial" panose="020B0604020202020204" pitchFamily="34" charset="0"/>
              </a:endParaRPr>
            </a:p>
          </p:txBody>
        </p:sp>
        <p:sp>
          <p:nvSpPr>
            <p:cNvPr id="42" name="Freeform 21">
              <a:extLst>
                <a:ext uri="{FF2B5EF4-FFF2-40B4-BE49-F238E27FC236}">
                  <a16:creationId xmlns:a16="http://schemas.microsoft.com/office/drawing/2014/main" id="{C5D207C8-376A-D617-470A-250215D0E5EC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0461" y="4382583"/>
              <a:ext cx="676308" cy="674708"/>
            </a:xfrm>
            <a:custGeom>
              <a:avLst/>
              <a:gdLst>
                <a:gd name="T0" fmla="*/ 397 w 483"/>
                <a:gd name="T1" fmla="*/ 86 h 483"/>
                <a:gd name="T2" fmla="*/ 86 w 483"/>
                <a:gd name="T3" fmla="*/ 86 h 483"/>
                <a:gd name="T4" fmla="*/ 86 w 483"/>
                <a:gd name="T5" fmla="*/ 397 h 483"/>
                <a:gd name="T6" fmla="*/ 397 w 483"/>
                <a:gd name="T7" fmla="*/ 397 h 483"/>
                <a:gd name="T8" fmla="*/ 397 w 483"/>
                <a:gd name="T9" fmla="*/ 86 h 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3" h="483">
                  <a:moveTo>
                    <a:pt x="397" y="86"/>
                  </a:moveTo>
                  <a:cubicBezTo>
                    <a:pt x="311" y="0"/>
                    <a:pt x="172" y="0"/>
                    <a:pt x="86" y="86"/>
                  </a:cubicBezTo>
                  <a:cubicBezTo>
                    <a:pt x="0" y="172"/>
                    <a:pt x="0" y="311"/>
                    <a:pt x="86" y="397"/>
                  </a:cubicBezTo>
                  <a:cubicBezTo>
                    <a:pt x="172" y="483"/>
                    <a:pt x="311" y="483"/>
                    <a:pt x="397" y="397"/>
                  </a:cubicBezTo>
                  <a:cubicBezTo>
                    <a:pt x="483" y="311"/>
                    <a:pt x="483" y="172"/>
                    <a:pt x="397" y="86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Arial" panose="020B0604020202020204" pitchFamily="34" charset="0"/>
              </a:endParaRPr>
            </a:p>
          </p:txBody>
        </p: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D05F5DBB-F48F-5F5F-557D-D106672547E5}"/>
              </a:ext>
            </a:extLst>
          </p:cNvPr>
          <p:cNvSpPr txBox="1"/>
          <p:nvPr/>
        </p:nvSpPr>
        <p:spPr>
          <a:xfrm>
            <a:off x="8165929" y="1773601"/>
            <a:ext cx="2837522" cy="770962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800" b="1" dirty="0">
                <a:solidFill>
                  <a:schemeClr val="accent4"/>
                </a:solidFill>
                <a:ea typeface="Open Sans Light" panose="020B0306030504020204" pitchFamily="34" charset="0"/>
                <a:cs typeface="Arial" panose="020B0604020202020204" pitchFamily="34" charset="0"/>
              </a:rPr>
              <a:t>Insert Text Here</a:t>
            </a:r>
            <a:b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Arial" panose="020B0604020202020204" pitchFamily="34" charset="0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Arial" panose="020B0604020202020204" pitchFamily="34" charset="0"/>
              </a:rPr>
              <a:t> </a:t>
            </a:r>
            <a:r>
              <a:rPr lang="en-US" sz="1050" dirty="0">
                <a:ea typeface="Open Sans Light" panose="020B0306030504020204" pitchFamily="34" charset="0"/>
                <a:cs typeface="Arial" panose="020B0604020202020204" pitchFamily="34" charset="0"/>
              </a:rPr>
              <a:t>Insert your text here Insert your text here Insert your text here Insert your text her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7185F35-4F76-8B3C-7838-0A9927A638CE}"/>
              </a:ext>
            </a:extLst>
          </p:cNvPr>
          <p:cNvSpPr txBox="1"/>
          <p:nvPr/>
        </p:nvSpPr>
        <p:spPr>
          <a:xfrm>
            <a:off x="8165929" y="4875482"/>
            <a:ext cx="2837522" cy="770962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800" b="1" dirty="0">
                <a:solidFill>
                  <a:schemeClr val="accent1"/>
                </a:solidFill>
                <a:ea typeface="Open Sans Light" panose="020B0306030504020204" pitchFamily="34" charset="0"/>
                <a:cs typeface="Arial" panose="020B0604020202020204" pitchFamily="34" charset="0"/>
              </a:rPr>
              <a:t>Insert Text Here</a:t>
            </a:r>
            <a:b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Arial" panose="020B0604020202020204" pitchFamily="34" charset="0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Arial" panose="020B0604020202020204" pitchFamily="34" charset="0"/>
              </a:rPr>
              <a:t> </a:t>
            </a:r>
            <a:r>
              <a:rPr lang="en-US" sz="1050" dirty="0">
                <a:ea typeface="Open Sans Light" panose="020B0306030504020204" pitchFamily="34" charset="0"/>
                <a:cs typeface="Arial" panose="020B0604020202020204" pitchFamily="34" charset="0"/>
              </a:rPr>
              <a:t>Insert your text here Insert your text here Insert your text here Insert your text her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2350910-9980-A56C-EFBD-5B751E958CE4}"/>
              </a:ext>
            </a:extLst>
          </p:cNvPr>
          <p:cNvSpPr txBox="1"/>
          <p:nvPr/>
        </p:nvSpPr>
        <p:spPr>
          <a:xfrm>
            <a:off x="8556646" y="2822669"/>
            <a:ext cx="2837522" cy="770962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800" b="1" dirty="0">
                <a:solidFill>
                  <a:schemeClr val="accent2"/>
                </a:solidFill>
                <a:ea typeface="Open Sans Light" panose="020B0306030504020204" pitchFamily="34" charset="0"/>
                <a:cs typeface="Arial" panose="020B0604020202020204" pitchFamily="34" charset="0"/>
              </a:rPr>
              <a:t>Insert Text Here</a:t>
            </a:r>
            <a:b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Arial" panose="020B0604020202020204" pitchFamily="34" charset="0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Arial" panose="020B0604020202020204" pitchFamily="34" charset="0"/>
              </a:rPr>
              <a:t> </a:t>
            </a:r>
            <a:r>
              <a:rPr lang="en-US" sz="1050" dirty="0">
                <a:ea typeface="Open Sans Light" panose="020B0306030504020204" pitchFamily="34" charset="0"/>
                <a:cs typeface="Arial" panose="020B0604020202020204" pitchFamily="34" charset="0"/>
              </a:rPr>
              <a:t>Insert your text here Insert your text here Insert your text here Insert your text her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B4AC854-C999-436A-BB6C-AC77D592FEE8}"/>
              </a:ext>
            </a:extLst>
          </p:cNvPr>
          <p:cNvSpPr txBox="1"/>
          <p:nvPr/>
        </p:nvSpPr>
        <p:spPr>
          <a:xfrm>
            <a:off x="8556646" y="3771104"/>
            <a:ext cx="2837522" cy="770962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800" b="1" dirty="0">
                <a:solidFill>
                  <a:schemeClr val="accent3"/>
                </a:solidFill>
                <a:ea typeface="Open Sans Light" panose="020B0306030504020204" pitchFamily="34" charset="0"/>
                <a:cs typeface="Arial" panose="020B0604020202020204" pitchFamily="34" charset="0"/>
              </a:rPr>
              <a:t>Insert Text Here</a:t>
            </a:r>
            <a:b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Arial" panose="020B0604020202020204" pitchFamily="34" charset="0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Arial" panose="020B0604020202020204" pitchFamily="34" charset="0"/>
              </a:rPr>
              <a:t> </a:t>
            </a:r>
            <a:r>
              <a:rPr lang="en-US" sz="1050" dirty="0">
                <a:ea typeface="Open Sans Light" panose="020B0306030504020204" pitchFamily="34" charset="0"/>
                <a:cs typeface="Arial" panose="020B0604020202020204" pitchFamily="34" charset="0"/>
              </a:rPr>
              <a:t>Insert your text here Insert your text here Insert your text here Insert your text her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C277E4E-B86E-BD7B-8483-9342FA2A8207}"/>
              </a:ext>
            </a:extLst>
          </p:cNvPr>
          <p:cNvSpPr txBox="1"/>
          <p:nvPr/>
        </p:nvSpPr>
        <p:spPr>
          <a:xfrm>
            <a:off x="881255" y="1773601"/>
            <a:ext cx="2837522" cy="770962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US" sz="1800" b="1" dirty="0">
                <a:solidFill>
                  <a:schemeClr val="accent1"/>
                </a:solidFill>
                <a:ea typeface="Open Sans Light" panose="020B0306030504020204" pitchFamily="34" charset="0"/>
                <a:cs typeface="Arial" panose="020B0604020202020204" pitchFamily="34" charset="0"/>
              </a:rPr>
              <a:t>Insert Text Here</a:t>
            </a:r>
            <a:br>
              <a:rPr lang="en-US" sz="1050" dirty="0">
                <a:solidFill>
                  <a:schemeClr val="accent1"/>
                </a:solidFill>
                <a:ea typeface="Open Sans Light" panose="020B0306030504020204" pitchFamily="34" charset="0"/>
                <a:cs typeface="Arial" panose="020B0604020202020204" pitchFamily="34" charset="0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Arial" panose="020B0604020202020204" pitchFamily="34" charset="0"/>
              </a:rPr>
              <a:t> </a:t>
            </a:r>
            <a:r>
              <a:rPr lang="en-US" sz="1050" dirty="0">
                <a:ea typeface="Open Sans Light" panose="020B0306030504020204" pitchFamily="34" charset="0"/>
                <a:cs typeface="Arial" panose="020B0604020202020204" pitchFamily="34" charset="0"/>
              </a:rPr>
              <a:t>Insert your text here Insert your text here Insert your text here Insert your text her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A43E4C3-75C5-0A55-2A4F-936063F9813A}"/>
              </a:ext>
            </a:extLst>
          </p:cNvPr>
          <p:cNvSpPr txBox="1"/>
          <p:nvPr/>
        </p:nvSpPr>
        <p:spPr>
          <a:xfrm>
            <a:off x="881255" y="4875482"/>
            <a:ext cx="2837522" cy="770962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US" sz="1800" b="1" dirty="0">
                <a:solidFill>
                  <a:schemeClr val="accent4"/>
                </a:solidFill>
                <a:ea typeface="Open Sans Light" panose="020B0306030504020204" pitchFamily="34" charset="0"/>
                <a:cs typeface="Arial" panose="020B0604020202020204" pitchFamily="34" charset="0"/>
              </a:rPr>
              <a:t>Insert Text Here</a:t>
            </a:r>
            <a:br>
              <a:rPr lang="en-US" sz="1050" dirty="0">
                <a:solidFill>
                  <a:schemeClr val="accent4"/>
                </a:solidFill>
                <a:ea typeface="Open Sans Light" panose="020B0306030504020204" pitchFamily="34" charset="0"/>
                <a:cs typeface="Arial" panose="020B0604020202020204" pitchFamily="34" charset="0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Arial" panose="020B0604020202020204" pitchFamily="34" charset="0"/>
              </a:rPr>
              <a:t> </a:t>
            </a:r>
            <a:r>
              <a:rPr lang="en-US" sz="1050" dirty="0">
                <a:ea typeface="Open Sans Light" panose="020B0306030504020204" pitchFamily="34" charset="0"/>
                <a:cs typeface="Arial" panose="020B0604020202020204" pitchFamily="34" charset="0"/>
              </a:rPr>
              <a:t>Insert your text here Insert your text here Insert your text here Insert your text her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E79BAA5-E808-ED9A-53A4-6344123483FD}"/>
              </a:ext>
            </a:extLst>
          </p:cNvPr>
          <p:cNvSpPr txBox="1"/>
          <p:nvPr/>
        </p:nvSpPr>
        <p:spPr>
          <a:xfrm>
            <a:off x="510239" y="2822669"/>
            <a:ext cx="2837522" cy="770962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US" sz="1800" b="1" dirty="0">
                <a:solidFill>
                  <a:schemeClr val="accent2"/>
                </a:solidFill>
                <a:ea typeface="Open Sans Light" panose="020B0306030504020204" pitchFamily="34" charset="0"/>
                <a:cs typeface="Arial" panose="020B0604020202020204" pitchFamily="34" charset="0"/>
              </a:rPr>
              <a:t>Insert Text Here</a:t>
            </a:r>
            <a:br>
              <a:rPr lang="en-US" sz="1050" dirty="0">
                <a:solidFill>
                  <a:schemeClr val="accent2"/>
                </a:solidFill>
                <a:ea typeface="Open Sans Light" panose="020B0306030504020204" pitchFamily="34" charset="0"/>
                <a:cs typeface="Arial" panose="020B0604020202020204" pitchFamily="34" charset="0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Arial" panose="020B0604020202020204" pitchFamily="34" charset="0"/>
              </a:rPr>
              <a:t> </a:t>
            </a:r>
            <a:r>
              <a:rPr lang="en-US" sz="1050" dirty="0">
                <a:ea typeface="Open Sans Light" panose="020B0306030504020204" pitchFamily="34" charset="0"/>
                <a:cs typeface="Arial" panose="020B0604020202020204" pitchFamily="34" charset="0"/>
              </a:rPr>
              <a:t>Insert your text here Insert your text here Insert your text here Insert your text her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7A60FE7-CA6A-83BE-54B4-7DC5CBBBAD99}"/>
              </a:ext>
            </a:extLst>
          </p:cNvPr>
          <p:cNvSpPr txBox="1"/>
          <p:nvPr/>
        </p:nvSpPr>
        <p:spPr>
          <a:xfrm>
            <a:off x="510239" y="3771104"/>
            <a:ext cx="2837522" cy="770962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US" sz="1800" b="1" dirty="0">
                <a:solidFill>
                  <a:schemeClr val="accent3"/>
                </a:solidFill>
                <a:ea typeface="Open Sans Light" panose="020B0306030504020204" pitchFamily="34" charset="0"/>
                <a:cs typeface="Arial" panose="020B0604020202020204" pitchFamily="34" charset="0"/>
              </a:rPr>
              <a:t>Insert Text Here</a:t>
            </a:r>
            <a:br>
              <a:rPr lang="en-US" sz="1050" dirty="0">
                <a:solidFill>
                  <a:schemeClr val="accent3"/>
                </a:solidFill>
                <a:ea typeface="Open Sans Light" panose="020B0306030504020204" pitchFamily="34" charset="0"/>
                <a:cs typeface="Arial" panose="020B0604020202020204" pitchFamily="34" charset="0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Arial" panose="020B0604020202020204" pitchFamily="34" charset="0"/>
              </a:rPr>
              <a:t> </a:t>
            </a:r>
            <a:r>
              <a:rPr lang="en-US" sz="1050" dirty="0">
                <a:ea typeface="Open Sans Light" panose="020B0306030504020204" pitchFamily="34" charset="0"/>
                <a:cs typeface="Arial" panose="020B0604020202020204" pitchFamily="34" charset="0"/>
              </a:rPr>
              <a:t>Insert your text here Insert your text here Insert your text here Insert your text here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915B5683-0A82-40EC-6AAE-B17937A7AC78}"/>
              </a:ext>
            </a:extLst>
          </p:cNvPr>
          <p:cNvSpPr txBox="1">
            <a:spLocks/>
          </p:cNvSpPr>
          <p:nvPr/>
        </p:nvSpPr>
        <p:spPr>
          <a:xfrm>
            <a:off x="4775355" y="3679381"/>
            <a:ext cx="2640413" cy="836201"/>
          </a:xfrm>
          <a:prstGeom prst="rect">
            <a:avLst/>
          </a:prstGeom>
        </p:spPr>
        <p:txBody>
          <a:bodyPr/>
          <a:lstStyle>
            <a:lvl1pPr algn="l" defTabSz="182843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457152">
              <a:buClr>
                <a:srgbClr val="0070C0"/>
              </a:buClr>
              <a:defRPr/>
            </a:pPr>
            <a:r>
              <a:rPr lang="en-IN" sz="1600" b="1" dirty="0">
                <a:latin typeface="+mn-lt"/>
                <a:cs typeface="Arial" panose="020B0604020202020204" pitchFamily="34" charset="0"/>
              </a:rPr>
              <a:t>HEADING</a:t>
            </a:r>
            <a:endParaRPr lang="en-IN" sz="1200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6" name="Star: 5 Points 15">
            <a:extLst>
              <a:ext uri="{FF2B5EF4-FFF2-40B4-BE49-F238E27FC236}">
                <a16:creationId xmlns:a16="http://schemas.microsoft.com/office/drawing/2014/main" id="{83232437-2649-A81A-5A1D-8186436751E6}"/>
              </a:ext>
            </a:extLst>
          </p:cNvPr>
          <p:cNvSpPr/>
          <p:nvPr/>
        </p:nvSpPr>
        <p:spPr>
          <a:xfrm>
            <a:off x="6454260" y="2217023"/>
            <a:ext cx="327540" cy="327540"/>
          </a:xfrm>
          <a:prstGeom prst="star5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Arial" panose="020B0604020202020204" pitchFamily="34" charset="0"/>
            </a:endParaRPr>
          </a:p>
        </p:txBody>
      </p:sp>
      <p:sp>
        <p:nvSpPr>
          <p:cNvPr id="17" name="Star: 5 Points 16">
            <a:extLst>
              <a:ext uri="{FF2B5EF4-FFF2-40B4-BE49-F238E27FC236}">
                <a16:creationId xmlns:a16="http://schemas.microsoft.com/office/drawing/2014/main" id="{EEC2B731-8B51-D5DD-DED9-CC634E9A6FEA}"/>
              </a:ext>
            </a:extLst>
          </p:cNvPr>
          <p:cNvSpPr/>
          <p:nvPr/>
        </p:nvSpPr>
        <p:spPr>
          <a:xfrm>
            <a:off x="5341740" y="2217023"/>
            <a:ext cx="327540" cy="327540"/>
          </a:xfrm>
          <a:prstGeom prst="star5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Star: 5 Points 17">
            <a:extLst>
              <a:ext uri="{FF2B5EF4-FFF2-40B4-BE49-F238E27FC236}">
                <a16:creationId xmlns:a16="http://schemas.microsoft.com/office/drawing/2014/main" id="{A7E55FC9-C9F6-40E5-BACA-07F9FA25A937}"/>
              </a:ext>
            </a:extLst>
          </p:cNvPr>
          <p:cNvSpPr/>
          <p:nvPr/>
        </p:nvSpPr>
        <p:spPr>
          <a:xfrm>
            <a:off x="4526400" y="3039983"/>
            <a:ext cx="327540" cy="327540"/>
          </a:xfrm>
          <a:prstGeom prst="star5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Star: 5 Points 18">
            <a:extLst>
              <a:ext uri="{FF2B5EF4-FFF2-40B4-BE49-F238E27FC236}">
                <a16:creationId xmlns:a16="http://schemas.microsoft.com/office/drawing/2014/main" id="{710A153D-DDD4-F7A5-2AE8-6AE138583A40}"/>
              </a:ext>
            </a:extLst>
          </p:cNvPr>
          <p:cNvSpPr/>
          <p:nvPr/>
        </p:nvSpPr>
        <p:spPr>
          <a:xfrm>
            <a:off x="7251998" y="3039983"/>
            <a:ext cx="327540" cy="327540"/>
          </a:xfrm>
          <a:prstGeom prst="star5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Arial" panose="020B0604020202020204" pitchFamily="34" charset="0"/>
            </a:endParaRPr>
          </a:p>
        </p:txBody>
      </p:sp>
      <p:sp>
        <p:nvSpPr>
          <p:cNvPr id="20" name="Star: 5 Points 19">
            <a:extLst>
              <a:ext uri="{FF2B5EF4-FFF2-40B4-BE49-F238E27FC236}">
                <a16:creationId xmlns:a16="http://schemas.microsoft.com/office/drawing/2014/main" id="{89836608-D782-2816-899A-2A71E03D5CA4}"/>
              </a:ext>
            </a:extLst>
          </p:cNvPr>
          <p:cNvSpPr/>
          <p:nvPr/>
        </p:nvSpPr>
        <p:spPr>
          <a:xfrm>
            <a:off x="4526400" y="4176426"/>
            <a:ext cx="327540" cy="327540"/>
          </a:xfrm>
          <a:prstGeom prst="star5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Star: 5 Points 20">
            <a:extLst>
              <a:ext uri="{FF2B5EF4-FFF2-40B4-BE49-F238E27FC236}">
                <a16:creationId xmlns:a16="http://schemas.microsoft.com/office/drawing/2014/main" id="{1E84B386-1FCA-C770-2088-85421C90BFE2}"/>
              </a:ext>
            </a:extLst>
          </p:cNvPr>
          <p:cNvSpPr/>
          <p:nvPr/>
        </p:nvSpPr>
        <p:spPr>
          <a:xfrm>
            <a:off x="7251998" y="4176426"/>
            <a:ext cx="327540" cy="327540"/>
          </a:xfrm>
          <a:prstGeom prst="star5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Arial" panose="020B0604020202020204" pitchFamily="34" charset="0"/>
            </a:endParaRPr>
          </a:p>
        </p:txBody>
      </p:sp>
      <p:sp>
        <p:nvSpPr>
          <p:cNvPr id="22" name="Star: 5 Points 21">
            <a:extLst>
              <a:ext uri="{FF2B5EF4-FFF2-40B4-BE49-F238E27FC236}">
                <a16:creationId xmlns:a16="http://schemas.microsoft.com/office/drawing/2014/main" id="{0462A057-17DA-0FD7-9A65-60FE6C1C7B3A}"/>
              </a:ext>
            </a:extLst>
          </p:cNvPr>
          <p:cNvSpPr/>
          <p:nvPr/>
        </p:nvSpPr>
        <p:spPr>
          <a:xfrm>
            <a:off x="6454260" y="4979273"/>
            <a:ext cx="327540" cy="327540"/>
          </a:xfrm>
          <a:prstGeom prst="star5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Arial" panose="020B0604020202020204" pitchFamily="34" charset="0"/>
            </a:endParaRPr>
          </a:p>
        </p:txBody>
      </p:sp>
      <p:sp>
        <p:nvSpPr>
          <p:cNvPr id="23" name="Star: 5 Points 22">
            <a:extLst>
              <a:ext uri="{FF2B5EF4-FFF2-40B4-BE49-F238E27FC236}">
                <a16:creationId xmlns:a16="http://schemas.microsoft.com/office/drawing/2014/main" id="{875D8258-00B5-065A-3C1F-9CF5250F09DE}"/>
              </a:ext>
            </a:extLst>
          </p:cNvPr>
          <p:cNvSpPr/>
          <p:nvPr/>
        </p:nvSpPr>
        <p:spPr>
          <a:xfrm>
            <a:off x="5341740" y="4979273"/>
            <a:ext cx="327540" cy="327540"/>
          </a:xfrm>
          <a:prstGeom prst="star5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6273991"/>
      </p:ext>
    </p:extLst>
  </p:cSld>
  <p:clrMapOvr>
    <a:masterClrMapping/>
  </p:clrMapOvr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5E6B44A-EABF-EEF4-468A-7292BAEECC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CEB6C4B-5522-AB24-428A-0E2A01A77BA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CEB6C4B-5522-AB24-428A-0E2A01A77B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C8D85B1-56AE-21AF-29A4-84E978DEAC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ircular Layou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B7D4CE-1220-86E5-3049-039BFB4FA0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18</a:t>
            </a:fld>
            <a:endParaRPr lang="en-US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217BA01A-EBB7-B113-6FEE-25077FA9DF44}"/>
              </a:ext>
            </a:extLst>
          </p:cNvPr>
          <p:cNvGrpSpPr/>
          <p:nvPr/>
        </p:nvGrpSpPr>
        <p:grpSpPr>
          <a:xfrm>
            <a:off x="3728705" y="1399548"/>
            <a:ext cx="4507992" cy="4517136"/>
            <a:chOff x="3728705" y="1399548"/>
            <a:chExt cx="4534695" cy="4511271"/>
          </a:xfrm>
          <a:solidFill>
            <a:schemeClr val="accent1"/>
          </a:solidFill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5AB89F63-4C0D-F94A-87F5-2FB6EC6F50EE}"/>
                </a:ext>
              </a:extLst>
            </p:cNvPr>
            <p:cNvSpPr>
              <a:spLocks/>
            </p:cNvSpPr>
            <p:nvPr/>
          </p:nvSpPr>
          <p:spPr>
            <a:xfrm>
              <a:off x="3728705" y="1399548"/>
              <a:ext cx="2244390" cy="4511271"/>
            </a:xfrm>
            <a:custGeom>
              <a:avLst/>
              <a:gdLst>
                <a:gd name="connsiteX0" fmla="*/ 2244390 w 2244390"/>
                <a:gd name="connsiteY0" fmla="*/ 0 h 4511271"/>
                <a:gd name="connsiteX1" fmla="*/ 2244390 w 2244390"/>
                <a:gd name="connsiteY1" fmla="*/ 1341400 h 4511271"/>
                <a:gd name="connsiteX2" fmla="*/ 2161071 w 2244390"/>
                <a:gd name="connsiteY2" fmla="*/ 1345610 h 4511271"/>
                <a:gd name="connsiteX3" fmla="*/ 1340439 w 2244390"/>
                <a:gd name="connsiteY3" fmla="*/ 2255635 h 4511271"/>
                <a:gd name="connsiteX4" fmla="*/ 2161071 w 2244390"/>
                <a:gd name="connsiteY4" fmla="*/ 3165661 h 4511271"/>
                <a:gd name="connsiteX5" fmla="*/ 2244390 w 2244390"/>
                <a:gd name="connsiteY5" fmla="*/ 3169871 h 4511271"/>
                <a:gd name="connsiteX6" fmla="*/ 2244390 w 2244390"/>
                <a:gd name="connsiteY6" fmla="*/ 4511271 h 4511271"/>
                <a:gd name="connsiteX7" fmla="*/ 2024019 w 2244390"/>
                <a:gd name="connsiteY7" fmla="*/ 4500135 h 4511271"/>
                <a:gd name="connsiteX8" fmla="*/ 0 w 2244390"/>
                <a:gd name="connsiteY8" fmla="*/ 2255635 h 4511271"/>
                <a:gd name="connsiteX9" fmla="*/ 2024019 w 2244390"/>
                <a:gd name="connsiteY9" fmla="*/ 11135 h 4511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44390" h="4511271">
                  <a:moveTo>
                    <a:pt x="2244390" y="0"/>
                  </a:moveTo>
                  <a:lnTo>
                    <a:pt x="2244390" y="1341400"/>
                  </a:lnTo>
                  <a:lnTo>
                    <a:pt x="2161071" y="1345610"/>
                  </a:lnTo>
                  <a:cubicBezTo>
                    <a:pt x="1700134" y="1392454"/>
                    <a:pt x="1340439" y="1782009"/>
                    <a:pt x="1340439" y="2255635"/>
                  </a:cubicBezTo>
                  <a:cubicBezTo>
                    <a:pt x="1340439" y="2729261"/>
                    <a:pt x="1700134" y="3118816"/>
                    <a:pt x="2161071" y="3165661"/>
                  </a:cubicBezTo>
                  <a:lnTo>
                    <a:pt x="2244390" y="3169871"/>
                  </a:lnTo>
                  <a:lnTo>
                    <a:pt x="2244390" y="4511271"/>
                  </a:lnTo>
                  <a:lnTo>
                    <a:pt x="2024019" y="4500135"/>
                  </a:lnTo>
                  <a:cubicBezTo>
                    <a:pt x="887158" y="4384598"/>
                    <a:pt x="0" y="3423794"/>
                    <a:pt x="0" y="2255635"/>
                  </a:cubicBezTo>
                  <a:cubicBezTo>
                    <a:pt x="0" y="1087476"/>
                    <a:pt x="887158" y="126673"/>
                    <a:pt x="2024019" y="11135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DE06062D-F8E9-B09F-3317-A664C95D4161}"/>
                </a:ext>
              </a:extLst>
            </p:cNvPr>
            <p:cNvSpPr>
              <a:spLocks/>
            </p:cNvSpPr>
            <p:nvPr/>
          </p:nvSpPr>
          <p:spPr>
            <a:xfrm flipH="1">
              <a:off x="6019010" y="1399548"/>
              <a:ext cx="2244390" cy="4511271"/>
            </a:xfrm>
            <a:custGeom>
              <a:avLst/>
              <a:gdLst>
                <a:gd name="connsiteX0" fmla="*/ 2244390 w 2244390"/>
                <a:gd name="connsiteY0" fmla="*/ 0 h 4511271"/>
                <a:gd name="connsiteX1" fmla="*/ 2244390 w 2244390"/>
                <a:gd name="connsiteY1" fmla="*/ 1341400 h 4511271"/>
                <a:gd name="connsiteX2" fmla="*/ 2161071 w 2244390"/>
                <a:gd name="connsiteY2" fmla="*/ 1345610 h 4511271"/>
                <a:gd name="connsiteX3" fmla="*/ 1340439 w 2244390"/>
                <a:gd name="connsiteY3" fmla="*/ 2255635 h 4511271"/>
                <a:gd name="connsiteX4" fmla="*/ 2161071 w 2244390"/>
                <a:gd name="connsiteY4" fmla="*/ 3165661 h 4511271"/>
                <a:gd name="connsiteX5" fmla="*/ 2244390 w 2244390"/>
                <a:gd name="connsiteY5" fmla="*/ 3169871 h 4511271"/>
                <a:gd name="connsiteX6" fmla="*/ 2244390 w 2244390"/>
                <a:gd name="connsiteY6" fmla="*/ 4511271 h 4511271"/>
                <a:gd name="connsiteX7" fmla="*/ 2024019 w 2244390"/>
                <a:gd name="connsiteY7" fmla="*/ 4500135 h 4511271"/>
                <a:gd name="connsiteX8" fmla="*/ 0 w 2244390"/>
                <a:gd name="connsiteY8" fmla="*/ 2255635 h 4511271"/>
                <a:gd name="connsiteX9" fmla="*/ 2024019 w 2244390"/>
                <a:gd name="connsiteY9" fmla="*/ 11135 h 4511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44390" h="4511271">
                  <a:moveTo>
                    <a:pt x="2244390" y="0"/>
                  </a:moveTo>
                  <a:lnTo>
                    <a:pt x="2244390" y="1341400"/>
                  </a:lnTo>
                  <a:lnTo>
                    <a:pt x="2161071" y="1345610"/>
                  </a:lnTo>
                  <a:cubicBezTo>
                    <a:pt x="1700134" y="1392454"/>
                    <a:pt x="1340439" y="1782009"/>
                    <a:pt x="1340439" y="2255635"/>
                  </a:cubicBezTo>
                  <a:cubicBezTo>
                    <a:pt x="1340439" y="2729261"/>
                    <a:pt x="1700134" y="3118816"/>
                    <a:pt x="2161071" y="3165661"/>
                  </a:cubicBezTo>
                  <a:lnTo>
                    <a:pt x="2244390" y="3169871"/>
                  </a:lnTo>
                  <a:lnTo>
                    <a:pt x="2244390" y="4511271"/>
                  </a:lnTo>
                  <a:lnTo>
                    <a:pt x="2024019" y="4500135"/>
                  </a:lnTo>
                  <a:cubicBezTo>
                    <a:pt x="887158" y="4384598"/>
                    <a:pt x="0" y="3423794"/>
                    <a:pt x="0" y="2255635"/>
                  </a:cubicBezTo>
                  <a:cubicBezTo>
                    <a:pt x="0" y="1087476"/>
                    <a:pt x="887158" y="126673"/>
                    <a:pt x="2024019" y="11135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9" name="Oval 8">
            <a:extLst>
              <a:ext uri="{FF2B5EF4-FFF2-40B4-BE49-F238E27FC236}">
                <a16:creationId xmlns:a16="http://schemas.microsoft.com/office/drawing/2014/main" id="{88DA52C7-EDCA-CB3B-3991-C3C59981C3E4}"/>
              </a:ext>
            </a:extLst>
          </p:cNvPr>
          <p:cNvSpPr/>
          <p:nvPr/>
        </p:nvSpPr>
        <p:spPr>
          <a:xfrm>
            <a:off x="7723247" y="2998155"/>
            <a:ext cx="972334" cy="972334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1"/>
          <a:lstStyle/>
          <a:p>
            <a:pPr algn="ctr"/>
            <a:r>
              <a:rPr lang="en-IN" sz="2000" dirty="0">
                <a:solidFill>
                  <a:schemeClr val="tx1"/>
                </a:solidFill>
              </a:rPr>
              <a:t>Insert </a:t>
            </a:r>
            <a:br>
              <a:rPr lang="en-IN" sz="2000" dirty="0">
                <a:solidFill>
                  <a:schemeClr val="tx1"/>
                </a:solidFill>
              </a:rPr>
            </a:br>
            <a:r>
              <a:rPr lang="en-IN" sz="2000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EA8D4625-0EF2-64D9-4505-B6E229B01EBE}"/>
              </a:ext>
            </a:extLst>
          </p:cNvPr>
          <p:cNvSpPr/>
          <p:nvPr/>
        </p:nvSpPr>
        <p:spPr>
          <a:xfrm>
            <a:off x="3303647" y="2998155"/>
            <a:ext cx="972334" cy="972334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1"/>
          <a:lstStyle/>
          <a:p>
            <a:pPr algn="ctr"/>
            <a:r>
              <a:rPr lang="en-IN" sz="2000" dirty="0">
                <a:solidFill>
                  <a:schemeClr val="tx1"/>
                </a:solidFill>
              </a:rPr>
              <a:t>Insert </a:t>
            </a:r>
            <a:br>
              <a:rPr lang="en-IN" sz="2000" dirty="0">
                <a:solidFill>
                  <a:schemeClr val="tx1"/>
                </a:solidFill>
              </a:rPr>
            </a:br>
            <a:r>
              <a:rPr lang="en-IN" sz="2000" dirty="0">
                <a:solidFill>
                  <a:schemeClr val="tx1"/>
                </a:solidFill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271343363"/>
      </p:ext>
    </p:extLst>
  </p:cSld>
  <p:clrMapOvr>
    <a:masterClrMapping/>
  </p:clrMapOvr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0E52A38-C038-D184-C950-9BED451220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132FB2F9-AC7F-CC4C-1E0B-B524A617B48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2FB2F9-AC7F-CC4C-1E0B-B524A617B4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6527F61-E03B-FFB7-60C9-6B3D1CB567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ircular Layou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FFC136-C1CC-4F11-F58D-6863826978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19</a:t>
            </a:fld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5974C89E-26D6-2F05-2890-B0235E02A146}"/>
              </a:ext>
            </a:extLst>
          </p:cNvPr>
          <p:cNvGrpSpPr/>
          <p:nvPr/>
        </p:nvGrpSpPr>
        <p:grpSpPr>
          <a:xfrm>
            <a:off x="3728705" y="1399548"/>
            <a:ext cx="4509062" cy="4512296"/>
            <a:chOff x="3728705" y="1399548"/>
            <a:chExt cx="4509062" cy="4512296"/>
          </a:xfrm>
          <a:solidFill>
            <a:schemeClr val="accent1"/>
          </a:solidFill>
        </p:grpSpPr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E3B78BC1-9251-AEE4-F086-CCE7DB609549}"/>
                </a:ext>
              </a:extLst>
            </p:cNvPr>
            <p:cNvSpPr>
              <a:spLocks/>
            </p:cNvSpPr>
            <p:nvPr/>
          </p:nvSpPr>
          <p:spPr>
            <a:xfrm>
              <a:off x="3728705" y="1399548"/>
              <a:ext cx="4509062" cy="2271955"/>
            </a:xfrm>
            <a:custGeom>
              <a:avLst/>
              <a:gdLst>
                <a:gd name="connsiteX0" fmla="*/ 2254531 w 4509062"/>
                <a:gd name="connsiteY0" fmla="*/ 0 h 2271955"/>
                <a:gd name="connsiteX1" fmla="*/ 4509062 w 4509062"/>
                <a:gd name="connsiteY1" fmla="*/ 2256148 h 2271955"/>
                <a:gd name="connsiteX2" fmla="*/ 4508265 w 4509062"/>
                <a:gd name="connsiteY2" fmla="*/ 2271955 h 2271955"/>
                <a:gd name="connsiteX3" fmla="*/ 3167826 w 4509062"/>
                <a:gd name="connsiteY3" fmla="*/ 2271955 h 2271955"/>
                <a:gd name="connsiteX4" fmla="*/ 3168623 w 4509062"/>
                <a:gd name="connsiteY4" fmla="*/ 2256148 h 2271955"/>
                <a:gd name="connsiteX5" fmla="*/ 2254531 w 4509062"/>
                <a:gd name="connsiteY5" fmla="*/ 1341400 h 2271955"/>
                <a:gd name="connsiteX6" fmla="*/ 1340439 w 4509062"/>
                <a:gd name="connsiteY6" fmla="*/ 2256148 h 2271955"/>
                <a:gd name="connsiteX7" fmla="*/ 1341237 w 4509062"/>
                <a:gd name="connsiteY7" fmla="*/ 2271955 h 2271955"/>
                <a:gd name="connsiteX8" fmla="*/ 798 w 4509062"/>
                <a:gd name="connsiteY8" fmla="*/ 2271955 h 2271955"/>
                <a:gd name="connsiteX9" fmla="*/ 0 w 4509062"/>
                <a:gd name="connsiteY9" fmla="*/ 2256148 h 2271955"/>
                <a:gd name="connsiteX10" fmla="*/ 2254531 w 4509062"/>
                <a:gd name="connsiteY10" fmla="*/ 0 h 2271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09062" h="2271955">
                  <a:moveTo>
                    <a:pt x="2254531" y="0"/>
                  </a:moveTo>
                  <a:cubicBezTo>
                    <a:pt x="3499674" y="0"/>
                    <a:pt x="4509062" y="1010112"/>
                    <a:pt x="4509062" y="2256148"/>
                  </a:cubicBezTo>
                  <a:lnTo>
                    <a:pt x="4508265" y="2271955"/>
                  </a:lnTo>
                  <a:lnTo>
                    <a:pt x="3167826" y="2271955"/>
                  </a:lnTo>
                  <a:lnTo>
                    <a:pt x="3168623" y="2256148"/>
                  </a:lnTo>
                  <a:cubicBezTo>
                    <a:pt x="3168623" y="1750947"/>
                    <a:pt x="2759370" y="1341400"/>
                    <a:pt x="2254531" y="1341400"/>
                  </a:cubicBezTo>
                  <a:cubicBezTo>
                    <a:pt x="1749692" y="1341400"/>
                    <a:pt x="1340439" y="1750947"/>
                    <a:pt x="1340439" y="2256148"/>
                  </a:cubicBezTo>
                  <a:lnTo>
                    <a:pt x="1341237" y="2271955"/>
                  </a:lnTo>
                  <a:lnTo>
                    <a:pt x="798" y="2271955"/>
                  </a:lnTo>
                  <a:lnTo>
                    <a:pt x="0" y="2256148"/>
                  </a:lnTo>
                  <a:cubicBezTo>
                    <a:pt x="0" y="1010112"/>
                    <a:pt x="1009388" y="0"/>
                    <a:pt x="2254531" y="0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3FD452ED-2919-7B3D-AB8B-8C1D0E484A41}"/>
                </a:ext>
              </a:extLst>
            </p:cNvPr>
            <p:cNvSpPr>
              <a:spLocks/>
            </p:cNvSpPr>
            <p:nvPr/>
          </p:nvSpPr>
          <p:spPr>
            <a:xfrm>
              <a:off x="3730334" y="3687949"/>
              <a:ext cx="2213277" cy="2221893"/>
            </a:xfrm>
            <a:custGeom>
              <a:avLst/>
              <a:gdLst>
                <a:gd name="connsiteX0" fmla="*/ 0 w 2213277"/>
                <a:gd name="connsiteY0" fmla="*/ 0 h 2221893"/>
                <a:gd name="connsiteX1" fmla="*/ 1340439 w 2213277"/>
                <a:gd name="connsiteY1" fmla="*/ 0 h 2221893"/>
                <a:gd name="connsiteX2" fmla="*/ 1343530 w 2213277"/>
                <a:gd name="connsiteY2" fmla="*/ 61275 h 2221893"/>
                <a:gd name="connsiteX3" fmla="*/ 2159442 w 2213277"/>
                <a:gd name="connsiteY3" fmla="*/ 877772 h 2221893"/>
                <a:gd name="connsiteX4" fmla="*/ 2213277 w 2213277"/>
                <a:gd name="connsiteY4" fmla="*/ 880493 h 2221893"/>
                <a:gd name="connsiteX5" fmla="*/ 2213277 w 2213277"/>
                <a:gd name="connsiteY5" fmla="*/ 2221893 h 2221893"/>
                <a:gd name="connsiteX6" fmla="*/ 2022390 w 2213277"/>
                <a:gd name="connsiteY6" fmla="*/ 2212247 h 2221893"/>
                <a:gd name="connsiteX7" fmla="*/ 10012 w 2213277"/>
                <a:gd name="connsiteY7" fmla="*/ 198425 h 2221893"/>
                <a:gd name="connsiteX8" fmla="*/ 0 w 2213277"/>
                <a:gd name="connsiteY8" fmla="*/ 0 h 22218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13277" h="2221893">
                  <a:moveTo>
                    <a:pt x="0" y="0"/>
                  </a:moveTo>
                  <a:lnTo>
                    <a:pt x="1340439" y="0"/>
                  </a:lnTo>
                  <a:lnTo>
                    <a:pt x="1343530" y="61275"/>
                  </a:lnTo>
                  <a:cubicBezTo>
                    <a:pt x="1387221" y="491791"/>
                    <a:pt x="1729235" y="834051"/>
                    <a:pt x="2159442" y="877772"/>
                  </a:cubicBezTo>
                  <a:lnTo>
                    <a:pt x="2213277" y="880493"/>
                  </a:lnTo>
                  <a:lnTo>
                    <a:pt x="2213277" y="2221893"/>
                  </a:lnTo>
                  <a:lnTo>
                    <a:pt x="2022390" y="2212247"/>
                  </a:lnTo>
                  <a:cubicBezTo>
                    <a:pt x="961320" y="2104412"/>
                    <a:pt x="117770" y="1260256"/>
                    <a:pt x="10012" y="198425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447C1EC0-3FDA-AF5F-9F6B-905CEC7C159E}"/>
                </a:ext>
              </a:extLst>
            </p:cNvPr>
            <p:cNvSpPr>
              <a:spLocks/>
            </p:cNvSpPr>
            <p:nvPr/>
          </p:nvSpPr>
          <p:spPr>
            <a:xfrm>
              <a:off x="5960056" y="3687949"/>
              <a:ext cx="2276084" cy="2223895"/>
            </a:xfrm>
            <a:custGeom>
              <a:avLst/>
              <a:gdLst>
                <a:gd name="connsiteX0" fmla="*/ 935645 w 2276084"/>
                <a:gd name="connsiteY0" fmla="*/ 0 h 2223895"/>
                <a:gd name="connsiteX1" fmla="*/ 2276084 w 2276084"/>
                <a:gd name="connsiteY1" fmla="*/ 0 h 2223895"/>
                <a:gd name="connsiteX2" fmla="*/ 2266071 w 2276084"/>
                <a:gd name="connsiteY2" fmla="*/ 198425 h 2223895"/>
                <a:gd name="connsiteX3" fmla="*/ 23180 w 2276084"/>
                <a:gd name="connsiteY3" fmla="*/ 2223895 h 2223895"/>
                <a:gd name="connsiteX4" fmla="*/ 0 w 2276084"/>
                <a:gd name="connsiteY4" fmla="*/ 2222724 h 2223895"/>
                <a:gd name="connsiteX5" fmla="*/ 0 w 2276084"/>
                <a:gd name="connsiteY5" fmla="*/ 881324 h 2223895"/>
                <a:gd name="connsiteX6" fmla="*/ 23180 w 2276084"/>
                <a:gd name="connsiteY6" fmla="*/ 882495 h 2223895"/>
                <a:gd name="connsiteX7" fmla="*/ 932553 w 2276084"/>
                <a:gd name="connsiteY7" fmla="*/ 61275 h 2223895"/>
                <a:gd name="connsiteX8" fmla="*/ 935645 w 2276084"/>
                <a:gd name="connsiteY8" fmla="*/ 0 h 2223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76084" h="2223895">
                  <a:moveTo>
                    <a:pt x="935645" y="0"/>
                  </a:moveTo>
                  <a:lnTo>
                    <a:pt x="2276084" y="0"/>
                  </a:lnTo>
                  <a:lnTo>
                    <a:pt x="2266071" y="198425"/>
                  </a:lnTo>
                  <a:cubicBezTo>
                    <a:pt x="2150617" y="1336101"/>
                    <a:pt x="1190502" y="2223895"/>
                    <a:pt x="23180" y="2223895"/>
                  </a:cubicBezTo>
                  <a:lnTo>
                    <a:pt x="0" y="2222724"/>
                  </a:lnTo>
                  <a:lnTo>
                    <a:pt x="0" y="881324"/>
                  </a:lnTo>
                  <a:lnTo>
                    <a:pt x="23180" y="882495"/>
                  </a:lnTo>
                  <a:cubicBezTo>
                    <a:pt x="496467" y="882495"/>
                    <a:pt x="885742" y="522542"/>
                    <a:pt x="932553" y="61275"/>
                  </a:cubicBezTo>
                  <a:lnTo>
                    <a:pt x="935645" y="0"/>
                  </a:ln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0" name="Oval 9">
            <a:extLst>
              <a:ext uri="{FF2B5EF4-FFF2-40B4-BE49-F238E27FC236}">
                <a16:creationId xmlns:a16="http://schemas.microsoft.com/office/drawing/2014/main" id="{CE557C5F-A79E-5C8E-BECE-48999D81655E}"/>
              </a:ext>
            </a:extLst>
          </p:cNvPr>
          <p:cNvSpPr/>
          <p:nvPr/>
        </p:nvSpPr>
        <p:spPr>
          <a:xfrm>
            <a:off x="7113647" y="4865055"/>
            <a:ext cx="972334" cy="972334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1"/>
          <a:lstStyle/>
          <a:p>
            <a:pPr algn="ctr"/>
            <a:r>
              <a:rPr lang="en-IN" sz="2000" dirty="0">
                <a:solidFill>
                  <a:schemeClr val="tx1"/>
                </a:solidFill>
              </a:rPr>
              <a:t>Insert </a:t>
            </a:r>
            <a:br>
              <a:rPr lang="en-IN" sz="2000" dirty="0">
                <a:solidFill>
                  <a:schemeClr val="tx1"/>
                </a:solidFill>
              </a:rPr>
            </a:br>
            <a:r>
              <a:rPr lang="en-IN" sz="2000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31140415-B439-21AD-4998-56A20D8ACA99}"/>
              </a:ext>
            </a:extLst>
          </p:cNvPr>
          <p:cNvSpPr/>
          <p:nvPr/>
        </p:nvSpPr>
        <p:spPr>
          <a:xfrm>
            <a:off x="3856097" y="4865055"/>
            <a:ext cx="972334" cy="972334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1"/>
          <a:lstStyle/>
          <a:p>
            <a:pPr algn="ctr"/>
            <a:r>
              <a:rPr lang="en-IN" sz="2000" dirty="0">
                <a:solidFill>
                  <a:schemeClr val="tx1"/>
                </a:solidFill>
              </a:rPr>
              <a:t>Insert </a:t>
            </a:r>
            <a:br>
              <a:rPr lang="en-IN" sz="2000" dirty="0">
                <a:solidFill>
                  <a:schemeClr val="tx1"/>
                </a:solidFill>
              </a:rPr>
            </a:br>
            <a:r>
              <a:rPr lang="en-IN" sz="2000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48B4CB22-EA21-47FC-FF1A-B9B468D5B041}"/>
              </a:ext>
            </a:extLst>
          </p:cNvPr>
          <p:cNvSpPr/>
          <p:nvPr/>
        </p:nvSpPr>
        <p:spPr>
          <a:xfrm>
            <a:off x="5551547" y="1093155"/>
            <a:ext cx="972334" cy="972334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1"/>
          <a:lstStyle/>
          <a:p>
            <a:pPr algn="ctr"/>
            <a:r>
              <a:rPr lang="en-IN" sz="2000" dirty="0">
                <a:solidFill>
                  <a:schemeClr val="tx1"/>
                </a:solidFill>
              </a:rPr>
              <a:t>Insert </a:t>
            </a:r>
            <a:br>
              <a:rPr lang="en-IN" sz="2000" dirty="0">
                <a:solidFill>
                  <a:schemeClr val="tx1"/>
                </a:solidFill>
              </a:rPr>
            </a:br>
            <a:r>
              <a:rPr lang="en-IN" sz="2000" dirty="0">
                <a:solidFill>
                  <a:schemeClr val="tx1"/>
                </a:solidFill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76815792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8E731B-7D3A-44C3-A629-5767F846AE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think-cell data - do not delete" hidden="1">
            <a:extLst>
              <a:ext uri="{FF2B5EF4-FFF2-40B4-BE49-F238E27FC236}">
                <a16:creationId xmlns:a16="http://schemas.microsoft.com/office/drawing/2014/main" id="{DC7EF6B5-6345-F368-E2C0-32FDCAB544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E6B0914-72DC-8A61-488F-6CBFDBEFAB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14FE9E0-9FD9-6AB1-2E5F-7E1A324B00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x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92F4926-C79C-021C-604C-8477B75EA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2</a:t>
            </a:fld>
            <a:endParaRPr lang="en-US" dirty="0"/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B337F4E3-CF52-8897-8137-532C76A3C233}"/>
              </a:ext>
            </a:extLst>
          </p:cNvPr>
          <p:cNvGrpSpPr/>
          <p:nvPr/>
        </p:nvGrpSpPr>
        <p:grpSpPr>
          <a:xfrm>
            <a:off x="550862" y="1219200"/>
            <a:ext cx="11053761" cy="531024"/>
            <a:chOff x="550862" y="1219200"/>
            <a:chExt cx="11053761" cy="531024"/>
          </a:xfrm>
        </p:grpSpPr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41B8064F-5CF0-C6C1-BAAE-75208940451A}"/>
                </a:ext>
              </a:extLst>
            </p:cNvPr>
            <p:cNvSpPr/>
            <p:nvPr/>
          </p:nvSpPr>
          <p:spPr>
            <a:xfrm>
              <a:off x="550862" y="1219200"/>
              <a:ext cx="10272648" cy="5310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IN" sz="2000" b="1" dirty="0">
                  <a:cs typeface="Arial" panose="020B0604020202020204" pitchFamily="34" charset="0"/>
                </a:rPr>
                <a:t>Title</a:t>
              </a: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B9CEE5F4-389A-722B-1CFB-CA3527117465}"/>
                </a:ext>
              </a:extLst>
            </p:cNvPr>
            <p:cNvSpPr/>
            <p:nvPr/>
          </p:nvSpPr>
          <p:spPr>
            <a:xfrm>
              <a:off x="10870163" y="1219200"/>
              <a:ext cx="734460" cy="53102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400" dirty="0">
                <a:cs typeface="Arial" panose="020B0604020202020204" pitchFamily="34" charset="0"/>
              </a:endParaRP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C022D480-1B79-2290-46EA-2A587DDF5BF7}"/>
              </a:ext>
            </a:extLst>
          </p:cNvPr>
          <p:cNvGrpSpPr/>
          <p:nvPr/>
        </p:nvGrpSpPr>
        <p:grpSpPr>
          <a:xfrm>
            <a:off x="550862" y="1891978"/>
            <a:ext cx="10199938" cy="450617"/>
            <a:chOff x="550862" y="1929933"/>
            <a:chExt cx="10199938" cy="450617"/>
          </a:xfrm>
        </p:grpSpPr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AC2E490D-738A-709A-71AC-EEFA9BD6647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50862" y="1950146"/>
              <a:ext cx="410191" cy="410191"/>
            </a:xfrm>
            <a:custGeom>
              <a:avLst/>
              <a:gdLst>
                <a:gd name="connsiteX0" fmla="*/ 824865 w 905827"/>
                <a:gd name="connsiteY0" fmla="*/ 0 h 905827"/>
                <a:gd name="connsiteX1" fmla="*/ 80010 w 905827"/>
                <a:gd name="connsiteY1" fmla="*/ 0 h 905827"/>
                <a:gd name="connsiteX2" fmla="*/ 0 w 905827"/>
                <a:gd name="connsiteY2" fmla="*/ 80010 h 905827"/>
                <a:gd name="connsiteX3" fmla="*/ 0 w 905827"/>
                <a:gd name="connsiteY3" fmla="*/ 825818 h 905827"/>
                <a:gd name="connsiteX4" fmla="*/ 80010 w 905827"/>
                <a:gd name="connsiteY4" fmla="*/ 905828 h 905827"/>
                <a:gd name="connsiteX5" fmla="*/ 825818 w 905827"/>
                <a:gd name="connsiteY5" fmla="*/ 905828 h 905827"/>
                <a:gd name="connsiteX6" fmla="*/ 905828 w 905827"/>
                <a:gd name="connsiteY6" fmla="*/ 825818 h 905827"/>
                <a:gd name="connsiteX7" fmla="*/ 905828 w 905827"/>
                <a:gd name="connsiteY7" fmla="*/ 80010 h 905827"/>
                <a:gd name="connsiteX8" fmla="*/ 824865 w 905827"/>
                <a:gd name="connsiteY8" fmla="*/ 0 h 905827"/>
                <a:gd name="connsiteX9" fmla="*/ 692468 w 905827"/>
                <a:gd name="connsiteY9" fmla="*/ 463868 h 905827"/>
                <a:gd name="connsiteX10" fmla="*/ 511493 w 905827"/>
                <a:gd name="connsiteY10" fmla="*/ 644843 h 905827"/>
                <a:gd name="connsiteX11" fmla="*/ 488633 w 905827"/>
                <a:gd name="connsiteY11" fmla="*/ 644843 h 905827"/>
                <a:gd name="connsiteX12" fmla="*/ 454343 w 905827"/>
                <a:gd name="connsiteY12" fmla="*/ 610553 h 905827"/>
                <a:gd name="connsiteX13" fmla="*/ 454343 w 905827"/>
                <a:gd name="connsiteY13" fmla="*/ 587693 h 905827"/>
                <a:gd name="connsiteX14" fmla="*/ 549593 w 905827"/>
                <a:gd name="connsiteY14" fmla="*/ 492443 h 905827"/>
                <a:gd name="connsiteX15" fmla="*/ 216218 w 905827"/>
                <a:gd name="connsiteY15" fmla="*/ 492443 h 905827"/>
                <a:gd name="connsiteX16" fmla="*/ 200025 w 905827"/>
                <a:gd name="connsiteY16" fmla="*/ 476250 h 905827"/>
                <a:gd name="connsiteX17" fmla="*/ 200025 w 905827"/>
                <a:gd name="connsiteY17" fmla="*/ 428625 h 905827"/>
                <a:gd name="connsiteX18" fmla="*/ 216218 w 905827"/>
                <a:gd name="connsiteY18" fmla="*/ 412433 h 905827"/>
                <a:gd name="connsiteX19" fmla="*/ 549593 w 905827"/>
                <a:gd name="connsiteY19" fmla="*/ 412433 h 905827"/>
                <a:gd name="connsiteX20" fmla="*/ 454343 w 905827"/>
                <a:gd name="connsiteY20" fmla="*/ 317183 h 905827"/>
                <a:gd name="connsiteX21" fmla="*/ 454343 w 905827"/>
                <a:gd name="connsiteY21" fmla="*/ 294323 h 905827"/>
                <a:gd name="connsiteX22" fmla="*/ 488633 w 905827"/>
                <a:gd name="connsiteY22" fmla="*/ 260033 h 905827"/>
                <a:gd name="connsiteX23" fmla="*/ 511493 w 905827"/>
                <a:gd name="connsiteY23" fmla="*/ 260033 h 905827"/>
                <a:gd name="connsiteX24" fmla="*/ 692468 w 905827"/>
                <a:gd name="connsiteY24" fmla="*/ 441008 h 905827"/>
                <a:gd name="connsiteX25" fmla="*/ 692468 w 905827"/>
                <a:gd name="connsiteY25" fmla="*/ 463868 h 905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905827" h="905827">
                  <a:moveTo>
                    <a:pt x="824865" y="0"/>
                  </a:moveTo>
                  <a:lnTo>
                    <a:pt x="80010" y="0"/>
                  </a:lnTo>
                  <a:cubicBezTo>
                    <a:pt x="36195" y="0"/>
                    <a:pt x="0" y="35243"/>
                    <a:pt x="0" y="80010"/>
                  </a:cubicBezTo>
                  <a:lnTo>
                    <a:pt x="0" y="825818"/>
                  </a:lnTo>
                  <a:cubicBezTo>
                    <a:pt x="0" y="869633"/>
                    <a:pt x="35243" y="905828"/>
                    <a:pt x="80010" y="905828"/>
                  </a:cubicBezTo>
                  <a:lnTo>
                    <a:pt x="825818" y="905828"/>
                  </a:lnTo>
                  <a:cubicBezTo>
                    <a:pt x="869633" y="905828"/>
                    <a:pt x="905828" y="870585"/>
                    <a:pt x="905828" y="825818"/>
                  </a:cubicBezTo>
                  <a:lnTo>
                    <a:pt x="905828" y="80010"/>
                  </a:lnTo>
                  <a:cubicBezTo>
                    <a:pt x="904875" y="35243"/>
                    <a:pt x="869633" y="0"/>
                    <a:pt x="824865" y="0"/>
                  </a:cubicBezTo>
                  <a:close/>
                  <a:moveTo>
                    <a:pt x="692468" y="463868"/>
                  </a:moveTo>
                  <a:lnTo>
                    <a:pt x="511493" y="644843"/>
                  </a:lnTo>
                  <a:cubicBezTo>
                    <a:pt x="504825" y="651510"/>
                    <a:pt x="495300" y="651510"/>
                    <a:pt x="488633" y="644843"/>
                  </a:cubicBezTo>
                  <a:lnTo>
                    <a:pt x="454343" y="610553"/>
                  </a:lnTo>
                  <a:cubicBezTo>
                    <a:pt x="447675" y="603885"/>
                    <a:pt x="447675" y="594360"/>
                    <a:pt x="454343" y="587693"/>
                  </a:cubicBezTo>
                  <a:lnTo>
                    <a:pt x="549593" y="492443"/>
                  </a:lnTo>
                  <a:lnTo>
                    <a:pt x="216218" y="492443"/>
                  </a:lnTo>
                  <a:cubicBezTo>
                    <a:pt x="207645" y="492443"/>
                    <a:pt x="200025" y="485775"/>
                    <a:pt x="200025" y="476250"/>
                  </a:cubicBezTo>
                  <a:lnTo>
                    <a:pt x="200025" y="428625"/>
                  </a:lnTo>
                  <a:cubicBezTo>
                    <a:pt x="200025" y="420053"/>
                    <a:pt x="206693" y="412433"/>
                    <a:pt x="216218" y="412433"/>
                  </a:cubicBezTo>
                  <a:lnTo>
                    <a:pt x="549593" y="412433"/>
                  </a:lnTo>
                  <a:lnTo>
                    <a:pt x="454343" y="317183"/>
                  </a:lnTo>
                  <a:cubicBezTo>
                    <a:pt x="447675" y="310515"/>
                    <a:pt x="447675" y="300990"/>
                    <a:pt x="454343" y="294323"/>
                  </a:cubicBezTo>
                  <a:lnTo>
                    <a:pt x="488633" y="260033"/>
                  </a:lnTo>
                  <a:cubicBezTo>
                    <a:pt x="495300" y="253365"/>
                    <a:pt x="504825" y="253365"/>
                    <a:pt x="511493" y="260033"/>
                  </a:cubicBezTo>
                  <a:lnTo>
                    <a:pt x="692468" y="441008"/>
                  </a:lnTo>
                  <a:cubicBezTo>
                    <a:pt x="698183" y="447675"/>
                    <a:pt x="698183" y="457200"/>
                    <a:pt x="692468" y="463868"/>
                  </a:cubicBez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dirty="0"/>
            </a:p>
          </p:txBody>
        </p:sp>
        <p:sp>
          <p:nvSpPr>
            <p:cNvPr id="45" name="Text Placeholder 3">
              <a:extLst>
                <a:ext uri="{FF2B5EF4-FFF2-40B4-BE49-F238E27FC236}">
                  <a16:creationId xmlns:a16="http://schemas.microsoft.com/office/drawing/2014/main" id="{B7892536-8969-66CA-2AA4-DBCAD7EF34C6}"/>
                </a:ext>
              </a:extLst>
            </p:cNvPr>
            <p:cNvSpPr txBox="1">
              <a:spLocks/>
            </p:cNvSpPr>
            <p:nvPr/>
          </p:nvSpPr>
          <p:spPr>
            <a:xfrm>
              <a:off x="1066800" y="1929933"/>
              <a:ext cx="9684000" cy="450617"/>
            </a:xfrm>
            <a:prstGeom prst="rect">
              <a:avLst/>
            </a:prstGeom>
          </p:spPr>
          <p:txBody>
            <a:bodyPr wrap="square" anchor="ctr">
              <a:noAutofit/>
            </a:bodyPr>
            <a:lstStyle>
              <a:lvl1pPr marL="0" indent="0" algn="l" defTabSz="548640" rtl="0" eaLnBrk="1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600"/>
                </a:spcAft>
                <a:buClr>
                  <a:srgbClr val="00ADCA"/>
                </a:buClr>
                <a:buFont typeface="Arial"/>
                <a:buNone/>
                <a:defRPr lang="en-US" sz="3200" b="1" kern="1200" cap="none" baseline="0" dirty="0" smtClean="0">
                  <a:solidFill>
                    <a:schemeClr val="accent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352425" indent="-323850" algn="l" defTabSz="548640" rtl="0" eaLnBrk="1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600"/>
                </a:spcAft>
                <a:buClr>
                  <a:schemeClr val="accent1"/>
                </a:buClr>
                <a:buSzPct val="100000"/>
                <a:buFont typeface="Arial" charset="0"/>
                <a:buChar char="•"/>
                <a:tabLst/>
                <a:defRPr sz="3200" kern="120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973138" indent="-309563" algn="l" defTabSz="54864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Font typeface="Wingdings" charset="2"/>
                <a:buChar char="§"/>
                <a:tabLst/>
                <a:defRPr sz="3200" kern="120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547813" indent="-382588" algn="l" defTabSz="54864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Font typeface="Arial"/>
                <a:buChar char="–"/>
                <a:tabLst/>
                <a:defRPr sz="3200" kern="120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290763" indent="-371475" algn="l" defTabSz="54864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Font typeface=".AppleSystemUIFont" charset="-120"/>
                <a:buChar char="-"/>
                <a:tabLst/>
                <a:defRPr sz="3200" kern="120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3017520" indent="-274320" algn="l" defTabSz="548640" rtl="0" eaLnBrk="1" latinLnBrk="0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566160" indent="-274320" algn="l" defTabSz="548640" rtl="0" eaLnBrk="1" latinLnBrk="0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114800" indent="-274320" algn="l" defTabSz="548640" rtl="0" eaLnBrk="1" latinLnBrk="0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63440" indent="-274320" algn="l" defTabSz="548640" rtl="0" eaLnBrk="1" latinLnBrk="0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0000"/>
                </a:lnSpc>
                <a:spcBef>
                  <a:spcPts val="1167"/>
                </a:spcBef>
                <a:spcAft>
                  <a:spcPts val="0"/>
                </a:spcAft>
                <a:buClr>
                  <a:srgbClr val="00B050"/>
                </a:buClr>
              </a:pPr>
              <a:r>
                <a:rPr lang="en-US" sz="1600" b="0" dirty="0">
                  <a:solidFill>
                    <a:schemeClr val="tx1"/>
                  </a:solidFill>
                  <a:latin typeface="+mn-lt"/>
                  <a:cs typeface="Arial" panose="020B0604020202020204" pitchFamily="34" charset="0"/>
                </a:rPr>
                <a:t>Insert Text Here</a:t>
              </a:r>
            </a:p>
          </p:txBody>
        </p:sp>
      </p:grp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023B1088-188F-037E-B286-AEAFCC3BAD60}"/>
              </a:ext>
            </a:extLst>
          </p:cNvPr>
          <p:cNvCxnSpPr>
            <a:cxnSpLocks/>
          </p:cNvCxnSpPr>
          <p:nvPr/>
        </p:nvCxnSpPr>
        <p:spPr>
          <a:xfrm>
            <a:off x="550862" y="2484349"/>
            <a:ext cx="110556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7" name="Group 46">
            <a:extLst>
              <a:ext uri="{FF2B5EF4-FFF2-40B4-BE49-F238E27FC236}">
                <a16:creationId xmlns:a16="http://schemas.microsoft.com/office/drawing/2014/main" id="{CC9E91AA-97A3-2A64-E3B0-A7874E938E83}"/>
              </a:ext>
            </a:extLst>
          </p:cNvPr>
          <p:cNvGrpSpPr/>
          <p:nvPr/>
        </p:nvGrpSpPr>
        <p:grpSpPr>
          <a:xfrm>
            <a:off x="550862" y="2626103"/>
            <a:ext cx="10199938" cy="450617"/>
            <a:chOff x="550862" y="1929933"/>
            <a:chExt cx="10199938" cy="450617"/>
          </a:xfrm>
        </p:grpSpPr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E3D2CC4B-3955-4563-C3D4-2FFD2CE579E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50862" y="1950146"/>
              <a:ext cx="410191" cy="410191"/>
            </a:xfrm>
            <a:custGeom>
              <a:avLst/>
              <a:gdLst>
                <a:gd name="connsiteX0" fmla="*/ 824865 w 905827"/>
                <a:gd name="connsiteY0" fmla="*/ 0 h 905827"/>
                <a:gd name="connsiteX1" fmla="*/ 80010 w 905827"/>
                <a:gd name="connsiteY1" fmla="*/ 0 h 905827"/>
                <a:gd name="connsiteX2" fmla="*/ 0 w 905827"/>
                <a:gd name="connsiteY2" fmla="*/ 80010 h 905827"/>
                <a:gd name="connsiteX3" fmla="*/ 0 w 905827"/>
                <a:gd name="connsiteY3" fmla="*/ 825818 h 905827"/>
                <a:gd name="connsiteX4" fmla="*/ 80010 w 905827"/>
                <a:gd name="connsiteY4" fmla="*/ 905828 h 905827"/>
                <a:gd name="connsiteX5" fmla="*/ 825818 w 905827"/>
                <a:gd name="connsiteY5" fmla="*/ 905828 h 905827"/>
                <a:gd name="connsiteX6" fmla="*/ 905828 w 905827"/>
                <a:gd name="connsiteY6" fmla="*/ 825818 h 905827"/>
                <a:gd name="connsiteX7" fmla="*/ 905828 w 905827"/>
                <a:gd name="connsiteY7" fmla="*/ 80010 h 905827"/>
                <a:gd name="connsiteX8" fmla="*/ 824865 w 905827"/>
                <a:gd name="connsiteY8" fmla="*/ 0 h 905827"/>
                <a:gd name="connsiteX9" fmla="*/ 692468 w 905827"/>
                <a:gd name="connsiteY9" fmla="*/ 463868 h 905827"/>
                <a:gd name="connsiteX10" fmla="*/ 511493 w 905827"/>
                <a:gd name="connsiteY10" fmla="*/ 644843 h 905827"/>
                <a:gd name="connsiteX11" fmla="*/ 488633 w 905827"/>
                <a:gd name="connsiteY11" fmla="*/ 644843 h 905827"/>
                <a:gd name="connsiteX12" fmla="*/ 454343 w 905827"/>
                <a:gd name="connsiteY12" fmla="*/ 610553 h 905827"/>
                <a:gd name="connsiteX13" fmla="*/ 454343 w 905827"/>
                <a:gd name="connsiteY13" fmla="*/ 587693 h 905827"/>
                <a:gd name="connsiteX14" fmla="*/ 549593 w 905827"/>
                <a:gd name="connsiteY14" fmla="*/ 492443 h 905827"/>
                <a:gd name="connsiteX15" fmla="*/ 216218 w 905827"/>
                <a:gd name="connsiteY15" fmla="*/ 492443 h 905827"/>
                <a:gd name="connsiteX16" fmla="*/ 200025 w 905827"/>
                <a:gd name="connsiteY16" fmla="*/ 476250 h 905827"/>
                <a:gd name="connsiteX17" fmla="*/ 200025 w 905827"/>
                <a:gd name="connsiteY17" fmla="*/ 428625 h 905827"/>
                <a:gd name="connsiteX18" fmla="*/ 216218 w 905827"/>
                <a:gd name="connsiteY18" fmla="*/ 412433 h 905827"/>
                <a:gd name="connsiteX19" fmla="*/ 549593 w 905827"/>
                <a:gd name="connsiteY19" fmla="*/ 412433 h 905827"/>
                <a:gd name="connsiteX20" fmla="*/ 454343 w 905827"/>
                <a:gd name="connsiteY20" fmla="*/ 317183 h 905827"/>
                <a:gd name="connsiteX21" fmla="*/ 454343 w 905827"/>
                <a:gd name="connsiteY21" fmla="*/ 294323 h 905827"/>
                <a:gd name="connsiteX22" fmla="*/ 488633 w 905827"/>
                <a:gd name="connsiteY22" fmla="*/ 260033 h 905827"/>
                <a:gd name="connsiteX23" fmla="*/ 511493 w 905827"/>
                <a:gd name="connsiteY23" fmla="*/ 260033 h 905827"/>
                <a:gd name="connsiteX24" fmla="*/ 692468 w 905827"/>
                <a:gd name="connsiteY24" fmla="*/ 441008 h 905827"/>
                <a:gd name="connsiteX25" fmla="*/ 692468 w 905827"/>
                <a:gd name="connsiteY25" fmla="*/ 463868 h 905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905827" h="905827">
                  <a:moveTo>
                    <a:pt x="824865" y="0"/>
                  </a:moveTo>
                  <a:lnTo>
                    <a:pt x="80010" y="0"/>
                  </a:lnTo>
                  <a:cubicBezTo>
                    <a:pt x="36195" y="0"/>
                    <a:pt x="0" y="35243"/>
                    <a:pt x="0" y="80010"/>
                  </a:cubicBezTo>
                  <a:lnTo>
                    <a:pt x="0" y="825818"/>
                  </a:lnTo>
                  <a:cubicBezTo>
                    <a:pt x="0" y="869633"/>
                    <a:pt x="35243" y="905828"/>
                    <a:pt x="80010" y="905828"/>
                  </a:cubicBezTo>
                  <a:lnTo>
                    <a:pt x="825818" y="905828"/>
                  </a:lnTo>
                  <a:cubicBezTo>
                    <a:pt x="869633" y="905828"/>
                    <a:pt x="905828" y="870585"/>
                    <a:pt x="905828" y="825818"/>
                  </a:cubicBezTo>
                  <a:lnTo>
                    <a:pt x="905828" y="80010"/>
                  </a:lnTo>
                  <a:cubicBezTo>
                    <a:pt x="904875" y="35243"/>
                    <a:pt x="869633" y="0"/>
                    <a:pt x="824865" y="0"/>
                  </a:cubicBezTo>
                  <a:close/>
                  <a:moveTo>
                    <a:pt x="692468" y="463868"/>
                  </a:moveTo>
                  <a:lnTo>
                    <a:pt x="511493" y="644843"/>
                  </a:lnTo>
                  <a:cubicBezTo>
                    <a:pt x="504825" y="651510"/>
                    <a:pt x="495300" y="651510"/>
                    <a:pt x="488633" y="644843"/>
                  </a:cubicBezTo>
                  <a:lnTo>
                    <a:pt x="454343" y="610553"/>
                  </a:lnTo>
                  <a:cubicBezTo>
                    <a:pt x="447675" y="603885"/>
                    <a:pt x="447675" y="594360"/>
                    <a:pt x="454343" y="587693"/>
                  </a:cubicBezTo>
                  <a:lnTo>
                    <a:pt x="549593" y="492443"/>
                  </a:lnTo>
                  <a:lnTo>
                    <a:pt x="216218" y="492443"/>
                  </a:lnTo>
                  <a:cubicBezTo>
                    <a:pt x="207645" y="492443"/>
                    <a:pt x="200025" y="485775"/>
                    <a:pt x="200025" y="476250"/>
                  </a:cubicBezTo>
                  <a:lnTo>
                    <a:pt x="200025" y="428625"/>
                  </a:lnTo>
                  <a:cubicBezTo>
                    <a:pt x="200025" y="420053"/>
                    <a:pt x="206693" y="412433"/>
                    <a:pt x="216218" y="412433"/>
                  </a:cubicBezTo>
                  <a:lnTo>
                    <a:pt x="549593" y="412433"/>
                  </a:lnTo>
                  <a:lnTo>
                    <a:pt x="454343" y="317183"/>
                  </a:lnTo>
                  <a:cubicBezTo>
                    <a:pt x="447675" y="310515"/>
                    <a:pt x="447675" y="300990"/>
                    <a:pt x="454343" y="294323"/>
                  </a:cubicBezTo>
                  <a:lnTo>
                    <a:pt x="488633" y="260033"/>
                  </a:lnTo>
                  <a:cubicBezTo>
                    <a:pt x="495300" y="253365"/>
                    <a:pt x="504825" y="253365"/>
                    <a:pt x="511493" y="260033"/>
                  </a:cubicBezTo>
                  <a:lnTo>
                    <a:pt x="692468" y="441008"/>
                  </a:lnTo>
                  <a:cubicBezTo>
                    <a:pt x="698183" y="447675"/>
                    <a:pt x="698183" y="457200"/>
                    <a:pt x="692468" y="463868"/>
                  </a:cubicBez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dirty="0"/>
            </a:p>
          </p:txBody>
        </p:sp>
        <p:sp>
          <p:nvSpPr>
            <p:cNvPr id="49" name="Text Placeholder 3">
              <a:extLst>
                <a:ext uri="{FF2B5EF4-FFF2-40B4-BE49-F238E27FC236}">
                  <a16:creationId xmlns:a16="http://schemas.microsoft.com/office/drawing/2014/main" id="{1369E216-2167-C277-2AFD-5D9DD600C171}"/>
                </a:ext>
              </a:extLst>
            </p:cNvPr>
            <p:cNvSpPr txBox="1">
              <a:spLocks/>
            </p:cNvSpPr>
            <p:nvPr/>
          </p:nvSpPr>
          <p:spPr>
            <a:xfrm>
              <a:off x="1066800" y="1929933"/>
              <a:ext cx="9684000" cy="450617"/>
            </a:xfrm>
            <a:prstGeom prst="rect">
              <a:avLst/>
            </a:prstGeom>
          </p:spPr>
          <p:txBody>
            <a:bodyPr wrap="square" anchor="ctr">
              <a:noAutofit/>
            </a:bodyPr>
            <a:lstStyle>
              <a:lvl1pPr marL="0" indent="0" algn="l" defTabSz="548640" rtl="0" eaLnBrk="1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600"/>
                </a:spcAft>
                <a:buClr>
                  <a:srgbClr val="00ADCA"/>
                </a:buClr>
                <a:buFont typeface="Arial"/>
                <a:buNone/>
                <a:defRPr lang="en-US" sz="3200" b="1" kern="1200" cap="none" baseline="0" dirty="0" smtClean="0">
                  <a:solidFill>
                    <a:schemeClr val="accent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352425" indent="-323850" algn="l" defTabSz="548640" rtl="0" eaLnBrk="1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600"/>
                </a:spcAft>
                <a:buClr>
                  <a:schemeClr val="accent1"/>
                </a:buClr>
                <a:buSzPct val="100000"/>
                <a:buFont typeface="Arial" charset="0"/>
                <a:buChar char="•"/>
                <a:tabLst/>
                <a:defRPr sz="3200" kern="120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973138" indent="-309563" algn="l" defTabSz="54864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Font typeface="Wingdings" charset="2"/>
                <a:buChar char="§"/>
                <a:tabLst/>
                <a:defRPr sz="3200" kern="120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547813" indent="-382588" algn="l" defTabSz="54864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Font typeface="Arial"/>
                <a:buChar char="–"/>
                <a:tabLst/>
                <a:defRPr sz="3200" kern="120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290763" indent="-371475" algn="l" defTabSz="54864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Font typeface=".AppleSystemUIFont" charset="-120"/>
                <a:buChar char="-"/>
                <a:tabLst/>
                <a:defRPr sz="3200" kern="120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3017520" indent="-274320" algn="l" defTabSz="548640" rtl="0" eaLnBrk="1" latinLnBrk="0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566160" indent="-274320" algn="l" defTabSz="548640" rtl="0" eaLnBrk="1" latinLnBrk="0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114800" indent="-274320" algn="l" defTabSz="548640" rtl="0" eaLnBrk="1" latinLnBrk="0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63440" indent="-274320" algn="l" defTabSz="548640" rtl="0" eaLnBrk="1" latinLnBrk="0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0000"/>
                </a:lnSpc>
                <a:spcBef>
                  <a:spcPts val="1167"/>
                </a:spcBef>
                <a:spcAft>
                  <a:spcPts val="0"/>
                </a:spcAft>
                <a:buClr>
                  <a:srgbClr val="00B050"/>
                </a:buClr>
              </a:pPr>
              <a:r>
                <a:rPr lang="en-US" sz="1600" b="0" dirty="0">
                  <a:solidFill>
                    <a:schemeClr val="tx1"/>
                  </a:solidFill>
                  <a:latin typeface="+mn-lt"/>
                  <a:cs typeface="Arial" panose="020B0604020202020204" pitchFamily="34" charset="0"/>
                </a:rPr>
                <a:t>Insert Text Here</a:t>
              </a:r>
            </a:p>
          </p:txBody>
        </p:sp>
      </p:grp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53333A1A-1201-D4E0-F8E5-CF02CADD748E}"/>
              </a:ext>
            </a:extLst>
          </p:cNvPr>
          <p:cNvCxnSpPr>
            <a:cxnSpLocks/>
          </p:cNvCxnSpPr>
          <p:nvPr/>
        </p:nvCxnSpPr>
        <p:spPr>
          <a:xfrm>
            <a:off x="550862" y="3218474"/>
            <a:ext cx="110556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1" name="Group 50">
            <a:extLst>
              <a:ext uri="{FF2B5EF4-FFF2-40B4-BE49-F238E27FC236}">
                <a16:creationId xmlns:a16="http://schemas.microsoft.com/office/drawing/2014/main" id="{882A3B55-690D-105E-366A-501044AD1320}"/>
              </a:ext>
            </a:extLst>
          </p:cNvPr>
          <p:cNvGrpSpPr/>
          <p:nvPr/>
        </p:nvGrpSpPr>
        <p:grpSpPr>
          <a:xfrm>
            <a:off x="550862" y="3360228"/>
            <a:ext cx="10199938" cy="450617"/>
            <a:chOff x="550862" y="1929933"/>
            <a:chExt cx="10199938" cy="450617"/>
          </a:xfrm>
        </p:grpSpPr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832BC9E2-F38F-3D1B-D592-33B8C214991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50862" y="1950146"/>
              <a:ext cx="410191" cy="410191"/>
            </a:xfrm>
            <a:custGeom>
              <a:avLst/>
              <a:gdLst>
                <a:gd name="connsiteX0" fmla="*/ 824865 w 905827"/>
                <a:gd name="connsiteY0" fmla="*/ 0 h 905827"/>
                <a:gd name="connsiteX1" fmla="*/ 80010 w 905827"/>
                <a:gd name="connsiteY1" fmla="*/ 0 h 905827"/>
                <a:gd name="connsiteX2" fmla="*/ 0 w 905827"/>
                <a:gd name="connsiteY2" fmla="*/ 80010 h 905827"/>
                <a:gd name="connsiteX3" fmla="*/ 0 w 905827"/>
                <a:gd name="connsiteY3" fmla="*/ 825818 h 905827"/>
                <a:gd name="connsiteX4" fmla="*/ 80010 w 905827"/>
                <a:gd name="connsiteY4" fmla="*/ 905828 h 905827"/>
                <a:gd name="connsiteX5" fmla="*/ 825818 w 905827"/>
                <a:gd name="connsiteY5" fmla="*/ 905828 h 905827"/>
                <a:gd name="connsiteX6" fmla="*/ 905828 w 905827"/>
                <a:gd name="connsiteY6" fmla="*/ 825818 h 905827"/>
                <a:gd name="connsiteX7" fmla="*/ 905828 w 905827"/>
                <a:gd name="connsiteY7" fmla="*/ 80010 h 905827"/>
                <a:gd name="connsiteX8" fmla="*/ 824865 w 905827"/>
                <a:gd name="connsiteY8" fmla="*/ 0 h 905827"/>
                <a:gd name="connsiteX9" fmla="*/ 692468 w 905827"/>
                <a:gd name="connsiteY9" fmla="*/ 463868 h 905827"/>
                <a:gd name="connsiteX10" fmla="*/ 511493 w 905827"/>
                <a:gd name="connsiteY10" fmla="*/ 644843 h 905827"/>
                <a:gd name="connsiteX11" fmla="*/ 488633 w 905827"/>
                <a:gd name="connsiteY11" fmla="*/ 644843 h 905827"/>
                <a:gd name="connsiteX12" fmla="*/ 454343 w 905827"/>
                <a:gd name="connsiteY12" fmla="*/ 610553 h 905827"/>
                <a:gd name="connsiteX13" fmla="*/ 454343 w 905827"/>
                <a:gd name="connsiteY13" fmla="*/ 587693 h 905827"/>
                <a:gd name="connsiteX14" fmla="*/ 549593 w 905827"/>
                <a:gd name="connsiteY14" fmla="*/ 492443 h 905827"/>
                <a:gd name="connsiteX15" fmla="*/ 216218 w 905827"/>
                <a:gd name="connsiteY15" fmla="*/ 492443 h 905827"/>
                <a:gd name="connsiteX16" fmla="*/ 200025 w 905827"/>
                <a:gd name="connsiteY16" fmla="*/ 476250 h 905827"/>
                <a:gd name="connsiteX17" fmla="*/ 200025 w 905827"/>
                <a:gd name="connsiteY17" fmla="*/ 428625 h 905827"/>
                <a:gd name="connsiteX18" fmla="*/ 216218 w 905827"/>
                <a:gd name="connsiteY18" fmla="*/ 412433 h 905827"/>
                <a:gd name="connsiteX19" fmla="*/ 549593 w 905827"/>
                <a:gd name="connsiteY19" fmla="*/ 412433 h 905827"/>
                <a:gd name="connsiteX20" fmla="*/ 454343 w 905827"/>
                <a:gd name="connsiteY20" fmla="*/ 317183 h 905827"/>
                <a:gd name="connsiteX21" fmla="*/ 454343 w 905827"/>
                <a:gd name="connsiteY21" fmla="*/ 294323 h 905827"/>
                <a:gd name="connsiteX22" fmla="*/ 488633 w 905827"/>
                <a:gd name="connsiteY22" fmla="*/ 260033 h 905827"/>
                <a:gd name="connsiteX23" fmla="*/ 511493 w 905827"/>
                <a:gd name="connsiteY23" fmla="*/ 260033 h 905827"/>
                <a:gd name="connsiteX24" fmla="*/ 692468 w 905827"/>
                <a:gd name="connsiteY24" fmla="*/ 441008 h 905827"/>
                <a:gd name="connsiteX25" fmla="*/ 692468 w 905827"/>
                <a:gd name="connsiteY25" fmla="*/ 463868 h 905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905827" h="905827">
                  <a:moveTo>
                    <a:pt x="824865" y="0"/>
                  </a:moveTo>
                  <a:lnTo>
                    <a:pt x="80010" y="0"/>
                  </a:lnTo>
                  <a:cubicBezTo>
                    <a:pt x="36195" y="0"/>
                    <a:pt x="0" y="35243"/>
                    <a:pt x="0" y="80010"/>
                  </a:cubicBezTo>
                  <a:lnTo>
                    <a:pt x="0" y="825818"/>
                  </a:lnTo>
                  <a:cubicBezTo>
                    <a:pt x="0" y="869633"/>
                    <a:pt x="35243" y="905828"/>
                    <a:pt x="80010" y="905828"/>
                  </a:cubicBezTo>
                  <a:lnTo>
                    <a:pt x="825818" y="905828"/>
                  </a:lnTo>
                  <a:cubicBezTo>
                    <a:pt x="869633" y="905828"/>
                    <a:pt x="905828" y="870585"/>
                    <a:pt x="905828" y="825818"/>
                  </a:cubicBezTo>
                  <a:lnTo>
                    <a:pt x="905828" y="80010"/>
                  </a:lnTo>
                  <a:cubicBezTo>
                    <a:pt x="904875" y="35243"/>
                    <a:pt x="869633" y="0"/>
                    <a:pt x="824865" y="0"/>
                  </a:cubicBezTo>
                  <a:close/>
                  <a:moveTo>
                    <a:pt x="692468" y="463868"/>
                  </a:moveTo>
                  <a:lnTo>
                    <a:pt x="511493" y="644843"/>
                  </a:lnTo>
                  <a:cubicBezTo>
                    <a:pt x="504825" y="651510"/>
                    <a:pt x="495300" y="651510"/>
                    <a:pt x="488633" y="644843"/>
                  </a:cubicBezTo>
                  <a:lnTo>
                    <a:pt x="454343" y="610553"/>
                  </a:lnTo>
                  <a:cubicBezTo>
                    <a:pt x="447675" y="603885"/>
                    <a:pt x="447675" y="594360"/>
                    <a:pt x="454343" y="587693"/>
                  </a:cubicBezTo>
                  <a:lnTo>
                    <a:pt x="549593" y="492443"/>
                  </a:lnTo>
                  <a:lnTo>
                    <a:pt x="216218" y="492443"/>
                  </a:lnTo>
                  <a:cubicBezTo>
                    <a:pt x="207645" y="492443"/>
                    <a:pt x="200025" y="485775"/>
                    <a:pt x="200025" y="476250"/>
                  </a:cubicBezTo>
                  <a:lnTo>
                    <a:pt x="200025" y="428625"/>
                  </a:lnTo>
                  <a:cubicBezTo>
                    <a:pt x="200025" y="420053"/>
                    <a:pt x="206693" y="412433"/>
                    <a:pt x="216218" y="412433"/>
                  </a:cubicBezTo>
                  <a:lnTo>
                    <a:pt x="549593" y="412433"/>
                  </a:lnTo>
                  <a:lnTo>
                    <a:pt x="454343" y="317183"/>
                  </a:lnTo>
                  <a:cubicBezTo>
                    <a:pt x="447675" y="310515"/>
                    <a:pt x="447675" y="300990"/>
                    <a:pt x="454343" y="294323"/>
                  </a:cubicBezTo>
                  <a:lnTo>
                    <a:pt x="488633" y="260033"/>
                  </a:lnTo>
                  <a:cubicBezTo>
                    <a:pt x="495300" y="253365"/>
                    <a:pt x="504825" y="253365"/>
                    <a:pt x="511493" y="260033"/>
                  </a:cubicBezTo>
                  <a:lnTo>
                    <a:pt x="692468" y="441008"/>
                  </a:lnTo>
                  <a:cubicBezTo>
                    <a:pt x="698183" y="447675"/>
                    <a:pt x="698183" y="457200"/>
                    <a:pt x="692468" y="463868"/>
                  </a:cubicBez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dirty="0"/>
            </a:p>
          </p:txBody>
        </p:sp>
        <p:sp>
          <p:nvSpPr>
            <p:cNvPr id="53" name="Text Placeholder 3">
              <a:extLst>
                <a:ext uri="{FF2B5EF4-FFF2-40B4-BE49-F238E27FC236}">
                  <a16:creationId xmlns:a16="http://schemas.microsoft.com/office/drawing/2014/main" id="{913F45A0-1BA2-4BA6-29B9-A1C8CD96533C}"/>
                </a:ext>
              </a:extLst>
            </p:cNvPr>
            <p:cNvSpPr txBox="1">
              <a:spLocks/>
            </p:cNvSpPr>
            <p:nvPr/>
          </p:nvSpPr>
          <p:spPr>
            <a:xfrm>
              <a:off x="1066800" y="1929933"/>
              <a:ext cx="9684000" cy="450617"/>
            </a:xfrm>
            <a:prstGeom prst="rect">
              <a:avLst/>
            </a:prstGeom>
          </p:spPr>
          <p:txBody>
            <a:bodyPr wrap="square" anchor="ctr">
              <a:noAutofit/>
            </a:bodyPr>
            <a:lstStyle>
              <a:lvl1pPr marL="0" indent="0" algn="l" defTabSz="548640" rtl="0" eaLnBrk="1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600"/>
                </a:spcAft>
                <a:buClr>
                  <a:srgbClr val="00ADCA"/>
                </a:buClr>
                <a:buFont typeface="Arial"/>
                <a:buNone/>
                <a:defRPr lang="en-US" sz="3200" b="1" kern="1200" cap="none" baseline="0" dirty="0" smtClean="0">
                  <a:solidFill>
                    <a:schemeClr val="accent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352425" indent="-323850" algn="l" defTabSz="548640" rtl="0" eaLnBrk="1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600"/>
                </a:spcAft>
                <a:buClr>
                  <a:schemeClr val="accent1"/>
                </a:buClr>
                <a:buSzPct val="100000"/>
                <a:buFont typeface="Arial" charset="0"/>
                <a:buChar char="•"/>
                <a:tabLst/>
                <a:defRPr sz="3200" kern="120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973138" indent="-309563" algn="l" defTabSz="54864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Font typeface="Wingdings" charset="2"/>
                <a:buChar char="§"/>
                <a:tabLst/>
                <a:defRPr sz="3200" kern="120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547813" indent="-382588" algn="l" defTabSz="54864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Font typeface="Arial"/>
                <a:buChar char="–"/>
                <a:tabLst/>
                <a:defRPr sz="3200" kern="120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290763" indent="-371475" algn="l" defTabSz="54864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Font typeface=".AppleSystemUIFont" charset="-120"/>
                <a:buChar char="-"/>
                <a:tabLst/>
                <a:defRPr sz="3200" kern="120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3017520" indent="-274320" algn="l" defTabSz="548640" rtl="0" eaLnBrk="1" latinLnBrk="0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566160" indent="-274320" algn="l" defTabSz="548640" rtl="0" eaLnBrk="1" latinLnBrk="0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114800" indent="-274320" algn="l" defTabSz="548640" rtl="0" eaLnBrk="1" latinLnBrk="0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63440" indent="-274320" algn="l" defTabSz="548640" rtl="0" eaLnBrk="1" latinLnBrk="0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0000"/>
                </a:lnSpc>
                <a:spcBef>
                  <a:spcPts val="1167"/>
                </a:spcBef>
                <a:spcAft>
                  <a:spcPts val="0"/>
                </a:spcAft>
                <a:buClr>
                  <a:srgbClr val="00B050"/>
                </a:buClr>
              </a:pPr>
              <a:r>
                <a:rPr lang="en-US" sz="1600" b="0" dirty="0">
                  <a:solidFill>
                    <a:schemeClr val="tx1"/>
                  </a:solidFill>
                  <a:latin typeface="+mn-lt"/>
                  <a:cs typeface="Arial" panose="020B0604020202020204" pitchFamily="34" charset="0"/>
                </a:rPr>
                <a:t>Insert Text Here</a:t>
              </a:r>
            </a:p>
          </p:txBody>
        </p:sp>
      </p:grp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F1A2E06B-31D0-E986-7680-65E52E36E161}"/>
              </a:ext>
            </a:extLst>
          </p:cNvPr>
          <p:cNvCxnSpPr>
            <a:cxnSpLocks/>
          </p:cNvCxnSpPr>
          <p:nvPr/>
        </p:nvCxnSpPr>
        <p:spPr>
          <a:xfrm>
            <a:off x="550862" y="3952599"/>
            <a:ext cx="110556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5" name="Group 54">
            <a:extLst>
              <a:ext uri="{FF2B5EF4-FFF2-40B4-BE49-F238E27FC236}">
                <a16:creationId xmlns:a16="http://schemas.microsoft.com/office/drawing/2014/main" id="{8995EB30-DCE1-9E34-FB4E-67438FF8810F}"/>
              </a:ext>
            </a:extLst>
          </p:cNvPr>
          <p:cNvGrpSpPr/>
          <p:nvPr/>
        </p:nvGrpSpPr>
        <p:grpSpPr>
          <a:xfrm>
            <a:off x="550862" y="4094353"/>
            <a:ext cx="10199938" cy="450617"/>
            <a:chOff x="550862" y="1929933"/>
            <a:chExt cx="10199938" cy="450617"/>
          </a:xfrm>
        </p:grpSpPr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5F8ED366-52B8-442F-0216-53B2E097917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50862" y="1950146"/>
              <a:ext cx="410191" cy="410191"/>
            </a:xfrm>
            <a:custGeom>
              <a:avLst/>
              <a:gdLst>
                <a:gd name="connsiteX0" fmla="*/ 824865 w 905827"/>
                <a:gd name="connsiteY0" fmla="*/ 0 h 905827"/>
                <a:gd name="connsiteX1" fmla="*/ 80010 w 905827"/>
                <a:gd name="connsiteY1" fmla="*/ 0 h 905827"/>
                <a:gd name="connsiteX2" fmla="*/ 0 w 905827"/>
                <a:gd name="connsiteY2" fmla="*/ 80010 h 905827"/>
                <a:gd name="connsiteX3" fmla="*/ 0 w 905827"/>
                <a:gd name="connsiteY3" fmla="*/ 825818 h 905827"/>
                <a:gd name="connsiteX4" fmla="*/ 80010 w 905827"/>
                <a:gd name="connsiteY4" fmla="*/ 905828 h 905827"/>
                <a:gd name="connsiteX5" fmla="*/ 825818 w 905827"/>
                <a:gd name="connsiteY5" fmla="*/ 905828 h 905827"/>
                <a:gd name="connsiteX6" fmla="*/ 905828 w 905827"/>
                <a:gd name="connsiteY6" fmla="*/ 825818 h 905827"/>
                <a:gd name="connsiteX7" fmla="*/ 905828 w 905827"/>
                <a:gd name="connsiteY7" fmla="*/ 80010 h 905827"/>
                <a:gd name="connsiteX8" fmla="*/ 824865 w 905827"/>
                <a:gd name="connsiteY8" fmla="*/ 0 h 905827"/>
                <a:gd name="connsiteX9" fmla="*/ 692468 w 905827"/>
                <a:gd name="connsiteY9" fmla="*/ 463868 h 905827"/>
                <a:gd name="connsiteX10" fmla="*/ 511493 w 905827"/>
                <a:gd name="connsiteY10" fmla="*/ 644843 h 905827"/>
                <a:gd name="connsiteX11" fmla="*/ 488633 w 905827"/>
                <a:gd name="connsiteY11" fmla="*/ 644843 h 905827"/>
                <a:gd name="connsiteX12" fmla="*/ 454343 w 905827"/>
                <a:gd name="connsiteY12" fmla="*/ 610553 h 905827"/>
                <a:gd name="connsiteX13" fmla="*/ 454343 w 905827"/>
                <a:gd name="connsiteY13" fmla="*/ 587693 h 905827"/>
                <a:gd name="connsiteX14" fmla="*/ 549593 w 905827"/>
                <a:gd name="connsiteY14" fmla="*/ 492443 h 905827"/>
                <a:gd name="connsiteX15" fmla="*/ 216218 w 905827"/>
                <a:gd name="connsiteY15" fmla="*/ 492443 h 905827"/>
                <a:gd name="connsiteX16" fmla="*/ 200025 w 905827"/>
                <a:gd name="connsiteY16" fmla="*/ 476250 h 905827"/>
                <a:gd name="connsiteX17" fmla="*/ 200025 w 905827"/>
                <a:gd name="connsiteY17" fmla="*/ 428625 h 905827"/>
                <a:gd name="connsiteX18" fmla="*/ 216218 w 905827"/>
                <a:gd name="connsiteY18" fmla="*/ 412433 h 905827"/>
                <a:gd name="connsiteX19" fmla="*/ 549593 w 905827"/>
                <a:gd name="connsiteY19" fmla="*/ 412433 h 905827"/>
                <a:gd name="connsiteX20" fmla="*/ 454343 w 905827"/>
                <a:gd name="connsiteY20" fmla="*/ 317183 h 905827"/>
                <a:gd name="connsiteX21" fmla="*/ 454343 w 905827"/>
                <a:gd name="connsiteY21" fmla="*/ 294323 h 905827"/>
                <a:gd name="connsiteX22" fmla="*/ 488633 w 905827"/>
                <a:gd name="connsiteY22" fmla="*/ 260033 h 905827"/>
                <a:gd name="connsiteX23" fmla="*/ 511493 w 905827"/>
                <a:gd name="connsiteY23" fmla="*/ 260033 h 905827"/>
                <a:gd name="connsiteX24" fmla="*/ 692468 w 905827"/>
                <a:gd name="connsiteY24" fmla="*/ 441008 h 905827"/>
                <a:gd name="connsiteX25" fmla="*/ 692468 w 905827"/>
                <a:gd name="connsiteY25" fmla="*/ 463868 h 905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905827" h="905827">
                  <a:moveTo>
                    <a:pt x="824865" y="0"/>
                  </a:moveTo>
                  <a:lnTo>
                    <a:pt x="80010" y="0"/>
                  </a:lnTo>
                  <a:cubicBezTo>
                    <a:pt x="36195" y="0"/>
                    <a:pt x="0" y="35243"/>
                    <a:pt x="0" y="80010"/>
                  </a:cubicBezTo>
                  <a:lnTo>
                    <a:pt x="0" y="825818"/>
                  </a:lnTo>
                  <a:cubicBezTo>
                    <a:pt x="0" y="869633"/>
                    <a:pt x="35243" y="905828"/>
                    <a:pt x="80010" y="905828"/>
                  </a:cubicBezTo>
                  <a:lnTo>
                    <a:pt x="825818" y="905828"/>
                  </a:lnTo>
                  <a:cubicBezTo>
                    <a:pt x="869633" y="905828"/>
                    <a:pt x="905828" y="870585"/>
                    <a:pt x="905828" y="825818"/>
                  </a:cubicBezTo>
                  <a:lnTo>
                    <a:pt x="905828" y="80010"/>
                  </a:lnTo>
                  <a:cubicBezTo>
                    <a:pt x="904875" y="35243"/>
                    <a:pt x="869633" y="0"/>
                    <a:pt x="824865" y="0"/>
                  </a:cubicBezTo>
                  <a:close/>
                  <a:moveTo>
                    <a:pt x="692468" y="463868"/>
                  </a:moveTo>
                  <a:lnTo>
                    <a:pt x="511493" y="644843"/>
                  </a:lnTo>
                  <a:cubicBezTo>
                    <a:pt x="504825" y="651510"/>
                    <a:pt x="495300" y="651510"/>
                    <a:pt x="488633" y="644843"/>
                  </a:cubicBezTo>
                  <a:lnTo>
                    <a:pt x="454343" y="610553"/>
                  </a:lnTo>
                  <a:cubicBezTo>
                    <a:pt x="447675" y="603885"/>
                    <a:pt x="447675" y="594360"/>
                    <a:pt x="454343" y="587693"/>
                  </a:cubicBezTo>
                  <a:lnTo>
                    <a:pt x="549593" y="492443"/>
                  </a:lnTo>
                  <a:lnTo>
                    <a:pt x="216218" y="492443"/>
                  </a:lnTo>
                  <a:cubicBezTo>
                    <a:pt x="207645" y="492443"/>
                    <a:pt x="200025" y="485775"/>
                    <a:pt x="200025" y="476250"/>
                  </a:cubicBezTo>
                  <a:lnTo>
                    <a:pt x="200025" y="428625"/>
                  </a:lnTo>
                  <a:cubicBezTo>
                    <a:pt x="200025" y="420053"/>
                    <a:pt x="206693" y="412433"/>
                    <a:pt x="216218" y="412433"/>
                  </a:cubicBezTo>
                  <a:lnTo>
                    <a:pt x="549593" y="412433"/>
                  </a:lnTo>
                  <a:lnTo>
                    <a:pt x="454343" y="317183"/>
                  </a:lnTo>
                  <a:cubicBezTo>
                    <a:pt x="447675" y="310515"/>
                    <a:pt x="447675" y="300990"/>
                    <a:pt x="454343" y="294323"/>
                  </a:cubicBezTo>
                  <a:lnTo>
                    <a:pt x="488633" y="260033"/>
                  </a:lnTo>
                  <a:cubicBezTo>
                    <a:pt x="495300" y="253365"/>
                    <a:pt x="504825" y="253365"/>
                    <a:pt x="511493" y="260033"/>
                  </a:cubicBezTo>
                  <a:lnTo>
                    <a:pt x="692468" y="441008"/>
                  </a:lnTo>
                  <a:cubicBezTo>
                    <a:pt x="698183" y="447675"/>
                    <a:pt x="698183" y="457200"/>
                    <a:pt x="692468" y="463868"/>
                  </a:cubicBez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dirty="0"/>
            </a:p>
          </p:txBody>
        </p:sp>
        <p:sp>
          <p:nvSpPr>
            <p:cNvPr id="57" name="Text Placeholder 3">
              <a:extLst>
                <a:ext uri="{FF2B5EF4-FFF2-40B4-BE49-F238E27FC236}">
                  <a16:creationId xmlns:a16="http://schemas.microsoft.com/office/drawing/2014/main" id="{468A2D02-5884-AE9C-2AF7-A86ADBBCBD0C}"/>
                </a:ext>
              </a:extLst>
            </p:cNvPr>
            <p:cNvSpPr txBox="1">
              <a:spLocks/>
            </p:cNvSpPr>
            <p:nvPr/>
          </p:nvSpPr>
          <p:spPr>
            <a:xfrm>
              <a:off x="1066800" y="1929933"/>
              <a:ext cx="9684000" cy="450617"/>
            </a:xfrm>
            <a:prstGeom prst="rect">
              <a:avLst/>
            </a:prstGeom>
          </p:spPr>
          <p:txBody>
            <a:bodyPr wrap="square" anchor="ctr">
              <a:noAutofit/>
            </a:bodyPr>
            <a:lstStyle>
              <a:lvl1pPr marL="0" indent="0" algn="l" defTabSz="548640" rtl="0" eaLnBrk="1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600"/>
                </a:spcAft>
                <a:buClr>
                  <a:srgbClr val="00ADCA"/>
                </a:buClr>
                <a:buFont typeface="Arial"/>
                <a:buNone/>
                <a:defRPr lang="en-US" sz="3200" b="1" kern="1200" cap="none" baseline="0" dirty="0" smtClean="0">
                  <a:solidFill>
                    <a:schemeClr val="accent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352425" indent="-323850" algn="l" defTabSz="548640" rtl="0" eaLnBrk="1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600"/>
                </a:spcAft>
                <a:buClr>
                  <a:schemeClr val="accent1"/>
                </a:buClr>
                <a:buSzPct val="100000"/>
                <a:buFont typeface="Arial" charset="0"/>
                <a:buChar char="•"/>
                <a:tabLst/>
                <a:defRPr sz="3200" kern="120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973138" indent="-309563" algn="l" defTabSz="54864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Font typeface="Wingdings" charset="2"/>
                <a:buChar char="§"/>
                <a:tabLst/>
                <a:defRPr sz="3200" kern="120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547813" indent="-382588" algn="l" defTabSz="54864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Font typeface="Arial"/>
                <a:buChar char="–"/>
                <a:tabLst/>
                <a:defRPr sz="3200" kern="120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290763" indent="-371475" algn="l" defTabSz="54864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Font typeface=".AppleSystemUIFont" charset="-120"/>
                <a:buChar char="-"/>
                <a:tabLst/>
                <a:defRPr sz="3200" kern="120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3017520" indent="-274320" algn="l" defTabSz="548640" rtl="0" eaLnBrk="1" latinLnBrk="0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566160" indent="-274320" algn="l" defTabSz="548640" rtl="0" eaLnBrk="1" latinLnBrk="0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114800" indent="-274320" algn="l" defTabSz="548640" rtl="0" eaLnBrk="1" latinLnBrk="0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63440" indent="-274320" algn="l" defTabSz="548640" rtl="0" eaLnBrk="1" latinLnBrk="0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0000"/>
                </a:lnSpc>
                <a:spcBef>
                  <a:spcPts val="1167"/>
                </a:spcBef>
                <a:spcAft>
                  <a:spcPts val="0"/>
                </a:spcAft>
                <a:buClr>
                  <a:srgbClr val="00B050"/>
                </a:buClr>
              </a:pPr>
              <a:r>
                <a:rPr lang="en-US" sz="1600" b="0" dirty="0">
                  <a:solidFill>
                    <a:schemeClr val="tx1"/>
                  </a:solidFill>
                  <a:latin typeface="+mn-lt"/>
                  <a:cs typeface="Arial" panose="020B0604020202020204" pitchFamily="34" charset="0"/>
                </a:rPr>
                <a:t>Insert Text Here</a:t>
              </a:r>
            </a:p>
          </p:txBody>
        </p:sp>
      </p:grp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79C68364-D156-888D-8689-F7060EFBD1BD}"/>
              </a:ext>
            </a:extLst>
          </p:cNvPr>
          <p:cNvCxnSpPr>
            <a:cxnSpLocks/>
          </p:cNvCxnSpPr>
          <p:nvPr/>
        </p:nvCxnSpPr>
        <p:spPr>
          <a:xfrm>
            <a:off x="550862" y="4686724"/>
            <a:ext cx="110556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9" name="Group 58">
            <a:extLst>
              <a:ext uri="{FF2B5EF4-FFF2-40B4-BE49-F238E27FC236}">
                <a16:creationId xmlns:a16="http://schemas.microsoft.com/office/drawing/2014/main" id="{64DC8034-2682-44FA-954F-3D1038BB2C53}"/>
              </a:ext>
            </a:extLst>
          </p:cNvPr>
          <p:cNvGrpSpPr/>
          <p:nvPr/>
        </p:nvGrpSpPr>
        <p:grpSpPr>
          <a:xfrm>
            <a:off x="550862" y="4828478"/>
            <a:ext cx="10199938" cy="450617"/>
            <a:chOff x="550862" y="1929933"/>
            <a:chExt cx="10199938" cy="450617"/>
          </a:xfrm>
        </p:grpSpPr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8F9C6DE0-4C14-801B-F471-63B60796090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50862" y="1950146"/>
              <a:ext cx="410191" cy="410191"/>
            </a:xfrm>
            <a:custGeom>
              <a:avLst/>
              <a:gdLst>
                <a:gd name="connsiteX0" fmla="*/ 824865 w 905827"/>
                <a:gd name="connsiteY0" fmla="*/ 0 h 905827"/>
                <a:gd name="connsiteX1" fmla="*/ 80010 w 905827"/>
                <a:gd name="connsiteY1" fmla="*/ 0 h 905827"/>
                <a:gd name="connsiteX2" fmla="*/ 0 w 905827"/>
                <a:gd name="connsiteY2" fmla="*/ 80010 h 905827"/>
                <a:gd name="connsiteX3" fmla="*/ 0 w 905827"/>
                <a:gd name="connsiteY3" fmla="*/ 825818 h 905827"/>
                <a:gd name="connsiteX4" fmla="*/ 80010 w 905827"/>
                <a:gd name="connsiteY4" fmla="*/ 905828 h 905827"/>
                <a:gd name="connsiteX5" fmla="*/ 825818 w 905827"/>
                <a:gd name="connsiteY5" fmla="*/ 905828 h 905827"/>
                <a:gd name="connsiteX6" fmla="*/ 905828 w 905827"/>
                <a:gd name="connsiteY6" fmla="*/ 825818 h 905827"/>
                <a:gd name="connsiteX7" fmla="*/ 905828 w 905827"/>
                <a:gd name="connsiteY7" fmla="*/ 80010 h 905827"/>
                <a:gd name="connsiteX8" fmla="*/ 824865 w 905827"/>
                <a:gd name="connsiteY8" fmla="*/ 0 h 905827"/>
                <a:gd name="connsiteX9" fmla="*/ 692468 w 905827"/>
                <a:gd name="connsiteY9" fmla="*/ 463868 h 905827"/>
                <a:gd name="connsiteX10" fmla="*/ 511493 w 905827"/>
                <a:gd name="connsiteY10" fmla="*/ 644843 h 905827"/>
                <a:gd name="connsiteX11" fmla="*/ 488633 w 905827"/>
                <a:gd name="connsiteY11" fmla="*/ 644843 h 905827"/>
                <a:gd name="connsiteX12" fmla="*/ 454343 w 905827"/>
                <a:gd name="connsiteY12" fmla="*/ 610553 h 905827"/>
                <a:gd name="connsiteX13" fmla="*/ 454343 w 905827"/>
                <a:gd name="connsiteY13" fmla="*/ 587693 h 905827"/>
                <a:gd name="connsiteX14" fmla="*/ 549593 w 905827"/>
                <a:gd name="connsiteY14" fmla="*/ 492443 h 905827"/>
                <a:gd name="connsiteX15" fmla="*/ 216218 w 905827"/>
                <a:gd name="connsiteY15" fmla="*/ 492443 h 905827"/>
                <a:gd name="connsiteX16" fmla="*/ 200025 w 905827"/>
                <a:gd name="connsiteY16" fmla="*/ 476250 h 905827"/>
                <a:gd name="connsiteX17" fmla="*/ 200025 w 905827"/>
                <a:gd name="connsiteY17" fmla="*/ 428625 h 905827"/>
                <a:gd name="connsiteX18" fmla="*/ 216218 w 905827"/>
                <a:gd name="connsiteY18" fmla="*/ 412433 h 905827"/>
                <a:gd name="connsiteX19" fmla="*/ 549593 w 905827"/>
                <a:gd name="connsiteY19" fmla="*/ 412433 h 905827"/>
                <a:gd name="connsiteX20" fmla="*/ 454343 w 905827"/>
                <a:gd name="connsiteY20" fmla="*/ 317183 h 905827"/>
                <a:gd name="connsiteX21" fmla="*/ 454343 w 905827"/>
                <a:gd name="connsiteY21" fmla="*/ 294323 h 905827"/>
                <a:gd name="connsiteX22" fmla="*/ 488633 w 905827"/>
                <a:gd name="connsiteY22" fmla="*/ 260033 h 905827"/>
                <a:gd name="connsiteX23" fmla="*/ 511493 w 905827"/>
                <a:gd name="connsiteY23" fmla="*/ 260033 h 905827"/>
                <a:gd name="connsiteX24" fmla="*/ 692468 w 905827"/>
                <a:gd name="connsiteY24" fmla="*/ 441008 h 905827"/>
                <a:gd name="connsiteX25" fmla="*/ 692468 w 905827"/>
                <a:gd name="connsiteY25" fmla="*/ 463868 h 905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905827" h="905827">
                  <a:moveTo>
                    <a:pt x="824865" y="0"/>
                  </a:moveTo>
                  <a:lnTo>
                    <a:pt x="80010" y="0"/>
                  </a:lnTo>
                  <a:cubicBezTo>
                    <a:pt x="36195" y="0"/>
                    <a:pt x="0" y="35243"/>
                    <a:pt x="0" y="80010"/>
                  </a:cubicBezTo>
                  <a:lnTo>
                    <a:pt x="0" y="825818"/>
                  </a:lnTo>
                  <a:cubicBezTo>
                    <a:pt x="0" y="869633"/>
                    <a:pt x="35243" y="905828"/>
                    <a:pt x="80010" y="905828"/>
                  </a:cubicBezTo>
                  <a:lnTo>
                    <a:pt x="825818" y="905828"/>
                  </a:lnTo>
                  <a:cubicBezTo>
                    <a:pt x="869633" y="905828"/>
                    <a:pt x="905828" y="870585"/>
                    <a:pt x="905828" y="825818"/>
                  </a:cubicBezTo>
                  <a:lnTo>
                    <a:pt x="905828" y="80010"/>
                  </a:lnTo>
                  <a:cubicBezTo>
                    <a:pt x="904875" y="35243"/>
                    <a:pt x="869633" y="0"/>
                    <a:pt x="824865" y="0"/>
                  </a:cubicBezTo>
                  <a:close/>
                  <a:moveTo>
                    <a:pt x="692468" y="463868"/>
                  </a:moveTo>
                  <a:lnTo>
                    <a:pt x="511493" y="644843"/>
                  </a:lnTo>
                  <a:cubicBezTo>
                    <a:pt x="504825" y="651510"/>
                    <a:pt x="495300" y="651510"/>
                    <a:pt x="488633" y="644843"/>
                  </a:cubicBezTo>
                  <a:lnTo>
                    <a:pt x="454343" y="610553"/>
                  </a:lnTo>
                  <a:cubicBezTo>
                    <a:pt x="447675" y="603885"/>
                    <a:pt x="447675" y="594360"/>
                    <a:pt x="454343" y="587693"/>
                  </a:cubicBezTo>
                  <a:lnTo>
                    <a:pt x="549593" y="492443"/>
                  </a:lnTo>
                  <a:lnTo>
                    <a:pt x="216218" y="492443"/>
                  </a:lnTo>
                  <a:cubicBezTo>
                    <a:pt x="207645" y="492443"/>
                    <a:pt x="200025" y="485775"/>
                    <a:pt x="200025" y="476250"/>
                  </a:cubicBezTo>
                  <a:lnTo>
                    <a:pt x="200025" y="428625"/>
                  </a:lnTo>
                  <a:cubicBezTo>
                    <a:pt x="200025" y="420053"/>
                    <a:pt x="206693" y="412433"/>
                    <a:pt x="216218" y="412433"/>
                  </a:cubicBezTo>
                  <a:lnTo>
                    <a:pt x="549593" y="412433"/>
                  </a:lnTo>
                  <a:lnTo>
                    <a:pt x="454343" y="317183"/>
                  </a:lnTo>
                  <a:cubicBezTo>
                    <a:pt x="447675" y="310515"/>
                    <a:pt x="447675" y="300990"/>
                    <a:pt x="454343" y="294323"/>
                  </a:cubicBezTo>
                  <a:lnTo>
                    <a:pt x="488633" y="260033"/>
                  </a:lnTo>
                  <a:cubicBezTo>
                    <a:pt x="495300" y="253365"/>
                    <a:pt x="504825" y="253365"/>
                    <a:pt x="511493" y="260033"/>
                  </a:cubicBezTo>
                  <a:lnTo>
                    <a:pt x="692468" y="441008"/>
                  </a:lnTo>
                  <a:cubicBezTo>
                    <a:pt x="698183" y="447675"/>
                    <a:pt x="698183" y="457200"/>
                    <a:pt x="692468" y="463868"/>
                  </a:cubicBez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dirty="0"/>
            </a:p>
          </p:txBody>
        </p:sp>
        <p:sp>
          <p:nvSpPr>
            <p:cNvPr id="61" name="Text Placeholder 3">
              <a:extLst>
                <a:ext uri="{FF2B5EF4-FFF2-40B4-BE49-F238E27FC236}">
                  <a16:creationId xmlns:a16="http://schemas.microsoft.com/office/drawing/2014/main" id="{A2E2F47A-619C-86E7-27CC-91023E2B6309}"/>
                </a:ext>
              </a:extLst>
            </p:cNvPr>
            <p:cNvSpPr txBox="1">
              <a:spLocks/>
            </p:cNvSpPr>
            <p:nvPr/>
          </p:nvSpPr>
          <p:spPr>
            <a:xfrm>
              <a:off x="1066800" y="1929933"/>
              <a:ext cx="9684000" cy="450617"/>
            </a:xfrm>
            <a:prstGeom prst="rect">
              <a:avLst/>
            </a:prstGeom>
          </p:spPr>
          <p:txBody>
            <a:bodyPr wrap="square" anchor="ctr">
              <a:noAutofit/>
            </a:bodyPr>
            <a:lstStyle>
              <a:lvl1pPr marL="0" indent="0" algn="l" defTabSz="548640" rtl="0" eaLnBrk="1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600"/>
                </a:spcAft>
                <a:buClr>
                  <a:srgbClr val="00ADCA"/>
                </a:buClr>
                <a:buFont typeface="Arial"/>
                <a:buNone/>
                <a:defRPr lang="en-US" sz="3200" b="1" kern="1200" cap="none" baseline="0" dirty="0" smtClean="0">
                  <a:solidFill>
                    <a:schemeClr val="accent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352425" indent="-323850" algn="l" defTabSz="548640" rtl="0" eaLnBrk="1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600"/>
                </a:spcAft>
                <a:buClr>
                  <a:schemeClr val="accent1"/>
                </a:buClr>
                <a:buSzPct val="100000"/>
                <a:buFont typeface="Arial" charset="0"/>
                <a:buChar char="•"/>
                <a:tabLst/>
                <a:defRPr sz="3200" kern="120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973138" indent="-309563" algn="l" defTabSz="54864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Font typeface="Wingdings" charset="2"/>
                <a:buChar char="§"/>
                <a:tabLst/>
                <a:defRPr sz="3200" kern="120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547813" indent="-382588" algn="l" defTabSz="54864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Font typeface="Arial"/>
                <a:buChar char="–"/>
                <a:tabLst/>
                <a:defRPr sz="3200" kern="120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290763" indent="-371475" algn="l" defTabSz="54864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Font typeface=".AppleSystemUIFont" charset="-120"/>
                <a:buChar char="-"/>
                <a:tabLst/>
                <a:defRPr sz="3200" kern="120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3017520" indent="-274320" algn="l" defTabSz="548640" rtl="0" eaLnBrk="1" latinLnBrk="0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566160" indent="-274320" algn="l" defTabSz="548640" rtl="0" eaLnBrk="1" latinLnBrk="0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114800" indent="-274320" algn="l" defTabSz="548640" rtl="0" eaLnBrk="1" latinLnBrk="0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63440" indent="-274320" algn="l" defTabSz="548640" rtl="0" eaLnBrk="1" latinLnBrk="0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0000"/>
                </a:lnSpc>
                <a:spcBef>
                  <a:spcPts val="1167"/>
                </a:spcBef>
                <a:spcAft>
                  <a:spcPts val="0"/>
                </a:spcAft>
                <a:buClr>
                  <a:srgbClr val="00B050"/>
                </a:buClr>
              </a:pPr>
              <a:r>
                <a:rPr lang="en-US" sz="1600" b="0" dirty="0">
                  <a:solidFill>
                    <a:schemeClr val="tx1"/>
                  </a:solidFill>
                  <a:latin typeface="+mn-lt"/>
                  <a:cs typeface="Arial" panose="020B0604020202020204" pitchFamily="34" charset="0"/>
                </a:rPr>
                <a:t>Insert Text Here</a:t>
              </a:r>
            </a:p>
          </p:txBody>
        </p:sp>
      </p:grp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990ECD9A-D63A-EDC9-38B7-712CA3E00894}"/>
              </a:ext>
            </a:extLst>
          </p:cNvPr>
          <p:cNvCxnSpPr>
            <a:cxnSpLocks/>
          </p:cNvCxnSpPr>
          <p:nvPr/>
        </p:nvCxnSpPr>
        <p:spPr>
          <a:xfrm>
            <a:off x="550862" y="5420849"/>
            <a:ext cx="110556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3" name="Group 62">
            <a:extLst>
              <a:ext uri="{FF2B5EF4-FFF2-40B4-BE49-F238E27FC236}">
                <a16:creationId xmlns:a16="http://schemas.microsoft.com/office/drawing/2014/main" id="{1545E365-EF19-A239-176C-245BED036165}"/>
              </a:ext>
            </a:extLst>
          </p:cNvPr>
          <p:cNvGrpSpPr/>
          <p:nvPr/>
        </p:nvGrpSpPr>
        <p:grpSpPr>
          <a:xfrm>
            <a:off x="550862" y="5562600"/>
            <a:ext cx="10199938" cy="450617"/>
            <a:chOff x="550862" y="1929933"/>
            <a:chExt cx="10199938" cy="450617"/>
          </a:xfrm>
        </p:grpSpPr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CC85037F-31EE-3655-2F2E-8087F6FA89B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50862" y="1950146"/>
              <a:ext cx="410191" cy="410191"/>
            </a:xfrm>
            <a:custGeom>
              <a:avLst/>
              <a:gdLst>
                <a:gd name="connsiteX0" fmla="*/ 824865 w 905827"/>
                <a:gd name="connsiteY0" fmla="*/ 0 h 905827"/>
                <a:gd name="connsiteX1" fmla="*/ 80010 w 905827"/>
                <a:gd name="connsiteY1" fmla="*/ 0 h 905827"/>
                <a:gd name="connsiteX2" fmla="*/ 0 w 905827"/>
                <a:gd name="connsiteY2" fmla="*/ 80010 h 905827"/>
                <a:gd name="connsiteX3" fmla="*/ 0 w 905827"/>
                <a:gd name="connsiteY3" fmla="*/ 825818 h 905827"/>
                <a:gd name="connsiteX4" fmla="*/ 80010 w 905827"/>
                <a:gd name="connsiteY4" fmla="*/ 905828 h 905827"/>
                <a:gd name="connsiteX5" fmla="*/ 825818 w 905827"/>
                <a:gd name="connsiteY5" fmla="*/ 905828 h 905827"/>
                <a:gd name="connsiteX6" fmla="*/ 905828 w 905827"/>
                <a:gd name="connsiteY6" fmla="*/ 825818 h 905827"/>
                <a:gd name="connsiteX7" fmla="*/ 905828 w 905827"/>
                <a:gd name="connsiteY7" fmla="*/ 80010 h 905827"/>
                <a:gd name="connsiteX8" fmla="*/ 824865 w 905827"/>
                <a:gd name="connsiteY8" fmla="*/ 0 h 905827"/>
                <a:gd name="connsiteX9" fmla="*/ 692468 w 905827"/>
                <a:gd name="connsiteY9" fmla="*/ 463868 h 905827"/>
                <a:gd name="connsiteX10" fmla="*/ 511493 w 905827"/>
                <a:gd name="connsiteY10" fmla="*/ 644843 h 905827"/>
                <a:gd name="connsiteX11" fmla="*/ 488633 w 905827"/>
                <a:gd name="connsiteY11" fmla="*/ 644843 h 905827"/>
                <a:gd name="connsiteX12" fmla="*/ 454343 w 905827"/>
                <a:gd name="connsiteY12" fmla="*/ 610553 h 905827"/>
                <a:gd name="connsiteX13" fmla="*/ 454343 w 905827"/>
                <a:gd name="connsiteY13" fmla="*/ 587693 h 905827"/>
                <a:gd name="connsiteX14" fmla="*/ 549593 w 905827"/>
                <a:gd name="connsiteY14" fmla="*/ 492443 h 905827"/>
                <a:gd name="connsiteX15" fmla="*/ 216218 w 905827"/>
                <a:gd name="connsiteY15" fmla="*/ 492443 h 905827"/>
                <a:gd name="connsiteX16" fmla="*/ 200025 w 905827"/>
                <a:gd name="connsiteY16" fmla="*/ 476250 h 905827"/>
                <a:gd name="connsiteX17" fmla="*/ 200025 w 905827"/>
                <a:gd name="connsiteY17" fmla="*/ 428625 h 905827"/>
                <a:gd name="connsiteX18" fmla="*/ 216218 w 905827"/>
                <a:gd name="connsiteY18" fmla="*/ 412433 h 905827"/>
                <a:gd name="connsiteX19" fmla="*/ 549593 w 905827"/>
                <a:gd name="connsiteY19" fmla="*/ 412433 h 905827"/>
                <a:gd name="connsiteX20" fmla="*/ 454343 w 905827"/>
                <a:gd name="connsiteY20" fmla="*/ 317183 h 905827"/>
                <a:gd name="connsiteX21" fmla="*/ 454343 w 905827"/>
                <a:gd name="connsiteY21" fmla="*/ 294323 h 905827"/>
                <a:gd name="connsiteX22" fmla="*/ 488633 w 905827"/>
                <a:gd name="connsiteY22" fmla="*/ 260033 h 905827"/>
                <a:gd name="connsiteX23" fmla="*/ 511493 w 905827"/>
                <a:gd name="connsiteY23" fmla="*/ 260033 h 905827"/>
                <a:gd name="connsiteX24" fmla="*/ 692468 w 905827"/>
                <a:gd name="connsiteY24" fmla="*/ 441008 h 905827"/>
                <a:gd name="connsiteX25" fmla="*/ 692468 w 905827"/>
                <a:gd name="connsiteY25" fmla="*/ 463868 h 905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905827" h="905827">
                  <a:moveTo>
                    <a:pt x="824865" y="0"/>
                  </a:moveTo>
                  <a:lnTo>
                    <a:pt x="80010" y="0"/>
                  </a:lnTo>
                  <a:cubicBezTo>
                    <a:pt x="36195" y="0"/>
                    <a:pt x="0" y="35243"/>
                    <a:pt x="0" y="80010"/>
                  </a:cubicBezTo>
                  <a:lnTo>
                    <a:pt x="0" y="825818"/>
                  </a:lnTo>
                  <a:cubicBezTo>
                    <a:pt x="0" y="869633"/>
                    <a:pt x="35243" y="905828"/>
                    <a:pt x="80010" y="905828"/>
                  </a:cubicBezTo>
                  <a:lnTo>
                    <a:pt x="825818" y="905828"/>
                  </a:lnTo>
                  <a:cubicBezTo>
                    <a:pt x="869633" y="905828"/>
                    <a:pt x="905828" y="870585"/>
                    <a:pt x="905828" y="825818"/>
                  </a:cubicBezTo>
                  <a:lnTo>
                    <a:pt x="905828" y="80010"/>
                  </a:lnTo>
                  <a:cubicBezTo>
                    <a:pt x="904875" y="35243"/>
                    <a:pt x="869633" y="0"/>
                    <a:pt x="824865" y="0"/>
                  </a:cubicBezTo>
                  <a:close/>
                  <a:moveTo>
                    <a:pt x="692468" y="463868"/>
                  </a:moveTo>
                  <a:lnTo>
                    <a:pt x="511493" y="644843"/>
                  </a:lnTo>
                  <a:cubicBezTo>
                    <a:pt x="504825" y="651510"/>
                    <a:pt x="495300" y="651510"/>
                    <a:pt x="488633" y="644843"/>
                  </a:cubicBezTo>
                  <a:lnTo>
                    <a:pt x="454343" y="610553"/>
                  </a:lnTo>
                  <a:cubicBezTo>
                    <a:pt x="447675" y="603885"/>
                    <a:pt x="447675" y="594360"/>
                    <a:pt x="454343" y="587693"/>
                  </a:cubicBezTo>
                  <a:lnTo>
                    <a:pt x="549593" y="492443"/>
                  </a:lnTo>
                  <a:lnTo>
                    <a:pt x="216218" y="492443"/>
                  </a:lnTo>
                  <a:cubicBezTo>
                    <a:pt x="207645" y="492443"/>
                    <a:pt x="200025" y="485775"/>
                    <a:pt x="200025" y="476250"/>
                  </a:cubicBezTo>
                  <a:lnTo>
                    <a:pt x="200025" y="428625"/>
                  </a:lnTo>
                  <a:cubicBezTo>
                    <a:pt x="200025" y="420053"/>
                    <a:pt x="206693" y="412433"/>
                    <a:pt x="216218" y="412433"/>
                  </a:cubicBezTo>
                  <a:lnTo>
                    <a:pt x="549593" y="412433"/>
                  </a:lnTo>
                  <a:lnTo>
                    <a:pt x="454343" y="317183"/>
                  </a:lnTo>
                  <a:cubicBezTo>
                    <a:pt x="447675" y="310515"/>
                    <a:pt x="447675" y="300990"/>
                    <a:pt x="454343" y="294323"/>
                  </a:cubicBezTo>
                  <a:lnTo>
                    <a:pt x="488633" y="260033"/>
                  </a:lnTo>
                  <a:cubicBezTo>
                    <a:pt x="495300" y="253365"/>
                    <a:pt x="504825" y="253365"/>
                    <a:pt x="511493" y="260033"/>
                  </a:cubicBezTo>
                  <a:lnTo>
                    <a:pt x="692468" y="441008"/>
                  </a:lnTo>
                  <a:cubicBezTo>
                    <a:pt x="698183" y="447675"/>
                    <a:pt x="698183" y="457200"/>
                    <a:pt x="692468" y="463868"/>
                  </a:cubicBez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dirty="0"/>
            </a:p>
          </p:txBody>
        </p:sp>
        <p:sp>
          <p:nvSpPr>
            <p:cNvPr id="65" name="Text Placeholder 3">
              <a:extLst>
                <a:ext uri="{FF2B5EF4-FFF2-40B4-BE49-F238E27FC236}">
                  <a16:creationId xmlns:a16="http://schemas.microsoft.com/office/drawing/2014/main" id="{5A6B29EC-8FD3-141F-F81B-D5F2D6127B23}"/>
                </a:ext>
              </a:extLst>
            </p:cNvPr>
            <p:cNvSpPr txBox="1">
              <a:spLocks/>
            </p:cNvSpPr>
            <p:nvPr/>
          </p:nvSpPr>
          <p:spPr>
            <a:xfrm>
              <a:off x="1066800" y="1929933"/>
              <a:ext cx="9684000" cy="450617"/>
            </a:xfrm>
            <a:prstGeom prst="rect">
              <a:avLst/>
            </a:prstGeom>
          </p:spPr>
          <p:txBody>
            <a:bodyPr wrap="square" anchor="ctr">
              <a:noAutofit/>
            </a:bodyPr>
            <a:lstStyle>
              <a:lvl1pPr marL="0" indent="0" algn="l" defTabSz="548640" rtl="0" eaLnBrk="1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600"/>
                </a:spcAft>
                <a:buClr>
                  <a:srgbClr val="00ADCA"/>
                </a:buClr>
                <a:buFont typeface="Arial"/>
                <a:buNone/>
                <a:defRPr lang="en-US" sz="3200" b="1" kern="1200" cap="none" baseline="0" dirty="0" smtClean="0">
                  <a:solidFill>
                    <a:schemeClr val="accent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352425" indent="-323850" algn="l" defTabSz="548640" rtl="0" eaLnBrk="1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600"/>
                </a:spcAft>
                <a:buClr>
                  <a:schemeClr val="accent1"/>
                </a:buClr>
                <a:buSzPct val="100000"/>
                <a:buFont typeface="Arial" charset="0"/>
                <a:buChar char="•"/>
                <a:tabLst/>
                <a:defRPr sz="3200" kern="120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973138" indent="-309563" algn="l" defTabSz="54864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Font typeface="Wingdings" charset="2"/>
                <a:buChar char="§"/>
                <a:tabLst/>
                <a:defRPr sz="3200" kern="120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547813" indent="-382588" algn="l" defTabSz="54864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Font typeface="Arial"/>
                <a:buChar char="–"/>
                <a:tabLst/>
                <a:defRPr sz="3200" kern="120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290763" indent="-371475" algn="l" defTabSz="54864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Font typeface=".AppleSystemUIFont" charset="-120"/>
                <a:buChar char="-"/>
                <a:tabLst/>
                <a:defRPr sz="3200" kern="120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3017520" indent="-274320" algn="l" defTabSz="548640" rtl="0" eaLnBrk="1" latinLnBrk="0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566160" indent="-274320" algn="l" defTabSz="548640" rtl="0" eaLnBrk="1" latinLnBrk="0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114800" indent="-274320" algn="l" defTabSz="548640" rtl="0" eaLnBrk="1" latinLnBrk="0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63440" indent="-274320" algn="l" defTabSz="548640" rtl="0" eaLnBrk="1" latinLnBrk="0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0000"/>
                </a:lnSpc>
                <a:spcBef>
                  <a:spcPts val="1167"/>
                </a:spcBef>
                <a:spcAft>
                  <a:spcPts val="0"/>
                </a:spcAft>
                <a:buClr>
                  <a:srgbClr val="00B050"/>
                </a:buClr>
              </a:pPr>
              <a:r>
                <a:rPr lang="en-US" sz="1600" b="0" dirty="0">
                  <a:solidFill>
                    <a:schemeClr val="tx1"/>
                  </a:solidFill>
                  <a:latin typeface="+mn-lt"/>
                  <a:cs typeface="Arial" panose="020B0604020202020204" pitchFamily="34" charset="0"/>
                </a:rPr>
                <a:t>Insert Text He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76102429"/>
      </p:ext>
    </p:extLst>
  </p:cSld>
  <p:clrMapOvr>
    <a:masterClrMapping/>
  </p:clrMapOvr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1A7B3C-353D-1593-2162-118CD6419F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50C97DFD-821E-66BE-3786-97C8AE8C350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0C97DFD-821E-66BE-3786-97C8AE8C35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E9AB51A-79B7-7D52-1A63-DE8F275BE9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ircular Layou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D30BE4D-7A7C-3D4C-D390-C61D5E030C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20</a:t>
            </a:fld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9AB874D8-A7C5-D0F8-5B2C-0DE4B3B0B292}"/>
              </a:ext>
            </a:extLst>
          </p:cNvPr>
          <p:cNvGrpSpPr/>
          <p:nvPr/>
        </p:nvGrpSpPr>
        <p:grpSpPr>
          <a:xfrm>
            <a:off x="3728705" y="1399548"/>
            <a:ext cx="4509063" cy="4512295"/>
            <a:chOff x="3728705" y="1399548"/>
            <a:chExt cx="4509063" cy="4512295"/>
          </a:xfrm>
        </p:grpSpPr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7594B103-C4C1-0E56-DF4E-70FEE03A9A3C}"/>
                </a:ext>
              </a:extLst>
            </p:cNvPr>
            <p:cNvSpPr>
              <a:spLocks/>
            </p:cNvSpPr>
            <p:nvPr/>
          </p:nvSpPr>
          <p:spPr>
            <a:xfrm>
              <a:off x="4585801" y="1399548"/>
              <a:ext cx="2813955" cy="1557215"/>
            </a:xfrm>
            <a:custGeom>
              <a:avLst/>
              <a:gdLst>
                <a:gd name="connsiteX0" fmla="*/ 1397436 w 2813955"/>
                <a:gd name="connsiteY0" fmla="*/ 0 h 1557215"/>
                <a:gd name="connsiteX1" fmla="*/ 2657966 w 2813955"/>
                <a:gd name="connsiteY1" fmla="*/ 385315 h 1557215"/>
                <a:gd name="connsiteX2" fmla="*/ 2813955 w 2813955"/>
                <a:gd name="connsiteY2" fmla="*/ 502045 h 1557215"/>
                <a:gd name="connsiteX3" fmla="*/ 1980685 w 2813955"/>
                <a:gd name="connsiteY3" fmla="*/ 1556249 h 1557215"/>
                <a:gd name="connsiteX4" fmla="*/ 1980684 w 2813955"/>
                <a:gd name="connsiteY4" fmla="*/ 1556250 h 1557215"/>
                <a:gd name="connsiteX5" fmla="*/ 1981148 w 2813955"/>
                <a:gd name="connsiteY5" fmla="*/ 1556635 h 1557215"/>
                <a:gd name="connsiteX6" fmla="*/ 1980686 w 2813955"/>
                <a:gd name="connsiteY6" fmla="*/ 1557215 h 1557215"/>
                <a:gd name="connsiteX7" fmla="*/ 1908513 w 2813955"/>
                <a:gd name="connsiteY7" fmla="*/ 1497625 h 1557215"/>
                <a:gd name="connsiteX8" fmla="*/ 1397436 w 2813955"/>
                <a:gd name="connsiteY8" fmla="*/ 1341400 h 1557215"/>
                <a:gd name="connsiteX9" fmla="*/ 886359 w 2813955"/>
                <a:gd name="connsiteY9" fmla="*/ 1497625 h 1557215"/>
                <a:gd name="connsiteX10" fmla="*/ 836586 w 2813955"/>
                <a:gd name="connsiteY10" fmla="*/ 1538721 h 1557215"/>
                <a:gd name="connsiteX11" fmla="*/ 0 w 2813955"/>
                <a:gd name="connsiteY11" fmla="*/ 487765 h 1557215"/>
                <a:gd name="connsiteX12" fmla="*/ 136906 w 2813955"/>
                <a:gd name="connsiteY12" fmla="*/ 385315 h 1557215"/>
                <a:gd name="connsiteX13" fmla="*/ 1397436 w 2813955"/>
                <a:gd name="connsiteY13" fmla="*/ 0 h 1557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813955" h="1557215">
                  <a:moveTo>
                    <a:pt x="1397436" y="0"/>
                  </a:moveTo>
                  <a:cubicBezTo>
                    <a:pt x="1864365" y="0"/>
                    <a:pt x="2298140" y="142047"/>
                    <a:pt x="2657966" y="385315"/>
                  </a:cubicBezTo>
                  <a:lnTo>
                    <a:pt x="2813955" y="502045"/>
                  </a:lnTo>
                  <a:lnTo>
                    <a:pt x="1980685" y="1556249"/>
                  </a:lnTo>
                  <a:lnTo>
                    <a:pt x="1980684" y="1556250"/>
                  </a:lnTo>
                  <a:lnTo>
                    <a:pt x="1981148" y="1556635"/>
                  </a:lnTo>
                  <a:lnTo>
                    <a:pt x="1980686" y="1557215"/>
                  </a:lnTo>
                  <a:lnTo>
                    <a:pt x="1908513" y="1497625"/>
                  </a:lnTo>
                  <a:cubicBezTo>
                    <a:pt x="1762624" y="1398993"/>
                    <a:pt x="1586751" y="1341400"/>
                    <a:pt x="1397436" y="1341400"/>
                  </a:cubicBezTo>
                  <a:cubicBezTo>
                    <a:pt x="1208122" y="1341400"/>
                    <a:pt x="1032249" y="1398993"/>
                    <a:pt x="886359" y="1497625"/>
                  </a:cubicBezTo>
                  <a:lnTo>
                    <a:pt x="836586" y="1538721"/>
                  </a:lnTo>
                  <a:lnTo>
                    <a:pt x="0" y="487765"/>
                  </a:lnTo>
                  <a:lnTo>
                    <a:pt x="136906" y="385315"/>
                  </a:lnTo>
                  <a:cubicBezTo>
                    <a:pt x="496732" y="142047"/>
                    <a:pt x="930508" y="0"/>
                    <a:pt x="1397436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A8BC6161-AF4B-F06E-CFFC-A416EA547BBD}"/>
                </a:ext>
              </a:extLst>
            </p:cNvPr>
            <p:cNvSpPr>
              <a:spLocks/>
            </p:cNvSpPr>
            <p:nvPr/>
          </p:nvSpPr>
          <p:spPr>
            <a:xfrm>
              <a:off x="6556443" y="1912313"/>
              <a:ext cx="1681325" cy="3502162"/>
            </a:xfrm>
            <a:custGeom>
              <a:avLst/>
              <a:gdLst>
                <a:gd name="connsiteX0" fmla="*/ 857640 w 1681325"/>
                <a:gd name="connsiteY0" fmla="*/ 0 h 3502162"/>
                <a:gd name="connsiteX1" fmla="*/ 860885 w 1681325"/>
                <a:gd name="connsiteY1" fmla="*/ 2429 h 3502162"/>
                <a:gd name="connsiteX2" fmla="*/ 1681325 w 1681325"/>
                <a:gd name="connsiteY2" fmla="*/ 1743382 h 3502162"/>
                <a:gd name="connsiteX3" fmla="*/ 860885 w 1681325"/>
                <a:gd name="connsiteY3" fmla="*/ 3484335 h 3502162"/>
                <a:gd name="connsiteX4" fmla="*/ 837063 w 1681325"/>
                <a:gd name="connsiteY4" fmla="*/ 3502162 h 3502162"/>
                <a:gd name="connsiteX5" fmla="*/ 0 w 1681325"/>
                <a:gd name="connsiteY5" fmla="*/ 2450607 h 3502162"/>
                <a:gd name="connsiteX6" fmla="*/ 73155 w 1681325"/>
                <a:gd name="connsiteY6" fmla="*/ 2390206 h 3502162"/>
                <a:gd name="connsiteX7" fmla="*/ 340886 w 1681325"/>
                <a:gd name="connsiteY7" fmla="*/ 1743382 h 3502162"/>
                <a:gd name="connsiteX8" fmla="*/ 73155 w 1681325"/>
                <a:gd name="connsiteY8" fmla="*/ 1096558 h 3502162"/>
                <a:gd name="connsiteX9" fmla="*/ 22729 w 1681325"/>
                <a:gd name="connsiteY9" fmla="*/ 1054922 h 3502162"/>
                <a:gd name="connsiteX10" fmla="*/ 23155 w 1681325"/>
                <a:gd name="connsiteY10" fmla="*/ 1054388 h 3502162"/>
                <a:gd name="connsiteX11" fmla="*/ 23801 w 1681325"/>
                <a:gd name="connsiteY11" fmla="*/ 1054925 h 3502162"/>
                <a:gd name="connsiteX12" fmla="*/ 23804 w 1681325"/>
                <a:gd name="connsiteY12" fmla="*/ 1054923 h 3502162"/>
                <a:gd name="connsiteX13" fmla="*/ 23802 w 1681325"/>
                <a:gd name="connsiteY13" fmla="*/ 1054923 h 3502162"/>
                <a:gd name="connsiteX14" fmla="*/ 175442 w 1681325"/>
                <a:gd name="connsiteY14" fmla="*/ 863077 h 3502162"/>
                <a:gd name="connsiteX15" fmla="*/ 822619 w 1681325"/>
                <a:gd name="connsiteY15" fmla="*/ 50063 h 3502162"/>
                <a:gd name="connsiteX16" fmla="*/ 822620 w 1681325"/>
                <a:gd name="connsiteY16" fmla="*/ 50061 h 3502162"/>
                <a:gd name="connsiteX17" fmla="*/ 819827 w 1681325"/>
                <a:gd name="connsiteY17" fmla="*/ 47838 h 3502162"/>
                <a:gd name="connsiteX18" fmla="*/ 857640 w 1681325"/>
                <a:gd name="connsiteY18" fmla="*/ 0 h 3502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81325" h="3502162">
                  <a:moveTo>
                    <a:pt x="857640" y="0"/>
                  </a:moveTo>
                  <a:lnTo>
                    <a:pt x="860885" y="2429"/>
                  </a:lnTo>
                  <a:cubicBezTo>
                    <a:pt x="1361949" y="416239"/>
                    <a:pt x="1681325" y="1042487"/>
                    <a:pt x="1681325" y="1743382"/>
                  </a:cubicBezTo>
                  <a:cubicBezTo>
                    <a:pt x="1681325" y="2444277"/>
                    <a:pt x="1361949" y="3070525"/>
                    <a:pt x="860885" y="3484335"/>
                  </a:cubicBezTo>
                  <a:lnTo>
                    <a:pt x="837063" y="3502162"/>
                  </a:lnTo>
                  <a:lnTo>
                    <a:pt x="0" y="2450607"/>
                  </a:lnTo>
                  <a:lnTo>
                    <a:pt x="73155" y="2390206"/>
                  </a:lnTo>
                  <a:cubicBezTo>
                    <a:pt x="238573" y="2224670"/>
                    <a:pt x="340886" y="1995983"/>
                    <a:pt x="340886" y="1743382"/>
                  </a:cubicBezTo>
                  <a:cubicBezTo>
                    <a:pt x="340886" y="1490782"/>
                    <a:pt x="238573" y="1262095"/>
                    <a:pt x="73155" y="1096558"/>
                  </a:cubicBezTo>
                  <a:lnTo>
                    <a:pt x="22729" y="1054922"/>
                  </a:lnTo>
                  <a:lnTo>
                    <a:pt x="23155" y="1054388"/>
                  </a:lnTo>
                  <a:lnTo>
                    <a:pt x="23801" y="1054925"/>
                  </a:lnTo>
                  <a:lnTo>
                    <a:pt x="23804" y="1054923"/>
                  </a:lnTo>
                  <a:lnTo>
                    <a:pt x="23802" y="1054923"/>
                  </a:lnTo>
                  <a:lnTo>
                    <a:pt x="175442" y="863077"/>
                  </a:lnTo>
                  <a:lnTo>
                    <a:pt x="822619" y="50063"/>
                  </a:lnTo>
                  <a:lnTo>
                    <a:pt x="822620" y="50061"/>
                  </a:lnTo>
                  <a:lnTo>
                    <a:pt x="819827" y="47838"/>
                  </a:lnTo>
                  <a:lnTo>
                    <a:pt x="857640" y="0"/>
                  </a:ln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23764CB2-1B61-2A1D-0077-97A2D1E7F2FD}"/>
                </a:ext>
              </a:extLst>
            </p:cNvPr>
            <p:cNvSpPr>
              <a:spLocks/>
            </p:cNvSpPr>
            <p:nvPr/>
          </p:nvSpPr>
          <p:spPr>
            <a:xfrm>
              <a:off x="3728705" y="1897170"/>
              <a:ext cx="1703724" cy="3534714"/>
            </a:xfrm>
            <a:custGeom>
              <a:avLst/>
              <a:gdLst>
                <a:gd name="connsiteX0" fmla="*/ 843922 w 1703724"/>
                <a:gd name="connsiteY0" fmla="*/ 0 h 3534714"/>
                <a:gd name="connsiteX1" fmla="*/ 1680997 w 1703724"/>
                <a:gd name="connsiteY1" fmla="*/ 1051571 h 3534714"/>
                <a:gd name="connsiteX2" fmla="*/ 1608170 w 1703724"/>
                <a:gd name="connsiteY2" fmla="*/ 1111701 h 3534714"/>
                <a:gd name="connsiteX3" fmla="*/ 1340439 w 1703724"/>
                <a:gd name="connsiteY3" fmla="*/ 1758525 h 3534714"/>
                <a:gd name="connsiteX4" fmla="*/ 1608170 w 1703724"/>
                <a:gd name="connsiteY4" fmla="*/ 2405349 h 3534714"/>
                <a:gd name="connsiteX5" fmla="*/ 1703724 w 1703724"/>
                <a:gd name="connsiteY5" fmla="*/ 2484245 h 3534714"/>
                <a:gd name="connsiteX6" fmla="*/ 867526 w 1703724"/>
                <a:gd name="connsiteY6" fmla="*/ 3534714 h 3534714"/>
                <a:gd name="connsiteX7" fmla="*/ 820440 w 1703724"/>
                <a:gd name="connsiteY7" fmla="*/ 3499478 h 3534714"/>
                <a:gd name="connsiteX8" fmla="*/ 0 w 1703724"/>
                <a:gd name="connsiteY8" fmla="*/ 1758525 h 3534714"/>
                <a:gd name="connsiteX9" fmla="*/ 820440 w 1703724"/>
                <a:gd name="connsiteY9" fmla="*/ 17572 h 3534714"/>
                <a:gd name="connsiteX10" fmla="*/ 843922 w 1703724"/>
                <a:gd name="connsiteY10" fmla="*/ 0 h 3534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03724" h="3534714">
                  <a:moveTo>
                    <a:pt x="843922" y="0"/>
                  </a:moveTo>
                  <a:lnTo>
                    <a:pt x="1680997" y="1051571"/>
                  </a:lnTo>
                  <a:lnTo>
                    <a:pt x="1608170" y="1111701"/>
                  </a:lnTo>
                  <a:cubicBezTo>
                    <a:pt x="1442752" y="1277238"/>
                    <a:pt x="1340439" y="1505925"/>
                    <a:pt x="1340439" y="1758525"/>
                  </a:cubicBezTo>
                  <a:cubicBezTo>
                    <a:pt x="1340439" y="2011126"/>
                    <a:pt x="1442752" y="2239813"/>
                    <a:pt x="1608170" y="2405349"/>
                  </a:cubicBezTo>
                  <a:lnTo>
                    <a:pt x="1703724" y="2484245"/>
                  </a:lnTo>
                  <a:lnTo>
                    <a:pt x="867526" y="3534714"/>
                  </a:lnTo>
                  <a:lnTo>
                    <a:pt x="820440" y="3499478"/>
                  </a:lnTo>
                  <a:cubicBezTo>
                    <a:pt x="319377" y="3085668"/>
                    <a:pt x="0" y="2459420"/>
                    <a:pt x="0" y="1758525"/>
                  </a:cubicBezTo>
                  <a:cubicBezTo>
                    <a:pt x="0" y="1057630"/>
                    <a:pt x="319377" y="431382"/>
                    <a:pt x="820440" y="17572"/>
                  </a:cubicBezTo>
                  <a:lnTo>
                    <a:pt x="843922" y="0"/>
                  </a:ln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0106EAEF-358E-B552-A02A-57B566EEB52F}"/>
                </a:ext>
              </a:extLst>
            </p:cNvPr>
            <p:cNvSpPr>
              <a:spLocks/>
            </p:cNvSpPr>
            <p:nvPr/>
          </p:nvSpPr>
          <p:spPr>
            <a:xfrm>
              <a:off x="4609405" y="4373393"/>
              <a:ext cx="2770927" cy="1538450"/>
            </a:xfrm>
            <a:custGeom>
              <a:avLst/>
              <a:gdLst>
                <a:gd name="connsiteX0" fmla="*/ 1934355 w 2770927"/>
                <a:gd name="connsiteY0" fmla="*/ 0 h 1538450"/>
                <a:gd name="connsiteX1" fmla="*/ 2770927 w 2770927"/>
                <a:gd name="connsiteY1" fmla="*/ 1050940 h 1538450"/>
                <a:gd name="connsiteX2" fmla="*/ 2634362 w 2770927"/>
                <a:gd name="connsiteY2" fmla="*/ 1153135 h 1538450"/>
                <a:gd name="connsiteX3" fmla="*/ 1373832 w 2770927"/>
                <a:gd name="connsiteY3" fmla="*/ 1538450 h 1538450"/>
                <a:gd name="connsiteX4" fmla="*/ 113302 w 2770927"/>
                <a:gd name="connsiteY4" fmla="*/ 1153135 h 1538450"/>
                <a:gd name="connsiteX5" fmla="*/ 0 w 2770927"/>
                <a:gd name="connsiteY5" fmla="*/ 1068349 h 1538450"/>
                <a:gd name="connsiteX6" fmla="*/ 835709 w 2770927"/>
                <a:gd name="connsiteY6" fmla="*/ 18494 h 1538450"/>
                <a:gd name="connsiteX7" fmla="*/ 862755 w 2770927"/>
                <a:gd name="connsiteY7" fmla="*/ 40825 h 1538450"/>
                <a:gd name="connsiteX8" fmla="*/ 1373832 w 2770927"/>
                <a:gd name="connsiteY8" fmla="*/ 197050 h 1538450"/>
                <a:gd name="connsiteX9" fmla="*/ 1884909 w 2770927"/>
                <a:gd name="connsiteY9" fmla="*/ 40825 h 1538450"/>
                <a:gd name="connsiteX10" fmla="*/ 1934355 w 2770927"/>
                <a:gd name="connsiteY10" fmla="*/ 0 h 1538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70927" h="1538450">
                  <a:moveTo>
                    <a:pt x="1934355" y="0"/>
                  </a:moveTo>
                  <a:lnTo>
                    <a:pt x="2770927" y="1050940"/>
                  </a:lnTo>
                  <a:lnTo>
                    <a:pt x="2634362" y="1153135"/>
                  </a:lnTo>
                  <a:cubicBezTo>
                    <a:pt x="2274536" y="1396403"/>
                    <a:pt x="1840761" y="1538450"/>
                    <a:pt x="1373832" y="1538450"/>
                  </a:cubicBezTo>
                  <a:cubicBezTo>
                    <a:pt x="906904" y="1538450"/>
                    <a:pt x="473128" y="1396403"/>
                    <a:pt x="113302" y="1153135"/>
                  </a:cubicBezTo>
                  <a:lnTo>
                    <a:pt x="0" y="1068349"/>
                  </a:lnTo>
                  <a:lnTo>
                    <a:pt x="835709" y="18494"/>
                  </a:lnTo>
                  <a:lnTo>
                    <a:pt x="862755" y="40825"/>
                  </a:lnTo>
                  <a:cubicBezTo>
                    <a:pt x="1008645" y="139458"/>
                    <a:pt x="1184518" y="197050"/>
                    <a:pt x="1373832" y="197050"/>
                  </a:cubicBezTo>
                  <a:cubicBezTo>
                    <a:pt x="1563147" y="197050"/>
                    <a:pt x="1739020" y="139458"/>
                    <a:pt x="1884909" y="40825"/>
                  </a:cubicBezTo>
                  <a:lnTo>
                    <a:pt x="19343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0" name="Oval 9">
            <a:extLst>
              <a:ext uri="{FF2B5EF4-FFF2-40B4-BE49-F238E27FC236}">
                <a16:creationId xmlns:a16="http://schemas.microsoft.com/office/drawing/2014/main" id="{593B7367-FA9E-D393-C2E5-C5D7287A7F45}"/>
              </a:ext>
            </a:extLst>
          </p:cNvPr>
          <p:cNvSpPr/>
          <p:nvPr/>
        </p:nvSpPr>
        <p:spPr>
          <a:xfrm>
            <a:off x="7647047" y="3226755"/>
            <a:ext cx="972334" cy="972334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1"/>
          <a:lstStyle/>
          <a:p>
            <a:pPr algn="ctr"/>
            <a:r>
              <a:rPr lang="en-IN" sz="2000" dirty="0">
                <a:solidFill>
                  <a:schemeClr val="tx1"/>
                </a:solidFill>
              </a:rPr>
              <a:t>Insert </a:t>
            </a:r>
            <a:br>
              <a:rPr lang="en-IN" sz="2000" dirty="0">
                <a:solidFill>
                  <a:schemeClr val="tx1"/>
                </a:solidFill>
              </a:rPr>
            </a:br>
            <a:r>
              <a:rPr lang="en-IN" sz="2000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46A893B8-4248-50DD-735C-7E2FDFED7B57}"/>
              </a:ext>
            </a:extLst>
          </p:cNvPr>
          <p:cNvSpPr/>
          <p:nvPr/>
        </p:nvSpPr>
        <p:spPr>
          <a:xfrm>
            <a:off x="3341747" y="3226755"/>
            <a:ext cx="972334" cy="972334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1"/>
          <a:lstStyle/>
          <a:p>
            <a:pPr algn="ctr"/>
            <a:r>
              <a:rPr lang="en-IN" sz="2000" dirty="0">
                <a:solidFill>
                  <a:schemeClr val="tx1"/>
                </a:solidFill>
              </a:rPr>
              <a:t>Insert </a:t>
            </a:r>
            <a:br>
              <a:rPr lang="en-IN" sz="2000" dirty="0">
                <a:solidFill>
                  <a:schemeClr val="tx1"/>
                </a:solidFill>
              </a:rPr>
            </a:br>
            <a:r>
              <a:rPr lang="en-IN" sz="2000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A4574F23-B045-E398-A460-C6380AA31471}"/>
              </a:ext>
            </a:extLst>
          </p:cNvPr>
          <p:cNvSpPr/>
          <p:nvPr/>
        </p:nvSpPr>
        <p:spPr>
          <a:xfrm>
            <a:off x="5551547" y="1093155"/>
            <a:ext cx="972334" cy="972334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1"/>
          <a:lstStyle/>
          <a:p>
            <a:pPr algn="ctr"/>
            <a:r>
              <a:rPr lang="en-IN" sz="2000" dirty="0">
                <a:solidFill>
                  <a:schemeClr val="tx1"/>
                </a:solidFill>
              </a:rPr>
              <a:t>Insert </a:t>
            </a:r>
            <a:br>
              <a:rPr lang="en-IN" sz="2000" dirty="0">
                <a:solidFill>
                  <a:schemeClr val="tx1"/>
                </a:solidFill>
              </a:rPr>
            </a:br>
            <a:r>
              <a:rPr lang="en-IN" sz="2000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662215CA-C8CE-4E04-7A1C-AF630E69AD9A}"/>
              </a:ext>
            </a:extLst>
          </p:cNvPr>
          <p:cNvSpPr/>
          <p:nvPr/>
        </p:nvSpPr>
        <p:spPr>
          <a:xfrm>
            <a:off x="5551547" y="5303205"/>
            <a:ext cx="972334" cy="972334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1"/>
          <a:lstStyle/>
          <a:p>
            <a:pPr algn="ctr"/>
            <a:r>
              <a:rPr lang="en-IN" sz="2000" dirty="0">
                <a:solidFill>
                  <a:schemeClr val="tx1"/>
                </a:solidFill>
              </a:rPr>
              <a:t>Insert </a:t>
            </a:r>
            <a:br>
              <a:rPr lang="en-IN" sz="2000" dirty="0">
                <a:solidFill>
                  <a:schemeClr val="tx1"/>
                </a:solidFill>
              </a:rPr>
            </a:br>
            <a:r>
              <a:rPr lang="en-IN" sz="2000" dirty="0">
                <a:solidFill>
                  <a:schemeClr val="tx1"/>
                </a:solidFill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733491535"/>
      </p:ext>
    </p:extLst>
  </p:cSld>
  <p:clrMapOvr>
    <a:masterClrMapping/>
  </p:clrMapOvr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3153E4-7113-F773-F691-0F00C3C525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14F66A5F-9153-C31B-F15C-B42C9041EBB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F66A5F-9153-C31B-F15C-B42C9041EB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3E97EF2-5A23-F7E5-328F-48EA2AC4AA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ircular Layou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032CA51-68AF-9D62-7726-2C2E2F427E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21</a:t>
            </a:fld>
            <a:endParaRPr lang="en-US" dirty="0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B1EC413A-D117-143F-A886-16D346CCA5FB}"/>
              </a:ext>
            </a:extLst>
          </p:cNvPr>
          <p:cNvSpPr>
            <a:spLocks/>
          </p:cNvSpPr>
          <p:nvPr/>
        </p:nvSpPr>
        <p:spPr>
          <a:xfrm>
            <a:off x="4779658" y="1399548"/>
            <a:ext cx="2537409" cy="1546502"/>
          </a:xfrm>
          <a:custGeom>
            <a:avLst/>
            <a:gdLst>
              <a:gd name="connsiteX0" fmla="*/ 1203579 w 2537409"/>
              <a:gd name="connsiteY0" fmla="*/ 0 h 1546502"/>
              <a:gd name="connsiteX1" fmla="*/ 2464109 w 2537409"/>
              <a:gd name="connsiteY1" fmla="*/ 385315 h 1546502"/>
              <a:gd name="connsiteX2" fmla="*/ 2537409 w 2537409"/>
              <a:gd name="connsiteY2" fmla="*/ 440167 h 1546502"/>
              <a:gd name="connsiteX3" fmla="*/ 1773854 w 2537409"/>
              <a:gd name="connsiteY3" fmla="*/ 1546502 h 1546502"/>
              <a:gd name="connsiteX4" fmla="*/ 1714656 w 2537409"/>
              <a:gd name="connsiteY4" fmla="*/ 1497625 h 1546502"/>
              <a:gd name="connsiteX5" fmla="*/ 1203579 w 2537409"/>
              <a:gd name="connsiteY5" fmla="*/ 1341400 h 1546502"/>
              <a:gd name="connsiteX6" fmla="*/ 767869 w 2537409"/>
              <a:gd name="connsiteY6" fmla="*/ 1451805 h 1546502"/>
              <a:gd name="connsiteX7" fmla="*/ 723205 w 2537409"/>
              <a:gd name="connsiteY7" fmla="*/ 1478959 h 1546502"/>
              <a:gd name="connsiteX8" fmla="*/ 0 w 2537409"/>
              <a:gd name="connsiteY8" fmla="*/ 350692 h 1546502"/>
              <a:gd name="connsiteX9" fmla="*/ 128936 w 2537409"/>
              <a:gd name="connsiteY9" fmla="*/ 272305 h 1546502"/>
              <a:gd name="connsiteX10" fmla="*/ 1203579 w 2537409"/>
              <a:gd name="connsiteY10" fmla="*/ 0 h 1546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537409" h="1546502">
                <a:moveTo>
                  <a:pt x="1203579" y="0"/>
                </a:moveTo>
                <a:cubicBezTo>
                  <a:pt x="1670508" y="0"/>
                  <a:pt x="2104283" y="142047"/>
                  <a:pt x="2464109" y="385315"/>
                </a:cubicBezTo>
                <a:lnTo>
                  <a:pt x="2537409" y="440167"/>
                </a:lnTo>
                <a:lnTo>
                  <a:pt x="1773854" y="1546502"/>
                </a:lnTo>
                <a:lnTo>
                  <a:pt x="1714656" y="1497625"/>
                </a:lnTo>
                <a:cubicBezTo>
                  <a:pt x="1568767" y="1398993"/>
                  <a:pt x="1392894" y="1341400"/>
                  <a:pt x="1203579" y="1341400"/>
                </a:cubicBezTo>
                <a:cubicBezTo>
                  <a:pt x="1045817" y="1341400"/>
                  <a:pt x="897389" y="1381395"/>
                  <a:pt x="767869" y="1451805"/>
                </a:cubicBezTo>
                <a:lnTo>
                  <a:pt x="723205" y="1478959"/>
                </a:lnTo>
                <a:lnTo>
                  <a:pt x="0" y="350692"/>
                </a:lnTo>
                <a:lnTo>
                  <a:pt x="128936" y="272305"/>
                </a:lnTo>
                <a:cubicBezTo>
                  <a:pt x="448388" y="98644"/>
                  <a:pt x="814472" y="0"/>
                  <a:pt x="1203579" y="0"/>
                </a:cubicBezTo>
                <a:close/>
              </a:path>
            </a:pathLst>
          </a:cu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78E5CFD6-BCD6-1953-CCA7-468196850401}"/>
              </a:ext>
            </a:extLst>
          </p:cNvPr>
          <p:cNvSpPr>
            <a:spLocks/>
          </p:cNvSpPr>
          <p:nvPr/>
        </p:nvSpPr>
        <p:spPr>
          <a:xfrm>
            <a:off x="3728705" y="1758786"/>
            <a:ext cx="1760100" cy="1942214"/>
          </a:xfrm>
          <a:custGeom>
            <a:avLst/>
            <a:gdLst>
              <a:gd name="connsiteX0" fmla="*/ 1036895 w 1760100"/>
              <a:gd name="connsiteY0" fmla="*/ 0 h 1942214"/>
              <a:gd name="connsiteX1" fmla="*/ 1760100 w 1760100"/>
              <a:gd name="connsiteY1" fmla="*/ 1128267 h 1942214"/>
              <a:gd name="connsiteX2" fmla="*/ 1743454 w 1760100"/>
              <a:gd name="connsiteY2" fmla="*/ 1138387 h 1942214"/>
              <a:gd name="connsiteX3" fmla="*/ 1340439 w 1760100"/>
              <a:gd name="connsiteY3" fmla="*/ 1896910 h 1942214"/>
              <a:gd name="connsiteX4" fmla="*/ 1342725 w 1760100"/>
              <a:gd name="connsiteY4" fmla="*/ 1942214 h 1942214"/>
              <a:gd name="connsiteX5" fmla="*/ 2286 w 1760100"/>
              <a:gd name="connsiteY5" fmla="*/ 1942214 h 1942214"/>
              <a:gd name="connsiteX6" fmla="*/ 0 w 1760100"/>
              <a:gd name="connsiteY6" fmla="*/ 1896910 h 1942214"/>
              <a:gd name="connsiteX7" fmla="*/ 994001 w 1760100"/>
              <a:gd name="connsiteY7" fmla="*/ 26077 h 1942214"/>
              <a:gd name="connsiteX8" fmla="*/ 1036895 w 1760100"/>
              <a:gd name="connsiteY8" fmla="*/ 0 h 1942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60100" h="1942214">
                <a:moveTo>
                  <a:pt x="1036895" y="0"/>
                </a:moveTo>
                <a:lnTo>
                  <a:pt x="1760100" y="1128267"/>
                </a:lnTo>
                <a:lnTo>
                  <a:pt x="1743454" y="1138387"/>
                </a:lnTo>
                <a:cubicBezTo>
                  <a:pt x="1500304" y="1302774"/>
                  <a:pt x="1340439" y="1581160"/>
                  <a:pt x="1340439" y="1896910"/>
                </a:cubicBezTo>
                <a:lnTo>
                  <a:pt x="1342725" y="1942214"/>
                </a:lnTo>
                <a:lnTo>
                  <a:pt x="2286" y="1942214"/>
                </a:lnTo>
                <a:lnTo>
                  <a:pt x="0" y="1896910"/>
                </a:lnTo>
                <a:cubicBezTo>
                  <a:pt x="0" y="1118138"/>
                  <a:pt x="394292" y="431523"/>
                  <a:pt x="994001" y="26077"/>
                </a:cubicBezTo>
                <a:lnTo>
                  <a:pt x="1036895" y="0"/>
                </a:lnTo>
                <a:close/>
              </a:path>
            </a:pathLst>
          </a:cu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395CC95D-603E-9E8B-ED17-777B629B9274}"/>
              </a:ext>
            </a:extLst>
          </p:cNvPr>
          <p:cNvSpPr>
            <a:spLocks/>
          </p:cNvSpPr>
          <p:nvPr/>
        </p:nvSpPr>
        <p:spPr>
          <a:xfrm>
            <a:off x="6489221" y="1849577"/>
            <a:ext cx="1748547" cy="3696007"/>
          </a:xfrm>
          <a:custGeom>
            <a:avLst/>
            <a:gdLst>
              <a:gd name="connsiteX0" fmla="*/ 841024 w 1748547"/>
              <a:gd name="connsiteY0" fmla="*/ 0 h 3696007"/>
              <a:gd name="connsiteX1" fmla="*/ 928107 w 1748547"/>
              <a:gd name="connsiteY1" fmla="*/ 65167 h 3696007"/>
              <a:gd name="connsiteX2" fmla="*/ 1748547 w 1748547"/>
              <a:gd name="connsiteY2" fmla="*/ 1806120 h 3696007"/>
              <a:gd name="connsiteX3" fmla="*/ 754546 w 1748547"/>
              <a:gd name="connsiteY3" fmla="*/ 3676953 h 3696007"/>
              <a:gd name="connsiteX4" fmla="*/ 723205 w 1748547"/>
              <a:gd name="connsiteY4" fmla="*/ 3696007 h 3696007"/>
              <a:gd name="connsiteX5" fmla="*/ 0 w 1748547"/>
              <a:gd name="connsiteY5" fmla="*/ 2567740 h 3696007"/>
              <a:gd name="connsiteX6" fmla="*/ 5093 w 1748547"/>
              <a:gd name="connsiteY6" fmla="*/ 2564643 h 3696007"/>
              <a:gd name="connsiteX7" fmla="*/ 408108 w 1748547"/>
              <a:gd name="connsiteY7" fmla="*/ 1806120 h 3696007"/>
              <a:gd name="connsiteX8" fmla="*/ 140377 w 1748547"/>
              <a:gd name="connsiteY8" fmla="*/ 1159296 h 3696007"/>
              <a:gd name="connsiteX9" fmla="*/ 77020 w 1748547"/>
              <a:gd name="connsiteY9" fmla="*/ 1106984 h 3696007"/>
              <a:gd name="connsiteX10" fmla="*/ 841024 w 1748547"/>
              <a:gd name="connsiteY10" fmla="*/ 0 h 3696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748547" h="3696007">
                <a:moveTo>
                  <a:pt x="841024" y="0"/>
                </a:moveTo>
                <a:lnTo>
                  <a:pt x="928107" y="65167"/>
                </a:lnTo>
                <a:cubicBezTo>
                  <a:pt x="1429171" y="478977"/>
                  <a:pt x="1748547" y="1105225"/>
                  <a:pt x="1748547" y="1806120"/>
                </a:cubicBezTo>
                <a:cubicBezTo>
                  <a:pt x="1748547" y="2584893"/>
                  <a:pt x="1354255" y="3271507"/>
                  <a:pt x="754546" y="3676953"/>
                </a:cubicBezTo>
                <a:lnTo>
                  <a:pt x="723205" y="3696007"/>
                </a:lnTo>
                <a:lnTo>
                  <a:pt x="0" y="2567740"/>
                </a:lnTo>
                <a:lnTo>
                  <a:pt x="5093" y="2564643"/>
                </a:lnTo>
                <a:cubicBezTo>
                  <a:pt x="248244" y="2400257"/>
                  <a:pt x="408108" y="2121871"/>
                  <a:pt x="408108" y="1806120"/>
                </a:cubicBezTo>
                <a:cubicBezTo>
                  <a:pt x="408108" y="1553520"/>
                  <a:pt x="305795" y="1324833"/>
                  <a:pt x="140377" y="1159296"/>
                </a:cubicBezTo>
                <a:lnTo>
                  <a:pt x="77020" y="1106984"/>
                </a:lnTo>
                <a:lnTo>
                  <a:pt x="841024" y="0"/>
                </a:lnTo>
                <a:close/>
              </a:path>
            </a:pathLst>
          </a:cu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232A3D6F-F08D-2C6A-7834-18303758E100}"/>
              </a:ext>
            </a:extLst>
          </p:cNvPr>
          <p:cNvSpPr>
            <a:spLocks/>
          </p:cNvSpPr>
          <p:nvPr/>
        </p:nvSpPr>
        <p:spPr>
          <a:xfrm>
            <a:off x="3731822" y="3717447"/>
            <a:ext cx="1788289" cy="1830429"/>
          </a:xfrm>
          <a:custGeom>
            <a:avLst/>
            <a:gdLst>
              <a:gd name="connsiteX0" fmla="*/ 0 w 1788289"/>
              <a:gd name="connsiteY0" fmla="*/ 0 h 1830429"/>
              <a:gd name="connsiteX1" fmla="*/ 1340439 w 1788289"/>
              <a:gd name="connsiteY1" fmla="*/ 0 h 1830429"/>
              <a:gd name="connsiteX2" fmla="*/ 1342042 w 1788289"/>
              <a:gd name="connsiteY2" fmla="*/ 31778 h 1830429"/>
              <a:gd name="connsiteX3" fmla="*/ 1740338 w 1788289"/>
              <a:gd name="connsiteY3" fmla="*/ 696773 h 1830429"/>
              <a:gd name="connsiteX4" fmla="*/ 1788289 w 1788289"/>
              <a:gd name="connsiteY4" fmla="*/ 725925 h 1830429"/>
              <a:gd name="connsiteX5" fmla="*/ 1025997 w 1788289"/>
              <a:gd name="connsiteY5" fmla="*/ 1830429 h 1830429"/>
              <a:gd name="connsiteX6" fmla="*/ 990885 w 1788289"/>
              <a:gd name="connsiteY6" fmla="*/ 1809083 h 1830429"/>
              <a:gd name="connsiteX7" fmla="*/ 8524 w 1788289"/>
              <a:gd name="connsiteY7" fmla="*/ 168928 h 1830429"/>
              <a:gd name="connsiteX8" fmla="*/ 0 w 1788289"/>
              <a:gd name="connsiteY8" fmla="*/ 0 h 18304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88289" h="1830429">
                <a:moveTo>
                  <a:pt x="0" y="0"/>
                </a:moveTo>
                <a:lnTo>
                  <a:pt x="1340439" y="0"/>
                </a:lnTo>
                <a:lnTo>
                  <a:pt x="1342042" y="31778"/>
                </a:lnTo>
                <a:cubicBezTo>
                  <a:pt x="1370129" y="308538"/>
                  <a:pt x="1521503" y="548825"/>
                  <a:pt x="1740338" y="696773"/>
                </a:cubicBezTo>
                <a:lnTo>
                  <a:pt x="1788289" y="725925"/>
                </a:lnTo>
                <a:lnTo>
                  <a:pt x="1025997" y="1830429"/>
                </a:lnTo>
                <a:lnTo>
                  <a:pt x="990885" y="1809083"/>
                </a:lnTo>
                <a:cubicBezTo>
                  <a:pt x="451147" y="1444182"/>
                  <a:pt x="77797" y="851534"/>
                  <a:pt x="8524" y="168928"/>
                </a:cubicBezTo>
                <a:lnTo>
                  <a:pt x="0" y="0"/>
                </a:lnTo>
                <a:close/>
              </a:path>
            </a:pathLst>
          </a:cu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F51A204B-5C2D-5CCA-D19C-823306CAFC75}"/>
              </a:ext>
            </a:extLst>
          </p:cNvPr>
          <p:cNvSpPr>
            <a:spLocks/>
          </p:cNvSpPr>
          <p:nvPr/>
        </p:nvSpPr>
        <p:spPr>
          <a:xfrm>
            <a:off x="4771894" y="4425862"/>
            <a:ext cx="2426474" cy="1485982"/>
          </a:xfrm>
          <a:custGeom>
            <a:avLst/>
            <a:gdLst>
              <a:gd name="connsiteX0" fmla="*/ 1703269 w 2426474"/>
              <a:gd name="connsiteY0" fmla="*/ 0 h 1485982"/>
              <a:gd name="connsiteX1" fmla="*/ 2426474 w 2426474"/>
              <a:gd name="connsiteY1" fmla="*/ 1128267 h 1485982"/>
              <a:gd name="connsiteX2" fmla="*/ 2285985 w 2426474"/>
              <a:gd name="connsiteY2" fmla="*/ 1213677 h 1485982"/>
              <a:gd name="connsiteX3" fmla="*/ 1211342 w 2426474"/>
              <a:gd name="connsiteY3" fmla="*/ 1485982 h 1485982"/>
              <a:gd name="connsiteX4" fmla="*/ 136699 w 2426474"/>
              <a:gd name="connsiteY4" fmla="*/ 1213677 h 1485982"/>
              <a:gd name="connsiteX5" fmla="*/ 0 w 2426474"/>
              <a:gd name="connsiteY5" fmla="*/ 1130571 h 1485982"/>
              <a:gd name="connsiteX6" fmla="*/ 762292 w 2426474"/>
              <a:gd name="connsiteY6" fmla="*/ 26067 h 1485982"/>
              <a:gd name="connsiteX7" fmla="*/ 775632 w 2426474"/>
              <a:gd name="connsiteY7" fmla="*/ 34177 h 1485982"/>
              <a:gd name="connsiteX8" fmla="*/ 1211342 w 2426474"/>
              <a:gd name="connsiteY8" fmla="*/ 144582 h 1485982"/>
              <a:gd name="connsiteX9" fmla="*/ 1647052 w 2426474"/>
              <a:gd name="connsiteY9" fmla="*/ 34177 h 1485982"/>
              <a:gd name="connsiteX10" fmla="*/ 1703269 w 2426474"/>
              <a:gd name="connsiteY10" fmla="*/ 0 h 14859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426474" h="1485982">
                <a:moveTo>
                  <a:pt x="1703269" y="0"/>
                </a:moveTo>
                <a:lnTo>
                  <a:pt x="2426474" y="1128267"/>
                </a:lnTo>
                <a:lnTo>
                  <a:pt x="2285985" y="1213677"/>
                </a:lnTo>
                <a:cubicBezTo>
                  <a:pt x="1966534" y="1387338"/>
                  <a:pt x="1600449" y="1485982"/>
                  <a:pt x="1211342" y="1485982"/>
                </a:cubicBezTo>
                <a:cubicBezTo>
                  <a:pt x="822235" y="1485982"/>
                  <a:pt x="456151" y="1387338"/>
                  <a:pt x="136699" y="1213677"/>
                </a:cubicBezTo>
                <a:lnTo>
                  <a:pt x="0" y="1130571"/>
                </a:lnTo>
                <a:lnTo>
                  <a:pt x="762292" y="26067"/>
                </a:lnTo>
                <a:lnTo>
                  <a:pt x="775632" y="34177"/>
                </a:lnTo>
                <a:cubicBezTo>
                  <a:pt x="905152" y="104587"/>
                  <a:pt x="1053580" y="144582"/>
                  <a:pt x="1211342" y="144582"/>
                </a:cubicBezTo>
                <a:cubicBezTo>
                  <a:pt x="1369104" y="144582"/>
                  <a:pt x="1517532" y="104587"/>
                  <a:pt x="1647052" y="34177"/>
                </a:cubicBezTo>
                <a:lnTo>
                  <a:pt x="1703269" y="0"/>
                </a:lnTo>
                <a:close/>
              </a:path>
            </a:pathLst>
          </a:cu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2941DF7C-3CA3-AD52-D2C1-BA72F7C9EAD0}"/>
              </a:ext>
            </a:extLst>
          </p:cNvPr>
          <p:cNvSpPr/>
          <p:nvPr/>
        </p:nvSpPr>
        <p:spPr>
          <a:xfrm>
            <a:off x="7723247" y="3207705"/>
            <a:ext cx="972334" cy="972334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1"/>
          <a:lstStyle/>
          <a:p>
            <a:pPr algn="ctr"/>
            <a:r>
              <a:rPr lang="en-IN" sz="2000" dirty="0">
                <a:solidFill>
                  <a:schemeClr val="tx1"/>
                </a:solidFill>
              </a:rPr>
              <a:t>Insert </a:t>
            </a:r>
            <a:br>
              <a:rPr lang="en-IN" sz="2000" dirty="0">
                <a:solidFill>
                  <a:schemeClr val="tx1"/>
                </a:solidFill>
              </a:rPr>
            </a:br>
            <a:r>
              <a:rPr lang="en-IN" sz="2000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4A7CD8F5-7E9E-FA2B-CE13-7B46C02D468E}"/>
              </a:ext>
            </a:extLst>
          </p:cNvPr>
          <p:cNvSpPr/>
          <p:nvPr/>
        </p:nvSpPr>
        <p:spPr>
          <a:xfrm>
            <a:off x="5551547" y="1093155"/>
            <a:ext cx="972334" cy="972334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1"/>
          <a:lstStyle/>
          <a:p>
            <a:pPr algn="ctr"/>
            <a:r>
              <a:rPr lang="en-IN" sz="2000" dirty="0">
                <a:solidFill>
                  <a:schemeClr val="tx1"/>
                </a:solidFill>
              </a:rPr>
              <a:t>Insert </a:t>
            </a:r>
            <a:br>
              <a:rPr lang="en-IN" sz="2000" dirty="0">
                <a:solidFill>
                  <a:schemeClr val="tx1"/>
                </a:solidFill>
              </a:rPr>
            </a:br>
            <a:r>
              <a:rPr lang="en-IN" sz="2000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70249D29-0DAD-CDE1-D9B3-C49D6AE32D33}"/>
              </a:ext>
            </a:extLst>
          </p:cNvPr>
          <p:cNvSpPr/>
          <p:nvPr/>
        </p:nvSpPr>
        <p:spPr>
          <a:xfrm>
            <a:off x="3475097" y="2274255"/>
            <a:ext cx="972334" cy="972334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1"/>
          <a:lstStyle/>
          <a:p>
            <a:pPr algn="ctr"/>
            <a:r>
              <a:rPr lang="en-IN" sz="2000" dirty="0">
                <a:solidFill>
                  <a:schemeClr val="tx1"/>
                </a:solidFill>
              </a:rPr>
              <a:t>Insert </a:t>
            </a:r>
            <a:br>
              <a:rPr lang="en-IN" sz="2000" dirty="0">
                <a:solidFill>
                  <a:schemeClr val="tx1"/>
                </a:solidFill>
              </a:rPr>
            </a:br>
            <a:r>
              <a:rPr lang="en-IN" sz="2000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92956A8A-2396-3030-36CE-B9B5C2542368}"/>
              </a:ext>
            </a:extLst>
          </p:cNvPr>
          <p:cNvSpPr/>
          <p:nvPr/>
        </p:nvSpPr>
        <p:spPr>
          <a:xfrm>
            <a:off x="3475097" y="4293555"/>
            <a:ext cx="972334" cy="972334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1"/>
          <a:lstStyle/>
          <a:p>
            <a:pPr algn="ctr"/>
            <a:r>
              <a:rPr lang="en-IN" sz="2000" dirty="0">
                <a:solidFill>
                  <a:schemeClr val="tx1"/>
                </a:solidFill>
              </a:rPr>
              <a:t>Insert </a:t>
            </a:r>
            <a:br>
              <a:rPr lang="en-IN" sz="2000" dirty="0">
                <a:solidFill>
                  <a:schemeClr val="tx1"/>
                </a:solidFill>
              </a:rPr>
            </a:br>
            <a:r>
              <a:rPr lang="en-IN" sz="2000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8FDE209A-F175-E75F-C114-EE9B37E36FEC}"/>
              </a:ext>
            </a:extLst>
          </p:cNvPr>
          <p:cNvSpPr/>
          <p:nvPr/>
        </p:nvSpPr>
        <p:spPr>
          <a:xfrm>
            <a:off x="5513447" y="5455605"/>
            <a:ext cx="972334" cy="972334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1"/>
          <a:lstStyle/>
          <a:p>
            <a:pPr algn="ctr"/>
            <a:r>
              <a:rPr lang="en-IN" sz="2000" dirty="0">
                <a:solidFill>
                  <a:schemeClr val="tx1"/>
                </a:solidFill>
              </a:rPr>
              <a:t>Insert </a:t>
            </a:r>
            <a:br>
              <a:rPr lang="en-IN" sz="2000" dirty="0">
                <a:solidFill>
                  <a:schemeClr val="tx1"/>
                </a:solidFill>
              </a:rPr>
            </a:br>
            <a:r>
              <a:rPr lang="en-IN" sz="2000" dirty="0">
                <a:solidFill>
                  <a:schemeClr val="tx1"/>
                </a:solidFill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04498414"/>
      </p:ext>
    </p:extLst>
  </p:cSld>
  <p:clrMapOvr>
    <a:masterClrMapping/>
  </p:clrMapOvr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792C61-5245-5835-0AAC-B213B814C9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945E2BB4-92A3-F821-A731-7CD75BEA6F6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45E2BB4-92A3-F821-A731-7CD75BEA6F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6CD9D1A-E7D4-2B00-E599-D65E4C04D5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ircular Layou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EAD4A5D-899E-BE8B-FCC0-A8A9BCB46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22</a:t>
            </a:fld>
            <a:endParaRPr lang="en-US" dirty="0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FE5ABD01-0720-9BE2-3B03-EFC023CD7462}"/>
              </a:ext>
            </a:extLst>
          </p:cNvPr>
          <p:cNvSpPr>
            <a:spLocks/>
          </p:cNvSpPr>
          <p:nvPr/>
        </p:nvSpPr>
        <p:spPr>
          <a:xfrm>
            <a:off x="4779658" y="1399548"/>
            <a:ext cx="2537409" cy="1546502"/>
          </a:xfrm>
          <a:custGeom>
            <a:avLst/>
            <a:gdLst>
              <a:gd name="connsiteX0" fmla="*/ 1203579 w 2537409"/>
              <a:gd name="connsiteY0" fmla="*/ 0 h 1546502"/>
              <a:gd name="connsiteX1" fmla="*/ 2464109 w 2537409"/>
              <a:gd name="connsiteY1" fmla="*/ 385315 h 1546502"/>
              <a:gd name="connsiteX2" fmla="*/ 2537409 w 2537409"/>
              <a:gd name="connsiteY2" fmla="*/ 440167 h 1546502"/>
              <a:gd name="connsiteX3" fmla="*/ 1773854 w 2537409"/>
              <a:gd name="connsiteY3" fmla="*/ 1546502 h 1546502"/>
              <a:gd name="connsiteX4" fmla="*/ 1714656 w 2537409"/>
              <a:gd name="connsiteY4" fmla="*/ 1497625 h 1546502"/>
              <a:gd name="connsiteX5" fmla="*/ 1203579 w 2537409"/>
              <a:gd name="connsiteY5" fmla="*/ 1341400 h 1546502"/>
              <a:gd name="connsiteX6" fmla="*/ 767869 w 2537409"/>
              <a:gd name="connsiteY6" fmla="*/ 1451805 h 1546502"/>
              <a:gd name="connsiteX7" fmla="*/ 723205 w 2537409"/>
              <a:gd name="connsiteY7" fmla="*/ 1478959 h 1546502"/>
              <a:gd name="connsiteX8" fmla="*/ 0 w 2537409"/>
              <a:gd name="connsiteY8" fmla="*/ 350692 h 1546502"/>
              <a:gd name="connsiteX9" fmla="*/ 128936 w 2537409"/>
              <a:gd name="connsiteY9" fmla="*/ 272305 h 1546502"/>
              <a:gd name="connsiteX10" fmla="*/ 1203579 w 2537409"/>
              <a:gd name="connsiteY10" fmla="*/ 0 h 1546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537409" h="1546502">
                <a:moveTo>
                  <a:pt x="1203579" y="0"/>
                </a:moveTo>
                <a:cubicBezTo>
                  <a:pt x="1670508" y="0"/>
                  <a:pt x="2104283" y="142047"/>
                  <a:pt x="2464109" y="385315"/>
                </a:cubicBezTo>
                <a:lnTo>
                  <a:pt x="2537409" y="440167"/>
                </a:lnTo>
                <a:lnTo>
                  <a:pt x="1773854" y="1546502"/>
                </a:lnTo>
                <a:lnTo>
                  <a:pt x="1714656" y="1497625"/>
                </a:lnTo>
                <a:cubicBezTo>
                  <a:pt x="1568767" y="1398993"/>
                  <a:pt x="1392894" y="1341400"/>
                  <a:pt x="1203579" y="1341400"/>
                </a:cubicBezTo>
                <a:cubicBezTo>
                  <a:pt x="1045817" y="1341400"/>
                  <a:pt x="897389" y="1381395"/>
                  <a:pt x="767869" y="1451805"/>
                </a:cubicBezTo>
                <a:lnTo>
                  <a:pt x="723205" y="1478959"/>
                </a:lnTo>
                <a:lnTo>
                  <a:pt x="0" y="350692"/>
                </a:lnTo>
                <a:lnTo>
                  <a:pt x="128936" y="272305"/>
                </a:lnTo>
                <a:cubicBezTo>
                  <a:pt x="448388" y="98644"/>
                  <a:pt x="814472" y="0"/>
                  <a:pt x="1203579" y="0"/>
                </a:cubicBezTo>
                <a:close/>
              </a:path>
            </a:pathLst>
          </a:cu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B9258287-394B-3EF2-4FD3-7C2D059D70CF}"/>
              </a:ext>
            </a:extLst>
          </p:cNvPr>
          <p:cNvSpPr>
            <a:spLocks/>
          </p:cNvSpPr>
          <p:nvPr/>
        </p:nvSpPr>
        <p:spPr>
          <a:xfrm>
            <a:off x="3728705" y="1758786"/>
            <a:ext cx="1760100" cy="1942214"/>
          </a:xfrm>
          <a:custGeom>
            <a:avLst/>
            <a:gdLst>
              <a:gd name="connsiteX0" fmla="*/ 1036895 w 1760100"/>
              <a:gd name="connsiteY0" fmla="*/ 0 h 1942214"/>
              <a:gd name="connsiteX1" fmla="*/ 1760100 w 1760100"/>
              <a:gd name="connsiteY1" fmla="*/ 1128267 h 1942214"/>
              <a:gd name="connsiteX2" fmla="*/ 1743454 w 1760100"/>
              <a:gd name="connsiteY2" fmla="*/ 1138387 h 1942214"/>
              <a:gd name="connsiteX3" fmla="*/ 1340439 w 1760100"/>
              <a:gd name="connsiteY3" fmla="*/ 1896910 h 1942214"/>
              <a:gd name="connsiteX4" fmla="*/ 1342725 w 1760100"/>
              <a:gd name="connsiteY4" fmla="*/ 1942214 h 1942214"/>
              <a:gd name="connsiteX5" fmla="*/ 2286 w 1760100"/>
              <a:gd name="connsiteY5" fmla="*/ 1942214 h 1942214"/>
              <a:gd name="connsiteX6" fmla="*/ 0 w 1760100"/>
              <a:gd name="connsiteY6" fmla="*/ 1896910 h 1942214"/>
              <a:gd name="connsiteX7" fmla="*/ 994001 w 1760100"/>
              <a:gd name="connsiteY7" fmla="*/ 26077 h 1942214"/>
              <a:gd name="connsiteX8" fmla="*/ 1036895 w 1760100"/>
              <a:gd name="connsiteY8" fmla="*/ 0 h 1942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60100" h="1942214">
                <a:moveTo>
                  <a:pt x="1036895" y="0"/>
                </a:moveTo>
                <a:lnTo>
                  <a:pt x="1760100" y="1128267"/>
                </a:lnTo>
                <a:lnTo>
                  <a:pt x="1743454" y="1138387"/>
                </a:lnTo>
                <a:cubicBezTo>
                  <a:pt x="1500304" y="1302774"/>
                  <a:pt x="1340439" y="1581160"/>
                  <a:pt x="1340439" y="1896910"/>
                </a:cubicBezTo>
                <a:lnTo>
                  <a:pt x="1342725" y="1942214"/>
                </a:lnTo>
                <a:lnTo>
                  <a:pt x="2286" y="1942214"/>
                </a:lnTo>
                <a:lnTo>
                  <a:pt x="0" y="1896910"/>
                </a:lnTo>
                <a:cubicBezTo>
                  <a:pt x="0" y="1118138"/>
                  <a:pt x="394292" y="431523"/>
                  <a:pt x="994001" y="26077"/>
                </a:cubicBezTo>
                <a:lnTo>
                  <a:pt x="1036895" y="0"/>
                </a:lnTo>
                <a:close/>
              </a:path>
            </a:pathLst>
          </a:cu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899DAF1E-EEBB-FCE6-036A-577C381E61D0}"/>
              </a:ext>
            </a:extLst>
          </p:cNvPr>
          <p:cNvSpPr>
            <a:spLocks/>
          </p:cNvSpPr>
          <p:nvPr/>
        </p:nvSpPr>
        <p:spPr>
          <a:xfrm>
            <a:off x="6566241" y="1849576"/>
            <a:ext cx="1671527" cy="1851424"/>
          </a:xfrm>
          <a:custGeom>
            <a:avLst/>
            <a:gdLst>
              <a:gd name="connsiteX0" fmla="*/ 764004 w 1671527"/>
              <a:gd name="connsiteY0" fmla="*/ 0 h 1851424"/>
              <a:gd name="connsiteX1" fmla="*/ 851087 w 1671527"/>
              <a:gd name="connsiteY1" fmla="*/ 65167 h 1851424"/>
              <a:gd name="connsiteX2" fmla="*/ 1671527 w 1671527"/>
              <a:gd name="connsiteY2" fmla="*/ 1806120 h 1851424"/>
              <a:gd name="connsiteX3" fmla="*/ 1669241 w 1671527"/>
              <a:gd name="connsiteY3" fmla="*/ 1851424 h 1851424"/>
              <a:gd name="connsiteX4" fmla="*/ 328802 w 1671527"/>
              <a:gd name="connsiteY4" fmla="*/ 1851424 h 1851424"/>
              <a:gd name="connsiteX5" fmla="*/ 331088 w 1671527"/>
              <a:gd name="connsiteY5" fmla="*/ 1806120 h 1851424"/>
              <a:gd name="connsiteX6" fmla="*/ 63357 w 1671527"/>
              <a:gd name="connsiteY6" fmla="*/ 1159296 h 1851424"/>
              <a:gd name="connsiteX7" fmla="*/ 0 w 1671527"/>
              <a:gd name="connsiteY7" fmla="*/ 1106984 h 1851424"/>
              <a:gd name="connsiteX8" fmla="*/ 764004 w 1671527"/>
              <a:gd name="connsiteY8" fmla="*/ 0 h 18514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71527" h="1851424">
                <a:moveTo>
                  <a:pt x="764004" y="0"/>
                </a:moveTo>
                <a:lnTo>
                  <a:pt x="851087" y="65167"/>
                </a:lnTo>
                <a:cubicBezTo>
                  <a:pt x="1352151" y="478977"/>
                  <a:pt x="1671527" y="1105225"/>
                  <a:pt x="1671527" y="1806120"/>
                </a:cubicBezTo>
                <a:lnTo>
                  <a:pt x="1669241" y="1851424"/>
                </a:lnTo>
                <a:lnTo>
                  <a:pt x="328802" y="1851424"/>
                </a:lnTo>
                <a:lnTo>
                  <a:pt x="331088" y="1806120"/>
                </a:lnTo>
                <a:cubicBezTo>
                  <a:pt x="331088" y="1553520"/>
                  <a:pt x="228775" y="1324833"/>
                  <a:pt x="63357" y="1159296"/>
                </a:cubicBezTo>
                <a:lnTo>
                  <a:pt x="0" y="1106984"/>
                </a:lnTo>
                <a:lnTo>
                  <a:pt x="764004" y="0"/>
                </a:lnTo>
                <a:close/>
              </a:path>
            </a:pathLst>
          </a:cu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44F95F5E-1E6A-1625-8E99-1D97912C653F}"/>
              </a:ext>
            </a:extLst>
          </p:cNvPr>
          <p:cNvSpPr>
            <a:spLocks/>
          </p:cNvSpPr>
          <p:nvPr/>
        </p:nvSpPr>
        <p:spPr>
          <a:xfrm>
            <a:off x="3731822" y="3717447"/>
            <a:ext cx="1788289" cy="1830429"/>
          </a:xfrm>
          <a:custGeom>
            <a:avLst/>
            <a:gdLst>
              <a:gd name="connsiteX0" fmla="*/ 0 w 1788289"/>
              <a:gd name="connsiteY0" fmla="*/ 0 h 1830429"/>
              <a:gd name="connsiteX1" fmla="*/ 1340439 w 1788289"/>
              <a:gd name="connsiteY1" fmla="*/ 0 h 1830429"/>
              <a:gd name="connsiteX2" fmla="*/ 1342042 w 1788289"/>
              <a:gd name="connsiteY2" fmla="*/ 31778 h 1830429"/>
              <a:gd name="connsiteX3" fmla="*/ 1740338 w 1788289"/>
              <a:gd name="connsiteY3" fmla="*/ 696773 h 1830429"/>
              <a:gd name="connsiteX4" fmla="*/ 1788289 w 1788289"/>
              <a:gd name="connsiteY4" fmla="*/ 725925 h 1830429"/>
              <a:gd name="connsiteX5" fmla="*/ 1025997 w 1788289"/>
              <a:gd name="connsiteY5" fmla="*/ 1830429 h 1830429"/>
              <a:gd name="connsiteX6" fmla="*/ 990885 w 1788289"/>
              <a:gd name="connsiteY6" fmla="*/ 1809083 h 1830429"/>
              <a:gd name="connsiteX7" fmla="*/ 8524 w 1788289"/>
              <a:gd name="connsiteY7" fmla="*/ 168928 h 1830429"/>
              <a:gd name="connsiteX8" fmla="*/ 0 w 1788289"/>
              <a:gd name="connsiteY8" fmla="*/ 0 h 18304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88289" h="1830429">
                <a:moveTo>
                  <a:pt x="0" y="0"/>
                </a:moveTo>
                <a:lnTo>
                  <a:pt x="1340439" y="0"/>
                </a:lnTo>
                <a:lnTo>
                  <a:pt x="1342042" y="31778"/>
                </a:lnTo>
                <a:cubicBezTo>
                  <a:pt x="1370129" y="308538"/>
                  <a:pt x="1521503" y="548825"/>
                  <a:pt x="1740338" y="696773"/>
                </a:cubicBezTo>
                <a:lnTo>
                  <a:pt x="1788289" y="725925"/>
                </a:lnTo>
                <a:lnTo>
                  <a:pt x="1025997" y="1830429"/>
                </a:lnTo>
                <a:lnTo>
                  <a:pt x="990885" y="1809083"/>
                </a:lnTo>
                <a:cubicBezTo>
                  <a:pt x="451147" y="1444182"/>
                  <a:pt x="77797" y="851534"/>
                  <a:pt x="8524" y="168928"/>
                </a:cubicBezTo>
                <a:lnTo>
                  <a:pt x="0" y="0"/>
                </a:lnTo>
                <a:close/>
              </a:path>
            </a:pathLst>
          </a:cu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E0733435-8011-DC0F-0F69-0D518F33C6BF}"/>
              </a:ext>
            </a:extLst>
          </p:cNvPr>
          <p:cNvSpPr>
            <a:spLocks/>
          </p:cNvSpPr>
          <p:nvPr/>
        </p:nvSpPr>
        <p:spPr>
          <a:xfrm>
            <a:off x="6489221" y="3717447"/>
            <a:ext cx="1745431" cy="1828137"/>
          </a:xfrm>
          <a:custGeom>
            <a:avLst/>
            <a:gdLst>
              <a:gd name="connsiteX0" fmla="*/ 404993 w 1745431"/>
              <a:gd name="connsiteY0" fmla="*/ 0 h 1828137"/>
              <a:gd name="connsiteX1" fmla="*/ 1745431 w 1745431"/>
              <a:gd name="connsiteY1" fmla="*/ 0 h 1828137"/>
              <a:gd name="connsiteX2" fmla="*/ 1736907 w 1745431"/>
              <a:gd name="connsiteY2" fmla="*/ 168928 h 1828137"/>
              <a:gd name="connsiteX3" fmla="*/ 754546 w 1745431"/>
              <a:gd name="connsiteY3" fmla="*/ 1809083 h 1828137"/>
              <a:gd name="connsiteX4" fmla="*/ 723205 w 1745431"/>
              <a:gd name="connsiteY4" fmla="*/ 1828137 h 1828137"/>
              <a:gd name="connsiteX5" fmla="*/ 0 w 1745431"/>
              <a:gd name="connsiteY5" fmla="*/ 699870 h 1828137"/>
              <a:gd name="connsiteX6" fmla="*/ 5093 w 1745431"/>
              <a:gd name="connsiteY6" fmla="*/ 696773 h 1828137"/>
              <a:gd name="connsiteX7" fmla="*/ 403389 w 1745431"/>
              <a:gd name="connsiteY7" fmla="*/ 31778 h 1828137"/>
              <a:gd name="connsiteX8" fmla="*/ 404993 w 1745431"/>
              <a:gd name="connsiteY8" fmla="*/ 0 h 1828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45431" h="1828137">
                <a:moveTo>
                  <a:pt x="404993" y="0"/>
                </a:moveTo>
                <a:lnTo>
                  <a:pt x="1745431" y="0"/>
                </a:lnTo>
                <a:lnTo>
                  <a:pt x="1736907" y="168928"/>
                </a:lnTo>
                <a:cubicBezTo>
                  <a:pt x="1667635" y="851534"/>
                  <a:pt x="1294284" y="1444182"/>
                  <a:pt x="754546" y="1809083"/>
                </a:cubicBezTo>
                <a:lnTo>
                  <a:pt x="723205" y="1828137"/>
                </a:lnTo>
                <a:lnTo>
                  <a:pt x="0" y="699870"/>
                </a:lnTo>
                <a:lnTo>
                  <a:pt x="5093" y="696773"/>
                </a:lnTo>
                <a:cubicBezTo>
                  <a:pt x="223929" y="548825"/>
                  <a:pt x="375303" y="308538"/>
                  <a:pt x="403389" y="31778"/>
                </a:cubicBezTo>
                <a:lnTo>
                  <a:pt x="404993" y="0"/>
                </a:lnTo>
                <a:close/>
              </a:path>
            </a:pathLst>
          </a:cu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8D8815AC-F74B-31EF-52C7-B9E5AF07BC62}"/>
              </a:ext>
            </a:extLst>
          </p:cNvPr>
          <p:cNvSpPr>
            <a:spLocks/>
          </p:cNvSpPr>
          <p:nvPr/>
        </p:nvSpPr>
        <p:spPr>
          <a:xfrm>
            <a:off x="4771894" y="4425862"/>
            <a:ext cx="2426474" cy="1485982"/>
          </a:xfrm>
          <a:custGeom>
            <a:avLst/>
            <a:gdLst>
              <a:gd name="connsiteX0" fmla="*/ 1703269 w 2426474"/>
              <a:gd name="connsiteY0" fmla="*/ 0 h 1485982"/>
              <a:gd name="connsiteX1" fmla="*/ 2426474 w 2426474"/>
              <a:gd name="connsiteY1" fmla="*/ 1128267 h 1485982"/>
              <a:gd name="connsiteX2" fmla="*/ 2285985 w 2426474"/>
              <a:gd name="connsiteY2" fmla="*/ 1213677 h 1485982"/>
              <a:gd name="connsiteX3" fmla="*/ 1211342 w 2426474"/>
              <a:gd name="connsiteY3" fmla="*/ 1485982 h 1485982"/>
              <a:gd name="connsiteX4" fmla="*/ 136699 w 2426474"/>
              <a:gd name="connsiteY4" fmla="*/ 1213677 h 1485982"/>
              <a:gd name="connsiteX5" fmla="*/ 0 w 2426474"/>
              <a:gd name="connsiteY5" fmla="*/ 1130571 h 1485982"/>
              <a:gd name="connsiteX6" fmla="*/ 762292 w 2426474"/>
              <a:gd name="connsiteY6" fmla="*/ 26067 h 1485982"/>
              <a:gd name="connsiteX7" fmla="*/ 775632 w 2426474"/>
              <a:gd name="connsiteY7" fmla="*/ 34177 h 1485982"/>
              <a:gd name="connsiteX8" fmla="*/ 1211342 w 2426474"/>
              <a:gd name="connsiteY8" fmla="*/ 144582 h 1485982"/>
              <a:gd name="connsiteX9" fmla="*/ 1647052 w 2426474"/>
              <a:gd name="connsiteY9" fmla="*/ 34177 h 1485982"/>
              <a:gd name="connsiteX10" fmla="*/ 1703269 w 2426474"/>
              <a:gd name="connsiteY10" fmla="*/ 0 h 14859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426474" h="1485982">
                <a:moveTo>
                  <a:pt x="1703269" y="0"/>
                </a:moveTo>
                <a:lnTo>
                  <a:pt x="2426474" y="1128267"/>
                </a:lnTo>
                <a:lnTo>
                  <a:pt x="2285985" y="1213677"/>
                </a:lnTo>
                <a:cubicBezTo>
                  <a:pt x="1966534" y="1387338"/>
                  <a:pt x="1600449" y="1485982"/>
                  <a:pt x="1211342" y="1485982"/>
                </a:cubicBezTo>
                <a:cubicBezTo>
                  <a:pt x="822235" y="1485982"/>
                  <a:pt x="456151" y="1387338"/>
                  <a:pt x="136699" y="1213677"/>
                </a:cubicBezTo>
                <a:lnTo>
                  <a:pt x="0" y="1130571"/>
                </a:lnTo>
                <a:lnTo>
                  <a:pt x="762292" y="26067"/>
                </a:lnTo>
                <a:lnTo>
                  <a:pt x="775632" y="34177"/>
                </a:lnTo>
                <a:cubicBezTo>
                  <a:pt x="905152" y="104587"/>
                  <a:pt x="1053580" y="144582"/>
                  <a:pt x="1211342" y="144582"/>
                </a:cubicBezTo>
                <a:cubicBezTo>
                  <a:pt x="1369104" y="144582"/>
                  <a:pt x="1517532" y="104587"/>
                  <a:pt x="1647052" y="34177"/>
                </a:cubicBezTo>
                <a:lnTo>
                  <a:pt x="1703269" y="0"/>
                </a:lnTo>
                <a:close/>
              </a:path>
            </a:pathLst>
          </a:cu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FE466AF5-8F2D-9F30-FA04-57A85EC2924A}"/>
              </a:ext>
            </a:extLst>
          </p:cNvPr>
          <p:cNvSpPr/>
          <p:nvPr/>
        </p:nvSpPr>
        <p:spPr>
          <a:xfrm>
            <a:off x="7513697" y="4293555"/>
            <a:ext cx="972334" cy="972334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1"/>
          <a:lstStyle/>
          <a:p>
            <a:pPr algn="ctr"/>
            <a:r>
              <a:rPr lang="en-IN" sz="2000" dirty="0">
                <a:solidFill>
                  <a:schemeClr val="tx1"/>
                </a:solidFill>
              </a:rPr>
              <a:t>Insert </a:t>
            </a:r>
            <a:br>
              <a:rPr lang="en-IN" sz="2000" dirty="0">
                <a:solidFill>
                  <a:schemeClr val="tx1"/>
                </a:solidFill>
              </a:rPr>
            </a:br>
            <a:r>
              <a:rPr lang="en-IN" sz="2000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D790C268-F3F4-884B-0335-A604A36860F3}"/>
              </a:ext>
            </a:extLst>
          </p:cNvPr>
          <p:cNvSpPr/>
          <p:nvPr/>
        </p:nvSpPr>
        <p:spPr>
          <a:xfrm>
            <a:off x="7456547" y="2274255"/>
            <a:ext cx="972334" cy="972334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1"/>
          <a:lstStyle/>
          <a:p>
            <a:pPr algn="ctr"/>
            <a:r>
              <a:rPr lang="en-IN" sz="2000" dirty="0">
                <a:solidFill>
                  <a:schemeClr val="tx1"/>
                </a:solidFill>
              </a:rPr>
              <a:t>Insert </a:t>
            </a:r>
            <a:br>
              <a:rPr lang="en-IN" sz="2000" dirty="0">
                <a:solidFill>
                  <a:schemeClr val="tx1"/>
                </a:solidFill>
              </a:rPr>
            </a:br>
            <a:r>
              <a:rPr lang="en-IN" sz="2000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76AD3183-1801-87EC-94E4-DC4CA44C5C01}"/>
              </a:ext>
            </a:extLst>
          </p:cNvPr>
          <p:cNvSpPr/>
          <p:nvPr/>
        </p:nvSpPr>
        <p:spPr>
          <a:xfrm>
            <a:off x="5551547" y="1093155"/>
            <a:ext cx="972334" cy="972334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1"/>
          <a:lstStyle/>
          <a:p>
            <a:pPr algn="ctr"/>
            <a:r>
              <a:rPr lang="en-IN" sz="2000" dirty="0">
                <a:solidFill>
                  <a:schemeClr val="tx1"/>
                </a:solidFill>
              </a:rPr>
              <a:t>Insert </a:t>
            </a:r>
            <a:br>
              <a:rPr lang="en-IN" sz="2000" dirty="0">
                <a:solidFill>
                  <a:schemeClr val="tx1"/>
                </a:solidFill>
              </a:rPr>
            </a:br>
            <a:r>
              <a:rPr lang="en-IN" sz="2000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C2C1AE78-9A43-F3ED-3CE7-1896418F88B2}"/>
              </a:ext>
            </a:extLst>
          </p:cNvPr>
          <p:cNvSpPr/>
          <p:nvPr/>
        </p:nvSpPr>
        <p:spPr>
          <a:xfrm>
            <a:off x="3475097" y="2274255"/>
            <a:ext cx="972334" cy="972334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1"/>
          <a:lstStyle/>
          <a:p>
            <a:pPr algn="ctr"/>
            <a:r>
              <a:rPr lang="en-IN" sz="2000" dirty="0">
                <a:solidFill>
                  <a:schemeClr val="tx1"/>
                </a:solidFill>
              </a:rPr>
              <a:t>Insert </a:t>
            </a:r>
            <a:br>
              <a:rPr lang="en-IN" sz="2000" dirty="0">
                <a:solidFill>
                  <a:schemeClr val="tx1"/>
                </a:solidFill>
              </a:rPr>
            </a:br>
            <a:r>
              <a:rPr lang="en-IN" sz="2000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5A1E949E-0F66-89DA-3512-6781FFF18BBB}"/>
              </a:ext>
            </a:extLst>
          </p:cNvPr>
          <p:cNvSpPr/>
          <p:nvPr/>
        </p:nvSpPr>
        <p:spPr>
          <a:xfrm>
            <a:off x="3475097" y="4293555"/>
            <a:ext cx="972334" cy="972334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1"/>
          <a:lstStyle/>
          <a:p>
            <a:pPr algn="ctr"/>
            <a:r>
              <a:rPr lang="en-IN" sz="2000" dirty="0">
                <a:solidFill>
                  <a:schemeClr val="tx1"/>
                </a:solidFill>
              </a:rPr>
              <a:t>Insert </a:t>
            </a:r>
            <a:br>
              <a:rPr lang="en-IN" sz="2000" dirty="0">
                <a:solidFill>
                  <a:schemeClr val="tx1"/>
                </a:solidFill>
              </a:rPr>
            </a:br>
            <a:r>
              <a:rPr lang="en-IN" sz="2000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72CB860A-94CB-2DE9-370A-530539CCD632}"/>
              </a:ext>
            </a:extLst>
          </p:cNvPr>
          <p:cNvSpPr/>
          <p:nvPr/>
        </p:nvSpPr>
        <p:spPr>
          <a:xfrm>
            <a:off x="5513447" y="5455605"/>
            <a:ext cx="972334" cy="972334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1"/>
          <a:lstStyle/>
          <a:p>
            <a:pPr algn="ctr"/>
            <a:r>
              <a:rPr lang="en-IN" sz="2000" dirty="0">
                <a:solidFill>
                  <a:schemeClr val="tx1"/>
                </a:solidFill>
              </a:rPr>
              <a:t>Insert </a:t>
            </a:r>
            <a:br>
              <a:rPr lang="en-IN" sz="2000" dirty="0">
                <a:solidFill>
                  <a:schemeClr val="tx1"/>
                </a:solidFill>
              </a:rPr>
            </a:br>
            <a:r>
              <a:rPr lang="en-IN" sz="2000" dirty="0">
                <a:solidFill>
                  <a:schemeClr val="tx1"/>
                </a:solidFill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163321414"/>
      </p:ext>
    </p:extLst>
  </p:cSld>
  <p:clrMapOvr>
    <a:masterClrMapping/>
  </p:clrMapOvr>
</p:sld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02DC2B-E18E-B009-F30D-A7602E61C5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think-cell data - do not delete" hidden="1">
            <a:extLst>
              <a:ext uri="{FF2B5EF4-FFF2-40B4-BE49-F238E27FC236}">
                <a16:creationId xmlns:a16="http://schemas.microsoft.com/office/drawing/2014/main" id="{14DC0F0A-149C-FCFB-7198-EE9FF8FBB2A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DC0F0A-149C-FCFB-7198-EE9FF8FBB2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0CBAF7C-92E0-6109-3802-D234338B9F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ircular Layou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9EEB7C4-1B22-84CE-2084-275816F711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23</a:t>
            </a:fld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252F880A-724F-ED8A-3595-08F6636DA8DD}"/>
              </a:ext>
            </a:extLst>
          </p:cNvPr>
          <p:cNvGrpSpPr/>
          <p:nvPr/>
        </p:nvGrpSpPr>
        <p:grpSpPr>
          <a:xfrm>
            <a:off x="3728705" y="1399548"/>
            <a:ext cx="4509062" cy="4517136"/>
            <a:chOff x="3728706" y="1442658"/>
            <a:chExt cx="4509062" cy="4511466"/>
          </a:xfrm>
        </p:grpSpPr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1F158E5B-6E0D-2FAE-5105-08BC4C4E09F1}"/>
                </a:ext>
              </a:extLst>
            </p:cNvPr>
            <p:cNvSpPr>
              <a:spLocks/>
            </p:cNvSpPr>
            <p:nvPr/>
          </p:nvSpPr>
          <p:spPr>
            <a:xfrm>
              <a:off x="4326444" y="1442658"/>
              <a:ext cx="1648570" cy="1639176"/>
            </a:xfrm>
            <a:custGeom>
              <a:avLst/>
              <a:gdLst>
                <a:gd name="connsiteX0" fmla="*/ 1648570 w 1648570"/>
                <a:gd name="connsiteY0" fmla="*/ 0 h 1639176"/>
                <a:gd name="connsiteX1" fmla="*/ 1648570 w 1648570"/>
                <a:gd name="connsiteY1" fmla="*/ 1341400 h 1639176"/>
                <a:gd name="connsiteX2" fmla="*/ 1563331 w 1648570"/>
                <a:gd name="connsiteY2" fmla="*/ 1345707 h 1639176"/>
                <a:gd name="connsiteX3" fmla="*/ 1010431 w 1648570"/>
                <a:gd name="connsiteY3" fmla="*/ 1608908 h 1639176"/>
                <a:gd name="connsiteX4" fmla="*/ 985476 w 1648570"/>
                <a:gd name="connsiteY4" fmla="*/ 1639176 h 1639176"/>
                <a:gd name="connsiteX5" fmla="*/ 0 w 1648570"/>
                <a:gd name="connsiteY5" fmla="*/ 729319 h 1639176"/>
                <a:gd name="connsiteX6" fmla="*/ 62598 w 1648570"/>
                <a:gd name="connsiteY6" fmla="*/ 660394 h 1639176"/>
                <a:gd name="connsiteX7" fmla="*/ 1426279 w 1648570"/>
                <a:gd name="connsiteY7" fmla="*/ 11232 h 1639176"/>
                <a:gd name="connsiteX8" fmla="*/ 1648570 w 1648570"/>
                <a:gd name="connsiteY8" fmla="*/ 0 h 1639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48570" h="1639176">
                  <a:moveTo>
                    <a:pt x="1648570" y="0"/>
                  </a:moveTo>
                  <a:lnTo>
                    <a:pt x="1648570" y="1341400"/>
                  </a:lnTo>
                  <a:lnTo>
                    <a:pt x="1563331" y="1345707"/>
                  </a:lnTo>
                  <a:cubicBezTo>
                    <a:pt x="1348228" y="1367568"/>
                    <a:pt x="1155172" y="1464063"/>
                    <a:pt x="1010431" y="1608908"/>
                  </a:cubicBezTo>
                  <a:lnTo>
                    <a:pt x="985476" y="1639176"/>
                  </a:lnTo>
                  <a:lnTo>
                    <a:pt x="0" y="729319"/>
                  </a:lnTo>
                  <a:lnTo>
                    <a:pt x="62598" y="660394"/>
                  </a:lnTo>
                  <a:cubicBezTo>
                    <a:pt x="419589" y="303147"/>
                    <a:pt x="895744" y="65150"/>
                    <a:pt x="1426279" y="11232"/>
                  </a:cubicBezTo>
                  <a:lnTo>
                    <a:pt x="1648570" y="0"/>
                  </a:ln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92620F63-FEEE-5C47-E019-F472A54F52CD}"/>
                </a:ext>
              </a:extLst>
            </p:cNvPr>
            <p:cNvSpPr>
              <a:spLocks/>
            </p:cNvSpPr>
            <p:nvPr/>
          </p:nvSpPr>
          <p:spPr>
            <a:xfrm>
              <a:off x="5991460" y="1442659"/>
              <a:ext cx="1700210" cy="1700307"/>
            </a:xfrm>
            <a:custGeom>
              <a:avLst/>
              <a:gdLst>
                <a:gd name="connsiteX0" fmla="*/ 0 w 1700210"/>
                <a:gd name="connsiteY0" fmla="*/ 0 h 1700307"/>
                <a:gd name="connsiteX1" fmla="*/ 222289 w 1700210"/>
                <a:gd name="connsiteY1" fmla="*/ 11232 h 1700307"/>
                <a:gd name="connsiteX2" fmla="*/ 1585970 w 1700210"/>
                <a:gd name="connsiteY2" fmla="*/ 660394 h 1700307"/>
                <a:gd name="connsiteX3" fmla="*/ 1700210 w 1700210"/>
                <a:gd name="connsiteY3" fmla="*/ 786180 h 1700307"/>
                <a:gd name="connsiteX4" fmla="*/ 713494 w 1700210"/>
                <a:gd name="connsiteY4" fmla="*/ 1700307 h 1700307"/>
                <a:gd name="connsiteX5" fmla="*/ 638137 w 1700210"/>
                <a:gd name="connsiteY5" fmla="*/ 1608908 h 1700307"/>
                <a:gd name="connsiteX6" fmla="*/ 85237 w 1700210"/>
                <a:gd name="connsiteY6" fmla="*/ 1345707 h 1700307"/>
                <a:gd name="connsiteX7" fmla="*/ 0 w 1700210"/>
                <a:gd name="connsiteY7" fmla="*/ 1341400 h 1700307"/>
                <a:gd name="connsiteX8" fmla="*/ 0 w 1700210"/>
                <a:gd name="connsiteY8" fmla="*/ 0 h 1700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00210" h="1700307">
                  <a:moveTo>
                    <a:pt x="0" y="0"/>
                  </a:moveTo>
                  <a:lnTo>
                    <a:pt x="222289" y="11232"/>
                  </a:lnTo>
                  <a:cubicBezTo>
                    <a:pt x="752824" y="65150"/>
                    <a:pt x="1228979" y="303147"/>
                    <a:pt x="1585970" y="660394"/>
                  </a:cubicBezTo>
                  <a:lnTo>
                    <a:pt x="1700210" y="786180"/>
                  </a:lnTo>
                  <a:lnTo>
                    <a:pt x="713494" y="1700307"/>
                  </a:lnTo>
                  <a:lnTo>
                    <a:pt x="638137" y="1608908"/>
                  </a:lnTo>
                  <a:cubicBezTo>
                    <a:pt x="493396" y="1464063"/>
                    <a:pt x="300340" y="1367568"/>
                    <a:pt x="85237" y="1345707"/>
                  </a:cubicBezTo>
                  <a:lnTo>
                    <a:pt x="0" y="13414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A98A6DA4-31D1-275E-2993-1225B449E415}"/>
                </a:ext>
              </a:extLst>
            </p:cNvPr>
            <p:cNvSpPr>
              <a:spLocks/>
            </p:cNvSpPr>
            <p:nvPr/>
          </p:nvSpPr>
          <p:spPr>
            <a:xfrm>
              <a:off x="3728706" y="2184152"/>
              <a:ext cx="1572737" cy="1559542"/>
            </a:xfrm>
            <a:custGeom>
              <a:avLst/>
              <a:gdLst>
                <a:gd name="connsiteX0" fmla="*/ 586682 w 1572737"/>
                <a:gd name="connsiteY0" fmla="*/ 0 h 1559542"/>
                <a:gd name="connsiteX1" fmla="*/ 1572737 w 1572737"/>
                <a:gd name="connsiteY1" fmla="*/ 910391 h 1559542"/>
                <a:gd name="connsiteX2" fmla="*/ 1496552 w 1572737"/>
                <a:gd name="connsiteY2" fmla="*/ 1002794 h 1559542"/>
                <a:gd name="connsiteX3" fmla="*/ 1340439 w 1572737"/>
                <a:gd name="connsiteY3" fmla="*/ 1514238 h 1559542"/>
                <a:gd name="connsiteX4" fmla="*/ 1342725 w 1572737"/>
                <a:gd name="connsiteY4" fmla="*/ 1559542 h 1559542"/>
                <a:gd name="connsiteX5" fmla="*/ 2286 w 1572737"/>
                <a:gd name="connsiteY5" fmla="*/ 1559542 h 1559542"/>
                <a:gd name="connsiteX6" fmla="*/ 0 w 1572737"/>
                <a:gd name="connsiteY6" fmla="*/ 1514238 h 1559542"/>
                <a:gd name="connsiteX7" fmla="*/ 514825 w 1572737"/>
                <a:gd name="connsiteY7" fmla="*/ 79118 h 1559542"/>
                <a:gd name="connsiteX8" fmla="*/ 586682 w 1572737"/>
                <a:gd name="connsiteY8" fmla="*/ 0 h 1559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72737" h="1559542">
                  <a:moveTo>
                    <a:pt x="586682" y="0"/>
                  </a:moveTo>
                  <a:lnTo>
                    <a:pt x="1572737" y="910391"/>
                  </a:lnTo>
                  <a:lnTo>
                    <a:pt x="1496552" y="1002794"/>
                  </a:lnTo>
                  <a:cubicBezTo>
                    <a:pt x="1397990" y="1148789"/>
                    <a:pt x="1340439" y="1324788"/>
                    <a:pt x="1340439" y="1514238"/>
                  </a:cubicBezTo>
                  <a:lnTo>
                    <a:pt x="1342725" y="1559542"/>
                  </a:lnTo>
                  <a:lnTo>
                    <a:pt x="2286" y="1559542"/>
                  </a:lnTo>
                  <a:lnTo>
                    <a:pt x="0" y="1514238"/>
                  </a:lnTo>
                  <a:cubicBezTo>
                    <a:pt x="0" y="969097"/>
                    <a:pt x="193203" y="469114"/>
                    <a:pt x="514825" y="79118"/>
                  </a:cubicBezTo>
                  <a:lnTo>
                    <a:pt x="586682" y="0"/>
                  </a:ln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FE55FEDF-BFF0-8153-5ECE-D8984CADCB79}"/>
                </a:ext>
              </a:extLst>
            </p:cNvPr>
            <p:cNvSpPr>
              <a:spLocks/>
            </p:cNvSpPr>
            <p:nvPr/>
          </p:nvSpPr>
          <p:spPr>
            <a:xfrm>
              <a:off x="6651513" y="2241014"/>
              <a:ext cx="1586255" cy="2987323"/>
            </a:xfrm>
            <a:custGeom>
              <a:avLst/>
              <a:gdLst>
                <a:gd name="connsiteX0" fmla="*/ 1051216 w 1586255"/>
                <a:gd name="connsiteY0" fmla="*/ 0 h 2987323"/>
                <a:gd name="connsiteX1" fmla="*/ 1071430 w 1586255"/>
                <a:gd name="connsiteY1" fmla="*/ 22257 h 2987323"/>
                <a:gd name="connsiteX2" fmla="*/ 1586255 w 1586255"/>
                <a:gd name="connsiteY2" fmla="*/ 1457377 h 2987323"/>
                <a:gd name="connsiteX3" fmla="*/ 1071430 w 1586255"/>
                <a:gd name="connsiteY3" fmla="*/ 2892497 h 2987323"/>
                <a:gd name="connsiteX4" fmla="*/ 985309 w 1586255"/>
                <a:gd name="connsiteY4" fmla="*/ 2987323 h 2987323"/>
                <a:gd name="connsiteX5" fmla="*/ 0 w 1586255"/>
                <a:gd name="connsiteY5" fmla="*/ 2077621 h 2987323"/>
                <a:gd name="connsiteX6" fmla="*/ 89703 w 1586255"/>
                <a:gd name="connsiteY6" fmla="*/ 1968821 h 2987323"/>
                <a:gd name="connsiteX7" fmla="*/ 245816 w 1586255"/>
                <a:gd name="connsiteY7" fmla="*/ 1457377 h 2987323"/>
                <a:gd name="connsiteX8" fmla="*/ 89703 w 1586255"/>
                <a:gd name="connsiteY8" fmla="*/ 945933 h 2987323"/>
                <a:gd name="connsiteX9" fmla="*/ 63922 w 1586255"/>
                <a:gd name="connsiteY9" fmla="*/ 914663 h 2987323"/>
                <a:gd name="connsiteX10" fmla="*/ 1051216 w 1586255"/>
                <a:gd name="connsiteY10" fmla="*/ 0 h 2987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586255" h="2987323">
                  <a:moveTo>
                    <a:pt x="1051216" y="0"/>
                  </a:moveTo>
                  <a:lnTo>
                    <a:pt x="1071430" y="22257"/>
                  </a:lnTo>
                  <a:cubicBezTo>
                    <a:pt x="1393052" y="412253"/>
                    <a:pt x="1586255" y="912236"/>
                    <a:pt x="1586255" y="1457377"/>
                  </a:cubicBezTo>
                  <a:cubicBezTo>
                    <a:pt x="1586255" y="2002518"/>
                    <a:pt x="1393052" y="2502501"/>
                    <a:pt x="1071430" y="2892497"/>
                  </a:cubicBezTo>
                  <a:lnTo>
                    <a:pt x="985309" y="2987323"/>
                  </a:lnTo>
                  <a:lnTo>
                    <a:pt x="0" y="2077621"/>
                  </a:lnTo>
                  <a:lnTo>
                    <a:pt x="89703" y="1968821"/>
                  </a:lnTo>
                  <a:cubicBezTo>
                    <a:pt x="188265" y="1822827"/>
                    <a:pt x="245816" y="1646828"/>
                    <a:pt x="245816" y="1457377"/>
                  </a:cubicBezTo>
                  <a:cubicBezTo>
                    <a:pt x="245816" y="1267927"/>
                    <a:pt x="188265" y="1091928"/>
                    <a:pt x="89703" y="945933"/>
                  </a:cubicBezTo>
                  <a:lnTo>
                    <a:pt x="63922" y="914663"/>
                  </a:lnTo>
                  <a:lnTo>
                    <a:pt x="1051216" y="0"/>
                  </a:ln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A2FB1685-773D-8637-1EAF-B2634F971C8C}"/>
                </a:ext>
              </a:extLst>
            </p:cNvPr>
            <p:cNvSpPr>
              <a:spLocks/>
            </p:cNvSpPr>
            <p:nvPr/>
          </p:nvSpPr>
          <p:spPr>
            <a:xfrm>
              <a:off x="3731822" y="3760140"/>
              <a:ext cx="1642259" cy="1530752"/>
            </a:xfrm>
            <a:custGeom>
              <a:avLst/>
              <a:gdLst>
                <a:gd name="connsiteX0" fmla="*/ 0 w 1642259"/>
                <a:gd name="connsiteY0" fmla="*/ 0 h 1530752"/>
                <a:gd name="connsiteX1" fmla="*/ 1340439 w 1642259"/>
                <a:gd name="connsiteY1" fmla="*/ 0 h 1530752"/>
                <a:gd name="connsiteX2" fmla="*/ 1342042 w 1642259"/>
                <a:gd name="connsiteY2" fmla="*/ 31778 h 1530752"/>
                <a:gd name="connsiteX3" fmla="*/ 1605054 w 1642259"/>
                <a:gd name="connsiteY3" fmla="*/ 585074 h 1530752"/>
                <a:gd name="connsiteX4" fmla="*/ 1642259 w 1642259"/>
                <a:gd name="connsiteY4" fmla="*/ 615793 h 1530752"/>
                <a:gd name="connsiteX5" fmla="*/ 654646 w 1642259"/>
                <a:gd name="connsiteY5" fmla="*/ 1530752 h 1530752"/>
                <a:gd name="connsiteX6" fmla="*/ 511709 w 1642259"/>
                <a:gd name="connsiteY6" fmla="*/ 1373370 h 1530752"/>
                <a:gd name="connsiteX7" fmla="*/ 8524 w 1642259"/>
                <a:gd name="connsiteY7" fmla="*/ 168928 h 1530752"/>
                <a:gd name="connsiteX8" fmla="*/ 0 w 1642259"/>
                <a:gd name="connsiteY8" fmla="*/ 0 h 1530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42259" h="1530752">
                  <a:moveTo>
                    <a:pt x="0" y="0"/>
                  </a:moveTo>
                  <a:lnTo>
                    <a:pt x="1340439" y="0"/>
                  </a:lnTo>
                  <a:lnTo>
                    <a:pt x="1342042" y="31778"/>
                  </a:lnTo>
                  <a:cubicBezTo>
                    <a:pt x="1363888" y="247036"/>
                    <a:pt x="1460314" y="440230"/>
                    <a:pt x="1605054" y="585074"/>
                  </a:cubicBezTo>
                  <a:lnTo>
                    <a:pt x="1642259" y="615793"/>
                  </a:lnTo>
                  <a:lnTo>
                    <a:pt x="654646" y="1530752"/>
                  </a:lnTo>
                  <a:lnTo>
                    <a:pt x="511709" y="1373370"/>
                  </a:lnTo>
                  <a:cubicBezTo>
                    <a:pt x="236033" y="1039088"/>
                    <a:pt x="54706" y="623999"/>
                    <a:pt x="8524" y="168928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847483B3-6A90-07D1-D46D-BA238F36CC09}"/>
                </a:ext>
              </a:extLst>
            </p:cNvPr>
            <p:cNvSpPr>
              <a:spLocks/>
            </p:cNvSpPr>
            <p:nvPr/>
          </p:nvSpPr>
          <p:spPr>
            <a:xfrm>
              <a:off x="5991461" y="4331343"/>
              <a:ext cx="1634303" cy="1622780"/>
            </a:xfrm>
            <a:custGeom>
              <a:avLst/>
              <a:gdLst>
                <a:gd name="connsiteX0" fmla="*/ 649574 w 1634303"/>
                <a:gd name="connsiteY0" fmla="*/ 0 h 1622780"/>
                <a:gd name="connsiteX1" fmla="*/ 1634303 w 1634303"/>
                <a:gd name="connsiteY1" fmla="*/ 909168 h 1622780"/>
                <a:gd name="connsiteX2" fmla="*/ 1585970 w 1634303"/>
                <a:gd name="connsiteY2" fmla="*/ 962385 h 1622780"/>
                <a:gd name="connsiteX3" fmla="*/ 222289 w 1634303"/>
                <a:gd name="connsiteY3" fmla="*/ 1611547 h 1622780"/>
                <a:gd name="connsiteX4" fmla="*/ 0 w 1634303"/>
                <a:gd name="connsiteY4" fmla="*/ 1622780 h 1622780"/>
                <a:gd name="connsiteX5" fmla="*/ 0 w 1634303"/>
                <a:gd name="connsiteY5" fmla="*/ 281380 h 1622780"/>
                <a:gd name="connsiteX6" fmla="*/ 85237 w 1634303"/>
                <a:gd name="connsiteY6" fmla="*/ 277072 h 1622780"/>
                <a:gd name="connsiteX7" fmla="*/ 638137 w 1634303"/>
                <a:gd name="connsiteY7" fmla="*/ 13871 h 1622780"/>
                <a:gd name="connsiteX8" fmla="*/ 649574 w 1634303"/>
                <a:gd name="connsiteY8" fmla="*/ 0 h 1622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34303" h="1622780">
                  <a:moveTo>
                    <a:pt x="649574" y="0"/>
                  </a:moveTo>
                  <a:lnTo>
                    <a:pt x="1634303" y="909168"/>
                  </a:lnTo>
                  <a:lnTo>
                    <a:pt x="1585970" y="962385"/>
                  </a:lnTo>
                  <a:cubicBezTo>
                    <a:pt x="1228979" y="1319632"/>
                    <a:pt x="752824" y="1557630"/>
                    <a:pt x="222289" y="1611547"/>
                  </a:cubicBezTo>
                  <a:lnTo>
                    <a:pt x="0" y="1622780"/>
                  </a:lnTo>
                  <a:lnTo>
                    <a:pt x="0" y="281380"/>
                  </a:lnTo>
                  <a:lnTo>
                    <a:pt x="85237" y="277072"/>
                  </a:lnTo>
                  <a:cubicBezTo>
                    <a:pt x="300340" y="255212"/>
                    <a:pt x="493396" y="158716"/>
                    <a:pt x="638137" y="13871"/>
                  </a:cubicBezTo>
                  <a:lnTo>
                    <a:pt x="649574" y="0"/>
                  </a:ln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53A9C7BB-C125-6459-77CB-5AC18524C287}"/>
                </a:ext>
              </a:extLst>
            </p:cNvPr>
            <p:cNvSpPr>
              <a:spLocks/>
            </p:cNvSpPr>
            <p:nvPr/>
          </p:nvSpPr>
          <p:spPr>
            <a:xfrm>
              <a:off x="4398410" y="4386499"/>
              <a:ext cx="1576605" cy="1567625"/>
            </a:xfrm>
            <a:custGeom>
              <a:avLst/>
              <a:gdLst>
                <a:gd name="connsiteX0" fmla="*/ 988467 w 1576605"/>
                <a:gd name="connsiteY0" fmla="*/ 0 h 1567625"/>
                <a:gd name="connsiteX1" fmla="*/ 1073750 w 1576605"/>
                <a:gd name="connsiteY1" fmla="*/ 70415 h 1567625"/>
                <a:gd name="connsiteX2" fmla="*/ 1491366 w 1576605"/>
                <a:gd name="connsiteY2" fmla="*/ 221917 h 1567625"/>
                <a:gd name="connsiteX3" fmla="*/ 1576605 w 1576605"/>
                <a:gd name="connsiteY3" fmla="*/ 226225 h 1567625"/>
                <a:gd name="connsiteX4" fmla="*/ 1576605 w 1576605"/>
                <a:gd name="connsiteY4" fmla="*/ 1567625 h 1567625"/>
                <a:gd name="connsiteX5" fmla="*/ 1354314 w 1576605"/>
                <a:gd name="connsiteY5" fmla="*/ 1556392 h 1567625"/>
                <a:gd name="connsiteX6" fmla="*/ 150736 w 1576605"/>
                <a:gd name="connsiteY6" fmla="*/ 1052845 h 1567625"/>
                <a:gd name="connsiteX7" fmla="*/ 0 w 1576605"/>
                <a:gd name="connsiteY7" fmla="*/ 915749 h 1567625"/>
                <a:gd name="connsiteX8" fmla="*/ 988467 w 1576605"/>
                <a:gd name="connsiteY8" fmla="*/ 0 h 156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76605" h="1567625">
                  <a:moveTo>
                    <a:pt x="988467" y="0"/>
                  </a:moveTo>
                  <a:lnTo>
                    <a:pt x="1073750" y="70415"/>
                  </a:lnTo>
                  <a:cubicBezTo>
                    <a:pt x="1195325" y="152609"/>
                    <a:pt x="1337721" y="206303"/>
                    <a:pt x="1491366" y="221917"/>
                  </a:cubicBezTo>
                  <a:lnTo>
                    <a:pt x="1576605" y="226225"/>
                  </a:lnTo>
                  <a:lnTo>
                    <a:pt x="1576605" y="1567625"/>
                  </a:lnTo>
                  <a:lnTo>
                    <a:pt x="1354314" y="1556392"/>
                  </a:lnTo>
                  <a:cubicBezTo>
                    <a:pt x="899570" y="1510177"/>
                    <a:pt x="484778" y="1328720"/>
                    <a:pt x="150736" y="1052845"/>
                  </a:cubicBezTo>
                  <a:lnTo>
                    <a:pt x="0" y="915749"/>
                  </a:lnTo>
                  <a:lnTo>
                    <a:pt x="988467" y="0"/>
                  </a:ln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3" name="Oval 12">
            <a:extLst>
              <a:ext uri="{FF2B5EF4-FFF2-40B4-BE49-F238E27FC236}">
                <a16:creationId xmlns:a16="http://schemas.microsoft.com/office/drawing/2014/main" id="{DEEEC9D9-9C65-53DB-6FF7-34989440BA8A}"/>
              </a:ext>
            </a:extLst>
          </p:cNvPr>
          <p:cNvSpPr/>
          <p:nvPr/>
        </p:nvSpPr>
        <p:spPr>
          <a:xfrm>
            <a:off x="7666097" y="3131505"/>
            <a:ext cx="972334" cy="972334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1"/>
          <a:lstStyle/>
          <a:p>
            <a:pPr algn="ctr"/>
            <a:r>
              <a:rPr lang="en-IN" sz="2000" dirty="0">
                <a:solidFill>
                  <a:schemeClr val="tx1"/>
                </a:solidFill>
              </a:rPr>
              <a:t>Insert </a:t>
            </a:r>
            <a:br>
              <a:rPr lang="en-IN" sz="2000" dirty="0">
                <a:solidFill>
                  <a:schemeClr val="tx1"/>
                </a:solidFill>
              </a:rPr>
            </a:br>
            <a:r>
              <a:rPr lang="en-IN" sz="2000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E548B103-1564-4DC4-FAF5-6DEC510AC13B}"/>
              </a:ext>
            </a:extLst>
          </p:cNvPr>
          <p:cNvSpPr/>
          <p:nvPr/>
        </p:nvSpPr>
        <p:spPr>
          <a:xfrm>
            <a:off x="3341747" y="2407605"/>
            <a:ext cx="972334" cy="972334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1"/>
          <a:lstStyle/>
          <a:p>
            <a:pPr algn="ctr"/>
            <a:r>
              <a:rPr lang="en-IN" sz="2000" dirty="0">
                <a:solidFill>
                  <a:schemeClr val="tx1"/>
                </a:solidFill>
              </a:rPr>
              <a:t>Insert </a:t>
            </a:r>
            <a:br>
              <a:rPr lang="en-IN" sz="2000" dirty="0">
                <a:solidFill>
                  <a:schemeClr val="tx1"/>
                </a:solidFill>
              </a:rPr>
            </a:br>
            <a:r>
              <a:rPr lang="en-IN" sz="2000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F5605FE2-FBC7-9828-7A38-4F1F99BD3C73}"/>
              </a:ext>
            </a:extLst>
          </p:cNvPr>
          <p:cNvSpPr/>
          <p:nvPr/>
        </p:nvSpPr>
        <p:spPr>
          <a:xfrm>
            <a:off x="3227447" y="4103055"/>
            <a:ext cx="972334" cy="972334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1"/>
          <a:lstStyle/>
          <a:p>
            <a:pPr algn="ctr"/>
            <a:r>
              <a:rPr lang="en-IN" sz="2000" dirty="0">
                <a:solidFill>
                  <a:schemeClr val="tx1"/>
                </a:solidFill>
              </a:rPr>
              <a:t>Insert </a:t>
            </a:r>
            <a:br>
              <a:rPr lang="en-IN" sz="2000" dirty="0">
                <a:solidFill>
                  <a:schemeClr val="tx1"/>
                </a:solidFill>
              </a:rPr>
            </a:br>
            <a:r>
              <a:rPr lang="en-IN" sz="2000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EE361072-3EFC-2274-2AE0-0A7E6FADAA98}"/>
              </a:ext>
            </a:extLst>
          </p:cNvPr>
          <p:cNvSpPr/>
          <p:nvPr/>
        </p:nvSpPr>
        <p:spPr>
          <a:xfrm>
            <a:off x="6484997" y="1150305"/>
            <a:ext cx="972334" cy="972334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1"/>
          <a:lstStyle/>
          <a:p>
            <a:pPr algn="ctr"/>
            <a:r>
              <a:rPr lang="en-IN" sz="2000" dirty="0">
                <a:solidFill>
                  <a:schemeClr val="tx1"/>
                </a:solidFill>
              </a:rPr>
              <a:t>Insert </a:t>
            </a:r>
            <a:br>
              <a:rPr lang="en-IN" sz="2000" dirty="0">
                <a:solidFill>
                  <a:schemeClr val="tx1"/>
                </a:solidFill>
              </a:rPr>
            </a:br>
            <a:r>
              <a:rPr lang="en-IN" sz="2000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A017E1D8-E878-84F6-B101-F7E1C832C342}"/>
              </a:ext>
            </a:extLst>
          </p:cNvPr>
          <p:cNvSpPr/>
          <p:nvPr/>
        </p:nvSpPr>
        <p:spPr>
          <a:xfrm>
            <a:off x="4541897" y="1131255"/>
            <a:ext cx="972334" cy="972334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1"/>
          <a:lstStyle/>
          <a:p>
            <a:pPr algn="ctr"/>
            <a:r>
              <a:rPr lang="en-IN" sz="2000" dirty="0">
                <a:solidFill>
                  <a:schemeClr val="tx1"/>
                </a:solidFill>
              </a:rPr>
              <a:t>Insert </a:t>
            </a:r>
            <a:br>
              <a:rPr lang="en-IN" sz="2000" dirty="0">
                <a:solidFill>
                  <a:schemeClr val="tx1"/>
                </a:solidFill>
              </a:rPr>
            </a:br>
            <a:r>
              <a:rPr lang="en-IN" sz="2000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9A4869D4-DDAE-DE37-665A-3F868DA1EF39}"/>
              </a:ext>
            </a:extLst>
          </p:cNvPr>
          <p:cNvSpPr/>
          <p:nvPr/>
        </p:nvSpPr>
        <p:spPr>
          <a:xfrm>
            <a:off x="4675247" y="5322255"/>
            <a:ext cx="972334" cy="972334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1"/>
          <a:lstStyle/>
          <a:p>
            <a:pPr algn="ctr"/>
            <a:r>
              <a:rPr lang="en-IN" sz="2000" dirty="0">
                <a:solidFill>
                  <a:schemeClr val="tx1"/>
                </a:solidFill>
              </a:rPr>
              <a:t>Insert </a:t>
            </a:r>
            <a:br>
              <a:rPr lang="en-IN" sz="2000" dirty="0">
                <a:solidFill>
                  <a:schemeClr val="tx1"/>
                </a:solidFill>
              </a:rPr>
            </a:br>
            <a:r>
              <a:rPr lang="en-IN" sz="2000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1A683867-8410-C333-432F-59585D441C17}"/>
              </a:ext>
            </a:extLst>
          </p:cNvPr>
          <p:cNvSpPr/>
          <p:nvPr/>
        </p:nvSpPr>
        <p:spPr>
          <a:xfrm>
            <a:off x="6389747" y="5246055"/>
            <a:ext cx="972334" cy="972334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1"/>
          <a:lstStyle/>
          <a:p>
            <a:pPr algn="ctr"/>
            <a:r>
              <a:rPr lang="en-IN" sz="2000" dirty="0">
                <a:solidFill>
                  <a:schemeClr val="tx1"/>
                </a:solidFill>
              </a:rPr>
              <a:t>Insert </a:t>
            </a:r>
            <a:br>
              <a:rPr lang="en-IN" sz="2000" dirty="0">
                <a:solidFill>
                  <a:schemeClr val="tx1"/>
                </a:solidFill>
              </a:rPr>
            </a:br>
            <a:r>
              <a:rPr lang="en-IN" sz="2000" dirty="0">
                <a:solidFill>
                  <a:schemeClr val="tx1"/>
                </a:solidFill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858074597"/>
      </p:ext>
    </p:extLst>
  </p:cSld>
  <p:clrMapOvr>
    <a:masterClrMapping/>
  </p:clrMapOvr>
</p:sld>
</file>

<file path=ppt/slides/slide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279408-7A08-48E1-CAE6-65F7B0FD2A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think-cell data - do not delete" hidden="1">
            <a:extLst>
              <a:ext uri="{FF2B5EF4-FFF2-40B4-BE49-F238E27FC236}">
                <a16:creationId xmlns:a16="http://schemas.microsoft.com/office/drawing/2014/main" id="{EC809140-F969-F919-8FA9-6A1F8BFEE4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C809140-F969-F919-8FA9-6A1F8BFEE4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155D011-A6DA-BC51-F900-AFC27ABC28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ircular Layou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5B30E2C-415C-AF81-3947-DE4FCA130C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24</a:t>
            </a:fld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F6F5AD4-EFBB-58CF-0465-4B7E406FAE40}"/>
              </a:ext>
            </a:extLst>
          </p:cNvPr>
          <p:cNvGrpSpPr/>
          <p:nvPr/>
        </p:nvGrpSpPr>
        <p:grpSpPr>
          <a:xfrm>
            <a:off x="3728705" y="1399548"/>
            <a:ext cx="4509062" cy="4517136"/>
            <a:chOff x="3728706" y="1442658"/>
            <a:chExt cx="4509062" cy="4511466"/>
          </a:xfrm>
        </p:grpSpPr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E381CDE0-EC31-11EF-44B4-54BE3CD50BA1}"/>
                </a:ext>
              </a:extLst>
            </p:cNvPr>
            <p:cNvSpPr>
              <a:spLocks/>
            </p:cNvSpPr>
            <p:nvPr/>
          </p:nvSpPr>
          <p:spPr>
            <a:xfrm>
              <a:off x="4326444" y="1442658"/>
              <a:ext cx="1648570" cy="1639176"/>
            </a:xfrm>
            <a:custGeom>
              <a:avLst/>
              <a:gdLst>
                <a:gd name="connsiteX0" fmla="*/ 1648570 w 1648570"/>
                <a:gd name="connsiteY0" fmla="*/ 0 h 1639176"/>
                <a:gd name="connsiteX1" fmla="*/ 1648570 w 1648570"/>
                <a:gd name="connsiteY1" fmla="*/ 1341400 h 1639176"/>
                <a:gd name="connsiteX2" fmla="*/ 1563331 w 1648570"/>
                <a:gd name="connsiteY2" fmla="*/ 1345707 h 1639176"/>
                <a:gd name="connsiteX3" fmla="*/ 1010431 w 1648570"/>
                <a:gd name="connsiteY3" fmla="*/ 1608908 h 1639176"/>
                <a:gd name="connsiteX4" fmla="*/ 985476 w 1648570"/>
                <a:gd name="connsiteY4" fmla="*/ 1639176 h 1639176"/>
                <a:gd name="connsiteX5" fmla="*/ 0 w 1648570"/>
                <a:gd name="connsiteY5" fmla="*/ 729319 h 1639176"/>
                <a:gd name="connsiteX6" fmla="*/ 62598 w 1648570"/>
                <a:gd name="connsiteY6" fmla="*/ 660394 h 1639176"/>
                <a:gd name="connsiteX7" fmla="*/ 1426279 w 1648570"/>
                <a:gd name="connsiteY7" fmla="*/ 11232 h 1639176"/>
                <a:gd name="connsiteX8" fmla="*/ 1648570 w 1648570"/>
                <a:gd name="connsiteY8" fmla="*/ 0 h 1639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48570" h="1639176">
                  <a:moveTo>
                    <a:pt x="1648570" y="0"/>
                  </a:moveTo>
                  <a:lnTo>
                    <a:pt x="1648570" y="1341400"/>
                  </a:lnTo>
                  <a:lnTo>
                    <a:pt x="1563331" y="1345707"/>
                  </a:lnTo>
                  <a:cubicBezTo>
                    <a:pt x="1348228" y="1367568"/>
                    <a:pt x="1155172" y="1464063"/>
                    <a:pt x="1010431" y="1608908"/>
                  </a:cubicBezTo>
                  <a:lnTo>
                    <a:pt x="985476" y="1639176"/>
                  </a:lnTo>
                  <a:lnTo>
                    <a:pt x="0" y="729319"/>
                  </a:lnTo>
                  <a:lnTo>
                    <a:pt x="62598" y="660394"/>
                  </a:lnTo>
                  <a:cubicBezTo>
                    <a:pt x="419589" y="303147"/>
                    <a:pt x="895744" y="65150"/>
                    <a:pt x="1426279" y="11232"/>
                  </a:cubicBezTo>
                  <a:lnTo>
                    <a:pt x="1648570" y="0"/>
                  </a:ln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7BFE6AF6-B2E4-5D97-651D-9A0D33E72469}"/>
                </a:ext>
              </a:extLst>
            </p:cNvPr>
            <p:cNvSpPr>
              <a:spLocks/>
            </p:cNvSpPr>
            <p:nvPr/>
          </p:nvSpPr>
          <p:spPr>
            <a:xfrm>
              <a:off x="5991460" y="1442659"/>
              <a:ext cx="1700210" cy="1700307"/>
            </a:xfrm>
            <a:custGeom>
              <a:avLst/>
              <a:gdLst>
                <a:gd name="connsiteX0" fmla="*/ 0 w 1700210"/>
                <a:gd name="connsiteY0" fmla="*/ 0 h 1700307"/>
                <a:gd name="connsiteX1" fmla="*/ 222289 w 1700210"/>
                <a:gd name="connsiteY1" fmla="*/ 11232 h 1700307"/>
                <a:gd name="connsiteX2" fmla="*/ 1585970 w 1700210"/>
                <a:gd name="connsiteY2" fmla="*/ 660394 h 1700307"/>
                <a:gd name="connsiteX3" fmla="*/ 1700210 w 1700210"/>
                <a:gd name="connsiteY3" fmla="*/ 786180 h 1700307"/>
                <a:gd name="connsiteX4" fmla="*/ 713494 w 1700210"/>
                <a:gd name="connsiteY4" fmla="*/ 1700307 h 1700307"/>
                <a:gd name="connsiteX5" fmla="*/ 638137 w 1700210"/>
                <a:gd name="connsiteY5" fmla="*/ 1608908 h 1700307"/>
                <a:gd name="connsiteX6" fmla="*/ 85237 w 1700210"/>
                <a:gd name="connsiteY6" fmla="*/ 1345707 h 1700307"/>
                <a:gd name="connsiteX7" fmla="*/ 0 w 1700210"/>
                <a:gd name="connsiteY7" fmla="*/ 1341400 h 1700307"/>
                <a:gd name="connsiteX8" fmla="*/ 0 w 1700210"/>
                <a:gd name="connsiteY8" fmla="*/ 0 h 1700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00210" h="1700307">
                  <a:moveTo>
                    <a:pt x="0" y="0"/>
                  </a:moveTo>
                  <a:lnTo>
                    <a:pt x="222289" y="11232"/>
                  </a:lnTo>
                  <a:cubicBezTo>
                    <a:pt x="752824" y="65150"/>
                    <a:pt x="1228979" y="303147"/>
                    <a:pt x="1585970" y="660394"/>
                  </a:cubicBezTo>
                  <a:lnTo>
                    <a:pt x="1700210" y="786180"/>
                  </a:lnTo>
                  <a:lnTo>
                    <a:pt x="713494" y="1700307"/>
                  </a:lnTo>
                  <a:lnTo>
                    <a:pt x="638137" y="1608908"/>
                  </a:lnTo>
                  <a:cubicBezTo>
                    <a:pt x="493396" y="1464063"/>
                    <a:pt x="300340" y="1367568"/>
                    <a:pt x="85237" y="1345707"/>
                  </a:cubicBezTo>
                  <a:lnTo>
                    <a:pt x="0" y="13414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9486F7FA-35A3-634B-5D29-DEEA681A7A34}"/>
                </a:ext>
              </a:extLst>
            </p:cNvPr>
            <p:cNvSpPr>
              <a:spLocks/>
            </p:cNvSpPr>
            <p:nvPr/>
          </p:nvSpPr>
          <p:spPr>
            <a:xfrm>
              <a:off x="3728706" y="2184152"/>
              <a:ext cx="1572737" cy="1559542"/>
            </a:xfrm>
            <a:custGeom>
              <a:avLst/>
              <a:gdLst>
                <a:gd name="connsiteX0" fmla="*/ 586682 w 1572737"/>
                <a:gd name="connsiteY0" fmla="*/ 0 h 1559542"/>
                <a:gd name="connsiteX1" fmla="*/ 1572737 w 1572737"/>
                <a:gd name="connsiteY1" fmla="*/ 910391 h 1559542"/>
                <a:gd name="connsiteX2" fmla="*/ 1496552 w 1572737"/>
                <a:gd name="connsiteY2" fmla="*/ 1002794 h 1559542"/>
                <a:gd name="connsiteX3" fmla="*/ 1340439 w 1572737"/>
                <a:gd name="connsiteY3" fmla="*/ 1514238 h 1559542"/>
                <a:gd name="connsiteX4" fmla="*/ 1342725 w 1572737"/>
                <a:gd name="connsiteY4" fmla="*/ 1559542 h 1559542"/>
                <a:gd name="connsiteX5" fmla="*/ 2286 w 1572737"/>
                <a:gd name="connsiteY5" fmla="*/ 1559542 h 1559542"/>
                <a:gd name="connsiteX6" fmla="*/ 0 w 1572737"/>
                <a:gd name="connsiteY6" fmla="*/ 1514238 h 1559542"/>
                <a:gd name="connsiteX7" fmla="*/ 514825 w 1572737"/>
                <a:gd name="connsiteY7" fmla="*/ 79118 h 1559542"/>
                <a:gd name="connsiteX8" fmla="*/ 586682 w 1572737"/>
                <a:gd name="connsiteY8" fmla="*/ 0 h 1559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72737" h="1559542">
                  <a:moveTo>
                    <a:pt x="586682" y="0"/>
                  </a:moveTo>
                  <a:lnTo>
                    <a:pt x="1572737" y="910391"/>
                  </a:lnTo>
                  <a:lnTo>
                    <a:pt x="1496552" y="1002794"/>
                  </a:lnTo>
                  <a:cubicBezTo>
                    <a:pt x="1397990" y="1148789"/>
                    <a:pt x="1340439" y="1324788"/>
                    <a:pt x="1340439" y="1514238"/>
                  </a:cubicBezTo>
                  <a:lnTo>
                    <a:pt x="1342725" y="1559542"/>
                  </a:lnTo>
                  <a:lnTo>
                    <a:pt x="2286" y="1559542"/>
                  </a:lnTo>
                  <a:lnTo>
                    <a:pt x="0" y="1514238"/>
                  </a:lnTo>
                  <a:cubicBezTo>
                    <a:pt x="0" y="969097"/>
                    <a:pt x="193203" y="469114"/>
                    <a:pt x="514825" y="79118"/>
                  </a:cubicBezTo>
                  <a:lnTo>
                    <a:pt x="586682" y="0"/>
                  </a:ln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1AEB364A-4FE9-C830-E048-194048B2AA9F}"/>
                </a:ext>
              </a:extLst>
            </p:cNvPr>
            <p:cNvSpPr>
              <a:spLocks/>
            </p:cNvSpPr>
            <p:nvPr/>
          </p:nvSpPr>
          <p:spPr>
            <a:xfrm>
              <a:off x="6715435" y="2241014"/>
              <a:ext cx="1522333" cy="1502681"/>
            </a:xfrm>
            <a:custGeom>
              <a:avLst/>
              <a:gdLst>
                <a:gd name="connsiteX0" fmla="*/ 987294 w 1522333"/>
                <a:gd name="connsiteY0" fmla="*/ 0 h 1502681"/>
                <a:gd name="connsiteX1" fmla="*/ 1007508 w 1522333"/>
                <a:gd name="connsiteY1" fmla="*/ 22257 h 1502681"/>
                <a:gd name="connsiteX2" fmla="*/ 1522333 w 1522333"/>
                <a:gd name="connsiteY2" fmla="*/ 1457377 h 1502681"/>
                <a:gd name="connsiteX3" fmla="*/ 1520047 w 1522333"/>
                <a:gd name="connsiteY3" fmla="*/ 1502681 h 1502681"/>
                <a:gd name="connsiteX4" fmla="*/ 179608 w 1522333"/>
                <a:gd name="connsiteY4" fmla="*/ 1502681 h 1502681"/>
                <a:gd name="connsiteX5" fmla="*/ 181894 w 1522333"/>
                <a:gd name="connsiteY5" fmla="*/ 1457377 h 1502681"/>
                <a:gd name="connsiteX6" fmla="*/ 25781 w 1522333"/>
                <a:gd name="connsiteY6" fmla="*/ 945933 h 1502681"/>
                <a:gd name="connsiteX7" fmla="*/ 0 w 1522333"/>
                <a:gd name="connsiteY7" fmla="*/ 914663 h 1502681"/>
                <a:gd name="connsiteX8" fmla="*/ 987294 w 1522333"/>
                <a:gd name="connsiteY8" fmla="*/ 0 h 1502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22333" h="1502681">
                  <a:moveTo>
                    <a:pt x="987294" y="0"/>
                  </a:moveTo>
                  <a:lnTo>
                    <a:pt x="1007508" y="22257"/>
                  </a:lnTo>
                  <a:cubicBezTo>
                    <a:pt x="1329130" y="412253"/>
                    <a:pt x="1522333" y="912236"/>
                    <a:pt x="1522333" y="1457377"/>
                  </a:cubicBezTo>
                  <a:lnTo>
                    <a:pt x="1520047" y="1502681"/>
                  </a:lnTo>
                  <a:lnTo>
                    <a:pt x="179608" y="1502681"/>
                  </a:lnTo>
                  <a:lnTo>
                    <a:pt x="181894" y="1457377"/>
                  </a:lnTo>
                  <a:cubicBezTo>
                    <a:pt x="181894" y="1267927"/>
                    <a:pt x="124343" y="1091928"/>
                    <a:pt x="25781" y="945933"/>
                  </a:cubicBezTo>
                  <a:lnTo>
                    <a:pt x="0" y="914663"/>
                  </a:lnTo>
                  <a:lnTo>
                    <a:pt x="987294" y="0"/>
                  </a:ln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7412CB81-566C-5452-BFEE-1D42F67AD07A}"/>
                </a:ext>
              </a:extLst>
            </p:cNvPr>
            <p:cNvSpPr>
              <a:spLocks/>
            </p:cNvSpPr>
            <p:nvPr/>
          </p:nvSpPr>
          <p:spPr>
            <a:xfrm>
              <a:off x="3731822" y="3760140"/>
              <a:ext cx="1642259" cy="1530752"/>
            </a:xfrm>
            <a:custGeom>
              <a:avLst/>
              <a:gdLst>
                <a:gd name="connsiteX0" fmla="*/ 0 w 1642259"/>
                <a:gd name="connsiteY0" fmla="*/ 0 h 1530752"/>
                <a:gd name="connsiteX1" fmla="*/ 1340439 w 1642259"/>
                <a:gd name="connsiteY1" fmla="*/ 0 h 1530752"/>
                <a:gd name="connsiteX2" fmla="*/ 1342042 w 1642259"/>
                <a:gd name="connsiteY2" fmla="*/ 31778 h 1530752"/>
                <a:gd name="connsiteX3" fmla="*/ 1605054 w 1642259"/>
                <a:gd name="connsiteY3" fmla="*/ 585074 h 1530752"/>
                <a:gd name="connsiteX4" fmla="*/ 1642259 w 1642259"/>
                <a:gd name="connsiteY4" fmla="*/ 615793 h 1530752"/>
                <a:gd name="connsiteX5" fmla="*/ 654646 w 1642259"/>
                <a:gd name="connsiteY5" fmla="*/ 1530752 h 1530752"/>
                <a:gd name="connsiteX6" fmla="*/ 511709 w 1642259"/>
                <a:gd name="connsiteY6" fmla="*/ 1373370 h 1530752"/>
                <a:gd name="connsiteX7" fmla="*/ 8524 w 1642259"/>
                <a:gd name="connsiteY7" fmla="*/ 168928 h 1530752"/>
                <a:gd name="connsiteX8" fmla="*/ 0 w 1642259"/>
                <a:gd name="connsiteY8" fmla="*/ 0 h 1530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42259" h="1530752">
                  <a:moveTo>
                    <a:pt x="0" y="0"/>
                  </a:moveTo>
                  <a:lnTo>
                    <a:pt x="1340439" y="0"/>
                  </a:lnTo>
                  <a:lnTo>
                    <a:pt x="1342042" y="31778"/>
                  </a:lnTo>
                  <a:cubicBezTo>
                    <a:pt x="1363888" y="247036"/>
                    <a:pt x="1460314" y="440230"/>
                    <a:pt x="1605054" y="585074"/>
                  </a:cubicBezTo>
                  <a:lnTo>
                    <a:pt x="1642259" y="615793"/>
                  </a:lnTo>
                  <a:lnTo>
                    <a:pt x="654646" y="1530752"/>
                  </a:lnTo>
                  <a:lnTo>
                    <a:pt x="511709" y="1373370"/>
                  </a:lnTo>
                  <a:cubicBezTo>
                    <a:pt x="236033" y="1039088"/>
                    <a:pt x="54706" y="623999"/>
                    <a:pt x="8524" y="168928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15EBF5E7-1C34-8835-7329-0FE3116B8BF0}"/>
                </a:ext>
              </a:extLst>
            </p:cNvPr>
            <p:cNvSpPr>
              <a:spLocks/>
            </p:cNvSpPr>
            <p:nvPr/>
          </p:nvSpPr>
          <p:spPr>
            <a:xfrm>
              <a:off x="6651513" y="3760140"/>
              <a:ext cx="1583139" cy="1468196"/>
            </a:xfrm>
            <a:custGeom>
              <a:avLst/>
              <a:gdLst>
                <a:gd name="connsiteX0" fmla="*/ 242701 w 1583139"/>
                <a:gd name="connsiteY0" fmla="*/ 0 h 1468196"/>
                <a:gd name="connsiteX1" fmla="*/ 1583139 w 1583139"/>
                <a:gd name="connsiteY1" fmla="*/ 0 h 1468196"/>
                <a:gd name="connsiteX2" fmla="*/ 1574615 w 1583139"/>
                <a:gd name="connsiteY2" fmla="*/ 168928 h 1468196"/>
                <a:gd name="connsiteX3" fmla="*/ 1071430 w 1583139"/>
                <a:gd name="connsiteY3" fmla="*/ 1373370 h 1468196"/>
                <a:gd name="connsiteX4" fmla="*/ 985309 w 1583139"/>
                <a:gd name="connsiteY4" fmla="*/ 1468196 h 1468196"/>
                <a:gd name="connsiteX5" fmla="*/ 0 w 1583139"/>
                <a:gd name="connsiteY5" fmla="*/ 558494 h 1468196"/>
                <a:gd name="connsiteX6" fmla="*/ 89703 w 1583139"/>
                <a:gd name="connsiteY6" fmla="*/ 449694 h 1468196"/>
                <a:gd name="connsiteX7" fmla="*/ 241097 w 1583139"/>
                <a:gd name="connsiteY7" fmla="*/ 31778 h 1468196"/>
                <a:gd name="connsiteX8" fmla="*/ 242701 w 1583139"/>
                <a:gd name="connsiteY8" fmla="*/ 0 h 1468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83139" h="1468196">
                  <a:moveTo>
                    <a:pt x="242701" y="0"/>
                  </a:moveTo>
                  <a:lnTo>
                    <a:pt x="1583139" y="0"/>
                  </a:lnTo>
                  <a:lnTo>
                    <a:pt x="1574615" y="168928"/>
                  </a:lnTo>
                  <a:cubicBezTo>
                    <a:pt x="1528434" y="623999"/>
                    <a:pt x="1347106" y="1039088"/>
                    <a:pt x="1071430" y="1373370"/>
                  </a:cubicBezTo>
                  <a:lnTo>
                    <a:pt x="985309" y="1468196"/>
                  </a:lnTo>
                  <a:lnTo>
                    <a:pt x="0" y="558494"/>
                  </a:lnTo>
                  <a:lnTo>
                    <a:pt x="89703" y="449694"/>
                  </a:lnTo>
                  <a:cubicBezTo>
                    <a:pt x="171838" y="328032"/>
                    <a:pt x="225493" y="185533"/>
                    <a:pt x="241097" y="31778"/>
                  </a:cubicBezTo>
                  <a:lnTo>
                    <a:pt x="242701" y="0"/>
                  </a:ln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E956EC3B-C421-655F-5985-39A7415EF2A8}"/>
                </a:ext>
              </a:extLst>
            </p:cNvPr>
            <p:cNvSpPr>
              <a:spLocks/>
            </p:cNvSpPr>
            <p:nvPr/>
          </p:nvSpPr>
          <p:spPr>
            <a:xfrm>
              <a:off x="5991461" y="4331343"/>
              <a:ext cx="1634303" cy="1622780"/>
            </a:xfrm>
            <a:custGeom>
              <a:avLst/>
              <a:gdLst>
                <a:gd name="connsiteX0" fmla="*/ 649574 w 1634303"/>
                <a:gd name="connsiteY0" fmla="*/ 0 h 1622780"/>
                <a:gd name="connsiteX1" fmla="*/ 1634303 w 1634303"/>
                <a:gd name="connsiteY1" fmla="*/ 909168 h 1622780"/>
                <a:gd name="connsiteX2" fmla="*/ 1585970 w 1634303"/>
                <a:gd name="connsiteY2" fmla="*/ 962385 h 1622780"/>
                <a:gd name="connsiteX3" fmla="*/ 222289 w 1634303"/>
                <a:gd name="connsiteY3" fmla="*/ 1611547 h 1622780"/>
                <a:gd name="connsiteX4" fmla="*/ 0 w 1634303"/>
                <a:gd name="connsiteY4" fmla="*/ 1622780 h 1622780"/>
                <a:gd name="connsiteX5" fmla="*/ 0 w 1634303"/>
                <a:gd name="connsiteY5" fmla="*/ 281380 h 1622780"/>
                <a:gd name="connsiteX6" fmla="*/ 85237 w 1634303"/>
                <a:gd name="connsiteY6" fmla="*/ 277072 h 1622780"/>
                <a:gd name="connsiteX7" fmla="*/ 638137 w 1634303"/>
                <a:gd name="connsiteY7" fmla="*/ 13871 h 1622780"/>
                <a:gd name="connsiteX8" fmla="*/ 649574 w 1634303"/>
                <a:gd name="connsiteY8" fmla="*/ 0 h 1622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34303" h="1622780">
                  <a:moveTo>
                    <a:pt x="649574" y="0"/>
                  </a:moveTo>
                  <a:lnTo>
                    <a:pt x="1634303" y="909168"/>
                  </a:lnTo>
                  <a:lnTo>
                    <a:pt x="1585970" y="962385"/>
                  </a:lnTo>
                  <a:cubicBezTo>
                    <a:pt x="1228979" y="1319632"/>
                    <a:pt x="752824" y="1557630"/>
                    <a:pt x="222289" y="1611547"/>
                  </a:cubicBezTo>
                  <a:lnTo>
                    <a:pt x="0" y="1622780"/>
                  </a:lnTo>
                  <a:lnTo>
                    <a:pt x="0" y="281380"/>
                  </a:lnTo>
                  <a:lnTo>
                    <a:pt x="85237" y="277072"/>
                  </a:lnTo>
                  <a:cubicBezTo>
                    <a:pt x="300340" y="255212"/>
                    <a:pt x="493396" y="158716"/>
                    <a:pt x="638137" y="13871"/>
                  </a:cubicBezTo>
                  <a:lnTo>
                    <a:pt x="649574" y="0"/>
                  </a:ln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60B84B1E-09F3-A269-9272-F28EB275D607}"/>
                </a:ext>
              </a:extLst>
            </p:cNvPr>
            <p:cNvSpPr>
              <a:spLocks/>
            </p:cNvSpPr>
            <p:nvPr/>
          </p:nvSpPr>
          <p:spPr>
            <a:xfrm>
              <a:off x="4398410" y="4386499"/>
              <a:ext cx="1576605" cy="1567625"/>
            </a:xfrm>
            <a:custGeom>
              <a:avLst/>
              <a:gdLst>
                <a:gd name="connsiteX0" fmla="*/ 988467 w 1576605"/>
                <a:gd name="connsiteY0" fmla="*/ 0 h 1567625"/>
                <a:gd name="connsiteX1" fmla="*/ 1073750 w 1576605"/>
                <a:gd name="connsiteY1" fmla="*/ 70415 h 1567625"/>
                <a:gd name="connsiteX2" fmla="*/ 1491366 w 1576605"/>
                <a:gd name="connsiteY2" fmla="*/ 221917 h 1567625"/>
                <a:gd name="connsiteX3" fmla="*/ 1576605 w 1576605"/>
                <a:gd name="connsiteY3" fmla="*/ 226225 h 1567625"/>
                <a:gd name="connsiteX4" fmla="*/ 1576605 w 1576605"/>
                <a:gd name="connsiteY4" fmla="*/ 1567625 h 1567625"/>
                <a:gd name="connsiteX5" fmla="*/ 1354314 w 1576605"/>
                <a:gd name="connsiteY5" fmla="*/ 1556392 h 1567625"/>
                <a:gd name="connsiteX6" fmla="*/ 150736 w 1576605"/>
                <a:gd name="connsiteY6" fmla="*/ 1052845 h 1567625"/>
                <a:gd name="connsiteX7" fmla="*/ 0 w 1576605"/>
                <a:gd name="connsiteY7" fmla="*/ 915749 h 1567625"/>
                <a:gd name="connsiteX8" fmla="*/ 988467 w 1576605"/>
                <a:gd name="connsiteY8" fmla="*/ 0 h 156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76605" h="1567625">
                  <a:moveTo>
                    <a:pt x="988467" y="0"/>
                  </a:moveTo>
                  <a:lnTo>
                    <a:pt x="1073750" y="70415"/>
                  </a:lnTo>
                  <a:cubicBezTo>
                    <a:pt x="1195325" y="152609"/>
                    <a:pt x="1337721" y="206303"/>
                    <a:pt x="1491366" y="221917"/>
                  </a:cubicBezTo>
                  <a:lnTo>
                    <a:pt x="1576605" y="226225"/>
                  </a:lnTo>
                  <a:lnTo>
                    <a:pt x="1576605" y="1567625"/>
                  </a:lnTo>
                  <a:lnTo>
                    <a:pt x="1354314" y="1556392"/>
                  </a:lnTo>
                  <a:cubicBezTo>
                    <a:pt x="899570" y="1510177"/>
                    <a:pt x="484778" y="1328720"/>
                    <a:pt x="150736" y="1052845"/>
                  </a:cubicBezTo>
                  <a:lnTo>
                    <a:pt x="0" y="915749"/>
                  </a:lnTo>
                  <a:lnTo>
                    <a:pt x="988467" y="0"/>
                  </a:ln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Oval 13">
            <a:extLst>
              <a:ext uri="{FF2B5EF4-FFF2-40B4-BE49-F238E27FC236}">
                <a16:creationId xmlns:a16="http://schemas.microsoft.com/office/drawing/2014/main" id="{7F532D2A-22A6-A274-9841-1C0CC6DD0366}"/>
              </a:ext>
            </a:extLst>
          </p:cNvPr>
          <p:cNvSpPr/>
          <p:nvPr/>
        </p:nvSpPr>
        <p:spPr>
          <a:xfrm>
            <a:off x="7685147" y="4103055"/>
            <a:ext cx="972334" cy="972334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1"/>
          <a:lstStyle/>
          <a:p>
            <a:pPr algn="ctr"/>
            <a:r>
              <a:rPr lang="en-IN" sz="2000" dirty="0">
                <a:solidFill>
                  <a:schemeClr val="tx1"/>
                </a:solidFill>
              </a:rPr>
              <a:t>Insert </a:t>
            </a:r>
            <a:br>
              <a:rPr lang="en-IN" sz="2000" dirty="0">
                <a:solidFill>
                  <a:schemeClr val="tx1"/>
                </a:solidFill>
              </a:rPr>
            </a:br>
            <a:r>
              <a:rPr lang="en-IN" sz="2000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CEC53A1A-76EF-AD9A-9D52-57B5052F9ECC}"/>
              </a:ext>
            </a:extLst>
          </p:cNvPr>
          <p:cNvSpPr/>
          <p:nvPr/>
        </p:nvSpPr>
        <p:spPr>
          <a:xfrm>
            <a:off x="7742297" y="2483805"/>
            <a:ext cx="972334" cy="972334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1"/>
          <a:lstStyle/>
          <a:p>
            <a:pPr algn="ctr"/>
            <a:r>
              <a:rPr lang="en-IN" sz="2000" dirty="0">
                <a:solidFill>
                  <a:schemeClr val="tx1"/>
                </a:solidFill>
              </a:rPr>
              <a:t>Insert </a:t>
            </a:r>
            <a:br>
              <a:rPr lang="en-IN" sz="2000" dirty="0">
                <a:solidFill>
                  <a:schemeClr val="tx1"/>
                </a:solidFill>
              </a:rPr>
            </a:br>
            <a:r>
              <a:rPr lang="en-IN" sz="2000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6CA0939F-EC9A-6ECC-B068-5493BBE16619}"/>
              </a:ext>
            </a:extLst>
          </p:cNvPr>
          <p:cNvSpPr/>
          <p:nvPr/>
        </p:nvSpPr>
        <p:spPr>
          <a:xfrm>
            <a:off x="6484997" y="1150305"/>
            <a:ext cx="972334" cy="972334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1"/>
          <a:lstStyle/>
          <a:p>
            <a:pPr algn="ctr"/>
            <a:r>
              <a:rPr lang="en-IN" sz="2000" dirty="0">
                <a:solidFill>
                  <a:schemeClr val="tx1"/>
                </a:solidFill>
              </a:rPr>
              <a:t>Insert </a:t>
            </a:r>
            <a:br>
              <a:rPr lang="en-IN" sz="2000" dirty="0">
                <a:solidFill>
                  <a:schemeClr val="tx1"/>
                </a:solidFill>
              </a:rPr>
            </a:br>
            <a:r>
              <a:rPr lang="en-IN" sz="2000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B5565425-5764-B5AE-4D1C-2BCFE19BA58A}"/>
              </a:ext>
            </a:extLst>
          </p:cNvPr>
          <p:cNvSpPr/>
          <p:nvPr/>
        </p:nvSpPr>
        <p:spPr>
          <a:xfrm>
            <a:off x="4541897" y="1131255"/>
            <a:ext cx="972334" cy="972334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1"/>
          <a:lstStyle/>
          <a:p>
            <a:pPr algn="ctr"/>
            <a:r>
              <a:rPr lang="en-IN" sz="2000" dirty="0">
                <a:solidFill>
                  <a:schemeClr val="tx1"/>
                </a:solidFill>
              </a:rPr>
              <a:t>Insert </a:t>
            </a:r>
            <a:br>
              <a:rPr lang="en-IN" sz="2000" dirty="0">
                <a:solidFill>
                  <a:schemeClr val="tx1"/>
                </a:solidFill>
              </a:rPr>
            </a:br>
            <a:r>
              <a:rPr lang="en-IN" sz="2000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4CD3F4DD-EC27-DF79-A11A-B9F17D4EFAF3}"/>
              </a:ext>
            </a:extLst>
          </p:cNvPr>
          <p:cNvSpPr/>
          <p:nvPr/>
        </p:nvSpPr>
        <p:spPr>
          <a:xfrm>
            <a:off x="4675247" y="5322255"/>
            <a:ext cx="972334" cy="972334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1"/>
          <a:lstStyle/>
          <a:p>
            <a:pPr algn="ctr"/>
            <a:r>
              <a:rPr lang="en-IN" sz="2000" dirty="0">
                <a:solidFill>
                  <a:schemeClr val="tx1"/>
                </a:solidFill>
              </a:rPr>
              <a:t>Insert </a:t>
            </a:r>
            <a:br>
              <a:rPr lang="en-IN" sz="2000" dirty="0">
                <a:solidFill>
                  <a:schemeClr val="tx1"/>
                </a:solidFill>
              </a:rPr>
            </a:br>
            <a:r>
              <a:rPr lang="en-IN" sz="2000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5C518CEB-92CD-0312-CBDC-B5608C567A15}"/>
              </a:ext>
            </a:extLst>
          </p:cNvPr>
          <p:cNvSpPr/>
          <p:nvPr/>
        </p:nvSpPr>
        <p:spPr>
          <a:xfrm>
            <a:off x="6389747" y="5246055"/>
            <a:ext cx="972334" cy="972334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1"/>
          <a:lstStyle/>
          <a:p>
            <a:pPr algn="ctr"/>
            <a:r>
              <a:rPr lang="en-IN" sz="2000" dirty="0">
                <a:solidFill>
                  <a:schemeClr val="tx1"/>
                </a:solidFill>
              </a:rPr>
              <a:t>Insert </a:t>
            </a:r>
            <a:br>
              <a:rPr lang="en-IN" sz="2000" dirty="0">
                <a:solidFill>
                  <a:schemeClr val="tx1"/>
                </a:solidFill>
              </a:rPr>
            </a:br>
            <a:r>
              <a:rPr lang="en-IN" sz="2000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B90FC2E4-6D3A-D29F-A1A3-D4E3E341FFDA}"/>
              </a:ext>
            </a:extLst>
          </p:cNvPr>
          <p:cNvSpPr/>
          <p:nvPr/>
        </p:nvSpPr>
        <p:spPr>
          <a:xfrm>
            <a:off x="3341747" y="2407605"/>
            <a:ext cx="972334" cy="972334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1"/>
          <a:lstStyle/>
          <a:p>
            <a:pPr algn="ctr"/>
            <a:r>
              <a:rPr lang="en-IN" sz="2000" dirty="0">
                <a:solidFill>
                  <a:schemeClr val="tx1"/>
                </a:solidFill>
              </a:rPr>
              <a:t>Insert </a:t>
            </a:r>
            <a:br>
              <a:rPr lang="en-IN" sz="2000" dirty="0">
                <a:solidFill>
                  <a:schemeClr val="tx1"/>
                </a:solidFill>
              </a:rPr>
            </a:br>
            <a:r>
              <a:rPr lang="en-IN" sz="2000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488AED60-764D-C850-E087-14C812ECE7F1}"/>
              </a:ext>
            </a:extLst>
          </p:cNvPr>
          <p:cNvSpPr/>
          <p:nvPr/>
        </p:nvSpPr>
        <p:spPr>
          <a:xfrm>
            <a:off x="3227447" y="4103055"/>
            <a:ext cx="972334" cy="972334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1"/>
          <a:lstStyle/>
          <a:p>
            <a:pPr algn="ctr"/>
            <a:r>
              <a:rPr lang="en-IN" sz="2000" dirty="0">
                <a:solidFill>
                  <a:schemeClr val="tx1"/>
                </a:solidFill>
              </a:rPr>
              <a:t>Insert </a:t>
            </a:r>
            <a:br>
              <a:rPr lang="en-IN" sz="2000" dirty="0">
                <a:solidFill>
                  <a:schemeClr val="tx1"/>
                </a:solidFill>
              </a:rPr>
            </a:br>
            <a:r>
              <a:rPr lang="en-IN" sz="2000" dirty="0">
                <a:solidFill>
                  <a:schemeClr val="tx1"/>
                </a:solidFill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544845840"/>
      </p:ext>
    </p:extLst>
  </p:cSld>
  <p:clrMapOvr>
    <a:masterClrMapping/>
  </p:clrMapOvr>
</p:sld>
</file>

<file path=ppt/slides/slide1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2FA0D1-2439-BEF7-1475-DB53E95FDB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028F9CB-E911-9007-BFB5-C00D4165B3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028F9CB-E911-9007-BFB5-C00D4165B3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7CE9B75-395C-51B6-C99D-4DAE2F31CB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ircular layou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E0B9ABE-B665-8268-0318-F23582D4F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25</a:t>
            </a:fld>
            <a:endParaRPr lang="en-US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234F69A-5E95-A4DD-7F7C-30B9279A0CC2}"/>
              </a:ext>
            </a:extLst>
          </p:cNvPr>
          <p:cNvGrpSpPr/>
          <p:nvPr/>
        </p:nvGrpSpPr>
        <p:grpSpPr>
          <a:xfrm>
            <a:off x="5737003" y="1850864"/>
            <a:ext cx="4105646" cy="4105646"/>
            <a:chOff x="1237496" y="2003969"/>
            <a:chExt cx="4105646" cy="4105646"/>
          </a:xfrm>
        </p:grpSpPr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88519644-FA69-434E-5CFE-7C1D19FB73EA}"/>
                </a:ext>
              </a:extLst>
            </p:cNvPr>
            <p:cNvGrpSpPr/>
            <p:nvPr/>
          </p:nvGrpSpPr>
          <p:grpSpPr>
            <a:xfrm>
              <a:off x="2100442" y="2864517"/>
              <a:ext cx="2379753" cy="2382151"/>
              <a:chOff x="2100442" y="2565576"/>
              <a:chExt cx="2379753" cy="2382151"/>
            </a:xfrm>
          </p:grpSpPr>
          <p:sp>
            <p:nvSpPr>
              <p:cNvPr id="49" name="Block Arc 48">
                <a:extLst>
                  <a:ext uri="{FF2B5EF4-FFF2-40B4-BE49-F238E27FC236}">
                    <a16:creationId xmlns:a16="http://schemas.microsoft.com/office/drawing/2014/main" id="{EC8F96A7-0EDB-7B93-AD87-D2CCB883D824}"/>
                  </a:ext>
                </a:extLst>
              </p:cNvPr>
              <p:cNvSpPr/>
              <p:nvPr/>
            </p:nvSpPr>
            <p:spPr>
              <a:xfrm flipH="1">
                <a:off x="2100442" y="2567974"/>
                <a:ext cx="2379753" cy="2379753"/>
              </a:xfrm>
              <a:prstGeom prst="blockArc">
                <a:avLst>
                  <a:gd name="adj1" fmla="val 40644"/>
                  <a:gd name="adj2" fmla="val 16214381"/>
                  <a:gd name="adj3" fmla="val 16739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E331A372-BC9E-892E-4EA1-512EDC57C796}"/>
                  </a:ext>
                </a:extLst>
              </p:cNvPr>
              <p:cNvSpPr/>
              <p:nvPr/>
            </p:nvSpPr>
            <p:spPr>
              <a:xfrm>
                <a:off x="3092477" y="2565576"/>
                <a:ext cx="400383" cy="400383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lvl="0" algn="ctr"/>
                <a:endParaRPr lang="en-US" sz="16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6368F000-DCE2-8F71-852B-341291091253}"/>
                </a:ext>
              </a:extLst>
            </p:cNvPr>
            <p:cNvGrpSpPr/>
            <p:nvPr/>
          </p:nvGrpSpPr>
          <p:grpSpPr>
            <a:xfrm>
              <a:off x="2531315" y="3297788"/>
              <a:ext cx="1518008" cy="1518008"/>
              <a:chOff x="2531315" y="2998847"/>
              <a:chExt cx="1518008" cy="1518008"/>
            </a:xfrm>
          </p:grpSpPr>
          <p:sp>
            <p:nvSpPr>
              <p:cNvPr id="47" name="Block Arc 46">
                <a:extLst>
                  <a:ext uri="{FF2B5EF4-FFF2-40B4-BE49-F238E27FC236}">
                    <a16:creationId xmlns:a16="http://schemas.microsoft.com/office/drawing/2014/main" id="{498B3F27-E32D-AB56-461E-833363D04CEE}"/>
                  </a:ext>
                </a:extLst>
              </p:cNvPr>
              <p:cNvSpPr/>
              <p:nvPr/>
            </p:nvSpPr>
            <p:spPr>
              <a:xfrm flipH="1">
                <a:off x="2531315" y="2998847"/>
                <a:ext cx="1518008" cy="1518008"/>
              </a:xfrm>
              <a:prstGeom prst="blockArc">
                <a:avLst>
                  <a:gd name="adj1" fmla="val 3706252"/>
                  <a:gd name="adj2" fmla="val 16177562"/>
                  <a:gd name="adj3" fmla="val 26403"/>
                </a:avLst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48" name="Oval 47">
                <a:extLst>
                  <a:ext uri="{FF2B5EF4-FFF2-40B4-BE49-F238E27FC236}">
                    <a16:creationId xmlns:a16="http://schemas.microsoft.com/office/drawing/2014/main" id="{0F2BA758-D73B-87B4-4F76-360B01329F6B}"/>
                  </a:ext>
                </a:extLst>
              </p:cNvPr>
              <p:cNvSpPr/>
              <p:nvPr/>
            </p:nvSpPr>
            <p:spPr>
              <a:xfrm>
                <a:off x="3092477" y="2998847"/>
                <a:ext cx="400383" cy="400383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 dirty="0">
                  <a:solidFill>
                    <a:schemeClr val="bg1"/>
                  </a:solidFill>
                  <a:latin typeface="FontAwesome" pitchFamily="2" charset="0"/>
                </a:endParaRPr>
              </a:p>
            </p:txBody>
          </p:sp>
        </p:grp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DC96A8C5-B9DA-BF5D-0567-F8C82E585DD0}"/>
                </a:ext>
              </a:extLst>
            </p:cNvPr>
            <p:cNvGrpSpPr/>
            <p:nvPr/>
          </p:nvGrpSpPr>
          <p:grpSpPr>
            <a:xfrm>
              <a:off x="1667173" y="2431245"/>
              <a:ext cx="3246294" cy="3248695"/>
              <a:chOff x="1667173" y="2132304"/>
              <a:chExt cx="3246294" cy="3248695"/>
            </a:xfrm>
          </p:grpSpPr>
          <p:sp>
            <p:nvSpPr>
              <p:cNvPr id="45" name="Block Arc 44">
                <a:extLst>
                  <a:ext uri="{FF2B5EF4-FFF2-40B4-BE49-F238E27FC236}">
                    <a16:creationId xmlns:a16="http://schemas.microsoft.com/office/drawing/2014/main" id="{38C62AFE-CF39-DA2E-D1BA-2CAFB2019357}"/>
                  </a:ext>
                </a:extLst>
              </p:cNvPr>
              <p:cNvSpPr/>
              <p:nvPr/>
            </p:nvSpPr>
            <p:spPr>
              <a:xfrm flipH="1">
                <a:off x="1667173" y="2134705"/>
                <a:ext cx="3246294" cy="3246294"/>
              </a:xfrm>
              <a:prstGeom prst="blockArc">
                <a:avLst>
                  <a:gd name="adj1" fmla="val 20331835"/>
                  <a:gd name="adj2" fmla="val 16203514"/>
                  <a:gd name="adj3" fmla="val 12311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46" name="Oval 45">
                <a:extLst>
                  <a:ext uri="{FF2B5EF4-FFF2-40B4-BE49-F238E27FC236}">
                    <a16:creationId xmlns:a16="http://schemas.microsoft.com/office/drawing/2014/main" id="{1D31134A-7A91-F26A-6D1D-6EBCAB69A5E0}"/>
                  </a:ext>
                </a:extLst>
              </p:cNvPr>
              <p:cNvSpPr/>
              <p:nvPr/>
            </p:nvSpPr>
            <p:spPr>
              <a:xfrm>
                <a:off x="3092477" y="2132304"/>
                <a:ext cx="400383" cy="400383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 dirty="0">
                  <a:solidFill>
                    <a:schemeClr val="bg1"/>
                  </a:solidFill>
                  <a:latin typeface="FontAwesome" pitchFamily="2" charset="0"/>
                </a:endParaRPr>
              </a:p>
            </p:txBody>
          </p:sp>
        </p:grp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87CDDB4E-DF09-B1A8-1FC2-7163D5B42352}"/>
                </a:ext>
              </a:extLst>
            </p:cNvPr>
            <p:cNvGrpSpPr/>
            <p:nvPr/>
          </p:nvGrpSpPr>
          <p:grpSpPr>
            <a:xfrm>
              <a:off x="1237496" y="2003969"/>
              <a:ext cx="4105646" cy="4105646"/>
              <a:chOff x="1237496" y="1705028"/>
              <a:chExt cx="4105646" cy="4105646"/>
            </a:xfrm>
          </p:grpSpPr>
          <p:sp>
            <p:nvSpPr>
              <p:cNvPr id="43" name="Block Arc 42">
                <a:extLst>
                  <a:ext uri="{FF2B5EF4-FFF2-40B4-BE49-F238E27FC236}">
                    <a16:creationId xmlns:a16="http://schemas.microsoft.com/office/drawing/2014/main" id="{E853110B-4E69-4B91-0686-BB6F4774671C}"/>
                  </a:ext>
                </a:extLst>
              </p:cNvPr>
              <p:cNvSpPr/>
              <p:nvPr/>
            </p:nvSpPr>
            <p:spPr>
              <a:xfrm flipH="1">
                <a:off x="1237496" y="1705028"/>
                <a:ext cx="4105646" cy="4105646"/>
              </a:xfrm>
              <a:prstGeom prst="blockArc">
                <a:avLst>
                  <a:gd name="adj1" fmla="val 19391962"/>
                  <a:gd name="adj2" fmla="val 16212586"/>
                  <a:gd name="adj3" fmla="val 9872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44" name="Oval 43">
                <a:extLst>
                  <a:ext uri="{FF2B5EF4-FFF2-40B4-BE49-F238E27FC236}">
                    <a16:creationId xmlns:a16="http://schemas.microsoft.com/office/drawing/2014/main" id="{2A4C3190-B602-47BA-30F7-1A8DF1011CB4}"/>
                  </a:ext>
                </a:extLst>
              </p:cNvPr>
              <p:cNvSpPr/>
              <p:nvPr/>
            </p:nvSpPr>
            <p:spPr>
              <a:xfrm>
                <a:off x="3092477" y="1705028"/>
                <a:ext cx="400383" cy="400383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AU" sz="1600" dirty="0">
                  <a:solidFill>
                    <a:srgbClr val="FFFFFF"/>
                  </a:solidFill>
                  <a:latin typeface="FontAwesome" pitchFamily="2" charset="0"/>
                </a:endParaRPr>
              </a:p>
            </p:txBody>
          </p:sp>
        </p:grpSp>
      </p:grpSp>
      <p:sp>
        <p:nvSpPr>
          <p:cNvPr id="37" name="TextBox 36">
            <a:extLst>
              <a:ext uri="{FF2B5EF4-FFF2-40B4-BE49-F238E27FC236}">
                <a16:creationId xmlns:a16="http://schemas.microsoft.com/office/drawing/2014/main" id="{843C54AC-245A-C1AB-377B-5CA011E37294}"/>
              </a:ext>
            </a:extLst>
          </p:cNvPr>
          <p:cNvSpPr txBox="1"/>
          <p:nvPr/>
        </p:nvSpPr>
        <p:spPr>
          <a:xfrm>
            <a:off x="3644341" y="2175381"/>
            <a:ext cx="9669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b="1" dirty="0">
                <a:solidFill>
                  <a:schemeClr val="accent2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Header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F35C6ECF-1A5F-9170-E863-6D3DBCBA2418}"/>
              </a:ext>
            </a:extLst>
          </p:cNvPr>
          <p:cNvSpPr/>
          <p:nvPr/>
        </p:nvSpPr>
        <p:spPr>
          <a:xfrm>
            <a:off x="505627" y="2399100"/>
            <a:ext cx="410564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Text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endParaRPr lang="en-US" sz="1400" dirty="0"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7833D674-BA98-44AE-982C-27A6ED92701E}"/>
              </a:ext>
            </a:extLst>
          </p:cNvPr>
          <p:cNvGrpSpPr>
            <a:grpSpLocks noChangeAspect="1"/>
          </p:cNvGrpSpPr>
          <p:nvPr/>
        </p:nvGrpSpPr>
        <p:grpSpPr>
          <a:xfrm rot="5400000">
            <a:off x="4413280" y="2473575"/>
            <a:ext cx="492675" cy="31074"/>
            <a:chOff x="5012716" y="1129776"/>
            <a:chExt cx="2895125" cy="103072"/>
          </a:xfrm>
          <a:solidFill>
            <a:schemeClr val="accent2"/>
          </a:solidFill>
        </p:grpSpPr>
        <p:sp>
          <p:nvSpPr>
            <p:cNvPr id="34" name="Rounded Rectangle 32">
              <a:extLst>
                <a:ext uri="{FF2B5EF4-FFF2-40B4-BE49-F238E27FC236}">
                  <a16:creationId xmlns:a16="http://schemas.microsoft.com/office/drawing/2014/main" id="{8D4E0DBC-310C-20C8-DAA6-99485997D144}"/>
                </a:ext>
              </a:extLst>
            </p:cNvPr>
            <p:cNvSpPr/>
            <p:nvPr/>
          </p:nvSpPr>
          <p:spPr>
            <a:xfrm>
              <a:off x="5012716" y="1129776"/>
              <a:ext cx="1623093" cy="103072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en-US" sz="2400" dirty="0"/>
            </a:p>
          </p:txBody>
        </p:sp>
        <p:sp>
          <p:nvSpPr>
            <p:cNvPr id="35" name="Rounded Rectangle 33">
              <a:extLst>
                <a:ext uri="{FF2B5EF4-FFF2-40B4-BE49-F238E27FC236}">
                  <a16:creationId xmlns:a16="http://schemas.microsoft.com/office/drawing/2014/main" id="{02B49B2E-8A29-753C-DDF0-CA5E56C0DB1E}"/>
                </a:ext>
              </a:extLst>
            </p:cNvPr>
            <p:cNvSpPr/>
            <p:nvPr/>
          </p:nvSpPr>
          <p:spPr>
            <a:xfrm>
              <a:off x="6776695" y="1129776"/>
              <a:ext cx="660462" cy="103072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en-US" sz="2400" dirty="0"/>
            </a:p>
          </p:txBody>
        </p:sp>
        <p:sp>
          <p:nvSpPr>
            <p:cNvPr id="36" name="Rounded Rectangle 34">
              <a:extLst>
                <a:ext uri="{FF2B5EF4-FFF2-40B4-BE49-F238E27FC236}">
                  <a16:creationId xmlns:a16="http://schemas.microsoft.com/office/drawing/2014/main" id="{E887E1F4-4DDF-72EE-ABBF-60737CF93EA7}"/>
                </a:ext>
              </a:extLst>
            </p:cNvPr>
            <p:cNvSpPr/>
            <p:nvPr/>
          </p:nvSpPr>
          <p:spPr>
            <a:xfrm>
              <a:off x="7577612" y="1129776"/>
              <a:ext cx="330229" cy="103072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en-US" sz="2400" dirty="0"/>
            </a:p>
          </p:txBody>
        </p:sp>
      </p:grpSp>
      <p:sp>
        <p:nvSpPr>
          <p:cNvPr id="32" name="TextBox 31">
            <a:extLst>
              <a:ext uri="{FF2B5EF4-FFF2-40B4-BE49-F238E27FC236}">
                <a16:creationId xmlns:a16="http://schemas.microsoft.com/office/drawing/2014/main" id="{59064FD4-BBDF-2A06-7FC1-E0FDDFCC7386}"/>
              </a:ext>
            </a:extLst>
          </p:cNvPr>
          <p:cNvSpPr txBox="1"/>
          <p:nvPr/>
        </p:nvSpPr>
        <p:spPr>
          <a:xfrm>
            <a:off x="3644341" y="3128968"/>
            <a:ext cx="9669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b="1" dirty="0">
                <a:solidFill>
                  <a:schemeClr val="accent3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Header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5052647F-E457-5565-2FD9-6FA61C9506AA}"/>
              </a:ext>
            </a:extLst>
          </p:cNvPr>
          <p:cNvSpPr/>
          <p:nvPr/>
        </p:nvSpPr>
        <p:spPr>
          <a:xfrm>
            <a:off x="505627" y="3352687"/>
            <a:ext cx="410564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Text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endParaRPr lang="en-US" sz="1400" dirty="0"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6391C958-BC82-6A4A-AD98-84C596D65FB1}"/>
              </a:ext>
            </a:extLst>
          </p:cNvPr>
          <p:cNvGrpSpPr>
            <a:grpSpLocks noChangeAspect="1"/>
          </p:cNvGrpSpPr>
          <p:nvPr/>
        </p:nvGrpSpPr>
        <p:grpSpPr>
          <a:xfrm rot="5400000">
            <a:off x="4413280" y="3427162"/>
            <a:ext cx="492675" cy="31074"/>
            <a:chOff x="5012716" y="1129776"/>
            <a:chExt cx="2895125" cy="103072"/>
          </a:xfrm>
          <a:solidFill>
            <a:schemeClr val="accent3"/>
          </a:solidFill>
        </p:grpSpPr>
        <p:sp>
          <p:nvSpPr>
            <p:cNvPr id="29" name="Rounded Rectangle 40">
              <a:extLst>
                <a:ext uri="{FF2B5EF4-FFF2-40B4-BE49-F238E27FC236}">
                  <a16:creationId xmlns:a16="http://schemas.microsoft.com/office/drawing/2014/main" id="{7D798FB5-4C08-75EA-4043-A46636E68E98}"/>
                </a:ext>
              </a:extLst>
            </p:cNvPr>
            <p:cNvSpPr/>
            <p:nvPr/>
          </p:nvSpPr>
          <p:spPr>
            <a:xfrm>
              <a:off x="5012716" y="1129776"/>
              <a:ext cx="1623093" cy="103072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en-US" sz="2400" dirty="0"/>
            </a:p>
          </p:txBody>
        </p:sp>
        <p:sp>
          <p:nvSpPr>
            <p:cNvPr id="30" name="Rounded Rectangle 41">
              <a:extLst>
                <a:ext uri="{FF2B5EF4-FFF2-40B4-BE49-F238E27FC236}">
                  <a16:creationId xmlns:a16="http://schemas.microsoft.com/office/drawing/2014/main" id="{68C44070-4853-BCD2-7CA6-41475FAB883E}"/>
                </a:ext>
              </a:extLst>
            </p:cNvPr>
            <p:cNvSpPr/>
            <p:nvPr/>
          </p:nvSpPr>
          <p:spPr>
            <a:xfrm>
              <a:off x="6776695" y="1129776"/>
              <a:ext cx="660462" cy="103072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en-US" sz="2400" dirty="0"/>
            </a:p>
          </p:txBody>
        </p:sp>
        <p:sp>
          <p:nvSpPr>
            <p:cNvPr id="31" name="Rounded Rectangle 42">
              <a:extLst>
                <a:ext uri="{FF2B5EF4-FFF2-40B4-BE49-F238E27FC236}">
                  <a16:creationId xmlns:a16="http://schemas.microsoft.com/office/drawing/2014/main" id="{6F8151B1-04C9-3C4E-776A-BE2EC1DB0B3C}"/>
                </a:ext>
              </a:extLst>
            </p:cNvPr>
            <p:cNvSpPr/>
            <p:nvPr/>
          </p:nvSpPr>
          <p:spPr>
            <a:xfrm>
              <a:off x="7577612" y="1129776"/>
              <a:ext cx="330229" cy="103072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en-US" sz="2400" dirty="0"/>
            </a:p>
          </p:txBody>
        </p:sp>
      </p:grpSp>
      <p:sp>
        <p:nvSpPr>
          <p:cNvPr id="27" name="TextBox 26">
            <a:extLst>
              <a:ext uri="{FF2B5EF4-FFF2-40B4-BE49-F238E27FC236}">
                <a16:creationId xmlns:a16="http://schemas.microsoft.com/office/drawing/2014/main" id="{E5006C7D-7484-4C43-A7D1-2B072929C250}"/>
              </a:ext>
            </a:extLst>
          </p:cNvPr>
          <p:cNvSpPr txBox="1"/>
          <p:nvPr/>
        </p:nvSpPr>
        <p:spPr>
          <a:xfrm>
            <a:off x="3644341" y="4082555"/>
            <a:ext cx="9669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b="1" dirty="0">
                <a:solidFill>
                  <a:schemeClr val="accent4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Header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734A9AE5-B562-712F-F07F-EDCF6ACC69E2}"/>
              </a:ext>
            </a:extLst>
          </p:cNvPr>
          <p:cNvSpPr/>
          <p:nvPr/>
        </p:nvSpPr>
        <p:spPr>
          <a:xfrm>
            <a:off x="505627" y="4306274"/>
            <a:ext cx="410564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Text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endParaRPr lang="en-US" sz="1400" dirty="0"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C1466670-2273-E577-B627-7DEF1C98C12D}"/>
              </a:ext>
            </a:extLst>
          </p:cNvPr>
          <p:cNvGrpSpPr>
            <a:grpSpLocks noChangeAspect="1"/>
          </p:cNvGrpSpPr>
          <p:nvPr/>
        </p:nvGrpSpPr>
        <p:grpSpPr>
          <a:xfrm rot="5400000">
            <a:off x="4413280" y="4380749"/>
            <a:ext cx="492675" cy="31074"/>
            <a:chOff x="5012716" y="1129776"/>
            <a:chExt cx="2895125" cy="103072"/>
          </a:xfrm>
          <a:solidFill>
            <a:schemeClr val="accent4"/>
          </a:solidFill>
        </p:grpSpPr>
        <p:sp>
          <p:nvSpPr>
            <p:cNvPr id="24" name="Rounded Rectangle 48">
              <a:extLst>
                <a:ext uri="{FF2B5EF4-FFF2-40B4-BE49-F238E27FC236}">
                  <a16:creationId xmlns:a16="http://schemas.microsoft.com/office/drawing/2014/main" id="{E3ACC073-9C3F-8688-39EC-09154994DBBB}"/>
                </a:ext>
              </a:extLst>
            </p:cNvPr>
            <p:cNvSpPr/>
            <p:nvPr/>
          </p:nvSpPr>
          <p:spPr>
            <a:xfrm>
              <a:off x="5012716" y="1129776"/>
              <a:ext cx="1623093" cy="103072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en-US" sz="2400" dirty="0"/>
            </a:p>
          </p:txBody>
        </p:sp>
        <p:sp>
          <p:nvSpPr>
            <p:cNvPr id="25" name="Rounded Rectangle 49">
              <a:extLst>
                <a:ext uri="{FF2B5EF4-FFF2-40B4-BE49-F238E27FC236}">
                  <a16:creationId xmlns:a16="http://schemas.microsoft.com/office/drawing/2014/main" id="{78456A6A-26ED-DCE6-C9ED-B24A8B194780}"/>
                </a:ext>
              </a:extLst>
            </p:cNvPr>
            <p:cNvSpPr/>
            <p:nvPr/>
          </p:nvSpPr>
          <p:spPr>
            <a:xfrm>
              <a:off x="6776695" y="1129776"/>
              <a:ext cx="660462" cy="103072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en-US" sz="2400" dirty="0"/>
            </a:p>
          </p:txBody>
        </p:sp>
        <p:sp>
          <p:nvSpPr>
            <p:cNvPr id="26" name="Rounded Rectangle 50">
              <a:extLst>
                <a:ext uri="{FF2B5EF4-FFF2-40B4-BE49-F238E27FC236}">
                  <a16:creationId xmlns:a16="http://schemas.microsoft.com/office/drawing/2014/main" id="{7C87C7AC-A7B1-3CDB-A173-CCCE44CDA8A4}"/>
                </a:ext>
              </a:extLst>
            </p:cNvPr>
            <p:cNvSpPr/>
            <p:nvPr/>
          </p:nvSpPr>
          <p:spPr>
            <a:xfrm>
              <a:off x="7577612" y="1129776"/>
              <a:ext cx="330229" cy="103072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en-US" sz="2400" dirty="0"/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1EE35904-EC24-9989-8C26-A92CF161E502}"/>
              </a:ext>
            </a:extLst>
          </p:cNvPr>
          <p:cNvSpPr txBox="1"/>
          <p:nvPr/>
        </p:nvSpPr>
        <p:spPr>
          <a:xfrm>
            <a:off x="3644341" y="5036142"/>
            <a:ext cx="9669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b="1" dirty="0">
                <a:solidFill>
                  <a:schemeClr val="accent5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Header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2834226-903A-8A3C-CC42-D038ED5B2D37}"/>
              </a:ext>
            </a:extLst>
          </p:cNvPr>
          <p:cNvSpPr/>
          <p:nvPr/>
        </p:nvSpPr>
        <p:spPr>
          <a:xfrm>
            <a:off x="505627" y="5259861"/>
            <a:ext cx="410564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Text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4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endParaRPr lang="en-US" sz="1400" dirty="0"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58500B4D-9FCB-0E94-2861-6055CDE8AFA7}"/>
              </a:ext>
            </a:extLst>
          </p:cNvPr>
          <p:cNvGrpSpPr>
            <a:grpSpLocks noChangeAspect="1"/>
          </p:cNvGrpSpPr>
          <p:nvPr/>
        </p:nvGrpSpPr>
        <p:grpSpPr>
          <a:xfrm rot="5400000">
            <a:off x="4413280" y="5334336"/>
            <a:ext cx="492675" cy="31074"/>
            <a:chOff x="5012716" y="1129776"/>
            <a:chExt cx="2895125" cy="103072"/>
          </a:xfrm>
          <a:solidFill>
            <a:schemeClr val="accent5"/>
          </a:solidFill>
        </p:grpSpPr>
        <p:sp>
          <p:nvSpPr>
            <p:cNvPr id="19" name="Rounded Rectangle 56">
              <a:extLst>
                <a:ext uri="{FF2B5EF4-FFF2-40B4-BE49-F238E27FC236}">
                  <a16:creationId xmlns:a16="http://schemas.microsoft.com/office/drawing/2014/main" id="{B2E81F19-6B95-9F61-5566-7BC8687917A2}"/>
                </a:ext>
              </a:extLst>
            </p:cNvPr>
            <p:cNvSpPr/>
            <p:nvPr/>
          </p:nvSpPr>
          <p:spPr>
            <a:xfrm>
              <a:off x="5012716" y="1129776"/>
              <a:ext cx="1623093" cy="103072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en-US" sz="2400" dirty="0"/>
            </a:p>
          </p:txBody>
        </p:sp>
        <p:sp>
          <p:nvSpPr>
            <p:cNvPr id="20" name="Rounded Rectangle 57">
              <a:extLst>
                <a:ext uri="{FF2B5EF4-FFF2-40B4-BE49-F238E27FC236}">
                  <a16:creationId xmlns:a16="http://schemas.microsoft.com/office/drawing/2014/main" id="{8BD50B17-75D8-EA5F-C7CF-0DB6D2D7230D}"/>
                </a:ext>
              </a:extLst>
            </p:cNvPr>
            <p:cNvSpPr/>
            <p:nvPr/>
          </p:nvSpPr>
          <p:spPr>
            <a:xfrm>
              <a:off x="6776695" y="1129776"/>
              <a:ext cx="660462" cy="103072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en-US" sz="2400" dirty="0"/>
            </a:p>
          </p:txBody>
        </p:sp>
        <p:sp>
          <p:nvSpPr>
            <p:cNvPr id="21" name="Rounded Rectangle 58">
              <a:extLst>
                <a:ext uri="{FF2B5EF4-FFF2-40B4-BE49-F238E27FC236}">
                  <a16:creationId xmlns:a16="http://schemas.microsoft.com/office/drawing/2014/main" id="{25247445-905C-3A9A-412B-878F05226B56}"/>
                </a:ext>
              </a:extLst>
            </p:cNvPr>
            <p:cNvSpPr/>
            <p:nvPr/>
          </p:nvSpPr>
          <p:spPr>
            <a:xfrm>
              <a:off x="7577612" y="1129776"/>
              <a:ext cx="330229" cy="103072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en-US" sz="2400" dirty="0"/>
            </a:p>
          </p:txBody>
        </p:sp>
      </p:grpSp>
    </p:spTree>
    <p:extLst>
      <p:ext uri="{BB962C8B-B14F-4D97-AF65-F5344CB8AC3E}">
        <p14:creationId xmlns:p14="http://schemas.microsoft.com/office/powerpoint/2010/main" val="3563823495"/>
      </p:ext>
    </p:extLst>
  </p:cSld>
  <p:clrMapOvr>
    <a:masterClrMapping/>
  </p:clrMapOvr>
</p:sld>
</file>

<file path=ppt/slides/slide1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589868-C15B-8E63-6B97-4034138178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47BFC04-2A94-B725-9397-3468C9561E5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47BFC04-2A94-B725-9397-3468C9561E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EB9437E-B7A3-681C-724F-E2930EEEFB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ircular layou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3C9195-54F1-4BF1-49FD-30F0087844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26</a:t>
            </a:fld>
            <a:endParaRPr lang="en-US" dirty="0"/>
          </a:p>
        </p:txBody>
      </p:sp>
      <p:sp>
        <p:nvSpPr>
          <p:cNvPr id="47" name="Freeform 16">
            <a:extLst>
              <a:ext uri="{FF2B5EF4-FFF2-40B4-BE49-F238E27FC236}">
                <a16:creationId xmlns:a16="http://schemas.microsoft.com/office/drawing/2014/main" id="{F05259E0-69B5-5C84-FFAF-EF1B112255F2}"/>
              </a:ext>
            </a:extLst>
          </p:cNvPr>
          <p:cNvSpPr>
            <a:spLocks/>
          </p:cNvSpPr>
          <p:nvPr/>
        </p:nvSpPr>
        <p:spPr bwMode="auto">
          <a:xfrm>
            <a:off x="4163220" y="2010877"/>
            <a:ext cx="1661914" cy="3384029"/>
          </a:xfrm>
          <a:custGeom>
            <a:avLst/>
            <a:gdLst>
              <a:gd name="T0" fmla="*/ 839 w 886"/>
              <a:gd name="T1" fmla="*/ 0 h 1806"/>
              <a:gd name="T2" fmla="*/ 886 w 886"/>
              <a:gd name="T3" fmla="*/ 1806 h 1806"/>
              <a:gd name="T4" fmla="*/ 1 w 886"/>
              <a:gd name="T5" fmla="*/ 841 h 1806"/>
              <a:gd name="T6" fmla="*/ 839 w 886"/>
              <a:gd name="T7" fmla="*/ 0 h 18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86" h="1806">
                <a:moveTo>
                  <a:pt x="839" y="0"/>
                </a:moveTo>
                <a:cubicBezTo>
                  <a:pt x="886" y="1806"/>
                  <a:pt x="886" y="1806"/>
                  <a:pt x="886" y="1806"/>
                </a:cubicBezTo>
                <a:cubicBezTo>
                  <a:pt x="886" y="1806"/>
                  <a:pt x="0" y="1806"/>
                  <a:pt x="1" y="841"/>
                </a:cubicBezTo>
                <a:cubicBezTo>
                  <a:pt x="1" y="591"/>
                  <a:pt x="201" y="76"/>
                  <a:pt x="839" y="0"/>
                </a:cubicBezTo>
                <a:close/>
              </a:path>
            </a:pathLst>
          </a:custGeom>
          <a:solidFill>
            <a:schemeClr val="accent5"/>
          </a:solidFill>
          <a:ln w="6350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800" dirty="0"/>
          </a:p>
        </p:txBody>
      </p:sp>
      <p:sp>
        <p:nvSpPr>
          <p:cNvPr id="48" name="Freeform 17">
            <a:extLst>
              <a:ext uri="{FF2B5EF4-FFF2-40B4-BE49-F238E27FC236}">
                <a16:creationId xmlns:a16="http://schemas.microsoft.com/office/drawing/2014/main" id="{98D5301F-FA7B-19FD-AC94-B37DE3CDF5B3}"/>
              </a:ext>
            </a:extLst>
          </p:cNvPr>
          <p:cNvSpPr>
            <a:spLocks/>
          </p:cNvSpPr>
          <p:nvPr/>
        </p:nvSpPr>
        <p:spPr bwMode="auto">
          <a:xfrm>
            <a:off x="4766832" y="1961765"/>
            <a:ext cx="2206907" cy="3496514"/>
          </a:xfrm>
          <a:custGeom>
            <a:avLst/>
            <a:gdLst>
              <a:gd name="T0" fmla="*/ 1132 w 1177"/>
              <a:gd name="T1" fmla="*/ 885 h 1866"/>
              <a:gd name="T2" fmla="*/ 669 w 1177"/>
              <a:gd name="T3" fmla="*/ 1840 h 1866"/>
              <a:gd name="T4" fmla="*/ 45 w 1177"/>
              <a:gd name="T5" fmla="*/ 982 h 1866"/>
              <a:gd name="T6" fmla="*/ 507 w 1177"/>
              <a:gd name="T7" fmla="*/ 27 h 1866"/>
              <a:gd name="T8" fmla="*/ 1132 w 1177"/>
              <a:gd name="T9" fmla="*/ 885 h 18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177" h="1866">
                <a:moveTo>
                  <a:pt x="1132" y="885"/>
                </a:moveTo>
                <a:cubicBezTo>
                  <a:pt x="1177" y="1385"/>
                  <a:pt x="969" y="1813"/>
                  <a:pt x="669" y="1840"/>
                </a:cubicBezTo>
                <a:cubicBezTo>
                  <a:pt x="369" y="1866"/>
                  <a:pt x="89" y="1482"/>
                  <a:pt x="45" y="982"/>
                </a:cubicBezTo>
                <a:cubicBezTo>
                  <a:pt x="0" y="481"/>
                  <a:pt x="207" y="54"/>
                  <a:pt x="507" y="27"/>
                </a:cubicBezTo>
                <a:cubicBezTo>
                  <a:pt x="808" y="0"/>
                  <a:pt x="1087" y="384"/>
                  <a:pt x="1132" y="885"/>
                </a:cubicBezTo>
                <a:close/>
              </a:path>
            </a:pathLst>
          </a:custGeom>
          <a:solidFill>
            <a:schemeClr val="accent5">
              <a:lumMod val="75000"/>
            </a:schemeClr>
          </a:solidFill>
          <a:ln w="6350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800" dirty="0"/>
          </a:p>
        </p:txBody>
      </p:sp>
      <p:sp>
        <p:nvSpPr>
          <p:cNvPr id="49" name="Freeform 18">
            <a:extLst>
              <a:ext uri="{FF2B5EF4-FFF2-40B4-BE49-F238E27FC236}">
                <a16:creationId xmlns:a16="http://schemas.microsoft.com/office/drawing/2014/main" id="{131B8E13-3845-4D55-E038-6743D0B57E48}"/>
              </a:ext>
            </a:extLst>
          </p:cNvPr>
          <p:cNvSpPr>
            <a:spLocks/>
          </p:cNvSpPr>
          <p:nvPr/>
        </p:nvSpPr>
        <p:spPr bwMode="auto">
          <a:xfrm>
            <a:off x="5159735" y="2864807"/>
            <a:ext cx="2290874" cy="1506654"/>
          </a:xfrm>
          <a:custGeom>
            <a:avLst/>
            <a:gdLst>
              <a:gd name="T0" fmla="*/ 0 w 1222"/>
              <a:gd name="T1" fmla="*/ 804 h 804"/>
              <a:gd name="T2" fmla="*/ 840 w 1222"/>
              <a:gd name="T3" fmla="*/ 0 h 804"/>
              <a:gd name="T4" fmla="*/ 1164 w 1222"/>
              <a:gd name="T5" fmla="*/ 142 h 804"/>
              <a:gd name="T6" fmla="*/ 444 w 1222"/>
              <a:gd name="T7" fmla="*/ 706 h 804"/>
              <a:gd name="T8" fmla="*/ 0 w 1222"/>
              <a:gd name="T9" fmla="*/ 804 h 8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22" h="804">
                <a:moveTo>
                  <a:pt x="0" y="804"/>
                </a:moveTo>
                <a:cubicBezTo>
                  <a:pt x="840" y="0"/>
                  <a:pt x="840" y="0"/>
                  <a:pt x="840" y="0"/>
                </a:cubicBezTo>
                <a:cubicBezTo>
                  <a:pt x="840" y="0"/>
                  <a:pt x="1138" y="38"/>
                  <a:pt x="1164" y="142"/>
                </a:cubicBezTo>
                <a:cubicBezTo>
                  <a:pt x="1164" y="142"/>
                  <a:pt x="1222" y="420"/>
                  <a:pt x="444" y="706"/>
                </a:cubicBezTo>
                <a:cubicBezTo>
                  <a:pt x="305" y="757"/>
                  <a:pt x="214" y="772"/>
                  <a:pt x="0" y="804"/>
                </a:cubicBezTo>
                <a:close/>
              </a:path>
            </a:pathLst>
          </a:custGeom>
          <a:solidFill>
            <a:schemeClr val="accent4">
              <a:lumMod val="75000"/>
            </a:schemeClr>
          </a:solidFill>
          <a:ln w="6350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800" dirty="0"/>
          </a:p>
        </p:txBody>
      </p:sp>
      <p:sp>
        <p:nvSpPr>
          <p:cNvPr id="50" name="Freeform 19">
            <a:extLst>
              <a:ext uri="{FF2B5EF4-FFF2-40B4-BE49-F238E27FC236}">
                <a16:creationId xmlns:a16="http://schemas.microsoft.com/office/drawing/2014/main" id="{4FA2CB4A-8E98-64D0-9372-B55E59E9CC89}"/>
              </a:ext>
            </a:extLst>
          </p:cNvPr>
          <p:cNvSpPr>
            <a:spLocks/>
          </p:cNvSpPr>
          <p:nvPr/>
        </p:nvSpPr>
        <p:spPr bwMode="auto">
          <a:xfrm>
            <a:off x="5159735" y="3130966"/>
            <a:ext cx="2690113" cy="2179974"/>
          </a:xfrm>
          <a:custGeom>
            <a:avLst/>
            <a:gdLst>
              <a:gd name="T0" fmla="*/ 1164 w 1435"/>
              <a:gd name="T1" fmla="*/ 0 h 1163"/>
              <a:gd name="T2" fmla="*/ 582 w 1435"/>
              <a:gd name="T3" fmla="*/ 1075 h 1163"/>
              <a:gd name="T4" fmla="*/ 0 w 1435"/>
              <a:gd name="T5" fmla="*/ 662 h 1163"/>
              <a:gd name="T6" fmla="*/ 1164 w 1435"/>
              <a:gd name="T7" fmla="*/ 0 h 11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435" h="1163">
                <a:moveTo>
                  <a:pt x="1164" y="0"/>
                </a:moveTo>
                <a:cubicBezTo>
                  <a:pt x="1164" y="0"/>
                  <a:pt x="1435" y="846"/>
                  <a:pt x="582" y="1075"/>
                </a:cubicBezTo>
                <a:cubicBezTo>
                  <a:pt x="582" y="1075"/>
                  <a:pt x="129" y="1163"/>
                  <a:pt x="0" y="662"/>
                </a:cubicBezTo>
                <a:cubicBezTo>
                  <a:pt x="0" y="662"/>
                  <a:pt x="1115" y="473"/>
                  <a:pt x="1164" y="0"/>
                </a:cubicBezTo>
                <a:close/>
              </a:path>
            </a:pathLst>
          </a:custGeom>
          <a:solidFill>
            <a:schemeClr val="accent4"/>
          </a:solidFill>
          <a:ln w="6350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800"/>
          </a:p>
        </p:txBody>
      </p:sp>
      <p:sp>
        <p:nvSpPr>
          <p:cNvPr id="51" name="Freeform 20">
            <a:extLst>
              <a:ext uri="{FF2B5EF4-FFF2-40B4-BE49-F238E27FC236}">
                <a16:creationId xmlns:a16="http://schemas.microsoft.com/office/drawing/2014/main" id="{D947A0F9-A9D5-2981-2918-8E6EDF68B71E}"/>
              </a:ext>
            </a:extLst>
          </p:cNvPr>
          <p:cNvSpPr>
            <a:spLocks/>
          </p:cNvSpPr>
          <p:nvPr/>
        </p:nvSpPr>
        <p:spPr bwMode="auto">
          <a:xfrm>
            <a:off x="4834956" y="2476657"/>
            <a:ext cx="1961343" cy="1768060"/>
          </a:xfrm>
          <a:custGeom>
            <a:avLst/>
            <a:gdLst>
              <a:gd name="T0" fmla="*/ 346 w 1046"/>
              <a:gd name="T1" fmla="*/ 44 h 943"/>
              <a:gd name="T2" fmla="*/ 1046 w 1046"/>
              <a:gd name="T3" fmla="*/ 592 h 943"/>
              <a:gd name="T4" fmla="*/ 241 w 1046"/>
              <a:gd name="T5" fmla="*/ 943 h 943"/>
              <a:gd name="T6" fmla="*/ 346 w 1046"/>
              <a:gd name="T7" fmla="*/ 44 h 9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046" h="943">
                <a:moveTo>
                  <a:pt x="346" y="44"/>
                </a:moveTo>
                <a:cubicBezTo>
                  <a:pt x="346" y="44"/>
                  <a:pt x="790" y="0"/>
                  <a:pt x="1046" y="592"/>
                </a:cubicBezTo>
                <a:cubicBezTo>
                  <a:pt x="1046" y="592"/>
                  <a:pt x="808" y="870"/>
                  <a:pt x="241" y="943"/>
                </a:cubicBezTo>
                <a:cubicBezTo>
                  <a:pt x="241" y="943"/>
                  <a:pt x="0" y="387"/>
                  <a:pt x="346" y="44"/>
                </a:cubicBezTo>
                <a:close/>
              </a:path>
            </a:pathLst>
          </a:custGeom>
          <a:solidFill>
            <a:schemeClr val="accent2"/>
          </a:solidFill>
          <a:ln w="6350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800"/>
          </a:p>
        </p:txBody>
      </p:sp>
      <p:sp>
        <p:nvSpPr>
          <p:cNvPr id="52" name="Freeform 21">
            <a:extLst>
              <a:ext uri="{FF2B5EF4-FFF2-40B4-BE49-F238E27FC236}">
                <a16:creationId xmlns:a16="http://schemas.microsoft.com/office/drawing/2014/main" id="{E56CC082-42D7-7C95-71FA-CE09750A9F48}"/>
              </a:ext>
            </a:extLst>
          </p:cNvPr>
          <p:cNvSpPr>
            <a:spLocks/>
          </p:cNvSpPr>
          <p:nvPr/>
        </p:nvSpPr>
        <p:spPr bwMode="auto">
          <a:xfrm>
            <a:off x="5430647" y="2310307"/>
            <a:ext cx="1533586" cy="1275349"/>
          </a:xfrm>
          <a:custGeom>
            <a:avLst/>
            <a:gdLst>
              <a:gd name="T0" fmla="*/ 0 w 818"/>
              <a:gd name="T1" fmla="*/ 49 h 681"/>
              <a:gd name="T2" fmla="*/ 818 w 818"/>
              <a:gd name="T3" fmla="*/ 681 h 681"/>
              <a:gd name="T4" fmla="*/ 728 w 818"/>
              <a:gd name="T5" fmla="*/ 681 h 681"/>
              <a:gd name="T6" fmla="*/ 29 w 818"/>
              <a:gd name="T7" fmla="*/ 135 h 681"/>
              <a:gd name="T8" fmla="*/ 0 w 818"/>
              <a:gd name="T9" fmla="*/ 49 h 6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18" h="681">
                <a:moveTo>
                  <a:pt x="0" y="49"/>
                </a:moveTo>
                <a:cubicBezTo>
                  <a:pt x="0" y="49"/>
                  <a:pt x="568" y="0"/>
                  <a:pt x="818" y="681"/>
                </a:cubicBezTo>
                <a:cubicBezTo>
                  <a:pt x="728" y="681"/>
                  <a:pt x="728" y="681"/>
                  <a:pt x="728" y="681"/>
                </a:cubicBezTo>
                <a:cubicBezTo>
                  <a:pt x="728" y="681"/>
                  <a:pt x="535" y="148"/>
                  <a:pt x="29" y="135"/>
                </a:cubicBezTo>
                <a:cubicBezTo>
                  <a:pt x="0" y="49"/>
                  <a:pt x="0" y="49"/>
                  <a:pt x="0" y="49"/>
                </a:cubicBezTo>
              </a:path>
            </a:pathLst>
          </a:custGeom>
          <a:solidFill>
            <a:schemeClr val="accent3">
              <a:lumMod val="50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800"/>
          </a:p>
        </p:txBody>
      </p:sp>
      <p:sp>
        <p:nvSpPr>
          <p:cNvPr id="53" name="Freeform 22">
            <a:extLst>
              <a:ext uri="{FF2B5EF4-FFF2-40B4-BE49-F238E27FC236}">
                <a16:creationId xmlns:a16="http://schemas.microsoft.com/office/drawing/2014/main" id="{E55EF0E7-C08D-CD04-4907-4569095E8A22}"/>
              </a:ext>
            </a:extLst>
          </p:cNvPr>
          <p:cNvSpPr>
            <a:spLocks/>
          </p:cNvSpPr>
          <p:nvPr/>
        </p:nvSpPr>
        <p:spPr bwMode="auto">
          <a:xfrm>
            <a:off x="5428271" y="2231886"/>
            <a:ext cx="1799746" cy="1356147"/>
          </a:xfrm>
          <a:custGeom>
            <a:avLst/>
            <a:gdLst>
              <a:gd name="T0" fmla="*/ 0 w 960"/>
              <a:gd name="T1" fmla="*/ 92 h 724"/>
              <a:gd name="T2" fmla="*/ 238 w 960"/>
              <a:gd name="T3" fmla="*/ 2 h 724"/>
              <a:gd name="T4" fmla="*/ 923 w 960"/>
              <a:gd name="T5" fmla="*/ 531 h 724"/>
              <a:gd name="T6" fmla="*/ 820 w 960"/>
              <a:gd name="T7" fmla="*/ 724 h 724"/>
              <a:gd name="T8" fmla="*/ 0 w 960"/>
              <a:gd name="T9" fmla="*/ 92 h 7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60" h="724">
                <a:moveTo>
                  <a:pt x="0" y="92"/>
                </a:moveTo>
                <a:cubicBezTo>
                  <a:pt x="0" y="92"/>
                  <a:pt x="70" y="0"/>
                  <a:pt x="238" y="2"/>
                </a:cubicBezTo>
                <a:cubicBezTo>
                  <a:pt x="456" y="4"/>
                  <a:pt x="796" y="135"/>
                  <a:pt x="923" y="531"/>
                </a:cubicBezTo>
                <a:cubicBezTo>
                  <a:pt x="923" y="531"/>
                  <a:pt x="960" y="584"/>
                  <a:pt x="820" y="724"/>
                </a:cubicBezTo>
                <a:cubicBezTo>
                  <a:pt x="820" y="724"/>
                  <a:pt x="604" y="76"/>
                  <a:pt x="0" y="92"/>
                </a:cubicBezTo>
                <a:close/>
              </a:path>
            </a:pathLst>
          </a:custGeom>
          <a:solidFill>
            <a:schemeClr val="accent3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800"/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AADFB54A-2B18-1EA4-0399-A0C71C06FEED}"/>
              </a:ext>
            </a:extLst>
          </p:cNvPr>
          <p:cNvCxnSpPr/>
          <p:nvPr/>
        </p:nvCxnSpPr>
        <p:spPr>
          <a:xfrm>
            <a:off x="7084943" y="2358270"/>
            <a:ext cx="872589" cy="0"/>
          </a:xfrm>
          <a:prstGeom prst="line">
            <a:avLst/>
          </a:prstGeom>
          <a:ln w="19050" cap="rnd">
            <a:solidFill>
              <a:schemeClr val="tx2">
                <a:alpha val="50000"/>
              </a:schemeClr>
            </a:solidFill>
            <a:prstDash val="sysDot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C641231E-3F3B-CAF0-D468-17E15312B91E}"/>
              </a:ext>
            </a:extLst>
          </p:cNvPr>
          <p:cNvCxnSpPr/>
          <p:nvPr/>
        </p:nvCxnSpPr>
        <p:spPr>
          <a:xfrm flipH="1">
            <a:off x="3908941" y="2358270"/>
            <a:ext cx="675273" cy="0"/>
          </a:xfrm>
          <a:prstGeom prst="line">
            <a:avLst/>
          </a:prstGeom>
          <a:ln w="19050" cap="rnd">
            <a:solidFill>
              <a:schemeClr val="tx2">
                <a:alpha val="50000"/>
              </a:schemeClr>
            </a:solidFill>
            <a:prstDash val="sysDot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2EC468AB-8593-074B-F45C-FB8FA94DDDFE}"/>
              </a:ext>
            </a:extLst>
          </p:cNvPr>
          <p:cNvCxnSpPr/>
          <p:nvPr/>
        </p:nvCxnSpPr>
        <p:spPr>
          <a:xfrm flipV="1">
            <a:off x="7084943" y="4877382"/>
            <a:ext cx="872589" cy="0"/>
          </a:xfrm>
          <a:prstGeom prst="line">
            <a:avLst/>
          </a:prstGeom>
          <a:ln w="19050" cap="rnd">
            <a:solidFill>
              <a:schemeClr val="tx2">
                <a:alpha val="50000"/>
              </a:schemeClr>
            </a:solidFill>
            <a:prstDash val="sysDot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73184D0C-07DA-ADAC-9572-12049B8B97EC}"/>
              </a:ext>
            </a:extLst>
          </p:cNvPr>
          <p:cNvCxnSpPr/>
          <p:nvPr/>
        </p:nvCxnSpPr>
        <p:spPr>
          <a:xfrm flipH="1" flipV="1">
            <a:off x="3908941" y="4877381"/>
            <a:ext cx="1001017" cy="0"/>
          </a:xfrm>
          <a:prstGeom prst="line">
            <a:avLst/>
          </a:prstGeom>
          <a:ln w="19050" cap="rnd">
            <a:solidFill>
              <a:schemeClr val="tx2">
                <a:alpha val="50000"/>
              </a:schemeClr>
            </a:solidFill>
            <a:prstDash val="sysDot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>
            <a:extLst>
              <a:ext uri="{FF2B5EF4-FFF2-40B4-BE49-F238E27FC236}">
                <a16:creationId xmlns:a16="http://schemas.microsoft.com/office/drawing/2014/main" id="{8AF08028-F96F-F54E-64A7-D418D1854824}"/>
              </a:ext>
            </a:extLst>
          </p:cNvPr>
          <p:cNvSpPr txBox="1"/>
          <p:nvPr/>
        </p:nvSpPr>
        <p:spPr>
          <a:xfrm flipH="1">
            <a:off x="8198163" y="2046355"/>
            <a:ext cx="9669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accent3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Header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2273AF76-5AFD-6F1D-5637-549A75EBE193}"/>
              </a:ext>
            </a:extLst>
          </p:cNvPr>
          <p:cNvSpPr/>
          <p:nvPr/>
        </p:nvSpPr>
        <p:spPr>
          <a:xfrm flipH="1">
            <a:off x="8198162" y="2270074"/>
            <a:ext cx="325396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Text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b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endParaRPr lang="en-US" sz="1200" dirty="0"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endParaRPr lang="en-US" sz="1200" dirty="0">
              <a:solidFill>
                <a:schemeClr val="tx2"/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4" name="Rounded Rectangle 30">
            <a:extLst>
              <a:ext uri="{FF2B5EF4-FFF2-40B4-BE49-F238E27FC236}">
                <a16:creationId xmlns:a16="http://schemas.microsoft.com/office/drawing/2014/main" id="{5F40F2A3-7DA7-60B8-F62E-C525FC99C68D}"/>
              </a:ext>
            </a:extLst>
          </p:cNvPr>
          <p:cNvSpPr/>
          <p:nvPr/>
        </p:nvSpPr>
        <p:spPr>
          <a:xfrm rot="16200000" flipH="1">
            <a:off x="8006878" y="2234762"/>
            <a:ext cx="276208" cy="34181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2800" dirty="0"/>
          </a:p>
        </p:txBody>
      </p:sp>
      <p:sp>
        <p:nvSpPr>
          <p:cNvPr id="35" name="Rounded Rectangle 31">
            <a:extLst>
              <a:ext uri="{FF2B5EF4-FFF2-40B4-BE49-F238E27FC236}">
                <a16:creationId xmlns:a16="http://schemas.microsoft.com/office/drawing/2014/main" id="{33689D13-F386-BA1D-D5B5-55DD67C472A4}"/>
              </a:ext>
            </a:extLst>
          </p:cNvPr>
          <p:cNvSpPr/>
          <p:nvPr/>
        </p:nvSpPr>
        <p:spPr>
          <a:xfrm rot="16200000" flipH="1">
            <a:off x="8088786" y="2453038"/>
            <a:ext cx="112393" cy="34181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2800" dirty="0"/>
          </a:p>
        </p:txBody>
      </p:sp>
      <p:sp>
        <p:nvSpPr>
          <p:cNvPr id="36" name="Rounded Rectangle 32">
            <a:extLst>
              <a:ext uri="{FF2B5EF4-FFF2-40B4-BE49-F238E27FC236}">
                <a16:creationId xmlns:a16="http://schemas.microsoft.com/office/drawing/2014/main" id="{AACADB74-5A2B-A134-36BA-3421FAB1E33F}"/>
              </a:ext>
            </a:extLst>
          </p:cNvPr>
          <p:cNvSpPr/>
          <p:nvPr/>
        </p:nvSpPr>
        <p:spPr>
          <a:xfrm rot="16200000" flipH="1">
            <a:off x="8116884" y="2561234"/>
            <a:ext cx="56196" cy="34181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2800" dirty="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36E84C20-CD9C-F3DD-DE79-4325E90FF5BD}"/>
              </a:ext>
            </a:extLst>
          </p:cNvPr>
          <p:cNvSpPr txBox="1"/>
          <p:nvPr/>
        </p:nvSpPr>
        <p:spPr>
          <a:xfrm flipH="1">
            <a:off x="8216782" y="4560469"/>
            <a:ext cx="9669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accent4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Header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759511D4-F2A9-D693-4BC5-96CB326000FC}"/>
              </a:ext>
            </a:extLst>
          </p:cNvPr>
          <p:cNvSpPr/>
          <p:nvPr/>
        </p:nvSpPr>
        <p:spPr>
          <a:xfrm flipH="1">
            <a:off x="8216781" y="4784188"/>
            <a:ext cx="323534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Text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b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endParaRPr lang="en-US" sz="1200" dirty="0"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9" name="Rounded Rectangle 39">
            <a:extLst>
              <a:ext uri="{FF2B5EF4-FFF2-40B4-BE49-F238E27FC236}">
                <a16:creationId xmlns:a16="http://schemas.microsoft.com/office/drawing/2014/main" id="{09BBC489-E92E-9A43-C573-FB25CDC3EF76}"/>
              </a:ext>
            </a:extLst>
          </p:cNvPr>
          <p:cNvSpPr/>
          <p:nvPr/>
        </p:nvSpPr>
        <p:spPr>
          <a:xfrm rot="16200000" flipH="1">
            <a:off x="8030331" y="4750430"/>
            <a:ext cx="276208" cy="31074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2800" dirty="0"/>
          </a:p>
        </p:txBody>
      </p:sp>
      <p:sp>
        <p:nvSpPr>
          <p:cNvPr id="30" name="Rounded Rectangle 40">
            <a:extLst>
              <a:ext uri="{FF2B5EF4-FFF2-40B4-BE49-F238E27FC236}">
                <a16:creationId xmlns:a16="http://schemas.microsoft.com/office/drawing/2014/main" id="{F4F61E47-2537-C147-ACE7-F56A12037C29}"/>
              </a:ext>
            </a:extLst>
          </p:cNvPr>
          <p:cNvSpPr/>
          <p:nvPr/>
        </p:nvSpPr>
        <p:spPr>
          <a:xfrm rot="16200000" flipH="1">
            <a:off x="8112239" y="4968706"/>
            <a:ext cx="112393" cy="31074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2800" dirty="0"/>
          </a:p>
        </p:txBody>
      </p:sp>
      <p:sp>
        <p:nvSpPr>
          <p:cNvPr id="31" name="Rounded Rectangle 41">
            <a:extLst>
              <a:ext uri="{FF2B5EF4-FFF2-40B4-BE49-F238E27FC236}">
                <a16:creationId xmlns:a16="http://schemas.microsoft.com/office/drawing/2014/main" id="{DB3522D3-C971-B73F-3321-F0F2ECDB0DB0}"/>
              </a:ext>
            </a:extLst>
          </p:cNvPr>
          <p:cNvSpPr/>
          <p:nvPr/>
        </p:nvSpPr>
        <p:spPr>
          <a:xfrm rot="16200000" flipH="1">
            <a:off x="8140337" y="5076902"/>
            <a:ext cx="56196" cy="31074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2800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6871C42-C4BE-03BF-58B1-3BB42671FE6B}"/>
              </a:ext>
            </a:extLst>
          </p:cNvPr>
          <p:cNvSpPr txBox="1"/>
          <p:nvPr/>
        </p:nvSpPr>
        <p:spPr>
          <a:xfrm>
            <a:off x="2687514" y="2046355"/>
            <a:ext cx="9669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b="1" dirty="0">
                <a:solidFill>
                  <a:schemeClr val="accent5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Header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482E1CE8-BAA3-EB3D-A27A-D24D655B9FEB}"/>
              </a:ext>
            </a:extLst>
          </p:cNvPr>
          <p:cNvSpPr/>
          <p:nvPr/>
        </p:nvSpPr>
        <p:spPr>
          <a:xfrm>
            <a:off x="419099" y="2270074"/>
            <a:ext cx="323534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Text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b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endParaRPr lang="en-US" sz="1200" dirty="0"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r"/>
            <a:endParaRPr lang="en-US" sz="1200" dirty="0"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4" name="Rounded Rectangle 46">
            <a:extLst>
              <a:ext uri="{FF2B5EF4-FFF2-40B4-BE49-F238E27FC236}">
                <a16:creationId xmlns:a16="http://schemas.microsoft.com/office/drawing/2014/main" id="{39E0B217-AE00-DD18-331D-F69A1FE7BB75}"/>
              </a:ext>
            </a:extLst>
          </p:cNvPr>
          <p:cNvSpPr/>
          <p:nvPr/>
        </p:nvSpPr>
        <p:spPr>
          <a:xfrm rot="5400000">
            <a:off x="3564687" y="2234499"/>
            <a:ext cx="276208" cy="31074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sz="2800" dirty="0"/>
          </a:p>
        </p:txBody>
      </p:sp>
      <p:sp>
        <p:nvSpPr>
          <p:cNvPr id="25" name="Rounded Rectangle 47">
            <a:extLst>
              <a:ext uri="{FF2B5EF4-FFF2-40B4-BE49-F238E27FC236}">
                <a16:creationId xmlns:a16="http://schemas.microsoft.com/office/drawing/2014/main" id="{F50A1D2D-AB93-A1DC-9C78-DF5F78817362}"/>
              </a:ext>
            </a:extLst>
          </p:cNvPr>
          <p:cNvSpPr/>
          <p:nvPr/>
        </p:nvSpPr>
        <p:spPr>
          <a:xfrm rot="5400000">
            <a:off x="3646595" y="2452775"/>
            <a:ext cx="112393" cy="31074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sz="2800" dirty="0"/>
          </a:p>
        </p:txBody>
      </p:sp>
      <p:sp>
        <p:nvSpPr>
          <p:cNvPr id="26" name="Rounded Rectangle 48">
            <a:extLst>
              <a:ext uri="{FF2B5EF4-FFF2-40B4-BE49-F238E27FC236}">
                <a16:creationId xmlns:a16="http://schemas.microsoft.com/office/drawing/2014/main" id="{7F623F06-7385-1E87-8515-ADF1F1C9FF8D}"/>
              </a:ext>
            </a:extLst>
          </p:cNvPr>
          <p:cNvSpPr/>
          <p:nvPr/>
        </p:nvSpPr>
        <p:spPr>
          <a:xfrm rot="5400000">
            <a:off x="3674693" y="2560971"/>
            <a:ext cx="56196" cy="31074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sz="2800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3D40065-A927-493D-0859-7E7A2A93B658}"/>
              </a:ext>
            </a:extLst>
          </p:cNvPr>
          <p:cNvSpPr txBox="1"/>
          <p:nvPr/>
        </p:nvSpPr>
        <p:spPr>
          <a:xfrm>
            <a:off x="2731466" y="4560469"/>
            <a:ext cx="9669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b="1" dirty="0">
                <a:solidFill>
                  <a:schemeClr val="accent2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Header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FFCF5A6-E99B-4B79-5DD9-F135B2A44800}"/>
              </a:ext>
            </a:extLst>
          </p:cNvPr>
          <p:cNvSpPr/>
          <p:nvPr/>
        </p:nvSpPr>
        <p:spPr>
          <a:xfrm>
            <a:off x="463051" y="4784188"/>
            <a:ext cx="323534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Text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b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endParaRPr lang="en-US" sz="1200" dirty="0"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r"/>
            <a:endParaRPr lang="en-US" sz="1200" dirty="0"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9" name="Rounded Rectangle 53">
            <a:extLst>
              <a:ext uri="{FF2B5EF4-FFF2-40B4-BE49-F238E27FC236}">
                <a16:creationId xmlns:a16="http://schemas.microsoft.com/office/drawing/2014/main" id="{97B92482-96AA-F47E-3092-33F262704BD4}"/>
              </a:ext>
            </a:extLst>
          </p:cNvPr>
          <p:cNvSpPr/>
          <p:nvPr/>
        </p:nvSpPr>
        <p:spPr>
          <a:xfrm rot="5400000">
            <a:off x="3608639" y="4748613"/>
            <a:ext cx="276208" cy="31074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sz="2800" dirty="0"/>
          </a:p>
        </p:txBody>
      </p:sp>
      <p:sp>
        <p:nvSpPr>
          <p:cNvPr id="20" name="Rounded Rectangle 54">
            <a:extLst>
              <a:ext uri="{FF2B5EF4-FFF2-40B4-BE49-F238E27FC236}">
                <a16:creationId xmlns:a16="http://schemas.microsoft.com/office/drawing/2014/main" id="{B52EC2BE-8215-78D9-1AE6-CC19A370B589}"/>
              </a:ext>
            </a:extLst>
          </p:cNvPr>
          <p:cNvSpPr/>
          <p:nvPr/>
        </p:nvSpPr>
        <p:spPr>
          <a:xfrm rot="5400000">
            <a:off x="3690547" y="4966889"/>
            <a:ext cx="112393" cy="31074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sz="2800" dirty="0"/>
          </a:p>
        </p:txBody>
      </p:sp>
      <p:sp>
        <p:nvSpPr>
          <p:cNvPr id="21" name="Rounded Rectangle 55">
            <a:extLst>
              <a:ext uri="{FF2B5EF4-FFF2-40B4-BE49-F238E27FC236}">
                <a16:creationId xmlns:a16="http://schemas.microsoft.com/office/drawing/2014/main" id="{1410C250-A202-B570-AEC8-5157068E6D02}"/>
              </a:ext>
            </a:extLst>
          </p:cNvPr>
          <p:cNvSpPr/>
          <p:nvPr/>
        </p:nvSpPr>
        <p:spPr>
          <a:xfrm rot="5400000">
            <a:off x="3718645" y="5075085"/>
            <a:ext cx="56196" cy="31074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2616689849"/>
      </p:ext>
    </p:extLst>
  </p:cSld>
  <p:clrMapOvr>
    <a:masterClrMapping/>
  </p:clrMapOvr>
</p:sld>
</file>

<file path=ppt/slides/slide1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EE74027-17EC-12E2-C3B1-1879091F11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B8DC26F-C2DE-A13D-FF9B-4AFA12A5AF2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B8DC26F-C2DE-A13D-FF9B-4AFA12A5AF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2A9C4CB-3E4F-258E-A3B8-5E6D35D50B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ircular layou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7E1878F-1D08-F717-E1D1-8A62EFDD3F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27</a:t>
            </a:fld>
            <a:endParaRPr lang="en-US" dirty="0"/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ED27DD4E-8352-9769-8CD2-D5CD3371161F}"/>
              </a:ext>
            </a:extLst>
          </p:cNvPr>
          <p:cNvGrpSpPr/>
          <p:nvPr/>
        </p:nvGrpSpPr>
        <p:grpSpPr>
          <a:xfrm>
            <a:off x="3943470" y="1619881"/>
            <a:ext cx="3870859" cy="3870860"/>
            <a:chOff x="4703763" y="2450891"/>
            <a:chExt cx="3468688" cy="3468688"/>
          </a:xfrm>
        </p:grpSpPr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334BC552-CC61-E907-E9AC-FBF33C1ACEA1}"/>
                </a:ext>
              </a:extLst>
            </p:cNvPr>
            <p:cNvGrpSpPr/>
            <p:nvPr/>
          </p:nvGrpSpPr>
          <p:grpSpPr>
            <a:xfrm>
              <a:off x="4703763" y="2450891"/>
              <a:ext cx="2274986" cy="1701062"/>
              <a:chOff x="4657725" y="946151"/>
              <a:chExt cx="2441575" cy="1825625"/>
            </a:xfrm>
            <a:gradFill>
              <a:gsLst>
                <a:gs pos="0">
                  <a:schemeClr val="accent1"/>
                </a:gs>
                <a:gs pos="100000">
                  <a:schemeClr val="accent1">
                    <a:lumMod val="75000"/>
                  </a:schemeClr>
                </a:gs>
              </a:gsLst>
              <a:lin ang="5400000" scaled="1"/>
            </a:gradFill>
          </p:grpSpPr>
          <p:sp>
            <p:nvSpPr>
              <p:cNvPr id="79" name="Freeform 13">
                <a:extLst>
                  <a:ext uri="{FF2B5EF4-FFF2-40B4-BE49-F238E27FC236}">
                    <a16:creationId xmlns:a16="http://schemas.microsoft.com/office/drawing/2014/main" id="{F0A601A4-08A1-BFEC-B633-D7F9DD198F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53125" y="2046288"/>
                <a:ext cx="1146175" cy="593725"/>
              </a:xfrm>
              <a:custGeom>
                <a:avLst/>
                <a:gdLst>
                  <a:gd name="T0" fmla="*/ 849 w 904"/>
                  <a:gd name="T1" fmla="*/ 0 h 468"/>
                  <a:gd name="T2" fmla="*/ 873 w 904"/>
                  <a:gd name="T3" fmla="*/ 58 h 468"/>
                  <a:gd name="T4" fmla="*/ 507 w 904"/>
                  <a:gd name="T5" fmla="*/ 436 h 468"/>
                  <a:gd name="T6" fmla="*/ 396 w 904"/>
                  <a:gd name="T7" fmla="*/ 436 h 468"/>
                  <a:gd name="T8" fmla="*/ 30 w 904"/>
                  <a:gd name="T9" fmla="*/ 58 h 468"/>
                  <a:gd name="T10" fmla="*/ 55 w 904"/>
                  <a:gd name="T11" fmla="*/ 0 h 468"/>
                  <a:gd name="T12" fmla="*/ 849 w 904"/>
                  <a:gd name="T13" fmla="*/ 0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04" h="468">
                    <a:moveTo>
                      <a:pt x="849" y="0"/>
                    </a:moveTo>
                    <a:cubicBezTo>
                      <a:pt x="893" y="0"/>
                      <a:pt x="904" y="26"/>
                      <a:pt x="873" y="58"/>
                    </a:cubicBezTo>
                    <a:cubicBezTo>
                      <a:pt x="507" y="436"/>
                      <a:pt x="507" y="436"/>
                      <a:pt x="507" y="436"/>
                    </a:cubicBezTo>
                    <a:cubicBezTo>
                      <a:pt x="477" y="468"/>
                      <a:pt x="427" y="468"/>
                      <a:pt x="396" y="436"/>
                    </a:cubicBezTo>
                    <a:cubicBezTo>
                      <a:pt x="30" y="58"/>
                      <a:pt x="30" y="58"/>
                      <a:pt x="30" y="58"/>
                    </a:cubicBezTo>
                    <a:cubicBezTo>
                      <a:pt x="0" y="26"/>
                      <a:pt x="11" y="0"/>
                      <a:pt x="55" y="0"/>
                    </a:cubicBezTo>
                    <a:lnTo>
                      <a:pt x="849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194770" tIns="97385" rIns="194770" bIns="9738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834"/>
              </a:p>
            </p:txBody>
          </p:sp>
          <p:sp>
            <p:nvSpPr>
              <p:cNvPr id="80" name="Freeform 14">
                <a:extLst>
                  <a:ext uri="{FF2B5EF4-FFF2-40B4-BE49-F238E27FC236}">
                    <a16:creationId xmlns:a16="http://schemas.microsoft.com/office/drawing/2014/main" id="{2E70D811-8404-3A72-C8B1-F07B8BEA4A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57725" y="946151"/>
                <a:ext cx="2151063" cy="1825625"/>
              </a:xfrm>
              <a:custGeom>
                <a:avLst/>
                <a:gdLst>
                  <a:gd name="T0" fmla="*/ 848 w 1696"/>
                  <a:gd name="T1" fmla="*/ 0 h 1440"/>
                  <a:gd name="T2" fmla="*/ 0 w 1696"/>
                  <a:gd name="T3" fmla="*/ 848 h 1440"/>
                  <a:gd name="T4" fmla="*/ 241 w 1696"/>
                  <a:gd name="T5" fmla="*/ 1440 h 1440"/>
                  <a:gd name="T6" fmla="*/ 718 w 1696"/>
                  <a:gd name="T7" fmla="*/ 1209 h 1440"/>
                  <a:gd name="T8" fmla="*/ 464 w 1696"/>
                  <a:gd name="T9" fmla="*/ 848 h 1440"/>
                  <a:gd name="T10" fmla="*/ 848 w 1696"/>
                  <a:gd name="T11" fmla="*/ 464 h 1440"/>
                  <a:gd name="T12" fmla="*/ 1232 w 1696"/>
                  <a:gd name="T13" fmla="*/ 848 h 1440"/>
                  <a:gd name="T14" fmla="*/ 1213 w 1696"/>
                  <a:gd name="T15" fmla="*/ 966 h 1440"/>
                  <a:gd name="T16" fmla="*/ 1293 w 1696"/>
                  <a:gd name="T17" fmla="*/ 966 h 1440"/>
                  <a:gd name="T18" fmla="*/ 1293 w 1696"/>
                  <a:gd name="T19" fmla="*/ 1062 h 1440"/>
                  <a:gd name="T20" fmla="*/ 1669 w 1696"/>
                  <a:gd name="T21" fmla="*/ 1062 h 1440"/>
                  <a:gd name="T22" fmla="*/ 1696 w 1696"/>
                  <a:gd name="T23" fmla="*/ 848 h 1440"/>
                  <a:gd name="T24" fmla="*/ 848 w 1696"/>
                  <a:gd name="T25" fmla="*/ 0 h 14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696" h="1440">
                    <a:moveTo>
                      <a:pt x="848" y="0"/>
                    </a:moveTo>
                    <a:cubicBezTo>
                      <a:pt x="380" y="0"/>
                      <a:pt x="0" y="380"/>
                      <a:pt x="0" y="848"/>
                    </a:cubicBezTo>
                    <a:cubicBezTo>
                      <a:pt x="0" y="1078"/>
                      <a:pt x="92" y="1287"/>
                      <a:pt x="241" y="1440"/>
                    </a:cubicBezTo>
                    <a:cubicBezTo>
                      <a:pt x="374" y="1315"/>
                      <a:pt x="540" y="1235"/>
                      <a:pt x="718" y="1209"/>
                    </a:cubicBezTo>
                    <a:cubicBezTo>
                      <a:pt x="570" y="1156"/>
                      <a:pt x="464" y="1014"/>
                      <a:pt x="464" y="848"/>
                    </a:cubicBezTo>
                    <a:cubicBezTo>
                      <a:pt x="464" y="636"/>
                      <a:pt x="636" y="464"/>
                      <a:pt x="848" y="464"/>
                    </a:cubicBezTo>
                    <a:cubicBezTo>
                      <a:pt x="1060" y="464"/>
                      <a:pt x="1232" y="636"/>
                      <a:pt x="1232" y="848"/>
                    </a:cubicBezTo>
                    <a:cubicBezTo>
                      <a:pt x="1232" y="889"/>
                      <a:pt x="1225" y="929"/>
                      <a:pt x="1213" y="966"/>
                    </a:cubicBezTo>
                    <a:cubicBezTo>
                      <a:pt x="1293" y="966"/>
                      <a:pt x="1293" y="966"/>
                      <a:pt x="1293" y="966"/>
                    </a:cubicBezTo>
                    <a:cubicBezTo>
                      <a:pt x="1293" y="1062"/>
                      <a:pt x="1293" y="1062"/>
                      <a:pt x="1293" y="1062"/>
                    </a:cubicBezTo>
                    <a:cubicBezTo>
                      <a:pt x="1669" y="1062"/>
                      <a:pt x="1669" y="1062"/>
                      <a:pt x="1669" y="1062"/>
                    </a:cubicBezTo>
                    <a:cubicBezTo>
                      <a:pt x="1687" y="994"/>
                      <a:pt x="1696" y="922"/>
                      <a:pt x="1696" y="848"/>
                    </a:cubicBezTo>
                    <a:cubicBezTo>
                      <a:pt x="1696" y="380"/>
                      <a:pt x="1316" y="0"/>
                      <a:pt x="848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194770" tIns="97385" rIns="194770" bIns="9738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834" dirty="0"/>
              </a:p>
            </p:txBody>
          </p:sp>
        </p:grp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9C4FD453-8C3C-962E-C35C-6BC87936C625}"/>
                </a:ext>
              </a:extLst>
            </p:cNvPr>
            <p:cNvGrpSpPr/>
            <p:nvPr/>
          </p:nvGrpSpPr>
          <p:grpSpPr>
            <a:xfrm>
              <a:off x="4703763" y="3672697"/>
              <a:ext cx="1701063" cy="2246882"/>
              <a:chOff x="4657725" y="2257426"/>
              <a:chExt cx="1825625" cy="2411413"/>
            </a:xfrm>
            <a:gradFill>
              <a:gsLst>
                <a:gs pos="0">
                  <a:schemeClr val="accent2"/>
                </a:gs>
                <a:gs pos="100000">
                  <a:schemeClr val="accent2">
                    <a:lumMod val="75000"/>
                  </a:schemeClr>
                </a:gs>
              </a:gsLst>
              <a:lin ang="5400000" scaled="1"/>
            </a:gradFill>
          </p:grpSpPr>
          <p:sp>
            <p:nvSpPr>
              <p:cNvPr id="77" name="Freeform 11">
                <a:extLst>
                  <a:ext uri="{FF2B5EF4-FFF2-40B4-BE49-F238E27FC236}">
                    <a16:creationId xmlns:a16="http://schemas.microsoft.com/office/drawing/2014/main" id="{49A0F8B4-137E-24BB-9040-DB8FC06213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53100" y="2257426"/>
                <a:ext cx="593725" cy="1146175"/>
              </a:xfrm>
              <a:custGeom>
                <a:avLst/>
                <a:gdLst>
                  <a:gd name="T0" fmla="*/ 0 w 468"/>
                  <a:gd name="T1" fmla="*/ 55 h 904"/>
                  <a:gd name="T2" fmla="*/ 57 w 468"/>
                  <a:gd name="T3" fmla="*/ 30 h 904"/>
                  <a:gd name="T4" fmla="*/ 436 w 468"/>
                  <a:gd name="T5" fmla="*/ 397 h 904"/>
                  <a:gd name="T6" fmla="*/ 436 w 468"/>
                  <a:gd name="T7" fmla="*/ 508 h 904"/>
                  <a:gd name="T8" fmla="*/ 57 w 468"/>
                  <a:gd name="T9" fmla="*/ 874 h 904"/>
                  <a:gd name="T10" fmla="*/ 0 w 468"/>
                  <a:gd name="T11" fmla="*/ 849 h 904"/>
                  <a:gd name="T12" fmla="*/ 0 w 468"/>
                  <a:gd name="T13" fmla="*/ 55 h 9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68" h="904">
                    <a:moveTo>
                      <a:pt x="0" y="55"/>
                    </a:moveTo>
                    <a:cubicBezTo>
                      <a:pt x="0" y="11"/>
                      <a:pt x="26" y="0"/>
                      <a:pt x="57" y="30"/>
                    </a:cubicBezTo>
                    <a:cubicBezTo>
                      <a:pt x="436" y="397"/>
                      <a:pt x="436" y="397"/>
                      <a:pt x="436" y="397"/>
                    </a:cubicBezTo>
                    <a:cubicBezTo>
                      <a:pt x="468" y="427"/>
                      <a:pt x="468" y="477"/>
                      <a:pt x="436" y="508"/>
                    </a:cubicBezTo>
                    <a:cubicBezTo>
                      <a:pt x="57" y="874"/>
                      <a:pt x="57" y="874"/>
                      <a:pt x="57" y="874"/>
                    </a:cubicBezTo>
                    <a:cubicBezTo>
                      <a:pt x="26" y="904"/>
                      <a:pt x="0" y="893"/>
                      <a:pt x="0" y="849"/>
                    </a:cubicBezTo>
                    <a:lnTo>
                      <a:pt x="0" y="5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194770" tIns="97385" rIns="194770" bIns="9738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834"/>
              </a:p>
            </p:txBody>
          </p:sp>
          <p:sp>
            <p:nvSpPr>
              <p:cNvPr id="78" name="Freeform 12">
                <a:extLst>
                  <a:ext uri="{FF2B5EF4-FFF2-40B4-BE49-F238E27FC236}">
                    <a16:creationId xmlns:a16="http://schemas.microsoft.com/office/drawing/2014/main" id="{49BE3326-5A24-33E5-7AD3-A1BD7424A5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57725" y="2517776"/>
                <a:ext cx="1825625" cy="2151063"/>
              </a:xfrm>
              <a:custGeom>
                <a:avLst/>
                <a:gdLst>
                  <a:gd name="T0" fmla="*/ 1209 w 1440"/>
                  <a:gd name="T1" fmla="*/ 978 h 1696"/>
                  <a:gd name="T2" fmla="*/ 848 w 1440"/>
                  <a:gd name="T3" fmla="*/ 1232 h 1696"/>
                  <a:gd name="T4" fmla="*/ 464 w 1440"/>
                  <a:gd name="T5" fmla="*/ 848 h 1696"/>
                  <a:gd name="T6" fmla="*/ 848 w 1440"/>
                  <a:gd name="T7" fmla="*/ 464 h 1696"/>
                  <a:gd name="T8" fmla="*/ 969 w 1440"/>
                  <a:gd name="T9" fmla="*/ 483 h 1696"/>
                  <a:gd name="T10" fmla="*/ 969 w 1440"/>
                  <a:gd name="T11" fmla="*/ 9 h 1696"/>
                  <a:gd name="T12" fmla="*/ 848 w 1440"/>
                  <a:gd name="T13" fmla="*/ 0 h 1696"/>
                  <a:gd name="T14" fmla="*/ 0 w 1440"/>
                  <a:gd name="T15" fmla="*/ 848 h 1696"/>
                  <a:gd name="T16" fmla="*/ 848 w 1440"/>
                  <a:gd name="T17" fmla="*/ 1696 h 1696"/>
                  <a:gd name="T18" fmla="*/ 1440 w 1440"/>
                  <a:gd name="T19" fmla="*/ 1455 h 1696"/>
                  <a:gd name="T20" fmla="*/ 1209 w 1440"/>
                  <a:gd name="T21" fmla="*/ 978 h 16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440" h="1696">
                    <a:moveTo>
                      <a:pt x="1209" y="978"/>
                    </a:moveTo>
                    <a:cubicBezTo>
                      <a:pt x="1156" y="1126"/>
                      <a:pt x="1014" y="1232"/>
                      <a:pt x="848" y="1232"/>
                    </a:cubicBezTo>
                    <a:cubicBezTo>
                      <a:pt x="636" y="1232"/>
                      <a:pt x="464" y="1060"/>
                      <a:pt x="464" y="848"/>
                    </a:cubicBezTo>
                    <a:cubicBezTo>
                      <a:pt x="464" y="636"/>
                      <a:pt x="636" y="464"/>
                      <a:pt x="848" y="464"/>
                    </a:cubicBezTo>
                    <a:cubicBezTo>
                      <a:pt x="890" y="464"/>
                      <a:pt x="931" y="471"/>
                      <a:pt x="969" y="483"/>
                    </a:cubicBezTo>
                    <a:cubicBezTo>
                      <a:pt x="969" y="9"/>
                      <a:pt x="969" y="9"/>
                      <a:pt x="969" y="9"/>
                    </a:cubicBezTo>
                    <a:cubicBezTo>
                      <a:pt x="929" y="3"/>
                      <a:pt x="889" y="0"/>
                      <a:pt x="848" y="0"/>
                    </a:cubicBezTo>
                    <a:cubicBezTo>
                      <a:pt x="380" y="0"/>
                      <a:pt x="0" y="380"/>
                      <a:pt x="0" y="848"/>
                    </a:cubicBezTo>
                    <a:cubicBezTo>
                      <a:pt x="0" y="1316"/>
                      <a:pt x="380" y="1696"/>
                      <a:pt x="848" y="1696"/>
                    </a:cubicBezTo>
                    <a:cubicBezTo>
                      <a:pt x="1078" y="1696"/>
                      <a:pt x="1287" y="1604"/>
                      <a:pt x="1440" y="1455"/>
                    </a:cubicBezTo>
                    <a:cubicBezTo>
                      <a:pt x="1315" y="1322"/>
                      <a:pt x="1235" y="1156"/>
                      <a:pt x="1209" y="978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194770" tIns="97385" rIns="194770" bIns="9738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834" dirty="0"/>
              </a:p>
            </p:txBody>
          </p:sp>
        </p:grp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8068F2BB-4E92-C822-9EEC-CF4128AB3BBA}"/>
                </a:ext>
              </a:extLst>
            </p:cNvPr>
            <p:cNvGrpSpPr/>
            <p:nvPr/>
          </p:nvGrpSpPr>
          <p:grpSpPr>
            <a:xfrm>
              <a:off x="5910777" y="4218516"/>
              <a:ext cx="2261674" cy="1701062"/>
              <a:chOff x="5953125" y="2843213"/>
              <a:chExt cx="2427288" cy="1825625"/>
            </a:xfrm>
            <a:gradFill>
              <a:gsLst>
                <a:gs pos="0">
                  <a:schemeClr val="accent4"/>
                </a:gs>
                <a:gs pos="100000">
                  <a:schemeClr val="accent4">
                    <a:lumMod val="75000"/>
                  </a:schemeClr>
                </a:gs>
              </a:gsLst>
              <a:lin ang="5400000" scaled="1"/>
            </a:gradFill>
          </p:grpSpPr>
          <p:sp>
            <p:nvSpPr>
              <p:cNvPr id="75" name="Freeform 9">
                <a:extLst>
                  <a:ext uri="{FF2B5EF4-FFF2-40B4-BE49-F238E27FC236}">
                    <a16:creationId xmlns:a16="http://schemas.microsoft.com/office/drawing/2014/main" id="{C9856336-E8D3-A856-0CC5-B69B13035B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53125" y="2989263"/>
                <a:ext cx="1146175" cy="593725"/>
              </a:xfrm>
              <a:custGeom>
                <a:avLst/>
                <a:gdLst>
                  <a:gd name="T0" fmla="*/ 55 w 904"/>
                  <a:gd name="T1" fmla="*/ 468 h 468"/>
                  <a:gd name="T2" fmla="*/ 30 w 904"/>
                  <a:gd name="T3" fmla="*/ 411 h 468"/>
                  <a:gd name="T4" fmla="*/ 396 w 904"/>
                  <a:gd name="T5" fmla="*/ 32 h 468"/>
                  <a:gd name="T6" fmla="*/ 507 w 904"/>
                  <a:gd name="T7" fmla="*/ 32 h 468"/>
                  <a:gd name="T8" fmla="*/ 873 w 904"/>
                  <a:gd name="T9" fmla="*/ 411 h 468"/>
                  <a:gd name="T10" fmla="*/ 849 w 904"/>
                  <a:gd name="T11" fmla="*/ 468 h 468"/>
                  <a:gd name="T12" fmla="*/ 55 w 904"/>
                  <a:gd name="T13" fmla="*/ 468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04" h="468">
                    <a:moveTo>
                      <a:pt x="55" y="468"/>
                    </a:moveTo>
                    <a:cubicBezTo>
                      <a:pt x="11" y="468"/>
                      <a:pt x="0" y="442"/>
                      <a:pt x="30" y="411"/>
                    </a:cubicBezTo>
                    <a:cubicBezTo>
                      <a:pt x="396" y="32"/>
                      <a:pt x="396" y="32"/>
                      <a:pt x="396" y="32"/>
                    </a:cubicBezTo>
                    <a:cubicBezTo>
                      <a:pt x="427" y="0"/>
                      <a:pt x="477" y="0"/>
                      <a:pt x="507" y="32"/>
                    </a:cubicBezTo>
                    <a:cubicBezTo>
                      <a:pt x="873" y="411"/>
                      <a:pt x="873" y="411"/>
                      <a:pt x="873" y="411"/>
                    </a:cubicBezTo>
                    <a:cubicBezTo>
                      <a:pt x="904" y="442"/>
                      <a:pt x="893" y="468"/>
                      <a:pt x="849" y="468"/>
                    </a:cubicBezTo>
                    <a:lnTo>
                      <a:pt x="55" y="46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194770" tIns="97385" rIns="194770" bIns="9738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834"/>
              </a:p>
            </p:txBody>
          </p:sp>
          <p:sp>
            <p:nvSpPr>
              <p:cNvPr id="76" name="Freeform 10">
                <a:extLst>
                  <a:ext uri="{FF2B5EF4-FFF2-40B4-BE49-F238E27FC236}">
                    <a16:creationId xmlns:a16="http://schemas.microsoft.com/office/drawing/2014/main" id="{16E069AF-BD76-DFB5-4B05-79753F5D57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0938" y="2843213"/>
                <a:ext cx="2149475" cy="1825625"/>
              </a:xfrm>
              <a:custGeom>
                <a:avLst/>
                <a:gdLst>
                  <a:gd name="T0" fmla="*/ 978 w 1696"/>
                  <a:gd name="T1" fmla="*/ 231 h 1440"/>
                  <a:gd name="T2" fmla="*/ 1232 w 1696"/>
                  <a:gd name="T3" fmla="*/ 592 h 1440"/>
                  <a:gd name="T4" fmla="*/ 848 w 1696"/>
                  <a:gd name="T5" fmla="*/ 976 h 1440"/>
                  <a:gd name="T6" fmla="*/ 464 w 1696"/>
                  <a:gd name="T7" fmla="*/ 592 h 1440"/>
                  <a:gd name="T8" fmla="*/ 487 w 1696"/>
                  <a:gd name="T9" fmla="*/ 462 h 1440"/>
                  <a:gd name="T10" fmla="*/ 10 w 1696"/>
                  <a:gd name="T11" fmla="*/ 462 h 1440"/>
                  <a:gd name="T12" fmla="*/ 0 w 1696"/>
                  <a:gd name="T13" fmla="*/ 592 h 1440"/>
                  <a:gd name="T14" fmla="*/ 848 w 1696"/>
                  <a:gd name="T15" fmla="*/ 1440 h 1440"/>
                  <a:gd name="T16" fmla="*/ 1696 w 1696"/>
                  <a:gd name="T17" fmla="*/ 592 h 1440"/>
                  <a:gd name="T18" fmla="*/ 1455 w 1696"/>
                  <a:gd name="T19" fmla="*/ 0 h 1440"/>
                  <a:gd name="T20" fmla="*/ 978 w 1696"/>
                  <a:gd name="T21" fmla="*/ 231 h 14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696" h="1440">
                    <a:moveTo>
                      <a:pt x="978" y="231"/>
                    </a:moveTo>
                    <a:cubicBezTo>
                      <a:pt x="1126" y="284"/>
                      <a:pt x="1232" y="426"/>
                      <a:pt x="1232" y="592"/>
                    </a:cubicBezTo>
                    <a:cubicBezTo>
                      <a:pt x="1232" y="804"/>
                      <a:pt x="1060" y="976"/>
                      <a:pt x="848" y="976"/>
                    </a:cubicBezTo>
                    <a:cubicBezTo>
                      <a:pt x="636" y="976"/>
                      <a:pt x="464" y="804"/>
                      <a:pt x="464" y="592"/>
                    </a:cubicBezTo>
                    <a:cubicBezTo>
                      <a:pt x="464" y="546"/>
                      <a:pt x="472" y="503"/>
                      <a:pt x="487" y="462"/>
                    </a:cubicBezTo>
                    <a:cubicBezTo>
                      <a:pt x="10" y="462"/>
                      <a:pt x="10" y="462"/>
                      <a:pt x="10" y="462"/>
                    </a:cubicBezTo>
                    <a:cubicBezTo>
                      <a:pt x="3" y="504"/>
                      <a:pt x="0" y="548"/>
                      <a:pt x="0" y="592"/>
                    </a:cubicBezTo>
                    <a:cubicBezTo>
                      <a:pt x="0" y="1060"/>
                      <a:pt x="380" y="1440"/>
                      <a:pt x="848" y="1440"/>
                    </a:cubicBezTo>
                    <a:cubicBezTo>
                      <a:pt x="1316" y="1440"/>
                      <a:pt x="1696" y="1060"/>
                      <a:pt x="1696" y="592"/>
                    </a:cubicBezTo>
                    <a:cubicBezTo>
                      <a:pt x="1696" y="362"/>
                      <a:pt x="1604" y="153"/>
                      <a:pt x="1455" y="0"/>
                    </a:cubicBezTo>
                    <a:cubicBezTo>
                      <a:pt x="1322" y="125"/>
                      <a:pt x="1156" y="205"/>
                      <a:pt x="978" y="23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194770" tIns="97385" rIns="194770" bIns="9738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834"/>
              </a:p>
            </p:txBody>
          </p:sp>
        </p:grp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08ADAB98-7574-3A33-4C35-91ADC09E473C}"/>
                </a:ext>
              </a:extLst>
            </p:cNvPr>
            <p:cNvGrpSpPr/>
            <p:nvPr/>
          </p:nvGrpSpPr>
          <p:grpSpPr>
            <a:xfrm>
              <a:off x="6471388" y="2450891"/>
              <a:ext cx="1701063" cy="2289778"/>
              <a:chOff x="6554788" y="946151"/>
              <a:chExt cx="1825625" cy="2457450"/>
            </a:xfrm>
            <a:gradFill>
              <a:gsLst>
                <a:gs pos="0">
                  <a:schemeClr val="accent3"/>
                </a:gs>
                <a:gs pos="100000">
                  <a:schemeClr val="accent3">
                    <a:lumMod val="75000"/>
                  </a:schemeClr>
                </a:gs>
              </a:gsLst>
              <a:lin ang="5400000" scaled="1"/>
            </a:gradFill>
          </p:grpSpPr>
          <p:sp>
            <p:nvSpPr>
              <p:cNvPr id="73" name="Freeform 7">
                <a:extLst>
                  <a:ext uri="{FF2B5EF4-FFF2-40B4-BE49-F238E27FC236}">
                    <a16:creationId xmlns:a16="http://schemas.microsoft.com/office/drawing/2014/main" id="{18B06BAD-B504-8A5A-6087-151505BF40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91313" y="2257426"/>
                <a:ext cx="593725" cy="1146175"/>
              </a:xfrm>
              <a:custGeom>
                <a:avLst/>
                <a:gdLst>
                  <a:gd name="T0" fmla="*/ 468 w 468"/>
                  <a:gd name="T1" fmla="*/ 849 h 904"/>
                  <a:gd name="T2" fmla="*/ 410 w 468"/>
                  <a:gd name="T3" fmla="*/ 874 h 904"/>
                  <a:gd name="T4" fmla="*/ 32 w 468"/>
                  <a:gd name="T5" fmla="*/ 508 h 904"/>
                  <a:gd name="T6" fmla="*/ 32 w 468"/>
                  <a:gd name="T7" fmla="*/ 397 h 904"/>
                  <a:gd name="T8" fmla="*/ 410 w 468"/>
                  <a:gd name="T9" fmla="*/ 30 h 904"/>
                  <a:gd name="T10" fmla="*/ 468 w 468"/>
                  <a:gd name="T11" fmla="*/ 55 h 904"/>
                  <a:gd name="T12" fmla="*/ 468 w 468"/>
                  <a:gd name="T13" fmla="*/ 849 h 9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68" h="904">
                    <a:moveTo>
                      <a:pt x="468" y="849"/>
                    </a:moveTo>
                    <a:cubicBezTo>
                      <a:pt x="468" y="893"/>
                      <a:pt x="442" y="904"/>
                      <a:pt x="410" y="874"/>
                    </a:cubicBezTo>
                    <a:cubicBezTo>
                      <a:pt x="32" y="508"/>
                      <a:pt x="32" y="508"/>
                      <a:pt x="32" y="508"/>
                    </a:cubicBezTo>
                    <a:cubicBezTo>
                      <a:pt x="0" y="477"/>
                      <a:pt x="0" y="427"/>
                      <a:pt x="32" y="397"/>
                    </a:cubicBezTo>
                    <a:cubicBezTo>
                      <a:pt x="410" y="30"/>
                      <a:pt x="410" y="30"/>
                      <a:pt x="410" y="30"/>
                    </a:cubicBezTo>
                    <a:cubicBezTo>
                      <a:pt x="442" y="0"/>
                      <a:pt x="468" y="11"/>
                      <a:pt x="468" y="55"/>
                    </a:cubicBezTo>
                    <a:lnTo>
                      <a:pt x="468" y="84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194770" tIns="97385" rIns="194770" bIns="9738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834"/>
              </a:p>
            </p:txBody>
          </p:sp>
          <p:sp>
            <p:nvSpPr>
              <p:cNvPr id="74" name="Freeform 8">
                <a:extLst>
                  <a:ext uri="{FF2B5EF4-FFF2-40B4-BE49-F238E27FC236}">
                    <a16:creationId xmlns:a16="http://schemas.microsoft.com/office/drawing/2014/main" id="{DFC4C2E2-F69A-C8CA-27FC-04CBFCDF10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54788" y="946151"/>
                <a:ext cx="1825625" cy="2151063"/>
              </a:xfrm>
              <a:custGeom>
                <a:avLst/>
                <a:gdLst>
                  <a:gd name="T0" fmla="*/ 592 w 1440"/>
                  <a:gd name="T1" fmla="*/ 0 h 1696"/>
                  <a:gd name="T2" fmla="*/ 0 w 1440"/>
                  <a:gd name="T3" fmla="*/ 241 h 1696"/>
                  <a:gd name="T4" fmla="*/ 231 w 1440"/>
                  <a:gd name="T5" fmla="*/ 718 h 1696"/>
                  <a:gd name="T6" fmla="*/ 592 w 1440"/>
                  <a:gd name="T7" fmla="*/ 464 h 1696"/>
                  <a:gd name="T8" fmla="*/ 976 w 1440"/>
                  <a:gd name="T9" fmla="*/ 848 h 1696"/>
                  <a:gd name="T10" fmla="*/ 592 w 1440"/>
                  <a:gd name="T11" fmla="*/ 1232 h 1696"/>
                  <a:gd name="T12" fmla="*/ 452 w 1440"/>
                  <a:gd name="T13" fmla="*/ 1206 h 1696"/>
                  <a:gd name="T14" fmla="*/ 452 w 1440"/>
                  <a:gd name="T15" fmla="*/ 1300 h 1696"/>
                  <a:gd name="T16" fmla="*/ 389 w 1440"/>
                  <a:gd name="T17" fmla="*/ 1300 h 1696"/>
                  <a:gd name="T18" fmla="*/ 389 w 1440"/>
                  <a:gd name="T19" fmla="*/ 1671 h 1696"/>
                  <a:gd name="T20" fmla="*/ 592 w 1440"/>
                  <a:gd name="T21" fmla="*/ 1696 h 1696"/>
                  <a:gd name="T22" fmla="*/ 1440 w 1440"/>
                  <a:gd name="T23" fmla="*/ 848 h 1696"/>
                  <a:gd name="T24" fmla="*/ 592 w 1440"/>
                  <a:gd name="T25" fmla="*/ 0 h 16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440" h="1696">
                    <a:moveTo>
                      <a:pt x="592" y="0"/>
                    </a:moveTo>
                    <a:cubicBezTo>
                      <a:pt x="362" y="0"/>
                      <a:pt x="153" y="92"/>
                      <a:pt x="0" y="241"/>
                    </a:cubicBezTo>
                    <a:cubicBezTo>
                      <a:pt x="125" y="374"/>
                      <a:pt x="205" y="540"/>
                      <a:pt x="231" y="718"/>
                    </a:cubicBezTo>
                    <a:cubicBezTo>
                      <a:pt x="284" y="570"/>
                      <a:pt x="426" y="464"/>
                      <a:pt x="592" y="464"/>
                    </a:cubicBezTo>
                    <a:cubicBezTo>
                      <a:pt x="804" y="464"/>
                      <a:pt x="976" y="636"/>
                      <a:pt x="976" y="848"/>
                    </a:cubicBezTo>
                    <a:cubicBezTo>
                      <a:pt x="976" y="1060"/>
                      <a:pt x="804" y="1232"/>
                      <a:pt x="592" y="1232"/>
                    </a:cubicBezTo>
                    <a:cubicBezTo>
                      <a:pt x="543" y="1232"/>
                      <a:pt x="495" y="1223"/>
                      <a:pt x="452" y="1206"/>
                    </a:cubicBezTo>
                    <a:cubicBezTo>
                      <a:pt x="452" y="1300"/>
                      <a:pt x="452" y="1300"/>
                      <a:pt x="452" y="1300"/>
                    </a:cubicBezTo>
                    <a:cubicBezTo>
                      <a:pt x="389" y="1300"/>
                      <a:pt x="389" y="1300"/>
                      <a:pt x="389" y="1300"/>
                    </a:cubicBezTo>
                    <a:cubicBezTo>
                      <a:pt x="389" y="1671"/>
                      <a:pt x="389" y="1671"/>
                      <a:pt x="389" y="1671"/>
                    </a:cubicBezTo>
                    <a:cubicBezTo>
                      <a:pt x="454" y="1687"/>
                      <a:pt x="522" y="1696"/>
                      <a:pt x="592" y="1696"/>
                    </a:cubicBezTo>
                    <a:cubicBezTo>
                      <a:pt x="1060" y="1696"/>
                      <a:pt x="1440" y="1316"/>
                      <a:pt x="1440" y="848"/>
                    </a:cubicBezTo>
                    <a:cubicBezTo>
                      <a:pt x="1440" y="380"/>
                      <a:pt x="1060" y="0"/>
                      <a:pt x="592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194770" tIns="97385" rIns="194770" bIns="9738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834"/>
              </a:p>
            </p:txBody>
          </p:sp>
        </p:grp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07509427-3C79-D4F3-9166-844334E84849}"/>
              </a:ext>
            </a:extLst>
          </p:cNvPr>
          <p:cNvGrpSpPr/>
          <p:nvPr/>
        </p:nvGrpSpPr>
        <p:grpSpPr>
          <a:xfrm>
            <a:off x="4627591" y="2259559"/>
            <a:ext cx="909706" cy="909704"/>
            <a:chOff x="912987" y="3985306"/>
            <a:chExt cx="1332461" cy="1332461"/>
          </a:xfrm>
        </p:grpSpPr>
        <p:sp>
          <p:nvSpPr>
            <p:cNvPr id="66" name="Oval 65">
              <a:extLst>
                <a:ext uri="{FF2B5EF4-FFF2-40B4-BE49-F238E27FC236}">
                  <a16:creationId xmlns:a16="http://schemas.microsoft.com/office/drawing/2014/main" id="{43D6E40E-6A08-D1B8-6778-B9C554BDABD0}"/>
                </a:ext>
              </a:extLst>
            </p:cNvPr>
            <p:cNvSpPr/>
            <p:nvPr/>
          </p:nvSpPr>
          <p:spPr>
            <a:xfrm>
              <a:off x="912987" y="3985306"/>
              <a:ext cx="1332461" cy="1332461"/>
            </a:xfrm>
            <a:prstGeom prst="ellipse">
              <a:avLst/>
            </a:pr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76">
                <a:solidFill>
                  <a:schemeClr val="bg1"/>
                </a:solidFill>
                <a:latin typeface="Montserrat Light" panose="00000400000000000000" pitchFamily="50" charset="0"/>
              </a:endParaRPr>
            </a:p>
          </p:txBody>
        </p:sp>
        <p:sp>
          <p:nvSpPr>
            <p:cNvPr id="67" name="Oval 66">
              <a:extLst>
                <a:ext uri="{FF2B5EF4-FFF2-40B4-BE49-F238E27FC236}">
                  <a16:creationId xmlns:a16="http://schemas.microsoft.com/office/drawing/2014/main" id="{3357A61C-2C49-9B61-0A27-6FA0C72E8D3C}"/>
                </a:ext>
              </a:extLst>
            </p:cNvPr>
            <p:cNvSpPr/>
            <p:nvPr/>
          </p:nvSpPr>
          <p:spPr>
            <a:xfrm>
              <a:off x="1008481" y="4080800"/>
              <a:ext cx="1141474" cy="1141474"/>
            </a:xfrm>
            <a:prstGeom prst="ellipse">
              <a:avLst/>
            </a:prstGeom>
            <a:solidFill>
              <a:schemeClr val="accent1">
                <a:alpha val="3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76">
                <a:solidFill>
                  <a:schemeClr val="bg1"/>
                </a:solidFill>
                <a:latin typeface="Montserrat Light" panose="00000400000000000000" pitchFamily="50" charset="0"/>
              </a:endParaRPr>
            </a:p>
          </p:txBody>
        </p:sp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578260FA-7B33-761D-9F10-94E084A6AFAF}"/>
                </a:ext>
              </a:extLst>
            </p:cNvPr>
            <p:cNvSpPr/>
            <p:nvPr/>
          </p:nvSpPr>
          <p:spPr>
            <a:xfrm>
              <a:off x="1108900" y="4181219"/>
              <a:ext cx="940635" cy="940635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500" dirty="0">
                <a:solidFill>
                  <a:schemeClr val="bg1"/>
                </a:solidFill>
                <a:latin typeface="Montserrat SemiBold" panose="00000700000000000000" pitchFamily="2" charset="0"/>
              </a:endParaRP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27C16958-493F-6FF4-75D0-C6C08744C0E9}"/>
              </a:ext>
            </a:extLst>
          </p:cNvPr>
          <p:cNvGrpSpPr/>
          <p:nvPr/>
        </p:nvGrpSpPr>
        <p:grpSpPr>
          <a:xfrm>
            <a:off x="4561475" y="3938843"/>
            <a:ext cx="909706" cy="909704"/>
            <a:chOff x="912987" y="3985306"/>
            <a:chExt cx="1332461" cy="1332461"/>
          </a:xfrm>
        </p:grpSpPr>
        <p:sp>
          <p:nvSpPr>
            <p:cNvPr id="63" name="Oval 62">
              <a:extLst>
                <a:ext uri="{FF2B5EF4-FFF2-40B4-BE49-F238E27FC236}">
                  <a16:creationId xmlns:a16="http://schemas.microsoft.com/office/drawing/2014/main" id="{82261792-FBD2-79F5-C7D5-4F3F791E821F}"/>
                </a:ext>
              </a:extLst>
            </p:cNvPr>
            <p:cNvSpPr/>
            <p:nvPr/>
          </p:nvSpPr>
          <p:spPr>
            <a:xfrm>
              <a:off x="912987" y="3985306"/>
              <a:ext cx="1332461" cy="1332461"/>
            </a:xfrm>
            <a:prstGeom prst="ellipse">
              <a:avLst/>
            </a:prstGeom>
            <a:solidFill>
              <a:schemeClr val="accent2">
                <a:alpha val="2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76">
                <a:solidFill>
                  <a:schemeClr val="bg1"/>
                </a:solidFill>
                <a:latin typeface="Montserrat Light" panose="00000400000000000000" pitchFamily="50" charset="0"/>
              </a:endParaRPr>
            </a:p>
          </p:txBody>
        </p:sp>
        <p:sp>
          <p:nvSpPr>
            <p:cNvPr id="64" name="Oval 63">
              <a:extLst>
                <a:ext uri="{FF2B5EF4-FFF2-40B4-BE49-F238E27FC236}">
                  <a16:creationId xmlns:a16="http://schemas.microsoft.com/office/drawing/2014/main" id="{A5ECFE0E-5645-836A-F4FF-810B40ED9913}"/>
                </a:ext>
              </a:extLst>
            </p:cNvPr>
            <p:cNvSpPr/>
            <p:nvPr/>
          </p:nvSpPr>
          <p:spPr>
            <a:xfrm>
              <a:off x="1008481" y="4080800"/>
              <a:ext cx="1141474" cy="1141474"/>
            </a:xfrm>
            <a:prstGeom prst="ellipse">
              <a:avLst/>
            </a:prstGeom>
            <a:solidFill>
              <a:schemeClr val="accent2">
                <a:alpha val="3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76">
                <a:solidFill>
                  <a:schemeClr val="bg1"/>
                </a:solidFill>
                <a:latin typeface="Montserrat Light" panose="00000400000000000000" pitchFamily="50" charset="0"/>
              </a:endParaRPr>
            </a:p>
          </p:txBody>
        </p:sp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CDA83FE5-0108-46A3-D788-7C3EC161E07B}"/>
                </a:ext>
              </a:extLst>
            </p:cNvPr>
            <p:cNvSpPr/>
            <p:nvPr/>
          </p:nvSpPr>
          <p:spPr>
            <a:xfrm>
              <a:off x="1108900" y="4181219"/>
              <a:ext cx="940635" cy="94063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500" dirty="0">
                <a:solidFill>
                  <a:schemeClr val="bg1"/>
                </a:solidFill>
                <a:latin typeface="Montserrat SemiBold" panose="00000700000000000000" pitchFamily="2" charset="0"/>
              </a:endParaRP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C1C3F3B4-B69B-4E59-719C-9BBF95B4DEEA}"/>
              </a:ext>
            </a:extLst>
          </p:cNvPr>
          <p:cNvGrpSpPr/>
          <p:nvPr/>
        </p:nvGrpSpPr>
        <p:grpSpPr>
          <a:xfrm>
            <a:off x="6283427" y="3997081"/>
            <a:ext cx="909706" cy="909704"/>
            <a:chOff x="912987" y="3985306"/>
            <a:chExt cx="1332461" cy="1332461"/>
          </a:xfrm>
        </p:grpSpPr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2A0F55C0-F34A-8E99-83D9-D3910D8061BC}"/>
                </a:ext>
              </a:extLst>
            </p:cNvPr>
            <p:cNvSpPr/>
            <p:nvPr/>
          </p:nvSpPr>
          <p:spPr>
            <a:xfrm>
              <a:off x="912987" y="3985306"/>
              <a:ext cx="1332461" cy="1332461"/>
            </a:xfrm>
            <a:prstGeom prst="ellipse">
              <a:avLst/>
            </a:prstGeom>
            <a:solidFill>
              <a:schemeClr val="accent4">
                <a:alpha val="2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76">
                <a:solidFill>
                  <a:schemeClr val="bg1"/>
                </a:solidFill>
                <a:latin typeface="Montserrat Light" panose="00000400000000000000" pitchFamily="50" charset="0"/>
              </a:endParaRPr>
            </a:p>
          </p:txBody>
        </p:sp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AC0C5F6C-8CAC-43B3-3F15-08A782E34FC8}"/>
                </a:ext>
              </a:extLst>
            </p:cNvPr>
            <p:cNvSpPr/>
            <p:nvPr/>
          </p:nvSpPr>
          <p:spPr>
            <a:xfrm>
              <a:off x="1008481" y="4080800"/>
              <a:ext cx="1141474" cy="1141474"/>
            </a:xfrm>
            <a:prstGeom prst="ellipse">
              <a:avLst/>
            </a:prstGeom>
            <a:solidFill>
              <a:schemeClr val="accent4">
                <a:alpha val="3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76">
                <a:solidFill>
                  <a:schemeClr val="bg1"/>
                </a:solidFill>
                <a:latin typeface="Montserrat Light" panose="00000400000000000000" pitchFamily="50" charset="0"/>
              </a:endParaRPr>
            </a:p>
          </p:txBody>
        </p:sp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8E877DB4-5D8F-C992-7F2D-55D0A833098B}"/>
                </a:ext>
              </a:extLst>
            </p:cNvPr>
            <p:cNvSpPr/>
            <p:nvPr/>
          </p:nvSpPr>
          <p:spPr>
            <a:xfrm>
              <a:off x="1108900" y="4181219"/>
              <a:ext cx="940635" cy="940635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500" dirty="0">
                <a:solidFill>
                  <a:schemeClr val="bg1"/>
                </a:solidFill>
                <a:latin typeface="Montserrat SemiBold" panose="00000700000000000000" pitchFamily="2" charset="0"/>
              </a:endParaRP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A285957A-1F3F-1150-E953-07380AF52CAC}"/>
              </a:ext>
            </a:extLst>
          </p:cNvPr>
          <p:cNvGrpSpPr/>
          <p:nvPr/>
        </p:nvGrpSpPr>
        <p:grpSpPr>
          <a:xfrm>
            <a:off x="6270989" y="2283370"/>
            <a:ext cx="909706" cy="909704"/>
            <a:chOff x="912987" y="3985306"/>
            <a:chExt cx="1332461" cy="1332461"/>
          </a:xfrm>
        </p:grpSpPr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2D440244-2AA5-5CB8-1252-4ABE17D46DA0}"/>
                </a:ext>
              </a:extLst>
            </p:cNvPr>
            <p:cNvSpPr/>
            <p:nvPr/>
          </p:nvSpPr>
          <p:spPr>
            <a:xfrm>
              <a:off x="912987" y="3985306"/>
              <a:ext cx="1332461" cy="1332461"/>
            </a:xfrm>
            <a:prstGeom prst="ellipse">
              <a:avLst/>
            </a:prstGeom>
            <a:solidFill>
              <a:schemeClr val="accent3">
                <a:alpha val="2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76">
                <a:solidFill>
                  <a:schemeClr val="bg1"/>
                </a:solidFill>
                <a:latin typeface="Montserrat Light" panose="00000400000000000000" pitchFamily="50" charset="0"/>
              </a:endParaRPr>
            </a:p>
          </p:txBody>
        </p:sp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33D804EB-495C-A8D9-B234-A9AAD8CB6C59}"/>
                </a:ext>
              </a:extLst>
            </p:cNvPr>
            <p:cNvSpPr/>
            <p:nvPr/>
          </p:nvSpPr>
          <p:spPr>
            <a:xfrm>
              <a:off x="1008481" y="4080800"/>
              <a:ext cx="1141474" cy="1141474"/>
            </a:xfrm>
            <a:prstGeom prst="ellipse">
              <a:avLst/>
            </a:prstGeom>
            <a:solidFill>
              <a:schemeClr val="accent3">
                <a:alpha val="3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76">
                <a:solidFill>
                  <a:schemeClr val="bg1"/>
                </a:solidFill>
                <a:latin typeface="Montserrat Light" panose="00000400000000000000" pitchFamily="50" charset="0"/>
              </a:endParaRPr>
            </a:p>
          </p:txBody>
        </p:sp>
        <p:sp>
          <p:nvSpPr>
            <p:cNvPr id="59" name="Oval 58">
              <a:extLst>
                <a:ext uri="{FF2B5EF4-FFF2-40B4-BE49-F238E27FC236}">
                  <a16:creationId xmlns:a16="http://schemas.microsoft.com/office/drawing/2014/main" id="{DEADB5FA-3026-7A0B-F823-DAA44BB4C778}"/>
                </a:ext>
              </a:extLst>
            </p:cNvPr>
            <p:cNvSpPr/>
            <p:nvPr/>
          </p:nvSpPr>
          <p:spPr>
            <a:xfrm>
              <a:off x="1108900" y="4181219"/>
              <a:ext cx="940635" cy="940635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500" dirty="0">
                <a:solidFill>
                  <a:schemeClr val="bg1"/>
                </a:solidFill>
                <a:latin typeface="Montserrat SemiBold" panose="00000700000000000000" pitchFamily="2" charset="0"/>
              </a:endParaRPr>
            </a:p>
          </p:txBody>
        </p:sp>
      </p:grpSp>
      <p:sp>
        <p:nvSpPr>
          <p:cNvPr id="49" name="Inhaltsplatzhalter 4">
            <a:extLst>
              <a:ext uri="{FF2B5EF4-FFF2-40B4-BE49-F238E27FC236}">
                <a16:creationId xmlns:a16="http://schemas.microsoft.com/office/drawing/2014/main" id="{BB1F4811-4F1D-FD77-D8C0-3D702D3C83BA}"/>
              </a:ext>
            </a:extLst>
          </p:cNvPr>
          <p:cNvSpPr txBox="1">
            <a:spLocks/>
          </p:cNvSpPr>
          <p:nvPr/>
        </p:nvSpPr>
        <p:spPr>
          <a:xfrm flipH="1">
            <a:off x="727127" y="1541470"/>
            <a:ext cx="2743171" cy="75405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accent1"/>
                </a:solidFill>
                <a:latin typeface="+mj-lt"/>
              </a:rPr>
              <a:t>TITLE GOES HERE</a:t>
            </a:r>
            <a:br>
              <a:rPr lang="en-US" sz="1400" b="1" dirty="0">
                <a:solidFill>
                  <a:schemeClr val="accent1"/>
                </a:solidFill>
                <a:latin typeface="+mj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ext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br>
              <a:rPr lang="en-US" sz="1100" dirty="0">
                <a:solidFill>
                  <a:schemeClr val="tx1"/>
                </a:solidFill>
                <a:latin typeface="+mn-lt"/>
              </a:rPr>
            </a:b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</a:t>
            </a:r>
            <a:br>
              <a:rPr lang="en-US" sz="1100" dirty="0">
                <a:solidFill>
                  <a:schemeClr val="tx1"/>
                </a:solidFill>
                <a:latin typeface="+mn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ext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endParaRPr lang="en-US" sz="11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50" name="Inhaltsplatzhalter 4">
            <a:extLst>
              <a:ext uri="{FF2B5EF4-FFF2-40B4-BE49-F238E27FC236}">
                <a16:creationId xmlns:a16="http://schemas.microsoft.com/office/drawing/2014/main" id="{FA8A5EF7-1A75-E852-CE1B-B980712166B9}"/>
              </a:ext>
            </a:extLst>
          </p:cNvPr>
          <p:cNvSpPr txBox="1">
            <a:spLocks/>
          </p:cNvSpPr>
          <p:nvPr/>
        </p:nvSpPr>
        <p:spPr>
          <a:xfrm>
            <a:off x="8272761" y="1541470"/>
            <a:ext cx="2743171" cy="75405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accent3"/>
                </a:solidFill>
                <a:latin typeface="+mj-lt"/>
              </a:rPr>
              <a:t>TITLE GOES HERE</a:t>
            </a:r>
            <a:br>
              <a:rPr lang="en-US" sz="1400" b="1" dirty="0">
                <a:solidFill>
                  <a:schemeClr val="bg1">
                    <a:lumMod val="50000"/>
                  </a:schemeClr>
                </a:solidFill>
                <a:latin typeface="+mj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ext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br>
              <a:rPr lang="en-US" sz="1100" dirty="0">
                <a:solidFill>
                  <a:schemeClr val="tx1"/>
                </a:solidFill>
                <a:latin typeface="+mn-lt"/>
              </a:rPr>
            </a:b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</a:t>
            </a:r>
            <a:br>
              <a:rPr lang="en-US" sz="1100" dirty="0">
                <a:solidFill>
                  <a:schemeClr val="tx1"/>
                </a:solidFill>
                <a:latin typeface="+mn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ext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endParaRPr lang="en-US" sz="11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51" name="Inhaltsplatzhalter 4">
            <a:extLst>
              <a:ext uri="{FF2B5EF4-FFF2-40B4-BE49-F238E27FC236}">
                <a16:creationId xmlns:a16="http://schemas.microsoft.com/office/drawing/2014/main" id="{B62D5212-8FAE-0A15-05D4-6485D6E90917}"/>
              </a:ext>
            </a:extLst>
          </p:cNvPr>
          <p:cNvSpPr txBox="1">
            <a:spLocks/>
          </p:cNvSpPr>
          <p:nvPr/>
        </p:nvSpPr>
        <p:spPr>
          <a:xfrm flipH="1">
            <a:off x="8258019" y="4670844"/>
            <a:ext cx="2772654" cy="75405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accent4"/>
                </a:solidFill>
                <a:latin typeface="+mj-lt"/>
              </a:rPr>
              <a:t>TITLE GOES HERE</a:t>
            </a:r>
            <a:br>
              <a:rPr lang="en-US" sz="1400" b="1" dirty="0">
                <a:solidFill>
                  <a:schemeClr val="accent2"/>
                </a:solidFill>
                <a:latin typeface="+mj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ext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br>
              <a:rPr lang="en-US" sz="1100" dirty="0">
                <a:solidFill>
                  <a:schemeClr val="tx1"/>
                </a:solidFill>
                <a:latin typeface="+mn-lt"/>
              </a:rPr>
            </a:b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</a:t>
            </a:r>
            <a:br>
              <a:rPr lang="en-US" sz="1100" dirty="0">
                <a:solidFill>
                  <a:schemeClr val="tx1"/>
                </a:solidFill>
                <a:latin typeface="+mn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ext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endParaRPr lang="en-US" sz="11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52" name="Inhaltsplatzhalter 4">
            <a:extLst>
              <a:ext uri="{FF2B5EF4-FFF2-40B4-BE49-F238E27FC236}">
                <a16:creationId xmlns:a16="http://schemas.microsoft.com/office/drawing/2014/main" id="{9C2B245C-0F0D-7CCB-5AF3-44E9E3E87CD9}"/>
              </a:ext>
            </a:extLst>
          </p:cNvPr>
          <p:cNvSpPr txBox="1">
            <a:spLocks/>
          </p:cNvSpPr>
          <p:nvPr/>
        </p:nvSpPr>
        <p:spPr>
          <a:xfrm flipH="1">
            <a:off x="736165" y="4670844"/>
            <a:ext cx="2725093" cy="75405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accent2"/>
                </a:solidFill>
                <a:latin typeface="+mj-lt"/>
              </a:rPr>
              <a:t>TITLE GOES HERE</a:t>
            </a:r>
            <a:br>
              <a:rPr lang="en-US" sz="1400" b="1" dirty="0">
                <a:solidFill>
                  <a:schemeClr val="accent2"/>
                </a:solidFill>
                <a:latin typeface="+mj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ext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br>
              <a:rPr lang="en-US" sz="1100" dirty="0">
                <a:solidFill>
                  <a:schemeClr val="tx1"/>
                </a:solidFill>
                <a:latin typeface="+mn-lt"/>
              </a:rPr>
            </a:b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</a:t>
            </a:r>
            <a:br>
              <a:rPr lang="en-US" sz="1100" dirty="0">
                <a:solidFill>
                  <a:schemeClr val="tx1"/>
                </a:solidFill>
                <a:latin typeface="+mn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ext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endParaRPr lang="en-US" sz="11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53" name="Star: 5 Points 52">
            <a:extLst>
              <a:ext uri="{FF2B5EF4-FFF2-40B4-BE49-F238E27FC236}">
                <a16:creationId xmlns:a16="http://schemas.microsoft.com/office/drawing/2014/main" id="{07909635-EACF-28B6-E5A1-F5F40889CB77}"/>
              </a:ext>
            </a:extLst>
          </p:cNvPr>
          <p:cNvSpPr/>
          <p:nvPr/>
        </p:nvSpPr>
        <p:spPr>
          <a:xfrm>
            <a:off x="4915398" y="2547365"/>
            <a:ext cx="334091" cy="334091"/>
          </a:xfrm>
          <a:prstGeom prst="star5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Star: 5 Points 53">
            <a:extLst>
              <a:ext uri="{FF2B5EF4-FFF2-40B4-BE49-F238E27FC236}">
                <a16:creationId xmlns:a16="http://schemas.microsoft.com/office/drawing/2014/main" id="{548474A8-445F-7C05-8DDA-D8B266A1535E}"/>
              </a:ext>
            </a:extLst>
          </p:cNvPr>
          <p:cNvSpPr/>
          <p:nvPr/>
        </p:nvSpPr>
        <p:spPr>
          <a:xfrm>
            <a:off x="6558797" y="2571176"/>
            <a:ext cx="334091" cy="334091"/>
          </a:xfrm>
          <a:prstGeom prst="star5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Star: 5 Points 54">
            <a:extLst>
              <a:ext uri="{FF2B5EF4-FFF2-40B4-BE49-F238E27FC236}">
                <a16:creationId xmlns:a16="http://schemas.microsoft.com/office/drawing/2014/main" id="{A43E9139-8CA2-621D-AB16-EDFE7485660A}"/>
              </a:ext>
            </a:extLst>
          </p:cNvPr>
          <p:cNvSpPr/>
          <p:nvPr/>
        </p:nvSpPr>
        <p:spPr>
          <a:xfrm>
            <a:off x="4849282" y="4226649"/>
            <a:ext cx="334091" cy="334091"/>
          </a:xfrm>
          <a:prstGeom prst="star5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Star: 5 Points 55">
            <a:extLst>
              <a:ext uri="{FF2B5EF4-FFF2-40B4-BE49-F238E27FC236}">
                <a16:creationId xmlns:a16="http://schemas.microsoft.com/office/drawing/2014/main" id="{6907EA52-C8C5-F6B4-CF7D-B5272FDBD05E}"/>
              </a:ext>
            </a:extLst>
          </p:cNvPr>
          <p:cNvSpPr/>
          <p:nvPr/>
        </p:nvSpPr>
        <p:spPr>
          <a:xfrm>
            <a:off x="6571234" y="4284887"/>
            <a:ext cx="334091" cy="334091"/>
          </a:xfrm>
          <a:prstGeom prst="star5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7792005"/>
      </p:ext>
    </p:extLst>
  </p:cSld>
  <p:clrMapOvr>
    <a:masterClrMapping/>
  </p:clrMapOvr>
</p:sld>
</file>

<file path=ppt/slides/slide1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F68C3BC-E8F7-8C4B-BDF4-3F358D52E7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731E085-1EBA-E1C0-548E-E3C7778A84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731E085-1EBA-E1C0-548E-E3C7778A84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CEC385A-01FA-835C-D5E8-F210F8B1EC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ircular layou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B9CC0D2-B1A8-C234-43DE-ADB009442D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28</a:t>
            </a:fld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207CE9DE-7810-63AA-EF14-4F40A099EB09}"/>
              </a:ext>
            </a:extLst>
          </p:cNvPr>
          <p:cNvGrpSpPr/>
          <p:nvPr/>
        </p:nvGrpSpPr>
        <p:grpSpPr>
          <a:xfrm>
            <a:off x="1099601" y="1779050"/>
            <a:ext cx="9983107" cy="4093028"/>
            <a:chOff x="1102637" y="2195739"/>
            <a:chExt cx="9983107" cy="4093028"/>
          </a:xfrm>
        </p:grpSpPr>
        <p:sp>
          <p:nvSpPr>
            <p:cNvPr id="6" name="Right Arrow 3">
              <a:extLst>
                <a:ext uri="{FF2B5EF4-FFF2-40B4-BE49-F238E27FC236}">
                  <a16:creationId xmlns:a16="http://schemas.microsoft.com/office/drawing/2014/main" id="{224B1881-A4D8-E83C-0C4F-DAED00425A93}"/>
                </a:ext>
              </a:extLst>
            </p:cNvPr>
            <p:cNvSpPr/>
            <p:nvPr/>
          </p:nvSpPr>
          <p:spPr>
            <a:xfrm rot="8035565">
              <a:off x="6582589" y="3433729"/>
              <a:ext cx="389812" cy="389812"/>
            </a:xfrm>
            <a:prstGeom prst="rightArrow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dirty="0"/>
            </a:p>
          </p:txBody>
        </p:sp>
        <p:sp>
          <p:nvSpPr>
            <p:cNvPr id="7" name="Right Arrow 4">
              <a:extLst>
                <a:ext uri="{FF2B5EF4-FFF2-40B4-BE49-F238E27FC236}">
                  <a16:creationId xmlns:a16="http://schemas.microsoft.com/office/drawing/2014/main" id="{E8CF6184-50D0-DEE5-0ECC-4189A853F75F}"/>
                </a:ext>
              </a:extLst>
            </p:cNvPr>
            <p:cNvSpPr/>
            <p:nvPr/>
          </p:nvSpPr>
          <p:spPr>
            <a:xfrm rot="2490449">
              <a:off x="5248200" y="3414940"/>
              <a:ext cx="389812" cy="389812"/>
            </a:xfrm>
            <a:prstGeom prst="rightArrow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dirty="0"/>
            </a:p>
          </p:txBody>
        </p:sp>
        <p:sp>
          <p:nvSpPr>
            <p:cNvPr id="8" name="Right Arrow 5">
              <a:extLst>
                <a:ext uri="{FF2B5EF4-FFF2-40B4-BE49-F238E27FC236}">
                  <a16:creationId xmlns:a16="http://schemas.microsoft.com/office/drawing/2014/main" id="{FAAE5087-E5A4-4E1F-8E6B-B381F67D4119}"/>
                </a:ext>
              </a:extLst>
            </p:cNvPr>
            <p:cNvSpPr/>
            <p:nvPr/>
          </p:nvSpPr>
          <p:spPr>
            <a:xfrm rot="18917440">
              <a:off x="5236525" y="4694518"/>
              <a:ext cx="389812" cy="389812"/>
            </a:xfrm>
            <a:prstGeom prst="rightArrow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dirty="0"/>
            </a:p>
          </p:txBody>
        </p:sp>
        <p:sp>
          <p:nvSpPr>
            <p:cNvPr id="9" name="Right Arrow 6">
              <a:extLst>
                <a:ext uri="{FF2B5EF4-FFF2-40B4-BE49-F238E27FC236}">
                  <a16:creationId xmlns:a16="http://schemas.microsoft.com/office/drawing/2014/main" id="{88C93B7C-6AED-EE3C-E696-96440C7A2233}"/>
                </a:ext>
              </a:extLst>
            </p:cNvPr>
            <p:cNvSpPr/>
            <p:nvPr/>
          </p:nvSpPr>
          <p:spPr>
            <a:xfrm rot="13329968">
              <a:off x="6596844" y="4672232"/>
              <a:ext cx="389812" cy="389812"/>
            </a:xfrm>
            <a:prstGeom prst="rightArrow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dirty="0"/>
            </a:p>
          </p:txBody>
        </p: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8C2DE642-EB8C-A99C-DF17-72F62AF625D6}"/>
                </a:ext>
              </a:extLst>
            </p:cNvPr>
            <p:cNvGrpSpPr/>
            <p:nvPr/>
          </p:nvGrpSpPr>
          <p:grpSpPr>
            <a:xfrm>
              <a:off x="4430983" y="2585551"/>
              <a:ext cx="3330035" cy="3330032"/>
              <a:chOff x="2965298" y="1328882"/>
              <a:chExt cx="3213404" cy="3213402"/>
            </a:xfrm>
          </p:grpSpPr>
          <p:sp>
            <p:nvSpPr>
              <p:cNvPr id="41" name="Block Arc 40">
                <a:extLst>
                  <a:ext uri="{FF2B5EF4-FFF2-40B4-BE49-F238E27FC236}">
                    <a16:creationId xmlns:a16="http://schemas.microsoft.com/office/drawing/2014/main" id="{57FB382A-350A-AF1F-8AF2-50D3159F1F47}"/>
                  </a:ext>
                </a:extLst>
              </p:cNvPr>
              <p:cNvSpPr/>
              <p:nvPr/>
            </p:nvSpPr>
            <p:spPr>
              <a:xfrm>
                <a:off x="2965298" y="1328882"/>
                <a:ext cx="3213404" cy="3213402"/>
              </a:xfrm>
              <a:prstGeom prst="blockArc">
                <a:avLst>
                  <a:gd name="adj1" fmla="val 5400000"/>
                  <a:gd name="adj2" fmla="val 10800007"/>
                  <a:gd name="adj3" fmla="val 17240"/>
                </a:avLst>
              </a:prstGeom>
              <a:solidFill>
                <a:schemeClr val="accent4"/>
              </a:solidFill>
            </p:spPr>
            <p:style>
              <a:lnRef idx="0">
                <a:schemeClr val="accent1">
                  <a:tint val="6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tint val="6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tint val="6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42" name="Block Arc 41">
                <a:extLst>
                  <a:ext uri="{FF2B5EF4-FFF2-40B4-BE49-F238E27FC236}">
                    <a16:creationId xmlns:a16="http://schemas.microsoft.com/office/drawing/2014/main" id="{38886571-8857-E1BE-DAED-E994FC1B3D94}"/>
                  </a:ext>
                </a:extLst>
              </p:cNvPr>
              <p:cNvSpPr/>
              <p:nvPr/>
            </p:nvSpPr>
            <p:spPr>
              <a:xfrm>
                <a:off x="2965298" y="1328882"/>
                <a:ext cx="3213404" cy="3213402"/>
              </a:xfrm>
              <a:prstGeom prst="blockArc">
                <a:avLst>
                  <a:gd name="adj1" fmla="val 0"/>
                  <a:gd name="adj2" fmla="val 5410356"/>
                  <a:gd name="adj3" fmla="val 17190"/>
                </a:avLst>
              </a:prstGeom>
              <a:solidFill>
                <a:schemeClr val="accent3"/>
              </a:solidFill>
            </p:spPr>
            <p:style>
              <a:lnRef idx="0">
                <a:schemeClr val="accent1">
                  <a:tint val="6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tint val="6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tint val="6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43" name="Block Arc 42">
                <a:extLst>
                  <a:ext uri="{FF2B5EF4-FFF2-40B4-BE49-F238E27FC236}">
                    <a16:creationId xmlns:a16="http://schemas.microsoft.com/office/drawing/2014/main" id="{A9CEFA2C-431D-17F5-21A0-96004810FC8A}"/>
                  </a:ext>
                </a:extLst>
              </p:cNvPr>
              <p:cNvSpPr/>
              <p:nvPr/>
            </p:nvSpPr>
            <p:spPr>
              <a:xfrm>
                <a:off x="2965298" y="1328882"/>
                <a:ext cx="3213404" cy="3213402"/>
              </a:xfrm>
              <a:prstGeom prst="blockArc">
                <a:avLst>
                  <a:gd name="adj1" fmla="val 10800000"/>
                  <a:gd name="adj2" fmla="val 16200016"/>
                  <a:gd name="adj3" fmla="val 17141"/>
                </a:avLst>
              </a:prstGeom>
              <a:solidFill>
                <a:schemeClr val="accent1"/>
              </a:solidFill>
            </p:spPr>
            <p:style>
              <a:lnRef idx="0">
                <a:schemeClr val="accent1">
                  <a:tint val="6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tint val="6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tint val="6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44" name="Block Arc 43">
                <a:extLst>
                  <a:ext uri="{FF2B5EF4-FFF2-40B4-BE49-F238E27FC236}">
                    <a16:creationId xmlns:a16="http://schemas.microsoft.com/office/drawing/2014/main" id="{2E1A5D6E-002A-9588-FCA7-57800FBE0968}"/>
                  </a:ext>
                </a:extLst>
              </p:cNvPr>
              <p:cNvSpPr/>
              <p:nvPr/>
            </p:nvSpPr>
            <p:spPr>
              <a:xfrm>
                <a:off x="2965298" y="1328882"/>
                <a:ext cx="3213404" cy="3213402"/>
              </a:xfrm>
              <a:prstGeom prst="blockArc">
                <a:avLst>
                  <a:gd name="adj1" fmla="val 16200000"/>
                  <a:gd name="adj2" fmla="val 3"/>
                  <a:gd name="adj3" fmla="val 17191"/>
                </a:avLst>
              </a:prstGeom>
              <a:solidFill>
                <a:schemeClr val="accent2"/>
              </a:solidFill>
            </p:spPr>
            <p:style>
              <a:lnRef idx="0">
                <a:schemeClr val="accent1">
                  <a:tint val="6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tint val="6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tint val="6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en-US" dirty="0"/>
              </a:p>
            </p:txBody>
          </p:sp>
        </p:grp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13AFE4A1-7ADD-93D8-41B7-8E670C5E8688}"/>
                </a:ext>
              </a:extLst>
            </p:cNvPr>
            <p:cNvSpPr/>
            <p:nvPr/>
          </p:nvSpPr>
          <p:spPr>
            <a:xfrm>
              <a:off x="4049486" y="2195739"/>
              <a:ext cx="4093028" cy="4093028"/>
            </a:xfrm>
            <a:prstGeom prst="ellipse">
              <a:avLst/>
            </a:prstGeom>
            <a:noFill/>
            <a:ln w="571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dirty="0"/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04BA8A3B-0A96-6BCD-2A00-64B78534E2B3}"/>
                </a:ext>
              </a:extLst>
            </p:cNvPr>
            <p:cNvSpPr txBox="1"/>
            <p:nvPr/>
          </p:nvSpPr>
          <p:spPr>
            <a:xfrm rot="2868486">
              <a:off x="6155687" y="3140262"/>
              <a:ext cx="1736237" cy="3385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71C46EFD-72B4-F267-F90B-5B49ABD1510D}"/>
                </a:ext>
              </a:extLst>
            </p:cNvPr>
            <p:cNvSpPr txBox="1"/>
            <p:nvPr/>
          </p:nvSpPr>
          <p:spPr>
            <a:xfrm rot="18655703">
              <a:off x="4272949" y="3197107"/>
              <a:ext cx="1751101" cy="3385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00E0BE14-A975-B3AF-56D5-305473249C5B}"/>
                </a:ext>
              </a:extLst>
            </p:cNvPr>
            <p:cNvSpPr txBox="1"/>
            <p:nvPr/>
          </p:nvSpPr>
          <p:spPr>
            <a:xfrm rot="3003157">
              <a:off x="4243836" y="4971718"/>
              <a:ext cx="1736237" cy="3385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3E0CFBE4-C066-C2C8-8D8C-B5DDFCAFA267}"/>
                </a:ext>
              </a:extLst>
            </p:cNvPr>
            <p:cNvSpPr txBox="1"/>
            <p:nvPr/>
          </p:nvSpPr>
          <p:spPr>
            <a:xfrm rot="8237276">
              <a:off x="6126100" y="5034193"/>
              <a:ext cx="1751101" cy="3385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17" name="Inhaltsplatzhalter 4">
              <a:extLst>
                <a:ext uri="{FF2B5EF4-FFF2-40B4-BE49-F238E27FC236}">
                  <a16:creationId xmlns:a16="http://schemas.microsoft.com/office/drawing/2014/main" id="{D8C60C1D-4536-DB06-7FD0-F900A7244119}"/>
                </a:ext>
              </a:extLst>
            </p:cNvPr>
            <p:cNvSpPr txBox="1">
              <a:spLocks/>
            </p:cNvSpPr>
            <p:nvPr/>
          </p:nvSpPr>
          <p:spPr>
            <a:xfrm flipH="1">
              <a:off x="1102637" y="2341455"/>
              <a:ext cx="2458163" cy="754053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>
              <a:lvl1pPr marL="272967" indent="-272967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Wingdings" panose="05000000000000000000" pitchFamily="2" charset="2"/>
                <a:buChar char="§"/>
                <a:defRPr sz="23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1pPr>
              <a:lvl2pPr marL="807798" indent="-272967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20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2pPr>
              <a:lvl3pPr marL="1080764" indent="-177748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19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3pPr>
              <a:lvl4pPr marL="1436256" indent="-177748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4pPr>
              <a:lvl5pPr marL="1793335" indent="-179335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5pPr>
              <a:lvl6pPr marL="2513847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0910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7972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5034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lnSpc>
                  <a:spcPct val="100000"/>
                </a:lnSpc>
                <a:spcAft>
                  <a:spcPts val="1200"/>
                </a:spcAft>
                <a:buNone/>
              </a:pPr>
              <a:r>
                <a:rPr lang="en-US" sz="1600" b="1" dirty="0">
                  <a:solidFill>
                    <a:schemeClr val="accent1"/>
                  </a:solidFill>
                  <a:latin typeface="+mj-lt"/>
                </a:rPr>
                <a:t>TITLE GOES HERE</a:t>
              </a:r>
              <a:br>
                <a:rPr lang="en-US" sz="1400" b="1" dirty="0">
                  <a:solidFill>
                    <a:schemeClr val="accent1"/>
                  </a:solidFill>
                  <a:latin typeface="+mj-lt"/>
                </a:rPr>
              </a:br>
              <a:r>
                <a:rPr lang="en-US" sz="1100" dirty="0">
                  <a:solidFill>
                    <a:schemeClr val="tx1"/>
                  </a:solidFill>
                  <a:latin typeface="+mn-lt"/>
                </a:rPr>
                <a:t>This is a sample text. You simply add your own text and description here. This text is fully editable. </a:t>
              </a:r>
            </a:p>
          </p:txBody>
        </p:sp>
        <p:sp>
          <p:nvSpPr>
            <p:cNvPr id="18" name="Inhaltsplatzhalter 4">
              <a:extLst>
                <a:ext uri="{FF2B5EF4-FFF2-40B4-BE49-F238E27FC236}">
                  <a16:creationId xmlns:a16="http://schemas.microsoft.com/office/drawing/2014/main" id="{4D133166-CD62-7B5F-B241-E36D381B0D3C}"/>
                </a:ext>
              </a:extLst>
            </p:cNvPr>
            <p:cNvSpPr txBox="1">
              <a:spLocks/>
            </p:cNvSpPr>
            <p:nvPr/>
          </p:nvSpPr>
          <p:spPr>
            <a:xfrm>
              <a:off x="8614371" y="2341455"/>
              <a:ext cx="2458163" cy="754053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>
              <a:lvl1pPr marL="272967" indent="-272967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Wingdings" panose="05000000000000000000" pitchFamily="2" charset="2"/>
                <a:buChar char="§"/>
                <a:defRPr sz="23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1pPr>
              <a:lvl2pPr marL="807798" indent="-272967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20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2pPr>
              <a:lvl3pPr marL="1080764" indent="-177748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19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3pPr>
              <a:lvl4pPr marL="1436256" indent="-177748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4pPr>
              <a:lvl5pPr marL="1793335" indent="-179335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5pPr>
              <a:lvl6pPr marL="2513847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0910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7972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5034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0000"/>
                </a:lnSpc>
                <a:spcAft>
                  <a:spcPts val="1200"/>
                </a:spcAft>
                <a:buNone/>
              </a:pPr>
              <a:r>
                <a:rPr lang="en-US" sz="1600" b="1" dirty="0">
                  <a:solidFill>
                    <a:schemeClr val="accent2"/>
                  </a:solidFill>
                  <a:latin typeface="+mj-lt"/>
                </a:rPr>
                <a:t>TITLE GOES HERE</a:t>
              </a:r>
              <a:br>
                <a:rPr lang="en-US" sz="1400" b="1" dirty="0">
                  <a:solidFill>
                    <a:schemeClr val="bg1">
                      <a:lumMod val="50000"/>
                    </a:schemeClr>
                  </a:solidFill>
                  <a:latin typeface="+mj-lt"/>
                </a:rPr>
              </a:br>
              <a:r>
                <a:rPr lang="en-US" sz="1100" dirty="0">
                  <a:solidFill>
                    <a:schemeClr val="tx1"/>
                  </a:solidFill>
                  <a:latin typeface="+mn-lt"/>
                </a:rPr>
                <a:t>This is a sample text. You simply add your own text and description here. This text is fully editable. </a:t>
              </a:r>
            </a:p>
          </p:txBody>
        </p:sp>
        <p:sp>
          <p:nvSpPr>
            <p:cNvPr id="19" name="Inhaltsplatzhalter 4">
              <a:extLst>
                <a:ext uri="{FF2B5EF4-FFF2-40B4-BE49-F238E27FC236}">
                  <a16:creationId xmlns:a16="http://schemas.microsoft.com/office/drawing/2014/main" id="{86C27542-013A-C9F9-86B8-368C2C50DDE3}"/>
                </a:ext>
              </a:extLst>
            </p:cNvPr>
            <p:cNvSpPr txBox="1">
              <a:spLocks/>
            </p:cNvSpPr>
            <p:nvPr/>
          </p:nvSpPr>
          <p:spPr>
            <a:xfrm flipH="1">
              <a:off x="8601161" y="5145696"/>
              <a:ext cx="2484583" cy="754053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>
              <a:lvl1pPr marL="272967" indent="-272967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Wingdings" panose="05000000000000000000" pitchFamily="2" charset="2"/>
                <a:buChar char="§"/>
                <a:defRPr sz="23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1pPr>
              <a:lvl2pPr marL="807798" indent="-272967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20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2pPr>
              <a:lvl3pPr marL="1080764" indent="-177748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19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3pPr>
              <a:lvl4pPr marL="1436256" indent="-177748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4pPr>
              <a:lvl5pPr marL="1793335" indent="-179335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5pPr>
              <a:lvl6pPr marL="2513847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0910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7972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5034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0000"/>
                </a:lnSpc>
                <a:spcAft>
                  <a:spcPts val="1200"/>
                </a:spcAft>
                <a:buNone/>
              </a:pPr>
              <a:r>
                <a:rPr lang="en-US" sz="1600" b="1" dirty="0">
                  <a:solidFill>
                    <a:schemeClr val="accent3"/>
                  </a:solidFill>
                  <a:latin typeface="+mj-lt"/>
                </a:rPr>
                <a:t>TITLE GOES HERE</a:t>
              </a:r>
              <a:br>
                <a:rPr lang="en-US" sz="1400" b="1" dirty="0">
                  <a:solidFill>
                    <a:schemeClr val="accent2"/>
                  </a:solidFill>
                  <a:latin typeface="+mj-lt"/>
                </a:rPr>
              </a:br>
              <a:r>
                <a:rPr lang="en-US" sz="1100" dirty="0">
                  <a:solidFill>
                    <a:schemeClr val="tx1"/>
                  </a:solidFill>
                  <a:latin typeface="+mn-lt"/>
                </a:rPr>
                <a:t>This is a sample text. You simply add your own text and description here. This text is fully editable. </a:t>
              </a:r>
            </a:p>
          </p:txBody>
        </p:sp>
        <p:sp>
          <p:nvSpPr>
            <p:cNvPr id="20" name="Inhaltsplatzhalter 4">
              <a:extLst>
                <a:ext uri="{FF2B5EF4-FFF2-40B4-BE49-F238E27FC236}">
                  <a16:creationId xmlns:a16="http://schemas.microsoft.com/office/drawing/2014/main" id="{5F6FC900-C4A0-0508-28CC-F29465D9D877}"/>
                </a:ext>
              </a:extLst>
            </p:cNvPr>
            <p:cNvSpPr txBox="1">
              <a:spLocks/>
            </p:cNvSpPr>
            <p:nvPr/>
          </p:nvSpPr>
          <p:spPr>
            <a:xfrm flipH="1">
              <a:off x="1110736" y="5145696"/>
              <a:ext cx="2441964" cy="754053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>
              <a:lvl1pPr marL="272967" indent="-272967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Wingdings" panose="05000000000000000000" pitchFamily="2" charset="2"/>
                <a:buChar char="§"/>
                <a:defRPr sz="23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1pPr>
              <a:lvl2pPr marL="807798" indent="-272967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20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2pPr>
              <a:lvl3pPr marL="1080764" indent="-177748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19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3pPr>
              <a:lvl4pPr marL="1436256" indent="-177748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4pPr>
              <a:lvl5pPr marL="1793335" indent="-179335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5pPr>
              <a:lvl6pPr marL="2513847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0910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7972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5034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lnSpc>
                  <a:spcPct val="100000"/>
                </a:lnSpc>
                <a:spcAft>
                  <a:spcPts val="1200"/>
                </a:spcAft>
                <a:buNone/>
              </a:pPr>
              <a:r>
                <a:rPr lang="en-US" sz="1600" b="1" dirty="0">
                  <a:solidFill>
                    <a:schemeClr val="accent4"/>
                  </a:solidFill>
                  <a:latin typeface="+mj-lt"/>
                </a:rPr>
                <a:t>TITLE GOES HERE</a:t>
              </a:r>
              <a:br>
                <a:rPr lang="en-US" sz="1400" b="1" dirty="0">
                  <a:solidFill>
                    <a:schemeClr val="accent4"/>
                  </a:solidFill>
                  <a:latin typeface="+mj-lt"/>
                </a:rPr>
              </a:br>
              <a:r>
                <a:rPr lang="en-US" sz="1100" dirty="0">
                  <a:solidFill>
                    <a:schemeClr val="tx1"/>
                  </a:solidFill>
                  <a:latin typeface="+mn-lt"/>
                </a:rPr>
                <a:t>This is a sample text. You simply add your own text and description here. This text is fully editable. </a:t>
              </a:r>
            </a:p>
          </p:txBody>
        </p: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3C6CB5AA-B36C-3B9B-8BBA-714A625E9738}"/>
                </a:ext>
              </a:extLst>
            </p:cNvPr>
            <p:cNvGrpSpPr/>
            <p:nvPr/>
          </p:nvGrpSpPr>
          <p:grpSpPr>
            <a:xfrm>
              <a:off x="4149571" y="2251223"/>
              <a:ext cx="815190" cy="815188"/>
              <a:chOff x="912987" y="3985306"/>
              <a:chExt cx="1332461" cy="1332461"/>
            </a:xfrm>
          </p:grpSpPr>
          <p:sp>
            <p:nvSpPr>
              <p:cNvPr id="38" name="Oval 37">
                <a:extLst>
                  <a:ext uri="{FF2B5EF4-FFF2-40B4-BE49-F238E27FC236}">
                    <a16:creationId xmlns:a16="http://schemas.microsoft.com/office/drawing/2014/main" id="{C429E0F1-FF68-0261-1305-53805492E124}"/>
                  </a:ext>
                </a:extLst>
              </p:cNvPr>
              <p:cNvSpPr/>
              <p:nvPr/>
            </p:nvSpPr>
            <p:spPr>
              <a:xfrm>
                <a:off x="912987" y="3985306"/>
                <a:ext cx="1332461" cy="1332461"/>
              </a:xfrm>
              <a:prstGeom prst="ellipse">
                <a:avLst/>
              </a:prstGeom>
              <a:solidFill>
                <a:schemeClr val="accent1">
                  <a:alpha val="2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876" dirty="0">
                  <a:solidFill>
                    <a:schemeClr val="bg1"/>
                  </a:solidFill>
                  <a:latin typeface="Montserrat Light" panose="00000400000000000000" pitchFamily="50" charset="0"/>
                </a:endParaRPr>
              </a:p>
            </p:txBody>
          </p:sp>
          <p:sp>
            <p:nvSpPr>
              <p:cNvPr id="39" name="Oval 38">
                <a:extLst>
                  <a:ext uri="{FF2B5EF4-FFF2-40B4-BE49-F238E27FC236}">
                    <a16:creationId xmlns:a16="http://schemas.microsoft.com/office/drawing/2014/main" id="{8C0877C6-E403-E6A6-5963-3654DFCD29CE}"/>
                  </a:ext>
                </a:extLst>
              </p:cNvPr>
              <p:cNvSpPr/>
              <p:nvPr/>
            </p:nvSpPr>
            <p:spPr>
              <a:xfrm>
                <a:off x="1008481" y="4080800"/>
                <a:ext cx="1141474" cy="1141474"/>
              </a:xfrm>
              <a:prstGeom prst="ellipse">
                <a:avLst/>
              </a:prstGeom>
              <a:solidFill>
                <a:schemeClr val="accent1">
                  <a:alpha val="35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876">
                  <a:solidFill>
                    <a:schemeClr val="bg1"/>
                  </a:solidFill>
                  <a:latin typeface="Montserrat Light" panose="00000400000000000000" pitchFamily="50" charset="0"/>
                </a:endParaRPr>
              </a:p>
            </p:txBody>
          </p:sp>
          <p:sp>
            <p:nvSpPr>
              <p:cNvPr id="40" name="Oval 39">
                <a:extLst>
                  <a:ext uri="{FF2B5EF4-FFF2-40B4-BE49-F238E27FC236}">
                    <a16:creationId xmlns:a16="http://schemas.microsoft.com/office/drawing/2014/main" id="{D5952E1C-08D5-C176-E06E-822CCEBA59AC}"/>
                  </a:ext>
                </a:extLst>
              </p:cNvPr>
              <p:cNvSpPr/>
              <p:nvPr/>
            </p:nvSpPr>
            <p:spPr>
              <a:xfrm>
                <a:off x="1108900" y="4181219"/>
                <a:ext cx="940635" cy="940635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4500" dirty="0">
                  <a:solidFill>
                    <a:schemeClr val="bg1"/>
                  </a:solidFill>
                  <a:latin typeface="Montserrat SemiBold" panose="00000700000000000000" pitchFamily="2" charset="0"/>
                </a:endParaRPr>
              </a:p>
            </p:txBody>
          </p:sp>
        </p:grp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A09CE53F-8552-78A7-6D1D-58259D00416B}"/>
                </a:ext>
              </a:extLst>
            </p:cNvPr>
            <p:cNvGrpSpPr/>
            <p:nvPr/>
          </p:nvGrpSpPr>
          <p:grpSpPr>
            <a:xfrm>
              <a:off x="7190797" y="2251223"/>
              <a:ext cx="815190" cy="815188"/>
              <a:chOff x="912987" y="3985306"/>
              <a:chExt cx="1332461" cy="1332461"/>
            </a:xfrm>
          </p:grpSpPr>
          <p:sp>
            <p:nvSpPr>
              <p:cNvPr id="35" name="Oval 34">
                <a:extLst>
                  <a:ext uri="{FF2B5EF4-FFF2-40B4-BE49-F238E27FC236}">
                    <a16:creationId xmlns:a16="http://schemas.microsoft.com/office/drawing/2014/main" id="{91FB4106-4140-2AEA-4E2A-FD95A415F253}"/>
                  </a:ext>
                </a:extLst>
              </p:cNvPr>
              <p:cNvSpPr/>
              <p:nvPr/>
            </p:nvSpPr>
            <p:spPr>
              <a:xfrm>
                <a:off x="912987" y="3985306"/>
                <a:ext cx="1332461" cy="1332461"/>
              </a:xfrm>
              <a:prstGeom prst="ellipse">
                <a:avLst/>
              </a:prstGeom>
              <a:solidFill>
                <a:schemeClr val="accent2">
                  <a:alpha val="2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876">
                  <a:solidFill>
                    <a:schemeClr val="bg1"/>
                  </a:solidFill>
                  <a:latin typeface="Montserrat Light" panose="00000400000000000000" pitchFamily="50" charset="0"/>
                </a:endParaRPr>
              </a:p>
            </p:txBody>
          </p:sp>
          <p:sp>
            <p:nvSpPr>
              <p:cNvPr id="36" name="Oval 35">
                <a:extLst>
                  <a:ext uri="{FF2B5EF4-FFF2-40B4-BE49-F238E27FC236}">
                    <a16:creationId xmlns:a16="http://schemas.microsoft.com/office/drawing/2014/main" id="{453D3954-BE0C-F3B5-7C0C-A45DF93100A8}"/>
                  </a:ext>
                </a:extLst>
              </p:cNvPr>
              <p:cNvSpPr/>
              <p:nvPr/>
            </p:nvSpPr>
            <p:spPr>
              <a:xfrm>
                <a:off x="1008481" y="4080800"/>
                <a:ext cx="1141474" cy="1141474"/>
              </a:xfrm>
              <a:prstGeom prst="ellipse">
                <a:avLst/>
              </a:prstGeom>
              <a:solidFill>
                <a:schemeClr val="accent2">
                  <a:alpha val="35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876">
                  <a:solidFill>
                    <a:schemeClr val="bg1"/>
                  </a:solidFill>
                  <a:latin typeface="Montserrat Light" panose="00000400000000000000" pitchFamily="50" charset="0"/>
                </a:endParaRPr>
              </a:p>
            </p:txBody>
          </p:sp>
          <p:sp>
            <p:nvSpPr>
              <p:cNvPr id="37" name="Oval 36">
                <a:extLst>
                  <a:ext uri="{FF2B5EF4-FFF2-40B4-BE49-F238E27FC236}">
                    <a16:creationId xmlns:a16="http://schemas.microsoft.com/office/drawing/2014/main" id="{04567DD9-A80F-0C48-725B-5AA6279908AE}"/>
                  </a:ext>
                </a:extLst>
              </p:cNvPr>
              <p:cNvSpPr/>
              <p:nvPr/>
            </p:nvSpPr>
            <p:spPr>
              <a:xfrm>
                <a:off x="1108900" y="4181219"/>
                <a:ext cx="940635" cy="940635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4500" dirty="0">
                  <a:solidFill>
                    <a:schemeClr val="bg1"/>
                  </a:solidFill>
                  <a:latin typeface="Montserrat SemiBold" panose="00000700000000000000" pitchFamily="2" charset="0"/>
                </a:endParaRPr>
              </a:p>
            </p:txBody>
          </p:sp>
        </p:grp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6B26064B-C588-2E8D-6B69-41E8AF46A88B}"/>
                </a:ext>
              </a:extLst>
            </p:cNvPr>
            <p:cNvSpPr/>
            <p:nvPr/>
          </p:nvSpPr>
          <p:spPr>
            <a:xfrm>
              <a:off x="4091150" y="5412073"/>
              <a:ext cx="815190" cy="815188"/>
            </a:xfrm>
            <a:prstGeom prst="ellipse">
              <a:avLst/>
            </a:prstGeom>
            <a:solidFill>
              <a:schemeClr val="accent4">
                <a:alpha val="2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76">
                <a:solidFill>
                  <a:schemeClr val="bg1"/>
                </a:solidFill>
                <a:latin typeface="Montserrat Light" panose="00000400000000000000" pitchFamily="50" charset="0"/>
              </a:endParaRP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4A547A12-0BE0-539B-4362-C151D2825537}"/>
                </a:ext>
              </a:extLst>
            </p:cNvPr>
            <p:cNvSpPr/>
            <p:nvPr/>
          </p:nvSpPr>
          <p:spPr>
            <a:xfrm>
              <a:off x="4149572" y="5470495"/>
              <a:ext cx="698346" cy="698344"/>
            </a:xfrm>
            <a:prstGeom prst="ellipse">
              <a:avLst/>
            </a:prstGeom>
            <a:solidFill>
              <a:schemeClr val="accent4">
                <a:alpha val="3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76">
                <a:solidFill>
                  <a:schemeClr val="bg1"/>
                </a:solidFill>
                <a:latin typeface="Montserrat Light" panose="00000400000000000000" pitchFamily="50" charset="0"/>
              </a:endParaRPr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7F707394-318D-C0B4-F68F-31D92CA9D988}"/>
                </a:ext>
              </a:extLst>
            </p:cNvPr>
            <p:cNvSpPr/>
            <p:nvPr/>
          </p:nvSpPr>
          <p:spPr>
            <a:xfrm>
              <a:off x="4211008" y="5531931"/>
              <a:ext cx="575474" cy="575472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500" dirty="0">
                <a:solidFill>
                  <a:schemeClr val="bg1"/>
                </a:solidFill>
                <a:latin typeface="Montserrat SemiBold" panose="00000700000000000000" pitchFamily="2" charset="0"/>
              </a:endParaRPr>
            </a:p>
          </p:txBody>
        </p: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BE8D09D9-A616-949B-968A-CEBCB992A369}"/>
                </a:ext>
              </a:extLst>
            </p:cNvPr>
            <p:cNvGrpSpPr/>
            <p:nvPr/>
          </p:nvGrpSpPr>
          <p:grpSpPr>
            <a:xfrm>
              <a:off x="7215028" y="5418849"/>
              <a:ext cx="815190" cy="815188"/>
              <a:chOff x="912987" y="3985306"/>
              <a:chExt cx="1332461" cy="1332461"/>
            </a:xfrm>
          </p:grpSpPr>
          <p:sp>
            <p:nvSpPr>
              <p:cNvPr id="32" name="Oval 31">
                <a:extLst>
                  <a:ext uri="{FF2B5EF4-FFF2-40B4-BE49-F238E27FC236}">
                    <a16:creationId xmlns:a16="http://schemas.microsoft.com/office/drawing/2014/main" id="{6039F4E7-E0F2-4D0F-88D2-E607BB077F61}"/>
                  </a:ext>
                </a:extLst>
              </p:cNvPr>
              <p:cNvSpPr/>
              <p:nvPr/>
            </p:nvSpPr>
            <p:spPr>
              <a:xfrm>
                <a:off x="912987" y="3985306"/>
                <a:ext cx="1332461" cy="1332461"/>
              </a:xfrm>
              <a:prstGeom prst="ellipse">
                <a:avLst/>
              </a:prstGeom>
              <a:solidFill>
                <a:schemeClr val="accent3">
                  <a:alpha val="2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876">
                  <a:solidFill>
                    <a:schemeClr val="bg1"/>
                  </a:solidFill>
                  <a:latin typeface="Montserrat Light" panose="00000400000000000000" pitchFamily="50" charset="0"/>
                </a:endParaRPr>
              </a:p>
            </p:txBody>
          </p:sp>
          <p:sp>
            <p:nvSpPr>
              <p:cNvPr id="33" name="Oval 32">
                <a:extLst>
                  <a:ext uri="{FF2B5EF4-FFF2-40B4-BE49-F238E27FC236}">
                    <a16:creationId xmlns:a16="http://schemas.microsoft.com/office/drawing/2014/main" id="{FD4EAD60-725B-E10C-DDA0-1A3F8C666DD8}"/>
                  </a:ext>
                </a:extLst>
              </p:cNvPr>
              <p:cNvSpPr/>
              <p:nvPr/>
            </p:nvSpPr>
            <p:spPr>
              <a:xfrm>
                <a:off x="1008481" y="4080800"/>
                <a:ext cx="1141474" cy="1141474"/>
              </a:xfrm>
              <a:prstGeom prst="ellipse">
                <a:avLst/>
              </a:prstGeom>
              <a:solidFill>
                <a:schemeClr val="accent3">
                  <a:alpha val="35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876">
                  <a:solidFill>
                    <a:schemeClr val="bg1"/>
                  </a:solidFill>
                  <a:latin typeface="Montserrat Light" panose="00000400000000000000" pitchFamily="50" charset="0"/>
                </a:endParaRPr>
              </a:p>
            </p:txBody>
          </p:sp>
          <p:sp>
            <p:nvSpPr>
              <p:cNvPr id="34" name="Oval 33">
                <a:extLst>
                  <a:ext uri="{FF2B5EF4-FFF2-40B4-BE49-F238E27FC236}">
                    <a16:creationId xmlns:a16="http://schemas.microsoft.com/office/drawing/2014/main" id="{53608282-CB51-3476-CE0B-8733D2BB6B92}"/>
                  </a:ext>
                </a:extLst>
              </p:cNvPr>
              <p:cNvSpPr/>
              <p:nvPr/>
            </p:nvSpPr>
            <p:spPr>
              <a:xfrm>
                <a:off x="1108900" y="4181219"/>
                <a:ext cx="940635" cy="940635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4500" dirty="0">
                  <a:solidFill>
                    <a:schemeClr val="bg1"/>
                  </a:solidFill>
                  <a:latin typeface="Montserrat SemiBold" panose="00000700000000000000" pitchFamily="2" charset="0"/>
                </a:endParaRPr>
              </a:p>
            </p:txBody>
          </p:sp>
        </p:grpSp>
        <p:sp>
          <p:nvSpPr>
            <p:cNvPr id="27" name="Star: 5 Points 26">
              <a:extLst>
                <a:ext uri="{FF2B5EF4-FFF2-40B4-BE49-F238E27FC236}">
                  <a16:creationId xmlns:a16="http://schemas.microsoft.com/office/drawing/2014/main" id="{22A4909E-6EAB-8C31-25D0-86D57E9E7FA7}"/>
                </a:ext>
              </a:extLst>
            </p:cNvPr>
            <p:cNvSpPr/>
            <p:nvPr/>
          </p:nvSpPr>
          <p:spPr>
            <a:xfrm>
              <a:off x="4407476" y="2509127"/>
              <a:ext cx="299380" cy="299380"/>
            </a:xfrm>
            <a:prstGeom prst="star5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Star: 5 Points 28">
              <a:extLst>
                <a:ext uri="{FF2B5EF4-FFF2-40B4-BE49-F238E27FC236}">
                  <a16:creationId xmlns:a16="http://schemas.microsoft.com/office/drawing/2014/main" id="{6FDCF056-28B2-0C59-B616-69BEC8871218}"/>
                </a:ext>
              </a:extLst>
            </p:cNvPr>
            <p:cNvSpPr/>
            <p:nvPr/>
          </p:nvSpPr>
          <p:spPr>
            <a:xfrm>
              <a:off x="7448702" y="2509127"/>
              <a:ext cx="299380" cy="299380"/>
            </a:xfrm>
            <a:prstGeom prst="star5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Star: 5 Points 29">
              <a:extLst>
                <a:ext uri="{FF2B5EF4-FFF2-40B4-BE49-F238E27FC236}">
                  <a16:creationId xmlns:a16="http://schemas.microsoft.com/office/drawing/2014/main" id="{5912C2ED-587A-2FC9-F334-052DDE72EF4B}"/>
                </a:ext>
              </a:extLst>
            </p:cNvPr>
            <p:cNvSpPr/>
            <p:nvPr/>
          </p:nvSpPr>
          <p:spPr>
            <a:xfrm>
              <a:off x="7472933" y="5676753"/>
              <a:ext cx="299380" cy="299380"/>
            </a:xfrm>
            <a:prstGeom prst="star5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Star: 5 Points 30">
              <a:extLst>
                <a:ext uri="{FF2B5EF4-FFF2-40B4-BE49-F238E27FC236}">
                  <a16:creationId xmlns:a16="http://schemas.microsoft.com/office/drawing/2014/main" id="{136D3A7A-0AC4-8193-17DA-A957DB8CFF82}"/>
                </a:ext>
              </a:extLst>
            </p:cNvPr>
            <p:cNvSpPr/>
            <p:nvPr/>
          </p:nvSpPr>
          <p:spPr>
            <a:xfrm>
              <a:off x="4349055" y="5669977"/>
              <a:ext cx="299380" cy="299380"/>
            </a:xfrm>
            <a:prstGeom prst="star5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919624835"/>
      </p:ext>
    </p:extLst>
  </p:cSld>
  <p:clrMapOvr>
    <a:masterClrMapping/>
  </p:clrMapOvr>
</p:sld>
</file>

<file path=ppt/slides/slide1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C26612-A8B2-A04F-FBEA-78D555B82C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68E4323-88ED-6AFA-36A5-2FFAF966E5E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68E4323-88ED-6AFA-36A5-2FFAF966E5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BB9C156-EF99-F670-413B-064D142131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ircular layou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574153A-91FD-A158-C9B2-B7EBC20A84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29</a:t>
            </a:fld>
            <a:endParaRPr lang="en-US" dirty="0"/>
          </a:p>
        </p:txBody>
      </p:sp>
      <p:pic>
        <p:nvPicPr>
          <p:cNvPr id="6" name="Graphic 2" descr="Arrow: Slight curve">
            <a:extLst>
              <a:ext uri="{FF2B5EF4-FFF2-40B4-BE49-F238E27FC236}">
                <a16:creationId xmlns:a16="http://schemas.microsoft.com/office/drawing/2014/main" id="{3C142EAB-3C8F-A2C5-DB34-9782B8D45D8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1787924">
            <a:off x="4203488" y="1982916"/>
            <a:ext cx="1172482" cy="1172482"/>
          </a:xfrm>
          <a:prstGeom prst="rect">
            <a:avLst/>
          </a:prstGeom>
        </p:spPr>
      </p:pic>
      <p:pic>
        <p:nvPicPr>
          <p:cNvPr id="7" name="Graphic 31" descr="Arrow: Slight curve">
            <a:extLst>
              <a:ext uri="{FF2B5EF4-FFF2-40B4-BE49-F238E27FC236}">
                <a16:creationId xmlns:a16="http://schemas.microsoft.com/office/drawing/2014/main" id="{A51C4C79-EAE9-AE11-A729-B1CEE957771E}"/>
              </a:ext>
            </a:extLst>
          </p:cNvPr>
          <p:cNvPicPr>
            <a:picLocks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19812076" flipH="1">
            <a:off x="6808162" y="1901961"/>
            <a:ext cx="1172482" cy="1334393"/>
          </a:xfrm>
          <a:prstGeom prst="rect">
            <a:avLst/>
          </a:prstGeom>
        </p:spPr>
      </p:pic>
      <p:pic>
        <p:nvPicPr>
          <p:cNvPr id="8" name="Graphic 32" descr="Arrow: Slight curve">
            <a:extLst>
              <a:ext uri="{FF2B5EF4-FFF2-40B4-BE49-F238E27FC236}">
                <a16:creationId xmlns:a16="http://schemas.microsoft.com/office/drawing/2014/main" id="{9C2CC5EC-760A-E22F-213B-D82902658F4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19812076" flipV="1">
            <a:off x="4203488" y="4301695"/>
            <a:ext cx="1172482" cy="1172482"/>
          </a:xfrm>
          <a:prstGeom prst="rect">
            <a:avLst/>
          </a:prstGeom>
        </p:spPr>
      </p:pic>
      <p:pic>
        <p:nvPicPr>
          <p:cNvPr id="9" name="Graphic 33" descr="Arrow: Slight curve">
            <a:extLst>
              <a:ext uri="{FF2B5EF4-FFF2-40B4-BE49-F238E27FC236}">
                <a16:creationId xmlns:a16="http://schemas.microsoft.com/office/drawing/2014/main" id="{01CCE4D6-96DD-C355-ADC0-C13E076B4A4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1787924" flipH="1" flipV="1">
            <a:off x="6808162" y="4301695"/>
            <a:ext cx="1172482" cy="1172482"/>
          </a:xfrm>
          <a:prstGeom prst="rect">
            <a:avLst/>
          </a:prstGeom>
        </p:spPr>
      </p:pic>
      <p:pic>
        <p:nvPicPr>
          <p:cNvPr id="10" name="Graphic 8" descr="Arrow: Straight">
            <a:extLst>
              <a:ext uri="{FF2B5EF4-FFF2-40B4-BE49-F238E27FC236}">
                <a16:creationId xmlns:a16="http://schemas.microsoft.com/office/drawing/2014/main" id="{71EC178E-636F-F13E-4522-D94F67DE0F25}"/>
              </a:ext>
            </a:extLst>
          </p:cNvPr>
          <p:cNvPicPr>
            <a:picLocks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183988" y="2991111"/>
            <a:ext cx="1172482" cy="1334393"/>
          </a:xfrm>
          <a:prstGeom prst="rect">
            <a:avLst/>
          </a:prstGeom>
        </p:spPr>
      </p:pic>
      <p:pic>
        <p:nvPicPr>
          <p:cNvPr id="11" name="Graphic 37" descr="Arrow: Straight">
            <a:extLst>
              <a:ext uri="{FF2B5EF4-FFF2-40B4-BE49-F238E27FC236}">
                <a16:creationId xmlns:a16="http://schemas.microsoft.com/office/drawing/2014/main" id="{99E3B736-B4E3-9EEB-B28A-4F23BC9407BA}"/>
              </a:ext>
            </a:extLst>
          </p:cNvPr>
          <p:cNvPicPr>
            <a:picLocks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flipH="1">
            <a:off x="3827661" y="2991111"/>
            <a:ext cx="1172482" cy="1334393"/>
          </a:xfrm>
          <a:prstGeom prst="rect">
            <a:avLst/>
          </a:prstGeom>
        </p:spPr>
      </p:pic>
      <p:sp>
        <p:nvSpPr>
          <p:cNvPr id="12" name="Oval 11">
            <a:extLst>
              <a:ext uri="{FF2B5EF4-FFF2-40B4-BE49-F238E27FC236}">
                <a16:creationId xmlns:a16="http://schemas.microsoft.com/office/drawing/2014/main" id="{E19374AA-A4E1-788F-F410-08EC8258360F}"/>
              </a:ext>
            </a:extLst>
          </p:cNvPr>
          <p:cNvSpPr/>
          <p:nvPr/>
        </p:nvSpPr>
        <p:spPr>
          <a:xfrm>
            <a:off x="5113815" y="2614187"/>
            <a:ext cx="1956502" cy="1956498"/>
          </a:xfrm>
          <a:prstGeom prst="ellipse">
            <a:avLst/>
          </a:prstGeom>
          <a:solidFill>
            <a:schemeClr val="bg1"/>
          </a:solidFill>
          <a:ln w="171450">
            <a:noFill/>
          </a:ln>
          <a:effectLst>
            <a:outerShdw blurRad="139700" dist="165100" dir="5520000" algn="tl" rotWithShape="0">
              <a:prstClr val="black">
                <a:alpha val="2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2876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F60BDA1F-3174-3A7C-E2C7-497FB1A8CE67}"/>
              </a:ext>
            </a:extLst>
          </p:cNvPr>
          <p:cNvSpPr/>
          <p:nvPr/>
        </p:nvSpPr>
        <p:spPr>
          <a:xfrm>
            <a:off x="5420054" y="2920425"/>
            <a:ext cx="1344024" cy="1344023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>
            <a:outerShdw blurRad="76200" dist="165100" dir="5400000" sx="95000" sy="95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ext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3F119A99-5C74-3116-DA1A-F370E7CA0AE5}"/>
              </a:ext>
            </a:extLst>
          </p:cNvPr>
          <p:cNvSpPr/>
          <p:nvPr/>
        </p:nvSpPr>
        <p:spPr>
          <a:xfrm>
            <a:off x="3061758" y="3280160"/>
            <a:ext cx="720490" cy="720488"/>
          </a:xfrm>
          <a:prstGeom prst="ellipse">
            <a:avLst/>
          </a:prstGeom>
          <a:solidFill>
            <a:schemeClr val="accent1">
              <a:alpha val="2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76">
              <a:solidFill>
                <a:schemeClr val="bg1"/>
              </a:solidFill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6318F1A7-58F7-315E-1EA5-CA6D4DCEDCE1}"/>
              </a:ext>
            </a:extLst>
          </p:cNvPr>
          <p:cNvSpPr/>
          <p:nvPr/>
        </p:nvSpPr>
        <p:spPr>
          <a:xfrm>
            <a:off x="3113394" y="3331795"/>
            <a:ext cx="617219" cy="617218"/>
          </a:xfrm>
          <a:prstGeom prst="ellipse">
            <a:avLst/>
          </a:prstGeom>
          <a:solidFill>
            <a:schemeClr val="accent1">
              <a:alpha val="3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76">
              <a:solidFill>
                <a:schemeClr val="bg1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9FAA4A48-A2F1-7757-CE40-DD2C0CE8E826}"/>
              </a:ext>
            </a:extLst>
          </p:cNvPr>
          <p:cNvSpPr/>
          <p:nvPr/>
        </p:nvSpPr>
        <p:spPr>
          <a:xfrm>
            <a:off x="3167693" y="3386094"/>
            <a:ext cx="508621" cy="508620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0" dirty="0">
              <a:solidFill>
                <a:schemeClr val="bg1"/>
              </a:solidFill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38616452-C08D-9210-DE2F-8C00B6E0F093}"/>
              </a:ext>
            </a:extLst>
          </p:cNvPr>
          <p:cNvSpPr/>
          <p:nvPr/>
        </p:nvSpPr>
        <p:spPr>
          <a:xfrm>
            <a:off x="3693412" y="1604374"/>
            <a:ext cx="720490" cy="720488"/>
          </a:xfrm>
          <a:prstGeom prst="ellipse">
            <a:avLst/>
          </a:prstGeom>
          <a:solidFill>
            <a:schemeClr val="accent2">
              <a:alpha val="2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76">
              <a:solidFill>
                <a:schemeClr val="bg1"/>
              </a:solidFill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A787C406-0CD1-8E23-1857-856357CFB7A5}"/>
              </a:ext>
            </a:extLst>
          </p:cNvPr>
          <p:cNvSpPr/>
          <p:nvPr/>
        </p:nvSpPr>
        <p:spPr>
          <a:xfrm>
            <a:off x="3745048" y="1656009"/>
            <a:ext cx="617219" cy="617218"/>
          </a:xfrm>
          <a:prstGeom prst="ellipse">
            <a:avLst/>
          </a:prstGeom>
          <a:solidFill>
            <a:schemeClr val="accent2">
              <a:alpha val="3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76">
              <a:solidFill>
                <a:schemeClr val="bg1"/>
              </a:solidFill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36C7B343-1449-7729-4147-F0FFBEA9CF1B}"/>
              </a:ext>
            </a:extLst>
          </p:cNvPr>
          <p:cNvSpPr/>
          <p:nvPr/>
        </p:nvSpPr>
        <p:spPr>
          <a:xfrm>
            <a:off x="3799347" y="1710308"/>
            <a:ext cx="508621" cy="50862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0" dirty="0">
              <a:solidFill>
                <a:schemeClr val="bg1"/>
              </a:solidFill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88FBD7E9-22C6-F4D8-714B-5A21492387B0}"/>
              </a:ext>
            </a:extLst>
          </p:cNvPr>
          <p:cNvSpPr/>
          <p:nvPr/>
        </p:nvSpPr>
        <p:spPr>
          <a:xfrm>
            <a:off x="7716936" y="1589222"/>
            <a:ext cx="720490" cy="720488"/>
          </a:xfrm>
          <a:prstGeom prst="ellipse">
            <a:avLst/>
          </a:prstGeom>
          <a:solidFill>
            <a:schemeClr val="accent4">
              <a:alpha val="2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76">
              <a:solidFill>
                <a:schemeClr val="bg1"/>
              </a:solidFill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D51B3518-E472-4167-1EC3-2A43310E44D4}"/>
              </a:ext>
            </a:extLst>
          </p:cNvPr>
          <p:cNvSpPr/>
          <p:nvPr/>
        </p:nvSpPr>
        <p:spPr>
          <a:xfrm>
            <a:off x="7768572" y="1640857"/>
            <a:ext cx="617219" cy="617218"/>
          </a:xfrm>
          <a:prstGeom prst="ellipse">
            <a:avLst/>
          </a:prstGeom>
          <a:solidFill>
            <a:schemeClr val="accent4">
              <a:alpha val="3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76">
              <a:solidFill>
                <a:schemeClr val="bg1"/>
              </a:solidFill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397559E7-7EB5-DC2B-09B8-7315A6912D0C}"/>
              </a:ext>
            </a:extLst>
          </p:cNvPr>
          <p:cNvSpPr/>
          <p:nvPr/>
        </p:nvSpPr>
        <p:spPr>
          <a:xfrm>
            <a:off x="7822871" y="1695156"/>
            <a:ext cx="508621" cy="508620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0" dirty="0">
              <a:solidFill>
                <a:schemeClr val="bg1"/>
              </a:solidFill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7DA6749E-B410-65BD-4582-0A1CCCE9280D}"/>
              </a:ext>
            </a:extLst>
          </p:cNvPr>
          <p:cNvGrpSpPr/>
          <p:nvPr/>
        </p:nvGrpSpPr>
        <p:grpSpPr>
          <a:xfrm>
            <a:off x="8385791" y="3280160"/>
            <a:ext cx="720490" cy="720488"/>
            <a:chOff x="912987" y="3985306"/>
            <a:chExt cx="1332461" cy="1332461"/>
          </a:xfrm>
        </p:grpSpPr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4C0DF650-94EE-440B-11C2-44C4C1E3BB1B}"/>
                </a:ext>
              </a:extLst>
            </p:cNvPr>
            <p:cNvSpPr/>
            <p:nvPr/>
          </p:nvSpPr>
          <p:spPr>
            <a:xfrm>
              <a:off x="912987" y="3985306"/>
              <a:ext cx="1332461" cy="1332461"/>
            </a:xfrm>
            <a:prstGeom prst="ellipse">
              <a:avLst/>
            </a:prstGeom>
            <a:solidFill>
              <a:schemeClr val="accent5">
                <a:alpha val="2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76">
                <a:solidFill>
                  <a:schemeClr val="bg1"/>
                </a:solidFill>
              </a:endParaRPr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7DA47AB4-85B9-2B56-A770-786FB23F3BDA}"/>
                </a:ext>
              </a:extLst>
            </p:cNvPr>
            <p:cNvSpPr/>
            <p:nvPr/>
          </p:nvSpPr>
          <p:spPr>
            <a:xfrm>
              <a:off x="1008481" y="4080800"/>
              <a:ext cx="1141474" cy="1141474"/>
            </a:xfrm>
            <a:prstGeom prst="ellipse">
              <a:avLst/>
            </a:prstGeom>
            <a:solidFill>
              <a:schemeClr val="accent5">
                <a:alpha val="3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76">
                <a:solidFill>
                  <a:schemeClr val="bg1"/>
                </a:solidFill>
              </a:endParaRPr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DF1E55C0-6CF1-6C5D-DA54-3EFF6C3B0937}"/>
                </a:ext>
              </a:extLst>
            </p:cNvPr>
            <p:cNvSpPr/>
            <p:nvPr/>
          </p:nvSpPr>
          <p:spPr>
            <a:xfrm>
              <a:off x="1108900" y="4181219"/>
              <a:ext cx="940635" cy="940635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500" dirty="0">
                <a:solidFill>
                  <a:schemeClr val="bg1"/>
                </a:solidFill>
              </a:endParaRPr>
            </a:p>
          </p:txBody>
        </p:sp>
      </p:grpSp>
      <p:sp>
        <p:nvSpPr>
          <p:cNvPr id="24" name="Oval 23">
            <a:extLst>
              <a:ext uri="{FF2B5EF4-FFF2-40B4-BE49-F238E27FC236}">
                <a16:creationId xmlns:a16="http://schemas.microsoft.com/office/drawing/2014/main" id="{68201CF4-6D03-1565-503D-FD643E44A71C}"/>
              </a:ext>
            </a:extLst>
          </p:cNvPr>
          <p:cNvSpPr/>
          <p:nvPr/>
        </p:nvSpPr>
        <p:spPr>
          <a:xfrm>
            <a:off x="7716936" y="5110335"/>
            <a:ext cx="720490" cy="720488"/>
          </a:xfrm>
          <a:prstGeom prst="ellipse">
            <a:avLst/>
          </a:prstGeom>
          <a:solidFill>
            <a:schemeClr val="accent6">
              <a:alpha val="2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76">
              <a:solidFill>
                <a:schemeClr val="bg1"/>
              </a:solidFill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336C1C9D-A2DB-0267-170D-4587C2ABB158}"/>
              </a:ext>
            </a:extLst>
          </p:cNvPr>
          <p:cNvSpPr/>
          <p:nvPr/>
        </p:nvSpPr>
        <p:spPr>
          <a:xfrm>
            <a:off x="7768572" y="5161970"/>
            <a:ext cx="617219" cy="617218"/>
          </a:xfrm>
          <a:prstGeom prst="ellipse">
            <a:avLst/>
          </a:prstGeom>
          <a:solidFill>
            <a:schemeClr val="accent6">
              <a:alpha val="3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76">
              <a:solidFill>
                <a:schemeClr val="bg1"/>
              </a:solidFill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981FD3D8-3F03-9F1E-4179-7016FACEEEC1}"/>
              </a:ext>
            </a:extLst>
          </p:cNvPr>
          <p:cNvSpPr/>
          <p:nvPr/>
        </p:nvSpPr>
        <p:spPr>
          <a:xfrm>
            <a:off x="7822871" y="5216269"/>
            <a:ext cx="508621" cy="508620"/>
          </a:xfrm>
          <a:prstGeom prst="ellipse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0" dirty="0">
              <a:solidFill>
                <a:schemeClr val="bg1"/>
              </a:solidFill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0F7D2F14-7252-6F2C-0557-6B5CBEFFE37C}"/>
              </a:ext>
            </a:extLst>
          </p:cNvPr>
          <p:cNvSpPr/>
          <p:nvPr/>
        </p:nvSpPr>
        <p:spPr>
          <a:xfrm>
            <a:off x="3641777" y="5056113"/>
            <a:ext cx="720490" cy="720488"/>
          </a:xfrm>
          <a:prstGeom prst="ellipse">
            <a:avLst/>
          </a:prstGeom>
          <a:solidFill>
            <a:schemeClr val="accent3">
              <a:alpha val="2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76">
              <a:solidFill>
                <a:schemeClr val="bg1"/>
              </a:solidFill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A9A21789-9BF8-B280-ADE3-5E122C613336}"/>
              </a:ext>
            </a:extLst>
          </p:cNvPr>
          <p:cNvSpPr/>
          <p:nvPr/>
        </p:nvSpPr>
        <p:spPr>
          <a:xfrm>
            <a:off x="3693413" y="5107747"/>
            <a:ext cx="617219" cy="617218"/>
          </a:xfrm>
          <a:prstGeom prst="ellipse">
            <a:avLst/>
          </a:prstGeom>
          <a:solidFill>
            <a:schemeClr val="accent3">
              <a:alpha val="3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76">
              <a:solidFill>
                <a:schemeClr val="bg1"/>
              </a:solidFill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1E764564-E19E-133E-9B41-AD843CAFE7D4}"/>
              </a:ext>
            </a:extLst>
          </p:cNvPr>
          <p:cNvSpPr/>
          <p:nvPr/>
        </p:nvSpPr>
        <p:spPr>
          <a:xfrm>
            <a:off x="3747711" y="5162046"/>
            <a:ext cx="508621" cy="508620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0" dirty="0">
              <a:solidFill>
                <a:schemeClr val="bg1"/>
              </a:solidFill>
            </a:endParaRPr>
          </a:p>
        </p:txBody>
      </p:sp>
      <p:sp>
        <p:nvSpPr>
          <p:cNvPr id="30" name="Inhaltsplatzhalter 4">
            <a:extLst>
              <a:ext uri="{FF2B5EF4-FFF2-40B4-BE49-F238E27FC236}">
                <a16:creationId xmlns:a16="http://schemas.microsoft.com/office/drawing/2014/main" id="{B5AC3DD9-8C3E-E578-B66F-76B4DE3CCA34}"/>
              </a:ext>
            </a:extLst>
          </p:cNvPr>
          <p:cNvSpPr txBox="1">
            <a:spLocks/>
          </p:cNvSpPr>
          <p:nvPr/>
        </p:nvSpPr>
        <p:spPr>
          <a:xfrm>
            <a:off x="8680807" y="4686883"/>
            <a:ext cx="2010212" cy="92333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tx1"/>
                </a:solidFill>
                <a:latin typeface="+mn-lt"/>
              </a:rPr>
              <a:t>TITLE GOES HERE</a:t>
            </a:r>
            <a:br>
              <a:rPr lang="en-US" sz="1400" b="1" dirty="0">
                <a:solidFill>
                  <a:schemeClr val="tx1"/>
                </a:solidFill>
                <a:latin typeface="+mn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31" name="Inhaltsplatzhalter 4">
            <a:extLst>
              <a:ext uri="{FF2B5EF4-FFF2-40B4-BE49-F238E27FC236}">
                <a16:creationId xmlns:a16="http://schemas.microsoft.com/office/drawing/2014/main" id="{48664566-8B7F-BEC4-6869-CF70B0B06774}"/>
              </a:ext>
            </a:extLst>
          </p:cNvPr>
          <p:cNvSpPr txBox="1">
            <a:spLocks/>
          </p:cNvSpPr>
          <p:nvPr/>
        </p:nvSpPr>
        <p:spPr>
          <a:xfrm flipH="1">
            <a:off x="8680805" y="1745246"/>
            <a:ext cx="2031818" cy="92333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tx1"/>
                </a:solidFill>
                <a:latin typeface="+mn-lt"/>
              </a:rPr>
              <a:t>TITLE GOES HERE</a:t>
            </a:r>
            <a:br>
              <a:rPr lang="en-US" sz="1400" b="1" dirty="0">
                <a:solidFill>
                  <a:schemeClr val="tx1"/>
                </a:solidFill>
                <a:latin typeface="+mn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32" name="Inhaltsplatzhalter 4">
            <a:extLst>
              <a:ext uri="{FF2B5EF4-FFF2-40B4-BE49-F238E27FC236}">
                <a16:creationId xmlns:a16="http://schemas.microsoft.com/office/drawing/2014/main" id="{8EB317D2-C27D-CD34-68C5-CB4CB10DCA14}"/>
              </a:ext>
            </a:extLst>
          </p:cNvPr>
          <p:cNvSpPr txBox="1">
            <a:spLocks/>
          </p:cNvSpPr>
          <p:nvPr/>
        </p:nvSpPr>
        <p:spPr>
          <a:xfrm flipH="1">
            <a:off x="9451180" y="3216064"/>
            <a:ext cx="2044134" cy="92333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tx1"/>
                </a:solidFill>
                <a:latin typeface="+mn-lt"/>
              </a:rPr>
              <a:t>TITLE GOES HERE</a:t>
            </a:r>
            <a:br>
              <a:rPr lang="en-US" sz="1400" b="1" dirty="0">
                <a:solidFill>
                  <a:schemeClr val="tx1"/>
                </a:solidFill>
                <a:latin typeface="+mn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33" name="Inhaltsplatzhalter 4">
            <a:extLst>
              <a:ext uri="{FF2B5EF4-FFF2-40B4-BE49-F238E27FC236}">
                <a16:creationId xmlns:a16="http://schemas.microsoft.com/office/drawing/2014/main" id="{6A5A0373-EFF0-34AF-5FBA-C302091E42E0}"/>
              </a:ext>
            </a:extLst>
          </p:cNvPr>
          <p:cNvSpPr txBox="1">
            <a:spLocks/>
          </p:cNvSpPr>
          <p:nvPr/>
        </p:nvSpPr>
        <p:spPr>
          <a:xfrm flipH="1">
            <a:off x="1454084" y="4686883"/>
            <a:ext cx="1991453" cy="92333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tx1"/>
                </a:solidFill>
                <a:latin typeface="+mn-lt"/>
              </a:rPr>
              <a:t>TITLE GOES HERE</a:t>
            </a:r>
            <a:br>
              <a:rPr lang="en-US" sz="1400" b="1" dirty="0">
                <a:solidFill>
                  <a:schemeClr val="tx1"/>
                </a:solidFill>
                <a:latin typeface="+mn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34" name="Inhaltsplatzhalter 4">
            <a:extLst>
              <a:ext uri="{FF2B5EF4-FFF2-40B4-BE49-F238E27FC236}">
                <a16:creationId xmlns:a16="http://schemas.microsoft.com/office/drawing/2014/main" id="{E0CE586A-2536-C9AD-C218-2207516F7812}"/>
              </a:ext>
            </a:extLst>
          </p:cNvPr>
          <p:cNvSpPr txBox="1">
            <a:spLocks/>
          </p:cNvSpPr>
          <p:nvPr/>
        </p:nvSpPr>
        <p:spPr>
          <a:xfrm>
            <a:off x="1432681" y="1745246"/>
            <a:ext cx="2012857" cy="92333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tx1"/>
                </a:solidFill>
                <a:latin typeface="+mn-lt"/>
              </a:rPr>
              <a:t>TITLE GOES HERE</a:t>
            </a:r>
            <a:br>
              <a:rPr lang="en-US" sz="1400" b="1" dirty="0">
                <a:solidFill>
                  <a:schemeClr val="tx1"/>
                </a:solidFill>
                <a:latin typeface="+mn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35" name="Inhaltsplatzhalter 4">
            <a:extLst>
              <a:ext uri="{FF2B5EF4-FFF2-40B4-BE49-F238E27FC236}">
                <a16:creationId xmlns:a16="http://schemas.microsoft.com/office/drawing/2014/main" id="{3B16FB9C-8AD1-9C7D-B1F8-C9C3AE5D651A}"/>
              </a:ext>
            </a:extLst>
          </p:cNvPr>
          <p:cNvSpPr txBox="1">
            <a:spLocks/>
          </p:cNvSpPr>
          <p:nvPr/>
        </p:nvSpPr>
        <p:spPr>
          <a:xfrm>
            <a:off x="650106" y="3216064"/>
            <a:ext cx="2025058" cy="92333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tx1"/>
                </a:solidFill>
                <a:latin typeface="+mn-lt"/>
              </a:rPr>
              <a:t>TITLE GOES HERE</a:t>
            </a:r>
            <a:br>
              <a:rPr lang="en-US" sz="1400" b="1" dirty="0">
                <a:solidFill>
                  <a:schemeClr val="tx1"/>
                </a:solidFill>
                <a:latin typeface="+mn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36" name="Star: 5 Points 35">
            <a:extLst>
              <a:ext uri="{FF2B5EF4-FFF2-40B4-BE49-F238E27FC236}">
                <a16:creationId xmlns:a16="http://schemas.microsoft.com/office/drawing/2014/main" id="{9681CA6D-B534-B29B-6EE9-98863C4E6D37}"/>
              </a:ext>
            </a:extLst>
          </p:cNvPr>
          <p:cNvSpPr/>
          <p:nvPr/>
        </p:nvSpPr>
        <p:spPr>
          <a:xfrm>
            <a:off x="3272313" y="3490714"/>
            <a:ext cx="299380" cy="299380"/>
          </a:xfrm>
          <a:prstGeom prst="star5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Star: 5 Points 36">
            <a:extLst>
              <a:ext uri="{FF2B5EF4-FFF2-40B4-BE49-F238E27FC236}">
                <a16:creationId xmlns:a16="http://schemas.microsoft.com/office/drawing/2014/main" id="{471113BD-6FA6-1487-3B7C-16914CFE8907}"/>
              </a:ext>
            </a:extLst>
          </p:cNvPr>
          <p:cNvSpPr/>
          <p:nvPr/>
        </p:nvSpPr>
        <p:spPr>
          <a:xfrm>
            <a:off x="8596346" y="3490714"/>
            <a:ext cx="299380" cy="299380"/>
          </a:xfrm>
          <a:prstGeom prst="star5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Star: 5 Points 37">
            <a:extLst>
              <a:ext uri="{FF2B5EF4-FFF2-40B4-BE49-F238E27FC236}">
                <a16:creationId xmlns:a16="http://schemas.microsoft.com/office/drawing/2014/main" id="{B4A7D226-82EC-592F-2073-81156857374E}"/>
              </a:ext>
            </a:extLst>
          </p:cNvPr>
          <p:cNvSpPr/>
          <p:nvPr/>
        </p:nvSpPr>
        <p:spPr>
          <a:xfrm>
            <a:off x="7927491" y="5320889"/>
            <a:ext cx="299380" cy="299380"/>
          </a:xfrm>
          <a:prstGeom prst="star5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Star: 5 Points 38">
            <a:extLst>
              <a:ext uri="{FF2B5EF4-FFF2-40B4-BE49-F238E27FC236}">
                <a16:creationId xmlns:a16="http://schemas.microsoft.com/office/drawing/2014/main" id="{5A63E45F-3439-2DB5-6432-90D157806CEC}"/>
              </a:ext>
            </a:extLst>
          </p:cNvPr>
          <p:cNvSpPr/>
          <p:nvPr/>
        </p:nvSpPr>
        <p:spPr>
          <a:xfrm>
            <a:off x="7927491" y="1799776"/>
            <a:ext cx="299380" cy="299380"/>
          </a:xfrm>
          <a:prstGeom prst="star5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Star: 5 Points 39">
            <a:extLst>
              <a:ext uri="{FF2B5EF4-FFF2-40B4-BE49-F238E27FC236}">
                <a16:creationId xmlns:a16="http://schemas.microsoft.com/office/drawing/2014/main" id="{44040803-5D59-0A7D-48A9-C21F377A6453}"/>
              </a:ext>
            </a:extLst>
          </p:cNvPr>
          <p:cNvSpPr/>
          <p:nvPr/>
        </p:nvSpPr>
        <p:spPr>
          <a:xfrm>
            <a:off x="3903967" y="1814928"/>
            <a:ext cx="299380" cy="299380"/>
          </a:xfrm>
          <a:prstGeom prst="star5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Star: 5 Points 44">
            <a:extLst>
              <a:ext uri="{FF2B5EF4-FFF2-40B4-BE49-F238E27FC236}">
                <a16:creationId xmlns:a16="http://schemas.microsoft.com/office/drawing/2014/main" id="{75BD63C5-298A-818D-69F8-49F0878F155E}"/>
              </a:ext>
            </a:extLst>
          </p:cNvPr>
          <p:cNvSpPr/>
          <p:nvPr/>
        </p:nvSpPr>
        <p:spPr>
          <a:xfrm>
            <a:off x="3852331" y="5266666"/>
            <a:ext cx="299380" cy="299380"/>
          </a:xfrm>
          <a:prstGeom prst="star5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790757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05186E-E178-9361-DDF2-77FFA10C93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469EE1CF-0546-CA2C-DCBF-357F4B1871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8436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D8F2A60-5F13-AA1D-6808-0C368190DA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x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431DE11-1E84-7D8E-6257-167B043513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5" name="Google Shape;113;p11">
            <a:extLst>
              <a:ext uri="{FF2B5EF4-FFF2-40B4-BE49-F238E27FC236}">
                <a16:creationId xmlns:a16="http://schemas.microsoft.com/office/drawing/2014/main" id="{39D7621F-C6BA-906B-E0E6-FE742E5DDA19}"/>
              </a:ext>
            </a:extLst>
          </p:cNvPr>
          <p:cNvSpPr/>
          <p:nvPr/>
        </p:nvSpPr>
        <p:spPr>
          <a:xfrm>
            <a:off x="0" y="5952047"/>
            <a:ext cx="12193200" cy="45719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34275" tIns="17125" rIns="34275" bIns="17125" anchor="ctr" anchorCtr="0">
            <a:noAutofit/>
          </a:bodyPr>
          <a:lstStyle/>
          <a:p>
            <a:pPr algn="ctr"/>
            <a:endParaRPr sz="1200" dirty="0">
              <a:solidFill>
                <a:srgbClr val="FFFFFF"/>
              </a:solidFill>
              <a:ea typeface="Verdana"/>
              <a:cs typeface="Arial" panose="020B0604020202020204" pitchFamily="34" charset="0"/>
              <a:sym typeface="Verdana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940ADB5-B1BC-750B-579D-1FB75A8D2EFF}"/>
              </a:ext>
            </a:extLst>
          </p:cNvPr>
          <p:cNvCxnSpPr>
            <a:cxnSpLocks/>
          </p:cNvCxnSpPr>
          <p:nvPr/>
        </p:nvCxnSpPr>
        <p:spPr>
          <a:xfrm>
            <a:off x="-1200" y="1597660"/>
            <a:ext cx="121932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Oval 6">
            <a:extLst>
              <a:ext uri="{FF2B5EF4-FFF2-40B4-BE49-F238E27FC236}">
                <a16:creationId xmlns:a16="http://schemas.microsoft.com/office/drawing/2014/main" id="{1C61B7E9-E61E-4C71-F073-A709E7F7F04E}"/>
              </a:ext>
            </a:extLst>
          </p:cNvPr>
          <p:cNvSpPr/>
          <p:nvPr/>
        </p:nvSpPr>
        <p:spPr>
          <a:xfrm>
            <a:off x="487102" y="1299210"/>
            <a:ext cx="596900" cy="596900"/>
          </a:xfrm>
          <a:prstGeom prst="ellipse">
            <a:avLst/>
          </a:prstGeom>
          <a:solidFill>
            <a:schemeClr val="accent4"/>
          </a:solidFill>
          <a:ln w="12700">
            <a:solidFill>
              <a:srgbClr val="05BAD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 panose="020B0604020202020204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B5B0569-4397-E350-CA45-1A09D7EC7668}"/>
              </a:ext>
            </a:extLst>
          </p:cNvPr>
          <p:cNvCxnSpPr>
            <a:cxnSpLocks/>
          </p:cNvCxnSpPr>
          <p:nvPr/>
        </p:nvCxnSpPr>
        <p:spPr>
          <a:xfrm>
            <a:off x="785552" y="1896110"/>
            <a:ext cx="0" cy="4101656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F4ADFA4D-4D55-0AFE-E0C2-3A113D2FF649}"/>
              </a:ext>
            </a:extLst>
          </p:cNvPr>
          <p:cNvSpPr txBox="1"/>
          <p:nvPr/>
        </p:nvSpPr>
        <p:spPr>
          <a:xfrm>
            <a:off x="1084001" y="1896110"/>
            <a:ext cx="10800000" cy="447851"/>
          </a:xfrm>
          <a:prstGeom prst="rect">
            <a:avLst/>
          </a:prstGeom>
          <a:noFill/>
        </p:spPr>
        <p:txBody>
          <a:bodyPr wrap="square" lIns="90000" tIns="90000" rIns="90000" bIns="79200" rtlCol="0" anchor="ctr">
            <a:noAutofit/>
          </a:bodyPr>
          <a:lstStyle/>
          <a:p>
            <a:pPr>
              <a:spcBef>
                <a:spcPts val="400"/>
              </a:spcBef>
              <a:spcAft>
                <a:spcPts val="400"/>
              </a:spcAft>
            </a:pPr>
            <a:r>
              <a:rPr lang="en-US" sz="1800" dirty="0"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982CC79-ABAE-2E72-8149-E52E4341897B}"/>
              </a:ext>
            </a:extLst>
          </p:cNvPr>
          <p:cNvSpPr txBox="1"/>
          <p:nvPr/>
        </p:nvSpPr>
        <p:spPr>
          <a:xfrm>
            <a:off x="1084001" y="2768975"/>
            <a:ext cx="10800000" cy="447851"/>
          </a:xfrm>
          <a:prstGeom prst="rect">
            <a:avLst/>
          </a:prstGeom>
          <a:noFill/>
        </p:spPr>
        <p:txBody>
          <a:bodyPr wrap="square" lIns="90000" tIns="90000" rIns="90000" bIns="79200" rtlCol="0" anchor="ctr">
            <a:noAutofit/>
          </a:bodyPr>
          <a:lstStyle/>
          <a:p>
            <a:pPr>
              <a:spcBef>
                <a:spcPts val="400"/>
              </a:spcBef>
              <a:spcAft>
                <a:spcPts val="400"/>
              </a:spcAft>
            </a:pPr>
            <a:r>
              <a:rPr lang="en-US" sz="1800" dirty="0"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3A0F380-E531-4389-E04D-EC4F104C8187}"/>
              </a:ext>
            </a:extLst>
          </p:cNvPr>
          <p:cNvSpPr txBox="1"/>
          <p:nvPr/>
        </p:nvSpPr>
        <p:spPr>
          <a:xfrm>
            <a:off x="1084001" y="3641840"/>
            <a:ext cx="10800000" cy="447851"/>
          </a:xfrm>
          <a:prstGeom prst="rect">
            <a:avLst/>
          </a:prstGeom>
          <a:noFill/>
        </p:spPr>
        <p:txBody>
          <a:bodyPr wrap="square" lIns="90000" tIns="90000" rIns="90000" bIns="79200" rtlCol="0" anchor="ctr">
            <a:noAutofit/>
          </a:bodyPr>
          <a:lstStyle/>
          <a:p>
            <a:pPr>
              <a:spcBef>
                <a:spcPts val="400"/>
              </a:spcBef>
              <a:spcAft>
                <a:spcPts val="400"/>
              </a:spcAft>
            </a:pPr>
            <a:r>
              <a:rPr lang="en-US" sz="1800" dirty="0"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23D7CBF-82DE-EABC-D11F-EFFB2B79D9B5}"/>
              </a:ext>
            </a:extLst>
          </p:cNvPr>
          <p:cNvSpPr txBox="1"/>
          <p:nvPr/>
        </p:nvSpPr>
        <p:spPr>
          <a:xfrm>
            <a:off x="1084001" y="4514705"/>
            <a:ext cx="10800000" cy="447851"/>
          </a:xfrm>
          <a:prstGeom prst="rect">
            <a:avLst/>
          </a:prstGeom>
          <a:noFill/>
        </p:spPr>
        <p:txBody>
          <a:bodyPr wrap="square" lIns="90000" tIns="90000" rIns="90000" bIns="79200" rtlCol="0" anchor="ctr">
            <a:noAutofit/>
          </a:bodyPr>
          <a:lstStyle/>
          <a:p>
            <a:pPr>
              <a:spcBef>
                <a:spcPts val="400"/>
              </a:spcBef>
              <a:spcAft>
                <a:spcPts val="400"/>
              </a:spcAft>
            </a:pPr>
            <a:r>
              <a:rPr lang="en-US" sz="1800" dirty="0"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4BDF4D1-7D54-F5BE-46BC-137D3857591B}"/>
              </a:ext>
            </a:extLst>
          </p:cNvPr>
          <p:cNvSpPr txBox="1"/>
          <p:nvPr/>
        </p:nvSpPr>
        <p:spPr>
          <a:xfrm>
            <a:off x="1084001" y="5387572"/>
            <a:ext cx="10800000" cy="447851"/>
          </a:xfrm>
          <a:prstGeom prst="rect">
            <a:avLst/>
          </a:prstGeom>
          <a:noFill/>
        </p:spPr>
        <p:txBody>
          <a:bodyPr wrap="square" lIns="90000" tIns="90000" rIns="90000" bIns="79200" rtlCol="0" anchor="ctr">
            <a:noAutofit/>
          </a:bodyPr>
          <a:lstStyle/>
          <a:p>
            <a:pPr>
              <a:spcBef>
                <a:spcPts val="400"/>
              </a:spcBef>
              <a:spcAft>
                <a:spcPts val="400"/>
              </a:spcAft>
            </a:pPr>
            <a:r>
              <a:rPr lang="en-US" sz="1800" dirty="0">
                <a:cs typeface="Arial" panose="020B0604020202020204" pitchFamily="34" charset="0"/>
              </a:rPr>
              <a:t>Insert Text Here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7572FAD5-80A4-13D5-83A5-A25AA9DB3DE9}"/>
              </a:ext>
            </a:extLst>
          </p:cNvPr>
          <p:cNvGrpSpPr/>
          <p:nvPr/>
        </p:nvGrpSpPr>
        <p:grpSpPr>
          <a:xfrm>
            <a:off x="792479" y="2556468"/>
            <a:ext cx="11376000" cy="2618595"/>
            <a:chOff x="1084001" y="2556468"/>
            <a:chExt cx="10800000" cy="2618595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8F0454D1-9727-2694-FFE1-65AE89FDD01F}"/>
                </a:ext>
              </a:extLst>
            </p:cNvPr>
            <p:cNvCxnSpPr>
              <a:cxnSpLocks/>
            </p:cNvCxnSpPr>
            <p:nvPr/>
          </p:nvCxnSpPr>
          <p:spPr>
            <a:xfrm>
              <a:off x="1084001" y="2556468"/>
              <a:ext cx="10800000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A3D215D8-7A63-53B6-4F03-02D68C4B9666}"/>
                </a:ext>
              </a:extLst>
            </p:cNvPr>
            <p:cNvCxnSpPr>
              <a:cxnSpLocks/>
            </p:cNvCxnSpPr>
            <p:nvPr/>
          </p:nvCxnSpPr>
          <p:spPr>
            <a:xfrm>
              <a:off x="1084001" y="3429333"/>
              <a:ext cx="10800000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D94D6D33-26A0-373E-A6E9-540EC0216E75}"/>
                </a:ext>
              </a:extLst>
            </p:cNvPr>
            <p:cNvCxnSpPr>
              <a:cxnSpLocks/>
            </p:cNvCxnSpPr>
            <p:nvPr/>
          </p:nvCxnSpPr>
          <p:spPr>
            <a:xfrm>
              <a:off x="1084001" y="4302198"/>
              <a:ext cx="10800000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3AAE36EF-C4EC-AA82-3C16-629A398EF5F5}"/>
                </a:ext>
              </a:extLst>
            </p:cNvPr>
            <p:cNvCxnSpPr>
              <a:cxnSpLocks/>
            </p:cNvCxnSpPr>
            <p:nvPr/>
          </p:nvCxnSpPr>
          <p:spPr>
            <a:xfrm>
              <a:off x="1084001" y="5175063"/>
              <a:ext cx="10800000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355110211"/>
      </p:ext>
    </p:extLst>
  </p:cSld>
  <p:clrMapOvr>
    <a:masterClrMapping/>
  </p:clrMapOvr>
</p:sld>
</file>

<file path=ppt/slides/slide1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CC49E5FE-81EB-9E9D-8A61-D817493FBA1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C49E5FE-81EB-9E9D-8A61-D817493FBA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373A67A-1F57-079D-4EEA-B4F61B7046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ircular layouts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0EA4659D-9A66-B003-C78B-3F3283A17883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30</a:t>
            </a:fld>
            <a:endParaRPr lang="en-US" sz="1200" dirty="0">
              <a:solidFill>
                <a:schemeClr val="bg1"/>
              </a:solidFill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DA480B69-11F2-5603-F609-9057AD1FBE89}"/>
              </a:ext>
            </a:extLst>
          </p:cNvPr>
          <p:cNvGrpSpPr/>
          <p:nvPr/>
        </p:nvGrpSpPr>
        <p:grpSpPr>
          <a:xfrm>
            <a:off x="4178592" y="1846175"/>
            <a:ext cx="3655696" cy="3651800"/>
            <a:chOff x="6633029" y="3238291"/>
            <a:chExt cx="6012393" cy="6005986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EDA59B73-B675-F0D1-7683-230438072259}"/>
                </a:ext>
              </a:extLst>
            </p:cNvPr>
            <p:cNvGrpSpPr/>
            <p:nvPr/>
          </p:nvGrpSpPr>
          <p:grpSpPr>
            <a:xfrm>
              <a:off x="6633029" y="3238291"/>
              <a:ext cx="6012393" cy="6005986"/>
              <a:chOff x="6553213" y="3112635"/>
              <a:chExt cx="6343563" cy="6336804"/>
            </a:xfrm>
          </p:grpSpPr>
          <p:sp>
            <p:nvSpPr>
              <p:cNvPr id="16" name="Rectangle 10">
                <a:extLst>
                  <a:ext uri="{FF2B5EF4-FFF2-40B4-BE49-F238E27FC236}">
                    <a16:creationId xmlns:a16="http://schemas.microsoft.com/office/drawing/2014/main" id="{2A50ED49-A330-5728-28A5-549BB4A10C9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731756" y="6149161"/>
                <a:ext cx="3382" cy="3382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94770" tIns="97385" rIns="194770" bIns="9738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600"/>
              </a:p>
            </p:txBody>
          </p:sp>
          <p:sp>
            <p:nvSpPr>
              <p:cNvPr id="17" name="Freeform 11">
                <a:extLst>
                  <a:ext uri="{FF2B5EF4-FFF2-40B4-BE49-F238E27FC236}">
                    <a16:creationId xmlns:a16="http://schemas.microsoft.com/office/drawing/2014/main" id="{7EC10EF6-4B6A-0B36-6D33-4BEDFD8073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31756" y="6149160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94770" tIns="97385" rIns="194770" bIns="9738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600"/>
              </a:p>
            </p:txBody>
          </p:sp>
          <p:sp>
            <p:nvSpPr>
              <p:cNvPr id="18" name="Freeform 14">
                <a:extLst>
                  <a:ext uri="{FF2B5EF4-FFF2-40B4-BE49-F238E27FC236}">
                    <a16:creationId xmlns:a16="http://schemas.microsoft.com/office/drawing/2014/main" id="{4609E862-2582-685D-3A4C-75685DFDC7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31757" y="6423058"/>
                <a:ext cx="2170878" cy="2170878"/>
              </a:xfrm>
              <a:custGeom>
                <a:avLst/>
                <a:gdLst>
                  <a:gd name="T0" fmla="*/ 0 w 642"/>
                  <a:gd name="T1" fmla="*/ 0 h 642"/>
                  <a:gd name="T2" fmla="*/ 0 w 642"/>
                  <a:gd name="T3" fmla="*/ 2 h 642"/>
                  <a:gd name="T4" fmla="*/ 640 w 642"/>
                  <a:gd name="T5" fmla="*/ 641 h 642"/>
                  <a:gd name="T6" fmla="*/ 642 w 642"/>
                  <a:gd name="T7" fmla="*/ 642 h 642"/>
                  <a:gd name="T8" fmla="*/ 0 w 642"/>
                  <a:gd name="T9" fmla="*/ 0 h 6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2" h="642">
                    <a:moveTo>
                      <a:pt x="0" y="0"/>
                    </a:moveTo>
                    <a:lnTo>
                      <a:pt x="0" y="2"/>
                    </a:lnTo>
                    <a:lnTo>
                      <a:pt x="640" y="641"/>
                    </a:lnTo>
                    <a:lnTo>
                      <a:pt x="642" y="64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94770" tIns="97385" rIns="194770" bIns="9738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600"/>
              </a:p>
            </p:txBody>
          </p:sp>
          <p:sp>
            <p:nvSpPr>
              <p:cNvPr id="19" name="Freeform 15">
                <a:extLst>
                  <a:ext uri="{FF2B5EF4-FFF2-40B4-BE49-F238E27FC236}">
                    <a16:creationId xmlns:a16="http://schemas.microsoft.com/office/drawing/2014/main" id="{6B0AF50A-6154-C213-56B5-37228A3FB6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31757" y="6423058"/>
                <a:ext cx="2170878" cy="2170878"/>
              </a:xfrm>
              <a:custGeom>
                <a:avLst/>
                <a:gdLst>
                  <a:gd name="T0" fmla="*/ 0 w 642"/>
                  <a:gd name="T1" fmla="*/ 0 h 642"/>
                  <a:gd name="T2" fmla="*/ 0 w 642"/>
                  <a:gd name="T3" fmla="*/ 2 h 642"/>
                  <a:gd name="T4" fmla="*/ 640 w 642"/>
                  <a:gd name="T5" fmla="*/ 641 h 642"/>
                  <a:gd name="T6" fmla="*/ 642 w 642"/>
                  <a:gd name="T7" fmla="*/ 642 h 642"/>
                  <a:gd name="T8" fmla="*/ 0 w 642"/>
                  <a:gd name="T9" fmla="*/ 0 h 6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2" h="642">
                    <a:moveTo>
                      <a:pt x="0" y="0"/>
                    </a:moveTo>
                    <a:lnTo>
                      <a:pt x="0" y="2"/>
                    </a:lnTo>
                    <a:lnTo>
                      <a:pt x="640" y="641"/>
                    </a:lnTo>
                    <a:lnTo>
                      <a:pt x="642" y="642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94770" tIns="97385" rIns="194770" bIns="9738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600"/>
              </a:p>
            </p:txBody>
          </p:sp>
          <p:sp>
            <p:nvSpPr>
              <p:cNvPr id="20" name="Freeform 17">
                <a:extLst>
                  <a:ext uri="{FF2B5EF4-FFF2-40B4-BE49-F238E27FC236}">
                    <a16:creationId xmlns:a16="http://schemas.microsoft.com/office/drawing/2014/main" id="{0F8705C8-960D-050E-082A-1FCD5EACA9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31756" y="6429821"/>
                <a:ext cx="2164115" cy="2160735"/>
              </a:xfrm>
              <a:custGeom>
                <a:avLst/>
                <a:gdLst>
                  <a:gd name="T0" fmla="*/ 0 w 640"/>
                  <a:gd name="T1" fmla="*/ 0 h 639"/>
                  <a:gd name="T2" fmla="*/ 0 w 640"/>
                  <a:gd name="T3" fmla="*/ 100 h 639"/>
                  <a:gd name="T4" fmla="*/ 640 w 640"/>
                  <a:gd name="T5" fmla="*/ 639 h 639"/>
                  <a:gd name="T6" fmla="*/ 0 w 640"/>
                  <a:gd name="T7" fmla="*/ 0 h 6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40" h="639">
                    <a:moveTo>
                      <a:pt x="0" y="0"/>
                    </a:moveTo>
                    <a:lnTo>
                      <a:pt x="0" y="100"/>
                    </a:lnTo>
                    <a:lnTo>
                      <a:pt x="640" y="639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94770" tIns="97385" rIns="194770" bIns="9738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600"/>
              </a:p>
            </p:txBody>
          </p:sp>
          <p:sp>
            <p:nvSpPr>
              <p:cNvPr id="21" name="Freeform 18">
                <a:extLst>
                  <a:ext uri="{FF2B5EF4-FFF2-40B4-BE49-F238E27FC236}">
                    <a16:creationId xmlns:a16="http://schemas.microsoft.com/office/drawing/2014/main" id="{72A9BE40-1150-F42A-C373-A88A35545D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25621" y="6287800"/>
                <a:ext cx="2167498" cy="2167498"/>
              </a:xfrm>
              <a:custGeom>
                <a:avLst/>
                <a:gdLst>
                  <a:gd name="T0" fmla="*/ 641 w 641"/>
                  <a:gd name="T1" fmla="*/ 0 h 641"/>
                  <a:gd name="T2" fmla="*/ 641 w 641"/>
                  <a:gd name="T3" fmla="*/ 0 h 641"/>
                  <a:gd name="T4" fmla="*/ 0 w 641"/>
                  <a:gd name="T5" fmla="*/ 640 h 641"/>
                  <a:gd name="T6" fmla="*/ 0 w 641"/>
                  <a:gd name="T7" fmla="*/ 641 h 641"/>
                  <a:gd name="T8" fmla="*/ 641 w 641"/>
                  <a:gd name="T9" fmla="*/ 0 h 6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1" h="641">
                    <a:moveTo>
                      <a:pt x="641" y="0"/>
                    </a:moveTo>
                    <a:lnTo>
                      <a:pt x="641" y="0"/>
                    </a:lnTo>
                    <a:lnTo>
                      <a:pt x="0" y="640"/>
                    </a:lnTo>
                    <a:lnTo>
                      <a:pt x="0" y="641"/>
                    </a:lnTo>
                    <a:lnTo>
                      <a:pt x="641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94770" tIns="97385" rIns="194770" bIns="9738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600"/>
              </a:p>
            </p:txBody>
          </p:sp>
          <p:sp>
            <p:nvSpPr>
              <p:cNvPr id="22" name="Freeform 19">
                <a:extLst>
                  <a:ext uri="{FF2B5EF4-FFF2-40B4-BE49-F238E27FC236}">
                    <a16:creationId xmlns:a16="http://schemas.microsoft.com/office/drawing/2014/main" id="{D9B9B847-42FE-50F5-D74C-CA5530B631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25621" y="6287800"/>
                <a:ext cx="2167498" cy="2167498"/>
              </a:xfrm>
              <a:custGeom>
                <a:avLst/>
                <a:gdLst>
                  <a:gd name="T0" fmla="*/ 641 w 641"/>
                  <a:gd name="T1" fmla="*/ 0 h 641"/>
                  <a:gd name="T2" fmla="*/ 641 w 641"/>
                  <a:gd name="T3" fmla="*/ 0 h 641"/>
                  <a:gd name="T4" fmla="*/ 0 w 641"/>
                  <a:gd name="T5" fmla="*/ 640 h 641"/>
                  <a:gd name="T6" fmla="*/ 0 w 641"/>
                  <a:gd name="T7" fmla="*/ 641 h 641"/>
                  <a:gd name="T8" fmla="*/ 641 w 641"/>
                  <a:gd name="T9" fmla="*/ 0 h 6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1" h="641">
                    <a:moveTo>
                      <a:pt x="641" y="0"/>
                    </a:moveTo>
                    <a:lnTo>
                      <a:pt x="641" y="0"/>
                    </a:lnTo>
                    <a:lnTo>
                      <a:pt x="0" y="640"/>
                    </a:lnTo>
                    <a:lnTo>
                      <a:pt x="0" y="641"/>
                    </a:lnTo>
                    <a:lnTo>
                      <a:pt x="64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94770" tIns="97385" rIns="194770" bIns="9738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600"/>
              </a:p>
            </p:txBody>
          </p:sp>
          <p:sp>
            <p:nvSpPr>
              <p:cNvPr id="23" name="Freeform 21">
                <a:extLst>
                  <a:ext uri="{FF2B5EF4-FFF2-40B4-BE49-F238E27FC236}">
                    <a16:creationId xmlns:a16="http://schemas.microsoft.com/office/drawing/2014/main" id="{AFBE13BE-D934-E332-D903-7AA82F1CF4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25621" y="6287800"/>
                <a:ext cx="2167498" cy="2164115"/>
              </a:xfrm>
              <a:custGeom>
                <a:avLst/>
                <a:gdLst>
                  <a:gd name="T0" fmla="*/ 641 w 641"/>
                  <a:gd name="T1" fmla="*/ 0 h 640"/>
                  <a:gd name="T2" fmla="*/ 540 w 641"/>
                  <a:gd name="T3" fmla="*/ 0 h 640"/>
                  <a:gd name="T4" fmla="*/ 0 w 641"/>
                  <a:gd name="T5" fmla="*/ 640 h 640"/>
                  <a:gd name="T6" fmla="*/ 641 w 641"/>
                  <a:gd name="T7" fmla="*/ 0 h 6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41" h="640">
                    <a:moveTo>
                      <a:pt x="641" y="0"/>
                    </a:moveTo>
                    <a:lnTo>
                      <a:pt x="540" y="0"/>
                    </a:lnTo>
                    <a:lnTo>
                      <a:pt x="0" y="640"/>
                    </a:lnTo>
                    <a:lnTo>
                      <a:pt x="64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94770" tIns="97385" rIns="194770" bIns="9738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600"/>
              </a:p>
            </p:txBody>
          </p:sp>
          <p:sp>
            <p:nvSpPr>
              <p:cNvPr id="24" name="Rectangle 22">
                <a:extLst>
                  <a:ext uri="{FF2B5EF4-FFF2-40B4-BE49-F238E27FC236}">
                    <a16:creationId xmlns:a16="http://schemas.microsoft.com/office/drawing/2014/main" id="{37A577C6-770E-ACB4-9818-D4027E2B277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041274" y="8455296"/>
                <a:ext cx="3382" cy="3382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94770" tIns="97385" rIns="194770" bIns="9738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600"/>
              </a:p>
            </p:txBody>
          </p:sp>
          <p:sp>
            <p:nvSpPr>
              <p:cNvPr id="25" name="Freeform 23">
                <a:extLst>
                  <a:ext uri="{FF2B5EF4-FFF2-40B4-BE49-F238E27FC236}">
                    <a16:creationId xmlns:a16="http://schemas.microsoft.com/office/drawing/2014/main" id="{5917E971-9955-FD38-72EC-0F72C31A25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041274" y="8455296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94770" tIns="97385" rIns="194770" bIns="9738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6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1EAD0096-D0B1-9237-A11D-0F4F6BE300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73776" y="6287800"/>
                <a:ext cx="2167498" cy="2167498"/>
              </a:xfrm>
              <a:custGeom>
                <a:avLst/>
                <a:gdLst>
                  <a:gd name="T0" fmla="*/ 100 w 641"/>
                  <a:gd name="T1" fmla="*/ 0 h 641"/>
                  <a:gd name="T2" fmla="*/ 0 w 641"/>
                  <a:gd name="T3" fmla="*/ 0 h 641"/>
                  <a:gd name="T4" fmla="*/ 641 w 641"/>
                  <a:gd name="T5" fmla="*/ 641 h 641"/>
                  <a:gd name="T6" fmla="*/ 641 w 641"/>
                  <a:gd name="T7" fmla="*/ 641 h 641"/>
                  <a:gd name="T8" fmla="*/ 100 w 641"/>
                  <a:gd name="T9" fmla="*/ 0 h 6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1" h="641">
                    <a:moveTo>
                      <a:pt x="100" y="0"/>
                    </a:moveTo>
                    <a:lnTo>
                      <a:pt x="0" y="0"/>
                    </a:lnTo>
                    <a:lnTo>
                      <a:pt x="641" y="641"/>
                    </a:lnTo>
                    <a:lnTo>
                      <a:pt x="641" y="641"/>
                    </a:lnTo>
                    <a:lnTo>
                      <a:pt x="10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94770" tIns="97385" rIns="194770" bIns="9738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600"/>
              </a:p>
            </p:txBody>
          </p:sp>
          <p:sp>
            <p:nvSpPr>
              <p:cNvPr id="27" name="Freeform 27">
                <a:extLst>
                  <a:ext uri="{FF2B5EF4-FFF2-40B4-BE49-F238E27FC236}">
                    <a16:creationId xmlns:a16="http://schemas.microsoft.com/office/drawing/2014/main" id="{46816948-739A-6ED7-52ED-7758FD9C84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31757" y="3981665"/>
                <a:ext cx="2170878" cy="2167498"/>
              </a:xfrm>
              <a:custGeom>
                <a:avLst/>
                <a:gdLst>
                  <a:gd name="T0" fmla="*/ 642 w 642"/>
                  <a:gd name="T1" fmla="*/ 0 h 641"/>
                  <a:gd name="T2" fmla="*/ 640 w 642"/>
                  <a:gd name="T3" fmla="*/ 2 h 641"/>
                  <a:gd name="T4" fmla="*/ 0 w 642"/>
                  <a:gd name="T5" fmla="*/ 641 h 641"/>
                  <a:gd name="T6" fmla="*/ 0 w 642"/>
                  <a:gd name="T7" fmla="*/ 641 h 641"/>
                  <a:gd name="T8" fmla="*/ 642 w 642"/>
                  <a:gd name="T9" fmla="*/ 0 h 6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2" h="641">
                    <a:moveTo>
                      <a:pt x="642" y="0"/>
                    </a:moveTo>
                    <a:lnTo>
                      <a:pt x="640" y="2"/>
                    </a:lnTo>
                    <a:lnTo>
                      <a:pt x="0" y="641"/>
                    </a:lnTo>
                    <a:lnTo>
                      <a:pt x="0" y="641"/>
                    </a:lnTo>
                    <a:lnTo>
                      <a:pt x="64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94770" tIns="97385" rIns="194770" bIns="9738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600"/>
              </a:p>
            </p:txBody>
          </p:sp>
          <p:sp>
            <p:nvSpPr>
              <p:cNvPr id="28" name="Rectangle 30">
                <a:extLst>
                  <a:ext uri="{FF2B5EF4-FFF2-40B4-BE49-F238E27FC236}">
                    <a16:creationId xmlns:a16="http://schemas.microsoft.com/office/drawing/2014/main" id="{653905DC-1AD7-D85E-6EFD-502B472847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731756" y="6423058"/>
                <a:ext cx="3382" cy="6763"/>
              </a:xfrm>
              <a:prstGeom prst="rect">
                <a:avLst/>
              </a:prstGeom>
              <a:solidFill>
                <a:srgbClr val="8C8C8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94770" tIns="97385" rIns="194770" bIns="9738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600"/>
              </a:p>
            </p:txBody>
          </p:sp>
          <p:sp>
            <p:nvSpPr>
              <p:cNvPr id="29" name="Freeform 31">
                <a:extLst>
                  <a:ext uri="{FF2B5EF4-FFF2-40B4-BE49-F238E27FC236}">
                    <a16:creationId xmlns:a16="http://schemas.microsoft.com/office/drawing/2014/main" id="{594D4164-70EF-634D-E9E3-F3B7BE29C4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31756" y="6423058"/>
                <a:ext cx="0" cy="6763"/>
              </a:xfrm>
              <a:custGeom>
                <a:avLst/>
                <a:gdLst>
                  <a:gd name="T0" fmla="*/ 0 h 2"/>
                  <a:gd name="T1" fmla="*/ 2 h 2"/>
                  <a:gd name="T2" fmla="*/ 2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94770" tIns="97385" rIns="194770" bIns="9738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600"/>
              </a:p>
            </p:txBody>
          </p:sp>
          <p:sp>
            <p:nvSpPr>
              <p:cNvPr id="30" name="Freeform 33">
                <a:extLst>
                  <a:ext uri="{FF2B5EF4-FFF2-40B4-BE49-F238E27FC236}">
                    <a16:creationId xmlns:a16="http://schemas.microsoft.com/office/drawing/2014/main" id="{A0E9CE9C-0098-5651-58B7-088E729D5A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64260" y="6429820"/>
                <a:ext cx="2167498" cy="2164115"/>
              </a:xfrm>
              <a:custGeom>
                <a:avLst/>
                <a:gdLst>
                  <a:gd name="T0" fmla="*/ 641 w 641"/>
                  <a:gd name="T1" fmla="*/ 0 h 640"/>
                  <a:gd name="T2" fmla="*/ 0 w 641"/>
                  <a:gd name="T3" fmla="*/ 640 h 640"/>
                  <a:gd name="T4" fmla="*/ 641 w 641"/>
                  <a:gd name="T5" fmla="*/ 100 h 640"/>
                  <a:gd name="T6" fmla="*/ 641 w 641"/>
                  <a:gd name="T7" fmla="*/ 0 h 640"/>
                  <a:gd name="T8" fmla="*/ 641 w 641"/>
                  <a:gd name="T9" fmla="*/ 0 h 6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1" h="640">
                    <a:moveTo>
                      <a:pt x="641" y="0"/>
                    </a:moveTo>
                    <a:lnTo>
                      <a:pt x="0" y="640"/>
                    </a:lnTo>
                    <a:lnTo>
                      <a:pt x="641" y="100"/>
                    </a:lnTo>
                    <a:lnTo>
                      <a:pt x="641" y="0"/>
                    </a:lnTo>
                    <a:lnTo>
                      <a:pt x="64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94770" tIns="97385" rIns="194770" bIns="9738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600"/>
              </a:p>
            </p:txBody>
          </p:sp>
          <p:sp>
            <p:nvSpPr>
              <p:cNvPr id="31" name="Freeform 35">
                <a:extLst>
                  <a:ext uri="{FF2B5EF4-FFF2-40B4-BE49-F238E27FC236}">
                    <a16:creationId xmlns:a16="http://schemas.microsoft.com/office/drawing/2014/main" id="{2E820E52-0753-3A35-216E-71D024E188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25621" y="4120302"/>
                <a:ext cx="2167498" cy="2167498"/>
              </a:xfrm>
              <a:custGeom>
                <a:avLst/>
                <a:gdLst>
                  <a:gd name="T0" fmla="*/ 0 w 641"/>
                  <a:gd name="T1" fmla="*/ 0 h 641"/>
                  <a:gd name="T2" fmla="*/ 0 w 641"/>
                  <a:gd name="T3" fmla="*/ 2 h 641"/>
                  <a:gd name="T4" fmla="*/ 641 w 641"/>
                  <a:gd name="T5" fmla="*/ 641 h 641"/>
                  <a:gd name="T6" fmla="*/ 641 w 641"/>
                  <a:gd name="T7" fmla="*/ 641 h 641"/>
                  <a:gd name="T8" fmla="*/ 0 w 641"/>
                  <a:gd name="T9" fmla="*/ 0 h 6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1" h="641">
                    <a:moveTo>
                      <a:pt x="0" y="0"/>
                    </a:moveTo>
                    <a:lnTo>
                      <a:pt x="0" y="2"/>
                    </a:lnTo>
                    <a:lnTo>
                      <a:pt x="641" y="641"/>
                    </a:lnTo>
                    <a:lnTo>
                      <a:pt x="641" y="641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94770" tIns="97385" rIns="194770" bIns="9738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600"/>
              </a:p>
            </p:txBody>
          </p:sp>
          <p:sp>
            <p:nvSpPr>
              <p:cNvPr id="32" name="Rectangle 38">
                <a:extLst>
                  <a:ext uri="{FF2B5EF4-FFF2-40B4-BE49-F238E27FC236}">
                    <a16:creationId xmlns:a16="http://schemas.microsoft.com/office/drawing/2014/main" id="{0A2395B7-EEE7-4DF1-2E8F-42AFB407471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041274" y="4120302"/>
                <a:ext cx="3382" cy="3382"/>
              </a:xfrm>
              <a:prstGeom prst="rect">
                <a:avLst/>
              </a:prstGeom>
              <a:solidFill>
                <a:srgbClr val="8C8C8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94770" tIns="97385" rIns="194770" bIns="9738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600"/>
              </a:p>
            </p:txBody>
          </p:sp>
          <p:sp>
            <p:nvSpPr>
              <p:cNvPr id="33" name="Freeform 39">
                <a:extLst>
                  <a:ext uri="{FF2B5EF4-FFF2-40B4-BE49-F238E27FC236}">
                    <a16:creationId xmlns:a16="http://schemas.microsoft.com/office/drawing/2014/main" id="{4E25D5E3-4C23-EF65-80CC-DF7A4D55C8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041274" y="4120302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94770" tIns="97385" rIns="194770" bIns="9738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600"/>
              </a:p>
            </p:txBody>
          </p:sp>
          <p:grpSp>
            <p:nvGrpSpPr>
              <p:cNvPr id="34" name="Group 33">
                <a:extLst>
                  <a:ext uri="{FF2B5EF4-FFF2-40B4-BE49-F238E27FC236}">
                    <a16:creationId xmlns:a16="http://schemas.microsoft.com/office/drawing/2014/main" id="{15B7FBBE-D35A-9FF4-66D8-390DD8C7B523}"/>
                  </a:ext>
                </a:extLst>
              </p:cNvPr>
              <p:cNvGrpSpPr/>
              <p:nvPr/>
            </p:nvGrpSpPr>
            <p:grpSpPr>
              <a:xfrm>
                <a:off x="7564264" y="3112635"/>
                <a:ext cx="4338376" cy="3023001"/>
                <a:chOff x="3551239" y="1463675"/>
                <a:chExt cx="2036763" cy="1419226"/>
              </a:xfrm>
            </p:grpSpPr>
            <p:sp>
              <p:nvSpPr>
                <p:cNvPr id="47" name="Freeform 6">
                  <a:extLst>
                    <a:ext uri="{FF2B5EF4-FFF2-40B4-BE49-F238E27FC236}">
                      <a16:creationId xmlns:a16="http://schemas.microsoft.com/office/drawing/2014/main" id="{F2211236-100D-02D9-E94F-AB1CFB86AB1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51239" y="1463675"/>
                  <a:ext cx="2036763" cy="1419225"/>
                </a:xfrm>
                <a:custGeom>
                  <a:avLst/>
                  <a:gdLst>
                    <a:gd name="T0" fmla="*/ 485 w 971"/>
                    <a:gd name="T1" fmla="*/ 0 h 677"/>
                    <a:gd name="T2" fmla="*/ 0 w 971"/>
                    <a:gd name="T3" fmla="*/ 192 h 677"/>
                    <a:gd name="T4" fmla="*/ 485 w 971"/>
                    <a:gd name="T5" fmla="*/ 677 h 677"/>
                    <a:gd name="T6" fmla="*/ 971 w 971"/>
                    <a:gd name="T7" fmla="*/ 192 h 677"/>
                    <a:gd name="T8" fmla="*/ 485 w 971"/>
                    <a:gd name="T9" fmla="*/ 0 h 6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71" h="677">
                      <a:moveTo>
                        <a:pt x="485" y="0"/>
                      </a:moveTo>
                      <a:cubicBezTo>
                        <a:pt x="298" y="0"/>
                        <a:pt x="127" y="73"/>
                        <a:pt x="0" y="192"/>
                      </a:cubicBezTo>
                      <a:cubicBezTo>
                        <a:pt x="485" y="677"/>
                        <a:pt x="485" y="677"/>
                        <a:pt x="485" y="677"/>
                      </a:cubicBezTo>
                      <a:cubicBezTo>
                        <a:pt x="971" y="192"/>
                        <a:pt x="971" y="192"/>
                        <a:pt x="971" y="192"/>
                      </a:cubicBezTo>
                      <a:cubicBezTo>
                        <a:pt x="844" y="73"/>
                        <a:pt x="673" y="0"/>
                        <a:pt x="485" y="0"/>
                      </a:cubicBezTo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vert="horz" wrap="square" lIns="194770" tIns="97385" rIns="194770" bIns="97385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3600" dirty="0"/>
                </a:p>
              </p:txBody>
            </p:sp>
            <p:sp>
              <p:nvSpPr>
                <p:cNvPr id="49" name="Freeform 29">
                  <a:extLst>
                    <a:ext uri="{FF2B5EF4-FFF2-40B4-BE49-F238E27FC236}">
                      <a16:creationId xmlns:a16="http://schemas.microsoft.com/office/drawing/2014/main" id="{86BF70DF-FD9E-8188-2DD7-C0CCE2B7B3F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568825" y="1868488"/>
                  <a:ext cx="1016000" cy="1014413"/>
                </a:xfrm>
                <a:custGeom>
                  <a:avLst/>
                  <a:gdLst>
                    <a:gd name="T0" fmla="*/ 640 w 640"/>
                    <a:gd name="T1" fmla="*/ 0 h 639"/>
                    <a:gd name="T2" fmla="*/ 0 w 640"/>
                    <a:gd name="T3" fmla="*/ 538 h 639"/>
                    <a:gd name="T4" fmla="*/ 0 w 640"/>
                    <a:gd name="T5" fmla="*/ 639 h 639"/>
                    <a:gd name="T6" fmla="*/ 640 w 640"/>
                    <a:gd name="T7" fmla="*/ 0 h 6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40" h="639">
                      <a:moveTo>
                        <a:pt x="640" y="0"/>
                      </a:moveTo>
                      <a:lnTo>
                        <a:pt x="0" y="538"/>
                      </a:lnTo>
                      <a:lnTo>
                        <a:pt x="0" y="639"/>
                      </a:lnTo>
                      <a:lnTo>
                        <a:pt x="640" y="0"/>
                      </a:lnTo>
                    </a:path>
                  </a:pathLst>
                </a:custGeom>
                <a:solidFill>
                  <a:schemeClr val="tx1">
                    <a:alpha val="40000"/>
                  </a:schemeClr>
                </a:solidFill>
                <a:ln>
                  <a:noFill/>
                </a:ln>
              </p:spPr>
              <p:txBody>
                <a:bodyPr vert="horz" wrap="square" lIns="194770" tIns="97385" rIns="194770" bIns="97385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3600" dirty="0"/>
                </a:p>
              </p:txBody>
            </p:sp>
          </p:grpSp>
          <p:sp>
            <p:nvSpPr>
              <p:cNvPr id="44" name="Freeform 7">
                <a:extLst>
                  <a:ext uri="{FF2B5EF4-FFF2-40B4-BE49-F238E27FC236}">
                    <a16:creationId xmlns:a16="http://schemas.microsoft.com/office/drawing/2014/main" id="{4E215EB9-DABE-98D0-EB4A-7C52001DDA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64261" y="6423057"/>
                <a:ext cx="4338375" cy="3026382"/>
              </a:xfrm>
              <a:custGeom>
                <a:avLst/>
                <a:gdLst>
                  <a:gd name="T0" fmla="*/ 485 w 971"/>
                  <a:gd name="T1" fmla="*/ 0 h 678"/>
                  <a:gd name="T2" fmla="*/ 0 w 971"/>
                  <a:gd name="T3" fmla="*/ 486 h 678"/>
                  <a:gd name="T4" fmla="*/ 485 w 971"/>
                  <a:gd name="T5" fmla="*/ 678 h 678"/>
                  <a:gd name="T6" fmla="*/ 971 w 971"/>
                  <a:gd name="T7" fmla="*/ 486 h 678"/>
                  <a:gd name="T8" fmla="*/ 485 w 971"/>
                  <a:gd name="T9" fmla="*/ 0 h 6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71" h="678">
                    <a:moveTo>
                      <a:pt x="485" y="0"/>
                    </a:moveTo>
                    <a:cubicBezTo>
                      <a:pt x="0" y="486"/>
                      <a:pt x="0" y="486"/>
                      <a:pt x="0" y="486"/>
                    </a:cubicBezTo>
                    <a:cubicBezTo>
                      <a:pt x="127" y="605"/>
                      <a:pt x="298" y="678"/>
                      <a:pt x="485" y="678"/>
                    </a:cubicBezTo>
                    <a:cubicBezTo>
                      <a:pt x="673" y="678"/>
                      <a:pt x="844" y="605"/>
                      <a:pt x="971" y="486"/>
                    </a:cubicBezTo>
                    <a:cubicBezTo>
                      <a:pt x="485" y="0"/>
                      <a:pt x="485" y="0"/>
                      <a:pt x="485" y="0"/>
                    </a:cubicBezTo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194770" tIns="97385" rIns="194770" bIns="9738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600" dirty="0"/>
              </a:p>
            </p:txBody>
          </p:sp>
          <p:sp>
            <p:nvSpPr>
              <p:cNvPr id="41" name="Freeform 8">
                <a:extLst>
                  <a:ext uri="{FF2B5EF4-FFF2-40B4-BE49-F238E27FC236}">
                    <a16:creationId xmlns:a16="http://schemas.microsoft.com/office/drawing/2014/main" id="{8D82D36D-729E-70EA-533B-6554A5D32E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53213" y="4120303"/>
                <a:ext cx="3022998" cy="4334993"/>
              </a:xfrm>
              <a:custGeom>
                <a:avLst/>
                <a:gdLst>
                  <a:gd name="T0" fmla="*/ 192 w 677"/>
                  <a:gd name="T1" fmla="*/ 0 h 971"/>
                  <a:gd name="T2" fmla="*/ 0 w 677"/>
                  <a:gd name="T3" fmla="*/ 485 h 971"/>
                  <a:gd name="T4" fmla="*/ 192 w 677"/>
                  <a:gd name="T5" fmla="*/ 971 h 971"/>
                  <a:gd name="T6" fmla="*/ 677 w 677"/>
                  <a:gd name="T7" fmla="*/ 485 h 971"/>
                  <a:gd name="T8" fmla="*/ 192 w 677"/>
                  <a:gd name="T9" fmla="*/ 0 h 9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77" h="971">
                    <a:moveTo>
                      <a:pt x="192" y="0"/>
                    </a:moveTo>
                    <a:cubicBezTo>
                      <a:pt x="73" y="127"/>
                      <a:pt x="0" y="298"/>
                      <a:pt x="0" y="485"/>
                    </a:cubicBezTo>
                    <a:cubicBezTo>
                      <a:pt x="0" y="673"/>
                      <a:pt x="73" y="844"/>
                      <a:pt x="192" y="971"/>
                    </a:cubicBezTo>
                    <a:cubicBezTo>
                      <a:pt x="677" y="485"/>
                      <a:pt x="677" y="485"/>
                      <a:pt x="677" y="485"/>
                    </a:cubicBezTo>
                    <a:cubicBezTo>
                      <a:pt x="192" y="0"/>
                      <a:pt x="192" y="0"/>
                      <a:pt x="192" y="0"/>
                    </a:cubicBezTo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194770" tIns="97385" rIns="194770" bIns="9738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600" dirty="0"/>
              </a:p>
            </p:txBody>
          </p:sp>
          <p:sp>
            <p:nvSpPr>
              <p:cNvPr id="38" name="Freeform 9">
                <a:extLst>
                  <a:ext uri="{FF2B5EF4-FFF2-40B4-BE49-F238E27FC236}">
                    <a16:creationId xmlns:a16="http://schemas.microsoft.com/office/drawing/2014/main" id="{01367AF1-BACA-5EF8-A09E-22DFDDE981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73778" y="4120302"/>
                <a:ext cx="3022998" cy="4334994"/>
              </a:xfrm>
              <a:custGeom>
                <a:avLst/>
                <a:gdLst>
                  <a:gd name="T0" fmla="*/ 485 w 677"/>
                  <a:gd name="T1" fmla="*/ 0 h 971"/>
                  <a:gd name="T2" fmla="*/ 0 w 677"/>
                  <a:gd name="T3" fmla="*/ 485 h 971"/>
                  <a:gd name="T4" fmla="*/ 485 w 677"/>
                  <a:gd name="T5" fmla="*/ 971 h 971"/>
                  <a:gd name="T6" fmla="*/ 677 w 677"/>
                  <a:gd name="T7" fmla="*/ 485 h 971"/>
                  <a:gd name="T8" fmla="*/ 485 w 677"/>
                  <a:gd name="T9" fmla="*/ 0 h 9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77" h="971">
                    <a:moveTo>
                      <a:pt x="485" y="0"/>
                    </a:moveTo>
                    <a:cubicBezTo>
                      <a:pt x="0" y="485"/>
                      <a:pt x="0" y="485"/>
                      <a:pt x="0" y="485"/>
                    </a:cubicBezTo>
                    <a:cubicBezTo>
                      <a:pt x="485" y="971"/>
                      <a:pt x="485" y="971"/>
                      <a:pt x="485" y="971"/>
                    </a:cubicBezTo>
                    <a:cubicBezTo>
                      <a:pt x="604" y="844"/>
                      <a:pt x="677" y="673"/>
                      <a:pt x="677" y="485"/>
                    </a:cubicBezTo>
                    <a:cubicBezTo>
                      <a:pt x="677" y="298"/>
                      <a:pt x="604" y="127"/>
                      <a:pt x="485" y="0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194770" tIns="97385" rIns="194770" bIns="9738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600" dirty="0"/>
              </a:p>
            </p:txBody>
          </p:sp>
        </p:grp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8BD81A31-241A-8B96-F4F1-2ACC96B2A1D7}"/>
                </a:ext>
              </a:extLst>
            </p:cNvPr>
            <p:cNvSpPr/>
            <p:nvPr/>
          </p:nvSpPr>
          <p:spPr>
            <a:xfrm>
              <a:off x="8881753" y="3692386"/>
              <a:ext cx="1492625" cy="14444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5400" dirty="0">
                  <a:solidFill>
                    <a:schemeClr val="bg1"/>
                  </a:solidFill>
                </a:rPr>
                <a:t>01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F3E35971-85A3-8F6F-6472-116930C877EF}"/>
                </a:ext>
              </a:extLst>
            </p:cNvPr>
            <p:cNvSpPr/>
            <p:nvPr/>
          </p:nvSpPr>
          <p:spPr>
            <a:xfrm>
              <a:off x="10762697" y="5506037"/>
              <a:ext cx="1492625" cy="14444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5400" dirty="0">
                  <a:solidFill>
                    <a:schemeClr val="bg1"/>
                  </a:solidFill>
                </a:rPr>
                <a:t>02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BF30117D-41EC-DB47-9B23-F1A2D1884B34}"/>
                </a:ext>
              </a:extLst>
            </p:cNvPr>
            <p:cNvSpPr/>
            <p:nvPr/>
          </p:nvSpPr>
          <p:spPr>
            <a:xfrm>
              <a:off x="8881753" y="7472809"/>
              <a:ext cx="1492625" cy="14444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5400" dirty="0">
                  <a:solidFill>
                    <a:schemeClr val="bg1"/>
                  </a:solidFill>
                </a:rPr>
                <a:t>03</a:t>
              </a: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9C9465E4-2808-106E-F949-19E7A44BD5BD}"/>
                </a:ext>
              </a:extLst>
            </p:cNvPr>
            <p:cNvSpPr/>
            <p:nvPr/>
          </p:nvSpPr>
          <p:spPr>
            <a:xfrm>
              <a:off x="6934537" y="5506037"/>
              <a:ext cx="1492625" cy="14444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5400" dirty="0">
                  <a:solidFill>
                    <a:schemeClr val="bg1"/>
                  </a:solidFill>
                </a:rPr>
                <a:t>04</a:t>
              </a:r>
            </a:p>
          </p:txBody>
        </p: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95A558F6-C118-2929-6C4E-5FDAD9A8EB02}"/>
              </a:ext>
            </a:extLst>
          </p:cNvPr>
          <p:cNvSpPr txBox="1"/>
          <p:nvPr/>
        </p:nvSpPr>
        <p:spPr>
          <a:xfrm>
            <a:off x="4330554" y="941325"/>
            <a:ext cx="3072630" cy="807319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2000" b="1" dirty="0">
                <a:solidFill>
                  <a:schemeClr val="accent1"/>
                </a:solidFill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10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10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2DCD225-A033-60F3-DFB1-DB2118059923}"/>
              </a:ext>
            </a:extLst>
          </p:cNvPr>
          <p:cNvSpPr txBox="1"/>
          <p:nvPr/>
        </p:nvSpPr>
        <p:spPr>
          <a:xfrm>
            <a:off x="8088303" y="3188892"/>
            <a:ext cx="3072630" cy="807319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2000" b="1" dirty="0">
                <a:solidFill>
                  <a:schemeClr val="accent2"/>
                </a:solidFill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10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10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2538C05-6492-9203-608F-0F3314AD777C}"/>
              </a:ext>
            </a:extLst>
          </p:cNvPr>
          <p:cNvSpPr txBox="1"/>
          <p:nvPr/>
        </p:nvSpPr>
        <p:spPr>
          <a:xfrm>
            <a:off x="862666" y="3188892"/>
            <a:ext cx="3072630" cy="807319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US" sz="2000" b="1" dirty="0">
                <a:solidFill>
                  <a:schemeClr val="accent4"/>
                </a:solidFill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100" dirty="0">
                <a:solidFill>
                  <a:schemeClr val="accent4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10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DFCFA34-7E45-BF4D-9407-71214CE646F2}"/>
              </a:ext>
            </a:extLst>
          </p:cNvPr>
          <p:cNvSpPr txBox="1"/>
          <p:nvPr/>
        </p:nvSpPr>
        <p:spPr>
          <a:xfrm>
            <a:off x="4474202" y="5591630"/>
            <a:ext cx="3072630" cy="807319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2000" b="1" dirty="0">
                <a:solidFill>
                  <a:schemeClr val="accent3"/>
                </a:solidFill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100" dirty="0">
                <a:solidFill>
                  <a:schemeClr val="accent3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10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</p:spTree>
    <p:extLst>
      <p:ext uri="{BB962C8B-B14F-4D97-AF65-F5344CB8AC3E}">
        <p14:creationId xmlns:p14="http://schemas.microsoft.com/office/powerpoint/2010/main" val="2843432120"/>
      </p:ext>
    </p:extLst>
  </p:cSld>
  <p:clrMapOvr>
    <a:masterClrMapping/>
  </p:clrMapOvr>
</p:sld>
</file>

<file path=ppt/slides/slide1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2D1284-BFCC-C57F-986B-B54A786FD8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think-cell data - do not delete" hidden="1">
            <a:extLst>
              <a:ext uri="{FF2B5EF4-FFF2-40B4-BE49-F238E27FC236}">
                <a16:creationId xmlns:a16="http://schemas.microsoft.com/office/drawing/2014/main" id="{484CE127-39A9-275E-F3B0-93B781FCFDA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78053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4D2F39B-6B0D-A103-44E9-C1A7A91CD9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ircular layou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7D2CC25-EB16-04B0-EF87-1EC6D4F85F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31</a:t>
            </a:fld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DEF99F88-C871-EFD9-5E80-8B0D79AC4256}"/>
              </a:ext>
            </a:extLst>
          </p:cNvPr>
          <p:cNvGrpSpPr/>
          <p:nvPr/>
        </p:nvGrpSpPr>
        <p:grpSpPr>
          <a:xfrm>
            <a:off x="3356976" y="1157469"/>
            <a:ext cx="5478048" cy="5300814"/>
            <a:chOff x="3126000" y="755754"/>
            <a:chExt cx="5940000" cy="5747821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84EE4075-84D5-B213-8B1B-2053DE20D8E1}"/>
                </a:ext>
              </a:extLst>
            </p:cNvPr>
            <p:cNvSpPr>
              <a:spLocks/>
            </p:cNvSpPr>
            <p:nvPr/>
          </p:nvSpPr>
          <p:spPr bwMode="auto">
            <a:xfrm>
              <a:off x="5045079" y="755754"/>
              <a:ext cx="3185264" cy="3083111"/>
            </a:xfrm>
            <a:custGeom>
              <a:avLst/>
              <a:gdLst>
                <a:gd name="T0" fmla="*/ 1684 w 2058"/>
                <a:gd name="T1" fmla="*/ 1208 h 1992"/>
                <a:gd name="T2" fmla="*/ 1550 w 2058"/>
                <a:gd name="T3" fmla="*/ 1072 h 1992"/>
                <a:gd name="T4" fmla="*/ 1388 w 2058"/>
                <a:gd name="T5" fmla="*/ 968 h 1992"/>
                <a:gd name="T6" fmla="*/ 1206 w 2058"/>
                <a:gd name="T7" fmla="*/ 900 h 1992"/>
                <a:gd name="T8" fmla="*/ 1006 w 2058"/>
                <a:gd name="T9" fmla="*/ 878 h 1992"/>
                <a:gd name="T10" fmla="*/ 874 w 2058"/>
                <a:gd name="T11" fmla="*/ 888 h 1992"/>
                <a:gd name="T12" fmla="*/ 710 w 2058"/>
                <a:gd name="T13" fmla="*/ 930 h 1992"/>
                <a:gd name="T14" fmla="*/ 560 w 2058"/>
                <a:gd name="T15" fmla="*/ 1002 h 1992"/>
                <a:gd name="T16" fmla="*/ 426 w 2058"/>
                <a:gd name="T17" fmla="*/ 1102 h 1992"/>
                <a:gd name="T18" fmla="*/ 316 w 2058"/>
                <a:gd name="T19" fmla="*/ 1224 h 1992"/>
                <a:gd name="T20" fmla="*/ 230 w 2058"/>
                <a:gd name="T21" fmla="*/ 1366 h 1992"/>
                <a:gd name="T22" fmla="*/ 172 w 2058"/>
                <a:gd name="T23" fmla="*/ 1524 h 1992"/>
                <a:gd name="T24" fmla="*/ 146 w 2058"/>
                <a:gd name="T25" fmla="*/ 1694 h 1992"/>
                <a:gd name="T26" fmla="*/ 146 w 2058"/>
                <a:gd name="T27" fmla="*/ 1804 h 1992"/>
                <a:gd name="T28" fmla="*/ 182 w 2058"/>
                <a:gd name="T29" fmla="*/ 1992 h 1992"/>
                <a:gd name="T30" fmla="*/ 124 w 2058"/>
                <a:gd name="T31" fmla="*/ 1906 h 1992"/>
                <a:gd name="T32" fmla="*/ 60 w 2058"/>
                <a:gd name="T33" fmla="*/ 1780 h 1992"/>
                <a:gd name="T34" fmla="*/ 18 w 2058"/>
                <a:gd name="T35" fmla="*/ 1644 h 1992"/>
                <a:gd name="T36" fmla="*/ 0 w 2058"/>
                <a:gd name="T37" fmla="*/ 1498 h 1992"/>
                <a:gd name="T38" fmla="*/ 4 w 2058"/>
                <a:gd name="T39" fmla="*/ 1378 h 1992"/>
                <a:gd name="T40" fmla="*/ 34 w 2058"/>
                <a:gd name="T41" fmla="*/ 1216 h 1992"/>
                <a:gd name="T42" fmla="*/ 94 w 2058"/>
                <a:gd name="T43" fmla="*/ 1068 h 1992"/>
                <a:gd name="T44" fmla="*/ 180 w 2058"/>
                <a:gd name="T45" fmla="*/ 934 h 1992"/>
                <a:gd name="T46" fmla="*/ 288 w 2058"/>
                <a:gd name="T47" fmla="*/ 818 h 1992"/>
                <a:gd name="T48" fmla="*/ 416 w 2058"/>
                <a:gd name="T49" fmla="*/ 724 h 1992"/>
                <a:gd name="T50" fmla="*/ 558 w 2058"/>
                <a:gd name="T51" fmla="*/ 654 h 1992"/>
                <a:gd name="T52" fmla="*/ 716 w 2058"/>
                <a:gd name="T53" fmla="*/ 612 h 1992"/>
                <a:gd name="T54" fmla="*/ 800 w 2058"/>
                <a:gd name="T55" fmla="*/ 572 h 1992"/>
                <a:gd name="T56" fmla="*/ 824 w 2058"/>
                <a:gd name="T57" fmla="*/ 452 h 1992"/>
                <a:gd name="T58" fmla="*/ 868 w 2058"/>
                <a:gd name="T59" fmla="*/ 340 h 1992"/>
                <a:gd name="T60" fmla="*/ 932 w 2058"/>
                <a:gd name="T61" fmla="*/ 242 h 1992"/>
                <a:gd name="T62" fmla="*/ 1014 w 2058"/>
                <a:gd name="T63" fmla="*/ 156 h 1992"/>
                <a:gd name="T64" fmla="*/ 1108 w 2058"/>
                <a:gd name="T65" fmla="*/ 86 h 1992"/>
                <a:gd name="T66" fmla="*/ 1216 w 2058"/>
                <a:gd name="T67" fmla="*/ 36 h 1992"/>
                <a:gd name="T68" fmla="*/ 1334 w 2058"/>
                <a:gd name="T69" fmla="*/ 6 h 1992"/>
                <a:gd name="T70" fmla="*/ 1428 w 2058"/>
                <a:gd name="T71" fmla="*/ 0 h 1992"/>
                <a:gd name="T72" fmla="*/ 1554 w 2058"/>
                <a:gd name="T73" fmla="*/ 12 h 1992"/>
                <a:gd name="T74" fmla="*/ 1674 w 2058"/>
                <a:gd name="T75" fmla="*/ 50 h 1992"/>
                <a:gd name="T76" fmla="*/ 1780 w 2058"/>
                <a:gd name="T77" fmla="*/ 108 h 1992"/>
                <a:gd name="T78" fmla="*/ 1874 w 2058"/>
                <a:gd name="T79" fmla="*/ 184 h 1992"/>
                <a:gd name="T80" fmla="*/ 1950 w 2058"/>
                <a:gd name="T81" fmla="*/ 278 h 1992"/>
                <a:gd name="T82" fmla="*/ 2008 w 2058"/>
                <a:gd name="T83" fmla="*/ 384 h 1992"/>
                <a:gd name="T84" fmla="*/ 2046 w 2058"/>
                <a:gd name="T85" fmla="*/ 504 h 1992"/>
                <a:gd name="T86" fmla="*/ 2058 w 2058"/>
                <a:gd name="T87" fmla="*/ 630 h 1992"/>
                <a:gd name="T88" fmla="*/ 2042 w 2058"/>
                <a:gd name="T89" fmla="*/ 770 h 1992"/>
                <a:gd name="T90" fmla="*/ 1976 w 2058"/>
                <a:gd name="T91" fmla="*/ 940 h 1992"/>
                <a:gd name="T92" fmla="*/ 1868 w 2058"/>
                <a:gd name="T93" fmla="*/ 1082 h 1992"/>
                <a:gd name="T94" fmla="*/ 1724 w 2058"/>
                <a:gd name="T95" fmla="*/ 1186 h 19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058" h="1992">
                  <a:moveTo>
                    <a:pt x="1684" y="1206"/>
                  </a:moveTo>
                  <a:lnTo>
                    <a:pt x="1684" y="1206"/>
                  </a:lnTo>
                  <a:lnTo>
                    <a:pt x="1684" y="1208"/>
                  </a:lnTo>
                  <a:lnTo>
                    <a:pt x="1684" y="1208"/>
                  </a:lnTo>
                  <a:lnTo>
                    <a:pt x="1652" y="1170"/>
                  </a:lnTo>
                  <a:lnTo>
                    <a:pt x="1620" y="1136"/>
                  </a:lnTo>
                  <a:lnTo>
                    <a:pt x="1586" y="1102"/>
                  </a:lnTo>
                  <a:lnTo>
                    <a:pt x="1550" y="1072"/>
                  </a:lnTo>
                  <a:lnTo>
                    <a:pt x="1512" y="1042"/>
                  </a:lnTo>
                  <a:lnTo>
                    <a:pt x="1472" y="1014"/>
                  </a:lnTo>
                  <a:lnTo>
                    <a:pt x="1432" y="990"/>
                  </a:lnTo>
                  <a:lnTo>
                    <a:pt x="1388" y="968"/>
                  </a:lnTo>
                  <a:lnTo>
                    <a:pt x="1344" y="946"/>
                  </a:lnTo>
                  <a:lnTo>
                    <a:pt x="1300" y="930"/>
                  </a:lnTo>
                  <a:lnTo>
                    <a:pt x="1252" y="914"/>
                  </a:lnTo>
                  <a:lnTo>
                    <a:pt x="1206" y="900"/>
                  </a:lnTo>
                  <a:lnTo>
                    <a:pt x="1156" y="890"/>
                  </a:lnTo>
                  <a:lnTo>
                    <a:pt x="1108" y="884"/>
                  </a:lnTo>
                  <a:lnTo>
                    <a:pt x="1056" y="880"/>
                  </a:lnTo>
                  <a:lnTo>
                    <a:pt x="1006" y="878"/>
                  </a:lnTo>
                  <a:lnTo>
                    <a:pt x="1006" y="878"/>
                  </a:lnTo>
                  <a:lnTo>
                    <a:pt x="962" y="878"/>
                  </a:lnTo>
                  <a:lnTo>
                    <a:pt x="918" y="882"/>
                  </a:lnTo>
                  <a:lnTo>
                    <a:pt x="874" y="888"/>
                  </a:lnTo>
                  <a:lnTo>
                    <a:pt x="832" y="896"/>
                  </a:lnTo>
                  <a:lnTo>
                    <a:pt x="790" y="904"/>
                  </a:lnTo>
                  <a:lnTo>
                    <a:pt x="750" y="916"/>
                  </a:lnTo>
                  <a:lnTo>
                    <a:pt x="710" y="930"/>
                  </a:lnTo>
                  <a:lnTo>
                    <a:pt x="670" y="946"/>
                  </a:lnTo>
                  <a:lnTo>
                    <a:pt x="632" y="962"/>
                  </a:lnTo>
                  <a:lnTo>
                    <a:pt x="596" y="982"/>
                  </a:lnTo>
                  <a:lnTo>
                    <a:pt x="560" y="1002"/>
                  </a:lnTo>
                  <a:lnTo>
                    <a:pt x="524" y="1024"/>
                  </a:lnTo>
                  <a:lnTo>
                    <a:pt x="490" y="1048"/>
                  </a:lnTo>
                  <a:lnTo>
                    <a:pt x="458" y="1074"/>
                  </a:lnTo>
                  <a:lnTo>
                    <a:pt x="426" y="1102"/>
                  </a:lnTo>
                  <a:lnTo>
                    <a:pt x="396" y="1130"/>
                  </a:lnTo>
                  <a:lnTo>
                    <a:pt x="368" y="1160"/>
                  </a:lnTo>
                  <a:lnTo>
                    <a:pt x="342" y="1190"/>
                  </a:lnTo>
                  <a:lnTo>
                    <a:pt x="316" y="1224"/>
                  </a:lnTo>
                  <a:lnTo>
                    <a:pt x="292" y="1258"/>
                  </a:lnTo>
                  <a:lnTo>
                    <a:pt x="270" y="1292"/>
                  </a:lnTo>
                  <a:lnTo>
                    <a:pt x="248" y="1328"/>
                  </a:lnTo>
                  <a:lnTo>
                    <a:pt x="230" y="1366"/>
                  </a:lnTo>
                  <a:lnTo>
                    <a:pt x="212" y="1404"/>
                  </a:lnTo>
                  <a:lnTo>
                    <a:pt x="196" y="1442"/>
                  </a:lnTo>
                  <a:lnTo>
                    <a:pt x="184" y="1482"/>
                  </a:lnTo>
                  <a:lnTo>
                    <a:pt x="172" y="1524"/>
                  </a:lnTo>
                  <a:lnTo>
                    <a:pt x="162" y="1566"/>
                  </a:lnTo>
                  <a:lnTo>
                    <a:pt x="154" y="1608"/>
                  </a:lnTo>
                  <a:lnTo>
                    <a:pt x="148" y="1650"/>
                  </a:lnTo>
                  <a:lnTo>
                    <a:pt x="146" y="1694"/>
                  </a:lnTo>
                  <a:lnTo>
                    <a:pt x="144" y="1738"/>
                  </a:lnTo>
                  <a:lnTo>
                    <a:pt x="144" y="1738"/>
                  </a:lnTo>
                  <a:lnTo>
                    <a:pt x="146" y="1772"/>
                  </a:lnTo>
                  <a:lnTo>
                    <a:pt x="146" y="1804"/>
                  </a:lnTo>
                  <a:lnTo>
                    <a:pt x="150" y="1836"/>
                  </a:lnTo>
                  <a:lnTo>
                    <a:pt x="154" y="1868"/>
                  </a:lnTo>
                  <a:lnTo>
                    <a:pt x="166" y="1932"/>
                  </a:lnTo>
                  <a:lnTo>
                    <a:pt x="182" y="1992"/>
                  </a:lnTo>
                  <a:lnTo>
                    <a:pt x="182" y="1992"/>
                  </a:lnTo>
                  <a:lnTo>
                    <a:pt x="162" y="1964"/>
                  </a:lnTo>
                  <a:lnTo>
                    <a:pt x="142" y="1936"/>
                  </a:lnTo>
                  <a:lnTo>
                    <a:pt x="124" y="1906"/>
                  </a:lnTo>
                  <a:lnTo>
                    <a:pt x="106" y="1876"/>
                  </a:lnTo>
                  <a:lnTo>
                    <a:pt x="90" y="1844"/>
                  </a:lnTo>
                  <a:lnTo>
                    <a:pt x="74" y="1814"/>
                  </a:lnTo>
                  <a:lnTo>
                    <a:pt x="60" y="1780"/>
                  </a:lnTo>
                  <a:lnTo>
                    <a:pt x="48" y="1748"/>
                  </a:lnTo>
                  <a:lnTo>
                    <a:pt x="36" y="1714"/>
                  </a:lnTo>
                  <a:lnTo>
                    <a:pt x="28" y="1680"/>
                  </a:lnTo>
                  <a:lnTo>
                    <a:pt x="18" y="1644"/>
                  </a:lnTo>
                  <a:lnTo>
                    <a:pt x="12" y="1608"/>
                  </a:lnTo>
                  <a:lnTo>
                    <a:pt x="6" y="1572"/>
                  </a:lnTo>
                  <a:lnTo>
                    <a:pt x="2" y="1536"/>
                  </a:lnTo>
                  <a:lnTo>
                    <a:pt x="0" y="1498"/>
                  </a:lnTo>
                  <a:lnTo>
                    <a:pt x="0" y="1462"/>
                  </a:lnTo>
                  <a:lnTo>
                    <a:pt x="0" y="1462"/>
                  </a:lnTo>
                  <a:lnTo>
                    <a:pt x="0" y="1420"/>
                  </a:lnTo>
                  <a:lnTo>
                    <a:pt x="4" y="1378"/>
                  </a:lnTo>
                  <a:lnTo>
                    <a:pt x="8" y="1336"/>
                  </a:lnTo>
                  <a:lnTo>
                    <a:pt x="16" y="1296"/>
                  </a:lnTo>
                  <a:lnTo>
                    <a:pt x="24" y="1256"/>
                  </a:lnTo>
                  <a:lnTo>
                    <a:pt x="34" y="1216"/>
                  </a:lnTo>
                  <a:lnTo>
                    <a:pt x="48" y="1178"/>
                  </a:lnTo>
                  <a:lnTo>
                    <a:pt x="62" y="1140"/>
                  </a:lnTo>
                  <a:lnTo>
                    <a:pt x="78" y="1104"/>
                  </a:lnTo>
                  <a:lnTo>
                    <a:pt x="94" y="1068"/>
                  </a:lnTo>
                  <a:lnTo>
                    <a:pt x="114" y="1032"/>
                  </a:lnTo>
                  <a:lnTo>
                    <a:pt x="134" y="998"/>
                  </a:lnTo>
                  <a:lnTo>
                    <a:pt x="156" y="966"/>
                  </a:lnTo>
                  <a:lnTo>
                    <a:pt x="180" y="934"/>
                  </a:lnTo>
                  <a:lnTo>
                    <a:pt x="206" y="902"/>
                  </a:lnTo>
                  <a:lnTo>
                    <a:pt x="232" y="874"/>
                  </a:lnTo>
                  <a:lnTo>
                    <a:pt x="260" y="846"/>
                  </a:lnTo>
                  <a:lnTo>
                    <a:pt x="288" y="818"/>
                  </a:lnTo>
                  <a:lnTo>
                    <a:pt x="318" y="792"/>
                  </a:lnTo>
                  <a:lnTo>
                    <a:pt x="350" y="768"/>
                  </a:lnTo>
                  <a:lnTo>
                    <a:pt x="382" y="746"/>
                  </a:lnTo>
                  <a:lnTo>
                    <a:pt x="416" y="724"/>
                  </a:lnTo>
                  <a:lnTo>
                    <a:pt x="450" y="704"/>
                  </a:lnTo>
                  <a:lnTo>
                    <a:pt x="486" y="686"/>
                  </a:lnTo>
                  <a:lnTo>
                    <a:pt x="522" y="670"/>
                  </a:lnTo>
                  <a:lnTo>
                    <a:pt x="558" y="654"/>
                  </a:lnTo>
                  <a:lnTo>
                    <a:pt x="596" y="642"/>
                  </a:lnTo>
                  <a:lnTo>
                    <a:pt x="636" y="630"/>
                  </a:lnTo>
                  <a:lnTo>
                    <a:pt x="676" y="620"/>
                  </a:lnTo>
                  <a:lnTo>
                    <a:pt x="716" y="612"/>
                  </a:lnTo>
                  <a:lnTo>
                    <a:pt x="756" y="606"/>
                  </a:lnTo>
                  <a:lnTo>
                    <a:pt x="798" y="602"/>
                  </a:lnTo>
                  <a:lnTo>
                    <a:pt x="798" y="602"/>
                  </a:lnTo>
                  <a:lnTo>
                    <a:pt x="800" y="572"/>
                  </a:lnTo>
                  <a:lnTo>
                    <a:pt x="804" y="540"/>
                  </a:lnTo>
                  <a:lnTo>
                    <a:pt x="810" y="510"/>
                  </a:lnTo>
                  <a:lnTo>
                    <a:pt x="816" y="480"/>
                  </a:lnTo>
                  <a:lnTo>
                    <a:pt x="824" y="452"/>
                  </a:lnTo>
                  <a:lnTo>
                    <a:pt x="832" y="422"/>
                  </a:lnTo>
                  <a:lnTo>
                    <a:pt x="844" y="394"/>
                  </a:lnTo>
                  <a:lnTo>
                    <a:pt x="856" y="368"/>
                  </a:lnTo>
                  <a:lnTo>
                    <a:pt x="868" y="340"/>
                  </a:lnTo>
                  <a:lnTo>
                    <a:pt x="882" y="314"/>
                  </a:lnTo>
                  <a:lnTo>
                    <a:pt x="898" y="290"/>
                  </a:lnTo>
                  <a:lnTo>
                    <a:pt x="914" y="264"/>
                  </a:lnTo>
                  <a:lnTo>
                    <a:pt x="932" y="242"/>
                  </a:lnTo>
                  <a:lnTo>
                    <a:pt x="952" y="218"/>
                  </a:lnTo>
                  <a:lnTo>
                    <a:pt x="970" y="196"/>
                  </a:lnTo>
                  <a:lnTo>
                    <a:pt x="992" y="176"/>
                  </a:lnTo>
                  <a:lnTo>
                    <a:pt x="1014" y="156"/>
                  </a:lnTo>
                  <a:lnTo>
                    <a:pt x="1036" y="136"/>
                  </a:lnTo>
                  <a:lnTo>
                    <a:pt x="1060" y="120"/>
                  </a:lnTo>
                  <a:lnTo>
                    <a:pt x="1084" y="102"/>
                  </a:lnTo>
                  <a:lnTo>
                    <a:pt x="1108" y="86"/>
                  </a:lnTo>
                  <a:lnTo>
                    <a:pt x="1134" y="72"/>
                  </a:lnTo>
                  <a:lnTo>
                    <a:pt x="1162" y="60"/>
                  </a:lnTo>
                  <a:lnTo>
                    <a:pt x="1188" y="48"/>
                  </a:lnTo>
                  <a:lnTo>
                    <a:pt x="1216" y="36"/>
                  </a:lnTo>
                  <a:lnTo>
                    <a:pt x="1246" y="26"/>
                  </a:lnTo>
                  <a:lnTo>
                    <a:pt x="1274" y="18"/>
                  </a:lnTo>
                  <a:lnTo>
                    <a:pt x="1304" y="12"/>
                  </a:lnTo>
                  <a:lnTo>
                    <a:pt x="1334" y="6"/>
                  </a:lnTo>
                  <a:lnTo>
                    <a:pt x="1366" y="4"/>
                  </a:lnTo>
                  <a:lnTo>
                    <a:pt x="1396" y="0"/>
                  </a:lnTo>
                  <a:lnTo>
                    <a:pt x="1428" y="0"/>
                  </a:lnTo>
                  <a:lnTo>
                    <a:pt x="1428" y="0"/>
                  </a:lnTo>
                  <a:lnTo>
                    <a:pt x="1460" y="0"/>
                  </a:lnTo>
                  <a:lnTo>
                    <a:pt x="1492" y="4"/>
                  </a:lnTo>
                  <a:lnTo>
                    <a:pt x="1524" y="8"/>
                  </a:lnTo>
                  <a:lnTo>
                    <a:pt x="1554" y="12"/>
                  </a:lnTo>
                  <a:lnTo>
                    <a:pt x="1586" y="20"/>
                  </a:lnTo>
                  <a:lnTo>
                    <a:pt x="1616" y="28"/>
                  </a:lnTo>
                  <a:lnTo>
                    <a:pt x="1644" y="38"/>
                  </a:lnTo>
                  <a:lnTo>
                    <a:pt x="1674" y="50"/>
                  </a:lnTo>
                  <a:lnTo>
                    <a:pt x="1702" y="62"/>
                  </a:lnTo>
                  <a:lnTo>
                    <a:pt x="1728" y="76"/>
                  </a:lnTo>
                  <a:lnTo>
                    <a:pt x="1754" y="92"/>
                  </a:lnTo>
                  <a:lnTo>
                    <a:pt x="1780" y="108"/>
                  </a:lnTo>
                  <a:lnTo>
                    <a:pt x="1804" y="126"/>
                  </a:lnTo>
                  <a:lnTo>
                    <a:pt x="1828" y="144"/>
                  </a:lnTo>
                  <a:lnTo>
                    <a:pt x="1852" y="164"/>
                  </a:lnTo>
                  <a:lnTo>
                    <a:pt x="1874" y="184"/>
                  </a:lnTo>
                  <a:lnTo>
                    <a:pt x="1894" y="206"/>
                  </a:lnTo>
                  <a:lnTo>
                    <a:pt x="1914" y="230"/>
                  </a:lnTo>
                  <a:lnTo>
                    <a:pt x="1932" y="254"/>
                  </a:lnTo>
                  <a:lnTo>
                    <a:pt x="1950" y="278"/>
                  </a:lnTo>
                  <a:lnTo>
                    <a:pt x="1966" y="304"/>
                  </a:lnTo>
                  <a:lnTo>
                    <a:pt x="1982" y="330"/>
                  </a:lnTo>
                  <a:lnTo>
                    <a:pt x="1996" y="356"/>
                  </a:lnTo>
                  <a:lnTo>
                    <a:pt x="2008" y="384"/>
                  </a:lnTo>
                  <a:lnTo>
                    <a:pt x="2020" y="414"/>
                  </a:lnTo>
                  <a:lnTo>
                    <a:pt x="2030" y="442"/>
                  </a:lnTo>
                  <a:lnTo>
                    <a:pt x="2038" y="472"/>
                  </a:lnTo>
                  <a:lnTo>
                    <a:pt x="2046" y="504"/>
                  </a:lnTo>
                  <a:lnTo>
                    <a:pt x="2050" y="534"/>
                  </a:lnTo>
                  <a:lnTo>
                    <a:pt x="2054" y="566"/>
                  </a:lnTo>
                  <a:lnTo>
                    <a:pt x="2058" y="598"/>
                  </a:lnTo>
                  <a:lnTo>
                    <a:pt x="2058" y="630"/>
                  </a:lnTo>
                  <a:lnTo>
                    <a:pt x="2058" y="630"/>
                  </a:lnTo>
                  <a:lnTo>
                    <a:pt x="2056" y="678"/>
                  </a:lnTo>
                  <a:lnTo>
                    <a:pt x="2050" y="724"/>
                  </a:lnTo>
                  <a:lnTo>
                    <a:pt x="2042" y="770"/>
                  </a:lnTo>
                  <a:lnTo>
                    <a:pt x="2030" y="814"/>
                  </a:lnTo>
                  <a:lnTo>
                    <a:pt x="2016" y="858"/>
                  </a:lnTo>
                  <a:lnTo>
                    <a:pt x="1998" y="900"/>
                  </a:lnTo>
                  <a:lnTo>
                    <a:pt x="1976" y="940"/>
                  </a:lnTo>
                  <a:lnTo>
                    <a:pt x="1954" y="978"/>
                  </a:lnTo>
                  <a:lnTo>
                    <a:pt x="1928" y="1014"/>
                  </a:lnTo>
                  <a:lnTo>
                    <a:pt x="1898" y="1048"/>
                  </a:lnTo>
                  <a:lnTo>
                    <a:pt x="1868" y="1082"/>
                  </a:lnTo>
                  <a:lnTo>
                    <a:pt x="1834" y="1112"/>
                  </a:lnTo>
                  <a:lnTo>
                    <a:pt x="1800" y="1138"/>
                  </a:lnTo>
                  <a:lnTo>
                    <a:pt x="1762" y="1164"/>
                  </a:lnTo>
                  <a:lnTo>
                    <a:pt x="1724" y="1186"/>
                  </a:lnTo>
                  <a:lnTo>
                    <a:pt x="1684" y="1206"/>
                  </a:lnTo>
                  <a:lnTo>
                    <a:pt x="1684" y="120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540D5431-23AC-9336-DCE7-62054832FC98}"/>
                </a:ext>
              </a:extLst>
            </p:cNvPr>
            <p:cNvSpPr>
              <a:spLocks/>
            </p:cNvSpPr>
            <p:nvPr/>
          </p:nvSpPr>
          <p:spPr bwMode="auto">
            <a:xfrm>
              <a:off x="5490703" y="2217990"/>
              <a:ext cx="3575297" cy="2748798"/>
            </a:xfrm>
            <a:custGeom>
              <a:avLst/>
              <a:gdLst>
                <a:gd name="T0" fmla="*/ 1782 w 2310"/>
                <a:gd name="T1" fmla="*/ 1766 h 1776"/>
                <a:gd name="T2" fmla="*/ 1600 w 2310"/>
                <a:gd name="T3" fmla="*/ 1770 h 1776"/>
                <a:gd name="T4" fmla="*/ 1428 w 2310"/>
                <a:gd name="T5" fmla="*/ 1722 h 1776"/>
                <a:gd name="T6" fmla="*/ 1276 w 2310"/>
                <a:gd name="T7" fmla="*/ 1628 h 1776"/>
                <a:gd name="T8" fmla="*/ 1210 w 2310"/>
                <a:gd name="T9" fmla="*/ 1566 h 1776"/>
                <a:gd name="T10" fmla="*/ 1280 w 2310"/>
                <a:gd name="T11" fmla="*/ 1442 h 1776"/>
                <a:gd name="T12" fmla="*/ 1338 w 2310"/>
                <a:gd name="T13" fmla="*/ 1260 h 1776"/>
                <a:gd name="T14" fmla="*/ 1356 w 2310"/>
                <a:gd name="T15" fmla="*/ 1066 h 1776"/>
                <a:gd name="T16" fmla="*/ 1328 w 2310"/>
                <a:gd name="T17" fmla="*/ 868 h 1776"/>
                <a:gd name="T18" fmla="*/ 1282 w 2310"/>
                <a:gd name="T19" fmla="*/ 738 h 1776"/>
                <a:gd name="T20" fmla="*/ 1198 w 2310"/>
                <a:gd name="T21" fmla="*/ 588 h 1776"/>
                <a:gd name="T22" fmla="*/ 1088 w 2310"/>
                <a:gd name="T23" fmla="*/ 462 h 1776"/>
                <a:gd name="T24" fmla="*/ 958 w 2310"/>
                <a:gd name="T25" fmla="*/ 360 h 1776"/>
                <a:gd name="T26" fmla="*/ 812 w 2310"/>
                <a:gd name="T27" fmla="*/ 284 h 1776"/>
                <a:gd name="T28" fmla="*/ 652 w 2310"/>
                <a:gd name="T29" fmla="*/ 238 h 1776"/>
                <a:gd name="T30" fmla="*/ 484 w 2310"/>
                <a:gd name="T31" fmla="*/ 224 h 1776"/>
                <a:gd name="T32" fmla="*/ 314 w 2310"/>
                <a:gd name="T33" fmla="*/ 244 h 1776"/>
                <a:gd name="T34" fmla="*/ 198 w 2310"/>
                <a:gd name="T35" fmla="*/ 278 h 1776"/>
                <a:gd name="T36" fmla="*/ 52 w 2310"/>
                <a:gd name="T37" fmla="*/ 346 h 1776"/>
                <a:gd name="T38" fmla="*/ 40 w 2310"/>
                <a:gd name="T39" fmla="*/ 324 h 1776"/>
                <a:gd name="T40" fmla="*/ 136 w 2310"/>
                <a:gd name="T41" fmla="*/ 222 h 1776"/>
                <a:gd name="T42" fmla="*/ 250 w 2310"/>
                <a:gd name="T43" fmla="*/ 136 h 1776"/>
                <a:gd name="T44" fmla="*/ 378 w 2310"/>
                <a:gd name="T45" fmla="*/ 68 h 1776"/>
                <a:gd name="T46" fmla="*/ 488 w 2310"/>
                <a:gd name="T47" fmla="*/ 30 h 1776"/>
                <a:gd name="T48" fmla="*/ 652 w 2310"/>
                <a:gd name="T49" fmla="*/ 2 h 1776"/>
                <a:gd name="T50" fmla="*/ 814 w 2310"/>
                <a:gd name="T51" fmla="*/ 6 h 1776"/>
                <a:gd name="T52" fmla="*/ 968 w 2310"/>
                <a:gd name="T53" fmla="*/ 40 h 1776"/>
                <a:gd name="T54" fmla="*/ 1114 w 2310"/>
                <a:gd name="T55" fmla="*/ 100 h 1776"/>
                <a:gd name="T56" fmla="*/ 1248 w 2310"/>
                <a:gd name="T57" fmla="*/ 186 h 1776"/>
                <a:gd name="T58" fmla="*/ 1362 w 2310"/>
                <a:gd name="T59" fmla="*/ 296 h 1776"/>
                <a:gd name="T60" fmla="*/ 1458 w 2310"/>
                <a:gd name="T61" fmla="*/ 426 h 1776"/>
                <a:gd name="T62" fmla="*/ 1512 w 2310"/>
                <a:gd name="T63" fmla="*/ 538 h 1776"/>
                <a:gd name="T64" fmla="*/ 1634 w 2310"/>
                <a:gd name="T65" fmla="*/ 516 h 1776"/>
                <a:gd name="T66" fmla="*/ 1754 w 2310"/>
                <a:gd name="T67" fmla="*/ 520 h 1776"/>
                <a:gd name="T68" fmla="*/ 1870 w 2310"/>
                <a:gd name="T69" fmla="*/ 544 h 1776"/>
                <a:gd name="T70" fmla="*/ 1978 w 2310"/>
                <a:gd name="T71" fmla="*/ 590 h 1776"/>
                <a:gd name="T72" fmla="*/ 2076 w 2310"/>
                <a:gd name="T73" fmla="*/ 654 h 1776"/>
                <a:gd name="T74" fmla="*/ 2160 w 2310"/>
                <a:gd name="T75" fmla="*/ 738 h 1776"/>
                <a:gd name="T76" fmla="*/ 2230 w 2310"/>
                <a:gd name="T77" fmla="*/ 836 h 1776"/>
                <a:gd name="T78" fmla="*/ 2280 w 2310"/>
                <a:gd name="T79" fmla="*/ 950 h 1776"/>
                <a:gd name="T80" fmla="*/ 2302 w 2310"/>
                <a:gd name="T81" fmla="*/ 1044 h 1776"/>
                <a:gd name="T82" fmla="*/ 2310 w 2310"/>
                <a:gd name="T83" fmla="*/ 1168 h 1776"/>
                <a:gd name="T84" fmla="*/ 2294 w 2310"/>
                <a:gd name="T85" fmla="*/ 1290 h 1776"/>
                <a:gd name="T86" fmla="*/ 2254 w 2310"/>
                <a:gd name="T87" fmla="*/ 1404 h 1776"/>
                <a:gd name="T88" fmla="*/ 2194 w 2310"/>
                <a:gd name="T89" fmla="*/ 1508 h 1776"/>
                <a:gd name="T90" fmla="*/ 2116 w 2310"/>
                <a:gd name="T91" fmla="*/ 1600 h 1776"/>
                <a:gd name="T92" fmla="*/ 2018 w 2310"/>
                <a:gd name="T93" fmla="*/ 1676 h 1776"/>
                <a:gd name="T94" fmla="*/ 1906 w 2310"/>
                <a:gd name="T95" fmla="*/ 1734 h 17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310" h="1776">
                  <a:moveTo>
                    <a:pt x="1874" y="1744"/>
                  </a:moveTo>
                  <a:lnTo>
                    <a:pt x="1874" y="1744"/>
                  </a:lnTo>
                  <a:lnTo>
                    <a:pt x="1828" y="1758"/>
                  </a:lnTo>
                  <a:lnTo>
                    <a:pt x="1782" y="1766"/>
                  </a:lnTo>
                  <a:lnTo>
                    <a:pt x="1736" y="1772"/>
                  </a:lnTo>
                  <a:lnTo>
                    <a:pt x="1690" y="1776"/>
                  </a:lnTo>
                  <a:lnTo>
                    <a:pt x="1644" y="1774"/>
                  </a:lnTo>
                  <a:lnTo>
                    <a:pt x="1600" y="1770"/>
                  </a:lnTo>
                  <a:lnTo>
                    <a:pt x="1556" y="1762"/>
                  </a:lnTo>
                  <a:lnTo>
                    <a:pt x="1512" y="1752"/>
                  </a:lnTo>
                  <a:lnTo>
                    <a:pt x="1468" y="1738"/>
                  </a:lnTo>
                  <a:lnTo>
                    <a:pt x="1428" y="1722"/>
                  </a:lnTo>
                  <a:lnTo>
                    <a:pt x="1388" y="1702"/>
                  </a:lnTo>
                  <a:lnTo>
                    <a:pt x="1348" y="1680"/>
                  </a:lnTo>
                  <a:lnTo>
                    <a:pt x="1312" y="1656"/>
                  </a:lnTo>
                  <a:lnTo>
                    <a:pt x="1276" y="1628"/>
                  </a:lnTo>
                  <a:lnTo>
                    <a:pt x="1242" y="1598"/>
                  </a:lnTo>
                  <a:lnTo>
                    <a:pt x="1210" y="1566"/>
                  </a:lnTo>
                  <a:lnTo>
                    <a:pt x="1210" y="1566"/>
                  </a:lnTo>
                  <a:lnTo>
                    <a:pt x="1210" y="1566"/>
                  </a:lnTo>
                  <a:lnTo>
                    <a:pt x="1210" y="1566"/>
                  </a:lnTo>
                  <a:lnTo>
                    <a:pt x="1236" y="1526"/>
                  </a:lnTo>
                  <a:lnTo>
                    <a:pt x="1258" y="1484"/>
                  </a:lnTo>
                  <a:lnTo>
                    <a:pt x="1280" y="1442"/>
                  </a:lnTo>
                  <a:lnTo>
                    <a:pt x="1298" y="1396"/>
                  </a:lnTo>
                  <a:lnTo>
                    <a:pt x="1314" y="1352"/>
                  </a:lnTo>
                  <a:lnTo>
                    <a:pt x="1328" y="1306"/>
                  </a:lnTo>
                  <a:lnTo>
                    <a:pt x="1338" y="1260"/>
                  </a:lnTo>
                  <a:lnTo>
                    <a:pt x="1348" y="1212"/>
                  </a:lnTo>
                  <a:lnTo>
                    <a:pt x="1354" y="1164"/>
                  </a:lnTo>
                  <a:lnTo>
                    <a:pt x="1356" y="1116"/>
                  </a:lnTo>
                  <a:lnTo>
                    <a:pt x="1356" y="1066"/>
                  </a:lnTo>
                  <a:lnTo>
                    <a:pt x="1354" y="1016"/>
                  </a:lnTo>
                  <a:lnTo>
                    <a:pt x="1348" y="968"/>
                  </a:lnTo>
                  <a:lnTo>
                    <a:pt x="1340" y="918"/>
                  </a:lnTo>
                  <a:lnTo>
                    <a:pt x="1328" y="868"/>
                  </a:lnTo>
                  <a:lnTo>
                    <a:pt x="1314" y="820"/>
                  </a:lnTo>
                  <a:lnTo>
                    <a:pt x="1314" y="820"/>
                  </a:lnTo>
                  <a:lnTo>
                    <a:pt x="1300" y="778"/>
                  </a:lnTo>
                  <a:lnTo>
                    <a:pt x="1282" y="738"/>
                  </a:lnTo>
                  <a:lnTo>
                    <a:pt x="1264" y="698"/>
                  </a:lnTo>
                  <a:lnTo>
                    <a:pt x="1244" y="660"/>
                  </a:lnTo>
                  <a:lnTo>
                    <a:pt x="1222" y="624"/>
                  </a:lnTo>
                  <a:lnTo>
                    <a:pt x="1198" y="588"/>
                  </a:lnTo>
                  <a:lnTo>
                    <a:pt x="1174" y="554"/>
                  </a:lnTo>
                  <a:lnTo>
                    <a:pt x="1146" y="522"/>
                  </a:lnTo>
                  <a:lnTo>
                    <a:pt x="1118" y="490"/>
                  </a:lnTo>
                  <a:lnTo>
                    <a:pt x="1088" y="462"/>
                  </a:lnTo>
                  <a:lnTo>
                    <a:pt x="1058" y="434"/>
                  </a:lnTo>
                  <a:lnTo>
                    <a:pt x="1026" y="408"/>
                  </a:lnTo>
                  <a:lnTo>
                    <a:pt x="992" y="382"/>
                  </a:lnTo>
                  <a:lnTo>
                    <a:pt x="958" y="360"/>
                  </a:lnTo>
                  <a:lnTo>
                    <a:pt x="922" y="338"/>
                  </a:lnTo>
                  <a:lnTo>
                    <a:pt x="886" y="318"/>
                  </a:lnTo>
                  <a:lnTo>
                    <a:pt x="850" y="300"/>
                  </a:lnTo>
                  <a:lnTo>
                    <a:pt x="812" y="284"/>
                  </a:lnTo>
                  <a:lnTo>
                    <a:pt x="772" y="270"/>
                  </a:lnTo>
                  <a:lnTo>
                    <a:pt x="732" y="258"/>
                  </a:lnTo>
                  <a:lnTo>
                    <a:pt x="692" y="248"/>
                  </a:lnTo>
                  <a:lnTo>
                    <a:pt x="652" y="238"/>
                  </a:lnTo>
                  <a:lnTo>
                    <a:pt x="610" y="232"/>
                  </a:lnTo>
                  <a:lnTo>
                    <a:pt x="570" y="228"/>
                  </a:lnTo>
                  <a:lnTo>
                    <a:pt x="528" y="224"/>
                  </a:lnTo>
                  <a:lnTo>
                    <a:pt x="484" y="224"/>
                  </a:lnTo>
                  <a:lnTo>
                    <a:pt x="442" y="226"/>
                  </a:lnTo>
                  <a:lnTo>
                    <a:pt x="400" y="230"/>
                  </a:lnTo>
                  <a:lnTo>
                    <a:pt x="358" y="236"/>
                  </a:lnTo>
                  <a:lnTo>
                    <a:pt x="314" y="244"/>
                  </a:lnTo>
                  <a:lnTo>
                    <a:pt x="272" y="254"/>
                  </a:lnTo>
                  <a:lnTo>
                    <a:pt x="230" y="266"/>
                  </a:lnTo>
                  <a:lnTo>
                    <a:pt x="230" y="266"/>
                  </a:lnTo>
                  <a:lnTo>
                    <a:pt x="198" y="278"/>
                  </a:lnTo>
                  <a:lnTo>
                    <a:pt x="168" y="290"/>
                  </a:lnTo>
                  <a:lnTo>
                    <a:pt x="138" y="302"/>
                  </a:lnTo>
                  <a:lnTo>
                    <a:pt x="108" y="316"/>
                  </a:lnTo>
                  <a:lnTo>
                    <a:pt x="52" y="346"/>
                  </a:lnTo>
                  <a:lnTo>
                    <a:pt x="0" y="382"/>
                  </a:lnTo>
                  <a:lnTo>
                    <a:pt x="0" y="382"/>
                  </a:lnTo>
                  <a:lnTo>
                    <a:pt x="20" y="352"/>
                  </a:lnTo>
                  <a:lnTo>
                    <a:pt x="40" y="324"/>
                  </a:lnTo>
                  <a:lnTo>
                    <a:pt x="64" y="298"/>
                  </a:lnTo>
                  <a:lnTo>
                    <a:pt x="86" y="272"/>
                  </a:lnTo>
                  <a:lnTo>
                    <a:pt x="112" y="246"/>
                  </a:lnTo>
                  <a:lnTo>
                    <a:pt x="136" y="222"/>
                  </a:lnTo>
                  <a:lnTo>
                    <a:pt x="164" y="200"/>
                  </a:lnTo>
                  <a:lnTo>
                    <a:pt x="192" y="178"/>
                  </a:lnTo>
                  <a:lnTo>
                    <a:pt x="220" y="156"/>
                  </a:lnTo>
                  <a:lnTo>
                    <a:pt x="250" y="136"/>
                  </a:lnTo>
                  <a:lnTo>
                    <a:pt x="280" y="118"/>
                  </a:lnTo>
                  <a:lnTo>
                    <a:pt x="312" y="100"/>
                  </a:lnTo>
                  <a:lnTo>
                    <a:pt x="344" y="84"/>
                  </a:lnTo>
                  <a:lnTo>
                    <a:pt x="378" y="68"/>
                  </a:lnTo>
                  <a:lnTo>
                    <a:pt x="412" y="56"/>
                  </a:lnTo>
                  <a:lnTo>
                    <a:pt x="448" y="42"/>
                  </a:lnTo>
                  <a:lnTo>
                    <a:pt x="448" y="42"/>
                  </a:lnTo>
                  <a:lnTo>
                    <a:pt x="488" y="30"/>
                  </a:lnTo>
                  <a:lnTo>
                    <a:pt x="530" y="20"/>
                  </a:lnTo>
                  <a:lnTo>
                    <a:pt x="570" y="12"/>
                  </a:lnTo>
                  <a:lnTo>
                    <a:pt x="612" y="6"/>
                  </a:lnTo>
                  <a:lnTo>
                    <a:pt x="652" y="2"/>
                  </a:lnTo>
                  <a:lnTo>
                    <a:pt x="692" y="0"/>
                  </a:lnTo>
                  <a:lnTo>
                    <a:pt x="734" y="0"/>
                  </a:lnTo>
                  <a:lnTo>
                    <a:pt x="774" y="2"/>
                  </a:lnTo>
                  <a:lnTo>
                    <a:pt x="814" y="6"/>
                  </a:lnTo>
                  <a:lnTo>
                    <a:pt x="852" y="12"/>
                  </a:lnTo>
                  <a:lnTo>
                    <a:pt x="892" y="20"/>
                  </a:lnTo>
                  <a:lnTo>
                    <a:pt x="930" y="28"/>
                  </a:lnTo>
                  <a:lnTo>
                    <a:pt x="968" y="40"/>
                  </a:lnTo>
                  <a:lnTo>
                    <a:pt x="1006" y="52"/>
                  </a:lnTo>
                  <a:lnTo>
                    <a:pt x="1044" y="66"/>
                  </a:lnTo>
                  <a:lnTo>
                    <a:pt x="1080" y="82"/>
                  </a:lnTo>
                  <a:lnTo>
                    <a:pt x="1114" y="100"/>
                  </a:lnTo>
                  <a:lnTo>
                    <a:pt x="1150" y="118"/>
                  </a:lnTo>
                  <a:lnTo>
                    <a:pt x="1182" y="140"/>
                  </a:lnTo>
                  <a:lnTo>
                    <a:pt x="1216" y="162"/>
                  </a:lnTo>
                  <a:lnTo>
                    <a:pt x="1248" y="186"/>
                  </a:lnTo>
                  <a:lnTo>
                    <a:pt x="1278" y="210"/>
                  </a:lnTo>
                  <a:lnTo>
                    <a:pt x="1308" y="238"/>
                  </a:lnTo>
                  <a:lnTo>
                    <a:pt x="1336" y="266"/>
                  </a:lnTo>
                  <a:lnTo>
                    <a:pt x="1362" y="296"/>
                  </a:lnTo>
                  <a:lnTo>
                    <a:pt x="1388" y="326"/>
                  </a:lnTo>
                  <a:lnTo>
                    <a:pt x="1412" y="358"/>
                  </a:lnTo>
                  <a:lnTo>
                    <a:pt x="1436" y="392"/>
                  </a:lnTo>
                  <a:lnTo>
                    <a:pt x="1458" y="426"/>
                  </a:lnTo>
                  <a:lnTo>
                    <a:pt x="1476" y="462"/>
                  </a:lnTo>
                  <a:lnTo>
                    <a:pt x="1496" y="500"/>
                  </a:lnTo>
                  <a:lnTo>
                    <a:pt x="1512" y="538"/>
                  </a:lnTo>
                  <a:lnTo>
                    <a:pt x="1512" y="538"/>
                  </a:lnTo>
                  <a:lnTo>
                    <a:pt x="1542" y="530"/>
                  </a:lnTo>
                  <a:lnTo>
                    <a:pt x="1572" y="524"/>
                  </a:lnTo>
                  <a:lnTo>
                    <a:pt x="1604" y="520"/>
                  </a:lnTo>
                  <a:lnTo>
                    <a:pt x="1634" y="516"/>
                  </a:lnTo>
                  <a:lnTo>
                    <a:pt x="1664" y="514"/>
                  </a:lnTo>
                  <a:lnTo>
                    <a:pt x="1694" y="514"/>
                  </a:lnTo>
                  <a:lnTo>
                    <a:pt x="1724" y="516"/>
                  </a:lnTo>
                  <a:lnTo>
                    <a:pt x="1754" y="520"/>
                  </a:lnTo>
                  <a:lnTo>
                    <a:pt x="1782" y="524"/>
                  </a:lnTo>
                  <a:lnTo>
                    <a:pt x="1812" y="528"/>
                  </a:lnTo>
                  <a:lnTo>
                    <a:pt x="1840" y="536"/>
                  </a:lnTo>
                  <a:lnTo>
                    <a:pt x="1870" y="544"/>
                  </a:lnTo>
                  <a:lnTo>
                    <a:pt x="1898" y="554"/>
                  </a:lnTo>
                  <a:lnTo>
                    <a:pt x="1924" y="564"/>
                  </a:lnTo>
                  <a:lnTo>
                    <a:pt x="1952" y="576"/>
                  </a:lnTo>
                  <a:lnTo>
                    <a:pt x="1978" y="590"/>
                  </a:lnTo>
                  <a:lnTo>
                    <a:pt x="2004" y="604"/>
                  </a:lnTo>
                  <a:lnTo>
                    <a:pt x="2028" y="620"/>
                  </a:lnTo>
                  <a:lnTo>
                    <a:pt x="2052" y="636"/>
                  </a:lnTo>
                  <a:lnTo>
                    <a:pt x="2076" y="654"/>
                  </a:lnTo>
                  <a:lnTo>
                    <a:pt x="2098" y="674"/>
                  </a:lnTo>
                  <a:lnTo>
                    <a:pt x="2120" y="694"/>
                  </a:lnTo>
                  <a:lnTo>
                    <a:pt x="2142" y="716"/>
                  </a:lnTo>
                  <a:lnTo>
                    <a:pt x="2160" y="738"/>
                  </a:lnTo>
                  <a:lnTo>
                    <a:pt x="2180" y="760"/>
                  </a:lnTo>
                  <a:lnTo>
                    <a:pt x="2198" y="784"/>
                  </a:lnTo>
                  <a:lnTo>
                    <a:pt x="2214" y="810"/>
                  </a:lnTo>
                  <a:lnTo>
                    <a:pt x="2230" y="836"/>
                  </a:lnTo>
                  <a:lnTo>
                    <a:pt x="2244" y="864"/>
                  </a:lnTo>
                  <a:lnTo>
                    <a:pt x="2258" y="892"/>
                  </a:lnTo>
                  <a:lnTo>
                    <a:pt x="2270" y="920"/>
                  </a:lnTo>
                  <a:lnTo>
                    <a:pt x="2280" y="950"/>
                  </a:lnTo>
                  <a:lnTo>
                    <a:pt x="2280" y="950"/>
                  </a:lnTo>
                  <a:lnTo>
                    <a:pt x="2288" y="982"/>
                  </a:lnTo>
                  <a:lnTo>
                    <a:pt x="2296" y="1012"/>
                  </a:lnTo>
                  <a:lnTo>
                    <a:pt x="2302" y="1044"/>
                  </a:lnTo>
                  <a:lnTo>
                    <a:pt x="2306" y="1076"/>
                  </a:lnTo>
                  <a:lnTo>
                    <a:pt x="2310" y="1106"/>
                  </a:lnTo>
                  <a:lnTo>
                    <a:pt x="2310" y="1138"/>
                  </a:lnTo>
                  <a:lnTo>
                    <a:pt x="2310" y="1168"/>
                  </a:lnTo>
                  <a:lnTo>
                    <a:pt x="2308" y="1198"/>
                  </a:lnTo>
                  <a:lnTo>
                    <a:pt x="2304" y="1230"/>
                  </a:lnTo>
                  <a:lnTo>
                    <a:pt x="2300" y="1260"/>
                  </a:lnTo>
                  <a:lnTo>
                    <a:pt x="2294" y="1290"/>
                  </a:lnTo>
                  <a:lnTo>
                    <a:pt x="2286" y="1318"/>
                  </a:lnTo>
                  <a:lnTo>
                    <a:pt x="2276" y="1348"/>
                  </a:lnTo>
                  <a:lnTo>
                    <a:pt x="2266" y="1376"/>
                  </a:lnTo>
                  <a:lnTo>
                    <a:pt x="2254" y="1404"/>
                  </a:lnTo>
                  <a:lnTo>
                    <a:pt x="2242" y="1432"/>
                  </a:lnTo>
                  <a:lnTo>
                    <a:pt x="2228" y="1458"/>
                  </a:lnTo>
                  <a:lnTo>
                    <a:pt x="2212" y="1484"/>
                  </a:lnTo>
                  <a:lnTo>
                    <a:pt x="2194" y="1508"/>
                  </a:lnTo>
                  <a:lnTo>
                    <a:pt x="2176" y="1534"/>
                  </a:lnTo>
                  <a:lnTo>
                    <a:pt x="2158" y="1556"/>
                  </a:lnTo>
                  <a:lnTo>
                    <a:pt x="2136" y="1580"/>
                  </a:lnTo>
                  <a:lnTo>
                    <a:pt x="2116" y="1600"/>
                  </a:lnTo>
                  <a:lnTo>
                    <a:pt x="2092" y="1622"/>
                  </a:lnTo>
                  <a:lnTo>
                    <a:pt x="2070" y="1642"/>
                  </a:lnTo>
                  <a:lnTo>
                    <a:pt x="2044" y="1660"/>
                  </a:lnTo>
                  <a:lnTo>
                    <a:pt x="2018" y="1676"/>
                  </a:lnTo>
                  <a:lnTo>
                    <a:pt x="1992" y="1692"/>
                  </a:lnTo>
                  <a:lnTo>
                    <a:pt x="1964" y="1708"/>
                  </a:lnTo>
                  <a:lnTo>
                    <a:pt x="1936" y="1722"/>
                  </a:lnTo>
                  <a:lnTo>
                    <a:pt x="1906" y="1734"/>
                  </a:lnTo>
                  <a:lnTo>
                    <a:pt x="1874" y="1744"/>
                  </a:lnTo>
                  <a:lnTo>
                    <a:pt x="1874" y="1744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4F82F54D-384F-2D5B-3913-0C69451669B6}"/>
                </a:ext>
              </a:extLst>
            </p:cNvPr>
            <p:cNvSpPr>
              <a:spLocks/>
            </p:cNvSpPr>
            <p:nvPr/>
          </p:nvSpPr>
          <p:spPr bwMode="auto">
            <a:xfrm rot="21374256">
              <a:off x="5137168" y="2727074"/>
              <a:ext cx="2392817" cy="3776501"/>
            </a:xfrm>
            <a:custGeom>
              <a:avLst/>
              <a:gdLst>
                <a:gd name="T0" fmla="*/ 1210 w 1546"/>
                <a:gd name="T1" fmla="*/ 1564 h 2440"/>
                <a:gd name="T2" fmla="*/ 1246 w 1546"/>
                <a:gd name="T3" fmla="*/ 1680 h 2440"/>
                <a:gd name="T4" fmla="*/ 1260 w 1546"/>
                <a:gd name="T5" fmla="*/ 1798 h 2440"/>
                <a:gd name="T6" fmla="*/ 1252 w 1546"/>
                <a:gd name="T7" fmla="*/ 1916 h 2440"/>
                <a:gd name="T8" fmla="*/ 1222 w 1546"/>
                <a:gd name="T9" fmla="*/ 2030 h 2440"/>
                <a:gd name="T10" fmla="*/ 1170 w 1546"/>
                <a:gd name="T11" fmla="*/ 2136 h 2440"/>
                <a:gd name="T12" fmla="*/ 1098 w 1546"/>
                <a:gd name="T13" fmla="*/ 2232 h 2440"/>
                <a:gd name="T14" fmla="*/ 1008 w 1546"/>
                <a:gd name="T15" fmla="*/ 2314 h 2440"/>
                <a:gd name="T16" fmla="*/ 928 w 1546"/>
                <a:gd name="T17" fmla="*/ 2366 h 2440"/>
                <a:gd name="T18" fmla="*/ 812 w 1546"/>
                <a:gd name="T19" fmla="*/ 2414 h 2440"/>
                <a:gd name="T20" fmla="*/ 690 w 1546"/>
                <a:gd name="T21" fmla="*/ 2438 h 2440"/>
                <a:gd name="T22" fmla="*/ 570 w 1546"/>
                <a:gd name="T23" fmla="*/ 2438 h 2440"/>
                <a:gd name="T24" fmla="*/ 450 w 1546"/>
                <a:gd name="T25" fmla="*/ 2414 h 2440"/>
                <a:gd name="T26" fmla="*/ 338 w 1546"/>
                <a:gd name="T27" fmla="*/ 2368 h 2440"/>
                <a:gd name="T28" fmla="*/ 236 w 1546"/>
                <a:gd name="T29" fmla="*/ 2302 h 2440"/>
                <a:gd name="T30" fmla="*/ 148 w 1546"/>
                <a:gd name="T31" fmla="*/ 2214 h 2440"/>
                <a:gd name="T32" fmla="*/ 92 w 1546"/>
                <a:gd name="T33" fmla="*/ 2136 h 2440"/>
                <a:gd name="T34" fmla="*/ 20 w 1546"/>
                <a:gd name="T35" fmla="*/ 1964 h 2440"/>
                <a:gd name="T36" fmla="*/ 0 w 1546"/>
                <a:gd name="T37" fmla="*/ 1784 h 2440"/>
                <a:gd name="T38" fmla="*/ 34 w 1546"/>
                <a:gd name="T39" fmla="*/ 1610 h 2440"/>
                <a:gd name="T40" fmla="*/ 114 w 1546"/>
                <a:gd name="T41" fmla="*/ 1450 h 2440"/>
                <a:gd name="T42" fmla="*/ 158 w 1546"/>
                <a:gd name="T43" fmla="*/ 1464 h 2440"/>
                <a:gd name="T44" fmla="*/ 346 w 1546"/>
                <a:gd name="T45" fmla="*/ 1502 h 2440"/>
                <a:gd name="T46" fmla="*/ 538 w 1546"/>
                <a:gd name="T47" fmla="*/ 1496 h 2440"/>
                <a:gd name="T48" fmla="*/ 728 w 1546"/>
                <a:gd name="T49" fmla="*/ 1446 h 2440"/>
                <a:gd name="T50" fmla="*/ 864 w 1546"/>
                <a:gd name="T51" fmla="*/ 1380 h 2440"/>
                <a:gd name="T52" fmla="*/ 1002 w 1546"/>
                <a:gd name="T53" fmla="*/ 1276 h 2440"/>
                <a:gd name="T54" fmla="*/ 1116 w 1546"/>
                <a:gd name="T55" fmla="*/ 1148 h 2440"/>
                <a:gd name="T56" fmla="*/ 1200 w 1546"/>
                <a:gd name="T57" fmla="*/ 1004 h 2440"/>
                <a:gd name="T58" fmla="*/ 1254 w 1546"/>
                <a:gd name="T59" fmla="*/ 848 h 2440"/>
                <a:gd name="T60" fmla="*/ 1278 w 1546"/>
                <a:gd name="T61" fmla="*/ 686 h 2440"/>
                <a:gd name="T62" fmla="*/ 1270 w 1546"/>
                <a:gd name="T63" fmla="*/ 520 h 2440"/>
                <a:gd name="T64" fmla="*/ 1230 w 1546"/>
                <a:gd name="T65" fmla="*/ 354 h 2440"/>
                <a:gd name="T66" fmla="*/ 1154 w 1546"/>
                <a:gd name="T67" fmla="*/ 198 h 2440"/>
                <a:gd name="T68" fmla="*/ 1100 w 1546"/>
                <a:gd name="T69" fmla="*/ 116 h 2440"/>
                <a:gd name="T70" fmla="*/ 990 w 1546"/>
                <a:gd name="T71" fmla="*/ 0 h 2440"/>
                <a:gd name="T72" fmla="*/ 1116 w 1546"/>
                <a:gd name="T73" fmla="*/ 60 h 2440"/>
                <a:gd name="T74" fmla="*/ 1232 w 1546"/>
                <a:gd name="T75" fmla="*/ 140 h 2440"/>
                <a:gd name="T76" fmla="*/ 1336 w 1546"/>
                <a:gd name="T77" fmla="*/ 240 h 2440"/>
                <a:gd name="T78" fmla="*/ 1422 w 1546"/>
                <a:gd name="T79" fmla="*/ 360 h 2440"/>
                <a:gd name="T80" fmla="*/ 1480 w 1546"/>
                <a:gd name="T81" fmla="*/ 472 h 2440"/>
                <a:gd name="T82" fmla="*/ 1528 w 1546"/>
                <a:gd name="T83" fmla="*/ 628 h 2440"/>
                <a:gd name="T84" fmla="*/ 1546 w 1546"/>
                <a:gd name="T85" fmla="*/ 786 h 2440"/>
                <a:gd name="T86" fmla="*/ 1536 w 1546"/>
                <a:gd name="T87" fmla="*/ 944 h 2440"/>
                <a:gd name="T88" fmla="*/ 1496 w 1546"/>
                <a:gd name="T89" fmla="*/ 1096 h 2440"/>
                <a:gd name="T90" fmla="*/ 1428 w 1546"/>
                <a:gd name="T91" fmla="*/ 1240 h 2440"/>
                <a:gd name="T92" fmla="*/ 1336 w 1546"/>
                <a:gd name="T93" fmla="*/ 1370 h 2440"/>
                <a:gd name="T94" fmla="*/ 1216 w 1546"/>
                <a:gd name="T95" fmla="*/ 1482 h 2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46" h="2440">
                  <a:moveTo>
                    <a:pt x="1184" y="1508"/>
                  </a:moveTo>
                  <a:lnTo>
                    <a:pt x="1184" y="1508"/>
                  </a:lnTo>
                  <a:lnTo>
                    <a:pt x="1198" y="1536"/>
                  </a:lnTo>
                  <a:lnTo>
                    <a:pt x="1210" y="1564"/>
                  </a:lnTo>
                  <a:lnTo>
                    <a:pt x="1222" y="1592"/>
                  </a:lnTo>
                  <a:lnTo>
                    <a:pt x="1232" y="1622"/>
                  </a:lnTo>
                  <a:lnTo>
                    <a:pt x="1240" y="1650"/>
                  </a:lnTo>
                  <a:lnTo>
                    <a:pt x="1246" y="1680"/>
                  </a:lnTo>
                  <a:lnTo>
                    <a:pt x="1252" y="1710"/>
                  </a:lnTo>
                  <a:lnTo>
                    <a:pt x="1256" y="1738"/>
                  </a:lnTo>
                  <a:lnTo>
                    <a:pt x="1260" y="1768"/>
                  </a:lnTo>
                  <a:lnTo>
                    <a:pt x="1260" y="1798"/>
                  </a:lnTo>
                  <a:lnTo>
                    <a:pt x="1260" y="1828"/>
                  </a:lnTo>
                  <a:lnTo>
                    <a:pt x="1258" y="1858"/>
                  </a:lnTo>
                  <a:lnTo>
                    <a:pt x="1256" y="1886"/>
                  </a:lnTo>
                  <a:lnTo>
                    <a:pt x="1252" y="1916"/>
                  </a:lnTo>
                  <a:lnTo>
                    <a:pt x="1246" y="1944"/>
                  </a:lnTo>
                  <a:lnTo>
                    <a:pt x="1240" y="1974"/>
                  </a:lnTo>
                  <a:lnTo>
                    <a:pt x="1230" y="2002"/>
                  </a:lnTo>
                  <a:lnTo>
                    <a:pt x="1222" y="2030"/>
                  </a:lnTo>
                  <a:lnTo>
                    <a:pt x="1210" y="2056"/>
                  </a:lnTo>
                  <a:lnTo>
                    <a:pt x="1198" y="2084"/>
                  </a:lnTo>
                  <a:lnTo>
                    <a:pt x="1184" y="2110"/>
                  </a:lnTo>
                  <a:lnTo>
                    <a:pt x="1170" y="2136"/>
                  </a:lnTo>
                  <a:lnTo>
                    <a:pt x="1154" y="2160"/>
                  </a:lnTo>
                  <a:lnTo>
                    <a:pt x="1136" y="2186"/>
                  </a:lnTo>
                  <a:lnTo>
                    <a:pt x="1118" y="2208"/>
                  </a:lnTo>
                  <a:lnTo>
                    <a:pt x="1098" y="2232"/>
                  </a:lnTo>
                  <a:lnTo>
                    <a:pt x="1078" y="2254"/>
                  </a:lnTo>
                  <a:lnTo>
                    <a:pt x="1056" y="2274"/>
                  </a:lnTo>
                  <a:lnTo>
                    <a:pt x="1034" y="2296"/>
                  </a:lnTo>
                  <a:lnTo>
                    <a:pt x="1008" y="2314"/>
                  </a:lnTo>
                  <a:lnTo>
                    <a:pt x="984" y="2332"/>
                  </a:lnTo>
                  <a:lnTo>
                    <a:pt x="956" y="2350"/>
                  </a:lnTo>
                  <a:lnTo>
                    <a:pt x="956" y="2350"/>
                  </a:lnTo>
                  <a:lnTo>
                    <a:pt x="928" y="2366"/>
                  </a:lnTo>
                  <a:lnTo>
                    <a:pt x="900" y="2380"/>
                  </a:lnTo>
                  <a:lnTo>
                    <a:pt x="870" y="2392"/>
                  </a:lnTo>
                  <a:lnTo>
                    <a:pt x="842" y="2404"/>
                  </a:lnTo>
                  <a:lnTo>
                    <a:pt x="812" y="2414"/>
                  </a:lnTo>
                  <a:lnTo>
                    <a:pt x="782" y="2422"/>
                  </a:lnTo>
                  <a:lnTo>
                    <a:pt x="752" y="2428"/>
                  </a:lnTo>
                  <a:lnTo>
                    <a:pt x="722" y="2434"/>
                  </a:lnTo>
                  <a:lnTo>
                    <a:pt x="690" y="2438"/>
                  </a:lnTo>
                  <a:lnTo>
                    <a:pt x="660" y="2440"/>
                  </a:lnTo>
                  <a:lnTo>
                    <a:pt x="630" y="2440"/>
                  </a:lnTo>
                  <a:lnTo>
                    <a:pt x="600" y="2440"/>
                  </a:lnTo>
                  <a:lnTo>
                    <a:pt x="570" y="2438"/>
                  </a:lnTo>
                  <a:lnTo>
                    <a:pt x="540" y="2434"/>
                  </a:lnTo>
                  <a:lnTo>
                    <a:pt x="510" y="2428"/>
                  </a:lnTo>
                  <a:lnTo>
                    <a:pt x="480" y="2422"/>
                  </a:lnTo>
                  <a:lnTo>
                    <a:pt x="450" y="2414"/>
                  </a:lnTo>
                  <a:lnTo>
                    <a:pt x="422" y="2404"/>
                  </a:lnTo>
                  <a:lnTo>
                    <a:pt x="394" y="2394"/>
                  </a:lnTo>
                  <a:lnTo>
                    <a:pt x="366" y="2382"/>
                  </a:lnTo>
                  <a:lnTo>
                    <a:pt x="338" y="2368"/>
                  </a:lnTo>
                  <a:lnTo>
                    <a:pt x="312" y="2354"/>
                  </a:lnTo>
                  <a:lnTo>
                    <a:pt x="286" y="2338"/>
                  </a:lnTo>
                  <a:lnTo>
                    <a:pt x="260" y="2320"/>
                  </a:lnTo>
                  <a:lnTo>
                    <a:pt x="236" y="2302"/>
                  </a:lnTo>
                  <a:lnTo>
                    <a:pt x="212" y="2282"/>
                  </a:lnTo>
                  <a:lnTo>
                    <a:pt x="190" y="2260"/>
                  </a:lnTo>
                  <a:lnTo>
                    <a:pt x="168" y="2238"/>
                  </a:lnTo>
                  <a:lnTo>
                    <a:pt x="148" y="2214"/>
                  </a:lnTo>
                  <a:lnTo>
                    <a:pt x="128" y="2190"/>
                  </a:lnTo>
                  <a:lnTo>
                    <a:pt x="108" y="2164"/>
                  </a:lnTo>
                  <a:lnTo>
                    <a:pt x="92" y="2136"/>
                  </a:lnTo>
                  <a:lnTo>
                    <a:pt x="92" y="2136"/>
                  </a:lnTo>
                  <a:lnTo>
                    <a:pt x="68" y="2094"/>
                  </a:lnTo>
                  <a:lnTo>
                    <a:pt x="48" y="2052"/>
                  </a:lnTo>
                  <a:lnTo>
                    <a:pt x="32" y="2008"/>
                  </a:lnTo>
                  <a:lnTo>
                    <a:pt x="20" y="1964"/>
                  </a:lnTo>
                  <a:lnTo>
                    <a:pt x="10" y="1920"/>
                  </a:lnTo>
                  <a:lnTo>
                    <a:pt x="4" y="1874"/>
                  </a:lnTo>
                  <a:lnTo>
                    <a:pt x="0" y="1830"/>
                  </a:lnTo>
                  <a:lnTo>
                    <a:pt x="0" y="1784"/>
                  </a:lnTo>
                  <a:lnTo>
                    <a:pt x="4" y="1740"/>
                  </a:lnTo>
                  <a:lnTo>
                    <a:pt x="10" y="1696"/>
                  </a:lnTo>
                  <a:lnTo>
                    <a:pt x="20" y="1652"/>
                  </a:lnTo>
                  <a:lnTo>
                    <a:pt x="34" y="1610"/>
                  </a:lnTo>
                  <a:lnTo>
                    <a:pt x="48" y="1568"/>
                  </a:lnTo>
                  <a:lnTo>
                    <a:pt x="68" y="1526"/>
                  </a:lnTo>
                  <a:lnTo>
                    <a:pt x="90" y="1488"/>
                  </a:lnTo>
                  <a:lnTo>
                    <a:pt x="114" y="1450"/>
                  </a:lnTo>
                  <a:lnTo>
                    <a:pt x="114" y="1450"/>
                  </a:lnTo>
                  <a:lnTo>
                    <a:pt x="112" y="1448"/>
                  </a:lnTo>
                  <a:lnTo>
                    <a:pt x="112" y="1448"/>
                  </a:lnTo>
                  <a:lnTo>
                    <a:pt x="158" y="1464"/>
                  </a:lnTo>
                  <a:lnTo>
                    <a:pt x="204" y="1478"/>
                  </a:lnTo>
                  <a:lnTo>
                    <a:pt x="250" y="1488"/>
                  </a:lnTo>
                  <a:lnTo>
                    <a:pt x="298" y="1496"/>
                  </a:lnTo>
                  <a:lnTo>
                    <a:pt x="346" y="1502"/>
                  </a:lnTo>
                  <a:lnTo>
                    <a:pt x="394" y="1504"/>
                  </a:lnTo>
                  <a:lnTo>
                    <a:pt x="442" y="1504"/>
                  </a:lnTo>
                  <a:lnTo>
                    <a:pt x="490" y="1502"/>
                  </a:lnTo>
                  <a:lnTo>
                    <a:pt x="538" y="1496"/>
                  </a:lnTo>
                  <a:lnTo>
                    <a:pt x="586" y="1488"/>
                  </a:lnTo>
                  <a:lnTo>
                    <a:pt x="634" y="1478"/>
                  </a:lnTo>
                  <a:lnTo>
                    <a:pt x="680" y="1464"/>
                  </a:lnTo>
                  <a:lnTo>
                    <a:pt x="728" y="1446"/>
                  </a:lnTo>
                  <a:lnTo>
                    <a:pt x="774" y="1428"/>
                  </a:lnTo>
                  <a:lnTo>
                    <a:pt x="818" y="1406"/>
                  </a:lnTo>
                  <a:lnTo>
                    <a:pt x="864" y="1380"/>
                  </a:lnTo>
                  <a:lnTo>
                    <a:pt x="864" y="1380"/>
                  </a:lnTo>
                  <a:lnTo>
                    <a:pt x="900" y="1356"/>
                  </a:lnTo>
                  <a:lnTo>
                    <a:pt x="936" y="1330"/>
                  </a:lnTo>
                  <a:lnTo>
                    <a:pt x="970" y="1304"/>
                  </a:lnTo>
                  <a:lnTo>
                    <a:pt x="1002" y="1276"/>
                  </a:lnTo>
                  <a:lnTo>
                    <a:pt x="1034" y="1246"/>
                  </a:lnTo>
                  <a:lnTo>
                    <a:pt x="1062" y="1214"/>
                  </a:lnTo>
                  <a:lnTo>
                    <a:pt x="1090" y="1182"/>
                  </a:lnTo>
                  <a:lnTo>
                    <a:pt x="1116" y="1148"/>
                  </a:lnTo>
                  <a:lnTo>
                    <a:pt x="1138" y="1114"/>
                  </a:lnTo>
                  <a:lnTo>
                    <a:pt x="1160" y="1078"/>
                  </a:lnTo>
                  <a:lnTo>
                    <a:pt x="1182" y="1042"/>
                  </a:lnTo>
                  <a:lnTo>
                    <a:pt x="1200" y="1004"/>
                  </a:lnTo>
                  <a:lnTo>
                    <a:pt x="1216" y="966"/>
                  </a:lnTo>
                  <a:lnTo>
                    <a:pt x="1230" y="928"/>
                  </a:lnTo>
                  <a:lnTo>
                    <a:pt x="1244" y="888"/>
                  </a:lnTo>
                  <a:lnTo>
                    <a:pt x="1254" y="848"/>
                  </a:lnTo>
                  <a:lnTo>
                    <a:pt x="1262" y="808"/>
                  </a:lnTo>
                  <a:lnTo>
                    <a:pt x="1270" y="768"/>
                  </a:lnTo>
                  <a:lnTo>
                    <a:pt x="1274" y="726"/>
                  </a:lnTo>
                  <a:lnTo>
                    <a:pt x="1278" y="686"/>
                  </a:lnTo>
                  <a:lnTo>
                    <a:pt x="1278" y="644"/>
                  </a:lnTo>
                  <a:lnTo>
                    <a:pt x="1278" y="602"/>
                  </a:lnTo>
                  <a:lnTo>
                    <a:pt x="1276" y="560"/>
                  </a:lnTo>
                  <a:lnTo>
                    <a:pt x="1270" y="520"/>
                  </a:lnTo>
                  <a:lnTo>
                    <a:pt x="1264" y="478"/>
                  </a:lnTo>
                  <a:lnTo>
                    <a:pt x="1254" y="436"/>
                  </a:lnTo>
                  <a:lnTo>
                    <a:pt x="1242" y="396"/>
                  </a:lnTo>
                  <a:lnTo>
                    <a:pt x="1230" y="354"/>
                  </a:lnTo>
                  <a:lnTo>
                    <a:pt x="1214" y="314"/>
                  </a:lnTo>
                  <a:lnTo>
                    <a:pt x="1196" y="276"/>
                  </a:lnTo>
                  <a:lnTo>
                    <a:pt x="1176" y="236"/>
                  </a:lnTo>
                  <a:lnTo>
                    <a:pt x="1154" y="198"/>
                  </a:lnTo>
                  <a:lnTo>
                    <a:pt x="1154" y="198"/>
                  </a:lnTo>
                  <a:lnTo>
                    <a:pt x="1136" y="170"/>
                  </a:lnTo>
                  <a:lnTo>
                    <a:pt x="1118" y="142"/>
                  </a:lnTo>
                  <a:lnTo>
                    <a:pt x="1100" y="116"/>
                  </a:lnTo>
                  <a:lnTo>
                    <a:pt x="1078" y="92"/>
                  </a:lnTo>
                  <a:lnTo>
                    <a:pt x="1036" y="44"/>
                  </a:lnTo>
                  <a:lnTo>
                    <a:pt x="990" y="0"/>
                  </a:lnTo>
                  <a:lnTo>
                    <a:pt x="990" y="0"/>
                  </a:lnTo>
                  <a:lnTo>
                    <a:pt x="1022" y="12"/>
                  </a:lnTo>
                  <a:lnTo>
                    <a:pt x="1054" y="28"/>
                  </a:lnTo>
                  <a:lnTo>
                    <a:pt x="1086" y="42"/>
                  </a:lnTo>
                  <a:lnTo>
                    <a:pt x="1116" y="60"/>
                  </a:lnTo>
                  <a:lnTo>
                    <a:pt x="1146" y="78"/>
                  </a:lnTo>
                  <a:lnTo>
                    <a:pt x="1176" y="98"/>
                  </a:lnTo>
                  <a:lnTo>
                    <a:pt x="1204" y="118"/>
                  </a:lnTo>
                  <a:lnTo>
                    <a:pt x="1232" y="140"/>
                  </a:lnTo>
                  <a:lnTo>
                    <a:pt x="1260" y="164"/>
                  </a:lnTo>
                  <a:lnTo>
                    <a:pt x="1286" y="188"/>
                  </a:lnTo>
                  <a:lnTo>
                    <a:pt x="1312" y="214"/>
                  </a:lnTo>
                  <a:lnTo>
                    <a:pt x="1336" y="240"/>
                  </a:lnTo>
                  <a:lnTo>
                    <a:pt x="1358" y="268"/>
                  </a:lnTo>
                  <a:lnTo>
                    <a:pt x="1380" y="298"/>
                  </a:lnTo>
                  <a:lnTo>
                    <a:pt x="1402" y="328"/>
                  </a:lnTo>
                  <a:lnTo>
                    <a:pt x="1422" y="360"/>
                  </a:lnTo>
                  <a:lnTo>
                    <a:pt x="1422" y="360"/>
                  </a:lnTo>
                  <a:lnTo>
                    <a:pt x="1444" y="396"/>
                  </a:lnTo>
                  <a:lnTo>
                    <a:pt x="1462" y="434"/>
                  </a:lnTo>
                  <a:lnTo>
                    <a:pt x="1480" y="472"/>
                  </a:lnTo>
                  <a:lnTo>
                    <a:pt x="1494" y="510"/>
                  </a:lnTo>
                  <a:lnTo>
                    <a:pt x="1508" y="548"/>
                  </a:lnTo>
                  <a:lnTo>
                    <a:pt x="1518" y="588"/>
                  </a:lnTo>
                  <a:lnTo>
                    <a:pt x="1528" y="628"/>
                  </a:lnTo>
                  <a:lnTo>
                    <a:pt x="1536" y="666"/>
                  </a:lnTo>
                  <a:lnTo>
                    <a:pt x="1542" y="706"/>
                  </a:lnTo>
                  <a:lnTo>
                    <a:pt x="1544" y="746"/>
                  </a:lnTo>
                  <a:lnTo>
                    <a:pt x="1546" y="786"/>
                  </a:lnTo>
                  <a:lnTo>
                    <a:pt x="1546" y="826"/>
                  </a:lnTo>
                  <a:lnTo>
                    <a:pt x="1544" y="866"/>
                  </a:lnTo>
                  <a:lnTo>
                    <a:pt x="1540" y="904"/>
                  </a:lnTo>
                  <a:lnTo>
                    <a:pt x="1536" y="944"/>
                  </a:lnTo>
                  <a:lnTo>
                    <a:pt x="1528" y="982"/>
                  </a:lnTo>
                  <a:lnTo>
                    <a:pt x="1520" y="1022"/>
                  </a:lnTo>
                  <a:lnTo>
                    <a:pt x="1508" y="1060"/>
                  </a:lnTo>
                  <a:lnTo>
                    <a:pt x="1496" y="1096"/>
                  </a:lnTo>
                  <a:lnTo>
                    <a:pt x="1482" y="1134"/>
                  </a:lnTo>
                  <a:lnTo>
                    <a:pt x="1466" y="1170"/>
                  </a:lnTo>
                  <a:lnTo>
                    <a:pt x="1448" y="1206"/>
                  </a:lnTo>
                  <a:lnTo>
                    <a:pt x="1428" y="1240"/>
                  </a:lnTo>
                  <a:lnTo>
                    <a:pt x="1408" y="1274"/>
                  </a:lnTo>
                  <a:lnTo>
                    <a:pt x="1386" y="1308"/>
                  </a:lnTo>
                  <a:lnTo>
                    <a:pt x="1362" y="1340"/>
                  </a:lnTo>
                  <a:lnTo>
                    <a:pt x="1336" y="1370"/>
                  </a:lnTo>
                  <a:lnTo>
                    <a:pt x="1308" y="1400"/>
                  </a:lnTo>
                  <a:lnTo>
                    <a:pt x="1280" y="1430"/>
                  </a:lnTo>
                  <a:lnTo>
                    <a:pt x="1248" y="1456"/>
                  </a:lnTo>
                  <a:lnTo>
                    <a:pt x="1216" y="1482"/>
                  </a:lnTo>
                  <a:lnTo>
                    <a:pt x="1184" y="1508"/>
                  </a:lnTo>
                  <a:lnTo>
                    <a:pt x="1184" y="1508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A4198DD8-F49C-82C3-1A8B-E52EC0F237A4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8132" y="3327339"/>
              <a:ext cx="3739358" cy="1950161"/>
            </a:xfrm>
            <a:custGeom>
              <a:avLst/>
              <a:gdLst>
                <a:gd name="T0" fmla="*/ 2234 w 2416"/>
                <a:gd name="T1" fmla="*/ 758 h 1260"/>
                <a:gd name="T2" fmla="*/ 2122 w 2416"/>
                <a:gd name="T3" fmla="*/ 878 h 1260"/>
                <a:gd name="T4" fmla="*/ 1992 w 2416"/>
                <a:gd name="T5" fmla="*/ 972 h 1260"/>
                <a:gd name="T6" fmla="*/ 1848 w 2416"/>
                <a:gd name="T7" fmla="*/ 1040 h 1260"/>
                <a:gd name="T8" fmla="*/ 1696 w 2416"/>
                <a:gd name="T9" fmla="*/ 1080 h 1260"/>
                <a:gd name="T10" fmla="*/ 1538 w 2416"/>
                <a:gd name="T11" fmla="*/ 1092 h 1260"/>
                <a:gd name="T12" fmla="*/ 1378 w 2416"/>
                <a:gd name="T13" fmla="*/ 1074 h 1260"/>
                <a:gd name="T14" fmla="*/ 1224 w 2416"/>
                <a:gd name="T15" fmla="*/ 1026 h 1260"/>
                <a:gd name="T16" fmla="*/ 1130 w 2416"/>
                <a:gd name="T17" fmla="*/ 1014 h 1260"/>
                <a:gd name="T18" fmla="*/ 1046 w 2416"/>
                <a:gd name="T19" fmla="*/ 1104 h 1260"/>
                <a:gd name="T20" fmla="*/ 950 w 2416"/>
                <a:gd name="T21" fmla="*/ 1174 h 1260"/>
                <a:gd name="T22" fmla="*/ 842 w 2416"/>
                <a:gd name="T23" fmla="*/ 1224 h 1260"/>
                <a:gd name="T24" fmla="*/ 728 w 2416"/>
                <a:gd name="T25" fmla="*/ 1252 h 1260"/>
                <a:gd name="T26" fmla="*/ 610 w 2416"/>
                <a:gd name="T27" fmla="*/ 1260 h 1260"/>
                <a:gd name="T28" fmla="*/ 492 w 2416"/>
                <a:gd name="T29" fmla="*/ 1246 h 1260"/>
                <a:gd name="T30" fmla="*/ 376 w 2416"/>
                <a:gd name="T31" fmla="*/ 1208 h 1260"/>
                <a:gd name="T32" fmla="*/ 294 w 2416"/>
                <a:gd name="T33" fmla="*/ 1164 h 1260"/>
                <a:gd name="T34" fmla="*/ 194 w 2416"/>
                <a:gd name="T35" fmla="*/ 1084 h 1260"/>
                <a:gd name="T36" fmla="*/ 114 w 2416"/>
                <a:gd name="T37" fmla="*/ 990 h 1260"/>
                <a:gd name="T38" fmla="*/ 54 w 2416"/>
                <a:gd name="T39" fmla="*/ 884 h 1260"/>
                <a:gd name="T40" fmla="*/ 16 w 2416"/>
                <a:gd name="T41" fmla="*/ 770 h 1260"/>
                <a:gd name="T42" fmla="*/ 0 w 2416"/>
                <a:gd name="T43" fmla="*/ 650 h 1260"/>
                <a:gd name="T44" fmla="*/ 8 w 2416"/>
                <a:gd name="T45" fmla="*/ 528 h 1260"/>
                <a:gd name="T46" fmla="*/ 40 w 2416"/>
                <a:gd name="T47" fmla="*/ 408 h 1260"/>
                <a:gd name="T48" fmla="*/ 98 w 2416"/>
                <a:gd name="T49" fmla="*/ 294 h 1260"/>
                <a:gd name="T50" fmla="*/ 186 w 2416"/>
                <a:gd name="T51" fmla="*/ 184 h 1260"/>
                <a:gd name="T52" fmla="*/ 332 w 2416"/>
                <a:gd name="T53" fmla="*/ 76 h 1260"/>
                <a:gd name="T54" fmla="*/ 500 w 2416"/>
                <a:gd name="T55" fmla="*/ 14 h 1260"/>
                <a:gd name="T56" fmla="*/ 678 w 2416"/>
                <a:gd name="T57" fmla="*/ 2 h 1260"/>
                <a:gd name="T58" fmla="*/ 722 w 2416"/>
                <a:gd name="T59" fmla="*/ 6 h 1260"/>
                <a:gd name="T60" fmla="*/ 764 w 2416"/>
                <a:gd name="T61" fmla="*/ 192 h 1260"/>
                <a:gd name="T62" fmla="*/ 844 w 2416"/>
                <a:gd name="T63" fmla="*/ 366 h 1260"/>
                <a:gd name="T64" fmla="*/ 964 w 2416"/>
                <a:gd name="T65" fmla="*/ 520 h 1260"/>
                <a:gd name="T66" fmla="*/ 1120 w 2416"/>
                <a:gd name="T67" fmla="*/ 646 h 1260"/>
                <a:gd name="T68" fmla="*/ 1236 w 2416"/>
                <a:gd name="T69" fmla="*/ 708 h 1260"/>
                <a:gd name="T70" fmla="*/ 1398 w 2416"/>
                <a:gd name="T71" fmla="*/ 760 h 1260"/>
                <a:gd name="T72" fmla="*/ 1564 w 2416"/>
                <a:gd name="T73" fmla="*/ 780 h 1260"/>
                <a:gd name="T74" fmla="*/ 1728 w 2416"/>
                <a:gd name="T75" fmla="*/ 766 h 1260"/>
                <a:gd name="T76" fmla="*/ 1888 w 2416"/>
                <a:gd name="T77" fmla="*/ 722 h 1260"/>
                <a:gd name="T78" fmla="*/ 2036 w 2416"/>
                <a:gd name="T79" fmla="*/ 648 h 1260"/>
                <a:gd name="T80" fmla="*/ 2170 w 2416"/>
                <a:gd name="T81" fmla="*/ 546 h 1260"/>
                <a:gd name="T82" fmla="*/ 2284 w 2416"/>
                <a:gd name="T83" fmla="*/ 414 h 1260"/>
                <a:gd name="T84" fmla="*/ 2340 w 2416"/>
                <a:gd name="T85" fmla="*/ 322 h 1260"/>
                <a:gd name="T86" fmla="*/ 2412 w 2416"/>
                <a:gd name="T87" fmla="*/ 144 h 1260"/>
                <a:gd name="T88" fmla="*/ 2416 w 2416"/>
                <a:gd name="T89" fmla="*/ 248 h 1260"/>
                <a:gd name="T90" fmla="*/ 2402 w 2416"/>
                <a:gd name="T91" fmla="*/ 388 h 1260"/>
                <a:gd name="T92" fmla="*/ 2364 w 2416"/>
                <a:gd name="T93" fmla="*/ 526 h 1260"/>
                <a:gd name="T94" fmla="*/ 2302 w 2416"/>
                <a:gd name="T95" fmla="*/ 658 h 1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416" h="1260">
                  <a:moveTo>
                    <a:pt x="2282" y="690"/>
                  </a:moveTo>
                  <a:lnTo>
                    <a:pt x="2282" y="690"/>
                  </a:lnTo>
                  <a:lnTo>
                    <a:pt x="2258" y="726"/>
                  </a:lnTo>
                  <a:lnTo>
                    <a:pt x="2234" y="758"/>
                  </a:lnTo>
                  <a:lnTo>
                    <a:pt x="2208" y="792"/>
                  </a:lnTo>
                  <a:lnTo>
                    <a:pt x="2180" y="822"/>
                  </a:lnTo>
                  <a:lnTo>
                    <a:pt x="2152" y="850"/>
                  </a:lnTo>
                  <a:lnTo>
                    <a:pt x="2122" y="878"/>
                  </a:lnTo>
                  <a:lnTo>
                    <a:pt x="2090" y="904"/>
                  </a:lnTo>
                  <a:lnTo>
                    <a:pt x="2058" y="928"/>
                  </a:lnTo>
                  <a:lnTo>
                    <a:pt x="2026" y="952"/>
                  </a:lnTo>
                  <a:lnTo>
                    <a:pt x="1992" y="972"/>
                  </a:lnTo>
                  <a:lnTo>
                    <a:pt x="1956" y="992"/>
                  </a:lnTo>
                  <a:lnTo>
                    <a:pt x="1920" y="1010"/>
                  </a:lnTo>
                  <a:lnTo>
                    <a:pt x="1884" y="1026"/>
                  </a:lnTo>
                  <a:lnTo>
                    <a:pt x="1848" y="1040"/>
                  </a:lnTo>
                  <a:lnTo>
                    <a:pt x="1810" y="1052"/>
                  </a:lnTo>
                  <a:lnTo>
                    <a:pt x="1772" y="1064"/>
                  </a:lnTo>
                  <a:lnTo>
                    <a:pt x="1734" y="1072"/>
                  </a:lnTo>
                  <a:lnTo>
                    <a:pt x="1696" y="1080"/>
                  </a:lnTo>
                  <a:lnTo>
                    <a:pt x="1656" y="1086"/>
                  </a:lnTo>
                  <a:lnTo>
                    <a:pt x="1616" y="1090"/>
                  </a:lnTo>
                  <a:lnTo>
                    <a:pt x="1576" y="1092"/>
                  </a:lnTo>
                  <a:lnTo>
                    <a:pt x="1538" y="1092"/>
                  </a:lnTo>
                  <a:lnTo>
                    <a:pt x="1498" y="1090"/>
                  </a:lnTo>
                  <a:lnTo>
                    <a:pt x="1458" y="1086"/>
                  </a:lnTo>
                  <a:lnTo>
                    <a:pt x="1418" y="1080"/>
                  </a:lnTo>
                  <a:lnTo>
                    <a:pt x="1378" y="1074"/>
                  </a:lnTo>
                  <a:lnTo>
                    <a:pt x="1340" y="1064"/>
                  </a:lnTo>
                  <a:lnTo>
                    <a:pt x="1300" y="1054"/>
                  </a:lnTo>
                  <a:lnTo>
                    <a:pt x="1262" y="1040"/>
                  </a:lnTo>
                  <a:lnTo>
                    <a:pt x="1224" y="1026"/>
                  </a:lnTo>
                  <a:lnTo>
                    <a:pt x="1186" y="1008"/>
                  </a:lnTo>
                  <a:lnTo>
                    <a:pt x="1148" y="990"/>
                  </a:lnTo>
                  <a:lnTo>
                    <a:pt x="1148" y="990"/>
                  </a:lnTo>
                  <a:lnTo>
                    <a:pt x="1130" y="1014"/>
                  </a:lnTo>
                  <a:lnTo>
                    <a:pt x="1110" y="1038"/>
                  </a:lnTo>
                  <a:lnTo>
                    <a:pt x="1090" y="1062"/>
                  </a:lnTo>
                  <a:lnTo>
                    <a:pt x="1068" y="1084"/>
                  </a:lnTo>
                  <a:lnTo>
                    <a:pt x="1046" y="1104"/>
                  </a:lnTo>
                  <a:lnTo>
                    <a:pt x="1022" y="1124"/>
                  </a:lnTo>
                  <a:lnTo>
                    <a:pt x="1000" y="1142"/>
                  </a:lnTo>
                  <a:lnTo>
                    <a:pt x="974" y="1158"/>
                  </a:lnTo>
                  <a:lnTo>
                    <a:pt x="950" y="1174"/>
                  </a:lnTo>
                  <a:lnTo>
                    <a:pt x="924" y="1188"/>
                  </a:lnTo>
                  <a:lnTo>
                    <a:pt x="896" y="1202"/>
                  </a:lnTo>
                  <a:lnTo>
                    <a:pt x="870" y="1214"/>
                  </a:lnTo>
                  <a:lnTo>
                    <a:pt x="842" y="1224"/>
                  </a:lnTo>
                  <a:lnTo>
                    <a:pt x="814" y="1234"/>
                  </a:lnTo>
                  <a:lnTo>
                    <a:pt x="786" y="1242"/>
                  </a:lnTo>
                  <a:lnTo>
                    <a:pt x="756" y="1248"/>
                  </a:lnTo>
                  <a:lnTo>
                    <a:pt x="728" y="1252"/>
                  </a:lnTo>
                  <a:lnTo>
                    <a:pt x="698" y="1256"/>
                  </a:lnTo>
                  <a:lnTo>
                    <a:pt x="670" y="1260"/>
                  </a:lnTo>
                  <a:lnTo>
                    <a:pt x="640" y="1260"/>
                  </a:lnTo>
                  <a:lnTo>
                    <a:pt x="610" y="1260"/>
                  </a:lnTo>
                  <a:lnTo>
                    <a:pt x="580" y="1258"/>
                  </a:lnTo>
                  <a:lnTo>
                    <a:pt x="552" y="1256"/>
                  </a:lnTo>
                  <a:lnTo>
                    <a:pt x="522" y="1252"/>
                  </a:lnTo>
                  <a:lnTo>
                    <a:pt x="492" y="1246"/>
                  </a:lnTo>
                  <a:lnTo>
                    <a:pt x="464" y="1238"/>
                  </a:lnTo>
                  <a:lnTo>
                    <a:pt x="434" y="1230"/>
                  </a:lnTo>
                  <a:lnTo>
                    <a:pt x="406" y="1218"/>
                  </a:lnTo>
                  <a:lnTo>
                    <a:pt x="376" y="1208"/>
                  </a:lnTo>
                  <a:lnTo>
                    <a:pt x="348" y="1194"/>
                  </a:lnTo>
                  <a:lnTo>
                    <a:pt x="322" y="1180"/>
                  </a:lnTo>
                  <a:lnTo>
                    <a:pt x="294" y="1164"/>
                  </a:lnTo>
                  <a:lnTo>
                    <a:pt x="294" y="1164"/>
                  </a:lnTo>
                  <a:lnTo>
                    <a:pt x="268" y="1146"/>
                  </a:lnTo>
                  <a:lnTo>
                    <a:pt x="242" y="1126"/>
                  </a:lnTo>
                  <a:lnTo>
                    <a:pt x="216" y="1106"/>
                  </a:lnTo>
                  <a:lnTo>
                    <a:pt x="194" y="1084"/>
                  </a:lnTo>
                  <a:lnTo>
                    <a:pt x="172" y="1062"/>
                  </a:lnTo>
                  <a:lnTo>
                    <a:pt x="150" y="1040"/>
                  </a:lnTo>
                  <a:lnTo>
                    <a:pt x="132" y="1016"/>
                  </a:lnTo>
                  <a:lnTo>
                    <a:pt x="114" y="990"/>
                  </a:lnTo>
                  <a:lnTo>
                    <a:pt x="96" y="964"/>
                  </a:lnTo>
                  <a:lnTo>
                    <a:pt x="80" y="938"/>
                  </a:lnTo>
                  <a:lnTo>
                    <a:pt x="66" y="912"/>
                  </a:lnTo>
                  <a:lnTo>
                    <a:pt x="54" y="884"/>
                  </a:lnTo>
                  <a:lnTo>
                    <a:pt x="42" y="856"/>
                  </a:lnTo>
                  <a:lnTo>
                    <a:pt x="32" y="828"/>
                  </a:lnTo>
                  <a:lnTo>
                    <a:pt x="24" y="798"/>
                  </a:lnTo>
                  <a:lnTo>
                    <a:pt x="16" y="770"/>
                  </a:lnTo>
                  <a:lnTo>
                    <a:pt x="10" y="740"/>
                  </a:lnTo>
                  <a:lnTo>
                    <a:pt x="6" y="710"/>
                  </a:lnTo>
                  <a:lnTo>
                    <a:pt x="2" y="680"/>
                  </a:lnTo>
                  <a:lnTo>
                    <a:pt x="0" y="650"/>
                  </a:lnTo>
                  <a:lnTo>
                    <a:pt x="0" y="618"/>
                  </a:lnTo>
                  <a:lnTo>
                    <a:pt x="2" y="588"/>
                  </a:lnTo>
                  <a:lnTo>
                    <a:pt x="4" y="558"/>
                  </a:lnTo>
                  <a:lnTo>
                    <a:pt x="8" y="528"/>
                  </a:lnTo>
                  <a:lnTo>
                    <a:pt x="14" y="498"/>
                  </a:lnTo>
                  <a:lnTo>
                    <a:pt x="22" y="468"/>
                  </a:lnTo>
                  <a:lnTo>
                    <a:pt x="30" y="438"/>
                  </a:lnTo>
                  <a:lnTo>
                    <a:pt x="40" y="408"/>
                  </a:lnTo>
                  <a:lnTo>
                    <a:pt x="52" y="378"/>
                  </a:lnTo>
                  <a:lnTo>
                    <a:pt x="66" y="350"/>
                  </a:lnTo>
                  <a:lnTo>
                    <a:pt x="82" y="322"/>
                  </a:lnTo>
                  <a:lnTo>
                    <a:pt x="98" y="294"/>
                  </a:lnTo>
                  <a:lnTo>
                    <a:pt x="98" y="294"/>
                  </a:lnTo>
                  <a:lnTo>
                    <a:pt x="124" y="254"/>
                  </a:lnTo>
                  <a:lnTo>
                    <a:pt x="154" y="218"/>
                  </a:lnTo>
                  <a:lnTo>
                    <a:pt x="186" y="184"/>
                  </a:lnTo>
                  <a:lnTo>
                    <a:pt x="220" y="152"/>
                  </a:lnTo>
                  <a:lnTo>
                    <a:pt x="256" y="124"/>
                  </a:lnTo>
                  <a:lnTo>
                    <a:pt x="292" y="98"/>
                  </a:lnTo>
                  <a:lnTo>
                    <a:pt x="332" y="76"/>
                  </a:lnTo>
                  <a:lnTo>
                    <a:pt x="372" y="56"/>
                  </a:lnTo>
                  <a:lnTo>
                    <a:pt x="414" y="38"/>
                  </a:lnTo>
                  <a:lnTo>
                    <a:pt x="456" y="24"/>
                  </a:lnTo>
                  <a:lnTo>
                    <a:pt x="500" y="14"/>
                  </a:lnTo>
                  <a:lnTo>
                    <a:pt x="544" y="6"/>
                  </a:lnTo>
                  <a:lnTo>
                    <a:pt x="588" y="2"/>
                  </a:lnTo>
                  <a:lnTo>
                    <a:pt x="632" y="0"/>
                  </a:lnTo>
                  <a:lnTo>
                    <a:pt x="678" y="2"/>
                  </a:lnTo>
                  <a:lnTo>
                    <a:pt x="722" y="6"/>
                  </a:lnTo>
                  <a:lnTo>
                    <a:pt x="722" y="6"/>
                  </a:lnTo>
                  <a:lnTo>
                    <a:pt x="722" y="6"/>
                  </a:lnTo>
                  <a:lnTo>
                    <a:pt x="722" y="6"/>
                  </a:lnTo>
                  <a:lnTo>
                    <a:pt x="730" y="54"/>
                  </a:lnTo>
                  <a:lnTo>
                    <a:pt x="738" y="100"/>
                  </a:lnTo>
                  <a:lnTo>
                    <a:pt x="750" y="146"/>
                  </a:lnTo>
                  <a:lnTo>
                    <a:pt x="764" y="192"/>
                  </a:lnTo>
                  <a:lnTo>
                    <a:pt x="780" y="238"/>
                  </a:lnTo>
                  <a:lnTo>
                    <a:pt x="798" y="282"/>
                  </a:lnTo>
                  <a:lnTo>
                    <a:pt x="820" y="324"/>
                  </a:lnTo>
                  <a:lnTo>
                    <a:pt x="844" y="366"/>
                  </a:lnTo>
                  <a:lnTo>
                    <a:pt x="870" y="406"/>
                  </a:lnTo>
                  <a:lnTo>
                    <a:pt x="898" y="446"/>
                  </a:lnTo>
                  <a:lnTo>
                    <a:pt x="930" y="484"/>
                  </a:lnTo>
                  <a:lnTo>
                    <a:pt x="964" y="520"/>
                  </a:lnTo>
                  <a:lnTo>
                    <a:pt x="1000" y="554"/>
                  </a:lnTo>
                  <a:lnTo>
                    <a:pt x="1038" y="588"/>
                  </a:lnTo>
                  <a:lnTo>
                    <a:pt x="1078" y="618"/>
                  </a:lnTo>
                  <a:lnTo>
                    <a:pt x="1120" y="646"/>
                  </a:lnTo>
                  <a:lnTo>
                    <a:pt x="1120" y="646"/>
                  </a:lnTo>
                  <a:lnTo>
                    <a:pt x="1158" y="670"/>
                  </a:lnTo>
                  <a:lnTo>
                    <a:pt x="1196" y="690"/>
                  </a:lnTo>
                  <a:lnTo>
                    <a:pt x="1236" y="708"/>
                  </a:lnTo>
                  <a:lnTo>
                    <a:pt x="1276" y="724"/>
                  </a:lnTo>
                  <a:lnTo>
                    <a:pt x="1316" y="738"/>
                  </a:lnTo>
                  <a:lnTo>
                    <a:pt x="1358" y="750"/>
                  </a:lnTo>
                  <a:lnTo>
                    <a:pt x="1398" y="760"/>
                  </a:lnTo>
                  <a:lnTo>
                    <a:pt x="1440" y="768"/>
                  </a:lnTo>
                  <a:lnTo>
                    <a:pt x="1480" y="774"/>
                  </a:lnTo>
                  <a:lnTo>
                    <a:pt x="1522" y="778"/>
                  </a:lnTo>
                  <a:lnTo>
                    <a:pt x="1564" y="780"/>
                  </a:lnTo>
                  <a:lnTo>
                    <a:pt x="1606" y="780"/>
                  </a:lnTo>
                  <a:lnTo>
                    <a:pt x="1646" y="776"/>
                  </a:lnTo>
                  <a:lnTo>
                    <a:pt x="1688" y="772"/>
                  </a:lnTo>
                  <a:lnTo>
                    <a:pt x="1728" y="766"/>
                  </a:lnTo>
                  <a:lnTo>
                    <a:pt x="1770" y="758"/>
                  </a:lnTo>
                  <a:lnTo>
                    <a:pt x="1810" y="748"/>
                  </a:lnTo>
                  <a:lnTo>
                    <a:pt x="1848" y="736"/>
                  </a:lnTo>
                  <a:lnTo>
                    <a:pt x="1888" y="722"/>
                  </a:lnTo>
                  <a:lnTo>
                    <a:pt x="1926" y="706"/>
                  </a:lnTo>
                  <a:lnTo>
                    <a:pt x="1964" y="690"/>
                  </a:lnTo>
                  <a:lnTo>
                    <a:pt x="2000" y="670"/>
                  </a:lnTo>
                  <a:lnTo>
                    <a:pt x="2036" y="648"/>
                  </a:lnTo>
                  <a:lnTo>
                    <a:pt x="2072" y="626"/>
                  </a:lnTo>
                  <a:lnTo>
                    <a:pt x="2106" y="600"/>
                  </a:lnTo>
                  <a:lnTo>
                    <a:pt x="2138" y="574"/>
                  </a:lnTo>
                  <a:lnTo>
                    <a:pt x="2170" y="546"/>
                  </a:lnTo>
                  <a:lnTo>
                    <a:pt x="2200" y="516"/>
                  </a:lnTo>
                  <a:lnTo>
                    <a:pt x="2230" y="484"/>
                  </a:lnTo>
                  <a:lnTo>
                    <a:pt x="2256" y="450"/>
                  </a:lnTo>
                  <a:lnTo>
                    <a:pt x="2284" y="414"/>
                  </a:lnTo>
                  <a:lnTo>
                    <a:pt x="2308" y="378"/>
                  </a:lnTo>
                  <a:lnTo>
                    <a:pt x="2308" y="378"/>
                  </a:lnTo>
                  <a:lnTo>
                    <a:pt x="2324" y="350"/>
                  </a:lnTo>
                  <a:lnTo>
                    <a:pt x="2340" y="322"/>
                  </a:lnTo>
                  <a:lnTo>
                    <a:pt x="2356" y="292"/>
                  </a:lnTo>
                  <a:lnTo>
                    <a:pt x="2368" y="262"/>
                  </a:lnTo>
                  <a:lnTo>
                    <a:pt x="2392" y="204"/>
                  </a:lnTo>
                  <a:lnTo>
                    <a:pt x="2412" y="144"/>
                  </a:lnTo>
                  <a:lnTo>
                    <a:pt x="2412" y="144"/>
                  </a:lnTo>
                  <a:lnTo>
                    <a:pt x="2414" y="178"/>
                  </a:lnTo>
                  <a:lnTo>
                    <a:pt x="2416" y="212"/>
                  </a:lnTo>
                  <a:lnTo>
                    <a:pt x="2416" y="248"/>
                  </a:lnTo>
                  <a:lnTo>
                    <a:pt x="2414" y="282"/>
                  </a:lnTo>
                  <a:lnTo>
                    <a:pt x="2412" y="318"/>
                  </a:lnTo>
                  <a:lnTo>
                    <a:pt x="2406" y="352"/>
                  </a:lnTo>
                  <a:lnTo>
                    <a:pt x="2402" y="388"/>
                  </a:lnTo>
                  <a:lnTo>
                    <a:pt x="2394" y="422"/>
                  </a:lnTo>
                  <a:lnTo>
                    <a:pt x="2386" y="456"/>
                  </a:lnTo>
                  <a:lnTo>
                    <a:pt x="2376" y="492"/>
                  </a:lnTo>
                  <a:lnTo>
                    <a:pt x="2364" y="526"/>
                  </a:lnTo>
                  <a:lnTo>
                    <a:pt x="2350" y="560"/>
                  </a:lnTo>
                  <a:lnTo>
                    <a:pt x="2336" y="592"/>
                  </a:lnTo>
                  <a:lnTo>
                    <a:pt x="2320" y="626"/>
                  </a:lnTo>
                  <a:lnTo>
                    <a:pt x="2302" y="658"/>
                  </a:lnTo>
                  <a:lnTo>
                    <a:pt x="2282" y="690"/>
                  </a:lnTo>
                  <a:lnTo>
                    <a:pt x="2282" y="69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34CF8403-329D-5AE5-A81C-63CE4D8BA803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8898" y="989982"/>
              <a:ext cx="2615694" cy="3445284"/>
            </a:xfrm>
            <a:custGeom>
              <a:avLst/>
              <a:gdLst>
                <a:gd name="T0" fmla="*/ 1050 w 1690"/>
                <a:gd name="T1" fmla="*/ 2184 h 2226"/>
                <a:gd name="T2" fmla="*/ 900 w 1690"/>
                <a:gd name="T3" fmla="*/ 2118 h 2226"/>
                <a:gd name="T4" fmla="*/ 768 w 1690"/>
                <a:gd name="T5" fmla="*/ 2026 h 2226"/>
                <a:gd name="T6" fmla="*/ 656 w 1690"/>
                <a:gd name="T7" fmla="*/ 1914 h 2226"/>
                <a:gd name="T8" fmla="*/ 566 w 1690"/>
                <a:gd name="T9" fmla="*/ 1784 h 2226"/>
                <a:gd name="T10" fmla="*/ 502 w 1690"/>
                <a:gd name="T11" fmla="*/ 1640 h 2226"/>
                <a:gd name="T12" fmla="*/ 466 w 1690"/>
                <a:gd name="T13" fmla="*/ 1484 h 2226"/>
                <a:gd name="T14" fmla="*/ 458 w 1690"/>
                <a:gd name="T15" fmla="*/ 1322 h 2226"/>
                <a:gd name="T16" fmla="*/ 436 w 1690"/>
                <a:gd name="T17" fmla="*/ 1230 h 2226"/>
                <a:gd name="T18" fmla="*/ 324 w 1690"/>
                <a:gd name="T19" fmla="*/ 1182 h 2226"/>
                <a:gd name="T20" fmla="*/ 226 w 1690"/>
                <a:gd name="T21" fmla="*/ 1114 h 2226"/>
                <a:gd name="T22" fmla="*/ 142 w 1690"/>
                <a:gd name="T23" fmla="*/ 1030 h 2226"/>
                <a:gd name="T24" fmla="*/ 76 w 1690"/>
                <a:gd name="T25" fmla="*/ 932 h 2226"/>
                <a:gd name="T26" fmla="*/ 30 w 1690"/>
                <a:gd name="T27" fmla="*/ 824 h 2226"/>
                <a:gd name="T28" fmla="*/ 4 w 1690"/>
                <a:gd name="T29" fmla="*/ 708 h 2226"/>
                <a:gd name="T30" fmla="*/ 0 w 1690"/>
                <a:gd name="T31" fmla="*/ 586 h 2226"/>
                <a:gd name="T32" fmla="*/ 14 w 1690"/>
                <a:gd name="T33" fmla="*/ 494 h 2226"/>
                <a:gd name="T34" fmla="*/ 54 w 1690"/>
                <a:gd name="T35" fmla="*/ 372 h 2226"/>
                <a:gd name="T36" fmla="*/ 116 w 1690"/>
                <a:gd name="T37" fmla="*/ 266 h 2226"/>
                <a:gd name="T38" fmla="*/ 196 w 1690"/>
                <a:gd name="T39" fmla="*/ 174 h 2226"/>
                <a:gd name="T40" fmla="*/ 290 w 1690"/>
                <a:gd name="T41" fmla="*/ 100 h 2226"/>
                <a:gd name="T42" fmla="*/ 398 w 1690"/>
                <a:gd name="T43" fmla="*/ 44 h 2226"/>
                <a:gd name="T44" fmla="*/ 516 w 1690"/>
                <a:gd name="T45" fmla="*/ 10 h 2226"/>
                <a:gd name="T46" fmla="*/ 640 w 1690"/>
                <a:gd name="T47" fmla="*/ 0 h 2226"/>
                <a:gd name="T48" fmla="*/ 766 w 1690"/>
                <a:gd name="T49" fmla="*/ 16 h 2226"/>
                <a:gd name="T50" fmla="*/ 900 w 1690"/>
                <a:gd name="T51" fmla="*/ 62 h 2226"/>
                <a:gd name="T52" fmla="*/ 1050 w 1690"/>
                <a:gd name="T53" fmla="*/ 162 h 2226"/>
                <a:gd name="T54" fmla="*/ 1164 w 1690"/>
                <a:gd name="T55" fmla="*/ 298 h 2226"/>
                <a:gd name="T56" fmla="*/ 1236 w 1690"/>
                <a:gd name="T57" fmla="*/ 462 h 2226"/>
                <a:gd name="T58" fmla="*/ 1248 w 1690"/>
                <a:gd name="T59" fmla="*/ 506 h 2226"/>
                <a:gd name="T60" fmla="*/ 1086 w 1690"/>
                <a:gd name="T61" fmla="*/ 608 h 2226"/>
                <a:gd name="T62" fmla="*/ 950 w 1690"/>
                <a:gd name="T63" fmla="*/ 742 h 2226"/>
                <a:gd name="T64" fmla="*/ 846 w 1690"/>
                <a:gd name="T65" fmla="*/ 906 h 2226"/>
                <a:gd name="T66" fmla="*/ 780 w 1690"/>
                <a:gd name="T67" fmla="*/ 1096 h 2226"/>
                <a:gd name="T68" fmla="*/ 760 w 1690"/>
                <a:gd name="T69" fmla="*/ 1226 h 2226"/>
                <a:gd name="T70" fmla="*/ 766 w 1690"/>
                <a:gd name="T71" fmla="*/ 1396 h 2226"/>
                <a:gd name="T72" fmla="*/ 804 w 1690"/>
                <a:gd name="T73" fmla="*/ 1560 h 2226"/>
                <a:gd name="T74" fmla="*/ 872 w 1690"/>
                <a:gd name="T75" fmla="*/ 1710 h 2226"/>
                <a:gd name="T76" fmla="*/ 968 w 1690"/>
                <a:gd name="T77" fmla="*/ 1846 h 2226"/>
                <a:gd name="T78" fmla="*/ 1088 w 1690"/>
                <a:gd name="T79" fmla="*/ 1960 h 2226"/>
                <a:gd name="T80" fmla="*/ 1230 w 1690"/>
                <a:gd name="T81" fmla="*/ 2050 h 2226"/>
                <a:gd name="T82" fmla="*/ 1390 w 1690"/>
                <a:gd name="T83" fmla="*/ 2114 h 2226"/>
                <a:gd name="T84" fmla="*/ 1498 w 1690"/>
                <a:gd name="T85" fmla="*/ 2136 h 2226"/>
                <a:gd name="T86" fmla="*/ 1690 w 1690"/>
                <a:gd name="T87" fmla="*/ 2142 h 2226"/>
                <a:gd name="T88" fmla="*/ 1592 w 1690"/>
                <a:gd name="T89" fmla="*/ 2182 h 2226"/>
                <a:gd name="T90" fmla="*/ 1456 w 1690"/>
                <a:gd name="T91" fmla="*/ 2214 h 2226"/>
                <a:gd name="T92" fmla="*/ 1314 w 1690"/>
                <a:gd name="T93" fmla="*/ 2226 h 2226"/>
                <a:gd name="T94" fmla="*/ 1168 w 1690"/>
                <a:gd name="T95" fmla="*/ 2212 h 2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690" h="2226">
                  <a:moveTo>
                    <a:pt x="1132" y="2206"/>
                  </a:moveTo>
                  <a:lnTo>
                    <a:pt x="1132" y="2206"/>
                  </a:lnTo>
                  <a:lnTo>
                    <a:pt x="1090" y="2196"/>
                  </a:lnTo>
                  <a:lnTo>
                    <a:pt x="1050" y="2184"/>
                  </a:lnTo>
                  <a:lnTo>
                    <a:pt x="1010" y="2170"/>
                  </a:lnTo>
                  <a:lnTo>
                    <a:pt x="972" y="2154"/>
                  </a:lnTo>
                  <a:lnTo>
                    <a:pt x="936" y="2136"/>
                  </a:lnTo>
                  <a:lnTo>
                    <a:pt x="900" y="2118"/>
                  </a:lnTo>
                  <a:lnTo>
                    <a:pt x="864" y="2098"/>
                  </a:lnTo>
                  <a:lnTo>
                    <a:pt x="830" y="2076"/>
                  </a:lnTo>
                  <a:lnTo>
                    <a:pt x="798" y="2052"/>
                  </a:lnTo>
                  <a:lnTo>
                    <a:pt x="768" y="2026"/>
                  </a:lnTo>
                  <a:lnTo>
                    <a:pt x="738" y="2000"/>
                  </a:lnTo>
                  <a:lnTo>
                    <a:pt x="708" y="1974"/>
                  </a:lnTo>
                  <a:lnTo>
                    <a:pt x="682" y="1944"/>
                  </a:lnTo>
                  <a:lnTo>
                    <a:pt x="656" y="1914"/>
                  </a:lnTo>
                  <a:lnTo>
                    <a:pt x="630" y="1884"/>
                  </a:lnTo>
                  <a:lnTo>
                    <a:pt x="608" y="1852"/>
                  </a:lnTo>
                  <a:lnTo>
                    <a:pt x="586" y="1818"/>
                  </a:lnTo>
                  <a:lnTo>
                    <a:pt x="566" y="1784"/>
                  </a:lnTo>
                  <a:lnTo>
                    <a:pt x="548" y="1750"/>
                  </a:lnTo>
                  <a:lnTo>
                    <a:pt x="530" y="1714"/>
                  </a:lnTo>
                  <a:lnTo>
                    <a:pt x="516" y="1676"/>
                  </a:lnTo>
                  <a:lnTo>
                    <a:pt x="502" y="1640"/>
                  </a:lnTo>
                  <a:lnTo>
                    <a:pt x="490" y="1602"/>
                  </a:lnTo>
                  <a:lnTo>
                    <a:pt x="480" y="1564"/>
                  </a:lnTo>
                  <a:lnTo>
                    <a:pt x="472" y="1524"/>
                  </a:lnTo>
                  <a:lnTo>
                    <a:pt x="466" y="1484"/>
                  </a:lnTo>
                  <a:lnTo>
                    <a:pt x="460" y="1444"/>
                  </a:lnTo>
                  <a:lnTo>
                    <a:pt x="458" y="1404"/>
                  </a:lnTo>
                  <a:lnTo>
                    <a:pt x="456" y="1362"/>
                  </a:lnTo>
                  <a:lnTo>
                    <a:pt x="458" y="1322"/>
                  </a:lnTo>
                  <a:lnTo>
                    <a:pt x="462" y="1280"/>
                  </a:lnTo>
                  <a:lnTo>
                    <a:pt x="466" y="1240"/>
                  </a:lnTo>
                  <a:lnTo>
                    <a:pt x="466" y="1240"/>
                  </a:lnTo>
                  <a:lnTo>
                    <a:pt x="436" y="1230"/>
                  </a:lnTo>
                  <a:lnTo>
                    <a:pt x="406" y="1220"/>
                  </a:lnTo>
                  <a:lnTo>
                    <a:pt x="378" y="1208"/>
                  </a:lnTo>
                  <a:lnTo>
                    <a:pt x="350" y="1196"/>
                  </a:lnTo>
                  <a:lnTo>
                    <a:pt x="324" y="1182"/>
                  </a:lnTo>
                  <a:lnTo>
                    <a:pt x="298" y="1166"/>
                  </a:lnTo>
                  <a:lnTo>
                    <a:pt x="272" y="1150"/>
                  </a:lnTo>
                  <a:lnTo>
                    <a:pt x="248" y="1132"/>
                  </a:lnTo>
                  <a:lnTo>
                    <a:pt x="226" y="1114"/>
                  </a:lnTo>
                  <a:lnTo>
                    <a:pt x="202" y="1094"/>
                  </a:lnTo>
                  <a:lnTo>
                    <a:pt x="182" y="1074"/>
                  </a:lnTo>
                  <a:lnTo>
                    <a:pt x="162" y="1052"/>
                  </a:lnTo>
                  <a:lnTo>
                    <a:pt x="142" y="1030"/>
                  </a:lnTo>
                  <a:lnTo>
                    <a:pt x="124" y="1006"/>
                  </a:lnTo>
                  <a:lnTo>
                    <a:pt x="106" y="982"/>
                  </a:lnTo>
                  <a:lnTo>
                    <a:pt x="92" y="958"/>
                  </a:lnTo>
                  <a:lnTo>
                    <a:pt x="76" y="932"/>
                  </a:lnTo>
                  <a:lnTo>
                    <a:pt x="62" y="906"/>
                  </a:lnTo>
                  <a:lnTo>
                    <a:pt x="50" y="880"/>
                  </a:lnTo>
                  <a:lnTo>
                    <a:pt x="40" y="852"/>
                  </a:lnTo>
                  <a:lnTo>
                    <a:pt x="30" y="824"/>
                  </a:lnTo>
                  <a:lnTo>
                    <a:pt x="22" y="796"/>
                  </a:lnTo>
                  <a:lnTo>
                    <a:pt x="14" y="768"/>
                  </a:lnTo>
                  <a:lnTo>
                    <a:pt x="8" y="738"/>
                  </a:lnTo>
                  <a:lnTo>
                    <a:pt x="4" y="708"/>
                  </a:lnTo>
                  <a:lnTo>
                    <a:pt x="0" y="678"/>
                  </a:lnTo>
                  <a:lnTo>
                    <a:pt x="0" y="648"/>
                  </a:lnTo>
                  <a:lnTo>
                    <a:pt x="0" y="618"/>
                  </a:lnTo>
                  <a:lnTo>
                    <a:pt x="0" y="586"/>
                  </a:lnTo>
                  <a:lnTo>
                    <a:pt x="4" y="556"/>
                  </a:lnTo>
                  <a:lnTo>
                    <a:pt x="8" y="526"/>
                  </a:lnTo>
                  <a:lnTo>
                    <a:pt x="14" y="494"/>
                  </a:lnTo>
                  <a:lnTo>
                    <a:pt x="14" y="494"/>
                  </a:lnTo>
                  <a:lnTo>
                    <a:pt x="22" y="462"/>
                  </a:lnTo>
                  <a:lnTo>
                    <a:pt x="32" y="432"/>
                  </a:lnTo>
                  <a:lnTo>
                    <a:pt x="42" y="402"/>
                  </a:lnTo>
                  <a:lnTo>
                    <a:pt x="54" y="372"/>
                  </a:lnTo>
                  <a:lnTo>
                    <a:pt x="68" y="344"/>
                  </a:lnTo>
                  <a:lnTo>
                    <a:pt x="82" y="318"/>
                  </a:lnTo>
                  <a:lnTo>
                    <a:pt x="98" y="290"/>
                  </a:lnTo>
                  <a:lnTo>
                    <a:pt x="116" y="266"/>
                  </a:lnTo>
                  <a:lnTo>
                    <a:pt x="134" y="240"/>
                  </a:lnTo>
                  <a:lnTo>
                    <a:pt x="154" y="218"/>
                  </a:lnTo>
                  <a:lnTo>
                    <a:pt x="174" y="194"/>
                  </a:lnTo>
                  <a:lnTo>
                    <a:pt x="196" y="174"/>
                  </a:lnTo>
                  <a:lnTo>
                    <a:pt x="218" y="154"/>
                  </a:lnTo>
                  <a:lnTo>
                    <a:pt x="242" y="134"/>
                  </a:lnTo>
                  <a:lnTo>
                    <a:pt x="266" y="116"/>
                  </a:lnTo>
                  <a:lnTo>
                    <a:pt x="290" y="100"/>
                  </a:lnTo>
                  <a:lnTo>
                    <a:pt x="316" y="84"/>
                  </a:lnTo>
                  <a:lnTo>
                    <a:pt x="344" y="70"/>
                  </a:lnTo>
                  <a:lnTo>
                    <a:pt x="370" y="56"/>
                  </a:lnTo>
                  <a:lnTo>
                    <a:pt x="398" y="44"/>
                  </a:lnTo>
                  <a:lnTo>
                    <a:pt x="428" y="34"/>
                  </a:lnTo>
                  <a:lnTo>
                    <a:pt x="456" y="24"/>
                  </a:lnTo>
                  <a:lnTo>
                    <a:pt x="486" y="16"/>
                  </a:lnTo>
                  <a:lnTo>
                    <a:pt x="516" y="10"/>
                  </a:lnTo>
                  <a:lnTo>
                    <a:pt x="546" y="6"/>
                  </a:lnTo>
                  <a:lnTo>
                    <a:pt x="576" y="2"/>
                  </a:lnTo>
                  <a:lnTo>
                    <a:pt x="608" y="0"/>
                  </a:lnTo>
                  <a:lnTo>
                    <a:pt x="640" y="0"/>
                  </a:lnTo>
                  <a:lnTo>
                    <a:pt x="670" y="2"/>
                  </a:lnTo>
                  <a:lnTo>
                    <a:pt x="702" y="4"/>
                  </a:lnTo>
                  <a:lnTo>
                    <a:pt x="734" y="10"/>
                  </a:lnTo>
                  <a:lnTo>
                    <a:pt x="766" y="16"/>
                  </a:lnTo>
                  <a:lnTo>
                    <a:pt x="766" y="16"/>
                  </a:lnTo>
                  <a:lnTo>
                    <a:pt x="812" y="28"/>
                  </a:lnTo>
                  <a:lnTo>
                    <a:pt x="856" y="42"/>
                  </a:lnTo>
                  <a:lnTo>
                    <a:pt x="900" y="62"/>
                  </a:lnTo>
                  <a:lnTo>
                    <a:pt x="940" y="82"/>
                  </a:lnTo>
                  <a:lnTo>
                    <a:pt x="980" y="106"/>
                  </a:lnTo>
                  <a:lnTo>
                    <a:pt x="1016" y="132"/>
                  </a:lnTo>
                  <a:lnTo>
                    <a:pt x="1050" y="162"/>
                  </a:lnTo>
                  <a:lnTo>
                    <a:pt x="1082" y="192"/>
                  </a:lnTo>
                  <a:lnTo>
                    <a:pt x="1112" y="226"/>
                  </a:lnTo>
                  <a:lnTo>
                    <a:pt x="1140" y="262"/>
                  </a:lnTo>
                  <a:lnTo>
                    <a:pt x="1164" y="298"/>
                  </a:lnTo>
                  <a:lnTo>
                    <a:pt x="1188" y="338"/>
                  </a:lnTo>
                  <a:lnTo>
                    <a:pt x="1206" y="378"/>
                  </a:lnTo>
                  <a:lnTo>
                    <a:pt x="1224" y="420"/>
                  </a:lnTo>
                  <a:lnTo>
                    <a:pt x="1236" y="462"/>
                  </a:lnTo>
                  <a:lnTo>
                    <a:pt x="1248" y="506"/>
                  </a:lnTo>
                  <a:lnTo>
                    <a:pt x="1248" y="506"/>
                  </a:lnTo>
                  <a:lnTo>
                    <a:pt x="1248" y="506"/>
                  </a:lnTo>
                  <a:lnTo>
                    <a:pt x="1248" y="506"/>
                  </a:lnTo>
                  <a:lnTo>
                    <a:pt x="1206" y="528"/>
                  </a:lnTo>
                  <a:lnTo>
                    <a:pt x="1164" y="552"/>
                  </a:lnTo>
                  <a:lnTo>
                    <a:pt x="1124" y="578"/>
                  </a:lnTo>
                  <a:lnTo>
                    <a:pt x="1086" y="608"/>
                  </a:lnTo>
                  <a:lnTo>
                    <a:pt x="1050" y="638"/>
                  </a:lnTo>
                  <a:lnTo>
                    <a:pt x="1014" y="670"/>
                  </a:lnTo>
                  <a:lnTo>
                    <a:pt x="982" y="706"/>
                  </a:lnTo>
                  <a:lnTo>
                    <a:pt x="950" y="742"/>
                  </a:lnTo>
                  <a:lnTo>
                    <a:pt x="920" y="780"/>
                  </a:lnTo>
                  <a:lnTo>
                    <a:pt x="894" y="820"/>
                  </a:lnTo>
                  <a:lnTo>
                    <a:pt x="868" y="862"/>
                  </a:lnTo>
                  <a:lnTo>
                    <a:pt x="846" y="906"/>
                  </a:lnTo>
                  <a:lnTo>
                    <a:pt x="826" y="952"/>
                  </a:lnTo>
                  <a:lnTo>
                    <a:pt x="808" y="998"/>
                  </a:lnTo>
                  <a:lnTo>
                    <a:pt x="792" y="1046"/>
                  </a:lnTo>
                  <a:lnTo>
                    <a:pt x="780" y="1096"/>
                  </a:lnTo>
                  <a:lnTo>
                    <a:pt x="780" y="1096"/>
                  </a:lnTo>
                  <a:lnTo>
                    <a:pt x="770" y="1140"/>
                  </a:lnTo>
                  <a:lnTo>
                    <a:pt x="764" y="1184"/>
                  </a:lnTo>
                  <a:lnTo>
                    <a:pt x="760" y="1226"/>
                  </a:lnTo>
                  <a:lnTo>
                    <a:pt x="758" y="1270"/>
                  </a:lnTo>
                  <a:lnTo>
                    <a:pt x="760" y="1312"/>
                  </a:lnTo>
                  <a:lnTo>
                    <a:pt x="762" y="1354"/>
                  </a:lnTo>
                  <a:lnTo>
                    <a:pt x="766" y="1396"/>
                  </a:lnTo>
                  <a:lnTo>
                    <a:pt x="772" y="1438"/>
                  </a:lnTo>
                  <a:lnTo>
                    <a:pt x="782" y="1480"/>
                  </a:lnTo>
                  <a:lnTo>
                    <a:pt x="792" y="1520"/>
                  </a:lnTo>
                  <a:lnTo>
                    <a:pt x="804" y="1560"/>
                  </a:lnTo>
                  <a:lnTo>
                    <a:pt x="818" y="1598"/>
                  </a:lnTo>
                  <a:lnTo>
                    <a:pt x="834" y="1636"/>
                  </a:lnTo>
                  <a:lnTo>
                    <a:pt x="852" y="1674"/>
                  </a:lnTo>
                  <a:lnTo>
                    <a:pt x="872" y="1710"/>
                  </a:lnTo>
                  <a:lnTo>
                    <a:pt x="894" y="1746"/>
                  </a:lnTo>
                  <a:lnTo>
                    <a:pt x="916" y="1780"/>
                  </a:lnTo>
                  <a:lnTo>
                    <a:pt x="942" y="1814"/>
                  </a:lnTo>
                  <a:lnTo>
                    <a:pt x="968" y="1846"/>
                  </a:lnTo>
                  <a:lnTo>
                    <a:pt x="996" y="1876"/>
                  </a:lnTo>
                  <a:lnTo>
                    <a:pt x="1024" y="1906"/>
                  </a:lnTo>
                  <a:lnTo>
                    <a:pt x="1056" y="1934"/>
                  </a:lnTo>
                  <a:lnTo>
                    <a:pt x="1088" y="1960"/>
                  </a:lnTo>
                  <a:lnTo>
                    <a:pt x="1120" y="1986"/>
                  </a:lnTo>
                  <a:lnTo>
                    <a:pt x="1156" y="2008"/>
                  </a:lnTo>
                  <a:lnTo>
                    <a:pt x="1192" y="2030"/>
                  </a:lnTo>
                  <a:lnTo>
                    <a:pt x="1230" y="2050"/>
                  </a:lnTo>
                  <a:lnTo>
                    <a:pt x="1268" y="2070"/>
                  </a:lnTo>
                  <a:lnTo>
                    <a:pt x="1308" y="2086"/>
                  </a:lnTo>
                  <a:lnTo>
                    <a:pt x="1348" y="2100"/>
                  </a:lnTo>
                  <a:lnTo>
                    <a:pt x="1390" y="2114"/>
                  </a:lnTo>
                  <a:lnTo>
                    <a:pt x="1434" y="2124"/>
                  </a:lnTo>
                  <a:lnTo>
                    <a:pt x="1434" y="2124"/>
                  </a:lnTo>
                  <a:lnTo>
                    <a:pt x="1466" y="2130"/>
                  </a:lnTo>
                  <a:lnTo>
                    <a:pt x="1498" y="2136"/>
                  </a:lnTo>
                  <a:lnTo>
                    <a:pt x="1530" y="2140"/>
                  </a:lnTo>
                  <a:lnTo>
                    <a:pt x="1562" y="2142"/>
                  </a:lnTo>
                  <a:lnTo>
                    <a:pt x="1626" y="2144"/>
                  </a:lnTo>
                  <a:lnTo>
                    <a:pt x="1690" y="2142"/>
                  </a:lnTo>
                  <a:lnTo>
                    <a:pt x="1690" y="2142"/>
                  </a:lnTo>
                  <a:lnTo>
                    <a:pt x="1658" y="2156"/>
                  </a:lnTo>
                  <a:lnTo>
                    <a:pt x="1626" y="2170"/>
                  </a:lnTo>
                  <a:lnTo>
                    <a:pt x="1592" y="2182"/>
                  </a:lnTo>
                  <a:lnTo>
                    <a:pt x="1560" y="2192"/>
                  </a:lnTo>
                  <a:lnTo>
                    <a:pt x="1526" y="2200"/>
                  </a:lnTo>
                  <a:lnTo>
                    <a:pt x="1490" y="2208"/>
                  </a:lnTo>
                  <a:lnTo>
                    <a:pt x="1456" y="2214"/>
                  </a:lnTo>
                  <a:lnTo>
                    <a:pt x="1422" y="2220"/>
                  </a:lnTo>
                  <a:lnTo>
                    <a:pt x="1386" y="2224"/>
                  </a:lnTo>
                  <a:lnTo>
                    <a:pt x="1350" y="2226"/>
                  </a:lnTo>
                  <a:lnTo>
                    <a:pt x="1314" y="2226"/>
                  </a:lnTo>
                  <a:lnTo>
                    <a:pt x="1278" y="2226"/>
                  </a:lnTo>
                  <a:lnTo>
                    <a:pt x="1242" y="2222"/>
                  </a:lnTo>
                  <a:lnTo>
                    <a:pt x="1204" y="2218"/>
                  </a:lnTo>
                  <a:lnTo>
                    <a:pt x="1168" y="2212"/>
                  </a:lnTo>
                  <a:lnTo>
                    <a:pt x="1132" y="2206"/>
                  </a:lnTo>
                  <a:lnTo>
                    <a:pt x="1132" y="2206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1" name="1 Título">
              <a:extLst>
                <a:ext uri="{FF2B5EF4-FFF2-40B4-BE49-F238E27FC236}">
                  <a16:creationId xmlns:a16="http://schemas.microsoft.com/office/drawing/2014/main" id="{636B07E2-7E96-E88D-C536-1963E55D1B22}"/>
                </a:ext>
              </a:extLst>
            </p:cNvPr>
            <p:cNvSpPr txBox="1">
              <a:spLocks/>
            </p:cNvSpPr>
            <p:nvPr/>
          </p:nvSpPr>
          <p:spPr>
            <a:xfrm>
              <a:off x="3852448" y="1374315"/>
              <a:ext cx="1793481" cy="948004"/>
            </a:xfrm>
            <a:prstGeom prst="rect">
              <a:avLst/>
            </a:prstGeom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txBody>
            <a:bodyPr vert="horz" lIns="102393" tIns="51197" rIns="102393" bIns="51197" rtlCol="0" anchor="t">
              <a:noAutofit/>
            </a:bodyPr>
            <a:lstStyle/>
            <a:p>
              <a:pPr algn="ctr" defTabSz="1023935">
                <a:spcBef>
                  <a:spcPct val="0"/>
                </a:spcBef>
                <a:defRPr/>
              </a:pPr>
              <a:r>
                <a:rPr lang="es-ES" sz="1400" b="1" dirty="0">
                  <a:solidFill>
                    <a:schemeClr val="bg1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ea typeface="+mj-ea"/>
                  <a:cs typeface="+mj-cs"/>
                </a:rPr>
                <a:t>TEXT</a:t>
              </a:r>
              <a:endParaRPr lang="en-US" sz="1400" b="1" dirty="0">
                <a:solidFill>
                  <a:schemeClr val="bg1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ea typeface="+mj-ea"/>
                <a:cs typeface="+mj-cs"/>
              </a:endParaRPr>
            </a:p>
          </p:txBody>
        </p:sp>
        <p:sp>
          <p:nvSpPr>
            <p:cNvPr id="12" name="1 Título">
              <a:extLst>
                <a:ext uri="{FF2B5EF4-FFF2-40B4-BE49-F238E27FC236}">
                  <a16:creationId xmlns:a16="http://schemas.microsoft.com/office/drawing/2014/main" id="{93CF2EE9-67F8-6317-7442-3E51CF6EC77D}"/>
                </a:ext>
              </a:extLst>
            </p:cNvPr>
            <p:cNvSpPr txBox="1">
              <a:spLocks/>
            </p:cNvSpPr>
            <p:nvPr/>
          </p:nvSpPr>
          <p:spPr>
            <a:xfrm>
              <a:off x="6333577" y="1307423"/>
              <a:ext cx="1953160" cy="567381"/>
            </a:xfrm>
            <a:prstGeom prst="rect">
              <a:avLst/>
            </a:prstGeom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txBody>
            <a:bodyPr vert="horz" lIns="102393" tIns="51197" rIns="102393" bIns="51197" rtlCol="0" anchor="t">
              <a:noAutofit/>
            </a:bodyPr>
            <a:lstStyle/>
            <a:p>
              <a:pPr algn="ctr" defTabSz="1023935">
                <a:spcBef>
                  <a:spcPct val="0"/>
                </a:spcBef>
                <a:defRPr/>
              </a:pPr>
              <a:r>
                <a:rPr lang="es-ES" sz="1400" b="1" dirty="0">
                  <a:solidFill>
                    <a:schemeClr val="bg1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TEXT</a:t>
              </a:r>
              <a:endParaRPr lang="en-US" sz="1400" b="1" dirty="0">
                <a:solidFill>
                  <a:schemeClr val="bg1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  <p:sp>
          <p:nvSpPr>
            <p:cNvPr id="13" name="1 Título">
              <a:extLst>
                <a:ext uri="{FF2B5EF4-FFF2-40B4-BE49-F238E27FC236}">
                  <a16:creationId xmlns:a16="http://schemas.microsoft.com/office/drawing/2014/main" id="{65865DF1-0E77-E1DA-867A-B7E05509F608}"/>
                </a:ext>
              </a:extLst>
            </p:cNvPr>
            <p:cNvSpPr txBox="1">
              <a:spLocks/>
            </p:cNvSpPr>
            <p:nvPr/>
          </p:nvSpPr>
          <p:spPr>
            <a:xfrm>
              <a:off x="7475911" y="3698769"/>
              <a:ext cx="1590089" cy="966564"/>
            </a:xfrm>
            <a:prstGeom prst="rect">
              <a:avLst/>
            </a:prstGeom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txBody>
            <a:bodyPr vert="horz" lIns="102393" tIns="51197" rIns="102393" bIns="51197" rtlCol="0" anchor="t">
              <a:noAutofit/>
            </a:bodyPr>
            <a:lstStyle/>
            <a:p>
              <a:pPr algn="ctr" defTabSz="1023935">
                <a:spcBef>
                  <a:spcPct val="0"/>
                </a:spcBef>
                <a:defRPr/>
              </a:pPr>
              <a:r>
                <a:rPr lang="es-ES" sz="1400" b="1" dirty="0">
                  <a:solidFill>
                    <a:schemeClr val="bg1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TEXT</a:t>
              </a:r>
              <a:endParaRPr lang="en-US" sz="1400" b="1" dirty="0">
                <a:solidFill>
                  <a:schemeClr val="bg1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  <p:sp>
          <p:nvSpPr>
            <p:cNvPr id="14" name="1 Título">
              <a:extLst>
                <a:ext uri="{FF2B5EF4-FFF2-40B4-BE49-F238E27FC236}">
                  <a16:creationId xmlns:a16="http://schemas.microsoft.com/office/drawing/2014/main" id="{6EB9D63D-D77E-6E75-6647-4CBFF76AA85A}"/>
                </a:ext>
              </a:extLst>
            </p:cNvPr>
            <p:cNvSpPr txBox="1">
              <a:spLocks/>
            </p:cNvSpPr>
            <p:nvPr/>
          </p:nvSpPr>
          <p:spPr>
            <a:xfrm>
              <a:off x="5352437" y="5402604"/>
              <a:ext cx="1655053" cy="948004"/>
            </a:xfrm>
            <a:prstGeom prst="rect">
              <a:avLst/>
            </a:prstGeom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txBody>
            <a:bodyPr vert="horz" lIns="102393" tIns="51197" rIns="102393" bIns="51197" rtlCol="0" anchor="t">
              <a:noAutofit/>
            </a:bodyPr>
            <a:lstStyle/>
            <a:p>
              <a:pPr algn="ctr" defTabSz="1023935">
                <a:spcBef>
                  <a:spcPct val="0"/>
                </a:spcBef>
                <a:defRPr/>
              </a:pPr>
              <a:r>
                <a:rPr lang="es-ES" sz="1400" b="1" dirty="0">
                  <a:solidFill>
                    <a:schemeClr val="bg1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TEXT</a:t>
              </a:r>
              <a:endParaRPr lang="en-US" sz="1400" b="1" dirty="0">
                <a:solidFill>
                  <a:schemeClr val="bg1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  <p:sp>
          <p:nvSpPr>
            <p:cNvPr id="15" name="1 Título">
              <a:extLst>
                <a:ext uri="{FF2B5EF4-FFF2-40B4-BE49-F238E27FC236}">
                  <a16:creationId xmlns:a16="http://schemas.microsoft.com/office/drawing/2014/main" id="{C5EA65DE-F077-C656-BC40-3FB66D9568BC}"/>
                </a:ext>
              </a:extLst>
            </p:cNvPr>
            <p:cNvSpPr txBox="1">
              <a:spLocks/>
            </p:cNvSpPr>
            <p:nvPr/>
          </p:nvSpPr>
          <p:spPr>
            <a:xfrm>
              <a:off x="3126000" y="4073093"/>
              <a:ext cx="2111479" cy="474002"/>
            </a:xfrm>
            <a:prstGeom prst="rect">
              <a:avLst/>
            </a:prstGeom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txBody>
            <a:bodyPr vert="horz" lIns="102393" tIns="51197" rIns="102393" bIns="51197" rtlCol="0" anchor="t">
              <a:noAutofit/>
            </a:bodyPr>
            <a:lstStyle/>
            <a:p>
              <a:pPr algn="ctr" defTabSz="1023935">
                <a:spcBef>
                  <a:spcPct val="0"/>
                </a:spcBef>
                <a:defRPr/>
              </a:pPr>
              <a:r>
                <a:rPr lang="es-ES" sz="1400" b="1" dirty="0">
                  <a:solidFill>
                    <a:schemeClr val="bg1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TEXT</a:t>
              </a:r>
              <a:endParaRPr lang="en-US" sz="1400" b="1" dirty="0">
                <a:solidFill>
                  <a:schemeClr val="bg1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  <p:sp>
          <p:nvSpPr>
            <p:cNvPr id="16" name="1 Título">
              <a:extLst>
                <a:ext uri="{FF2B5EF4-FFF2-40B4-BE49-F238E27FC236}">
                  <a16:creationId xmlns:a16="http://schemas.microsoft.com/office/drawing/2014/main" id="{50EB7D0D-EF84-7E1D-3A1E-0BBF2B3821C7}"/>
                </a:ext>
              </a:extLst>
            </p:cNvPr>
            <p:cNvSpPr txBox="1">
              <a:spLocks/>
            </p:cNvSpPr>
            <p:nvPr/>
          </p:nvSpPr>
          <p:spPr>
            <a:xfrm>
              <a:off x="5303516" y="3125090"/>
              <a:ext cx="1655053" cy="948004"/>
            </a:xfrm>
            <a:prstGeom prst="rect">
              <a:avLst/>
            </a:prstGeom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txBody>
            <a:bodyPr vert="horz" lIns="102393" tIns="51197" rIns="102393" bIns="51197" rtlCol="0" anchor="t">
              <a:noAutofit/>
            </a:bodyPr>
            <a:lstStyle/>
            <a:p>
              <a:pPr algn="ctr" defTabSz="1023935">
                <a:spcBef>
                  <a:spcPct val="0"/>
                </a:spcBef>
                <a:defRPr/>
              </a:pPr>
              <a:r>
                <a:rPr lang="es-ES" sz="3000" b="1" dirty="0">
                  <a:solidFill>
                    <a:schemeClr val="accent5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ea typeface="+mj-ea"/>
                  <a:cs typeface="+mj-cs"/>
                </a:rPr>
                <a:t>TEXT</a:t>
              </a:r>
              <a:endParaRPr lang="en-US" sz="1600" b="1" dirty="0">
                <a:solidFill>
                  <a:schemeClr val="accent5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ea typeface="+mj-ea"/>
                <a:cs typeface="+mj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26508277"/>
      </p:ext>
    </p:extLst>
  </p:cSld>
  <p:clrMapOvr>
    <a:masterClrMapping/>
  </p:clrMapOvr>
</p:sld>
</file>

<file path=ppt/slides/slide1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F7F2E7-E5E1-8BB7-FDB2-61583AAE65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C2CD7459-7389-8804-4A59-54A898D674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CD7459-7389-8804-4A59-54A898D674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21BE0BC-BF25-9197-F6DB-56585F4045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ircular layouts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2ED742F8-DA91-D89C-9AF8-06C29D153F4F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32</a:t>
            </a:fld>
            <a:endParaRPr lang="en-US" sz="1200" dirty="0">
              <a:solidFill>
                <a:schemeClr val="bg1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FE8ABF80-70B7-A3B7-0431-036420C65405}"/>
              </a:ext>
            </a:extLst>
          </p:cNvPr>
          <p:cNvGrpSpPr/>
          <p:nvPr/>
        </p:nvGrpSpPr>
        <p:grpSpPr>
          <a:xfrm>
            <a:off x="3737856" y="1461667"/>
            <a:ext cx="4438496" cy="4273716"/>
            <a:chOff x="3876752" y="2028826"/>
            <a:chExt cx="4438496" cy="4273716"/>
          </a:xfrm>
        </p:grpSpPr>
        <p:sp>
          <p:nvSpPr>
            <p:cNvPr id="63" name="Freeform 6">
              <a:extLst>
                <a:ext uri="{FF2B5EF4-FFF2-40B4-BE49-F238E27FC236}">
                  <a16:creationId xmlns:a16="http://schemas.microsoft.com/office/drawing/2014/main" id="{DA566A97-6343-FF69-C607-CE50A413F4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390747" y="4722764"/>
              <a:ext cx="2347748" cy="1579778"/>
            </a:xfrm>
            <a:custGeom>
              <a:avLst/>
              <a:gdLst>
                <a:gd name="T0" fmla="*/ 550 w 758"/>
                <a:gd name="T1" fmla="*/ 94 h 510"/>
                <a:gd name="T2" fmla="*/ 550 w 758"/>
                <a:gd name="T3" fmla="*/ 94 h 510"/>
                <a:gd name="T4" fmla="*/ 344 w 758"/>
                <a:gd name="T5" fmla="*/ 0 h 510"/>
                <a:gd name="T6" fmla="*/ 345 w 758"/>
                <a:gd name="T7" fmla="*/ 117 h 510"/>
                <a:gd name="T8" fmla="*/ 243 w 758"/>
                <a:gd name="T9" fmla="*/ 251 h 510"/>
                <a:gd name="T10" fmla="*/ 133 w 758"/>
                <a:gd name="T11" fmla="*/ 281 h 510"/>
                <a:gd name="T12" fmla="*/ 0 w 758"/>
                <a:gd name="T13" fmla="*/ 236 h 510"/>
                <a:gd name="T14" fmla="*/ 547 w 758"/>
                <a:gd name="T15" fmla="*/ 510 h 510"/>
                <a:gd name="T16" fmla="*/ 550 w 758"/>
                <a:gd name="T17" fmla="*/ 510 h 510"/>
                <a:gd name="T18" fmla="*/ 758 w 758"/>
                <a:gd name="T19" fmla="*/ 302 h 510"/>
                <a:gd name="T20" fmla="*/ 550 w 758"/>
                <a:gd name="T21" fmla="*/ 9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58" h="510">
                  <a:moveTo>
                    <a:pt x="550" y="94"/>
                  </a:moveTo>
                  <a:cubicBezTo>
                    <a:pt x="550" y="94"/>
                    <a:pt x="550" y="94"/>
                    <a:pt x="550" y="94"/>
                  </a:cubicBezTo>
                  <a:cubicBezTo>
                    <a:pt x="468" y="94"/>
                    <a:pt x="394" y="57"/>
                    <a:pt x="344" y="0"/>
                  </a:cubicBezTo>
                  <a:cubicBezTo>
                    <a:pt x="355" y="38"/>
                    <a:pt x="355" y="78"/>
                    <a:pt x="345" y="117"/>
                  </a:cubicBezTo>
                  <a:cubicBezTo>
                    <a:pt x="330" y="174"/>
                    <a:pt x="294" y="222"/>
                    <a:pt x="243" y="251"/>
                  </a:cubicBezTo>
                  <a:cubicBezTo>
                    <a:pt x="209" y="271"/>
                    <a:pt x="171" y="281"/>
                    <a:pt x="133" y="281"/>
                  </a:cubicBezTo>
                  <a:cubicBezTo>
                    <a:pt x="84" y="281"/>
                    <a:pt x="38" y="265"/>
                    <a:pt x="0" y="236"/>
                  </a:cubicBezTo>
                  <a:cubicBezTo>
                    <a:pt x="126" y="402"/>
                    <a:pt x="324" y="509"/>
                    <a:pt x="547" y="510"/>
                  </a:cubicBezTo>
                  <a:cubicBezTo>
                    <a:pt x="550" y="510"/>
                    <a:pt x="550" y="510"/>
                    <a:pt x="550" y="510"/>
                  </a:cubicBezTo>
                  <a:cubicBezTo>
                    <a:pt x="665" y="510"/>
                    <a:pt x="758" y="417"/>
                    <a:pt x="758" y="302"/>
                  </a:cubicBezTo>
                  <a:cubicBezTo>
                    <a:pt x="758" y="187"/>
                    <a:pt x="665" y="94"/>
                    <a:pt x="550" y="94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146078" tIns="73039" rIns="146078" bIns="73039" numCol="1" anchor="t" anchorCtr="0" compatLnSpc="1">
              <a:prstTxWarp prst="textNoShape">
                <a:avLst/>
              </a:prstTxWarp>
            </a:bodyPr>
            <a:lstStyle/>
            <a:p>
              <a:endParaRPr lang="en-US" sz="2876" b="1" dirty="0"/>
            </a:p>
          </p:txBody>
        </p:sp>
        <p:sp>
          <p:nvSpPr>
            <p:cNvPr id="64" name="Freeform 8">
              <a:extLst>
                <a:ext uri="{FF2B5EF4-FFF2-40B4-BE49-F238E27FC236}">
                  <a16:creationId xmlns:a16="http://schemas.microsoft.com/office/drawing/2014/main" id="{924DCC69-F0A6-6D78-A0B6-BBF170998EF3}"/>
                </a:ext>
              </a:extLst>
            </p:cNvPr>
            <p:cNvSpPr>
              <a:spLocks/>
            </p:cNvSpPr>
            <p:nvPr/>
          </p:nvSpPr>
          <p:spPr bwMode="auto">
            <a:xfrm>
              <a:off x="6652324" y="2681902"/>
              <a:ext cx="1662924" cy="2303907"/>
            </a:xfrm>
            <a:custGeom>
              <a:avLst/>
              <a:gdLst>
                <a:gd name="T0" fmla="*/ 57 w 537"/>
                <a:gd name="T1" fmla="*/ 342 h 744"/>
                <a:gd name="T2" fmla="*/ 80 w 537"/>
                <a:gd name="T3" fmla="*/ 566 h 744"/>
                <a:gd name="T4" fmla="*/ 239 w 537"/>
                <a:gd name="T5" fmla="*/ 498 h 744"/>
                <a:gd name="T6" fmla="*/ 348 w 537"/>
                <a:gd name="T7" fmla="*/ 527 h 744"/>
                <a:gd name="T8" fmla="*/ 451 w 537"/>
                <a:gd name="T9" fmla="*/ 660 h 744"/>
                <a:gd name="T10" fmla="*/ 457 w 537"/>
                <a:gd name="T11" fmla="*/ 744 h 744"/>
                <a:gd name="T12" fmla="*/ 419 w 537"/>
                <a:gd name="T13" fmla="*/ 136 h 744"/>
                <a:gd name="T14" fmla="*/ 417 w 537"/>
                <a:gd name="T15" fmla="*/ 133 h 744"/>
                <a:gd name="T16" fmla="*/ 133 w 537"/>
                <a:gd name="T17" fmla="*/ 58 h 744"/>
                <a:gd name="T18" fmla="*/ 57 w 537"/>
                <a:gd name="T19" fmla="*/ 341 h 744"/>
                <a:gd name="T20" fmla="*/ 57 w 537"/>
                <a:gd name="T21" fmla="*/ 342 h 7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37" h="744">
                  <a:moveTo>
                    <a:pt x="57" y="342"/>
                  </a:moveTo>
                  <a:cubicBezTo>
                    <a:pt x="98" y="413"/>
                    <a:pt x="104" y="494"/>
                    <a:pt x="80" y="566"/>
                  </a:cubicBezTo>
                  <a:cubicBezTo>
                    <a:pt x="121" y="523"/>
                    <a:pt x="178" y="498"/>
                    <a:pt x="239" y="498"/>
                  </a:cubicBezTo>
                  <a:cubicBezTo>
                    <a:pt x="277" y="498"/>
                    <a:pt x="315" y="508"/>
                    <a:pt x="348" y="527"/>
                  </a:cubicBezTo>
                  <a:cubicBezTo>
                    <a:pt x="399" y="556"/>
                    <a:pt x="435" y="604"/>
                    <a:pt x="451" y="660"/>
                  </a:cubicBezTo>
                  <a:cubicBezTo>
                    <a:pt x="458" y="688"/>
                    <a:pt x="460" y="717"/>
                    <a:pt x="457" y="744"/>
                  </a:cubicBezTo>
                  <a:cubicBezTo>
                    <a:pt x="537" y="553"/>
                    <a:pt x="530" y="329"/>
                    <a:pt x="419" y="136"/>
                  </a:cubicBezTo>
                  <a:cubicBezTo>
                    <a:pt x="417" y="133"/>
                    <a:pt x="417" y="133"/>
                    <a:pt x="417" y="133"/>
                  </a:cubicBezTo>
                  <a:cubicBezTo>
                    <a:pt x="359" y="34"/>
                    <a:pt x="232" y="0"/>
                    <a:pt x="133" y="58"/>
                  </a:cubicBezTo>
                  <a:cubicBezTo>
                    <a:pt x="34" y="115"/>
                    <a:pt x="0" y="242"/>
                    <a:pt x="57" y="341"/>
                  </a:cubicBezTo>
                  <a:cubicBezTo>
                    <a:pt x="57" y="342"/>
                    <a:pt x="57" y="342"/>
                    <a:pt x="57" y="342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146078" tIns="73039" rIns="146078" bIns="73039" numCol="1" anchor="t" anchorCtr="0" compatLnSpc="1">
              <a:prstTxWarp prst="textNoShape">
                <a:avLst/>
              </a:prstTxWarp>
            </a:bodyPr>
            <a:lstStyle/>
            <a:p>
              <a:endParaRPr lang="en-US" sz="2876" dirty="0"/>
            </a:p>
          </p:txBody>
        </p:sp>
        <p:sp>
          <p:nvSpPr>
            <p:cNvPr id="65" name="Freeform 6">
              <a:extLst>
                <a:ext uri="{FF2B5EF4-FFF2-40B4-BE49-F238E27FC236}">
                  <a16:creationId xmlns:a16="http://schemas.microsoft.com/office/drawing/2014/main" id="{FA0D039D-30CC-5F35-EB2C-47F4E8CE4B42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6752" y="3348583"/>
              <a:ext cx="1662924" cy="2300883"/>
            </a:xfrm>
            <a:custGeom>
              <a:avLst/>
              <a:gdLst>
                <a:gd name="T0" fmla="*/ 479 w 537"/>
                <a:gd name="T1" fmla="*/ 401 h 743"/>
                <a:gd name="T2" fmla="*/ 458 w 537"/>
                <a:gd name="T3" fmla="*/ 173 h 743"/>
                <a:gd name="T4" fmla="*/ 297 w 537"/>
                <a:gd name="T5" fmla="*/ 243 h 743"/>
                <a:gd name="T6" fmla="*/ 188 w 537"/>
                <a:gd name="T7" fmla="*/ 214 h 743"/>
                <a:gd name="T8" fmla="*/ 79 w 537"/>
                <a:gd name="T9" fmla="*/ 0 h 743"/>
                <a:gd name="T10" fmla="*/ 118 w 537"/>
                <a:gd name="T11" fmla="*/ 607 h 743"/>
                <a:gd name="T12" fmla="*/ 120 w 537"/>
                <a:gd name="T13" fmla="*/ 610 h 743"/>
                <a:gd name="T14" fmla="*/ 404 w 537"/>
                <a:gd name="T15" fmla="*/ 685 h 743"/>
                <a:gd name="T16" fmla="*/ 479 w 537"/>
                <a:gd name="T17" fmla="*/ 402 h 743"/>
                <a:gd name="T18" fmla="*/ 479 w 537"/>
                <a:gd name="T19" fmla="*/ 401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37" h="743">
                  <a:moveTo>
                    <a:pt x="479" y="401"/>
                  </a:moveTo>
                  <a:cubicBezTo>
                    <a:pt x="438" y="329"/>
                    <a:pt x="432" y="246"/>
                    <a:pt x="458" y="173"/>
                  </a:cubicBezTo>
                  <a:cubicBezTo>
                    <a:pt x="417" y="217"/>
                    <a:pt x="359" y="243"/>
                    <a:pt x="297" y="243"/>
                  </a:cubicBezTo>
                  <a:cubicBezTo>
                    <a:pt x="259" y="243"/>
                    <a:pt x="221" y="233"/>
                    <a:pt x="188" y="214"/>
                  </a:cubicBezTo>
                  <a:cubicBezTo>
                    <a:pt x="110" y="169"/>
                    <a:pt x="70" y="84"/>
                    <a:pt x="79" y="0"/>
                  </a:cubicBezTo>
                  <a:cubicBezTo>
                    <a:pt x="0" y="191"/>
                    <a:pt x="7" y="415"/>
                    <a:pt x="118" y="607"/>
                  </a:cubicBezTo>
                  <a:cubicBezTo>
                    <a:pt x="120" y="610"/>
                    <a:pt x="120" y="610"/>
                    <a:pt x="120" y="610"/>
                  </a:cubicBezTo>
                  <a:cubicBezTo>
                    <a:pt x="177" y="709"/>
                    <a:pt x="305" y="743"/>
                    <a:pt x="404" y="685"/>
                  </a:cubicBezTo>
                  <a:cubicBezTo>
                    <a:pt x="503" y="628"/>
                    <a:pt x="537" y="501"/>
                    <a:pt x="479" y="402"/>
                  </a:cubicBezTo>
                  <a:cubicBezTo>
                    <a:pt x="479" y="401"/>
                    <a:pt x="479" y="401"/>
                    <a:pt x="479" y="40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146078" tIns="73039" rIns="146078" bIns="73039" numCol="1" anchor="t" anchorCtr="0" compatLnSpc="1">
              <a:prstTxWarp prst="textNoShape">
                <a:avLst/>
              </a:prstTxWarp>
            </a:bodyPr>
            <a:lstStyle/>
            <a:p>
              <a:endParaRPr lang="en-US" sz="2876" dirty="0"/>
            </a:p>
          </p:txBody>
        </p:sp>
        <p:sp>
          <p:nvSpPr>
            <p:cNvPr id="66" name="Freeform 7">
              <a:extLst>
                <a:ext uri="{FF2B5EF4-FFF2-40B4-BE49-F238E27FC236}">
                  <a16:creationId xmlns:a16="http://schemas.microsoft.com/office/drawing/2014/main" id="{9D50192C-0513-3CD2-F5B3-4500F38294B6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5317" y="4172486"/>
              <a:ext cx="1860964" cy="2114938"/>
            </a:xfrm>
            <a:custGeom>
              <a:avLst/>
              <a:gdLst>
                <a:gd name="T0" fmla="*/ 467 w 601"/>
                <a:gd name="T1" fmla="*/ 57 h 683"/>
                <a:gd name="T2" fmla="*/ 183 w 601"/>
                <a:gd name="T3" fmla="*/ 134 h 683"/>
                <a:gd name="T4" fmla="*/ 183 w 601"/>
                <a:gd name="T5" fmla="*/ 134 h 683"/>
                <a:gd name="T6" fmla="*/ 0 w 601"/>
                <a:gd name="T7" fmla="*/ 266 h 683"/>
                <a:gd name="T8" fmla="*/ 164 w 601"/>
                <a:gd name="T9" fmla="*/ 479 h 683"/>
                <a:gd name="T10" fmla="*/ 26 w 601"/>
                <a:gd name="T11" fmla="*/ 683 h 683"/>
                <a:gd name="T12" fmla="*/ 542 w 601"/>
                <a:gd name="T13" fmla="*/ 343 h 683"/>
                <a:gd name="T14" fmla="*/ 544 w 601"/>
                <a:gd name="T15" fmla="*/ 340 h 683"/>
                <a:gd name="T16" fmla="*/ 467 w 601"/>
                <a:gd name="T17" fmla="*/ 57 h 6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01" h="683">
                  <a:moveTo>
                    <a:pt x="467" y="57"/>
                  </a:moveTo>
                  <a:cubicBezTo>
                    <a:pt x="367" y="0"/>
                    <a:pt x="240" y="35"/>
                    <a:pt x="183" y="134"/>
                  </a:cubicBezTo>
                  <a:cubicBezTo>
                    <a:pt x="183" y="134"/>
                    <a:pt x="183" y="134"/>
                    <a:pt x="183" y="134"/>
                  </a:cubicBezTo>
                  <a:cubicBezTo>
                    <a:pt x="142" y="205"/>
                    <a:pt x="74" y="251"/>
                    <a:pt x="0" y="266"/>
                  </a:cubicBezTo>
                  <a:cubicBezTo>
                    <a:pt x="94" y="291"/>
                    <a:pt x="164" y="377"/>
                    <a:pt x="164" y="479"/>
                  </a:cubicBezTo>
                  <a:cubicBezTo>
                    <a:pt x="164" y="571"/>
                    <a:pt x="107" y="651"/>
                    <a:pt x="26" y="683"/>
                  </a:cubicBezTo>
                  <a:cubicBezTo>
                    <a:pt x="234" y="658"/>
                    <a:pt x="429" y="539"/>
                    <a:pt x="542" y="343"/>
                  </a:cubicBezTo>
                  <a:cubicBezTo>
                    <a:pt x="544" y="340"/>
                    <a:pt x="544" y="340"/>
                    <a:pt x="544" y="340"/>
                  </a:cubicBezTo>
                  <a:cubicBezTo>
                    <a:pt x="601" y="241"/>
                    <a:pt x="566" y="114"/>
                    <a:pt x="467" y="57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146078" tIns="73039" rIns="146078" bIns="73039" numCol="1" anchor="t" anchorCtr="0" compatLnSpc="1">
              <a:prstTxWarp prst="textNoShape">
                <a:avLst/>
              </a:prstTxWarp>
            </a:bodyPr>
            <a:lstStyle/>
            <a:p>
              <a:endParaRPr lang="en-US" sz="2876" dirty="0"/>
            </a:p>
          </p:txBody>
        </p:sp>
        <p:sp>
          <p:nvSpPr>
            <p:cNvPr id="67" name="Freeform 9">
              <a:extLst>
                <a:ext uri="{FF2B5EF4-FFF2-40B4-BE49-F238E27FC236}">
                  <a16:creationId xmlns:a16="http://schemas.microsoft.com/office/drawing/2014/main" id="{FD08C90E-E8BC-3B6A-86A0-8D5BC129EF0C}"/>
                </a:ext>
              </a:extLst>
            </p:cNvPr>
            <p:cNvSpPr>
              <a:spLocks/>
            </p:cNvSpPr>
            <p:nvPr/>
          </p:nvSpPr>
          <p:spPr bwMode="auto">
            <a:xfrm>
              <a:off x="5453507" y="2028826"/>
              <a:ext cx="2344724" cy="1576754"/>
            </a:xfrm>
            <a:custGeom>
              <a:avLst/>
              <a:gdLst>
                <a:gd name="T0" fmla="*/ 412 w 757"/>
                <a:gd name="T1" fmla="*/ 392 h 509"/>
                <a:gd name="T2" fmla="*/ 514 w 757"/>
                <a:gd name="T3" fmla="*/ 258 h 509"/>
                <a:gd name="T4" fmla="*/ 624 w 757"/>
                <a:gd name="T5" fmla="*/ 228 h 509"/>
                <a:gd name="T6" fmla="*/ 757 w 757"/>
                <a:gd name="T7" fmla="*/ 273 h 509"/>
                <a:gd name="T8" fmla="*/ 211 w 757"/>
                <a:gd name="T9" fmla="*/ 0 h 509"/>
                <a:gd name="T10" fmla="*/ 207 w 757"/>
                <a:gd name="T11" fmla="*/ 0 h 509"/>
                <a:gd name="T12" fmla="*/ 0 w 757"/>
                <a:gd name="T13" fmla="*/ 208 h 509"/>
                <a:gd name="T14" fmla="*/ 207 w 757"/>
                <a:gd name="T15" fmla="*/ 416 h 509"/>
                <a:gd name="T16" fmla="*/ 208 w 757"/>
                <a:gd name="T17" fmla="*/ 416 h 509"/>
                <a:gd name="T18" fmla="*/ 413 w 757"/>
                <a:gd name="T19" fmla="*/ 509 h 509"/>
                <a:gd name="T20" fmla="*/ 412 w 757"/>
                <a:gd name="T21" fmla="*/ 392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57" h="509">
                  <a:moveTo>
                    <a:pt x="412" y="392"/>
                  </a:moveTo>
                  <a:cubicBezTo>
                    <a:pt x="427" y="335"/>
                    <a:pt x="463" y="287"/>
                    <a:pt x="514" y="258"/>
                  </a:cubicBezTo>
                  <a:cubicBezTo>
                    <a:pt x="547" y="239"/>
                    <a:pt x="585" y="228"/>
                    <a:pt x="624" y="228"/>
                  </a:cubicBezTo>
                  <a:cubicBezTo>
                    <a:pt x="673" y="228"/>
                    <a:pt x="719" y="244"/>
                    <a:pt x="757" y="273"/>
                  </a:cubicBezTo>
                  <a:cubicBezTo>
                    <a:pt x="632" y="108"/>
                    <a:pt x="434" y="1"/>
                    <a:pt x="211" y="0"/>
                  </a:cubicBezTo>
                  <a:cubicBezTo>
                    <a:pt x="207" y="0"/>
                    <a:pt x="207" y="0"/>
                    <a:pt x="207" y="0"/>
                  </a:cubicBezTo>
                  <a:cubicBezTo>
                    <a:pt x="93" y="0"/>
                    <a:pt x="0" y="93"/>
                    <a:pt x="0" y="208"/>
                  </a:cubicBezTo>
                  <a:cubicBezTo>
                    <a:pt x="0" y="323"/>
                    <a:pt x="93" y="416"/>
                    <a:pt x="207" y="416"/>
                  </a:cubicBezTo>
                  <a:cubicBezTo>
                    <a:pt x="208" y="416"/>
                    <a:pt x="208" y="416"/>
                    <a:pt x="208" y="416"/>
                  </a:cubicBezTo>
                  <a:cubicBezTo>
                    <a:pt x="290" y="416"/>
                    <a:pt x="363" y="452"/>
                    <a:pt x="413" y="509"/>
                  </a:cubicBezTo>
                  <a:cubicBezTo>
                    <a:pt x="402" y="471"/>
                    <a:pt x="401" y="431"/>
                    <a:pt x="412" y="392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146078" tIns="73039" rIns="146078" bIns="73039" numCol="1" anchor="t" anchorCtr="0" compatLnSpc="1">
              <a:prstTxWarp prst="textNoShape">
                <a:avLst/>
              </a:prstTxWarp>
            </a:bodyPr>
            <a:lstStyle/>
            <a:p>
              <a:endParaRPr lang="en-US" sz="2876" dirty="0"/>
            </a:p>
          </p:txBody>
        </p:sp>
        <p:sp>
          <p:nvSpPr>
            <p:cNvPr id="68" name="Freeform 10">
              <a:extLst>
                <a:ext uri="{FF2B5EF4-FFF2-40B4-BE49-F238E27FC236}">
                  <a16:creationId xmlns:a16="http://schemas.microsoft.com/office/drawing/2014/main" id="{881D2E47-D359-667C-36FB-CDF0AD85C86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5721" y="2043943"/>
              <a:ext cx="1863988" cy="2111914"/>
            </a:xfrm>
            <a:custGeom>
              <a:avLst/>
              <a:gdLst>
                <a:gd name="T0" fmla="*/ 435 w 602"/>
                <a:gd name="T1" fmla="*/ 203 h 682"/>
                <a:gd name="T2" fmla="*/ 570 w 602"/>
                <a:gd name="T3" fmla="*/ 0 h 682"/>
                <a:gd name="T4" fmla="*/ 59 w 602"/>
                <a:gd name="T5" fmla="*/ 338 h 682"/>
                <a:gd name="T6" fmla="*/ 57 w 602"/>
                <a:gd name="T7" fmla="*/ 342 h 682"/>
                <a:gd name="T8" fmla="*/ 134 w 602"/>
                <a:gd name="T9" fmla="*/ 625 h 682"/>
                <a:gd name="T10" fmla="*/ 418 w 602"/>
                <a:gd name="T11" fmla="*/ 548 h 682"/>
                <a:gd name="T12" fmla="*/ 418 w 602"/>
                <a:gd name="T13" fmla="*/ 548 h 682"/>
                <a:gd name="T14" fmla="*/ 602 w 602"/>
                <a:gd name="T15" fmla="*/ 416 h 682"/>
                <a:gd name="T16" fmla="*/ 435 w 602"/>
                <a:gd name="T17" fmla="*/ 203 h 6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02" h="682">
                  <a:moveTo>
                    <a:pt x="435" y="203"/>
                  </a:moveTo>
                  <a:cubicBezTo>
                    <a:pt x="435" y="112"/>
                    <a:pt x="491" y="34"/>
                    <a:pt x="570" y="0"/>
                  </a:cubicBezTo>
                  <a:cubicBezTo>
                    <a:pt x="364" y="26"/>
                    <a:pt x="171" y="145"/>
                    <a:pt x="59" y="338"/>
                  </a:cubicBezTo>
                  <a:cubicBezTo>
                    <a:pt x="57" y="342"/>
                    <a:pt x="57" y="342"/>
                    <a:pt x="57" y="342"/>
                  </a:cubicBezTo>
                  <a:cubicBezTo>
                    <a:pt x="0" y="441"/>
                    <a:pt x="35" y="568"/>
                    <a:pt x="134" y="625"/>
                  </a:cubicBezTo>
                  <a:cubicBezTo>
                    <a:pt x="233" y="682"/>
                    <a:pt x="360" y="648"/>
                    <a:pt x="418" y="548"/>
                  </a:cubicBezTo>
                  <a:cubicBezTo>
                    <a:pt x="418" y="548"/>
                    <a:pt x="418" y="548"/>
                    <a:pt x="418" y="548"/>
                  </a:cubicBezTo>
                  <a:cubicBezTo>
                    <a:pt x="459" y="477"/>
                    <a:pt x="527" y="431"/>
                    <a:pt x="602" y="416"/>
                  </a:cubicBezTo>
                  <a:cubicBezTo>
                    <a:pt x="506" y="393"/>
                    <a:pt x="435" y="306"/>
                    <a:pt x="435" y="203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146078" tIns="73039" rIns="146078" bIns="73039" numCol="1" anchor="t" anchorCtr="0" compatLnSpc="1">
              <a:prstTxWarp prst="textNoShape">
                <a:avLst/>
              </a:prstTxWarp>
            </a:bodyPr>
            <a:lstStyle/>
            <a:p>
              <a:endParaRPr lang="en-US" sz="2876" dirty="0"/>
            </a:p>
          </p:txBody>
        </p:sp>
      </p:grpSp>
      <p:sp>
        <p:nvSpPr>
          <p:cNvPr id="50" name="TextBox 49">
            <a:extLst>
              <a:ext uri="{FF2B5EF4-FFF2-40B4-BE49-F238E27FC236}">
                <a16:creationId xmlns:a16="http://schemas.microsoft.com/office/drawing/2014/main" id="{37B50971-00FF-4739-AD7E-4FF60707A202}"/>
              </a:ext>
            </a:extLst>
          </p:cNvPr>
          <p:cNvSpPr txBox="1"/>
          <p:nvPr/>
        </p:nvSpPr>
        <p:spPr>
          <a:xfrm>
            <a:off x="7735674" y="1488592"/>
            <a:ext cx="2997798" cy="757177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800" b="1" dirty="0">
                <a:solidFill>
                  <a:schemeClr val="accent6"/>
                </a:solidFill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F5433324-65B9-0562-B363-B22BEE83ED2D}"/>
              </a:ext>
            </a:extLst>
          </p:cNvPr>
          <p:cNvSpPr txBox="1"/>
          <p:nvPr/>
        </p:nvSpPr>
        <p:spPr>
          <a:xfrm>
            <a:off x="717434" y="3215814"/>
            <a:ext cx="2908435" cy="757177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US" sz="1800" b="1" dirty="0">
                <a:solidFill>
                  <a:schemeClr val="accent2"/>
                </a:solidFill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1C2D820B-4DCD-08E7-8B2C-5EECD0CA3A8A}"/>
              </a:ext>
            </a:extLst>
          </p:cNvPr>
          <p:cNvSpPr txBox="1"/>
          <p:nvPr/>
        </p:nvSpPr>
        <p:spPr>
          <a:xfrm>
            <a:off x="7712927" y="5086953"/>
            <a:ext cx="2997798" cy="757177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800" b="1" dirty="0">
                <a:solidFill>
                  <a:schemeClr val="accent4"/>
                </a:solidFill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C3E2D7EB-102D-BD5C-D814-A62728F89989}"/>
              </a:ext>
            </a:extLst>
          </p:cNvPr>
          <p:cNvSpPr txBox="1"/>
          <p:nvPr/>
        </p:nvSpPr>
        <p:spPr>
          <a:xfrm>
            <a:off x="1630283" y="5086953"/>
            <a:ext cx="2786410" cy="757177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US" sz="1800" b="1" dirty="0">
                <a:solidFill>
                  <a:schemeClr val="accent3"/>
                </a:solidFill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accent5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01219019-9C87-8089-080A-F55FB6F2A183}"/>
              </a:ext>
            </a:extLst>
          </p:cNvPr>
          <p:cNvSpPr txBox="1"/>
          <p:nvPr/>
        </p:nvSpPr>
        <p:spPr>
          <a:xfrm>
            <a:off x="1179644" y="1488592"/>
            <a:ext cx="2786410" cy="757177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US" sz="1800" b="1" dirty="0">
                <a:solidFill>
                  <a:schemeClr val="accent1"/>
                </a:solidFill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79CC6CCC-3C08-8C6A-86C9-87F45C11C390}"/>
              </a:ext>
            </a:extLst>
          </p:cNvPr>
          <p:cNvSpPr txBox="1"/>
          <p:nvPr/>
        </p:nvSpPr>
        <p:spPr>
          <a:xfrm>
            <a:off x="8247884" y="3120633"/>
            <a:ext cx="2997798" cy="757177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800" b="1" dirty="0">
                <a:solidFill>
                  <a:schemeClr val="accent5"/>
                </a:solidFill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57" name="Star: 4 Points 56">
            <a:extLst>
              <a:ext uri="{FF2B5EF4-FFF2-40B4-BE49-F238E27FC236}">
                <a16:creationId xmlns:a16="http://schemas.microsoft.com/office/drawing/2014/main" id="{636757C2-1330-1437-82EE-D9E433E8B36C}"/>
              </a:ext>
            </a:extLst>
          </p:cNvPr>
          <p:cNvSpPr/>
          <p:nvPr/>
        </p:nvSpPr>
        <p:spPr>
          <a:xfrm>
            <a:off x="4483075" y="2297407"/>
            <a:ext cx="635000" cy="635000"/>
          </a:xfrm>
          <a:prstGeom prst="star4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Star: 4 Points 57">
            <a:extLst>
              <a:ext uri="{FF2B5EF4-FFF2-40B4-BE49-F238E27FC236}">
                <a16:creationId xmlns:a16="http://schemas.microsoft.com/office/drawing/2014/main" id="{92B94E8A-81B1-1BBC-7129-E10DCC2B799A}"/>
              </a:ext>
            </a:extLst>
          </p:cNvPr>
          <p:cNvSpPr/>
          <p:nvPr/>
        </p:nvSpPr>
        <p:spPr>
          <a:xfrm>
            <a:off x="5790813" y="1797243"/>
            <a:ext cx="635000" cy="635000"/>
          </a:xfrm>
          <a:prstGeom prst="star4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Star: 4 Points 58">
            <a:extLst>
              <a:ext uri="{FF2B5EF4-FFF2-40B4-BE49-F238E27FC236}">
                <a16:creationId xmlns:a16="http://schemas.microsoft.com/office/drawing/2014/main" id="{05E05A62-303C-8EB4-2629-BD16E292A198}"/>
              </a:ext>
            </a:extLst>
          </p:cNvPr>
          <p:cNvSpPr/>
          <p:nvPr/>
        </p:nvSpPr>
        <p:spPr>
          <a:xfrm>
            <a:off x="7079352" y="2614907"/>
            <a:ext cx="635000" cy="635000"/>
          </a:xfrm>
          <a:prstGeom prst="star4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Star: 4 Points 59">
            <a:extLst>
              <a:ext uri="{FF2B5EF4-FFF2-40B4-BE49-F238E27FC236}">
                <a16:creationId xmlns:a16="http://schemas.microsoft.com/office/drawing/2014/main" id="{28F4F0B3-57B5-FC16-8E54-057E3458B3E3}"/>
              </a:ext>
            </a:extLst>
          </p:cNvPr>
          <p:cNvSpPr/>
          <p:nvPr/>
        </p:nvSpPr>
        <p:spPr>
          <a:xfrm>
            <a:off x="6761852" y="4175953"/>
            <a:ext cx="635000" cy="635000"/>
          </a:xfrm>
          <a:prstGeom prst="star4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Star: 4 Points 60">
            <a:extLst>
              <a:ext uri="{FF2B5EF4-FFF2-40B4-BE49-F238E27FC236}">
                <a16:creationId xmlns:a16="http://schemas.microsoft.com/office/drawing/2014/main" id="{6A73CF16-FD1D-E0AD-E7F0-483FB13C3689}"/>
              </a:ext>
            </a:extLst>
          </p:cNvPr>
          <p:cNvSpPr/>
          <p:nvPr/>
        </p:nvSpPr>
        <p:spPr>
          <a:xfrm>
            <a:off x="5394469" y="4689965"/>
            <a:ext cx="635000" cy="635000"/>
          </a:xfrm>
          <a:prstGeom prst="star4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Star: 4 Points 61">
            <a:extLst>
              <a:ext uri="{FF2B5EF4-FFF2-40B4-BE49-F238E27FC236}">
                <a16:creationId xmlns:a16="http://schemas.microsoft.com/office/drawing/2014/main" id="{5985E3C7-1184-7A95-F2FC-BDEBB443EF3D}"/>
              </a:ext>
            </a:extLst>
          </p:cNvPr>
          <p:cNvSpPr/>
          <p:nvPr/>
        </p:nvSpPr>
        <p:spPr>
          <a:xfrm>
            <a:off x="4257010" y="3872198"/>
            <a:ext cx="635000" cy="635000"/>
          </a:xfrm>
          <a:prstGeom prst="star4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3257373"/>
      </p:ext>
    </p:extLst>
  </p:cSld>
  <p:clrMapOvr>
    <a:masterClrMapping/>
  </p:clrMapOvr>
</p:sld>
</file>

<file path=ppt/slides/slide1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941B07-B28D-32C0-B2F3-2F3D92CACD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47630144-3F8A-E728-C696-7B8FD17E36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630144-3F8A-E728-C696-7B8FD17E36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B3CE96A-9B8F-BA79-A8DC-81BB8DBC8F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ircular layouts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AE2B1792-5C51-75AE-2E47-ED0D4CC4256B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33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5" name="Shape 20">
            <a:extLst>
              <a:ext uri="{FF2B5EF4-FFF2-40B4-BE49-F238E27FC236}">
                <a16:creationId xmlns:a16="http://schemas.microsoft.com/office/drawing/2014/main" id="{2A09337A-447E-8703-6E87-FFAD65CD627E}"/>
              </a:ext>
            </a:extLst>
          </p:cNvPr>
          <p:cNvSpPr/>
          <p:nvPr/>
        </p:nvSpPr>
        <p:spPr>
          <a:xfrm>
            <a:off x="4045122" y="1411330"/>
            <a:ext cx="3010736" cy="168269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077" h="21600" extrusionOk="0">
                <a:moveTo>
                  <a:pt x="5358" y="0"/>
                </a:moveTo>
                <a:cubicBezTo>
                  <a:pt x="3987" y="0"/>
                  <a:pt x="2615" y="961"/>
                  <a:pt x="1569" y="2879"/>
                </a:cubicBezTo>
                <a:cubicBezTo>
                  <a:pt x="-523" y="6715"/>
                  <a:pt x="-523" y="12932"/>
                  <a:pt x="1569" y="16768"/>
                </a:cubicBezTo>
                <a:cubicBezTo>
                  <a:pt x="2343" y="18188"/>
                  <a:pt x="3297" y="19081"/>
                  <a:pt x="4295" y="19450"/>
                </a:cubicBezTo>
                <a:cubicBezTo>
                  <a:pt x="4722" y="17509"/>
                  <a:pt x="5374" y="15769"/>
                  <a:pt x="6186" y="14298"/>
                </a:cubicBezTo>
                <a:cubicBezTo>
                  <a:pt x="9651" y="8018"/>
                  <a:pt x="15222" y="7992"/>
                  <a:pt x="18667" y="14298"/>
                </a:cubicBezTo>
                <a:cubicBezTo>
                  <a:pt x="19232" y="15331"/>
                  <a:pt x="19692" y="16479"/>
                  <a:pt x="20069" y="17690"/>
                </a:cubicBezTo>
                <a:lnTo>
                  <a:pt x="18925" y="17659"/>
                </a:lnTo>
                <a:lnTo>
                  <a:pt x="21077" y="21600"/>
                </a:lnTo>
                <a:lnTo>
                  <a:pt x="21027" y="16027"/>
                </a:lnTo>
                <a:lnTo>
                  <a:pt x="20273" y="17497"/>
                </a:lnTo>
                <a:cubicBezTo>
                  <a:pt x="19857" y="15913"/>
                  <a:pt x="19307" y="14418"/>
                  <a:pt x="18590" y="13104"/>
                </a:cubicBezTo>
                <a:cubicBezTo>
                  <a:pt x="16867" y="9944"/>
                  <a:pt x="14610" y="8364"/>
                  <a:pt x="12351" y="8364"/>
                </a:cubicBezTo>
                <a:cubicBezTo>
                  <a:pt x="11788" y="8364"/>
                  <a:pt x="11226" y="8462"/>
                  <a:pt x="10671" y="8658"/>
                </a:cubicBezTo>
                <a:cubicBezTo>
                  <a:pt x="10534" y="6546"/>
                  <a:pt x="10030" y="4500"/>
                  <a:pt x="9146" y="2879"/>
                </a:cubicBezTo>
                <a:cubicBezTo>
                  <a:pt x="8100" y="961"/>
                  <a:pt x="6729" y="0"/>
                  <a:pt x="5358" y="0"/>
                </a:cubicBezTo>
                <a:close/>
              </a:path>
            </a:pathLst>
          </a:custGeom>
          <a:solidFill>
            <a:schemeClr val="accent1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endParaRPr dirty="0"/>
          </a:p>
        </p:txBody>
      </p:sp>
      <p:sp>
        <p:nvSpPr>
          <p:cNvPr id="6" name="Shape 21">
            <a:extLst>
              <a:ext uri="{FF2B5EF4-FFF2-40B4-BE49-F238E27FC236}">
                <a16:creationId xmlns:a16="http://schemas.microsoft.com/office/drawing/2014/main" id="{90CE982D-763A-69C3-65D5-129F11DA43B2}"/>
              </a:ext>
            </a:extLst>
          </p:cNvPr>
          <p:cNvSpPr/>
          <p:nvPr/>
        </p:nvSpPr>
        <p:spPr>
          <a:xfrm>
            <a:off x="6395522" y="1410316"/>
            <a:ext cx="1681968" cy="30110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99" h="21076" extrusionOk="0">
                <a:moveTo>
                  <a:pt x="21599" y="5355"/>
                </a:moveTo>
                <a:cubicBezTo>
                  <a:pt x="21598" y="3984"/>
                  <a:pt x="20636" y="2613"/>
                  <a:pt x="18717" y="1567"/>
                </a:cubicBezTo>
                <a:cubicBezTo>
                  <a:pt x="14878" y="-524"/>
                  <a:pt x="8659" y="-523"/>
                  <a:pt x="4822" y="1570"/>
                </a:cubicBezTo>
                <a:cubicBezTo>
                  <a:pt x="3403" y="2344"/>
                  <a:pt x="2510" y="3298"/>
                  <a:pt x="2141" y="4296"/>
                </a:cubicBezTo>
                <a:cubicBezTo>
                  <a:pt x="4083" y="4722"/>
                  <a:pt x="5824" y="5374"/>
                  <a:pt x="7296" y="6185"/>
                </a:cubicBezTo>
                <a:cubicBezTo>
                  <a:pt x="13581" y="9649"/>
                  <a:pt x="13610" y="15219"/>
                  <a:pt x="7304" y="18665"/>
                </a:cubicBezTo>
                <a:cubicBezTo>
                  <a:pt x="6270" y="19230"/>
                  <a:pt x="5122" y="19690"/>
                  <a:pt x="3911" y="20068"/>
                </a:cubicBezTo>
                <a:lnTo>
                  <a:pt x="3941" y="18924"/>
                </a:lnTo>
                <a:lnTo>
                  <a:pt x="0" y="21076"/>
                </a:lnTo>
                <a:lnTo>
                  <a:pt x="5576" y="21025"/>
                </a:lnTo>
                <a:lnTo>
                  <a:pt x="4104" y="20271"/>
                </a:lnTo>
                <a:cubicBezTo>
                  <a:pt x="5689" y="19856"/>
                  <a:pt x="7183" y="19305"/>
                  <a:pt x="8498" y="18588"/>
                </a:cubicBezTo>
                <a:cubicBezTo>
                  <a:pt x="11658" y="16864"/>
                  <a:pt x="13237" y="14607"/>
                  <a:pt x="13236" y="12349"/>
                </a:cubicBezTo>
                <a:cubicBezTo>
                  <a:pt x="13235" y="11786"/>
                  <a:pt x="13137" y="11224"/>
                  <a:pt x="12940" y="10669"/>
                </a:cubicBezTo>
                <a:cubicBezTo>
                  <a:pt x="15053" y="10532"/>
                  <a:pt x="17101" y="10028"/>
                  <a:pt x="18721" y="9144"/>
                </a:cubicBezTo>
                <a:cubicBezTo>
                  <a:pt x="20640" y="8097"/>
                  <a:pt x="21600" y="6726"/>
                  <a:pt x="21599" y="5355"/>
                </a:cubicBezTo>
                <a:close/>
              </a:path>
            </a:pathLst>
          </a:custGeom>
          <a:solidFill>
            <a:schemeClr val="accent4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endParaRPr/>
          </a:p>
        </p:txBody>
      </p:sp>
      <p:sp>
        <p:nvSpPr>
          <p:cNvPr id="7" name="Shape 22">
            <a:extLst>
              <a:ext uri="{FF2B5EF4-FFF2-40B4-BE49-F238E27FC236}">
                <a16:creationId xmlns:a16="http://schemas.microsoft.com/office/drawing/2014/main" id="{95D659BC-1F43-F74F-4C4A-32632F791616}"/>
              </a:ext>
            </a:extLst>
          </p:cNvPr>
          <p:cNvSpPr/>
          <p:nvPr/>
        </p:nvSpPr>
        <p:spPr>
          <a:xfrm>
            <a:off x="5067481" y="3763974"/>
            <a:ext cx="3010735" cy="168269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077" h="21600" extrusionOk="0">
                <a:moveTo>
                  <a:pt x="15719" y="21600"/>
                </a:moveTo>
                <a:cubicBezTo>
                  <a:pt x="17090" y="21600"/>
                  <a:pt x="18462" y="20639"/>
                  <a:pt x="19508" y="18721"/>
                </a:cubicBezTo>
                <a:cubicBezTo>
                  <a:pt x="21600" y="14885"/>
                  <a:pt x="21600" y="8668"/>
                  <a:pt x="19508" y="4832"/>
                </a:cubicBezTo>
                <a:cubicBezTo>
                  <a:pt x="18734" y="3412"/>
                  <a:pt x="17780" y="2519"/>
                  <a:pt x="16782" y="2150"/>
                </a:cubicBezTo>
                <a:cubicBezTo>
                  <a:pt x="16355" y="4091"/>
                  <a:pt x="15703" y="5831"/>
                  <a:pt x="14891" y="7302"/>
                </a:cubicBezTo>
                <a:cubicBezTo>
                  <a:pt x="11426" y="13582"/>
                  <a:pt x="5855" y="13608"/>
                  <a:pt x="2410" y="7302"/>
                </a:cubicBezTo>
                <a:cubicBezTo>
                  <a:pt x="1845" y="6269"/>
                  <a:pt x="1385" y="5121"/>
                  <a:pt x="1008" y="3910"/>
                </a:cubicBezTo>
                <a:lnTo>
                  <a:pt x="2152" y="3941"/>
                </a:lnTo>
                <a:lnTo>
                  <a:pt x="0" y="0"/>
                </a:lnTo>
                <a:lnTo>
                  <a:pt x="50" y="5573"/>
                </a:lnTo>
                <a:lnTo>
                  <a:pt x="804" y="4103"/>
                </a:lnTo>
                <a:cubicBezTo>
                  <a:pt x="1220" y="5687"/>
                  <a:pt x="1770" y="7182"/>
                  <a:pt x="2487" y="8496"/>
                </a:cubicBezTo>
                <a:cubicBezTo>
                  <a:pt x="4210" y="11656"/>
                  <a:pt x="6467" y="13236"/>
                  <a:pt x="8726" y="13236"/>
                </a:cubicBezTo>
                <a:cubicBezTo>
                  <a:pt x="9289" y="13236"/>
                  <a:pt x="9851" y="13138"/>
                  <a:pt x="10406" y="12942"/>
                </a:cubicBezTo>
                <a:cubicBezTo>
                  <a:pt x="10543" y="15054"/>
                  <a:pt x="11047" y="17100"/>
                  <a:pt x="11931" y="18721"/>
                </a:cubicBezTo>
                <a:cubicBezTo>
                  <a:pt x="12977" y="20639"/>
                  <a:pt x="14348" y="21600"/>
                  <a:pt x="15719" y="21600"/>
                </a:cubicBezTo>
                <a:close/>
              </a:path>
            </a:pathLst>
          </a:custGeom>
          <a:solidFill>
            <a:schemeClr val="accent3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endParaRPr dirty="0"/>
          </a:p>
        </p:txBody>
      </p:sp>
      <p:sp>
        <p:nvSpPr>
          <p:cNvPr id="8" name="Shape 23">
            <a:extLst>
              <a:ext uri="{FF2B5EF4-FFF2-40B4-BE49-F238E27FC236}">
                <a16:creationId xmlns:a16="http://schemas.microsoft.com/office/drawing/2014/main" id="{2700AF2F-1C07-F76E-F591-21011A70641A}"/>
              </a:ext>
            </a:extLst>
          </p:cNvPr>
          <p:cNvSpPr/>
          <p:nvPr/>
        </p:nvSpPr>
        <p:spPr>
          <a:xfrm>
            <a:off x="4045847" y="2436650"/>
            <a:ext cx="1681968" cy="301103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99" h="21076" extrusionOk="0">
                <a:moveTo>
                  <a:pt x="0" y="15721"/>
                </a:moveTo>
                <a:cubicBezTo>
                  <a:pt x="1" y="17092"/>
                  <a:pt x="963" y="18463"/>
                  <a:pt x="2882" y="19509"/>
                </a:cubicBezTo>
                <a:cubicBezTo>
                  <a:pt x="6721" y="21600"/>
                  <a:pt x="12940" y="21599"/>
                  <a:pt x="16777" y="19506"/>
                </a:cubicBezTo>
                <a:cubicBezTo>
                  <a:pt x="18196" y="18732"/>
                  <a:pt x="19089" y="17778"/>
                  <a:pt x="19458" y="16780"/>
                </a:cubicBezTo>
                <a:cubicBezTo>
                  <a:pt x="17516" y="16354"/>
                  <a:pt x="15775" y="15702"/>
                  <a:pt x="14303" y="14891"/>
                </a:cubicBezTo>
                <a:cubicBezTo>
                  <a:pt x="8018" y="11427"/>
                  <a:pt x="7989" y="5857"/>
                  <a:pt x="14295" y="2411"/>
                </a:cubicBezTo>
                <a:cubicBezTo>
                  <a:pt x="15329" y="1846"/>
                  <a:pt x="16477" y="1386"/>
                  <a:pt x="17688" y="1008"/>
                </a:cubicBezTo>
                <a:lnTo>
                  <a:pt x="17658" y="2152"/>
                </a:lnTo>
                <a:lnTo>
                  <a:pt x="21599" y="0"/>
                </a:lnTo>
                <a:lnTo>
                  <a:pt x="16023" y="51"/>
                </a:lnTo>
                <a:lnTo>
                  <a:pt x="17495" y="805"/>
                </a:lnTo>
                <a:cubicBezTo>
                  <a:pt x="15910" y="1220"/>
                  <a:pt x="14416" y="1771"/>
                  <a:pt x="13101" y="2488"/>
                </a:cubicBezTo>
                <a:cubicBezTo>
                  <a:pt x="9941" y="4212"/>
                  <a:pt x="8362" y="6469"/>
                  <a:pt x="8363" y="8727"/>
                </a:cubicBezTo>
                <a:cubicBezTo>
                  <a:pt x="8364" y="9290"/>
                  <a:pt x="8462" y="9852"/>
                  <a:pt x="8659" y="10407"/>
                </a:cubicBezTo>
                <a:cubicBezTo>
                  <a:pt x="6546" y="10544"/>
                  <a:pt x="4498" y="11048"/>
                  <a:pt x="2878" y="11932"/>
                </a:cubicBezTo>
                <a:cubicBezTo>
                  <a:pt x="959" y="12979"/>
                  <a:pt x="-1" y="14350"/>
                  <a:pt x="0" y="15721"/>
                </a:cubicBez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endParaRPr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EBAA0454-20C2-C437-A091-E00A5EF6EDA0}"/>
              </a:ext>
            </a:extLst>
          </p:cNvPr>
          <p:cNvSpPr txBox="1">
            <a:spLocks/>
          </p:cNvSpPr>
          <p:nvPr/>
        </p:nvSpPr>
        <p:spPr>
          <a:xfrm>
            <a:off x="4970151" y="3281270"/>
            <a:ext cx="2182159" cy="433612"/>
          </a:xfrm>
          <a:prstGeom prst="rect">
            <a:avLst/>
          </a:prstGeom>
        </p:spPr>
        <p:txBody>
          <a:bodyPr/>
          <a:lstStyle>
            <a:lvl1pPr algn="l" defTabSz="182843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457152">
              <a:buClr>
                <a:srgbClr val="0070C0"/>
              </a:buClr>
              <a:defRPr/>
            </a:pPr>
            <a:r>
              <a:rPr lang="en-IN" sz="2800" b="1" dirty="0">
                <a:latin typeface="+mn-lt"/>
                <a:ea typeface="Open Sans ExtraBold" charset="0"/>
                <a:cs typeface="Open Sans ExtraBold" charset="0"/>
              </a:rPr>
              <a:t>Header</a:t>
            </a:r>
            <a:endParaRPr lang="en-IN" sz="1100" dirty="0">
              <a:latin typeface="+mn-lt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119048E-B409-6F1D-9F58-FF47EB80748F}"/>
              </a:ext>
            </a:extLst>
          </p:cNvPr>
          <p:cNvSpPr txBox="1"/>
          <p:nvPr/>
        </p:nvSpPr>
        <p:spPr>
          <a:xfrm>
            <a:off x="8307178" y="1742548"/>
            <a:ext cx="2733999" cy="770962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800" b="1" dirty="0">
                <a:solidFill>
                  <a:schemeClr val="accent4"/>
                </a:solidFill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1FEDA29-E70E-2837-E118-832B97DDEF1A}"/>
              </a:ext>
            </a:extLst>
          </p:cNvPr>
          <p:cNvSpPr txBox="1"/>
          <p:nvPr/>
        </p:nvSpPr>
        <p:spPr>
          <a:xfrm>
            <a:off x="1163017" y="1742548"/>
            <a:ext cx="2588480" cy="934918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US" sz="1800" b="1" dirty="0">
                <a:solidFill>
                  <a:schemeClr val="accent1"/>
                </a:solidFill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accent1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1C93A83-9974-2847-8AE8-1CA0328D9277}"/>
              </a:ext>
            </a:extLst>
          </p:cNvPr>
          <p:cNvSpPr txBox="1"/>
          <p:nvPr/>
        </p:nvSpPr>
        <p:spPr>
          <a:xfrm>
            <a:off x="1129545" y="4329258"/>
            <a:ext cx="2588480" cy="934918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US" sz="1800" b="1" dirty="0">
                <a:solidFill>
                  <a:schemeClr val="accent2"/>
                </a:solidFill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accent2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2294C94-CC89-3F34-9393-FEA42435EB76}"/>
              </a:ext>
            </a:extLst>
          </p:cNvPr>
          <p:cNvSpPr txBox="1"/>
          <p:nvPr/>
        </p:nvSpPr>
        <p:spPr>
          <a:xfrm>
            <a:off x="8328456" y="4329258"/>
            <a:ext cx="2733999" cy="770962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800" b="1" dirty="0">
                <a:solidFill>
                  <a:schemeClr val="accent3"/>
                </a:solidFill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24" name="Star: 4 Points 23">
            <a:extLst>
              <a:ext uri="{FF2B5EF4-FFF2-40B4-BE49-F238E27FC236}">
                <a16:creationId xmlns:a16="http://schemas.microsoft.com/office/drawing/2014/main" id="{183F849C-A4C9-9183-3656-8F1592BC058A}"/>
              </a:ext>
            </a:extLst>
          </p:cNvPr>
          <p:cNvSpPr/>
          <p:nvPr/>
        </p:nvSpPr>
        <p:spPr>
          <a:xfrm>
            <a:off x="4514199" y="1875460"/>
            <a:ext cx="324682" cy="324682"/>
          </a:xfrm>
          <a:prstGeom prst="star4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Star: 4 Points 24">
            <a:extLst>
              <a:ext uri="{FF2B5EF4-FFF2-40B4-BE49-F238E27FC236}">
                <a16:creationId xmlns:a16="http://schemas.microsoft.com/office/drawing/2014/main" id="{A69D5637-F596-BEBE-19DF-76F080414BB3}"/>
              </a:ext>
            </a:extLst>
          </p:cNvPr>
          <p:cNvSpPr/>
          <p:nvPr/>
        </p:nvSpPr>
        <p:spPr>
          <a:xfrm>
            <a:off x="7202480" y="1871622"/>
            <a:ext cx="324682" cy="324682"/>
          </a:xfrm>
          <a:prstGeom prst="star4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Star: 4 Points 25">
            <a:extLst>
              <a:ext uri="{FF2B5EF4-FFF2-40B4-BE49-F238E27FC236}">
                <a16:creationId xmlns:a16="http://schemas.microsoft.com/office/drawing/2014/main" id="{72CBC07B-6E5C-E3AB-89F6-59D2B000ACA1}"/>
              </a:ext>
            </a:extLst>
          </p:cNvPr>
          <p:cNvSpPr/>
          <p:nvPr/>
        </p:nvSpPr>
        <p:spPr>
          <a:xfrm>
            <a:off x="4514199" y="4607278"/>
            <a:ext cx="324682" cy="324682"/>
          </a:xfrm>
          <a:prstGeom prst="star4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Star: 4 Points 26">
            <a:extLst>
              <a:ext uri="{FF2B5EF4-FFF2-40B4-BE49-F238E27FC236}">
                <a16:creationId xmlns:a16="http://schemas.microsoft.com/office/drawing/2014/main" id="{A2FF4A22-CE03-6CC9-0CF4-C22B4D11A050}"/>
              </a:ext>
            </a:extLst>
          </p:cNvPr>
          <p:cNvSpPr/>
          <p:nvPr/>
        </p:nvSpPr>
        <p:spPr>
          <a:xfrm>
            <a:off x="7202480" y="4607278"/>
            <a:ext cx="324682" cy="324682"/>
          </a:xfrm>
          <a:prstGeom prst="star4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5654180"/>
      </p:ext>
    </p:extLst>
  </p:cSld>
  <p:clrMapOvr>
    <a:masterClrMapping/>
  </p:clrMapOvr>
</p:sld>
</file>

<file path=ppt/slides/slide1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566A4C-106F-B612-6124-8DCD2D547B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A11C76BB-8BC9-9C7B-ABD0-DEED9C35057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11C76BB-8BC9-9C7B-ABD0-DEED9C3505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7B607B4-5ABB-8351-BE46-B2E59FC6C0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ircular layouts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7016E7C4-CC90-E5BB-5B29-B1CAC7A5B5B8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34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38A016B-D6D9-BC5B-23F8-E6141D74CA08}"/>
              </a:ext>
            </a:extLst>
          </p:cNvPr>
          <p:cNvSpPr txBox="1"/>
          <p:nvPr/>
        </p:nvSpPr>
        <p:spPr>
          <a:xfrm>
            <a:off x="8580335" y="3688466"/>
            <a:ext cx="2245419" cy="934918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800" b="1" dirty="0">
                <a:solidFill>
                  <a:schemeClr val="accent4"/>
                </a:solidFill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06D896F-FAB9-6C2F-B2FB-572C191C6002}"/>
              </a:ext>
            </a:extLst>
          </p:cNvPr>
          <p:cNvSpPr txBox="1"/>
          <p:nvPr/>
        </p:nvSpPr>
        <p:spPr>
          <a:xfrm>
            <a:off x="7926007" y="1794863"/>
            <a:ext cx="2245419" cy="934918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800" b="1" dirty="0">
                <a:solidFill>
                  <a:schemeClr val="accent3"/>
                </a:solidFill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B921720-8159-6AE6-5246-25C4D96FA505}"/>
              </a:ext>
            </a:extLst>
          </p:cNvPr>
          <p:cNvSpPr txBox="1"/>
          <p:nvPr/>
        </p:nvSpPr>
        <p:spPr>
          <a:xfrm>
            <a:off x="2364049" y="1812988"/>
            <a:ext cx="2003026" cy="934918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US" sz="1800" b="1" dirty="0">
                <a:solidFill>
                  <a:schemeClr val="accent2"/>
                </a:solidFill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48E44FF-C906-75C3-CDBD-8083B47CEA6E}"/>
              </a:ext>
            </a:extLst>
          </p:cNvPr>
          <p:cNvSpPr txBox="1"/>
          <p:nvPr/>
        </p:nvSpPr>
        <p:spPr>
          <a:xfrm>
            <a:off x="1659351" y="3706590"/>
            <a:ext cx="2003026" cy="934918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US" sz="1800" b="1" dirty="0">
                <a:solidFill>
                  <a:schemeClr val="accent1"/>
                </a:solidFill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accent5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9" name="Block Arc 8">
            <a:extLst>
              <a:ext uri="{FF2B5EF4-FFF2-40B4-BE49-F238E27FC236}">
                <a16:creationId xmlns:a16="http://schemas.microsoft.com/office/drawing/2014/main" id="{13687EB4-CE3E-9980-7EFD-93C747CE0E9A}"/>
              </a:ext>
            </a:extLst>
          </p:cNvPr>
          <p:cNvSpPr/>
          <p:nvPr/>
        </p:nvSpPr>
        <p:spPr>
          <a:xfrm rot="2364690" flipH="1">
            <a:off x="3780371" y="1982705"/>
            <a:ext cx="4660642" cy="4660639"/>
          </a:xfrm>
          <a:prstGeom prst="blockArc">
            <a:avLst>
              <a:gd name="adj1" fmla="val 15011212"/>
              <a:gd name="adj2" fmla="val 18376964"/>
              <a:gd name="adj3" fmla="val 2153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Block Arc 9">
            <a:extLst>
              <a:ext uri="{FF2B5EF4-FFF2-40B4-BE49-F238E27FC236}">
                <a16:creationId xmlns:a16="http://schemas.microsoft.com/office/drawing/2014/main" id="{17E9E6F8-40E5-B6C0-1406-1E3FBD146F43}"/>
              </a:ext>
            </a:extLst>
          </p:cNvPr>
          <p:cNvSpPr/>
          <p:nvPr/>
        </p:nvSpPr>
        <p:spPr>
          <a:xfrm rot="19235310">
            <a:off x="3786877" y="1982705"/>
            <a:ext cx="4660642" cy="4660639"/>
          </a:xfrm>
          <a:prstGeom prst="blockArc">
            <a:avLst>
              <a:gd name="adj1" fmla="val 15011212"/>
              <a:gd name="adj2" fmla="val 18376964"/>
              <a:gd name="adj3" fmla="val 2153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Block Arc 10">
            <a:extLst>
              <a:ext uri="{FF2B5EF4-FFF2-40B4-BE49-F238E27FC236}">
                <a16:creationId xmlns:a16="http://schemas.microsoft.com/office/drawing/2014/main" id="{9D4D03C9-1B39-112F-50E0-E9F282B2460A}"/>
              </a:ext>
            </a:extLst>
          </p:cNvPr>
          <p:cNvSpPr/>
          <p:nvPr/>
        </p:nvSpPr>
        <p:spPr>
          <a:xfrm rot="6037468" flipH="1">
            <a:off x="3780373" y="1982704"/>
            <a:ext cx="4660639" cy="4660642"/>
          </a:xfrm>
          <a:prstGeom prst="blockArc">
            <a:avLst>
              <a:gd name="adj1" fmla="val 15011212"/>
              <a:gd name="adj2" fmla="val 18376964"/>
              <a:gd name="adj3" fmla="val 2153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2" name="Block Arc 11">
            <a:extLst>
              <a:ext uri="{FF2B5EF4-FFF2-40B4-BE49-F238E27FC236}">
                <a16:creationId xmlns:a16="http://schemas.microsoft.com/office/drawing/2014/main" id="{F3B3191E-F4E0-58F6-6844-4971EF18817A}"/>
              </a:ext>
            </a:extLst>
          </p:cNvPr>
          <p:cNvSpPr/>
          <p:nvPr/>
        </p:nvSpPr>
        <p:spPr>
          <a:xfrm rot="15562532">
            <a:off x="3786881" y="1982704"/>
            <a:ext cx="4660639" cy="4660642"/>
          </a:xfrm>
          <a:prstGeom prst="blockArc">
            <a:avLst>
              <a:gd name="adj1" fmla="val 15011212"/>
              <a:gd name="adj2" fmla="val 18376964"/>
              <a:gd name="adj3" fmla="val 2153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D5473941-CA70-42EA-0F98-1E5BB7330E44}"/>
              </a:ext>
            </a:extLst>
          </p:cNvPr>
          <p:cNvSpPr/>
          <p:nvPr/>
        </p:nvSpPr>
        <p:spPr>
          <a:xfrm flipV="1">
            <a:off x="5091026" y="3342192"/>
            <a:ext cx="2045840" cy="2054668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AA4FBFF6-3104-F16A-65F1-8FC0CB691D3B}"/>
              </a:ext>
            </a:extLst>
          </p:cNvPr>
          <p:cNvSpPr txBox="1">
            <a:spLocks/>
          </p:cNvSpPr>
          <p:nvPr/>
        </p:nvSpPr>
        <p:spPr>
          <a:xfrm>
            <a:off x="4703114" y="4163169"/>
            <a:ext cx="2820728" cy="1192120"/>
          </a:xfrm>
          <a:prstGeom prst="rect">
            <a:avLst/>
          </a:prstGeom>
        </p:spPr>
        <p:txBody>
          <a:bodyPr/>
          <a:lstStyle>
            <a:lvl1pPr algn="l" defTabSz="182843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457152">
              <a:buClr>
                <a:srgbClr val="0070C0"/>
              </a:buClr>
              <a:defRPr/>
            </a:pPr>
            <a:r>
              <a:rPr lang="en-IN" sz="2800" b="1" dirty="0">
                <a:latin typeface="+mn-lt"/>
                <a:ea typeface="Open Sans ExtraBold" charset="0"/>
                <a:cs typeface="Open Sans ExtraBold" charset="0"/>
              </a:rPr>
              <a:t>HEADING</a:t>
            </a:r>
          </a:p>
        </p:txBody>
      </p:sp>
      <p:sp>
        <p:nvSpPr>
          <p:cNvPr id="32" name="Star: 4 Points 31">
            <a:extLst>
              <a:ext uri="{FF2B5EF4-FFF2-40B4-BE49-F238E27FC236}">
                <a16:creationId xmlns:a16="http://schemas.microsoft.com/office/drawing/2014/main" id="{341B9C7A-E248-13CC-8358-2C78651A51E0}"/>
              </a:ext>
            </a:extLst>
          </p:cNvPr>
          <p:cNvSpPr/>
          <p:nvPr/>
        </p:nvSpPr>
        <p:spPr>
          <a:xfrm>
            <a:off x="4134190" y="4210724"/>
            <a:ext cx="534360" cy="534360"/>
          </a:xfrm>
          <a:prstGeom prst="star4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Star: 4 Points 32">
            <a:extLst>
              <a:ext uri="{FF2B5EF4-FFF2-40B4-BE49-F238E27FC236}">
                <a16:creationId xmlns:a16="http://schemas.microsoft.com/office/drawing/2014/main" id="{6A4D8D09-046A-4FF5-E5F6-E06F298F3199}"/>
              </a:ext>
            </a:extLst>
          </p:cNvPr>
          <p:cNvSpPr/>
          <p:nvPr/>
        </p:nvSpPr>
        <p:spPr>
          <a:xfrm>
            <a:off x="4868111" y="2536711"/>
            <a:ext cx="534360" cy="534360"/>
          </a:xfrm>
          <a:prstGeom prst="star4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Star: 4 Points 33">
            <a:extLst>
              <a:ext uri="{FF2B5EF4-FFF2-40B4-BE49-F238E27FC236}">
                <a16:creationId xmlns:a16="http://schemas.microsoft.com/office/drawing/2014/main" id="{A7E149FC-C4D3-71A3-8667-E3E54DD41B7A}"/>
              </a:ext>
            </a:extLst>
          </p:cNvPr>
          <p:cNvSpPr/>
          <p:nvPr/>
        </p:nvSpPr>
        <p:spPr>
          <a:xfrm>
            <a:off x="6755610" y="2554123"/>
            <a:ext cx="534360" cy="534360"/>
          </a:xfrm>
          <a:prstGeom prst="star4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Star: 4 Points 34">
            <a:extLst>
              <a:ext uri="{FF2B5EF4-FFF2-40B4-BE49-F238E27FC236}">
                <a16:creationId xmlns:a16="http://schemas.microsoft.com/office/drawing/2014/main" id="{C00CB583-2870-B499-6A24-861D1C6BAEB1}"/>
              </a:ext>
            </a:extLst>
          </p:cNvPr>
          <p:cNvSpPr/>
          <p:nvPr/>
        </p:nvSpPr>
        <p:spPr>
          <a:xfrm>
            <a:off x="7628818" y="4089024"/>
            <a:ext cx="534360" cy="534360"/>
          </a:xfrm>
          <a:prstGeom prst="star4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4033026"/>
      </p:ext>
    </p:extLst>
  </p:cSld>
  <p:clrMapOvr>
    <a:masterClrMapping/>
  </p:clrMapOvr>
</p:sld>
</file>

<file path=ppt/slides/slide1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027BD8A-FA38-36F0-CA71-B910FDFEA6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1" name="think-cell data - do not delete" hidden="1">
            <a:extLst>
              <a:ext uri="{FF2B5EF4-FFF2-40B4-BE49-F238E27FC236}">
                <a16:creationId xmlns:a16="http://schemas.microsoft.com/office/drawing/2014/main" id="{451B5D02-6A24-AD4C-A70F-5A92171FA0A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2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F1AFD8B-428A-8CDE-7604-9BE2644430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29A39B1-D272-9CE4-1C76-F10EB660AE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ircular layou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72C9AE-7A87-93F5-30DB-71C40FCE42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35</a:t>
            </a:fld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91EF94D-A540-D20F-6B66-237852FE738C}"/>
              </a:ext>
            </a:extLst>
          </p:cNvPr>
          <p:cNvGrpSpPr/>
          <p:nvPr/>
        </p:nvGrpSpPr>
        <p:grpSpPr>
          <a:xfrm>
            <a:off x="3917818" y="1590822"/>
            <a:ext cx="4187259" cy="4187259"/>
            <a:chOff x="3001778" y="1230630"/>
            <a:chExt cx="3140444" cy="3140444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D6A897E0-0855-28B1-71F0-7739A32D841F}"/>
                </a:ext>
              </a:extLst>
            </p:cNvPr>
            <p:cNvGrpSpPr/>
            <p:nvPr/>
          </p:nvGrpSpPr>
          <p:grpSpPr>
            <a:xfrm>
              <a:off x="3001778" y="1230630"/>
              <a:ext cx="3140444" cy="3140444"/>
              <a:chOff x="17496931" y="2026624"/>
              <a:chExt cx="4187258" cy="4187258"/>
            </a:xfrm>
          </p:grpSpPr>
          <p:sp>
            <p:nvSpPr>
              <p:cNvPr id="15" name="Freeform 15">
                <a:extLst>
                  <a:ext uri="{FF2B5EF4-FFF2-40B4-BE49-F238E27FC236}">
                    <a16:creationId xmlns:a16="http://schemas.microsoft.com/office/drawing/2014/main" id="{E7811304-D484-D058-0475-17D2179B37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719236" y="2026624"/>
                <a:ext cx="1739923" cy="1027542"/>
              </a:xfrm>
              <a:custGeom>
                <a:avLst/>
                <a:gdLst>
                  <a:gd name="T0" fmla="*/ 623 w 811"/>
                  <a:gd name="T1" fmla="*/ 479 h 479"/>
                  <a:gd name="T2" fmla="*/ 811 w 811"/>
                  <a:gd name="T3" fmla="*/ 89 h 479"/>
                  <a:gd name="T4" fmla="*/ 406 w 811"/>
                  <a:gd name="T5" fmla="*/ 0 h 479"/>
                  <a:gd name="T6" fmla="*/ 0 w 811"/>
                  <a:gd name="T7" fmla="*/ 89 h 479"/>
                  <a:gd name="T8" fmla="*/ 189 w 811"/>
                  <a:gd name="T9" fmla="*/ 479 h 479"/>
                  <a:gd name="T10" fmla="*/ 406 w 811"/>
                  <a:gd name="T11" fmla="*/ 434 h 479"/>
                  <a:gd name="T12" fmla="*/ 623 w 811"/>
                  <a:gd name="T13" fmla="*/ 479 h 4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11" h="479">
                    <a:moveTo>
                      <a:pt x="623" y="479"/>
                    </a:moveTo>
                    <a:cubicBezTo>
                      <a:pt x="811" y="89"/>
                      <a:pt x="811" y="89"/>
                      <a:pt x="811" y="89"/>
                    </a:cubicBezTo>
                    <a:cubicBezTo>
                      <a:pt x="688" y="32"/>
                      <a:pt x="550" y="0"/>
                      <a:pt x="406" y="0"/>
                    </a:cubicBezTo>
                    <a:cubicBezTo>
                      <a:pt x="261" y="0"/>
                      <a:pt x="124" y="32"/>
                      <a:pt x="0" y="89"/>
                    </a:cubicBezTo>
                    <a:cubicBezTo>
                      <a:pt x="0" y="89"/>
                      <a:pt x="83" y="261"/>
                      <a:pt x="189" y="479"/>
                    </a:cubicBezTo>
                    <a:cubicBezTo>
                      <a:pt x="255" y="450"/>
                      <a:pt x="329" y="434"/>
                      <a:pt x="406" y="434"/>
                    </a:cubicBezTo>
                    <a:cubicBezTo>
                      <a:pt x="483" y="434"/>
                      <a:pt x="557" y="450"/>
                      <a:pt x="623" y="479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Freeform 16">
                <a:extLst>
                  <a:ext uri="{FF2B5EF4-FFF2-40B4-BE49-F238E27FC236}">
                    <a16:creationId xmlns:a16="http://schemas.microsoft.com/office/drawing/2014/main" id="{D6BF0590-30BF-88E4-E23B-7C85DACAF4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980949" y="4879800"/>
                <a:ext cx="1566476" cy="1334082"/>
              </a:xfrm>
              <a:custGeom>
                <a:avLst/>
                <a:gdLst>
                  <a:gd name="T0" fmla="*/ 339 w 730"/>
                  <a:gd name="T1" fmla="*/ 0 h 622"/>
                  <a:gd name="T2" fmla="*/ 0 w 730"/>
                  <a:gd name="T3" fmla="*/ 270 h 622"/>
                  <a:gd name="T4" fmla="*/ 730 w 730"/>
                  <a:gd name="T5" fmla="*/ 622 h 622"/>
                  <a:gd name="T6" fmla="*/ 730 w 730"/>
                  <a:gd name="T7" fmla="*/ 188 h 622"/>
                  <a:gd name="T8" fmla="*/ 339 w 730"/>
                  <a:gd name="T9" fmla="*/ 0 h 6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0" h="622">
                    <a:moveTo>
                      <a:pt x="339" y="0"/>
                    </a:moveTo>
                    <a:cubicBezTo>
                      <a:pt x="0" y="270"/>
                      <a:pt x="0" y="270"/>
                      <a:pt x="0" y="270"/>
                    </a:cubicBezTo>
                    <a:cubicBezTo>
                      <a:pt x="175" y="480"/>
                      <a:pt x="437" y="616"/>
                      <a:pt x="730" y="622"/>
                    </a:cubicBezTo>
                    <a:cubicBezTo>
                      <a:pt x="730" y="622"/>
                      <a:pt x="730" y="430"/>
                      <a:pt x="730" y="188"/>
                    </a:cubicBezTo>
                    <a:cubicBezTo>
                      <a:pt x="574" y="182"/>
                      <a:pt x="434" y="110"/>
                      <a:pt x="339" y="0"/>
                    </a:cubicBez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Freeform 17">
                <a:extLst>
                  <a:ext uri="{FF2B5EF4-FFF2-40B4-BE49-F238E27FC236}">
                    <a16:creationId xmlns:a16="http://schemas.microsoft.com/office/drawing/2014/main" id="{96E06002-1CF4-FC7A-8A2A-8345529500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58682" y="2254262"/>
                <a:ext cx="1489287" cy="1565347"/>
              </a:xfrm>
              <a:custGeom>
                <a:avLst/>
                <a:gdLst>
                  <a:gd name="T0" fmla="*/ 694 w 694"/>
                  <a:gd name="T1" fmla="*/ 391 h 730"/>
                  <a:gd name="T2" fmla="*/ 505 w 694"/>
                  <a:gd name="T3" fmla="*/ 0 h 730"/>
                  <a:gd name="T4" fmla="*/ 0 w 694"/>
                  <a:gd name="T5" fmla="*/ 634 h 730"/>
                  <a:gd name="T6" fmla="*/ 423 w 694"/>
                  <a:gd name="T7" fmla="*/ 730 h 730"/>
                  <a:gd name="T8" fmla="*/ 694 w 694"/>
                  <a:gd name="T9" fmla="*/ 391 h 7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94" h="730">
                    <a:moveTo>
                      <a:pt x="694" y="391"/>
                    </a:moveTo>
                    <a:cubicBezTo>
                      <a:pt x="505" y="0"/>
                      <a:pt x="505" y="0"/>
                      <a:pt x="505" y="0"/>
                    </a:cubicBezTo>
                    <a:cubicBezTo>
                      <a:pt x="257" y="127"/>
                      <a:pt x="69" y="357"/>
                      <a:pt x="0" y="634"/>
                    </a:cubicBezTo>
                    <a:cubicBezTo>
                      <a:pt x="0" y="634"/>
                      <a:pt x="187" y="676"/>
                      <a:pt x="423" y="730"/>
                    </a:cubicBezTo>
                    <a:cubicBezTo>
                      <a:pt x="462" y="583"/>
                      <a:pt x="562" y="460"/>
                      <a:pt x="694" y="391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Freeform 18">
                <a:extLst>
                  <a:ext uri="{FF2B5EF4-FFF2-40B4-BE49-F238E27FC236}">
                    <a16:creationId xmlns:a16="http://schemas.microsoft.com/office/drawing/2014/main" id="{FB489434-F633-C24E-C702-EA6A7DFD25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133151" y="2254262"/>
                <a:ext cx="1489287" cy="1565347"/>
              </a:xfrm>
              <a:custGeom>
                <a:avLst/>
                <a:gdLst>
                  <a:gd name="T0" fmla="*/ 271 w 694"/>
                  <a:gd name="T1" fmla="*/ 730 h 730"/>
                  <a:gd name="T2" fmla="*/ 694 w 694"/>
                  <a:gd name="T3" fmla="*/ 634 h 730"/>
                  <a:gd name="T4" fmla="*/ 188 w 694"/>
                  <a:gd name="T5" fmla="*/ 0 h 730"/>
                  <a:gd name="T6" fmla="*/ 0 w 694"/>
                  <a:gd name="T7" fmla="*/ 391 h 730"/>
                  <a:gd name="T8" fmla="*/ 271 w 694"/>
                  <a:gd name="T9" fmla="*/ 730 h 7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94" h="730">
                    <a:moveTo>
                      <a:pt x="271" y="730"/>
                    </a:moveTo>
                    <a:cubicBezTo>
                      <a:pt x="694" y="634"/>
                      <a:pt x="694" y="634"/>
                      <a:pt x="694" y="634"/>
                    </a:cubicBezTo>
                    <a:cubicBezTo>
                      <a:pt x="624" y="357"/>
                      <a:pt x="437" y="127"/>
                      <a:pt x="188" y="0"/>
                    </a:cubicBezTo>
                    <a:cubicBezTo>
                      <a:pt x="188" y="0"/>
                      <a:pt x="105" y="172"/>
                      <a:pt x="0" y="391"/>
                    </a:cubicBezTo>
                    <a:cubicBezTo>
                      <a:pt x="132" y="460"/>
                      <a:pt x="232" y="583"/>
                      <a:pt x="271" y="73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19">
                <a:extLst>
                  <a:ext uri="{FF2B5EF4-FFF2-40B4-BE49-F238E27FC236}">
                    <a16:creationId xmlns:a16="http://schemas.microsoft.com/office/drawing/2014/main" id="{5371E1A7-69CC-5690-1469-E2AE1E43FE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525451" y="3697174"/>
                <a:ext cx="1158738" cy="1695037"/>
              </a:xfrm>
              <a:custGeom>
                <a:avLst/>
                <a:gdLst>
                  <a:gd name="T0" fmla="*/ 0 w 540"/>
                  <a:gd name="T1" fmla="*/ 519 h 790"/>
                  <a:gd name="T2" fmla="*/ 339 w 540"/>
                  <a:gd name="T3" fmla="*/ 790 h 790"/>
                  <a:gd name="T4" fmla="*/ 540 w 540"/>
                  <a:gd name="T5" fmla="*/ 197 h 790"/>
                  <a:gd name="T6" fmla="*/ 519 w 540"/>
                  <a:gd name="T7" fmla="*/ 0 h 790"/>
                  <a:gd name="T8" fmla="*/ 97 w 540"/>
                  <a:gd name="T9" fmla="*/ 96 h 790"/>
                  <a:gd name="T10" fmla="*/ 106 w 540"/>
                  <a:gd name="T11" fmla="*/ 197 h 790"/>
                  <a:gd name="T12" fmla="*/ 0 w 540"/>
                  <a:gd name="T13" fmla="*/ 519 h 7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40" h="790">
                    <a:moveTo>
                      <a:pt x="0" y="519"/>
                    </a:moveTo>
                    <a:cubicBezTo>
                      <a:pt x="339" y="790"/>
                      <a:pt x="339" y="790"/>
                      <a:pt x="339" y="790"/>
                    </a:cubicBezTo>
                    <a:cubicBezTo>
                      <a:pt x="465" y="625"/>
                      <a:pt x="540" y="420"/>
                      <a:pt x="540" y="197"/>
                    </a:cubicBezTo>
                    <a:cubicBezTo>
                      <a:pt x="540" y="129"/>
                      <a:pt x="533" y="63"/>
                      <a:pt x="519" y="0"/>
                    </a:cubicBezTo>
                    <a:cubicBezTo>
                      <a:pt x="519" y="0"/>
                      <a:pt x="333" y="42"/>
                      <a:pt x="97" y="96"/>
                    </a:cubicBezTo>
                    <a:cubicBezTo>
                      <a:pt x="103" y="129"/>
                      <a:pt x="106" y="163"/>
                      <a:pt x="106" y="197"/>
                    </a:cubicBezTo>
                    <a:cubicBezTo>
                      <a:pt x="106" y="318"/>
                      <a:pt x="67" y="429"/>
                      <a:pt x="0" y="519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20">
                <a:extLst>
                  <a:ext uri="{FF2B5EF4-FFF2-40B4-BE49-F238E27FC236}">
                    <a16:creationId xmlns:a16="http://schemas.microsoft.com/office/drawing/2014/main" id="{CA8A5245-D575-3453-0704-9B10217CFA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633695" y="4879800"/>
                <a:ext cx="1565568" cy="1334082"/>
              </a:xfrm>
              <a:custGeom>
                <a:avLst/>
                <a:gdLst>
                  <a:gd name="T0" fmla="*/ 0 w 730"/>
                  <a:gd name="T1" fmla="*/ 188 h 622"/>
                  <a:gd name="T2" fmla="*/ 0 w 730"/>
                  <a:gd name="T3" fmla="*/ 622 h 622"/>
                  <a:gd name="T4" fmla="*/ 730 w 730"/>
                  <a:gd name="T5" fmla="*/ 270 h 622"/>
                  <a:gd name="T6" fmla="*/ 391 w 730"/>
                  <a:gd name="T7" fmla="*/ 0 h 622"/>
                  <a:gd name="T8" fmla="*/ 0 w 730"/>
                  <a:gd name="T9" fmla="*/ 188 h 6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0" h="622">
                    <a:moveTo>
                      <a:pt x="0" y="188"/>
                    </a:moveTo>
                    <a:cubicBezTo>
                      <a:pt x="0" y="622"/>
                      <a:pt x="0" y="622"/>
                      <a:pt x="0" y="622"/>
                    </a:cubicBezTo>
                    <a:cubicBezTo>
                      <a:pt x="293" y="616"/>
                      <a:pt x="555" y="480"/>
                      <a:pt x="730" y="270"/>
                    </a:cubicBezTo>
                    <a:cubicBezTo>
                      <a:pt x="730" y="270"/>
                      <a:pt x="580" y="151"/>
                      <a:pt x="391" y="0"/>
                    </a:cubicBezTo>
                    <a:cubicBezTo>
                      <a:pt x="296" y="110"/>
                      <a:pt x="156" y="182"/>
                      <a:pt x="0" y="188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Freeform 21">
                <a:extLst>
                  <a:ext uri="{FF2B5EF4-FFF2-40B4-BE49-F238E27FC236}">
                    <a16:creationId xmlns:a16="http://schemas.microsoft.com/office/drawing/2014/main" id="{820C0D14-B205-53B1-AEAB-70D0775807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96931" y="3697174"/>
                <a:ext cx="1157830" cy="1695037"/>
              </a:xfrm>
              <a:custGeom>
                <a:avLst/>
                <a:gdLst>
                  <a:gd name="T0" fmla="*/ 443 w 540"/>
                  <a:gd name="T1" fmla="*/ 96 h 790"/>
                  <a:gd name="T2" fmla="*/ 20 w 540"/>
                  <a:gd name="T3" fmla="*/ 0 h 790"/>
                  <a:gd name="T4" fmla="*/ 0 w 540"/>
                  <a:gd name="T5" fmla="*/ 197 h 790"/>
                  <a:gd name="T6" fmla="*/ 201 w 540"/>
                  <a:gd name="T7" fmla="*/ 790 h 790"/>
                  <a:gd name="T8" fmla="*/ 540 w 540"/>
                  <a:gd name="T9" fmla="*/ 519 h 790"/>
                  <a:gd name="T10" fmla="*/ 434 w 540"/>
                  <a:gd name="T11" fmla="*/ 197 h 790"/>
                  <a:gd name="T12" fmla="*/ 443 w 540"/>
                  <a:gd name="T13" fmla="*/ 96 h 7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40" h="790">
                    <a:moveTo>
                      <a:pt x="443" y="96"/>
                    </a:moveTo>
                    <a:cubicBezTo>
                      <a:pt x="20" y="0"/>
                      <a:pt x="20" y="0"/>
                      <a:pt x="20" y="0"/>
                    </a:cubicBezTo>
                    <a:cubicBezTo>
                      <a:pt x="7" y="63"/>
                      <a:pt x="0" y="129"/>
                      <a:pt x="0" y="197"/>
                    </a:cubicBezTo>
                    <a:cubicBezTo>
                      <a:pt x="0" y="420"/>
                      <a:pt x="75" y="625"/>
                      <a:pt x="201" y="790"/>
                    </a:cubicBezTo>
                    <a:cubicBezTo>
                      <a:pt x="201" y="790"/>
                      <a:pt x="351" y="670"/>
                      <a:pt x="540" y="519"/>
                    </a:cubicBezTo>
                    <a:cubicBezTo>
                      <a:pt x="473" y="429"/>
                      <a:pt x="434" y="318"/>
                      <a:pt x="434" y="197"/>
                    </a:cubicBezTo>
                    <a:cubicBezTo>
                      <a:pt x="434" y="163"/>
                      <a:pt x="437" y="129"/>
                      <a:pt x="443" y="96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Freeform 35">
                <a:extLst>
                  <a:ext uri="{FF2B5EF4-FFF2-40B4-BE49-F238E27FC236}">
                    <a16:creationId xmlns:a16="http://schemas.microsoft.com/office/drawing/2014/main" id="{B8D39ADE-A157-E649-CB5E-33C5AD9132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125158" y="2957126"/>
                <a:ext cx="930805" cy="661146"/>
              </a:xfrm>
              <a:custGeom>
                <a:avLst/>
                <a:gdLst>
                  <a:gd name="T0" fmla="*/ 420 w 434"/>
                  <a:gd name="T1" fmla="*/ 75 h 308"/>
                  <a:gd name="T2" fmla="*/ 434 w 434"/>
                  <a:gd name="T3" fmla="*/ 45 h 308"/>
                  <a:gd name="T4" fmla="*/ 217 w 434"/>
                  <a:gd name="T5" fmla="*/ 0 h 308"/>
                  <a:gd name="T6" fmla="*/ 0 w 434"/>
                  <a:gd name="T7" fmla="*/ 45 h 308"/>
                  <a:gd name="T8" fmla="*/ 14 w 434"/>
                  <a:gd name="T9" fmla="*/ 75 h 308"/>
                  <a:gd name="T10" fmla="*/ 420 w 434"/>
                  <a:gd name="T11" fmla="*/ 75 h 3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34" h="308">
                    <a:moveTo>
                      <a:pt x="420" y="75"/>
                    </a:moveTo>
                    <a:cubicBezTo>
                      <a:pt x="434" y="45"/>
                      <a:pt x="434" y="45"/>
                      <a:pt x="434" y="45"/>
                    </a:cubicBezTo>
                    <a:cubicBezTo>
                      <a:pt x="368" y="16"/>
                      <a:pt x="294" y="0"/>
                      <a:pt x="217" y="0"/>
                    </a:cubicBezTo>
                    <a:cubicBezTo>
                      <a:pt x="140" y="0"/>
                      <a:pt x="66" y="16"/>
                      <a:pt x="0" y="45"/>
                    </a:cubicBezTo>
                    <a:cubicBezTo>
                      <a:pt x="4" y="55"/>
                      <a:pt x="9" y="65"/>
                      <a:pt x="14" y="75"/>
                    </a:cubicBezTo>
                    <a:cubicBezTo>
                      <a:pt x="126" y="308"/>
                      <a:pt x="308" y="308"/>
                      <a:pt x="420" y="75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Freeform 36">
                <a:extLst>
                  <a:ext uri="{FF2B5EF4-FFF2-40B4-BE49-F238E27FC236}">
                    <a16:creationId xmlns:a16="http://schemas.microsoft.com/office/drawing/2014/main" id="{202B361D-C90D-EFAB-5BD2-E29552A026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708339" y="4488916"/>
                <a:ext cx="839086" cy="793557"/>
              </a:xfrm>
              <a:custGeom>
                <a:avLst/>
                <a:gdLst>
                  <a:gd name="T0" fmla="*/ 26 w 391"/>
                  <a:gd name="T1" fmla="*/ 161 h 370"/>
                  <a:gd name="T2" fmla="*/ 0 w 391"/>
                  <a:gd name="T3" fmla="*/ 182 h 370"/>
                  <a:gd name="T4" fmla="*/ 391 w 391"/>
                  <a:gd name="T5" fmla="*/ 370 h 370"/>
                  <a:gd name="T6" fmla="*/ 391 w 391"/>
                  <a:gd name="T7" fmla="*/ 337 h 370"/>
                  <a:gd name="T8" fmla="*/ 26 w 391"/>
                  <a:gd name="T9" fmla="*/ 161 h 3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1" h="370">
                    <a:moveTo>
                      <a:pt x="26" y="161"/>
                    </a:moveTo>
                    <a:cubicBezTo>
                      <a:pt x="0" y="182"/>
                      <a:pt x="0" y="182"/>
                      <a:pt x="0" y="182"/>
                    </a:cubicBezTo>
                    <a:cubicBezTo>
                      <a:pt x="95" y="292"/>
                      <a:pt x="235" y="364"/>
                      <a:pt x="391" y="370"/>
                    </a:cubicBezTo>
                    <a:cubicBezTo>
                      <a:pt x="391" y="359"/>
                      <a:pt x="391" y="348"/>
                      <a:pt x="391" y="337"/>
                    </a:cubicBezTo>
                    <a:cubicBezTo>
                      <a:pt x="391" y="79"/>
                      <a:pt x="228" y="0"/>
                      <a:pt x="26" y="161"/>
                    </a:cubicBez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Freeform 37">
                <a:extLst>
                  <a:ext uri="{FF2B5EF4-FFF2-40B4-BE49-F238E27FC236}">
                    <a16:creationId xmlns:a16="http://schemas.microsoft.com/office/drawing/2014/main" id="{8E9A8146-BD07-2E51-5056-3EE9F3E529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465876" y="3092257"/>
                <a:ext cx="851800" cy="867017"/>
              </a:xfrm>
              <a:custGeom>
                <a:avLst/>
                <a:gdLst>
                  <a:gd name="T0" fmla="*/ 285 w 397"/>
                  <a:gd name="T1" fmla="*/ 30 h 404"/>
                  <a:gd name="T2" fmla="*/ 271 w 397"/>
                  <a:gd name="T3" fmla="*/ 0 h 404"/>
                  <a:gd name="T4" fmla="*/ 0 w 397"/>
                  <a:gd name="T5" fmla="*/ 339 h 404"/>
                  <a:gd name="T6" fmla="*/ 33 w 397"/>
                  <a:gd name="T7" fmla="*/ 346 h 404"/>
                  <a:gd name="T8" fmla="*/ 285 w 397"/>
                  <a:gd name="T9" fmla="*/ 30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7" h="404">
                    <a:moveTo>
                      <a:pt x="285" y="30"/>
                    </a:moveTo>
                    <a:cubicBezTo>
                      <a:pt x="271" y="0"/>
                      <a:pt x="271" y="0"/>
                      <a:pt x="271" y="0"/>
                    </a:cubicBezTo>
                    <a:cubicBezTo>
                      <a:pt x="139" y="69"/>
                      <a:pt x="39" y="192"/>
                      <a:pt x="0" y="339"/>
                    </a:cubicBezTo>
                    <a:cubicBezTo>
                      <a:pt x="11" y="342"/>
                      <a:pt x="22" y="344"/>
                      <a:pt x="33" y="346"/>
                    </a:cubicBezTo>
                    <a:cubicBezTo>
                      <a:pt x="284" y="404"/>
                      <a:pt x="397" y="262"/>
                      <a:pt x="285" y="3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Freeform 38">
                <a:extLst>
                  <a:ext uri="{FF2B5EF4-FFF2-40B4-BE49-F238E27FC236}">
                    <a16:creationId xmlns:a16="http://schemas.microsoft.com/office/drawing/2014/main" id="{593382C1-10A4-B5E8-1B1D-7DB8E172F3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862536" y="3092257"/>
                <a:ext cx="851800" cy="867017"/>
              </a:xfrm>
              <a:custGeom>
                <a:avLst/>
                <a:gdLst>
                  <a:gd name="T0" fmla="*/ 364 w 397"/>
                  <a:gd name="T1" fmla="*/ 346 h 404"/>
                  <a:gd name="T2" fmla="*/ 397 w 397"/>
                  <a:gd name="T3" fmla="*/ 339 h 404"/>
                  <a:gd name="T4" fmla="*/ 126 w 397"/>
                  <a:gd name="T5" fmla="*/ 0 h 404"/>
                  <a:gd name="T6" fmla="*/ 112 w 397"/>
                  <a:gd name="T7" fmla="*/ 30 h 404"/>
                  <a:gd name="T8" fmla="*/ 364 w 397"/>
                  <a:gd name="T9" fmla="*/ 346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7" h="404">
                    <a:moveTo>
                      <a:pt x="364" y="346"/>
                    </a:moveTo>
                    <a:cubicBezTo>
                      <a:pt x="397" y="339"/>
                      <a:pt x="397" y="339"/>
                      <a:pt x="397" y="339"/>
                    </a:cubicBezTo>
                    <a:cubicBezTo>
                      <a:pt x="358" y="192"/>
                      <a:pt x="258" y="69"/>
                      <a:pt x="126" y="0"/>
                    </a:cubicBezTo>
                    <a:cubicBezTo>
                      <a:pt x="121" y="10"/>
                      <a:pt x="117" y="20"/>
                      <a:pt x="112" y="30"/>
                    </a:cubicBezTo>
                    <a:cubicBezTo>
                      <a:pt x="0" y="262"/>
                      <a:pt x="113" y="404"/>
                      <a:pt x="364" y="346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39">
                <a:extLst>
                  <a:ext uri="{FF2B5EF4-FFF2-40B4-BE49-F238E27FC236}">
                    <a16:creationId xmlns:a16="http://schemas.microsoft.com/office/drawing/2014/main" id="{6B1A5AD0-C2D9-C029-2F58-2D181C3935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036892" y="3903045"/>
                <a:ext cx="716493" cy="907829"/>
              </a:xfrm>
              <a:custGeom>
                <a:avLst/>
                <a:gdLst>
                  <a:gd name="T0" fmla="*/ 202 w 334"/>
                  <a:gd name="T1" fmla="*/ 403 h 423"/>
                  <a:gd name="T2" fmla="*/ 228 w 334"/>
                  <a:gd name="T3" fmla="*/ 423 h 423"/>
                  <a:gd name="T4" fmla="*/ 334 w 334"/>
                  <a:gd name="T5" fmla="*/ 101 h 423"/>
                  <a:gd name="T6" fmla="*/ 325 w 334"/>
                  <a:gd name="T7" fmla="*/ 0 h 423"/>
                  <a:gd name="T8" fmla="*/ 292 w 334"/>
                  <a:gd name="T9" fmla="*/ 7 h 423"/>
                  <a:gd name="T10" fmla="*/ 202 w 334"/>
                  <a:gd name="T11" fmla="*/ 403 h 4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34" h="423">
                    <a:moveTo>
                      <a:pt x="202" y="403"/>
                    </a:moveTo>
                    <a:cubicBezTo>
                      <a:pt x="228" y="423"/>
                      <a:pt x="228" y="423"/>
                      <a:pt x="228" y="423"/>
                    </a:cubicBezTo>
                    <a:cubicBezTo>
                      <a:pt x="295" y="333"/>
                      <a:pt x="334" y="222"/>
                      <a:pt x="334" y="101"/>
                    </a:cubicBezTo>
                    <a:cubicBezTo>
                      <a:pt x="334" y="67"/>
                      <a:pt x="331" y="33"/>
                      <a:pt x="325" y="0"/>
                    </a:cubicBezTo>
                    <a:cubicBezTo>
                      <a:pt x="314" y="3"/>
                      <a:pt x="303" y="5"/>
                      <a:pt x="292" y="7"/>
                    </a:cubicBezTo>
                    <a:cubicBezTo>
                      <a:pt x="41" y="65"/>
                      <a:pt x="0" y="242"/>
                      <a:pt x="202" y="403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40">
                <a:extLst>
                  <a:ext uri="{FF2B5EF4-FFF2-40B4-BE49-F238E27FC236}">
                    <a16:creationId xmlns:a16="http://schemas.microsoft.com/office/drawing/2014/main" id="{933F91BD-0D9F-BBCF-7D7D-ABEBDE500C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633695" y="4488916"/>
                <a:ext cx="838178" cy="793557"/>
              </a:xfrm>
              <a:custGeom>
                <a:avLst/>
                <a:gdLst>
                  <a:gd name="T0" fmla="*/ 0 w 391"/>
                  <a:gd name="T1" fmla="*/ 337 h 370"/>
                  <a:gd name="T2" fmla="*/ 0 w 391"/>
                  <a:gd name="T3" fmla="*/ 370 h 370"/>
                  <a:gd name="T4" fmla="*/ 391 w 391"/>
                  <a:gd name="T5" fmla="*/ 182 h 370"/>
                  <a:gd name="T6" fmla="*/ 365 w 391"/>
                  <a:gd name="T7" fmla="*/ 161 h 370"/>
                  <a:gd name="T8" fmla="*/ 0 w 391"/>
                  <a:gd name="T9" fmla="*/ 337 h 3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1" h="370">
                    <a:moveTo>
                      <a:pt x="0" y="337"/>
                    </a:moveTo>
                    <a:cubicBezTo>
                      <a:pt x="0" y="370"/>
                      <a:pt x="0" y="370"/>
                      <a:pt x="0" y="370"/>
                    </a:cubicBezTo>
                    <a:cubicBezTo>
                      <a:pt x="156" y="364"/>
                      <a:pt x="296" y="292"/>
                      <a:pt x="391" y="182"/>
                    </a:cubicBezTo>
                    <a:cubicBezTo>
                      <a:pt x="382" y="175"/>
                      <a:pt x="374" y="168"/>
                      <a:pt x="365" y="161"/>
                    </a:cubicBezTo>
                    <a:cubicBezTo>
                      <a:pt x="163" y="0"/>
                      <a:pt x="0" y="79"/>
                      <a:pt x="0" y="33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41">
                <a:extLst>
                  <a:ext uri="{FF2B5EF4-FFF2-40B4-BE49-F238E27FC236}">
                    <a16:creationId xmlns:a16="http://schemas.microsoft.com/office/drawing/2014/main" id="{DE4B9FE2-131B-1570-AEC1-DA48DCB6C8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427735" y="3903045"/>
                <a:ext cx="716493" cy="907829"/>
              </a:xfrm>
              <a:custGeom>
                <a:avLst/>
                <a:gdLst>
                  <a:gd name="T0" fmla="*/ 42 w 334"/>
                  <a:gd name="T1" fmla="*/ 7 h 423"/>
                  <a:gd name="T2" fmla="*/ 9 w 334"/>
                  <a:gd name="T3" fmla="*/ 0 h 423"/>
                  <a:gd name="T4" fmla="*/ 0 w 334"/>
                  <a:gd name="T5" fmla="*/ 101 h 423"/>
                  <a:gd name="T6" fmla="*/ 106 w 334"/>
                  <a:gd name="T7" fmla="*/ 423 h 423"/>
                  <a:gd name="T8" fmla="*/ 132 w 334"/>
                  <a:gd name="T9" fmla="*/ 403 h 423"/>
                  <a:gd name="T10" fmla="*/ 42 w 334"/>
                  <a:gd name="T11" fmla="*/ 7 h 4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34" h="423">
                    <a:moveTo>
                      <a:pt x="42" y="7"/>
                    </a:moveTo>
                    <a:cubicBezTo>
                      <a:pt x="9" y="0"/>
                      <a:pt x="9" y="0"/>
                      <a:pt x="9" y="0"/>
                    </a:cubicBezTo>
                    <a:cubicBezTo>
                      <a:pt x="3" y="33"/>
                      <a:pt x="0" y="67"/>
                      <a:pt x="0" y="101"/>
                    </a:cubicBezTo>
                    <a:cubicBezTo>
                      <a:pt x="0" y="222"/>
                      <a:pt x="39" y="333"/>
                      <a:pt x="106" y="423"/>
                    </a:cubicBezTo>
                    <a:cubicBezTo>
                      <a:pt x="115" y="416"/>
                      <a:pt x="123" y="410"/>
                      <a:pt x="132" y="403"/>
                    </a:cubicBezTo>
                    <a:cubicBezTo>
                      <a:pt x="334" y="242"/>
                      <a:pt x="293" y="65"/>
                      <a:pt x="42" y="7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91A93641-5579-47E4-13E0-7E2D88BD5499}"/>
                </a:ext>
              </a:extLst>
            </p:cNvPr>
            <p:cNvGrpSpPr/>
            <p:nvPr/>
          </p:nvGrpSpPr>
          <p:grpSpPr>
            <a:xfrm>
              <a:off x="3699881" y="1928847"/>
              <a:ext cx="1744238" cy="1744010"/>
              <a:chOff x="3852281" y="2080907"/>
              <a:chExt cx="1744238" cy="1744010"/>
            </a:xfrm>
            <a:solidFill>
              <a:schemeClr val="tx2">
                <a:alpha val="40000"/>
              </a:schemeClr>
            </a:solidFill>
          </p:grpSpPr>
          <p:sp>
            <p:nvSpPr>
              <p:cNvPr id="8" name="Freeform 23">
                <a:extLst>
                  <a:ext uri="{FF2B5EF4-FFF2-40B4-BE49-F238E27FC236}">
                    <a16:creationId xmlns:a16="http://schemas.microsoft.com/office/drawing/2014/main" id="{3CF2B10B-4001-1A60-C614-DDA710AFDD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75348" y="2080907"/>
                <a:ext cx="698104" cy="495860"/>
              </a:xfrm>
              <a:custGeom>
                <a:avLst/>
                <a:gdLst>
                  <a:gd name="T0" fmla="*/ 420 w 434"/>
                  <a:gd name="T1" fmla="*/ 75 h 308"/>
                  <a:gd name="T2" fmla="*/ 434 w 434"/>
                  <a:gd name="T3" fmla="*/ 45 h 308"/>
                  <a:gd name="T4" fmla="*/ 217 w 434"/>
                  <a:gd name="T5" fmla="*/ 0 h 308"/>
                  <a:gd name="T6" fmla="*/ 0 w 434"/>
                  <a:gd name="T7" fmla="*/ 45 h 308"/>
                  <a:gd name="T8" fmla="*/ 14 w 434"/>
                  <a:gd name="T9" fmla="*/ 75 h 308"/>
                  <a:gd name="T10" fmla="*/ 420 w 434"/>
                  <a:gd name="T11" fmla="*/ 75 h 3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34" h="308">
                    <a:moveTo>
                      <a:pt x="420" y="75"/>
                    </a:moveTo>
                    <a:cubicBezTo>
                      <a:pt x="434" y="45"/>
                      <a:pt x="434" y="45"/>
                      <a:pt x="434" y="45"/>
                    </a:cubicBezTo>
                    <a:cubicBezTo>
                      <a:pt x="368" y="16"/>
                      <a:pt x="294" y="0"/>
                      <a:pt x="217" y="0"/>
                    </a:cubicBezTo>
                    <a:cubicBezTo>
                      <a:pt x="140" y="0"/>
                      <a:pt x="66" y="16"/>
                      <a:pt x="0" y="45"/>
                    </a:cubicBezTo>
                    <a:cubicBezTo>
                      <a:pt x="4" y="55"/>
                      <a:pt x="9" y="65"/>
                      <a:pt x="14" y="75"/>
                    </a:cubicBezTo>
                    <a:cubicBezTo>
                      <a:pt x="126" y="308"/>
                      <a:pt x="308" y="308"/>
                      <a:pt x="420" y="7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" name="Freeform 24">
                <a:extLst>
                  <a:ext uri="{FF2B5EF4-FFF2-40B4-BE49-F238E27FC236}">
                    <a16:creationId xmlns:a16="http://schemas.microsoft.com/office/drawing/2014/main" id="{378EABA9-6A63-6BE3-E79C-461DC8876B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62734" y="3229749"/>
                <a:ext cx="629315" cy="595168"/>
              </a:xfrm>
              <a:custGeom>
                <a:avLst/>
                <a:gdLst>
                  <a:gd name="T0" fmla="*/ 26 w 391"/>
                  <a:gd name="T1" fmla="*/ 161 h 370"/>
                  <a:gd name="T2" fmla="*/ 0 w 391"/>
                  <a:gd name="T3" fmla="*/ 182 h 370"/>
                  <a:gd name="T4" fmla="*/ 391 w 391"/>
                  <a:gd name="T5" fmla="*/ 370 h 370"/>
                  <a:gd name="T6" fmla="*/ 391 w 391"/>
                  <a:gd name="T7" fmla="*/ 337 h 370"/>
                  <a:gd name="T8" fmla="*/ 26 w 391"/>
                  <a:gd name="T9" fmla="*/ 161 h 3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1" h="370">
                    <a:moveTo>
                      <a:pt x="26" y="161"/>
                    </a:moveTo>
                    <a:cubicBezTo>
                      <a:pt x="0" y="182"/>
                      <a:pt x="0" y="182"/>
                      <a:pt x="0" y="182"/>
                    </a:cubicBezTo>
                    <a:cubicBezTo>
                      <a:pt x="95" y="292"/>
                      <a:pt x="235" y="364"/>
                      <a:pt x="391" y="370"/>
                    </a:cubicBezTo>
                    <a:cubicBezTo>
                      <a:pt x="391" y="359"/>
                      <a:pt x="391" y="348"/>
                      <a:pt x="391" y="337"/>
                    </a:cubicBezTo>
                    <a:cubicBezTo>
                      <a:pt x="391" y="79"/>
                      <a:pt x="228" y="0"/>
                      <a:pt x="26" y="16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" name="Freeform 25">
                <a:extLst>
                  <a:ext uri="{FF2B5EF4-FFF2-40B4-BE49-F238E27FC236}">
                    <a16:creationId xmlns:a16="http://schemas.microsoft.com/office/drawing/2014/main" id="{43581128-245E-C780-11AA-3945F468E9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80887" y="2182255"/>
                <a:ext cx="638850" cy="650263"/>
              </a:xfrm>
              <a:custGeom>
                <a:avLst/>
                <a:gdLst>
                  <a:gd name="T0" fmla="*/ 285 w 397"/>
                  <a:gd name="T1" fmla="*/ 30 h 404"/>
                  <a:gd name="T2" fmla="*/ 271 w 397"/>
                  <a:gd name="T3" fmla="*/ 0 h 404"/>
                  <a:gd name="T4" fmla="*/ 0 w 397"/>
                  <a:gd name="T5" fmla="*/ 339 h 404"/>
                  <a:gd name="T6" fmla="*/ 33 w 397"/>
                  <a:gd name="T7" fmla="*/ 346 h 404"/>
                  <a:gd name="T8" fmla="*/ 285 w 397"/>
                  <a:gd name="T9" fmla="*/ 30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7" h="404">
                    <a:moveTo>
                      <a:pt x="285" y="30"/>
                    </a:moveTo>
                    <a:cubicBezTo>
                      <a:pt x="271" y="0"/>
                      <a:pt x="271" y="0"/>
                      <a:pt x="271" y="0"/>
                    </a:cubicBezTo>
                    <a:cubicBezTo>
                      <a:pt x="139" y="69"/>
                      <a:pt x="39" y="192"/>
                      <a:pt x="0" y="339"/>
                    </a:cubicBezTo>
                    <a:cubicBezTo>
                      <a:pt x="11" y="342"/>
                      <a:pt x="22" y="344"/>
                      <a:pt x="33" y="346"/>
                    </a:cubicBezTo>
                    <a:cubicBezTo>
                      <a:pt x="284" y="404"/>
                      <a:pt x="397" y="262"/>
                      <a:pt x="285" y="3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" name="Freeform 26">
                <a:extLst>
                  <a:ext uri="{FF2B5EF4-FFF2-40B4-BE49-F238E27FC236}">
                    <a16:creationId xmlns:a16="http://schemas.microsoft.com/office/drawing/2014/main" id="{46D620CC-B3FA-59B3-B18B-328A263709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28382" y="2182255"/>
                <a:ext cx="638850" cy="650263"/>
              </a:xfrm>
              <a:custGeom>
                <a:avLst/>
                <a:gdLst>
                  <a:gd name="T0" fmla="*/ 364 w 397"/>
                  <a:gd name="T1" fmla="*/ 346 h 404"/>
                  <a:gd name="T2" fmla="*/ 397 w 397"/>
                  <a:gd name="T3" fmla="*/ 339 h 404"/>
                  <a:gd name="T4" fmla="*/ 126 w 397"/>
                  <a:gd name="T5" fmla="*/ 0 h 404"/>
                  <a:gd name="T6" fmla="*/ 112 w 397"/>
                  <a:gd name="T7" fmla="*/ 30 h 404"/>
                  <a:gd name="T8" fmla="*/ 364 w 397"/>
                  <a:gd name="T9" fmla="*/ 346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7" h="404">
                    <a:moveTo>
                      <a:pt x="364" y="346"/>
                    </a:moveTo>
                    <a:cubicBezTo>
                      <a:pt x="397" y="339"/>
                      <a:pt x="397" y="339"/>
                      <a:pt x="397" y="339"/>
                    </a:cubicBezTo>
                    <a:cubicBezTo>
                      <a:pt x="358" y="192"/>
                      <a:pt x="258" y="69"/>
                      <a:pt x="126" y="0"/>
                    </a:cubicBezTo>
                    <a:cubicBezTo>
                      <a:pt x="121" y="10"/>
                      <a:pt x="117" y="20"/>
                      <a:pt x="112" y="30"/>
                    </a:cubicBezTo>
                    <a:cubicBezTo>
                      <a:pt x="0" y="262"/>
                      <a:pt x="113" y="404"/>
                      <a:pt x="364" y="34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" name="Freeform 27">
                <a:extLst>
                  <a:ext uri="{FF2B5EF4-FFF2-40B4-BE49-F238E27FC236}">
                    <a16:creationId xmlns:a16="http://schemas.microsoft.com/office/drawing/2014/main" id="{96305806-A6E2-2F45-5409-4259A62669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9149" y="2790346"/>
                <a:ext cx="537370" cy="680872"/>
              </a:xfrm>
              <a:custGeom>
                <a:avLst/>
                <a:gdLst>
                  <a:gd name="T0" fmla="*/ 202 w 334"/>
                  <a:gd name="T1" fmla="*/ 403 h 423"/>
                  <a:gd name="T2" fmla="*/ 228 w 334"/>
                  <a:gd name="T3" fmla="*/ 423 h 423"/>
                  <a:gd name="T4" fmla="*/ 334 w 334"/>
                  <a:gd name="T5" fmla="*/ 101 h 423"/>
                  <a:gd name="T6" fmla="*/ 325 w 334"/>
                  <a:gd name="T7" fmla="*/ 0 h 423"/>
                  <a:gd name="T8" fmla="*/ 292 w 334"/>
                  <a:gd name="T9" fmla="*/ 7 h 423"/>
                  <a:gd name="T10" fmla="*/ 202 w 334"/>
                  <a:gd name="T11" fmla="*/ 403 h 4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34" h="423">
                    <a:moveTo>
                      <a:pt x="202" y="403"/>
                    </a:moveTo>
                    <a:cubicBezTo>
                      <a:pt x="228" y="423"/>
                      <a:pt x="228" y="423"/>
                      <a:pt x="228" y="423"/>
                    </a:cubicBezTo>
                    <a:cubicBezTo>
                      <a:pt x="295" y="333"/>
                      <a:pt x="334" y="222"/>
                      <a:pt x="334" y="101"/>
                    </a:cubicBezTo>
                    <a:cubicBezTo>
                      <a:pt x="334" y="67"/>
                      <a:pt x="331" y="33"/>
                      <a:pt x="325" y="0"/>
                    </a:cubicBezTo>
                    <a:cubicBezTo>
                      <a:pt x="314" y="3"/>
                      <a:pt x="303" y="5"/>
                      <a:pt x="292" y="7"/>
                    </a:cubicBezTo>
                    <a:cubicBezTo>
                      <a:pt x="41" y="65"/>
                      <a:pt x="0" y="242"/>
                      <a:pt x="202" y="40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" name="Freeform 28">
                <a:extLst>
                  <a:ext uri="{FF2B5EF4-FFF2-40B4-BE49-F238E27FC236}">
                    <a16:creationId xmlns:a16="http://schemas.microsoft.com/office/drawing/2014/main" id="{F9C277CF-5563-0BFA-FF0A-E08C82858B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56751" y="3229749"/>
                <a:ext cx="628634" cy="595168"/>
              </a:xfrm>
              <a:custGeom>
                <a:avLst/>
                <a:gdLst>
                  <a:gd name="T0" fmla="*/ 0 w 391"/>
                  <a:gd name="T1" fmla="*/ 337 h 370"/>
                  <a:gd name="T2" fmla="*/ 0 w 391"/>
                  <a:gd name="T3" fmla="*/ 370 h 370"/>
                  <a:gd name="T4" fmla="*/ 391 w 391"/>
                  <a:gd name="T5" fmla="*/ 182 h 370"/>
                  <a:gd name="T6" fmla="*/ 365 w 391"/>
                  <a:gd name="T7" fmla="*/ 161 h 370"/>
                  <a:gd name="T8" fmla="*/ 0 w 391"/>
                  <a:gd name="T9" fmla="*/ 337 h 3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1" h="370">
                    <a:moveTo>
                      <a:pt x="0" y="337"/>
                    </a:moveTo>
                    <a:cubicBezTo>
                      <a:pt x="0" y="370"/>
                      <a:pt x="0" y="370"/>
                      <a:pt x="0" y="370"/>
                    </a:cubicBezTo>
                    <a:cubicBezTo>
                      <a:pt x="156" y="364"/>
                      <a:pt x="296" y="292"/>
                      <a:pt x="391" y="182"/>
                    </a:cubicBezTo>
                    <a:cubicBezTo>
                      <a:pt x="382" y="175"/>
                      <a:pt x="374" y="168"/>
                      <a:pt x="365" y="161"/>
                    </a:cubicBezTo>
                    <a:cubicBezTo>
                      <a:pt x="163" y="0"/>
                      <a:pt x="0" y="79"/>
                      <a:pt x="0" y="33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" name="Freeform 29">
                <a:extLst>
                  <a:ext uri="{FF2B5EF4-FFF2-40B4-BE49-F238E27FC236}">
                    <a16:creationId xmlns:a16="http://schemas.microsoft.com/office/drawing/2014/main" id="{043DEE27-91E3-055D-6F03-EF6021C16A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52281" y="2790346"/>
                <a:ext cx="537370" cy="680872"/>
              </a:xfrm>
              <a:custGeom>
                <a:avLst/>
                <a:gdLst>
                  <a:gd name="T0" fmla="*/ 42 w 334"/>
                  <a:gd name="T1" fmla="*/ 7 h 423"/>
                  <a:gd name="T2" fmla="*/ 9 w 334"/>
                  <a:gd name="T3" fmla="*/ 0 h 423"/>
                  <a:gd name="T4" fmla="*/ 0 w 334"/>
                  <a:gd name="T5" fmla="*/ 101 h 423"/>
                  <a:gd name="T6" fmla="*/ 106 w 334"/>
                  <a:gd name="T7" fmla="*/ 423 h 423"/>
                  <a:gd name="T8" fmla="*/ 132 w 334"/>
                  <a:gd name="T9" fmla="*/ 403 h 423"/>
                  <a:gd name="T10" fmla="*/ 42 w 334"/>
                  <a:gd name="T11" fmla="*/ 7 h 4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34" h="423">
                    <a:moveTo>
                      <a:pt x="42" y="7"/>
                    </a:moveTo>
                    <a:cubicBezTo>
                      <a:pt x="9" y="0"/>
                      <a:pt x="9" y="0"/>
                      <a:pt x="9" y="0"/>
                    </a:cubicBezTo>
                    <a:cubicBezTo>
                      <a:pt x="3" y="33"/>
                      <a:pt x="0" y="67"/>
                      <a:pt x="0" y="101"/>
                    </a:cubicBezTo>
                    <a:cubicBezTo>
                      <a:pt x="0" y="222"/>
                      <a:pt x="39" y="333"/>
                      <a:pt x="106" y="423"/>
                    </a:cubicBezTo>
                    <a:cubicBezTo>
                      <a:pt x="115" y="416"/>
                      <a:pt x="123" y="410"/>
                      <a:pt x="132" y="403"/>
                    </a:cubicBezTo>
                    <a:cubicBezTo>
                      <a:pt x="334" y="242"/>
                      <a:pt x="293" y="65"/>
                      <a:pt x="42" y="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id="{61E707D9-2975-79C9-6DDB-88D722B386BD}"/>
              </a:ext>
            </a:extLst>
          </p:cNvPr>
          <p:cNvSpPr/>
          <p:nvPr/>
        </p:nvSpPr>
        <p:spPr>
          <a:xfrm>
            <a:off x="433014" y="1565302"/>
            <a:ext cx="3003923" cy="89255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>
              <a:lnSpc>
                <a:spcPct val="150000"/>
              </a:lnSpc>
            </a:pPr>
            <a:r>
              <a:rPr lang="en-US" sz="1600" b="1" dirty="0">
                <a:solidFill>
                  <a:schemeClr val="accent1"/>
                </a:solidFill>
              </a:rPr>
              <a:t>Enter Your Title</a:t>
            </a:r>
            <a:endParaRPr lang="en-US" sz="1600" dirty="0">
              <a:solidFill>
                <a:schemeClr val="accent1"/>
              </a:solidFill>
            </a:endParaRPr>
          </a:p>
          <a:p>
            <a:pPr algn="r">
              <a:lnSpc>
                <a:spcPct val="150000"/>
              </a:lnSpc>
            </a:pPr>
            <a:r>
              <a:rPr lang="en-US" sz="1200" dirty="0"/>
              <a:t>This is a sample text. You simply add your own text and description here. 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4B78182-4CE1-73E4-88C6-BC6A4B89D2E8}"/>
              </a:ext>
            </a:extLst>
          </p:cNvPr>
          <p:cNvSpPr/>
          <p:nvPr/>
        </p:nvSpPr>
        <p:spPr>
          <a:xfrm>
            <a:off x="433014" y="3263746"/>
            <a:ext cx="3003923" cy="89255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>
              <a:lnSpc>
                <a:spcPct val="150000"/>
              </a:lnSpc>
            </a:pPr>
            <a:r>
              <a:rPr lang="en-US" sz="1600" b="1" dirty="0">
                <a:solidFill>
                  <a:schemeClr val="accent3"/>
                </a:solidFill>
              </a:rPr>
              <a:t>Enter Your Title</a:t>
            </a:r>
            <a:endParaRPr lang="en-US" sz="1600" dirty="0">
              <a:solidFill>
                <a:schemeClr val="accent3"/>
              </a:solidFill>
            </a:endParaRPr>
          </a:p>
          <a:p>
            <a:pPr algn="r">
              <a:lnSpc>
                <a:spcPct val="150000"/>
              </a:lnSpc>
            </a:pPr>
            <a:r>
              <a:rPr lang="en-US" sz="1200" dirty="0"/>
              <a:t>This is a sample text. You simply add your own text and description here. 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37F4D618-C482-6E58-8973-FCBDD65ED04C}"/>
              </a:ext>
            </a:extLst>
          </p:cNvPr>
          <p:cNvSpPr/>
          <p:nvPr/>
        </p:nvSpPr>
        <p:spPr>
          <a:xfrm>
            <a:off x="433014" y="4962191"/>
            <a:ext cx="3003923" cy="89255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>
              <a:lnSpc>
                <a:spcPct val="150000"/>
              </a:lnSpc>
            </a:pPr>
            <a:r>
              <a:rPr lang="en-US" sz="1600" b="1" dirty="0">
                <a:solidFill>
                  <a:schemeClr val="accent6"/>
                </a:solidFill>
              </a:rPr>
              <a:t>Enter Your Title</a:t>
            </a:r>
            <a:endParaRPr lang="en-US" sz="1600" dirty="0">
              <a:solidFill>
                <a:schemeClr val="accent6"/>
              </a:solidFill>
            </a:endParaRPr>
          </a:p>
          <a:p>
            <a:pPr algn="r">
              <a:lnSpc>
                <a:spcPct val="150000"/>
              </a:lnSpc>
            </a:pPr>
            <a:r>
              <a:rPr lang="en-US" sz="1200" dirty="0"/>
              <a:t>This is a sample text. You simply add your own text and description here. 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54EE0914-3934-212C-2C86-6480C049CD5B}"/>
              </a:ext>
            </a:extLst>
          </p:cNvPr>
          <p:cNvSpPr/>
          <p:nvPr/>
        </p:nvSpPr>
        <p:spPr>
          <a:xfrm>
            <a:off x="8585958" y="1565302"/>
            <a:ext cx="3003923" cy="89255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600" b="1" dirty="0">
                <a:solidFill>
                  <a:schemeClr val="accent2"/>
                </a:solidFill>
              </a:rPr>
              <a:t>Enter Your Title</a:t>
            </a:r>
            <a:endParaRPr lang="en-US" sz="1600" dirty="0">
              <a:solidFill>
                <a:schemeClr val="accent2"/>
              </a:solidFill>
            </a:endParaRPr>
          </a:p>
          <a:p>
            <a:pPr>
              <a:lnSpc>
                <a:spcPct val="150000"/>
              </a:lnSpc>
            </a:pPr>
            <a:r>
              <a:rPr lang="en-US" sz="1200" dirty="0"/>
              <a:t>This is a sample text. You simply add your own text and description here. 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A14B928-CF52-C048-617F-0F473605E552}"/>
              </a:ext>
            </a:extLst>
          </p:cNvPr>
          <p:cNvSpPr/>
          <p:nvPr/>
        </p:nvSpPr>
        <p:spPr>
          <a:xfrm>
            <a:off x="8585958" y="2697598"/>
            <a:ext cx="3003923" cy="89255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600" b="1" dirty="0">
                <a:solidFill>
                  <a:schemeClr val="accent3"/>
                </a:solidFill>
              </a:rPr>
              <a:t>Enter Your Title</a:t>
            </a:r>
            <a:endParaRPr lang="en-US" sz="1600" dirty="0">
              <a:solidFill>
                <a:schemeClr val="accent3"/>
              </a:solidFill>
            </a:endParaRPr>
          </a:p>
          <a:p>
            <a:pPr>
              <a:lnSpc>
                <a:spcPct val="150000"/>
              </a:lnSpc>
            </a:pPr>
            <a:r>
              <a:rPr lang="en-US" sz="1200" dirty="0"/>
              <a:t>This is a sample text. You simply add your own text and description here. 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B24AB198-5DE2-10EA-2470-29B2D25D6FAB}"/>
              </a:ext>
            </a:extLst>
          </p:cNvPr>
          <p:cNvSpPr/>
          <p:nvPr/>
        </p:nvSpPr>
        <p:spPr>
          <a:xfrm>
            <a:off x="8585958" y="3831593"/>
            <a:ext cx="3003923" cy="88915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600" b="1" dirty="0">
                <a:solidFill>
                  <a:schemeClr val="accent4"/>
                </a:solidFill>
              </a:rPr>
              <a:t>Enter Your Title</a:t>
            </a:r>
            <a:endParaRPr lang="en-US" sz="1600" dirty="0">
              <a:solidFill>
                <a:schemeClr val="accent4"/>
              </a:solidFill>
            </a:endParaRPr>
          </a:p>
          <a:p>
            <a:pPr>
              <a:lnSpc>
                <a:spcPct val="150000"/>
              </a:lnSpc>
            </a:pPr>
            <a:r>
              <a:rPr lang="en-US" sz="1200" dirty="0"/>
              <a:t>This is a sample text. You simply add your own text and description here. </a:t>
            </a:r>
            <a:r>
              <a:rPr lang="en-US" sz="1200" dirty="0">
                <a:solidFill>
                  <a:schemeClr val="bg1">
                    <a:lumMod val="65000"/>
                  </a:schemeClr>
                </a:solidFill>
              </a:rPr>
              <a:t>. 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FD4EF014-FFA2-9CA9-C833-77A159639FA6}"/>
              </a:ext>
            </a:extLst>
          </p:cNvPr>
          <p:cNvSpPr/>
          <p:nvPr/>
        </p:nvSpPr>
        <p:spPr>
          <a:xfrm>
            <a:off x="8585958" y="4963890"/>
            <a:ext cx="3003923" cy="88915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600" b="1" dirty="0">
                <a:solidFill>
                  <a:schemeClr val="accent5"/>
                </a:solidFill>
              </a:rPr>
              <a:t>Enter Your Title</a:t>
            </a:r>
            <a:endParaRPr lang="en-US" sz="1600" dirty="0">
              <a:solidFill>
                <a:schemeClr val="accent5"/>
              </a:solidFill>
            </a:endParaRPr>
          </a:p>
          <a:p>
            <a:pPr>
              <a:lnSpc>
                <a:spcPct val="150000"/>
              </a:lnSpc>
            </a:pPr>
            <a:r>
              <a:rPr lang="en-US" sz="1200" dirty="0"/>
              <a:t>This is a sample text. You simply add your own text and description here. </a:t>
            </a:r>
            <a:r>
              <a:rPr lang="en-US" sz="1200" dirty="0">
                <a:solidFill>
                  <a:schemeClr val="bg1">
                    <a:lumMod val="65000"/>
                  </a:schemeClr>
                </a:solidFill>
              </a:rPr>
              <a:t>. 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396B1D2C-7AF9-425C-1FDB-49FB9489DD76}"/>
              </a:ext>
            </a:extLst>
          </p:cNvPr>
          <p:cNvGrpSpPr/>
          <p:nvPr/>
        </p:nvGrpSpPr>
        <p:grpSpPr>
          <a:xfrm>
            <a:off x="5009943" y="4900565"/>
            <a:ext cx="531221" cy="531936"/>
            <a:chOff x="2897188" y="4360862"/>
            <a:chExt cx="1173162" cy="1174751"/>
          </a:xfrm>
          <a:solidFill>
            <a:schemeClr val="bg1"/>
          </a:solidFill>
        </p:grpSpPr>
        <p:sp>
          <p:nvSpPr>
            <p:cNvPr id="37" name="Freeform 202">
              <a:extLst>
                <a:ext uri="{FF2B5EF4-FFF2-40B4-BE49-F238E27FC236}">
                  <a16:creationId xmlns:a16="http://schemas.microsoft.com/office/drawing/2014/main" id="{39E4F9BE-6846-7B6A-FC78-9143E3305F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52775" y="4635500"/>
              <a:ext cx="625475" cy="625475"/>
            </a:xfrm>
            <a:custGeom>
              <a:avLst/>
              <a:gdLst>
                <a:gd name="T0" fmla="*/ 1024 w 1024"/>
                <a:gd name="T1" fmla="*/ 512 h 1024"/>
                <a:gd name="T2" fmla="*/ 0 w 1024"/>
                <a:gd name="T3" fmla="*/ 512 h 1024"/>
                <a:gd name="T4" fmla="*/ 958 w 1024"/>
                <a:gd name="T5" fmla="*/ 480 h 1024"/>
                <a:gd name="T6" fmla="*/ 750 w 1024"/>
                <a:gd name="T7" fmla="*/ 288 h 1024"/>
                <a:gd name="T8" fmla="*/ 958 w 1024"/>
                <a:gd name="T9" fmla="*/ 480 h 1024"/>
                <a:gd name="T10" fmla="*/ 480 w 1024"/>
                <a:gd name="T11" fmla="*/ 953 h 1024"/>
                <a:gd name="T12" fmla="*/ 480 w 1024"/>
                <a:gd name="T13" fmla="*/ 800 h 1024"/>
                <a:gd name="T14" fmla="*/ 313 w 1024"/>
                <a:gd name="T15" fmla="*/ 544 h 1024"/>
                <a:gd name="T16" fmla="*/ 480 w 1024"/>
                <a:gd name="T17" fmla="*/ 736 h 1024"/>
                <a:gd name="T18" fmla="*/ 544 w 1024"/>
                <a:gd name="T19" fmla="*/ 953 h 1024"/>
                <a:gd name="T20" fmla="*/ 664 w 1024"/>
                <a:gd name="T21" fmla="*/ 800 h 1024"/>
                <a:gd name="T22" fmla="*/ 544 w 1024"/>
                <a:gd name="T23" fmla="*/ 736 h 1024"/>
                <a:gd name="T24" fmla="*/ 711 w 1024"/>
                <a:gd name="T25" fmla="*/ 544 h 1024"/>
                <a:gd name="T26" fmla="*/ 544 w 1024"/>
                <a:gd name="T27" fmla="*/ 736 h 1024"/>
                <a:gd name="T28" fmla="*/ 958 w 1024"/>
                <a:gd name="T29" fmla="*/ 544 h 1024"/>
                <a:gd name="T30" fmla="*/ 750 w 1024"/>
                <a:gd name="T31" fmla="*/ 736 h 1024"/>
                <a:gd name="T32" fmla="*/ 711 w 1024"/>
                <a:gd name="T33" fmla="*/ 480 h 1024"/>
                <a:gd name="T34" fmla="*/ 544 w 1024"/>
                <a:gd name="T35" fmla="*/ 288 h 1024"/>
                <a:gd name="T36" fmla="*/ 711 w 1024"/>
                <a:gd name="T37" fmla="*/ 480 h 1024"/>
                <a:gd name="T38" fmla="*/ 544 w 1024"/>
                <a:gd name="T39" fmla="*/ 70 h 1024"/>
                <a:gd name="T40" fmla="*/ 544 w 1024"/>
                <a:gd name="T41" fmla="*/ 224 h 1024"/>
                <a:gd name="T42" fmla="*/ 480 w 1024"/>
                <a:gd name="T43" fmla="*/ 224 h 1024"/>
                <a:gd name="T44" fmla="*/ 480 w 1024"/>
                <a:gd name="T45" fmla="*/ 70 h 1024"/>
                <a:gd name="T46" fmla="*/ 480 w 1024"/>
                <a:gd name="T47" fmla="*/ 480 h 1024"/>
                <a:gd name="T48" fmla="*/ 339 w 1024"/>
                <a:gd name="T49" fmla="*/ 288 h 1024"/>
                <a:gd name="T50" fmla="*/ 249 w 1024"/>
                <a:gd name="T51" fmla="*/ 480 h 1024"/>
                <a:gd name="T52" fmla="*/ 125 w 1024"/>
                <a:gd name="T53" fmla="*/ 288 h 1024"/>
                <a:gd name="T54" fmla="*/ 249 w 1024"/>
                <a:gd name="T55" fmla="*/ 480 h 1024"/>
                <a:gd name="T56" fmla="*/ 274 w 1024"/>
                <a:gd name="T57" fmla="*/ 736 h 1024"/>
                <a:gd name="T58" fmla="*/ 66 w 1024"/>
                <a:gd name="T59" fmla="*/ 544 h 1024"/>
                <a:gd name="T60" fmla="*/ 169 w 1024"/>
                <a:gd name="T61" fmla="*/ 800 h 1024"/>
                <a:gd name="T62" fmla="*/ 360 w 1024"/>
                <a:gd name="T63" fmla="*/ 933 h 1024"/>
                <a:gd name="T64" fmla="*/ 664 w 1024"/>
                <a:gd name="T65" fmla="*/ 933 h 1024"/>
                <a:gd name="T66" fmla="*/ 855 w 1024"/>
                <a:gd name="T67" fmla="*/ 800 h 1024"/>
                <a:gd name="T68" fmla="*/ 855 w 1024"/>
                <a:gd name="T69" fmla="*/ 224 h 1024"/>
                <a:gd name="T70" fmla="*/ 664 w 1024"/>
                <a:gd name="T71" fmla="*/ 91 h 1024"/>
                <a:gd name="T72" fmla="*/ 360 w 1024"/>
                <a:gd name="T73" fmla="*/ 91 h 1024"/>
                <a:gd name="T74" fmla="*/ 169 w 1024"/>
                <a:gd name="T75" fmla="*/ 224 h 10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024" h="1024">
                  <a:moveTo>
                    <a:pt x="512" y="1024"/>
                  </a:moveTo>
                  <a:cubicBezTo>
                    <a:pt x="795" y="1024"/>
                    <a:pt x="1024" y="794"/>
                    <a:pt x="1024" y="512"/>
                  </a:cubicBezTo>
                  <a:cubicBezTo>
                    <a:pt x="1024" y="229"/>
                    <a:pt x="795" y="0"/>
                    <a:pt x="512" y="0"/>
                  </a:cubicBezTo>
                  <a:cubicBezTo>
                    <a:pt x="229" y="0"/>
                    <a:pt x="0" y="229"/>
                    <a:pt x="0" y="512"/>
                  </a:cubicBezTo>
                  <a:cubicBezTo>
                    <a:pt x="0" y="794"/>
                    <a:pt x="229" y="1023"/>
                    <a:pt x="512" y="1024"/>
                  </a:cubicBezTo>
                  <a:moveTo>
                    <a:pt x="958" y="480"/>
                  </a:moveTo>
                  <a:cubicBezTo>
                    <a:pt x="775" y="480"/>
                    <a:pt x="775" y="480"/>
                    <a:pt x="775" y="480"/>
                  </a:cubicBezTo>
                  <a:cubicBezTo>
                    <a:pt x="773" y="415"/>
                    <a:pt x="765" y="351"/>
                    <a:pt x="750" y="288"/>
                  </a:cubicBezTo>
                  <a:cubicBezTo>
                    <a:pt x="899" y="288"/>
                    <a:pt x="899" y="288"/>
                    <a:pt x="899" y="288"/>
                  </a:cubicBezTo>
                  <a:cubicBezTo>
                    <a:pt x="933" y="346"/>
                    <a:pt x="954" y="412"/>
                    <a:pt x="958" y="480"/>
                  </a:cubicBezTo>
                  <a:moveTo>
                    <a:pt x="480" y="800"/>
                  </a:moveTo>
                  <a:cubicBezTo>
                    <a:pt x="480" y="953"/>
                    <a:pt x="480" y="953"/>
                    <a:pt x="480" y="953"/>
                  </a:cubicBezTo>
                  <a:cubicBezTo>
                    <a:pt x="435" y="935"/>
                    <a:pt x="392" y="881"/>
                    <a:pt x="360" y="800"/>
                  </a:cubicBezTo>
                  <a:lnTo>
                    <a:pt x="480" y="800"/>
                  </a:lnTo>
                  <a:close/>
                  <a:moveTo>
                    <a:pt x="339" y="736"/>
                  </a:moveTo>
                  <a:cubicBezTo>
                    <a:pt x="323" y="673"/>
                    <a:pt x="314" y="608"/>
                    <a:pt x="313" y="544"/>
                  </a:cubicBezTo>
                  <a:cubicBezTo>
                    <a:pt x="480" y="544"/>
                    <a:pt x="480" y="544"/>
                    <a:pt x="480" y="544"/>
                  </a:cubicBezTo>
                  <a:cubicBezTo>
                    <a:pt x="480" y="736"/>
                    <a:pt x="480" y="736"/>
                    <a:pt x="480" y="736"/>
                  </a:cubicBezTo>
                  <a:lnTo>
                    <a:pt x="339" y="736"/>
                  </a:lnTo>
                  <a:close/>
                  <a:moveTo>
                    <a:pt x="544" y="953"/>
                  </a:moveTo>
                  <a:cubicBezTo>
                    <a:pt x="544" y="800"/>
                    <a:pt x="544" y="800"/>
                    <a:pt x="544" y="800"/>
                  </a:cubicBezTo>
                  <a:cubicBezTo>
                    <a:pt x="664" y="800"/>
                    <a:pt x="664" y="800"/>
                    <a:pt x="664" y="800"/>
                  </a:cubicBezTo>
                  <a:cubicBezTo>
                    <a:pt x="632" y="881"/>
                    <a:pt x="589" y="935"/>
                    <a:pt x="544" y="953"/>
                  </a:cubicBezTo>
                  <a:moveTo>
                    <a:pt x="544" y="736"/>
                  </a:moveTo>
                  <a:cubicBezTo>
                    <a:pt x="544" y="544"/>
                    <a:pt x="544" y="544"/>
                    <a:pt x="544" y="544"/>
                  </a:cubicBezTo>
                  <a:cubicBezTo>
                    <a:pt x="711" y="544"/>
                    <a:pt x="711" y="544"/>
                    <a:pt x="711" y="544"/>
                  </a:cubicBezTo>
                  <a:cubicBezTo>
                    <a:pt x="710" y="608"/>
                    <a:pt x="701" y="673"/>
                    <a:pt x="685" y="736"/>
                  </a:cubicBezTo>
                  <a:lnTo>
                    <a:pt x="544" y="736"/>
                  </a:lnTo>
                  <a:close/>
                  <a:moveTo>
                    <a:pt x="775" y="544"/>
                  </a:moveTo>
                  <a:cubicBezTo>
                    <a:pt x="958" y="544"/>
                    <a:pt x="958" y="544"/>
                    <a:pt x="958" y="544"/>
                  </a:cubicBezTo>
                  <a:cubicBezTo>
                    <a:pt x="954" y="611"/>
                    <a:pt x="933" y="677"/>
                    <a:pt x="899" y="736"/>
                  </a:cubicBezTo>
                  <a:cubicBezTo>
                    <a:pt x="750" y="736"/>
                    <a:pt x="750" y="736"/>
                    <a:pt x="750" y="736"/>
                  </a:cubicBezTo>
                  <a:cubicBezTo>
                    <a:pt x="765" y="673"/>
                    <a:pt x="773" y="608"/>
                    <a:pt x="775" y="544"/>
                  </a:cubicBezTo>
                  <a:moveTo>
                    <a:pt x="711" y="480"/>
                  </a:moveTo>
                  <a:cubicBezTo>
                    <a:pt x="544" y="480"/>
                    <a:pt x="544" y="480"/>
                    <a:pt x="544" y="480"/>
                  </a:cubicBezTo>
                  <a:cubicBezTo>
                    <a:pt x="544" y="288"/>
                    <a:pt x="544" y="288"/>
                    <a:pt x="544" y="288"/>
                  </a:cubicBezTo>
                  <a:cubicBezTo>
                    <a:pt x="685" y="288"/>
                    <a:pt x="685" y="288"/>
                    <a:pt x="685" y="288"/>
                  </a:cubicBezTo>
                  <a:cubicBezTo>
                    <a:pt x="701" y="350"/>
                    <a:pt x="710" y="415"/>
                    <a:pt x="711" y="480"/>
                  </a:cubicBezTo>
                  <a:moveTo>
                    <a:pt x="544" y="224"/>
                  </a:moveTo>
                  <a:cubicBezTo>
                    <a:pt x="544" y="70"/>
                    <a:pt x="544" y="70"/>
                    <a:pt x="544" y="70"/>
                  </a:cubicBezTo>
                  <a:cubicBezTo>
                    <a:pt x="589" y="88"/>
                    <a:pt x="632" y="142"/>
                    <a:pt x="664" y="224"/>
                  </a:cubicBezTo>
                  <a:lnTo>
                    <a:pt x="544" y="224"/>
                  </a:lnTo>
                  <a:close/>
                  <a:moveTo>
                    <a:pt x="480" y="70"/>
                  </a:moveTo>
                  <a:cubicBezTo>
                    <a:pt x="480" y="224"/>
                    <a:pt x="480" y="224"/>
                    <a:pt x="480" y="224"/>
                  </a:cubicBezTo>
                  <a:cubicBezTo>
                    <a:pt x="360" y="224"/>
                    <a:pt x="360" y="224"/>
                    <a:pt x="360" y="224"/>
                  </a:cubicBezTo>
                  <a:cubicBezTo>
                    <a:pt x="392" y="142"/>
                    <a:pt x="435" y="88"/>
                    <a:pt x="480" y="70"/>
                  </a:cubicBezTo>
                  <a:moveTo>
                    <a:pt x="480" y="288"/>
                  </a:moveTo>
                  <a:cubicBezTo>
                    <a:pt x="480" y="480"/>
                    <a:pt x="480" y="480"/>
                    <a:pt x="480" y="480"/>
                  </a:cubicBezTo>
                  <a:cubicBezTo>
                    <a:pt x="313" y="480"/>
                    <a:pt x="313" y="480"/>
                    <a:pt x="313" y="480"/>
                  </a:cubicBezTo>
                  <a:cubicBezTo>
                    <a:pt x="314" y="415"/>
                    <a:pt x="323" y="350"/>
                    <a:pt x="339" y="288"/>
                  </a:cubicBezTo>
                  <a:lnTo>
                    <a:pt x="480" y="288"/>
                  </a:lnTo>
                  <a:close/>
                  <a:moveTo>
                    <a:pt x="249" y="480"/>
                  </a:moveTo>
                  <a:cubicBezTo>
                    <a:pt x="66" y="480"/>
                    <a:pt x="66" y="480"/>
                    <a:pt x="66" y="480"/>
                  </a:cubicBezTo>
                  <a:cubicBezTo>
                    <a:pt x="70" y="412"/>
                    <a:pt x="91" y="346"/>
                    <a:pt x="125" y="288"/>
                  </a:cubicBezTo>
                  <a:cubicBezTo>
                    <a:pt x="274" y="288"/>
                    <a:pt x="274" y="288"/>
                    <a:pt x="274" y="288"/>
                  </a:cubicBezTo>
                  <a:cubicBezTo>
                    <a:pt x="259" y="351"/>
                    <a:pt x="251" y="415"/>
                    <a:pt x="249" y="480"/>
                  </a:cubicBezTo>
                  <a:moveTo>
                    <a:pt x="249" y="544"/>
                  </a:moveTo>
                  <a:cubicBezTo>
                    <a:pt x="251" y="608"/>
                    <a:pt x="259" y="673"/>
                    <a:pt x="274" y="736"/>
                  </a:cubicBezTo>
                  <a:cubicBezTo>
                    <a:pt x="125" y="736"/>
                    <a:pt x="125" y="736"/>
                    <a:pt x="125" y="736"/>
                  </a:cubicBezTo>
                  <a:cubicBezTo>
                    <a:pt x="91" y="677"/>
                    <a:pt x="70" y="611"/>
                    <a:pt x="66" y="544"/>
                  </a:cubicBezTo>
                  <a:lnTo>
                    <a:pt x="249" y="544"/>
                  </a:lnTo>
                  <a:close/>
                  <a:moveTo>
                    <a:pt x="169" y="800"/>
                  </a:moveTo>
                  <a:cubicBezTo>
                    <a:pt x="293" y="800"/>
                    <a:pt x="293" y="800"/>
                    <a:pt x="293" y="800"/>
                  </a:cubicBezTo>
                  <a:cubicBezTo>
                    <a:pt x="308" y="847"/>
                    <a:pt x="331" y="892"/>
                    <a:pt x="360" y="933"/>
                  </a:cubicBezTo>
                  <a:cubicBezTo>
                    <a:pt x="286" y="906"/>
                    <a:pt x="220" y="860"/>
                    <a:pt x="169" y="800"/>
                  </a:cubicBezTo>
                  <a:moveTo>
                    <a:pt x="664" y="933"/>
                  </a:moveTo>
                  <a:cubicBezTo>
                    <a:pt x="693" y="892"/>
                    <a:pt x="716" y="847"/>
                    <a:pt x="731" y="800"/>
                  </a:cubicBezTo>
                  <a:cubicBezTo>
                    <a:pt x="855" y="800"/>
                    <a:pt x="855" y="800"/>
                    <a:pt x="855" y="800"/>
                  </a:cubicBezTo>
                  <a:cubicBezTo>
                    <a:pt x="804" y="860"/>
                    <a:pt x="738" y="906"/>
                    <a:pt x="664" y="933"/>
                  </a:cubicBezTo>
                  <a:moveTo>
                    <a:pt x="855" y="224"/>
                  </a:moveTo>
                  <a:cubicBezTo>
                    <a:pt x="731" y="224"/>
                    <a:pt x="731" y="224"/>
                    <a:pt x="731" y="224"/>
                  </a:cubicBezTo>
                  <a:cubicBezTo>
                    <a:pt x="716" y="176"/>
                    <a:pt x="693" y="131"/>
                    <a:pt x="664" y="91"/>
                  </a:cubicBezTo>
                  <a:cubicBezTo>
                    <a:pt x="738" y="117"/>
                    <a:pt x="804" y="163"/>
                    <a:pt x="855" y="224"/>
                  </a:cubicBezTo>
                  <a:moveTo>
                    <a:pt x="360" y="91"/>
                  </a:moveTo>
                  <a:cubicBezTo>
                    <a:pt x="331" y="131"/>
                    <a:pt x="308" y="176"/>
                    <a:pt x="293" y="224"/>
                  </a:cubicBezTo>
                  <a:cubicBezTo>
                    <a:pt x="169" y="224"/>
                    <a:pt x="169" y="224"/>
                    <a:pt x="169" y="224"/>
                  </a:cubicBezTo>
                  <a:cubicBezTo>
                    <a:pt x="220" y="163"/>
                    <a:pt x="286" y="117"/>
                    <a:pt x="360" y="9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8" name="Freeform 203">
              <a:extLst>
                <a:ext uri="{FF2B5EF4-FFF2-40B4-BE49-F238E27FC236}">
                  <a16:creationId xmlns:a16="http://schemas.microsoft.com/office/drawing/2014/main" id="{C5324383-74FA-D2E8-2C2E-902A6B4CC46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90875" y="5280025"/>
              <a:ext cx="590550" cy="255588"/>
            </a:xfrm>
            <a:custGeom>
              <a:avLst/>
              <a:gdLst>
                <a:gd name="T0" fmla="*/ 32 w 966"/>
                <a:gd name="T1" fmla="*/ 320 h 416"/>
                <a:gd name="T2" fmla="*/ 160 w 966"/>
                <a:gd name="T3" fmla="*/ 320 h 416"/>
                <a:gd name="T4" fmla="*/ 192 w 966"/>
                <a:gd name="T5" fmla="*/ 288 h 416"/>
                <a:gd name="T6" fmla="*/ 192 w 966"/>
                <a:gd name="T7" fmla="*/ 288 h 416"/>
                <a:gd name="T8" fmla="*/ 216 w 966"/>
                <a:gd name="T9" fmla="*/ 288 h 416"/>
                <a:gd name="T10" fmla="*/ 463 w 966"/>
                <a:gd name="T11" fmla="*/ 412 h 416"/>
                <a:gd name="T12" fmla="*/ 478 w 966"/>
                <a:gd name="T13" fmla="*/ 416 h 416"/>
                <a:gd name="T14" fmla="*/ 494 w 966"/>
                <a:gd name="T15" fmla="*/ 411 h 416"/>
                <a:gd name="T16" fmla="*/ 926 w 966"/>
                <a:gd name="T17" fmla="*/ 144 h 416"/>
                <a:gd name="T18" fmla="*/ 958 w 966"/>
                <a:gd name="T19" fmla="*/ 71 h 416"/>
                <a:gd name="T20" fmla="*/ 891 w 966"/>
                <a:gd name="T21" fmla="*/ 22 h 416"/>
                <a:gd name="T22" fmla="*/ 890 w 966"/>
                <a:gd name="T23" fmla="*/ 22 h 416"/>
                <a:gd name="T24" fmla="*/ 414 w 966"/>
                <a:gd name="T25" fmla="*/ 64 h 416"/>
                <a:gd name="T26" fmla="*/ 368 w 966"/>
                <a:gd name="T27" fmla="*/ 36 h 416"/>
                <a:gd name="T28" fmla="*/ 352 w 966"/>
                <a:gd name="T29" fmla="*/ 32 h 416"/>
                <a:gd name="T30" fmla="*/ 192 w 966"/>
                <a:gd name="T31" fmla="*/ 32 h 416"/>
                <a:gd name="T32" fmla="*/ 160 w 966"/>
                <a:gd name="T33" fmla="*/ 0 h 416"/>
                <a:gd name="T34" fmla="*/ 160 w 966"/>
                <a:gd name="T35" fmla="*/ 0 h 416"/>
                <a:gd name="T36" fmla="*/ 32 w 966"/>
                <a:gd name="T37" fmla="*/ 0 h 416"/>
                <a:gd name="T38" fmla="*/ 0 w 966"/>
                <a:gd name="T39" fmla="*/ 32 h 416"/>
                <a:gd name="T40" fmla="*/ 0 w 966"/>
                <a:gd name="T41" fmla="*/ 32 h 416"/>
                <a:gd name="T42" fmla="*/ 0 w 966"/>
                <a:gd name="T43" fmla="*/ 288 h 416"/>
                <a:gd name="T44" fmla="*/ 32 w 966"/>
                <a:gd name="T45" fmla="*/ 320 h 416"/>
                <a:gd name="T46" fmla="*/ 343 w 966"/>
                <a:gd name="T47" fmla="*/ 96 h 416"/>
                <a:gd name="T48" fmla="*/ 445 w 966"/>
                <a:gd name="T49" fmla="*/ 157 h 416"/>
                <a:gd name="T50" fmla="*/ 453 w 966"/>
                <a:gd name="T51" fmla="*/ 190 h 416"/>
                <a:gd name="T52" fmla="*/ 453 w 966"/>
                <a:gd name="T53" fmla="*/ 191 h 416"/>
                <a:gd name="T54" fmla="*/ 419 w 966"/>
                <a:gd name="T55" fmla="*/ 198 h 416"/>
                <a:gd name="T56" fmla="*/ 370 w 966"/>
                <a:gd name="T57" fmla="*/ 165 h 416"/>
                <a:gd name="T58" fmla="*/ 334 w 966"/>
                <a:gd name="T59" fmla="*/ 218 h 416"/>
                <a:gd name="T60" fmla="*/ 383 w 966"/>
                <a:gd name="T61" fmla="*/ 251 h 416"/>
                <a:gd name="T62" fmla="*/ 432 w 966"/>
                <a:gd name="T63" fmla="*/ 266 h 416"/>
                <a:gd name="T64" fmla="*/ 450 w 966"/>
                <a:gd name="T65" fmla="*/ 264 h 416"/>
                <a:gd name="T66" fmla="*/ 506 w 966"/>
                <a:gd name="T67" fmla="*/ 226 h 416"/>
                <a:gd name="T68" fmla="*/ 519 w 966"/>
                <a:gd name="T69" fmla="*/ 158 h 416"/>
                <a:gd name="T70" fmla="*/ 499 w 966"/>
                <a:gd name="T71" fmla="*/ 120 h 416"/>
                <a:gd name="T72" fmla="*/ 895 w 966"/>
                <a:gd name="T73" fmla="*/ 86 h 416"/>
                <a:gd name="T74" fmla="*/ 894 w 966"/>
                <a:gd name="T75" fmla="*/ 89 h 416"/>
                <a:gd name="T76" fmla="*/ 476 w 966"/>
                <a:gd name="T77" fmla="*/ 347 h 416"/>
                <a:gd name="T78" fmla="*/ 238 w 966"/>
                <a:gd name="T79" fmla="*/ 227 h 416"/>
                <a:gd name="T80" fmla="*/ 224 w 966"/>
                <a:gd name="T81" fmla="*/ 224 h 416"/>
                <a:gd name="T82" fmla="*/ 192 w 966"/>
                <a:gd name="T83" fmla="*/ 224 h 416"/>
                <a:gd name="T84" fmla="*/ 192 w 966"/>
                <a:gd name="T85" fmla="*/ 96 h 416"/>
                <a:gd name="T86" fmla="*/ 343 w 966"/>
                <a:gd name="T87" fmla="*/ 96 h 416"/>
                <a:gd name="T88" fmla="*/ 64 w 966"/>
                <a:gd name="T89" fmla="*/ 64 h 416"/>
                <a:gd name="T90" fmla="*/ 128 w 966"/>
                <a:gd name="T91" fmla="*/ 64 h 416"/>
                <a:gd name="T92" fmla="*/ 128 w 966"/>
                <a:gd name="T93" fmla="*/ 256 h 416"/>
                <a:gd name="T94" fmla="*/ 64 w 966"/>
                <a:gd name="T95" fmla="*/ 256 h 416"/>
                <a:gd name="T96" fmla="*/ 64 w 966"/>
                <a:gd name="T97" fmla="*/ 64 h 4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966" h="416">
                  <a:moveTo>
                    <a:pt x="32" y="320"/>
                  </a:moveTo>
                  <a:cubicBezTo>
                    <a:pt x="160" y="320"/>
                    <a:pt x="160" y="320"/>
                    <a:pt x="160" y="320"/>
                  </a:cubicBezTo>
                  <a:cubicBezTo>
                    <a:pt x="178" y="320"/>
                    <a:pt x="192" y="305"/>
                    <a:pt x="192" y="288"/>
                  </a:cubicBezTo>
                  <a:cubicBezTo>
                    <a:pt x="192" y="288"/>
                    <a:pt x="192" y="288"/>
                    <a:pt x="192" y="288"/>
                  </a:cubicBezTo>
                  <a:cubicBezTo>
                    <a:pt x="216" y="288"/>
                    <a:pt x="216" y="288"/>
                    <a:pt x="216" y="288"/>
                  </a:cubicBezTo>
                  <a:cubicBezTo>
                    <a:pt x="463" y="412"/>
                    <a:pt x="463" y="412"/>
                    <a:pt x="463" y="412"/>
                  </a:cubicBezTo>
                  <a:cubicBezTo>
                    <a:pt x="468" y="414"/>
                    <a:pt x="473" y="416"/>
                    <a:pt x="478" y="416"/>
                  </a:cubicBezTo>
                  <a:cubicBezTo>
                    <a:pt x="484" y="416"/>
                    <a:pt x="489" y="414"/>
                    <a:pt x="494" y="411"/>
                  </a:cubicBezTo>
                  <a:cubicBezTo>
                    <a:pt x="926" y="144"/>
                    <a:pt x="926" y="144"/>
                    <a:pt x="926" y="144"/>
                  </a:cubicBezTo>
                  <a:cubicBezTo>
                    <a:pt x="953" y="130"/>
                    <a:pt x="966" y="100"/>
                    <a:pt x="958" y="71"/>
                  </a:cubicBezTo>
                  <a:cubicBezTo>
                    <a:pt x="950" y="41"/>
                    <a:pt x="922" y="20"/>
                    <a:pt x="891" y="22"/>
                  </a:cubicBezTo>
                  <a:cubicBezTo>
                    <a:pt x="890" y="22"/>
                    <a:pt x="890" y="22"/>
                    <a:pt x="890" y="22"/>
                  </a:cubicBezTo>
                  <a:cubicBezTo>
                    <a:pt x="414" y="64"/>
                    <a:pt x="414" y="64"/>
                    <a:pt x="414" y="64"/>
                  </a:cubicBezTo>
                  <a:cubicBezTo>
                    <a:pt x="368" y="36"/>
                    <a:pt x="368" y="36"/>
                    <a:pt x="368" y="36"/>
                  </a:cubicBezTo>
                  <a:cubicBezTo>
                    <a:pt x="364" y="33"/>
                    <a:pt x="358" y="32"/>
                    <a:pt x="352" y="32"/>
                  </a:cubicBezTo>
                  <a:cubicBezTo>
                    <a:pt x="192" y="32"/>
                    <a:pt x="192" y="32"/>
                    <a:pt x="192" y="32"/>
                  </a:cubicBezTo>
                  <a:cubicBezTo>
                    <a:pt x="192" y="14"/>
                    <a:pt x="178" y="0"/>
                    <a:pt x="160" y="0"/>
                  </a:cubicBezTo>
                  <a:cubicBezTo>
                    <a:pt x="160" y="0"/>
                    <a:pt x="160" y="0"/>
                    <a:pt x="160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14" y="0"/>
                    <a:pt x="0" y="14"/>
                    <a:pt x="0" y="32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288"/>
                    <a:pt x="0" y="288"/>
                    <a:pt x="0" y="288"/>
                  </a:cubicBezTo>
                  <a:cubicBezTo>
                    <a:pt x="0" y="305"/>
                    <a:pt x="14" y="320"/>
                    <a:pt x="32" y="320"/>
                  </a:cubicBezTo>
                  <a:close/>
                  <a:moveTo>
                    <a:pt x="343" y="96"/>
                  </a:moveTo>
                  <a:cubicBezTo>
                    <a:pt x="445" y="157"/>
                    <a:pt x="445" y="157"/>
                    <a:pt x="445" y="157"/>
                  </a:cubicBezTo>
                  <a:cubicBezTo>
                    <a:pt x="456" y="164"/>
                    <a:pt x="460" y="179"/>
                    <a:pt x="453" y="190"/>
                  </a:cubicBezTo>
                  <a:cubicBezTo>
                    <a:pt x="453" y="190"/>
                    <a:pt x="453" y="191"/>
                    <a:pt x="453" y="191"/>
                  </a:cubicBezTo>
                  <a:cubicBezTo>
                    <a:pt x="445" y="202"/>
                    <a:pt x="430" y="205"/>
                    <a:pt x="419" y="198"/>
                  </a:cubicBezTo>
                  <a:cubicBezTo>
                    <a:pt x="370" y="165"/>
                    <a:pt x="370" y="165"/>
                    <a:pt x="370" y="165"/>
                  </a:cubicBezTo>
                  <a:cubicBezTo>
                    <a:pt x="334" y="218"/>
                    <a:pt x="334" y="218"/>
                    <a:pt x="334" y="218"/>
                  </a:cubicBezTo>
                  <a:cubicBezTo>
                    <a:pt x="383" y="251"/>
                    <a:pt x="383" y="251"/>
                    <a:pt x="383" y="251"/>
                  </a:cubicBezTo>
                  <a:cubicBezTo>
                    <a:pt x="398" y="261"/>
                    <a:pt x="415" y="266"/>
                    <a:pt x="432" y="266"/>
                  </a:cubicBezTo>
                  <a:cubicBezTo>
                    <a:pt x="438" y="266"/>
                    <a:pt x="444" y="265"/>
                    <a:pt x="450" y="264"/>
                  </a:cubicBezTo>
                  <a:cubicBezTo>
                    <a:pt x="473" y="260"/>
                    <a:pt x="493" y="246"/>
                    <a:pt x="506" y="226"/>
                  </a:cubicBezTo>
                  <a:cubicBezTo>
                    <a:pt x="519" y="206"/>
                    <a:pt x="524" y="182"/>
                    <a:pt x="519" y="158"/>
                  </a:cubicBezTo>
                  <a:cubicBezTo>
                    <a:pt x="515" y="144"/>
                    <a:pt x="509" y="131"/>
                    <a:pt x="499" y="120"/>
                  </a:cubicBezTo>
                  <a:cubicBezTo>
                    <a:pt x="895" y="86"/>
                    <a:pt x="895" y="86"/>
                    <a:pt x="895" y="86"/>
                  </a:cubicBezTo>
                  <a:cubicBezTo>
                    <a:pt x="894" y="89"/>
                    <a:pt x="894" y="89"/>
                    <a:pt x="894" y="89"/>
                  </a:cubicBezTo>
                  <a:cubicBezTo>
                    <a:pt x="476" y="347"/>
                    <a:pt x="476" y="347"/>
                    <a:pt x="476" y="347"/>
                  </a:cubicBezTo>
                  <a:cubicBezTo>
                    <a:pt x="238" y="227"/>
                    <a:pt x="238" y="227"/>
                    <a:pt x="238" y="227"/>
                  </a:cubicBezTo>
                  <a:cubicBezTo>
                    <a:pt x="234" y="225"/>
                    <a:pt x="229" y="224"/>
                    <a:pt x="224" y="224"/>
                  </a:cubicBezTo>
                  <a:cubicBezTo>
                    <a:pt x="192" y="224"/>
                    <a:pt x="192" y="224"/>
                    <a:pt x="192" y="224"/>
                  </a:cubicBezTo>
                  <a:cubicBezTo>
                    <a:pt x="192" y="96"/>
                    <a:pt x="192" y="96"/>
                    <a:pt x="192" y="96"/>
                  </a:cubicBezTo>
                  <a:lnTo>
                    <a:pt x="343" y="96"/>
                  </a:lnTo>
                  <a:close/>
                  <a:moveTo>
                    <a:pt x="64" y="64"/>
                  </a:moveTo>
                  <a:cubicBezTo>
                    <a:pt x="128" y="64"/>
                    <a:pt x="128" y="64"/>
                    <a:pt x="128" y="64"/>
                  </a:cubicBezTo>
                  <a:cubicBezTo>
                    <a:pt x="128" y="256"/>
                    <a:pt x="128" y="256"/>
                    <a:pt x="128" y="256"/>
                  </a:cubicBezTo>
                  <a:cubicBezTo>
                    <a:pt x="64" y="256"/>
                    <a:pt x="64" y="256"/>
                    <a:pt x="64" y="256"/>
                  </a:cubicBezTo>
                  <a:lnTo>
                    <a:pt x="64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9" name="Freeform 204">
              <a:extLst>
                <a:ext uri="{FF2B5EF4-FFF2-40B4-BE49-F238E27FC236}">
                  <a16:creationId xmlns:a16="http://schemas.microsoft.com/office/drawing/2014/main" id="{1A675D7D-1A06-2BC1-6A46-4EBE10D183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87700" y="4360862"/>
              <a:ext cx="590550" cy="255588"/>
            </a:xfrm>
            <a:custGeom>
              <a:avLst/>
              <a:gdLst>
                <a:gd name="T0" fmla="*/ 774 w 966"/>
                <a:gd name="T1" fmla="*/ 130 h 418"/>
                <a:gd name="T2" fmla="*/ 750 w 966"/>
                <a:gd name="T3" fmla="*/ 130 h 418"/>
                <a:gd name="T4" fmla="*/ 503 w 966"/>
                <a:gd name="T5" fmla="*/ 5 h 418"/>
                <a:gd name="T6" fmla="*/ 472 w 966"/>
                <a:gd name="T7" fmla="*/ 6 h 418"/>
                <a:gd name="T8" fmla="*/ 40 w 966"/>
                <a:gd name="T9" fmla="*/ 273 h 418"/>
                <a:gd name="T10" fmla="*/ 8 w 966"/>
                <a:gd name="T11" fmla="*/ 346 h 418"/>
                <a:gd name="T12" fmla="*/ 75 w 966"/>
                <a:gd name="T13" fmla="*/ 395 h 418"/>
                <a:gd name="T14" fmla="*/ 76 w 966"/>
                <a:gd name="T15" fmla="*/ 395 h 418"/>
                <a:gd name="T16" fmla="*/ 552 w 966"/>
                <a:gd name="T17" fmla="*/ 354 h 418"/>
                <a:gd name="T18" fmla="*/ 598 w 966"/>
                <a:gd name="T19" fmla="*/ 381 h 418"/>
                <a:gd name="T20" fmla="*/ 614 w 966"/>
                <a:gd name="T21" fmla="*/ 386 h 418"/>
                <a:gd name="T22" fmla="*/ 774 w 966"/>
                <a:gd name="T23" fmla="*/ 386 h 418"/>
                <a:gd name="T24" fmla="*/ 806 w 966"/>
                <a:gd name="T25" fmla="*/ 418 h 418"/>
                <a:gd name="T26" fmla="*/ 806 w 966"/>
                <a:gd name="T27" fmla="*/ 418 h 418"/>
                <a:gd name="T28" fmla="*/ 934 w 966"/>
                <a:gd name="T29" fmla="*/ 418 h 418"/>
                <a:gd name="T30" fmla="*/ 966 w 966"/>
                <a:gd name="T31" fmla="*/ 386 h 418"/>
                <a:gd name="T32" fmla="*/ 966 w 966"/>
                <a:gd name="T33" fmla="*/ 386 h 418"/>
                <a:gd name="T34" fmla="*/ 966 w 966"/>
                <a:gd name="T35" fmla="*/ 130 h 418"/>
                <a:gd name="T36" fmla="*/ 934 w 966"/>
                <a:gd name="T37" fmla="*/ 98 h 418"/>
                <a:gd name="T38" fmla="*/ 934 w 966"/>
                <a:gd name="T39" fmla="*/ 98 h 418"/>
                <a:gd name="T40" fmla="*/ 806 w 966"/>
                <a:gd name="T41" fmla="*/ 98 h 418"/>
                <a:gd name="T42" fmla="*/ 774 w 966"/>
                <a:gd name="T43" fmla="*/ 130 h 418"/>
                <a:gd name="T44" fmla="*/ 623 w 966"/>
                <a:gd name="T45" fmla="*/ 322 h 418"/>
                <a:gd name="T46" fmla="*/ 521 w 966"/>
                <a:gd name="T47" fmla="*/ 260 h 418"/>
                <a:gd name="T48" fmla="*/ 513 w 966"/>
                <a:gd name="T49" fmla="*/ 227 h 418"/>
                <a:gd name="T50" fmla="*/ 513 w 966"/>
                <a:gd name="T51" fmla="*/ 226 h 418"/>
                <a:gd name="T52" fmla="*/ 547 w 966"/>
                <a:gd name="T53" fmla="*/ 219 h 418"/>
                <a:gd name="T54" fmla="*/ 596 w 966"/>
                <a:gd name="T55" fmla="*/ 252 h 418"/>
                <a:gd name="T56" fmla="*/ 632 w 966"/>
                <a:gd name="T57" fmla="*/ 199 h 418"/>
                <a:gd name="T58" fmla="*/ 583 w 966"/>
                <a:gd name="T59" fmla="*/ 166 h 418"/>
                <a:gd name="T60" fmla="*/ 460 w 966"/>
                <a:gd name="T61" fmla="*/ 191 h 418"/>
                <a:gd name="T62" fmla="*/ 447 w 966"/>
                <a:gd name="T63" fmla="*/ 259 h 418"/>
                <a:gd name="T64" fmla="*/ 467 w 966"/>
                <a:gd name="T65" fmla="*/ 297 h 418"/>
                <a:gd name="T66" fmla="*/ 71 w 966"/>
                <a:gd name="T67" fmla="*/ 331 h 418"/>
                <a:gd name="T68" fmla="*/ 72 w 966"/>
                <a:gd name="T69" fmla="*/ 328 h 418"/>
                <a:gd name="T70" fmla="*/ 490 w 966"/>
                <a:gd name="T71" fmla="*/ 70 h 418"/>
                <a:gd name="T72" fmla="*/ 728 w 966"/>
                <a:gd name="T73" fmla="*/ 190 h 418"/>
                <a:gd name="T74" fmla="*/ 742 w 966"/>
                <a:gd name="T75" fmla="*/ 194 h 418"/>
                <a:gd name="T76" fmla="*/ 774 w 966"/>
                <a:gd name="T77" fmla="*/ 194 h 418"/>
                <a:gd name="T78" fmla="*/ 774 w 966"/>
                <a:gd name="T79" fmla="*/ 322 h 418"/>
                <a:gd name="T80" fmla="*/ 623 w 966"/>
                <a:gd name="T81" fmla="*/ 322 h 418"/>
                <a:gd name="T82" fmla="*/ 838 w 966"/>
                <a:gd name="T83" fmla="*/ 162 h 418"/>
                <a:gd name="T84" fmla="*/ 902 w 966"/>
                <a:gd name="T85" fmla="*/ 162 h 418"/>
                <a:gd name="T86" fmla="*/ 902 w 966"/>
                <a:gd name="T87" fmla="*/ 354 h 418"/>
                <a:gd name="T88" fmla="*/ 838 w 966"/>
                <a:gd name="T89" fmla="*/ 354 h 418"/>
                <a:gd name="T90" fmla="*/ 838 w 966"/>
                <a:gd name="T91" fmla="*/ 162 h 4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966" h="418">
                  <a:moveTo>
                    <a:pt x="774" y="130"/>
                  </a:moveTo>
                  <a:cubicBezTo>
                    <a:pt x="750" y="130"/>
                    <a:pt x="750" y="130"/>
                    <a:pt x="750" y="130"/>
                  </a:cubicBezTo>
                  <a:cubicBezTo>
                    <a:pt x="503" y="5"/>
                    <a:pt x="503" y="5"/>
                    <a:pt x="503" y="5"/>
                  </a:cubicBezTo>
                  <a:cubicBezTo>
                    <a:pt x="493" y="0"/>
                    <a:pt x="481" y="0"/>
                    <a:pt x="472" y="6"/>
                  </a:cubicBezTo>
                  <a:cubicBezTo>
                    <a:pt x="40" y="273"/>
                    <a:pt x="40" y="273"/>
                    <a:pt x="40" y="273"/>
                  </a:cubicBezTo>
                  <a:cubicBezTo>
                    <a:pt x="13" y="287"/>
                    <a:pt x="0" y="317"/>
                    <a:pt x="8" y="346"/>
                  </a:cubicBezTo>
                  <a:cubicBezTo>
                    <a:pt x="16" y="376"/>
                    <a:pt x="44" y="397"/>
                    <a:pt x="75" y="395"/>
                  </a:cubicBezTo>
                  <a:cubicBezTo>
                    <a:pt x="76" y="395"/>
                    <a:pt x="76" y="395"/>
                    <a:pt x="76" y="395"/>
                  </a:cubicBezTo>
                  <a:cubicBezTo>
                    <a:pt x="552" y="354"/>
                    <a:pt x="552" y="354"/>
                    <a:pt x="552" y="354"/>
                  </a:cubicBezTo>
                  <a:cubicBezTo>
                    <a:pt x="598" y="381"/>
                    <a:pt x="598" y="381"/>
                    <a:pt x="598" y="381"/>
                  </a:cubicBezTo>
                  <a:cubicBezTo>
                    <a:pt x="603" y="384"/>
                    <a:pt x="608" y="386"/>
                    <a:pt x="614" y="386"/>
                  </a:cubicBezTo>
                  <a:cubicBezTo>
                    <a:pt x="774" y="386"/>
                    <a:pt x="774" y="386"/>
                    <a:pt x="774" y="386"/>
                  </a:cubicBezTo>
                  <a:cubicBezTo>
                    <a:pt x="774" y="403"/>
                    <a:pt x="788" y="418"/>
                    <a:pt x="806" y="418"/>
                  </a:cubicBezTo>
                  <a:cubicBezTo>
                    <a:pt x="806" y="418"/>
                    <a:pt x="806" y="418"/>
                    <a:pt x="806" y="418"/>
                  </a:cubicBezTo>
                  <a:cubicBezTo>
                    <a:pt x="934" y="418"/>
                    <a:pt x="934" y="418"/>
                    <a:pt x="934" y="418"/>
                  </a:cubicBezTo>
                  <a:cubicBezTo>
                    <a:pt x="952" y="418"/>
                    <a:pt x="966" y="403"/>
                    <a:pt x="966" y="386"/>
                  </a:cubicBezTo>
                  <a:cubicBezTo>
                    <a:pt x="966" y="386"/>
                    <a:pt x="966" y="386"/>
                    <a:pt x="966" y="386"/>
                  </a:cubicBezTo>
                  <a:cubicBezTo>
                    <a:pt x="966" y="130"/>
                    <a:pt x="966" y="130"/>
                    <a:pt x="966" y="130"/>
                  </a:cubicBezTo>
                  <a:cubicBezTo>
                    <a:pt x="966" y="112"/>
                    <a:pt x="952" y="98"/>
                    <a:pt x="934" y="98"/>
                  </a:cubicBezTo>
                  <a:cubicBezTo>
                    <a:pt x="934" y="98"/>
                    <a:pt x="934" y="98"/>
                    <a:pt x="934" y="98"/>
                  </a:cubicBezTo>
                  <a:cubicBezTo>
                    <a:pt x="806" y="98"/>
                    <a:pt x="806" y="98"/>
                    <a:pt x="806" y="98"/>
                  </a:cubicBezTo>
                  <a:cubicBezTo>
                    <a:pt x="788" y="98"/>
                    <a:pt x="774" y="112"/>
                    <a:pt x="774" y="130"/>
                  </a:cubicBezTo>
                  <a:close/>
                  <a:moveTo>
                    <a:pt x="623" y="322"/>
                  </a:moveTo>
                  <a:cubicBezTo>
                    <a:pt x="521" y="260"/>
                    <a:pt x="521" y="260"/>
                    <a:pt x="521" y="260"/>
                  </a:cubicBezTo>
                  <a:cubicBezTo>
                    <a:pt x="510" y="254"/>
                    <a:pt x="506" y="239"/>
                    <a:pt x="513" y="227"/>
                  </a:cubicBezTo>
                  <a:cubicBezTo>
                    <a:pt x="513" y="227"/>
                    <a:pt x="513" y="226"/>
                    <a:pt x="513" y="226"/>
                  </a:cubicBezTo>
                  <a:cubicBezTo>
                    <a:pt x="521" y="215"/>
                    <a:pt x="536" y="212"/>
                    <a:pt x="547" y="219"/>
                  </a:cubicBezTo>
                  <a:cubicBezTo>
                    <a:pt x="596" y="252"/>
                    <a:pt x="596" y="252"/>
                    <a:pt x="596" y="252"/>
                  </a:cubicBezTo>
                  <a:cubicBezTo>
                    <a:pt x="632" y="199"/>
                    <a:pt x="632" y="199"/>
                    <a:pt x="632" y="199"/>
                  </a:cubicBezTo>
                  <a:cubicBezTo>
                    <a:pt x="583" y="166"/>
                    <a:pt x="583" y="166"/>
                    <a:pt x="583" y="166"/>
                  </a:cubicBezTo>
                  <a:cubicBezTo>
                    <a:pt x="542" y="139"/>
                    <a:pt x="487" y="150"/>
                    <a:pt x="460" y="191"/>
                  </a:cubicBezTo>
                  <a:cubicBezTo>
                    <a:pt x="447" y="211"/>
                    <a:pt x="442" y="236"/>
                    <a:pt x="447" y="259"/>
                  </a:cubicBezTo>
                  <a:cubicBezTo>
                    <a:pt x="451" y="273"/>
                    <a:pt x="457" y="286"/>
                    <a:pt x="467" y="297"/>
                  </a:cubicBezTo>
                  <a:cubicBezTo>
                    <a:pt x="71" y="331"/>
                    <a:pt x="71" y="331"/>
                    <a:pt x="71" y="331"/>
                  </a:cubicBezTo>
                  <a:cubicBezTo>
                    <a:pt x="72" y="328"/>
                    <a:pt x="72" y="328"/>
                    <a:pt x="72" y="328"/>
                  </a:cubicBezTo>
                  <a:cubicBezTo>
                    <a:pt x="490" y="70"/>
                    <a:pt x="490" y="70"/>
                    <a:pt x="490" y="70"/>
                  </a:cubicBezTo>
                  <a:cubicBezTo>
                    <a:pt x="728" y="190"/>
                    <a:pt x="728" y="190"/>
                    <a:pt x="728" y="190"/>
                  </a:cubicBezTo>
                  <a:cubicBezTo>
                    <a:pt x="732" y="192"/>
                    <a:pt x="737" y="194"/>
                    <a:pt x="742" y="194"/>
                  </a:cubicBezTo>
                  <a:cubicBezTo>
                    <a:pt x="774" y="194"/>
                    <a:pt x="774" y="194"/>
                    <a:pt x="774" y="194"/>
                  </a:cubicBezTo>
                  <a:cubicBezTo>
                    <a:pt x="774" y="322"/>
                    <a:pt x="774" y="322"/>
                    <a:pt x="774" y="322"/>
                  </a:cubicBezTo>
                  <a:lnTo>
                    <a:pt x="623" y="322"/>
                  </a:lnTo>
                  <a:close/>
                  <a:moveTo>
                    <a:pt x="838" y="162"/>
                  </a:moveTo>
                  <a:cubicBezTo>
                    <a:pt x="902" y="162"/>
                    <a:pt x="902" y="162"/>
                    <a:pt x="902" y="162"/>
                  </a:cubicBezTo>
                  <a:cubicBezTo>
                    <a:pt x="902" y="354"/>
                    <a:pt x="902" y="354"/>
                    <a:pt x="902" y="354"/>
                  </a:cubicBezTo>
                  <a:cubicBezTo>
                    <a:pt x="838" y="354"/>
                    <a:pt x="838" y="354"/>
                    <a:pt x="838" y="354"/>
                  </a:cubicBezTo>
                  <a:lnTo>
                    <a:pt x="838" y="1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0" name="Rectangle 205">
              <a:extLst>
                <a:ext uri="{FF2B5EF4-FFF2-40B4-BE49-F238E27FC236}">
                  <a16:creationId xmlns:a16="http://schemas.microsoft.com/office/drawing/2014/main" id="{5C4ABFAD-9DBE-E348-F314-CBFAF36FC6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36875" y="4362450"/>
              <a:ext cx="39687" cy="381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1" name="Rectangle 206">
              <a:extLst>
                <a:ext uri="{FF2B5EF4-FFF2-40B4-BE49-F238E27FC236}">
                  <a16:creationId xmlns:a16="http://schemas.microsoft.com/office/drawing/2014/main" id="{18A0BFFF-F332-2AF5-6CBA-55BF62270B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36875" y="4440238"/>
              <a:ext cx="39687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2" name="Rectangle 207">
              <a:extLst>
                <a:ext uri="{FF2B5EF4-FFF2-40B4-BE49-F238E27FC236}">
                  <a16:creationId xmlns:a16="http://schemas.microsoft.com/office/drawing/2014/main" id="{BDB10F63-DC85-12D8-449D-5E96048752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76563" y="4400550"/>
              <a:ext cx="38100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3" name="Rectangle 208">
              <a:extLst>
                <a:ext uri="{FF2B5EF4-FFF2-40B4-BE49-F238E27FC236}">
                  <a16:creationId xmlns:a16="http://schemas.microsoft.com/office/drawing/2014/main" id="{52497C6D-60C9-7A5E-B6DC-6781ED5D88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97188" y="4400550"/>
              <a:ext cx="39687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4" name="Rectangle 209">
              <a:extLst>
                <a:ext uri="{FF2B5EF4-FFF2-40B4-BE49-F238E27FC236}">
                  <a16:creationId xmlns:a16="http://schemas.microsoft.com/office/drawing/2014/main" id="{743639EC-15BD-DC48-9062-A2E218CCD5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92563" y="4362450"/>
              <a:ext cx="39687" cy="381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5" name="Rectangle 210">
              <a:extLst>
                <a:ext uri="{FF2B5EF4-FFF2-40B4-BE49-F238E27FC236}">
                  <a16:creationId xmlns:a16="http://schemas.microsoft.com/office/drawing/2014/main" id="{F903DC2F-EAE6-2A52-C1DB-D93122EEEC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92563" y="4440238"/>
              <a:ext cx="39687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6" name="Rectangle 211">
              <a:extLst>
                <a:ext uri="{FF2B5EF4-FFF2-40B4-BE49-F238E27FC236}">
                  <a16:creationId xmlns:a16="http://schemas.microsoft.com/office/drawing/2014/main" id="{4FF151CC-AA05-4C51-F891-575A1111A5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32250" y="4400550"/>
              <a:ext cx="38100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7" name="Rectangle 212">
              <a:extLst>
                <a:ext uri="{FF2B5EF4-FFF2-40B4-BE49-F238E27FC236}">
                  <a16:creationId xmlns:a16="http://schemas.microsoft.com/office/drawing/2014/main" id="{15222AF2-B132-C37E-A176-619B6A5CF7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54463" y="4400550"/>
              <a:ext cx="38100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8" name="Rectangle 213">
              <a:extLst>
                <a:ext uri="{FF2B5EF4-FFF2-40B4-BE49-F238E27FC236}">
                  <a16:creationId xmlns:a16="http://schemas.microsoft.com/office/drawing/2014/main" id="{3A498887-B788-F608-3527-7F3920E621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92563" y="5418138"/>
              <a:ext cx="39687" cy="381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9" name="Rectangle 214">
              <a:extLst>
                <a:ext uri="{FF2B5EF4-FFF2-40B4-BE49-F238E27FC236}">
                  <a16:creationId xmlns:a16="http://schemas.microsoft.com/office/drawing/2014/main" id="{F9E35B91-43C2-E0BA-4017-3B9AC3E827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92563" y="5495925"/>
              <a:ext cx="39687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0" name="Rectangle 215">
              <a:extLst>
                <a:ext uri="{FF2B5EF4-FFF2-40B4-BE49-F238E27FC236}">
                  <a16:creationId xmlns:a16="http://schemas.microsoft.com/office/drawing/2014/main" id="{517B744C-E0CD-8EBA-6EC3-2E28DD06A3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32250" y="5456238"/>
              <a:ext cx="38100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1" name="Rectangle 216">
              <a:extLst>
                <a:ext uri="{FF2B5EF4-FFF2-40B4-BE49-F238E27FC236}">
                  <a16:creationId xmlns:a16="http://schemas.microsoft.com/office/drawing/2014/main" id="{034EB08D-487A-96CA-B4B0-746BBDA8C6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54463" y="5456238"/>
              <a:ext cx="38100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2" name="Rectangle 217">
              <a:extLst>
                <a:ext uri="{FF2B5EF4-FFF2-40B4-BE49-F238E27FC236}">
                  <a16:creationId xmlns:a16="http://schemas.microsoft.com/office/drawing/2014/main" id="{A93BC7C3-B2C9-2F08-8DE1-1B5BF9A0DB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36875" y="5418138"/>
              <a:ext cx="39687" cy="381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3" name="Rectangle 218">
              <a:extLst>
                <a:ext uri="{FF2B5EF4-FFF2-40B4-BE49-F238E27FC236}">
                  <a16:creationId xmlns:a16="http://schemas.microsoft.com/office/drawing/2014/main" id="{EE2992CA-469E-DEC4-91E5-8FFA38863A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36875" y="5495925"/>
              <a:ext cx="39687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4" name="Rectangle 219">
              <a:extLst>
                <a:ext uri="{FF2B5EF4-FFF2-40B4-BE49-F238E27FC236}">
                  <a16:creationId xmlns:a16="http://schemas.microsoft.com/office/drawing/2014/main" id="{F0DF2CD2-FD5B-E57D-7F7C-176CE5F098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76563" y="5456238"/>
              <a:ext cx="38100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5" name="Rectangle 220">
              <a:extLst>
                <a:ext uri="{FF2B5EF4-FFF2-40B4-BE49-F238E27FC236}">
                  <a16:creationId xmlns:a16="http://schemas.microsoft.com/office/drawing/2014/main" id="{4EE8A9F5-CBCC-BE65-1C6D-B53794938F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97188" y="5456238"/>
              <a:ext cx="39687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6" name="Freeform 221">
              <a:extLst>
                <a:ext uri="{FF2B5EF4-FFF2-40B4-BE49-F238E27FC236}">
                  <a16:creationId xmlns:a16="http://schemas.microsoft.com/office/drawing/2014/main" id="{D478FB7F-3E5A-C39A-F2D5-A1007191419F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3488" y="4632325"/>
              <a:ext cx="204787" cy="642938"/>
            </a:xfrm>
            <a:custGeom>
              <a:avLst/>
              <a:gdLst>
                <a:gd name="T0" fmla="*/ 14 w 335"/>
                <a:gd name="T1" fmla="*/ 43 h 1052"/>
                <a:gd name="T2" fmla="*/ 0 w 335"/>
                <a:gd name="T3" fmla="*/ 1007 h 1052"/>
                <a:gd name="T4" fmla="*/ 46 w 335"/>
                <a:gd name="T5" fmla="*/ 1052 h 1052"/>
                <a:gd name="T6" fmla="*/ 62 w 335"/>
                <a:gd name="T7" fmla="*/ 0 h 1052"/>
                <a:gd name="T8" fmla="*/ 14 w 335"/>
                <a:gd name="T9" fmla="*/ 43 h 10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5" h="1052">
                  <a:moveTo>
                    <a:pt x="14" y="43"/>
                  </a:moveTo>
                  <a:cubicBezTo>
                    <a:pt x="265" y="318"/>
                    <a:pt x="258" y="740"/>
                    <a:pt x="0" y="1007"/>
                  </a:cubicBezTo>
                  <a:cubicBezTo>
                    <a:pt x="46" y="1052"/>
                    <a:pt x="46" y="1052"/>
                    <a:pt x="46" y="1052"/>
                  </a:cubicBezTo>
                  <a:cubicBezTo>
                    <a:pt x="328" y="760"/>
                    <a:pt x="335" y="300"/>
                    <a:pt x="62" y="0"/>
                  </a:cubicBezTo>
                  <a:lnTo>
                    <a:pt x="14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7" name="Freeform 222">
              <a:extLst>
                <a:ext uri="{FF2B5EF4-FFF2-40B4-BE49-F238E27FC236}">
                  <a16:creationId xmlns:a16="http://schemas.microsoft.com/office/drawing/2014/main" id="{B7D74478-3876-7F97-4322-092C5DE1DB8F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1163" y="4621213"/>
              <a:ext cx="204787" cy="654050"/>
            </a:xfrm>
            <a:custGeom>
              <a:avLst/>
              <a:gdLst>
                <a:gd name="T0" fmla="*/ 334 w 334"/>
                <a:gd name="T1" fmla="*/ 45 h 1069"/>
                <a:gd name="T2" fmla="*/ 288 w 334"/>
                <a:gd name="T3" fmla="*/ 0 h 1069"/>
                <a:gd name="T4" fmla="*/ 288 w 334"/>
                <a:gd name="T5" fmla="*/ 1069 h 1069"/>
                <a:gd name="T6" fmla="*/ 334 w 334"/>
                <a:gd name="T7" fmla="*/ 1024 h 1069"/>
                <a:gd name="T8" fmla="*/ 334 w 334"/>
                <a:gd name="T9" fmla="*/ 45 h 10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4" h="1069">
                  <a:moveTo>
                    <a:pt x="334" y="45"/>
                  </a:moveTo>
                  <a:cubicBezTo>
                    <a:pt x="288" y="0"/>
                    <a:pt x="288" y="0"/>
                    <a:pt x="288" y="0"/>
                  </a:cubicBezTo>
                  <a:cubicBezTo>
                    <a:pt x="0" y="298"/>
                    <a:pt x="0" y="771"/>
                    <a:pt x="288" y="1069"/>
                  </a:cubicBezTo>
                  <a:cubicBezTo>
                    <a:pt x="334" y="1024"/>
                    <a:pt x="334" y="1024"/>
                    <a:pt x="334" y="1024"/>
                  </a:cubicBezTo>
                  <a:cubicBezTo>
                    <a:pt x="70" y="751"/>
                    <a:pt x="70" y="318"/>
                    <a:pt x="334" y="4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885520A1-D3FA-5967-19C1-98ACB76DD20D}"/>
              </a:ext>
            </a:extLst>
          </p:cNvPr>
          <p:cNvGrpSpPr/>
          <p:nvPr/>
        </p:nvGrpSpPr>
        <p:grpSpPr>
          <a:xfrm>
            <a:off x="5716383" y="1828228"/>
            <a:ext cx="487064" cy="472181"/>
            <a:chOff x="10982325" y="6362701"/>
            <a:chExt cx="779463" cy="755649"/>
          </a:xfrm>
          <a:solidFill>
            <a:schemeClr val="bg1"/>
          </a:solidFill>
        </p:grpSpPr>
        <p:sp>
          <p:nvSpPr>
            <p:cNvPr id="59" name="Freeform 289">
              <a:extLst>
                <a:ext uri="{FF2B5EF4-FFF2-40B4-BE49-F238E27FC236}">
                  <a16:creationId xmlns:a16="http://schemas.microsoft.com/office/drawing/2014/main" id="{A6408145-D5ED-6594-E848-9439DB5E65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96650" y="6653213"/>
              <a:ext cx="465138" cy="465137"/>
            </a:xfrm>
            <a:custGeom>
              <a:avLst/>
              <a:gdLst>
                <a:gd name="T0" fmla="*/ 579 w 1230"/>
                <a:gd name="T1" fmla="*/ 2 h 1229"/>
                <a:gd name="T2" fmla="*/ 3 w 1230"/>
                <a:gd name="T3" fmla="*/ 578 h 1229"/>
                <a:gd name="T4" fmla="*/ 40 w 1230"/>
                <a:gd name="T5" fmla="*/ 781 h 1229"/>
                <a:gd name="T6" fmla="*/ 100 w 1230"/>
                <a:gd name="T7" fmla="*/ 758 h 1229"/>
                <a:gd name="T8" fmla="*/ 398 w 1230"/>
                <a:gd name="T9" fmla="*/ 99 h 1229"/>
                <a:gd name="T10" fmla="*/ 1057 w 1230"/>
                <a:gd name="T11" fmla="*/ 398 h 1229"/>
                <a:gd name="T12" fmla="*/ 759 w 1230"/>
                <a:gd name="T13" fmla="*/ 1057 h 1229"/>
                <a:gd name="T14" fmla="*/ 398 w 1230"/>
                <a:gd name="T15" fmla="*/ 1057 h 1229"/>
                <a:gd name="T16" fmla="*/ 376 w 1230"/>
                <a:gd name="T17" fmla="*/ 1117 h 1229"/>
                <a:gd name="T18" fmla="*/ 1118 w 1230"/>
                <a:gd name="T19" fmla="*/ 780 h 1229"/>
                <a:gd name="T20" fmla="*/ 782 w 1230"/>
                <a:gd name="T21" fmla="*/ 38 h 1229"/>
                <a:gd name="T22" fmla="*/ 579 w 1230"/>
                <a:gd name="T23" fmla="*/ 2 h 1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30" h="1229">
                  <a:moveTo>
                    <a:pt x="579" y="2"/>
                  </a:moveTo>
                  <a:cubicBezTo>
                    <a:pt x="261" y="2"/>
                    <a:pt x="3" y="260"/>
                    <a:pt x="3" y="578"/>
                  </a:cubicBezTo>
                  <a:cubicBezTo>
                    <a:pt x="3" y="647"/>
                    <a:pt x="16" y="716"/>
                    <a:pt x="40" y="781"/>
                  </a:cubicBezTo>
                  <a:cubicBezTo>
                    <a:pt x="100" y="758"/>
                    <a:pt x="100" y="758"/>
                    <a:pt x="100" y="758"/>
                  </a:cubicBezTo>
                  <a:cubicBezTo>
                    <a:pt x="0" y="494"/>
                    <a:pt x="134" y="199"/>
                    <a:pt x="398" y="99"/>
                  </a:cubicBezTo>
                  <a:cubicBezTo>
                    <a:pt x="663" y="0"/>
                    <a:pt x="958" y="133"/>
                    <a:pt x="1057" y="398"/>
                  </a:cubicBezTo>
                  <a:cubicBezTo>
                    <a:pt x="1157" y="662"/>
                    <a:pt x="1023" y="957"/>
                    <a:pt x="759" y="1057"/>
                  </a:cubicBezTo>
                  <a:cubicBezTo>
                    <a:pt x="643" y="1101"/>
                    <a:pt x="515" y="1101"/>
                    <a:pt x="398" y="1057"/>
                  </a:cubicBezTo>
                  <a:cubicBezTo>
                    <a:pt x="376" y="1117"/>
                    <a:pt x="376" y="1117"/>
                    <a:pt x="376" y="1117"/>
                  </a:cubicBezTo>
                  <a:cubicBezTo>
                    <a:pt x="674" y="1229"/>
                    <a:pt x="1006" y="1078"/>
                    <a:pt x="1118" y="780"/>
                  </a:cubicBezTo>
                  <a:cubicBezTo>
                    <a:pt x="1230" y="483"/>
                    <a:pt x="1079" y="151"/>
                    <a:pt x="782" y="38"/>
                  </a:cubicBezTo>
                  <a:cubicBezTo>
                    <a:pt x="717" y="14"/>
                    <a:pt x="648" y="2"/>
                    <a:pt x="579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0" name="Freeform 290">
              <a:extLst>
                <a:ext uri="{FF2B5EF4-FFF2-40B4-BE49-F238E27FC236}">
                  <a16:creationId xmlns:a16="http://schemas.microsoft.com/office/drawing/2014/main" id="{052A15BC-1166-24DB-9177-6350749BB65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01425" y="6748463"/>
              <a:ext cx="238125" cy="247650"/>
            </a:xfrm>
            <a:custGeom>
              <a:avLst/>
              <a:gdLst>
                <a:gd name="T0" fmla="*/ 301 w 630"/>
                <a:gd name="T1" fmla="*/ 553 h 657"/>
                <a:gd name="T2" fmla="*/ 189 w 630"/>
                <a:gd name="T3" fmla="*/ 523 h 657"/>
                <a:gd name="T4" fmla="*/ 157 w 630"/>
                <a:gd name="T5" fmla="*/ 578 h 657"/>
                <a:gd name="T6" fmla="*/ 550 w 630"/>
                <a:gd name="T7" fmla="*/ 472 h 657"/>
                <a:gd name="T8" fmla="*/ 445 w 630"/>
                <a:gd name="T9" fmla="*/ 79 h 657"/>
                <a:gd name="T10" fmla="*/ 52 w 630"/>
                <a:gd name="T11" fmla="*/ 185 h 657"/>
                <a:gd name="T12" fmla="*/ 52 w 630"/>
                <a:gd name="T13" fmla="*/ 472 h 657"/>
                <a:gd name="T14" fmla="*/ 107 w 630"/>
                <a:gd name="T15" fmla="*/ 440 h 657"/>
                <a:gd name="T16" fmla="*/ 189 w 630"/>
                <a:gd name="T17" fmla="*/ 134 h 657"/>
                <a:gd name="T18" fmla="*/ 495 w 630"/>
                <a:gd name="T19" fmla="*/ 217 h 657"/>
                <a:gd name="T20" fmla="*/ 413 w 630"/>
                <a:gd name="T21" fmla="*/ 523 h 657"/>
                <a:gd name="T22" fmla="*/ 301 w 630"/>
                <a:gd name="T23" fmla="*/ 553 h 6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30" h="657">
                  <a:moveTo>
                    <a:pt x="301" y="553"/>
                  </a:moveTo>
                  <a:cubicBezTo>
                    <a:pt x="262" y="553"/>
                    <a:pt x="223" y="542"/>
                    <a:pt x="189" y="523"/>
                  </a:cubicBezTo>
                  <a:cubicBezTo>
                    <a:pt x="157" y="578"/>
                    <a:pt x="157" y="578"/>
                    <a:pt x="157" y="578"/>
                  </a:cubicBezTo>
                  <a:cubicBezTo>
                    <a:pt x="295" y="657"/>
                    <a:pt x="471" y="610"/>
                    <a:pt x="550" y="472"/>
                  </a:cubicBezTo>
                  <a:cubicBezTo>
                    <a:pt x="630" y="335"/>
                    <a:pt x="583" y="159"/>
                    <a:pt x="445" y="79"/>
                  </a:cubicBezTo>
                  <a:cubicBezTo>
                    <a:pt x="307" y="0"/>
                    <a:pt x="131" y="47"/>
                    <a:pt x="52" y="185"/>
                  </a:cubicBezTo>
                  <a:cubicBezTo>
                    <a:pt x="0" y="274"/>
                    <a:pt x="0" y="383"/>
                    <a:pt x="52" y="472"/>
                  </a:cubicBezTo>
                  <a:cubicBezTo>
                    <a:pt x="107" y="440"/>
                    <a:pt x="107" y="440"/>
                    <a:pt x="107" y="440"/>
                  </a:cubicBezTo>
                  <a:cubicBezTo>
                    <a:pt x="45" y="333"/>
                    <a:pt x="82" y="196"/>
                    <a:pt x="189" y="134"/>
                  </a:cubicBezTo>
                  <a:cubicBezTo>
                    <a:pt x="296" y="73"/>
                    <a:pt x="433" y="110"/>
                    <a:pt x="495" y="217"/>
                  </a:cubicBezTo>
                  <a:cubicBezTo>
                    <a:pt x="557" y="324"/>
                    <a:pt x="520" y="461"/>
                    <a:pt x="413" y="523"/>
                  </a:cubicBezTo>
                  <a:cubicBezTo>
                    <a:pt x="379" y="542"/>
                    <a:pt x="340" y="553"/>
                    <a:pt x="301" y="55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1" name="Freeform 291">
              <a:extLst>
                <a:ext uri="{FF2B5EF4-FFF2-40B4-BE49-F238E27FC236}">
                  <a16:creationId xmlns:a16="http://schemas.microsoft.com/office/drawing/2014/main" id="{5A872B43-2A13-6179-DC6D-D854839074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42688" y="6680200"/>
              <a:ext cx="365125" cy="384175"/>
            </a:xfrm>
            <a:custGeom>
              <a:avLst/>
              <a:gdLst>
                <a:gd name="T0" fmla="*/ 287 w 967"/>
                <a:gd name="T1" fmla="*/ 921 h 1016"/>
                <a:gd name="T2" fmla="*/ 872 w 967"/>
                <a:gd name="T3" fmla="*/ 680 h 1016"/>
                <a:gd name="T4" fmla="*/ 630 w 967"/>
                <a:gd name="T5" fmla="*/ 95 h 1016"/>
                <a:gd name="T6" fmla="*/ 45 w 967"/>
                <a:gd name="T7" fmla="*/ 336 h 1016"/>
                <a:gd name="T8" fmla="*/ 46 w 967"/>
                <a:gd name="T9" fmla="*/ 680 h 1016"/>
                <a:gd name="T10" fmla="*/ 105 w 967"/>
                <a:gd name="T11" fmla="*/ 656 h 1016"/>
                <a:gd name="T12" fmla="*/ 311 w 967"/>
                <a:gd name="T13" fmla="*/ 154 h 1016"/>
                <a:gd name="T14" fmla="*/ 813 w 967"/>
                <a:gd name="T15" fmla="*/ 361 h 1016"/>
                <a:gd name="T16" fmla="*/ 606 w 967"/>
                <a:gd name="T17" fmla="*/ 862 h 1016"/>
                <a:gd name="T18" fmla="*/ 311 w 967"/>
                <a:gd name="T19" fmla="*/ 862 h 1016"/>
                <a:gd name="T20" fmla="*/ 287 w 967"/>
                <a:gd name="T21" fmla="*/ 921 h 10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67" h="1016">
                  <a:moveTo>
                    <a:pt x="287" y="921"/>
                  </a:moveTo>
                  <a:cubicBezTo>
                    <a:pt x="515" y="1016"/>
                    <a:pt x="777" y="908"/>
                    <a:pt x="872" y="680"/>
                  </a:cubicBezTo>
                  <a:cubicBezTo>
                    <a:pt x="967" y="451"/>
                    <a:pt x="859" y="190"/>
                    <a:pt x="630" y="95"/>
                  </a:cubicBezTo>
                  <a:cubicBezTo>
                    <a:pt x="402" y="0"/>
                    <a:pt x="140" y="108"/>
                    <a:pt x="45" y="336"/>
                  </a:cubicBezTo>
                  <a:cubicBezTo>
                    <a:pt x="0" y="446"/>
                    <a:pt x="0" y="570"/>
                    <a:pt x="46" y="680"/>
                  </a:cubicBezTo>
                  <a:cubicBezTo>
                    <a:pt x="105" y="656"/>
                    <a:pt x="105" y="656"/>
                    <a:pt x="105" y="656"/>
                  </a:cubicBezTo>
                  <a:cubicBezTo>
                    <a:pt x="23" y="460"/>
                    <a:pt x="116" y="236"/>
                    <a:pt x="311" y="154"/>
                  </a:cubicBezTo>
                  <a:cubicBezTo>
                    <a:pt x="507" y="73"/>
                    <a:pt x="731" y="165"/>
                    <a:pt x="813" y="361"/>
                  </a:cubicBezTo>
                  <a:cubicBezTo>
                    <a:pt x="894" y="556"/>
                    <a:pt x="802" y="781"/>
                    <a:pt x="606" y="862"/>
                  </a:cubicBezTo>
                  <a:cubicBezTo>
                    <a:pt x="512" y="902"/>
                    <a:pt x="406" y="902"/>
                    <a:pt x="311" y="862"/>
                  </a:cubicBezTo>
                  <a:lnTo>
                    <a:pt x="287" y="9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2" name="Freeform 292">
              <a:extLst>
                <a:ext uri="{FF2B5EF4-FFF2-40B4-BE49-F238E27FC236}">
                  <a16:creationId xmlns:a16="http://schemas.microsoft.com/office/drawing/2014/main" id="{37D33F82-046D-14F1-8334-DB63E11ABF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982325" y="6362701"/>
              <a:ext cx="582613" cy="752474"/>
            </a:xfrm>
            <a:custGeom>
              <a:avLst/>
              <a:gdLst>
                <a:gd name="T0" fmla="*/ 66 w 1538"/>
                <a:gd name="T1" fmla="*/ 1891 h 1987"/>
                <a:gd name="T2" fmla="*/ 880 w 1538"/>
                <a:gd name="T3" fmla="*/ 1905 h 1987"/>
                <a:gd name="T4" fmla="*/ 949 w 1538"/>
                <a:gd name="T5" fmla="*/ 1981 h 1987"/>
                <a:gd name="T6" fmla="*/ 1157 w 1538"/>
                <a:gd name="T7" fmla="*/ 1645 h 1987"/>
                <a:gd name="T8" fmla="*/ 1538 w 1538"/>
                <a:gd name="T9" fmla="*/ 1347 h 1987"/>
                <a:gd name="T10" fmla="*/ 1300 w 1538"/>
                <a:gd name="T11" fmla="*/ 1411 h 1987"/>
                <a:gd name="T12" fmla="*/ 936 w 1538"/>
                <a:gd name="T13" fmla="*/ 1584 h 1987"/>
                <a:gd name="T14" fmla="*/ 792 w 1538"/>
                <a:gd name="T15" fmla="*/ 1857 h 1987"/>
                <a:gd name="T16" fmla="*/ 162 w 1538"/>
                <a:gd name="T17" fmla="*/ 1923 h 1987"/>
                <a:gd name="T18" fmla="*/ 610 w 1538"/>
                <a:gd name="T19" fmla="*/ 1859 h 1987"/>
                <a:gd name="T20" fmla="*/ 162 w 1538"/>
                <a:gd name="T21" fmla="*/ 1667 h 1987"/>
                <a:gd name="T22" fmla="*/ 386 w 1538"/>
                <a:gd name="T23" fmla="*/ 1603 h 1987"/>
                <a:gd name="T24" fmla="*/ 642 w 1538"/>
                <a:gd name="T25" fmla="*/ 1315 h 1987"/>
                <a:gd name="T26" fmla="*/ 986 w 1538"/>
                <a:gd name="T27" fmla="*/ 354 h 1987"/>
                <a:gd name="T28" fmla="*/ 354 w 1538"/>
                <a:gd name="T29" fmla="*/ 986 h 1987"/>
                <a:gd name="T30" fmla="*/ 450 w 1538"/>
                <a:gd name="T31" fmla="*/ 1347 h 1987"/>
                <a:gd name="T32" fmla="*/ 162 w 1538"/>
                <a:gd name="T33" fmla="*/ 1539 h 1987"/>
                <a:gd name="T34" fmla="*/ 610 w 1538"/>
                <a:gd name="T35" fmla="*/ 1731 h 1987"/>
                <a:gd name="T36" fmla="*/ 1119 w 1538"/>
                <a:gd name="T37" fmla="*/ 1781 h 1987"/>
                <a:gd name="T38" fmla="*/ 1102 w 1538"/>
                <a:gd name="T39" fmla="*/ 1700 h 1987"/>
                <a:gd name="T40" fmla="*/ 1410 w 1538"/>
                <a:gd name="T41" fmla="*/ 1283 h 1987"/>
                <a:gd name="T42" fmla="*/ 1394 w 1538"/>
                <a:gd name="T43" fmla="*/ 1408 h 1987"/>
                <a:gd name="T44" fmla="*/ 1349 w 1538"/>
                <a:gd name="T45" fmla="*/ 1363 h 1987"/>
                <a:gd name="T46" fmla="*/ 1057 w 1538"/>
                <a:gd name="T47" fmla="*/ 1654 h 1987"/>
                <a:gd name="T48" fmla="*/ 976 w 1538"/>
                <a:gd name="T49" fmla="*/ 1638 h 1987"/>
                <a:gd name="T50" fmla="*/ 674 w 1538"/>
                <a:gd name="T51" fmla="*/ 1155 h 1987"/>
                <a:gd name="T52" fmla="*/ 130 w 1538"/>
                <a:gd name="T53" fmla="*/ 547 h 1987"/>
                <a:gd name="T54" fmla="*/ 613 w 1538"/>
                <a:gd name="T55" fmla="*/ 957 h 1987"/>
                <a:gd name="T56" fmla="*/ 834 w 1538"/>
                <a:gd name="T57" fmla="*/ 611 h 1987"/>
                <a:gd name="T58" fmla="*/ 573 w 1538"/>
                <a:gd name="T59" fmla="*/ 675 h 1987"/>
                <a:gd name="T60" fmla="*/ 386 w 1538"/>
                <a:gd name="T61" fmla="*/ 483 h 1987"/>
                <a:gd name="T62" fmla="*/ 461 w 1538"/>
                <a:gd name="T63" fmla="*/ 739 h 1987"/>
                <a:gd name="T64" fmla="*/ 544 w 1538"/>
                <a:gd name="T65" fmla="*/ 963 h 1987"/>
                <a:gd name="T66" fmla="*/ 549 w 1538"/>
                <a:gd name="T67" fmla="*/ 963 h 1987"/>
                <a:gd name="T68" fmla="*/ 637 w 1538"/>
                <a:gd name="T69" fmla="*/ 675 h 1987"/>
                <a:gd name="T70" fmla="*/ 770 w 1538"/>
                <a:gd name="T71" fmla="*/ 611 h 1987"/>
                <a:gd name="T72" fmla="*/ 455 w 1538"/>
                <a:gd name="T73" fmla="*/ 675 h 1987"/>
                <a:gd name="T74" fmla="*/ 386 w 1538"/>
                <a:gd name="T75" fmla="*/ 547 h 1987"/>
                <a:gd name="T76" fmla="*/ 455 w 1538"/>
                <a:gd name="T77" fmla="*/ 675 h 1987"/>
                <a:gd name="T78" fmla="*/ 674 w 1538"/>
                <a:gd name="T79" fmla="*/ 1059 h 1987"/>
                <a:gd name="T80" fmla="*/ 546 w 1538"/>
                <a:gd name="T81" fmla="*/ 1027 h 1987"/>
                <a:gd name="T82" fmla="*/ 642 w 1538"/>
                <a:gd name="T83" fmla="*/ 1251 h 1987"/>
                <a:gd name="T84" fmla="*/ 578 w 1538"/>
                <a:gd name="T85" fmla="*/ 1315 h 1987"/>
                <a:gd name="T86" fmla="*/ 514 w 1538"/>
                <a:gd name="T87" fmla="*/ 1347 h 19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538" h="1987">
                  <a:moveTo>
                    <a:pt x="610" y="1795"/>
                  </a:moveTo>
                  <a:cubicBezTo>
                    <a:pt x="162" y="1795"/>
                    <a:pt x="162" y="1795"/>
                    <a:pt x="162" y="1795"/>
                  </a:cubicBezTo>
                  <a:cubicBezTo>
                    <a:pt x="109" y="1795"/>
                    <a:pt x="66" y="1838"/>
                    <a:pt x="66" y="1891"/>
                  </a:cubicBezTo>
                  <a:cubicBezTo>
                    <a:pt x="66" y="1944"/>
                    <a:pt x="109" y="1987"/>
                    <a:pt x="162" y="1987"/>
                  </a:cubicBezTo>
                  <a:cubicBezTo>
                    <a:pt x="552" y="1987"/>
                    <a:pt x="552" y="1987"/>
                    <a:pt x="552" y="1987"/>
                  </a:cubicBezTo>
                  <a:cubicBezTo>
                    <a:pt x="666" y="1986"/>
                    <a:pt x="779" y="1959"/>
                    <a:pt x="880" y="1905"/>
                  </a:cubicBezTo>
                  <a:cubicBezTo>
                    <a:pt x="900" y="1965"/>
                    <a:pt x="900" y="1965"/>
                    <a:pt x="900" y="1965"/>
                  </a:cubicBezTo>
                  <a:cubicBezTo>
                    <a:pt x="904" y="1978"/>
                    <a:pt x="916" y="1987"/>
                    <a:pt x="930" y="1987"/>
                  </a:cubicBezTo>
                  <a:cubicBezTo>
                    <a:pt x="937" y="1987"/>
                    <a:pt x="943" y="1984"/>
                    <a:pt x="949" y="1981"/>
                  </a:cubicBezTo>
                  <a:cubicBezTo>
                    <a:pt x="1173" y="1821"/>
                    <a:pt x="1173" y="1821"/>
                    <a:pt x="1173" y="1821"/>
                  </a:cubicBezTo>
                  <a:cubicBezTo>
                    <a:pt x="1183" y="1813"/>
                    <a:pt x="1188" y="1801"/>
                    <a:pt x="1186" y="1788"/>
                  </a:cubicBezTo>
                  <a:cubicBezTo>
                    <a:pt x="1157" y="1645"/>
                    <a:pt x="1157" y="1645"/>
                    <a:pt x="1157" y="1645"/>
                  </a:cubicBezTo>
                  <a:cubicBezTo>
                    <a:pt x="1346" y="1456"/>
                    <a:pt x="1346" y="1456"/>
                    <a:pt x="1346" y="1456"/>
                  </a:cubicBezTo>
                  <a:cubicBezTo>
                    <a:pt x="1365" y="1468"/>
                    <a:pt x="1387" y="1474"/>
                    <a:pt x="1410" y="1475"/>
                  </a:cubicBezTo>
                  <a:cubicBezTo>
                    <a:pt x="1481" y="1475"/>
                    <a:pt x="1538" y="1417"/>
                    <a:pt x="1538" y="1347"/>
                  </a:cubicBezTo>
                  <a:cubicBezTo>
                    <a:pt x="1538" y="1276"/>
                    <a:pt x="1481" y="1219"/>
                    <a:pt x="1410" y="1219"/>
                  </a:cubicBezTo>
                  <a:cubicBezTo>
                    <a:pt x="1339" y="1219"/>
                    <a:pt x="1282" y="1276"/>
                    <a:pt x="1282" y="1347"/>
                  </a:cubicBezTo>
                  <a:cubicBezTo>
                    <a:pt x="1282" y="1369"/>
                    <a:pt x="1289" y="1392"/>
                    <a:pt x="1300" y="1411"/>
                  </a:cubicBezTo>
                  <a:cubicBezTo>
                    <a:pt x="1111" y="1600"/>
                    <a:pt x="1111" y="1600"/>
                    <a:pt x="1111" y="1600"/>
                  </a:cubicBezTo>
                  <a:cubicBezTo>
                    <a:pt x="969" y="1571"/>
                    <a:pt x="969" y="1571"/>
                    <a:pt x="969" y="1571"/>
                  </a:cubicBezTo>
                  <a:cubicBezTo>
                    <a:pt x="956" y="1569"/>
                    <a:pt x="944" y="1574"/>
                    <a:pt x="936" y="1584"/>
                  </a:cubicBezTo>
                  <a:cubicBezTo>
                    <a:pt x="776" y="1808"/>
                    <a:pt x="776" y="1808"/>
                    <a:pt x="776" y="1808"/>
                  </a:cubicBezTo>
                  <a:cubicBezTo>
                    <a:pt x="766" y="1822"/>
                    <a:pt x="769" y="1842"/>
                    <a:pt x="784" y="1853"/>
                  </a:cubicBezTo>
                  <a:cubicBezTo>
                    <a:pt x="786" y="1855"/>
                    <a:pt x="789" y="1856"/>
                    <a:pt x="792" y="1857"/>
                  </a:cubicBezTo>
                  <a:cubicBezTo>
                    <a:pt x="817" y="1865"/>
                    <a:pt x="817" y="1865"/>
                    <a:pt x="817" y="1865"/>
                  </a:cubicBezTo>
                  <a:cubicBezTo>
                    <a:pt x="733" y="1903"/>
                    <a:pt x="643" y="1922"/>
                    <a:pt x="552" y="1923"/>
                  </a:cubicBezTo>
                  <a:cubicBezTo>
                    <a:pt x="162" y="1923"/>
                    <a:pt x="162" y="1923"/>
                    <a:pt x="162" y="1923"/>
                  </a:cubicBezTo>
                  <a:cubicBezTo>
                    <a:pt x="144" y="1923"/>
                    <a:pt x="130" y="1908"/>
                    <a:pt x="130" y="1891"/>
                  </a:cubicBezTo>
                  <a:cubicBezTo>
                    <a:pt x="130" y="1873"/>
                    <a:pt x="144" y="1859"/>
                    <a:pt x="162" y="1859"/>
                  </a:cubicBezTo>
                  <a:cubicBezTo>
                    <a:pt x="610" y="1859"/>
                    <a:pt x="610" y="1859"/>
                    <a:pt x="610" y="1859"/>
                  </a:cubicBezTo>
                  <a:cubicBezTo>
                    <a:pt x="663" y="1859"/>
                    <a:pt x="706" y="1816"/>
                    <a:pt x="706" y="1763"/>
                  </a:cubicBezTo>
                  <a:cubicBezTo>
                    <a:pt x="706" y="1710"/>
                    <a:pt x="663" y="1667"/>
                    <a:pt x="610" y="1667"/>
                  </a:cubicBezTo>
                  <a:cubicBezTo>
                    <a:pt x="162" y="1667"/>
                    <a:pt x="162" y="1667"/>
                    <a:pt x="162" y="1667"/>
                  </a:cubicBezTo>
                  <a:cubicBezTo>
                    <a:pt x="144" y="1667"/>
                    <a:pt x="130" y="1652"/>
                    <a:pt x="130" y="1635"/>
                  </a:cubicBezTo>
                  <a:cubicBezTo>
                    <a:pt x="130" y="1617"/>
                    <a:pt x="144" y="1603"/>
                    <a:pt x="162" y="1603"/>
                  </a:cubicBezTo>
                  <a:cubicBezTo>
                    <a:pt x="386" y="1603"/>
                    <a:pt x="386" y="1603"/>
                    <a:pt x="386" y="1603"/>
                  </a:cubicBezTo>
                  <a:cubicBezTo>
                    <a:pt x="482" y="1602"/>
                    <a:pt x="563" y="1532"/>
                    <a:pt x="576" y="1437"/>
                  </a:cubicBezTo>
                  <a:cubicBezTo>
                    <a:pt x="615" y="1425"/>
                    <a:pt x="642" y="1388"/>
                    <a:pt x="642" y="1347"/>
                  </a:cubicBezTo>
                  <a:cubicBezTo>
                    <a:pt x="642" y="1315"/>
                    <a:pt x="642" y="1315"/>
                    <a:pt x="642" y="1315"/>
                  </a:cubicBezTo>
                  <a:cubicBezTo>
                    <a:pt x="695" y="1315"/>
                    <a:pt x="738" y="1272"/>
                    <a:pt x="738" y="1219"/>
                  </a:cubicBezTo>
                  <a:cubicBezTo>
                    <a:pt x="738" y="986"/>
                    <a:pt x="738" y="986"/>
                    <a:pt x="738" y="986"/>
                  </a:cubicBezTo>
                  <a:cubicBezTo>
                    <a:pt x="981" y="880"/>
                    <a:pt x="1092" y="597"/>
                    <a:pt x="986" y="354"/>
                  </a:cubicBezTo>
                  <a:cubicBezTo>
                    <a:pt x="880" y="111"/>
                    <a:pt x="597" y="0"/>
                    <a:pt x="354" y="106"/>
                  </a:cubicBezTo>
                  <a:cubicBezTo>
                    <a:pt x="111" y="212"/>
                    <a:pt x="0" y="495"/>
                    <a:pt x="106" y="738"/>
                  </a:cubicBezTo>
                  <a:cubicBezTo>
                    <a:pt x="155" y="849"/>
                    <a:pt x="243" y="938"/>
                    <a:pt x="354" y="986"/>
                  </a:cubicBezTo>
                  <a:cubicBezTo>
                    <a:pt x="354" y="1219"/>
                    <a:pt x="354" y="1219"/>
                    <a:pt x="354" y="1219"/>
                  </a:cubicBezTo>
                  <a:cubicBezTo>
                    <a:pt x="354" y="1272"/>
                    <a:pt x="397" y="1315"/>
                    <a:pt x="450" y="1315"/>
                  </a:cubicBezTo>
                  <a:cubicBezTo>
                    <a:pt x="450" y="1347"/>
                    <a:pt x="450" y="1347"/>
                    <a:pt x="450" y="1347"/>
                  </a:cubicBezTo>
                  <a:cubicBezTo>
                    <a:pt x="450" y="1386"/>
                    <a:pt x="475" y="1422"/>
                    <a:pt x="512" y="1436"/>
                  </a:cubicBezTo>
                  <a:cubicBezTo>
                    <a:pt x="499" y="1496"/>
                    <a:pt x="447" y="1538"/>
                    <a:pt x="386" y="1539"/>
                  </a:cubicBezTo>
                  <a:cubicBezTo>
                    <a:pt x="162" y="1539"/>
                    <a:pt x="162" y="1539"/>
                    <a:pt x="162" y="1539"/>
                  </a:cubicBezTo>
                  <a:cubicBezTo>
                    <a:pt x="109" y="1539"/>
                    <a:pt x="66" y="1582"/>
                    <a:pt x="66" y="1635"/>
                  </a:cubicBezTo>
                  <a:cubicBezTo>
                    <a:pt x="66" y="1688"/>
                    <a:pt x="109" y="1731"/>
                    <a:pt x="162" y="1731"/>
                  </a:cubicBezTo>
                  <a:cubicBezTo>
                    <a:pt x="610" y="1731"/>
                    <a:pt x="610" y="1731"/>
                    <a:pt x="610" y="1731"/>
                  </a:cubicBezTo>
                  <a:cubicBezTo>
                    <a:pt x="628" y="1731"/>
                    <a:pt x="642" y="1745"/>
                    <a:pt x="642" y="1763"/>
                  </a:cubicBezTo>
                  <a:cubicBezTo>
                    <a:pt x="642" y="1780"/>
                    <a:pt x="628" y="1795"/>
                    <a:pt x="610" y="1795"/>
                  </a:cubicBezTo>
                  <a:moveTo>
                    <a:pt x="1119" y="1781"/>
                  </a:moveTo>
                  <a:cubicBezTo>
                    <a:pt x="947" y="1903"/>
                    <a:pt x="947" y="1903"/>
                    <a:pt x="947" y="1903"/>
                  </a:cubicBezTo>
                  <a:cubicBezTo>
                    <a:pt x="935" y="1867"/>
                    <a:pt x="935" y="1867"/>
                    <a:pt x="935" y="1867"/>
                  </a:cubicBezTo>
                  <a:cubicBezTo>
                    <a:pt x="1102" y="1700"/>
                    <a:pt x="1102" y="1700"/>
                    <a:pt x="1102" y="1700"/>
                  </a:cubicBezTo>
                  <a:lnTo>
                    <a:pt x="1119" y="1781"/>
                  </a:lnTo>
                  <a:close/>
                  <a:moveTo>
                    <a:pt x="1346" y="1347"/>
                  </a:moveTo>
                  <a:cubicBezTo>
                    <a:pt x="1346" y="1311"/>
                    <a:pt x="1375" y="1283"/>
                    <a:pt x="1410" y="1283"/>
                  </a:cubicBezTo>
                  <a:cubicBezTo>
                    <a:pt x="1445" y="1283"/>
                    <a:pt x="1474" y="1311"/>
                    <a:pt x="1474" y="1347"/>
                  </a:cubicBezTo>
                  <a:cubicBezTo>
                    <a:pt x="1474" y="1382"/>
                    <a:pt x="1445" y="1411"/>
                    <a:pt x="1410" y="1411"/>
                  </a:cubicBezTo>
                  <a:cubicBezTo>
                    <a:pt x="1405" y="1410"/>
                    <a:pt x="1399" y="1410"/>
                    <a:pt x="1394" y="1408"/>
                  </a:cubicBezTo>
                  <a:cubicBezTo>
                    <a:pt x="1433" y="1369"/>
                    <a:pt x="1433" y="1369"/>
                    <a:pt x="1433" y="1369"/>
                  </a:cubicBezTo>
                  <a:cubicBezTo>
                    <a:pt x="1387" y="1324"/>
                    <a:pt x="1387" y="1324"/>
                    <a:pt x="1387" y="1324"/>
                  </a:cubicBezTo>
                  <a:cubicBezTo>
                    <a:pt x="1349" y="1363"/>
                    <a:pt x="1349" y="1363"/>
                    <a:pt x="1349" y="1363"/>
                  </a:cubicBezTo>
                  <a:cubicBezTo>
                    <a:pt x="1347" y="1358"/>
                    <a:pt x="1346" y="1352"/>
                    <a:pt x="1346" y="1347"/>
                  </a:cubicBezTo>
                  <a:moveTo>
                    <a:pt x="976" y="1638"/>
                  </a:moveTo>
                  <a:cubicBezTo>
                    <a:pt x="1057" y="1654"/>
                    <a:pt x="1057" y="1654"/>
                    <a:pt x="1057" y="1654"/>
                  </a:cubicBezTo>
                  <a:cubicBezTo>
                    <a:pt x="889" y="1822"/>
                    <a:pt x="889" y="1822"/>
                    <a:pt x="889" y="1822"/>
                  </a:cubicBezTo>
                  <a:cubicBezTo>
                    <a:pt x="853" y="1810"/>
                    <a:pt x="853" y="1810"/>
                    <a:pt x="853" y="1810"/>
                  </a:cubicBezTo>
                  <a:lnTo>
                    <a:pt x="976" y="1638"/>
                  </a:lnTo>
                  <a:close/>
                  <a:moveTo>
                    <a:pt x="418" y="1123"/>
                  </a:moveTo>
                  <a:cubicBezTo>
                    <a:pt x="674" y="1123"/>
                    <a:pt x="674" y="1123"/>
                    <a:pt x="674" y="1123"/>
                  </a:cubicBezTo>
                  <a:cubicBezTo>
                    <a:pt x="674" y="1155"/>
                    <a:pt x="674" y="1155"/>
                    <a:pt x="674" y="1155"/>
                  </a:cubicBezTo>
                  <a:cubicBezTo>
                    <a:pt x="418" y="1155"/>
                    <a:pt x="418" y="1155"/>
                    <a:pt x="418" y="1155"/>
                  </a:cubicBezTo>
                  <a:lnTo>
                    <a:pt x="418" y="1123"/>
                  </a:lnTo>
                  <a:close/>
                  <a:moveTo>
                    <a:pt x="130" y="547"/>
                  </a:moveTo>
                  <a:cubicBezTo>
                    <a:pt x="130" y="317"/>
                    <a:pt x="316" y="130"/>
                    <a:pt x="546" y="130"/>
                  </a:cubicBezTo>
                  <a:cubicBezTo>
                    <a:pt x="775" y="130"/>
                    <a:pt x="962" y="316"/>
                    <a:pt x="962" y="546"/>
                  </a:cubicBezTo>
                  <a:cubicBezTo>
                    <a:pt x="962" y="750"/>
                    <a:pt x="815" y="924"/>
                    <a:pt x="613" y="957"/>
                  </a:cubicBezTo>
                  <a:cubicBezTo>
                    <a:pt x="631" y="739"/>
                    <a:pt x="631" y="739"/>
                    <a:pt x="631" y="739"/>
                  </a:cubicBezTo>
                  <a:cubicBezTo>
                    <a:pt x="706" y="739"/>
                    <a:pt x="706" y="739"/>
                    <a:pt x="706" y="739"/>
                  </a:cubicBezTo>
                  <a:cubicBezTo>
                    <a:pt x="777" y="739"/>
                    <a:pt x="834" y="681"/>
                    <a:pt x="834" y="611"/>
                  </a:cubicBezTo>
                  <a:cubicBezTo>
                    <a:pt x="834" y="540"/>
                    <a:pt x="777" y="483"/>
                    <a:pt x="706" y="483"/>
                  </a:cubicBezTo>
                  <a:cubicBezTo>
                    <a:pt x="636" y="483"/>
                    <a:pt x="580" y="538"/>
                    <a:pt x="578" y="608"/>
                  </a:cubicBezTo>
                  <a:cubicBezTo>
                    <a:pt x="573" y="675"/>
                    <a:pt x="573" y="675"/>
                    <a:pt x="573" y="675"/>
                  </a:cubicBezTo>
                  <a:cubicBezTo>
                    <a:pt x="519" y="675"/>
                    <a:pt x="519" y="675"/>
                    <a:pt x="519" y="675"/>
                  </a:cubicBezTo>
                  <a:cubicBezTo>
                    <a:pt x="514" y="611"/>
                    <a:pt x="514" y="611"/>
                    <a:pt x="514" y="611"/>
                  </a:cubicBezTo>
                  <a:cubicBezTo>
                    <a:pt x="514" y="540"/>
                    <a:pt x="457" y="483"/>
                    <a:pt x="386" y="483"/>
                  </a:cubicBezTo>
                  <a:cubicBezTo>
                    <a:pt x="315" y="483"/>
                    <a:pt x="258" y="540"/>
                    <a:pt x="258" y="611"/>
                  </a:cubicBezTo>
                  <a:cubicBezTo>
                    <a:pt x="258" y="681"/>
                    <a:pt x="315" y="739"/>
                    <a:pt x="386" y="739"/>
                  </a:cubicBezTo>
                  <a:cubicBezTo>
                    <a:pt x="461" y="739"/>
                    <a:pt x="461" y="739"/>
                    <a:pt x="461" y="739"/>
                  </a:cubicBezTo>
                  <a:cubicBezTo>
                    <a:pt x="479" y="957"/>
                    <a:pt x="479" y="957"/>
                    <a:pt x="479" y="957"/>
                  </a:cubicBezTo>
                  <a:cubicBezTo>
                    <a:pt x="278" y="924"/>
                    <a:pt x="130" y="750"/>
                    <a:pt x="130" y="547"/>
                  </a:cubicBezTo>
                  <a:moveTo>
                    <a:pt x="544" y="963"/>
                  </a:moveTo>
                  <a:cubicBezTo>
                    <a:pt x="525" y="739"/>
                    <a:pt x="525" y="739"/>
                    <a:pt x="525" y="739"/>
                  </a:cubicBezTo>
                  <a:cubicBezTo>
                    <a:pt x="567" y="739"/>
                    <a:pt x="567" y="739"/>
                    <a:pt x="567" y="739"/>
                  </a:cubicBezTo>
                  <a:cubicBezTo>
                    <a:pt x="549" y="963"/>
                    <a:pt x="549" y="963"/>
                    <a:pt x="549" y="963"/>
                  </a:cubicBezTo>
                  <a:cubicBezTo>
                    <a:pt x="546" y="963"/>
                    <a:pt x="546" y="963"/>
                    <a:pt x="546" y="963"/>
                  </a:cubicBezTo>
                  <a:lnTo>
                    <a:pt x="544" y="963"/>
                  </a:lnTo>
                  <a:close/>
                  <a:moveTo>
                    <a:pt x="637" y="675"/>
                  </a:moveTo>
                  <a:cubicBezTo>
                    <a:pt x="642" y="611"/>
                    <a:pt x="642" y="611"/>
                    <a:pt x="642" y="611"/>
                  </a:cubicBezTo>
                  <a:cubicBezTo>
                    <a:pt x="642" y="575"/>
                    <a:pt x="671" y="547"/>
                    <a:pt x="706" y="547"/>
                  </a:cubicBezTo>
                  <a:cubicBezTo>
                    <a:pt x="741" y="547"/>
                    <a:pt x="770" y="575"/>
                    <a:pt x="770" y="611"/>
                  </a:cubicBezTo>
                  <a:cubicBezTo>
                    <a:pt x="770" y="646"/>
                    <a:pt x="741" y="675"/>
                    <a:pt x="706" y="675"/>
                  </a:cubicBezTo>
                  <a:lnTo>
                    <a:pt x="637" y="675"/>
                  </a:lnTo>
                  <a:close/>
                  <a:moveTo>
                    <a:pt x="455" y="675"/>
                  </a:moveTo>
                  <a:cubicBezTo>
                    <a:pt x="386" y="675"/>
                    <a:pt x="386" y="675"/>
                    <a:pt x="386" y="675"/>
                  </a:cubicBezTo>
                  <a:cubicBezTo>
                    <a:pt x="351" y="675"/>
                    <a:pt x="322" y="646"/>
                    <a:pt x="322" y="611"/>
                  </a:cubicBezTo>
                  <a:cubicBezTo>
                    <a:pt x="322" y="575"/>
                    <a:pt x="351" y="547"/>
                    <a:pt x="386" y="547"/>
                  </a:cubicBezTo>
                  <a:cubicBezTo>
                    <a:pt x="422" y="547"/>
                    <a:pt x="451" y="576"/>
                    <a:pt x="450" y="612"/>
                  </a:cubicBezTo>
                  <a:cubicBezTo>
                    <a:pt x="450" y="613"/>
                    <a:pt x="450" y="613"/>
                    <a:pt x="450" y="613"/>
                  </a:cubicBezTo>
                  <a:lnTo>
                    <a:pt x="455" y="675"/>
                  </a:lnTo>
                  <a:close/>
                  <a:moveTo>
                    <a:pt x="546" y="1027"/>
                  </a:moveTo>
                  <a:cubicBezTo>
                    <a:pt x="589" y="1026"/>
                    <a:pt x="632" y="1020"/>
                    <a:pt x="674" y="1009"/>
                  </a:cubicBezTo>
                  <a:cubicBezTo>
                    <a:pt x="674" y="1059"/>
                    <a:pt x="674" y="1059"/>
                    <a:pt x="674" y="1059"/>
                  </a:cubicBezTo>
                  <a:cubicBezTo>
                    <a:pt x="418" y="1059"/>
                    <a:pt x="418" y="1059"/>
                    <a:pt x="418" y="1059"/>
                  </a:cubicBezTo>
                  <a:cubicBezTo>
                    <a:pt x="418" y="1009"/>
                    <a:pt x="418" y="1009"/>
                    <a:pt x="418" y="1009"/>
                  </a:cubicBezTo>
                  <a:cubicBezTo>
                    <a:pt x="460" y="1020"/>
                    <a:pt x="503" y="1026"/>
                    <a:pt x="546" y="1027"/>
                  </a:cubicBezTo>
                  <a:moveTo>
                    <a:pt x="418" y="1219"/>
                  </a:moveTo>
                  <a:cubicBezTo>
                    <a:pt x="674" y="1219"/>
                    <a:pt x="674" y="1219"/>
                    <a:pt x="674" y="1219"/>
                  </a:cubicBezTo>
                  <a:cubicBezTo>
                    <a:pt x="674" y="1236"/>
                    <a:pt x="660" y="1251"/>
                    <a:pt x="642" y="1251"/>
                  </a:cubicBezTo>
                  <a:cubicBezTo>
                    <a:pt x="450" y="1251"/>
                    <a:pt x="450" y="1251"/>
                    <a:pt x="450" y="1251"/>
                  </a:cubicBezTo>
                  <a:cubicBezTo>
                    <a:pt x="432" y="1251"/>
                    <a:pt x="418" y="1236"/>
                    <a:pt x="418" y="1219"/>
                  </a:cubicBezTo>
                  <a:moveTo>
                    <a:pt x="578" y="1315"/>
                  </a:moveTo>
                  <a:cubicBezTo>
                    <a:pt x="578" y="1347"/>
                    <a:pt x="578" y="1347"/>
                    <a:pt x="578" y="1347"/>
                  </a:cubicBezTo>
                  <a:cubicBezTo>
                    <a:pt x="578" y="1364"/>
                    <a:pt x="564" y="1379"/>
                    <a:pt x="546" y="1379"/>
                  </a:cubicBezTo>
                  <a:cubicBezTo>
                    <a:pt x="528" y="1379"/>
                    <a:pt x="514" y="1364"/>
                    <a:pt x="514" y="1347"/>
                  </a:cubicBezTo>
                  <a:cubicBezTo>
                    <a:pt x="514" y="1315"/>
                    <a:pt x="514" y="1315"/>
                    <a:pt x="514" y="1315"/>
                  </a:cubicBezTo>
                  <a:lnTo>
                    <a:pt x="578" y="13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3" name="Freeform 293">
              <a:extLst>
                <a:ext uri="{FF2B5EF4-FFF2-40B4-BE49-F238E27FC236}">
                  <a16:creationId xmlns:a16="http://schemas.microsoft.com/office/drawing/2014/main" id="{BFAA06BC-A4A6-3E1E-E8E7-915716B72C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87138" y="6403975"/>
              <a:ext cx="279400" cy="227012"/>
            </a:xfrm>
            <a:custGeom>
              <a:avLst/>
              <a:gdLst>
                <a:gd name="T0" fmla="*/ 119 w 739"/>
                <a:gd name="T1" fmla="*/ 517 h 597"/>
                <a:gd name="T2" fmla="*/ 149 w 739"/>
                <a:gd name="T3" fmla="*/ 524 h 597"/>
                <a:gd name="T4" fmla="*/ 707 w 739"/>
                <a:gd name="T5" fmla="*/ 597 h 597"/>
                <a:gd name="T6" fmla="*/ 739 w 739"/>
                <a:gd name="T7" fmla="*/ 542 h 597"/>
                <a:gd name="T8" fmla="*/ 177 w 739"/>
                <a:gd name="T9" fmla="*/ 451 h 597"/>
                <a:gd name="T10" fmla="*/ 179 w 739"/>
                <a:gd name="T11" fmla="*/ 403 h 597"/>
                <a:gd name="T12" fmla="*/ 53 w 739"/>
                <a:gd name="T13" fmla="*/ 0 h 597"/>
                <a:gd name="T14" fmla="*/ 0 w 739"/>
                <a:gd name="T15" fmla="*/ 37 h 597"/>
                <a:gd name="T16" fmla="*/ 109 w 739"/>
                <a:gd name="T17" fmla="*/ 488 h 597"/>
                <a:gd name="T18" fmla="*/ 119 w 739"/>
                <a:gd name="T19" fmla="*/ 517 h 5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39" h="597">
                  <a:moveTo>
                    <a:pt x="119" y="517"/>
                  </a:moveTo>
                  <a:cubicBezTo>
                    <a:pt x="127" y="524"/>
                    <a:pt x="138" y="526"/>
                    <a:pt x="149" y="524"/>
                  </a:cubicBezTo>
                  <a:cubicBezTo>
                    <a:pt x="337" y="474"/>
                    <a:pt x="538" y="500"/>
                    <a:pt x="707" y="597"/>
                  </a:cubicBezTo>
                  <a:cubicBezTo>
                    <a:pt x="739" y="542"/>
                    <a:pt x="739" y="542"/>
                    <a:pt x="739" y="542"/>
                  </a:cubicBezTo>
                  <a:cubicBezTo>
                    <a:pt x="569" y="444"/>
                    <a:pt x="369" y="412"/>
                    <a:pt x="177" y="451"/>
                  </a:cubicBezTo>
                  <a:cubicBezTo>
                    <a:pt x="178" y="434"/>
                    <a:pt x="179" y="418"/>
                    <a:pt x="179" y="403"/>
                  </a:cubicBezTo>
                  <a:cubicBezTo>
                    <a:pt x="179" y="259"/>
                    <a:pt x="135" y="118"/>
                    <a:pt x="53" y="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93" y="168"/>
                    <a:pt x="132" y="330"/>
                    <a:pt x="109" y="488"/>
                  </a:cubicBezTo>
                  <a:cubicBezTo>
                    <a:pt x="107" y="499"/>
                    <a:pt x="111" y="510"/>
                    <a:pt x="119" y="51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4" name="Freeform 294">
              <a:extLst>
                <a:ext uri="{FF2B5EF4-FFF2-40B4-BE49-F238E27FC236}">
                  <a16:creationId xmlns:a16="http://schemas.microsoft.com/office/drawing/2014/main" id="{112C13F0-468C-5C15-9898-12B2B4E898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99875" y="6645275"/>
              <a:ext cx="42863" cy="42862"/>
            </a:xfrm>
            <a:custGeom>
              <a:avLst/>
              <a:gdLst>
                <a:gd name="T0" fmla="*/ 42 w 113"/>
                <a:gd name="T1" fmla="*/ 0 h 113"/>
                <a:gd name="T2" fmla="*/ 0 w 113"/>
                <a:gd name="T3" fmla="*/ 48 h 113"/>
                <a:gd name="T4" fmla="*/ 65 w 113"/>
                <a:gd name="T5" fmla="*/ 113 h 113"/>
                <a:gd name="T6" fmla="*/ 113 w 113"/>
                <a:gd name="T7" fmla="*/ 70 h 113"/>
                <a:gd name="T8" fmla="*/ 42 w 113"/>
                <a:gd name="T9" fmla="*/ 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3" h="113">
                  <a:moveTo>
                    <a:pt x="42" y="0"/>
                  </a:moveTo>
                  <a:cubicBezTo>
                    <a:pt x="0" y="48"/>
                    <a:pt x="0" y="48"/>
                    <a:pt x="0" y="48"/>
                  </a:cubicBezTo>
                  <a:cubicBezTo>
                    <a:pt x="23" y="68"/>
                    <a:pt x="45" y="90"/>
                    <a:pt x="65" y="113"/>
                  </a:cubicBezTo>
                  <a:cubicBezTo>
                    <a:pt x="113" y="70"/>
                    <a:pt x="113" y="70"/>
                    <a:pt x="113" y="70"/>
                  </a:cubicBezTo>
                  <a:cubicBezTo>
                    <a:pt x="91" y="45"/>
                    <a:pt x="67" y="22"/>
                    <a:pt x="4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08D7D0AA-03FD-A4B3-5E9D-128294B120EF}"/>
              </a:ext>
            </a:extLst>
          </p:cNvPr>
          <p:cNvGrpSpPr/>
          <p:nvPr/>
        </p:nvGrpSpPr>
        <p:grpSpPr>
          <a:xfrm>
            <a:off x="7024510" y="2416812"/>
            <a:ext cx="453901" cy="462264"/>
            <a:chOff x="9164638" y="5856288"/>
            <a:chExt cx="1292226" cy="1316037"/>
          </a:xfrm>
          <a:solidFill>
            <a:schemeClr val="bg1"/>
          </a:solidFill>
        </p:grpSpPr>
        <p:sp>
          <p:nvSpPr>
            <p:cNvPr id="66" name="Freeform 298">
              <a:extLst>
                <a:ext uri="{FF2B5EF4-FFF2-40B4-BE49-F238E27FC236}">
                  <a16:creationId xmlns:a16="http://schemas.microsoft.com/office/drawing/2014/main" id="{6FE28565-BB73-7B00-8118-3278771874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725026" y="6311900"/>
              <a:ext cx="731838" cy="731837"/>
            </a:xfrm>
            <a:custGeom>
              <a:avLst/>
              <a:gdLst>
                <a:gd name="T0" fmla="*/ 544 w 1088"/>
                <a:gd name="T1" fmla="*/ 0 h 1088"/>
                <a:gd name="T2" fmla="*/ 512 w 1088"/>
                <a:gd name="T3" fmla="*/ 160 h 1088"/>
                <a:gd name="T4" fmla="*/ 640 w 1088"/>
                <a:gd name="T5" fmla="*/ 192 h 1088"/>
                <a:gd name="T6" fmla="*/ 640 w 1088"/>
                <a:gd name="T7" fmla="*/ 320 h 1088"/>
                <a:gd name="T8" fmla="*/ 512 w 1088"/>
                <a:gd name="T9" fmla="*/ 352 h 1088"/>
                <a:gd name="T10" fmla="*/ 32 w 1088"/>
                <a:gd name="T11" fmla="*/ 512 h 1088"/>
                <a:gd name="T12" fmla="*/ 0 w 1088"/>
                <a:gd name="T13" fmla="*/ 960 h 1088"/>
                <a:gd name="T14" fmla="*/ 960 w 1088"/>
                <a:gd name="T15" fmla="*/ 1088 h 1088"/>
                <a:gd name="T16" fmla="*/ 1088 w 1088"/>
                <a:gd name="T17" fmla="*/ 128 h 1088"/>
                <a:gd name="T18" fmla="*/ 640 w 1088"/>
                <a:gd name="T19" fmla="*/ 384 h 1088"/>
                <a:gd name="T20" fmla="*/ 640 w 1088"/>
                <a:gd name="T21" fmla="*/ 128 h 1088"/>
                <a:gd name="T22" fmla="*/ 576 w 1088"/>
                <a:gd name="T23" fmla="*/ 64 h 1088"/>
                <a:gd name="T24" fmla="*/ 1024 w 1088"/>
                <a:gd name="T25" fmla="*/ 128 h 1088"/>
                <a:gd name="T26" fmla="*/ 896 w 1088"/>
                <a:gd name="T27" fmla="*/ 512 h 1088"/>
                <a:gd name="T28" fmla="*/ 864 w 1088"/>
                <a:gd name="T29" fmla="*/ 640 h 1088"/>
                <a:gd name="T30" fmla="*/ 736 w 1088"/>
                <a:gd name="T31" fmla="*/ 640 h 1088"/>
                <a:gd name="T32" fmla="*/ 704 w 1088"/>
                <a:gd name="T33" fmla="*/ 512 h 1088"/>
                <a:gd name="T34" fmla="*/ 576 w 1088"/>
                <a:gd name="T35" fmla="*/ 384 h 1088"/>
                <a:gd name="T36" fmla="*/ 512 w 1088"/>
                <a:gd name="T37" fmla="*/ 1024 h 1088"/>
                <a:gd name="T38" fmla="*/ 64 w 1088"/>
                <a:gd name="T39" fmla="*/ 960 h 1088"/>
                <a:gd name="T40" fmla="*/ 512 w 1088"/>
                <a:gd name="T41" fmla="*/ 576 h 1088"/>
                <a:gd name="T42" fmla="*/ 448 w 1088"/>
                <a:gd name="T43" fmla="*/ 640 h 1088"/>
                <a:gd name="T44" fmla="*/ 448 w 1088"/>
                <a:gd name="T45" fmla="*/ 896 h 1088"/>
                <a:gd name="T46" fmla="*/ 512 w 1088"/>
                <a:gd name="T47" fmla="*/ 1024 h 1088"/>
                <a:gd name="T48" fmla="*/ 960 w 1088"/>
                <a:gd name="T49" fmla="*/ 1024 h 1088"/>
                <a:gd name="T50" fmla="*/ 576 w 1088"/>
                <a:gd name="T51" fmla="*/ 864 h 1088"/>
                <a:gd name="T52" fmla="*/ 448 w 1088"/>
                <a:gd name="T53" fmla="*/ 832 h 1088"/>
                <a:gd name="T54" fmla="*/ 448 w 1088"/>
                <a:gd name="T55" fmla="*/ 704 h 1088"/>
                <a:gd name="T56" fmla="*/ 576 w 1088"/>
                <a:gd name="T57" fmla="*/ 672 h 1088"/>
                <a:gd name="T58" fmla="*/ 672 w 1088"/>
                <a:gd name="T59" fmla="*/ 576 h 1088"/>
                <a:gd name="T60" fmla="*/ 800 w 1088"/>
                <a:gd name="T61" fmla="*/ 768 h 1088"/>
                <a:gd name="T62" fmla="*/ 928 w 1088"/>
                <a:gd name="T63" fmla="*/ 576 h 1088"/>
                <a:gd name="T64" fmla="*/ 1024 w 1088"/>
                <a:gd name="T65" fmla="*/ 960 h 10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88" h="1088">
                  <a:moveTo>
                    <a:pt x="960" y="0"/>
                  </a:moveTo>
                  <a:cubicBezTo>
                    <a:pt x="544" y="0"/>
                    <a:pt x="544" y="0"/>
                    <a:pt x="544" y="0"/>
                  </a:cubicBezTo>
                  <a:cubicBezTo>
                    <a:pt x="526" y="0"/>
                    <a:pt x="512" y="14"/>
                    <a:pt x="512" y="32"/>
                  </a:cubicBezTo>
                  <a:cubicBezTo>
                    <a:pt x="512" y="160"/>
                    <a:pt x="512" y="160"/>
                    <a:pt x="512" y="160"/>
                  </a:cubicBezTo>
                  <a:cubicBezTo>
                    <a:pt x="512" y="177"/>
                    <a:pt x="526" y="192"/>
                    <a:pt x="544" y="192"/>
                  </a:cubicBezTo>
                  <a:cubicBezTo>
                    <a:pt x="640" y="192"/>
                    <a:pt x="640" y="192"/>
                    <a:pt x="640" y="192"/>
                  </a:cubicBezTo>
                  <a:cubicBezTo>
                    <a:pt x="675" y="192"/>
                    <a:pt x="704" y="220"/>
                    <a:pt x="704" y="256"/>
                  </a:cubicBezTo>
                  <a:cubicBezTo>
                    <a:pt x="704" y="291"/>
                    <a:pt x="675" y="320"/>
                    <a:pt x="640" y="320"/>
                  </a:cubicBezTo>
                  <a:cubicBezTo>
                    <a:pt x="544" y="320"/>
                    <a:pt x="544" y="320"/>
                    <a:pt x="544" y="320"/>
                  </a:cubicBezTo>
                  <a:cubicBezTo>
                    <a:pt x="526" y="320"/>
                    <a:pt x="512" y="334"/>
                    <a:pt x="512" y="352"/>
                  </a:cubicBezTo>
                  <a:cubicBezTo>
                    <a:pt x="512" y="512"/>
                    <a:pt x="512" y="512"/>
                    <a:pt x="512" y="512"/>
                  </a:cubicBezTo>
                  <a:cubicBezTo>
                    <a:pt x="32" y="512"/>
                    <a:pt x="32" y="512"/>
                    <a:pt x="32" y="512"/>
                  </a:cubicBezTo>
                  <a:cubicBezTo>
                    <a:pt x="14" y="512"/>
                    <a:pt x="0" y="526"/>
                    <a:pt x="0" y="544"/>
                  </a:cubicBezTo>
                  <a:cubicBezTo>
                    <a:pt x="0" y="960"/>
                    <a:pt x="0" y="960"/>
                    <a:pt x="0" y="960"/>
                  </a:cubicBezTo>
                  <a:cubicBezTo>
                    <a:pt x="0" y="1030"/>
                    <a:pt x="57" y="1088"/>
                    <a:pt x="128" y="1088"/>
                  </a:cubicBezTo>
                  <a:cubicBezTo>
                    <a:pt x="960" y="1088"/>
                    <a:pt x="960" y="1088"/>
                    <a:pt x="960" y="1088"/>
                  </a:cubicBezTo>
                  <a:cubicBezTo>
                    <a:pt x="1030" y="1088"/>
                    <a:pt x="1088" y="1030"/>
                    <a:pt x="1088" y="960"/>
                  </a:cubicBezTo>
                  <a:cubicBezTo>
                    <a:pt x="1088" y="128"/>
                    <a:pt x="1088" y="128"/>
                    <a:pt x="1088" y="128"/>
                  </a:cubicBezTo>
                  <a:cubicBezTo>
                    <a:pt x="1088" y="57"/>
                    <a:pt x="1030" y="0"/>
                    <a:pt x="960" y="0"/>
                  </a:cubicBezTo>
                  <a:moveTo>
                    <a:pt x="640" y="384"/>
                  </a:moveTo>
                  <a:cubicBezTo>
                    <a:pt x="710" y="384"/>
                    <a:pt x="768" y="326"/>
                    <a:pt x="768" y="256"/>
                  </a:cubicBezTo>
                  <a:cubicBezTo>
                    <a:pt x="768" y="185"/>
                    <a:pt x="710" y="128"/>
                    <a:pt x="640" y="128"/>
                  </a:cubicBezTo>
                  <a:cubicBezTo>
                    <a:pt x="576" y="128"/>
                    <a:pt x="576" y="128"/>
                    <a:pt x="576" y="128"/>
                  </a:cubicBezTo>
                  <a:cubicBezTo>
                    <a:pt x="576" y="64"/>
                    <a:pt x="576" y="64"/>
                    <a:pt x="576" y="64"/>
                  </a:cubicBezTo>
                  <a:cubicBezTo>
                    <a:pt x="960" y="64"/>
                    <a:pt x="960" y="64"/>
                    <a:pt x="960" y="64"/>
                  </a:cubicBezTo>
                  <a:cubicBezTo>
                    <a:pt x="995" y="64"/>
                    <a:pt x="1024" y="92"/>
                    <a:pt x="1024" y="128"/>
                  </a:cubicBezTo>
                  <a:cubicBezTo>
                    <a:pt x="1024" y="512"/>
                    <a:pt x="1024" y="512"/>
                    <a:pt x="1024" y="512"/>
                  </a:cubicBezTo>
                  <a:cubicBezTo>
                    <a:pt x="896" y="512"/>
                    <a:pt x="896" y="512"/>
                    <a:pt x="896" y="512"/>
                  </a:cubicBezTo>
                  <a:cubicBezTo>
                    <a:pt x="878" y="512"/>
                    <a:pt x="864" y="526"/>
                    <a:pt x="864" y="544"/>
                  </a:cubicBezTo>
                  <a:cubicBezTo>
                    <a:pt x="864" y="640"/>
                    <a:pt x="864" y="640"/>
                    <a:pt x="864" y="640"/>
                  </a:cubicBezTo>
                  <a:cubicBezTo>
                    <a:pt x="864" y="675"/>
                    <a:pt x="835" y="704"/>
                    <a:pt x="800" y="704"/>
                  </a:cubicBezTo>
                  <a:cubicBezTo>
                    <a:pt x="764" y="704"/>
                    <a:pt x="736" y="675"/>
                    <a:pt x="736" y="640"/>
                  </a:cubicBezTo>
                  <a:cubicBezTo>
                    <a:pt x="736" y="544"/>
                    <a:pt x="736" y="544"/>
                    <a:pt x="736" y="544"/>
                  </a:cubicBezTo>
                  <a:cubicBezTo>
                    <a:pt x="736" y="526"/>
                    <a:pt x="721" y="512"/>
                    <a:pt x="704" y="512"/>
                  </a:cubicBezTo>
                  <a:cubicBezTo>
                    <a:pt x="576" y="512"/>
                    <a:pt x="576" y="512"/>
                    <a:pt x="576" y="512"/>
                  </a:cubicBezTo>
                  <a:cubicBezTo>
                    <a:pt x="576" y="384"/>
                    <a:pt x="576" y="384"/>
                    <a:pt x="576" y="384"/>
                  </a:cubicBezTo>
                  <a:lnTo>
                    <a:pt x="640" y="384"/>
                  </a:lnTo>
                  <a:close/>
                  <a:moveTo>
                    <a:pt x="512" y="1024"/>
                  </a:moveTo>
                  <a:cubicBezTo>
                    <a:pt x="128" y="1024"/>
                    <a:pt x="128" y="1024"/>
                    <a:pt x="128" y="1024"/>
                  </a:cubicBezTo>
                  <a:cubicBezTo>
                    <a:pt x="92" y="1024"/>
                    <a:pt x="64" y="995"/>
                    <a:pt x="64" y="960"/>
                  </a:cubicBezTo>
                  <a:cubicBezTo>
                    <a:pt x="64" y="576"/>
                    <a:pt x="64" y="576"/>
                    <a:pt x="64" y="576"/>
                  </a:cubicBezTo>
                  <a:cubicBezTo>
                    <a:pt x="512" y="576"/>
                    <a:pt x="512" y="576"/>
                    <a:pt x="512" y="576"/>
                  </a:cubicBezTo>
                  <a:cubicBezTo>
                    <a:pt x="512" y="640"/>
                    <a:pt x="512" y="640"/>
                    <a:pt x="512" y="640"/>
                  </a:cubicBezTo>
                  <a:cubicBezTo>
                    <a:pt x="448" y="640"/>
                    <a:pt x="448" y="640"/>
                    <a:pt x="448" y="640"/>
                  </a:cubicBezTo>
                  <a:cubicBezTo>
                    <a:pt x="377" y="640"/>
                    <a:pt x="320" y="697"/>
                    <a:pt x="320" y="768"/>
                  </a:cubicBezTo>
                  <a:cubicBezTo>
                    <a:pt x="320" y="838"/>
                    <a:pt x="377" y="896"/>
                    <a:pt x="448" y="896"/>
                  </a:cubicBezTo>
                  <a:cubicBezTo>
                    <a:pt x="512" y="896"/>
                    <a:pt x="512" y="896"/>
                    <a:pt x="512" y="896"/>
                  </a:cubicBezTo>
                  <a:lnTo>
                    <a:pt x="512" y="1024"/>
                  </a:lnTo>
                  <a:close/>
                  <a:moveTo>
                    <a:pt x="1024" y="960"/>
                  </a:moveTo>
                  <a:cubicBezTo>
                    <a:pt x="1024" y="995"/>
                    <a:pt x="995" y="1024"/>
                    <a:pt x="960" y="1024"/>
                  </a:cubicBezTo>
                  <a:cubicBezTo>
                    <a:pt x="576" y="1024"/>
                    <a:pt x="576" y="1024"/>
                    <a:pt x="576" y="1024"/>
                  </a:cubicBezTo>
                  <a:cubicBezTo>
                    <a:pt x="576" y="864"/>
                    <a:pt x="576" y="864"/>
                    <a:pt x="576" y="864"/>
                  </a:cubicBezTo>
                  <a:cubicBezTo>
                    <a:pt x="576" y="846"/>
                    <a:pt x="561" y="832"/>
                    <a:pt x="544" y="832"/>
                  </a:cubicBezTo>
                  <a:cubicBezTo>
                    <a:pt x="448" y="832"/>
                    <a:pt x="448" y="832"/>
                    <a:pt x="448" y="832"/>
                  </a:cubicBezTo>
                  <a:cubicBezTo>
                    <a:pt x="412" y="832"/>
                    <a:pt x="384" y="803"/>
                    <a:pt x="384" y="768"/>
                  </a:cubicBezTo>
                  <a:cubicBezTo>
                    <a:pt x="384" y="732"/>
                    <a:pt x="412" y="704"/>
                    <a:pt x="448" y="704"/>
                  </a:cubicBezTo>
                  <a:cubicBezTo>
                    <a:pt x="544" y="704"/>
                    <a:pt x="544" y="704"/>
                    <a:pt x="544" y="704"/>
                  </a:cubicBezTo>
                  <a:cubicBezTo>
                    <a:pt x="561" y="704"/>
                    <a:pt x="576" y="689"/>
                    <a:pt x="576" y="672"/>
                  </a:cubicBezTo>
                  <a:cubicBezTo>
                    <a:pt x="576" y="576"/>
                    <a:pt x="576" y="576"/>
                    <a:pt x="576" y="576"/>
                  </a:cubicBezTo>
                  <a:cubicBezTo>
                    <a:pt x="672" y="576"/>
                    <a:pt x="672" y="576"/>
                    <a:pt x="672" y="576"/>
                  </a:cubicBezTo>
                  <a:cubicBezTo>
                    <a:pt x="672" y="640"/>
                    <a:pt x="672" y="640"/>
                    <a:pt x="672" y="640"/>
                  </a:cubicBezTo>
                  <a:cubicBezTo>
                    <a:pt x="672" y="710"/>
                    <a:pt x="729" y="768"/>
                    <a:pt x="800" y="768"/>
                  </a:cubicBezTo>
                  <a:cubicBezTo>
                    <a:pt x="870" y="768"/>
                    <a:pt x="928" y="710"/>
                    <a:pt x="928" y="640"/>
                  </a:cubicBezTo>
                  <a:cubicBezTo>
                    <a:pt x="928" y="576"/>
                    <a:pt x="928" y="576"/>
                    <a:pt x="928" y="576"/>
                  </a:cubicBezTo>
                  <a:cubicBezTo>
                    <a:pt x="1024" y="576"/>
                    <a:pt x="1024" y="576"/>
                    <a:pt x="1024" y="576"/>
                  </a:cubicBezTo>
                  <a:lnTo>
                    <a:pt x="1024" y="9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7" name="Freeform 299">
              <a:extLst>
                <a:ext uri="{FF2B5EF4-FFF2-40B4-BE49-F238E27FC236}">
                  <a16:creationId xmlns:a16="http://schemas.microsoft.com/office/drawing/2014/main" id="{06BC26C1-F759-B0F5-074E-82BF0F5976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164638" y="5856288"/>
              <a:ext cx="1033463" cy="1316037"/>
            </a:xfrm>
            <a:custGeom>
              <a:avLst/>
              <a:gdLst>
                <a:gd name="T0" fmla="*/ 389 w 1541"/>
                <a:gd name="T1" fmla="*/ 1957 h 1957"/>
                <a:gd name="T2" fmla="*/ 335 w 1541"/>
                <a:gd name="T3" fmla="*/ 1783 h 1957"/>
                <a:gd name="T4" fmla="*/ 393 w 1541"/>
                <a:gd name="T5" fmla="*/ 1452 h 1957"/>
                <a:gd name="T6" fmla="*/ 395 w 1541"/>
                <a:gd name="T7" fmla="*/ 1285 h 1957"/>
                <a:gd name="T8" fmla="*/ 431 w 1541"/>
                <a:gd name="T9" fmla="*/ 1310 h 1957"/>
                <a:gd name="T10" fmla="*/ 485 w 1541"/>
                <a:gd name="T11" fmla="*/ 1667 h 1957"/>
                <a:gd name="T12" fmla="*/ 517 w 1541"/>
                <a:gd name="T13" fmla="*/ 1957 h 1957"/>
                <a:gd name="T14" fmla="*/ 901 w 1541"/>
                <a:gd name="T15" fmla="*/ 1925 h 1957"/>
                <a:gd name="T16" fmla="*/ 821 w 1541"/>
                <a:gd name="T17" fmla="*/ 1795 h 1957"/>
                <a:gd name="T18" fmla="*/ 727 w 1541"/>
                <a:gd name="T19" fmla="*/ 1678 h 1957"/>
                <a:gd name="T20" fmla="*/ 741 w 1541"/>
                <a:gd name="T21" fmla="*/ 1250 h 1957"/>
                <a:gd name="T22" fmla="*/ 925 w 1541"/>
                <a:gd name="T23" fmla="*/ 715 h 1957"/>
                <a:gd name="T24" fmla="*/ 1317 w 1541"/>
                <a:gd name="T25" fmla="*/ 613 h 1957"/>
                <a:gd name="T26" fmla="*/ 1349 w 1541"/>
                <a:gd name="T27" fmla="*/ 421 h 1957"/>
                <a:gd name="T28" fmla="*/ 1541 w 1541"/>
                <a:gd name="T29" fmla="*/ 293 h 1957"/>
                <a:gd name="T30" fmla="*/ 1349 w 1541"/>
                <a:gd name="T31" fmla="*/ 165 h 1957"/>
                <a:gd name="T32" fmla="*/ 1317 w 1541"/>
                <a:gd name="T33" fmla="*/ 37 h 1957"/>
                <a:gd name="T34" fmla="*/ 773 w 1541"/>
                <a:gd name="T35" fmla="*/ 165 h 1957"/>
                <a:gd name="T36" fmla="*/ 640 w 1541"/>
                <a:gd name="T37" fmla="*/ 587 h 1957"/>
                <a:gd name="T38" fmla="*/ 682 w 1541"/>
                <a:gd name="T39" fmla="*/ 178 h 1957"/>
                <a:gd name="T40" fmla="*/ 224 w 1541"/>
                <a:gd name="T41" fmla="*/ 407 h 1957"/>
                <a:gd name="T42" fmla="*/ 186 w 1541"/>
                <a:gd name="T43" fmla="*/ 677 h 1957"/>
                <a:gd name="T44" fmla="*/ 79 w 1541"/>
                <a:gd name="T45" fmla="*/ 1423 h 1957"/>
                <a:gd name="T46" fmla="*/ 8 w 1541"/>
                <a:gd name="T47" fmla="*/ 1910 h 1957"/>
                <a:gd name="T48" fmla="*/ 37 w 1541"/>
                <a:gd name="T49" fmla="*/ 1957 h 1957"/>
                <a:gd name="T50" fmla="*/ 898 w 1541"/>
                <a:gd name="T51" fmla="*/ 657 h 1957"/>
                <a:gd name="T52" fmla="*/ 394 w 1541"/>
                <a:gd name="T53" fmla="*/ 837 h 1957"/>
                <a:gd name="T54" fmla="*/ 420 w 1541"/>
                <a:gd name="T55" fmla="*/ 764 h 1957"/>
                <a:gd name="T56" fmla="*/ 907 w 1541"/>
                <a:gd name="T57" fmla="*/ 559 h 1957"/>
                <a:gd name="T58" fmla="*/ 899 w 1541"/>
                <a:gd name="T59" fmla="*/ 657 h 1957"/>
                <a:gd name="T60" fmla="*/ 1285 w 1541"/>
                <a:gd name="T61" fmla="*/ 101 h 1957"/>
                <a:gd name="T62" fmla="*/ 1317 w 1541"/>
                <a:gd name="T63" fmla="*/ 229 h 1957"/>
                <a:gd name="T64" fmla="*/ 1477 w 1541"/>
                <a:gd name="T65" fmla="*/ 293 h 1957"/>
                <a:gd name="T66" fmla="*/ 1317 w 1541"/>
                <a:gd name="T67" fmla="*/ 357 h 1957"/>
                <a:gd name="T68" fmla="*/ 1285 w 1541"/>
                <a:gd name="T69" fmla="*/ 549 h 1957"/>
                <a:gd name="T70" fmla="*/ 837 w 1541"/>
                <a:gd name="T71" fmla="*/ 493 h 1957"/>
                <a:gd name="T72" fmla="*/ 901 w 1541"/>
                <a:gd name="T73" fmla="*/ 101 h 1957"/>
                <a:gd name="T74" fmla="*/ 453 w 1541"/>
                <a:gd name="T75" fmla="*/ 101 h 1957"/>
                <a:gd name="T76" fmla="*/ 453 w 1541"/>
                <a:gd name="T77" fmla="*/ 485 h 1957"/>
                <a:gd name="T78" fmla="*/ 129 w 1541"/>
                <a:gd name="T79" fmla="*/ 1810 h 1957"/>
                <a:gd name="T80" fmla="*/ 119 w 1541"/>
                <a:gd name="T81" fmla="*/ 1098 h 1957"/>
                <a:gd name="T82" fmla="*/ 474 w 1541"/>
                <a:gd name="T83" fmla="*/ 552 h 1957"/>
                <a:gd name="T84" fmla="*/ 392 w 1541"/>
                <a:gd name="T85" fmla="*/ 707 h 1957"/>
                <a:gd name="T86" fmla="*/ 443 w 1541"/>
                <a:gd name="T87" fmla="*/ 933 h 1957"/>
                <a:gd name="T88" fmla="*/ 642 w 1541"/>
                <a:gd name="T89" fmla="*/ 851 h 1957"/>
                <a:gd name="T90" fmla="*/ 677 w 1541"/>
                <a:gd name="T91" fmla="*/ 1536 h 1957"/>
                <a:gd name="T92" fmla="*/ 630 w 1541"/>
                <a:gd name="T93" fmla="*/ 1836 h 1957"/>
                <a:gd name="T94" fmla="*/ 677 w 1541"/>
                <a:gd name="T95" fmla="*/ 1870 h 1957"/>
                <a:gd name="T96" fmla="*/ 792 w 1541"/>
                <a:gd name="T97" fmla="*/ 1852 h 1957"/>
                <a:gd name="T98" fmla="*/ 549 w 1541"/>
                <a:gd name="T99" fmla="*/ 1893 h 1957"/>
                <a:gd name="T100" fmla="*/ 537 w 1541"/>
                <a:gd name="T101" fmla="*/ 1538 h 1957"/>
                <a:gd name="T102" fmla="*/ 384 w 1541"/>
                <a:gd name="T103" fmla="*/ 1221 h 1957"/>
                <a:gd name="T104" fmla="*/ 307 w 1541"/>
                <a:gd name="T105" fmla="*/ 1333 h 1957"/>
                <a:gd name="T106" fmla="*/ 293 w 1541"/>
                <a:gd name="T107" fmla="*/ 1724 h 1957"/>
                <a:gd name="T108" fmla="*/ 276 w 1541"/>
                <a:gd name="T109" fmla="*/ 1829 h 1957"/>
                <a:gd name="T110" fmla="*/ 351 w 1541"/>
                <a:gd name="T111" fmla="*/ 1893 h 1957"/>
                <a:gd name="T112" fmla="*/ 129 w 1541"/>
                <a:gd name="T113" fmla="*/ 1810 h 19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41" h="1957">
                  <a:moveTo>
                    <a:pt x="37" y="1957"/>
                  </a:moveTo>
                  <a:cubicBezTo>
                    <a:pt x="389" y="1957"/>
                    <a:pt x="389" y="1957"/>
                    <a:pt x="389" y="1957"/>
                  </a:cubicBezTo>
                  <a:cubicBezTo>
                    <a:pt x="406" y="1957"/>
                    <a:pt x="421" y="1942"/>
                    <a:pt x="421" y="1925"/>
                  </a:cubicBezTo>
                  <a:cubicBezTo>
                    <a:pt x="421" y="1865"/>
                    <a:pt x="388" y="1811"/>
                    <a:pt x="335" y="1783"/>
                  </a:cubicBezTo>
                  <a:cubicBezTo>
                    <a:pt x="350" y="1753"/>
                    <a:pt x="350" y="1753"/>
                    <a:pt x="350" y="1753"/>
                  </a:cubicBezTo>
                  <a:cubicBezTo>
                    <a:pt x="397" y="1660"/>
                    <a:pt x="412" y="1554"/>
                    <a:pt x="393" y="1452"/>
                  </a:cubicBezTo>
                  <a:cubicBezTo>
                    <a:pt x="370" y="1321"/>
                    <a:pt x="370" y="1321"/>
                    <a:pt x="370" y="1321"/>
                  </a:cubicBezTo>
                  <a:cubicBezTo>
                    <a:pt x="367" y="1304"/>
                    <a:pt x="378" y="1288"/>
                    <a:pt x="395" y="1285"/>
                  </a:cubicBezTo>
                  <a:cubicBezTo>
                    <a:pt x="396" y="1285"/>
                    <a:pt x="398" y="1285"/>
                    <a:pt x="400" y="1285"/>
                  </a:cubicBezTo>
                  <a:cubicBezTo>
                    <a:pt x="415" y="1285"/>
                    <a:pt x="428" y="1295"/>
                    <a:pt x="431" y="1310"/>
                  </a:cubicBezTo>
                  <a:cubicBezTo>
                    <a:pt x="474" y="1549"/>
                    <a:pt x="474" y="1549"/>
                    <a:pt x="474" y="1549"/>
                  </a:cubicBezTo>
                  <a:cubicBezTo>
                    <a:pt x="481" y="1588"/>
                    <a:pt x="485" y="1627"/>
                    <a:pt x="485" y="1667"/>
                  </a:cubicBezTo>
                  <a:cubicBezTo>
                    <a:pt x="485" y="1925"/>
                    <a:pt x="485" y="1925"/>
                    <a:pt x="485" y="1925"/>
                  </a:cubicBezTo>
                  <a:cubicBezTo>
                    <a:pt x="485" y="1942"/>
                    <a:pt x="499" y="1957"/>
                    <a:pt x="517" y="1957"/>
                  </a:cubicBezTo>
                  <a:cubicBezTo>
                    <a:pt x="869" y="1957"/>
                    <a:pt x="869" y="1957"/>
                    <a:pt x="869" y="1957"/>
                  </a:cubicBezTo>
                  <a:cubicBezTo>
                    <a:pt x="886" y="1957"/>
                    <a:pt x="901" y="1942"/>
                    <a:pt x="901" y="1925"/>
                  </a:cubicBezTo>
                  <a:cubicBezTo>
                    <a:pt x="901" y="1918"/>
                    <a:pt x="900" y="1912"/>
                    <a:pt x="900" y="1906"/>
                  </a:cubicBezTo>
                  <a:cubicBezTo>
                    <a:pt x="894" y="1858"/>
                    <a:pt x="864" y="1816"/>
                    <a:pt x="821" y="1795"/>
                  </a:cubicBezTo>
                  <a:cubicBezTo>
                    <a:pt x="785" y="1776"/>
                    <a:pt x="744" y="1773"/>
                    <a:pt x="705" y="1784"/>
                  </a:cubicBezTo>
                  <a:cubicBezTo>
                    <a:pt x="727" y="1678"/>
                    <a:pt x="727" y="1678"/>
                    <a:pt x="727" y="1678"/>
                  </a:cubicBezTo>
                  <a:cubicBezTo>
                    <a:pt x="736" y="1631"/>
                    <a:pt x="741" y="1584"/>
                    <a:pt x="741" y="1536"/>
                  </a:cubicBezTo>
                  <a:cubicBezTo>
                    <a:pt x="741" y="1250"/>
                    <a:pt x="741" y="1250"/>
                    <a:pt x="741" y="1250"/>
                  </a:cubicBezTo>
                  <a:cubicBezTo>
                    <a:pt x="703" y="821"/>
                    <a:pt x="703" y="821"/>
                    <a:pt x="703" y="821"/>
                  </a:cubicBezTo>
                  <a:cubicBezTo>
                    <a:pt x="925" y="715"/>
                    <a:pt x="925" y="715"/>
                    <a:pt x="925" y="715"/>
                  </a:cubicBezTo>
                  <a:cubicBezTo>
                    <a:pt x="966" y="697"/>
                    <a:pt x="994" y="657"/>
                    <a:pt x="996" y="613"/>
                  </a:cubicBezTo>
                  <a:cubicBezTo>
                    <a:pt x="1317" y="613"/>
                    <a:pt x="1317" y="613"/>
                    <a:pt x="1317" y="613"/>
                  </a:cubicBezTo>
                  <a:cubicBezTo>
                    <a:pt x="1334" y="613"/>
                    <a:pt x="1349" y="598"/>
                    <a:pt x="1349" y="581"/>
                  </a:cubicBezTo>
                  <a:cubicBezTo>
                    <a:pt x="1349" y="421"/>
                    <a:pt x="1349" y="421"/>
                    <a:pt x="1349" y="421"/>
                  </a:cubicBezTo>
                  <a:cubicBezTo>
                    <a:pt x="1413" y="421"/>
                    <a:pt x="1413" y="421"/>
                    <a:pt x="1413" y="421"/>
                  </a:cubicBezTo>
                  <a:cubicBezTo>
                    <a:pt x="1483" y="421"/>
                    <a:pt x="1541" y="363"/>
                    <a:pt x="1541" y="293"/>
                  </a:cubicBezTo>
                  <a:cubicBezTo>
                    <a:pt x="1541" y="222"/>
                    <a:pt x="1483" y="165"/>
                    <a:pt x="1413" y="165"/>
                  </a:cubicBezTo>
                  <a:cubicBezTo>
                    <a:pt x="1349" y="165"/>
                    <a:pt x="1349" y="165"/>
                    <a:pt x="1349" y="165"/>
                  </a:cubicBezTo>
                  <a:cubicBezTo>
                    <a:pt x="1349" y="69"/>
                    <a:pt x="1349" y="69"/>
                    <a:pt x="1349" y="69"/>
                  </a:cubicBezTo>
                  <a:cubicBezTo>
                    <a:pt x="1349" y="51"/>
                    <a:pt x="1334" y="37"/>
                    <a:pt x="1317" y="37"/>
                  </a:cubicBezTo>
                  <a:cubicBezTo>
                    <a:pt x="901" y="37"/>
                    <a:pt x="901" y="37"/>
                    <a:pt x="901" y="37"/>
                  </a:cubicBezTo>
                  <a:cubicBezTo>
                    <a:pt x="830" y="37"/>
                    <a:pt x="773" y="94"/>
                    <a:pt x="773" y="165"/>
                  </a:cubicBezTo>
                  <a:cubicBezTo>
                    <a:pt x="773" y="523"/>
                    <a:pt x="773" y="523"/>
                    <a:pt x="773" y="523"/>
                  </a:cubicBezTo>
                  <a:cubicBezTo>
                    <a:pt x="640" y="587"/>
                    <a:pt x="640" y="587"/>
                    <a:pt x="640" y="587"/>
                  </a:cubicBezTo>
                  <a:cubicBezTo>
                    <a:pt x="620" y="561"/>
                    <a:pt x="596" y="538"/>
                    <a:pt x="567" y="521"/>
                  </a:cubicBezTo>
                  <a:cubicBezTo>
                    <a:pt x="694" y="458"/>
                    <a:pt x="745" y="304"/>
                    <a:pt x="682" y="178"/>
                  </a:cubicBezTo>
                  <a:cubicBezTo>
                    <a:pt x="618" y="51"/>
                    <a:pt x="464" y="0"/>
                    <a:pt x="338" y="64"/>
                  </a:cubicBezTo>
                  <a:cubicBezTo>
                    <a:pt x="212" y="127"/>
                    <a:pt x="161" y="281"/>
                    <a:pt x="224" y="407"/>
                  </a:cubicBezTo>
                  <a:cubicBezTo>
                    <a:pt x="246" y="451"/>
                    <a:pt x="280" y="487"/>
                    <a:pt x="321" y="512"/>
                  </a:cubicBezTo>
                  <a:cubicBezTo>
                    <a:pt x="254" y="545"/>
                    <a:pt x="205" y="605"/>
                    <a:pt x="186" y="677"/>
                  </a:cubicBezTo>
                  <a:cubicBezTo>
                    <a:pt x="58" y="1078"/>
                    <a:pt x="58" y="1078"/>
                    <a:pt x="58" y="1078"/>
                  </a:cubicBezTo>
                  <a:cubicBezTo>
                    <a:pt x="22" y="1192"/>
                    <a:pt x="30" y="1315"/>
                    <a:pt x="79" y="1423"/>
                  </a:cubicBezTo>
                  <a:cubicBezTo>
                    <a:pt x="131" y="1537"/>
                    <a:pt x="129" y="1669"/>
                    <a:pt x="72" y="1782"/>
                  </a:cubicBezTo>
                  <a:cubicBezTo>
                    <a:pt x="8" y="1910"/>
                    <a:pt x="8" y="1910"/>
                    <a:pt x="8" y="1910"/>
                  </a:cubicBezTo>
                  <a:cubicBezTo>
                    <a:pt x="0" y="1926"/>
                    <a:pt x="7" y="1945"/>
                    <a:pt x="22" y="1953"/>
                  </a:cubicBezTo>
                  <a:cubicBezTo>
                    <a:pt x="27" y="1955"/>
                    <a:pt x="32" y="1957"/>
                    <a:pt x="37" y="1957"/>
                  </a:cubicBezTo>
                  <a:moveTo>
                    <a:pt x="899" y="657"/>
                  </a:moveTo>
                  <a:cubicBezTo>
                    <a:pt x="898" y="657"/>
                    <a:pt x="898" y="657"/>
                    <a:pt x="898" y="657"/>
                  </a:cubicBezTo>
                  <a:cubicBezTo>
                    <a:pt x="467" y="863"/>
                    <a:pt x="467" y="863"/>
                    <a:pt x="467" y="863"/>
                  </a:cubicBezTo>
                  <a:cubicBezTo>
                    <a:pt x="440" y="876"/>
                    <a:pt x="407" y="865"/>
                    <a:pt x="394" y="837"/>
                  </a:cubicBezTo>
                  <a:cubicBezTo>
                    <a:pt x="390" y="830"/>
                    <a:pt x="389" y="822"/>
                    <a:pt x="389" y="814"/>
                  </a:cubicBezTo>
                  <a:cubicBezTo>
                    <a:pt x="389" y="793"/>
                    <a:pt x="401" y="774"/>
                    <a:pt x="420" y="764"/>
                  </a:cubicBezTo>
                  <a:cubicBezTo>
                    <a:pt x="854" y="554"/>
                    <a:pt x="854" y="554"/>
                    <a:pt x="854" y="554"/>
                  </a:cubicBezTo>
                  <a:cubicBezTo>
                    <a:pt x="872" y="547"/>
                    <a:pt x="892" y="548"/>
                    <a:pt x="907" y="559"/>
                  </a:cubicBezTo>
                  <a:cubicBezTo>
                    <a:pt x="923" y="569"/>
                    <a:pt x="933" y="587"/>
                    <a:pt x="933" y="606"/>
                  </a:cubicBezTo>
                  <a:cubicBezTo>
                    <a:pt x="933" y="628"/>
                    <a:pt x="919" y="648"/>
                    <a:pt x="899" y="657"/>
                  </a:cubicBezTo>
                  <a:moveTo>
                    <a:pt x="901" y="101"/>
                  </a:moveTo>
                  <a:cubicBezTo>
                    <a:pt x="1285" y="101"/>
                    <a:pt x="1285" y="101"/>
                    <a:pt x="1285" y="101"/>
                  </a:cubicBezTo>
                  <a:cubicBezTo>
                    <a:pt x="1285" y="197"/>
                    <a:pt x="1285" y="197"/>
                    <a:pt x="1285" y="197"/>
                  </a:cubicBezTo>
                  <a:cubicBezTo>
                    <a:pt x="1285" y="214"/>
                    <a:pt x="1299" y="229"/>
                    <a:pt x="1317" y="229"/>
                  </a:cubicBezTo>
                  <a:cubicBezTo>
                    <a:pt x="1413" y="229"/>
                    <a:pt x="1413" y="229"/>
                    <a:pt x="1413" y="229"/>
                  </a:cubicBezTo>
                  <a:cubicBezTo>
                    <a:pt x="1448" y="229"/>
                    <a:pt x="1477" y="257"/>
                    <a:pt x="1477" y="293"/>
                  </a:cubicBezTo>
                  <a:cubicBezTo>
                    <a:pt x="1477" y="328"/>
                    <a:pt x="1448" y="357"/>
                    <a:pt x="1413" y="357"/>
                  </a:cubicBezTo>
                  <a:cubicBezTo>
                    <a:pt x="1317" y="357"/>
                    <a:pt x="1317" y="357"/>
                    <a:pt x="1317" y="357"/>
                  </a:cubicBezTo>
                  <a:cubicBezTo>
                    <a:pt x="1299" y="357"/>
                    <a:pt x="1285" y="371"/>
                    <a:pt x="1285" y="389"/>
                  </a:cubicBezTo>
                  <a:cubicBezTo>
                    <a:pt x="1285" y="549"/>
                    <a:pt x="1285" y="549"/>
                    <a:pt x="1285" y="549"/>
                  </a:cubicBezTo>
                  <a:cubicBezTo>
                    <a:pt x="982" y="549"/>
                    <a:pt x="982" y="549"/>
                    <a:pt x="982" y="549"/>
                  </a:cubicBezTo>
                  <a:cubicBezTo>
                    <a:pt x="954" y="497"/>
                    <a:pt x="892" y="473"/>
                    <a:pt x="837" y="493"/>
                  </a:cubicBezTo>
                  <a:cubicBezTo>
                    <a:pt x="837" y="165"/>
                    <a:pt x="837" y="165"/>
                    <a:pt x="837" y="165"/>
                  </a:cubicBezTo>
                  <a:cubicBezTo>
                    <a:pt x="837" y="129"/>
                    <a:pt x="865" y="101"/>
                    <a:pt x="901" y="101"/>
                  </a:cubicBezTo>
                  <a:moveTo>
                    <a:pt x="261" y="293"/>
                  </a:moveTo>
                  <a:cubicBezTo>
                    <a:pt x="261" y="187"/>
                    <a:pt x="347" y="101"/>
                    <a:pt x="453" y="101"/>
                  </a:cubicBezTo>
                  <a:cubicBezTo>
                    <a:pt x="559" y="101"/>
                    <a:pt x="645" y="187"/>
                    <a:pt x="645" y="293"/>
                  </a:cubicBezTo>
                  <a:cubicBezTo>
                    <a:pt x="645" y="399"/>
                    <a:pt x="559" y="485"/>
                    <a:pt x="453" y="485"/>
                  </a:cubicBezTo>
                  <a:cubicBezTo>
                    <a:pt x="347" y="484"/>
                    <a:pt x="261" y="399"/>
                    <a:pt x="261" y="293"/>
                  </a:cubicBezTo>
                  <a:moveTo>
                    <a:pt x="129" y="1810"/>
                  </a:moveTo>
                  <a:cubicBezTo>
                    <a:pt x="195" y="1681"/>
                    <a:pt x="197" y="1528"/>
                    <a:pt x="137" y="1396"/>
                  </a:cubicBezTo>
                  <a:cubicBezTo>
                    <a:pt x="94" y="1303"/>
                    <a:pt x="88" y="1196"/>
                    <a:pt x="119" y="1098"/>
                  </a:cubicBezTo>
                  <a:cubicBezTo>
                    <a:pt x="247" y="695"/>
                    <a:pt x="247" y="695"/>
                    <a:pt x="247" y="695"/>
                  </a:cubicBezTo>
                  <a:cubicBezTo>
                    <a:pt x="274" y="595"/>
                    <a:pt x="373" y="533"/>
                    <a:pt x="474" y="552"/>
                  </a:cubicBezTo>
                  <a:cubicBezTo>
                    <a:pt x="516" y="561"/>
                    <a:pt x="553" y="583"/>
                    <a:pt x="581" y="615"/>
                  </a:cubicBezTo>
                  <a:cubicBezTo>
                    <a:pt x="392" y="707"/>
                    <a:pt x="392" y="707"/>
                    <a:pt x="392" y="707"/>
                  </a:cubicBezTo>
                  <a:cubicBezTo>
                    <a:pt x="351" y="727"/>
                    <a:pt x="325" y="768"/>
                    <a:pt x="325" y="814"/>
                  </a:cubicBezTo>
                  <a:cubicBezTo>
                    <a:pt x="324" y="879"/>
                    <a:pt x="377" y="932"/>
                    <a:pt x="443" y="933"/>
                  </a:cubicBezTo>
                  <a:cubicBezTo>
                    <a:pt x="461" y="933"/>
                    <a:pt x="478" y="929"/>
                    <a:pt x="495" y="921"/>
                  </a:cubicBezTo>
                  <a:cubicBezTo>
                    <a:pt x="642" y="851"/>
                    <a:pt x="642" y="851"/>
                    <a:pt x="642" y="851"/>
                  </a:cubicBezTo>
                  <a:cubicBezTo>
                    <a:pt x="677" y="1253"/>
                    <a:pt x="677" y="1253"/>
                    <a:pt x="677" y="1253"/>
                  </a:cubicBezTo>
                  <a:cubicBezTo>
                    <a:pt x="677" y="1536"/>
                    <a:pt x="677" y="1536"/>
                    <a:pt x="677" y="1536"/>
                  </a:cubicBezTo>
                  <a:cubicBezTo>
                    <a:pt x="677" y="1580"/>
                    <a:pt x="672" y="1623"/>
                    <a:pt x="664" y="1665"/>
                  </a:cubicBezTo>
                  <a:cubicBezTo>
                    <a:pt x="630" y="1836"/>
                    <a:pt x="630" y="1836"/>
                    <a:pt x="630" y="1836"/>
                  </a:cubicBezTo>
                  <a:cubicBezTo>
                    <a:pt x="626" y="1853"/>
                    <a:pt x="637" y="1870"/>
                    <a:pt x="655" y="1873"/>
                  </a:cubicBezTo>
                  <a:cubicBezTo>
                    <a:pt x="662" y="1875"/>
                    <a:pt x="670" y="1874"/>
                    <a:pt x="677" y="1870"/>
                  </a:cubicBezTo>
                  <a:cubicBezTo>
                    <a:pt x="705" y="1854"/>
                    <a:pt x="705" y="1854"/>
                    <a:pt x="705" y="1854"/>
                  </a:cubicBezTo>
                  <a:cubicBezTo>
                    <a:pt x="732" y="1838"/>
                    <a:pt x="764" y="1838"/>
                    <a:pt x="792" y="1852"/>
                  </a:cubicBezTo>
                  <a:cubicBezTo>
                    <a:pt x="809" y="1860"/>
                    <a:pt x="823" y="1875"/>
                    <a:pt x="831" y="1893"/>
                  </a:cubicBezTo>
                  <a:cubicBezTo>
                    <a:pt x="549" y="1893"/>
                    <a:pt x="549" y="1893"/>
                    <a:pt x="549" y="1893"/>
                  </a:cubicBezTo>
                  <a:cubicBezTo>
                    <a:pt x="549" y="1667"/>
                    <a:pt x="549" y="1667"/>
                    <a:pt x="549" y="1667"/>
                  </a:cubicBezTo>
                  <a:cubicBezTo>
                    <a:pt x="549" y="1623"/>
                    <a:pt x="545" y="1580"/>
                    <a:pt x="537" y="1538"/>
                  </a:cubicBezTo>
                  <a:cubicBezTo>
                    <a:pt x="494" y="1299"/>
                    <a:pt x="494" y="1299"/>
                    <a:pt x="494" y="1299"/>
                  </a:cubicBezTo>
                  <a:cubicBezTo>
                    <a:pt x="485" y="1247"/>
                    <a:pt x="435" y="1212"/>
                    <a:pt x="384" y="1221"/>
                  </a:cubicBezTo>
                  <a:cubicBezTo>
                    <a:pt x="332" y="1230"/>
                    <a:pt x="297" y="1279"/>
                    <a:pt x="306" y="1331"/>
                  </a:cubicBezTo>
                  <a:cubicBezTo>
                    <a:pt x="306" y="1331"/>
                    <a:pt x="307" y="1332"/>
                    <a:pt x="307" y="1333"/>
                  </a:cubicBezTo>
                  <a:cubicBezTo>
                    <a:pt x="330" y="1463"/>
                    <a:pt x="330" y="1463"/>
                    <a:pt x="330" y="1463"/>
                  </a:cubicBezTo>
                  <a:cubicBezTo>
                    <a:pt x="346" y="1552"/>
                    <a:pt x="333" y="1643"/>
                    <a:pt x="293" y="1724"/>
                  </a:cubicBezTo>
                  <a:cubicBezTo>
                    <a:pt x="262" y="1786"/>
                    <a:pt x="262" y="1786"/>
                    <a:pt x="262" y="1786"/>
                  </a:cubicBezTo>
                  <a:cubicBezTo>
                    <a:pt x="254" y="1802"/>
                    <a:pt x="260" y="1821"/>
                    <a:pt x="276" y="1829"/>
                  </a:cubicBezTo>
                  <a:cubicBezTo>
                    <a:pt x="278" y="1830"/>
                    <a:pt x="281" y="1831"/>
                    <a:pt x="283" y="1832"/>
                  </a:cubicBezTo>
                  <a:cubicBezTo>
                    <a:pt x="315" y="1839"/>
                    <a:pt x="340" y="1862"/>
                    <a:pt x="351" y="1893"/>
                  </a:cubicBezTo>
                  <a:cubicBezTo>
                    <a:pt x="88" y="1893"/>
                    <a:pt x="88" y="1893"/>
                    <a:pt x="88" y="1893"/>
                  </a:cubicBezTo>
                  <a:lnTo>
                    <a:pt x="129" y="18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8" name="Freeform 300">
              <a:extLst>
                <a:ext uri="{FF2B5EF4-FFF2-40B4-BE49-F238E27FC236}">
                  <a16:creationId xmlns:a16="http://schemas.microsoft.com/office/drawing/2014/main" id="{30725578-A9DB-7420-2E22-E19CF418EADD}"/>
                </a:ext>
              </a:extLst>
            </p:cNvPr>
            <p:cNvSpPr>
              <a:spLocks/>
            </p:cNvSpPr>
            <p:nvPr/>
          </p:nvSpPr>
          <p:spPr bwMode="auto">
            <a:xfrm>
              <a:off x="9731376" y="6397625"/>
              <a:ext cx="331788" cy="239712"/>
            </a:xfrm>
            <a:custGeom>
              <a:avLst/>
              <a:gdLst>
                <a:gd name="T0" fmla="*/ 151 w 493"/>
                <a:gd name="T1" fmla="*/ 178 h 355"/>
                <a:gd name="T2" fmla="*/ 45 w 493"/>
                <a:gd name="T3" fmla="*/ 73 h 355"/>
                <a:gd name="T4" fmla="*/ 0 w 493"/>
                <a:gd name="T5" fmla="*/ 118 h 355"/>
                <a:gd name="T6" fmla="*/ 224 w 493"/>
                <a:gd name="T7" fmla="*/ 342 h 355"/>
                <a:gd name="T8" fmla="*/ 269 w 493"/>
                <a:gd name="T9" fmla="*/ 342 h 355"/>
                <a:gd name="T10" fmla="*/ 493 w 493"/>
                <a:gd name="T11" fmla="*/ 118 h 355"/>
                <a:gd name="T12" fmla="*/ 448 w 493"/>
                <a:gd name="T13" fmla="*/ 73 h 355"/>
                <a:gd name="T14" fmla="*/ 343 w 493"/>
                <a:gd name="T15" fmla="*/ 178 h 355"/>
                <a:gd name="T16" fmla="*/ 343 w 493"/>
                <a:gd name="T17" fmla="*/ 0 h 355"/>
                <a:gd name="T18" fmla="*/ 279 w 493"/>
                <a:gd name="T19" fmla="*/ 0 h 355"/>
                <a:gd name="T20" fmla="*/ 279 w 493"/>
                <a:gd name="T21" fmla="*/ 242 h 355"/>
                <a:gd name="T22" fmla="*/ 247 w 493"/>
                <a:gd name="T23" fmla="*/ 274 h 355"/>
                <a:gd name="T24" fmla="*/ 215 w 493"/>
                <a:gd name="T25" fmla="*/ 242 h 355"/>
                <a:gd name="T26" fmla="*/ 215 w 493"/>
                <a:gd name="T27" fmla="*/ 128 h 355"/>
                <a:gd name="T28" fmla="*/ 151 w 493"/>
                <a:gd name="T29" fmla="*/ 128 h 355"/>
                <a:gd name="T30" fmla="*/ 151 w 493"/>
                <a:gd name="T31" fmla="*/ 178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93" h="355">
                  <a:moveTo>
                    <a:pt x="151" y="178"/>
                  </a:moveTo>
                  <a:cubicBezTo>
                    <a:pt x="45" y="73"/>
                    <a:pt x="45" y="73"/>
                    <a:pt x="45" y="73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224" y="342"/>
                    <a:pt x="224" y="342"/>
                    <a:pt x="224" y="342"/>
                  </a:cubicBezTo>
                  <a:cubicBezTo>
                    <a:pt x="237" y="355"/>
                    <a:pt x="257" y="355"/>
                    <a:pt x="269" y="342"/>
                  </a:cubicBezTo>
                  <a:cubicBezTo>
                    <a:pt x="493" y="118"/>
                    <a:pt x="493" y="118"/>
                    <a:pt x="493" y="118"/>
                  </a:cubicBezTo>
                  <a:cubicBezTo>
                    <a:pt x="448" y="73"/>
                    <a:pt x="448" y="73"/>
                    <a:pt x="448" y="73"/>
                  </a:cubicBezTo>
                  <a:cubicBezTo>
                    <a:pt x="343" y="178"/>
                    <a:pt x="343" y="178"/>
                    <a:pt x="343" y="178"/>
                  </a:cubicBezTo>
                  <a:cubicBezTo>
                    <a:pt x="343" y="0"/>
                    <a:pt x="343" y="0"/>
                    <a:pt x="343" y="0"/>
                  </a:cubicBezTo>
                  <a:cubicBezTo>
                    <a:pt x="279" y="0"/>
                    <a:pt x="279" y="0"/>
                    <a:pt x="279" y="0"/>
                  </a:cubicBezTo>
                  <a:cubicBezTo>
                    <a:pt x="279" y="242"/>
                    <a:pt x="279" y="242"/>
                    <a:pt x="279" y="242"/>
                  </a:cubicBezTo>
                  <a:cubicBezTo>
                    <a:pt x="247" y="274"/>
                    <a:pt x="247" y="274"/>
                    <a:pt x="247" y="274"/>
                  </a:cubicBezTo>
                  <a:cubicBezTo>
                    <a:pt x="215" y="242"/>
                    <a:pt x="215" y="242"/>
                    <a:pt x="215" y="242"/>
                  </a:cubicBezTo>
                  <a:cubicBezTo>
                    <a:pt x="215" y="128"/>
                    <a:pt x="215" y="128"/>
                    <a:pt x="215" y="128"/>
                  </a:cubicBezTo>
                  <a:cubicBezTo>
                    <a:pt x="151" y="128"/>
                    <a:pt x="151" y="128"/>
                    <a:pt x="151" y="128"/>
                  </a:cubicBezTo>
                  <a:lnTo>
                    <a:pt x="151" y="1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9" name="Rectangle 301">
              <a:extLst>
                <a:ext uri="{FF2B5EF4-FFF2-40B4-BE49-F238E27FC236}">
                  <a16:creationId xmlns:a16="http://schemas.microsoft.com/office/drawing/2014/main" id="{D015AADD-3E51-AF62-66E4-54E0D02ADF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32976" y="6397625"/>
              <a:ext cx="42863" cy="4286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0" name="Rectangle 302">
              <a:extLst>
                <a:ext uri="{FF2B5EF4-FFF2-40B4-BE49-F238E27FC236}">
                  <a16:creationId xmlns:a16="http://schemas.microsoft.com/office/drawing/2014/main" id="{515802A7-FCB8-D7E4-0C31-B6E4EA0789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32976" y="6311900"/>
              <a:ext cx="42863" cy="4286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1" name="Rectangle 303">
              <a:extLst>
                <a:ext uri="{FF2B5EF4-FFF2-40B4-BE49-F238E27FC236}">
                  <a16:creationId xmlns:a16="http://schemas.microsoft.com/office/drawing/2014/main" id="{42F47B51-FFCB-B349-8E3E-829133D1D1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918701" y="6311900"/>
              <a:ext cx="42863" cy="4286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620372A8-87FE-4841-871B-A14A25D4CCE9}"/>
              </a:ext>
            </a:extLst>
          </p:cNvPr>
          <p:cNvGrpSpPr/>
          <p:nvPr/>
        </p:nvGrpSpPr>
        <p:grpSpPr>
          <a:xfrm>
            <a:off x="4194611" y="3899564"/>
            <a:ext cx="411523" cy="431037"/>
            <a:chOff x="836613" y="6088063"/>
            <a:chExt cx="1171575" cy="1227138"/>
          </a:xfrm>
          <a:solidFill>
            <a:schemeClr val="bg1"/>
          </a:solidFill>
        </p:grpSpPr>
        <p:sp>
          <p:nvSpPr>
            <p:cNvPr id="73" name="Freeform 348">
              <a:extLst>
                <a:ext uri="{FF2B5EF4-FFF2-40B4-BE49-F238E27FC236}">
                  <a16:creationId xmlns:a16="http://schemas.microsoft.com/office/drawing/2014/main" id="{48F2234F-7820-4D2D-F649-B45A73D5C18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71538" y="6088063"/>
              <a:ext cx="1095375" cy="1227138"/>
            </a:xfrm>
            <a:custGeom>
              <a:avLst/>
              <a:gdLst>
                <a:gd name="T0" fmla="*/ 470 w 1795"/>
                <a:gd name="T1" fmla="*/ 273 h 2008"/>
                <a:gd name="T2" fmla="*/ 52 w 1795"/>
                <a:gd name="T3" fmla="*/ 346 h 2008"/>
                <a:gd name="T4" fmla="*/ 6 w 1795"/>
                <a:gd name="T5" fmla="*/ 721 h 2008"/>
                <a:gd name="T6" fmla="*/ 1496 w 1795"/>
                <a:gd name="T7" fmla="*/ 1523 h 2008"/>
                <a:gd name="T8" fmla="*/ 1788 w 1795"/>
                <a:gd name="T9" fmla="*/ 721 h 2008"/>
                <a:gd name="T10" fmla="*/ 1756 w 1795"/>
                <a:gd name="T11" fmla="*/ 345 h 2008"/>
                <a:gd name="T12" fmla="*/ 1321 w 1795"/>
                <a:gd name="T13" fmla="*/ 280 h 2008"/>
                <a:gd name="T14" fmla="*/ 1261 w 1795"/>
                <a:gd name="T15" fmla="*/ 257 h 2008"/>
                <a:gd name="T16" fmla="*/ 871 w 1795"/>
                <a:gd name="T17" fmla="*/ 0 h 2008"/>
                <a:gd name="T18" fmla="*/ 446 w 1795"/>
                <a:gd name="T19" fmla="*/ 82 h 2008"/>
                <a:gd name="T20" fmla="*/ 506 w 1795"/>
                <a:gd name="T21" fmla="*/ 864 h 2008"/>
                <a:gd name="T22" fmla="*/ 603 w 1795"/>
                <a:gd name="T23" fmla="*/ 1618 h 2008"/>
                <a:gd name="T24" fmla="*/ 552 w 1795"/>
                <a:gd name="T25" fmla="*/ 1312 h 2008"/>
                <a:gd name="T26" fmla="*/ 871 w 1795"/>
                <a:gd name="T27" fmla="*/ 1665 h 2008"/>
                <a:gd name="T28" fmla="*/ 1111 w 1795"/>
                <a:gd name="T29" fmla="*/ 1673 h 2008"/>
                <a:gd name="T30" fmla="*/ 935 w 1795"/>
                <a:gd name="T31" fmla="*/ 1601 h 2008"/>
                <a:gd name="T32" fmla="*/ 1137 w 1795"/>
                <a:gd name="T33" fmla="*/ 1611 h 2008"/>
                <a:gd name="T34" fmla="*/ 935 w 1795"/>
                <a:gd name="T35" fmla="*/ 960 h 2008"/>
                <a:gd name="T36" fmla="*/ 935 w 1795"/>
                <a:gd name="T37" fmla="*/ 1248 h 2008"/>
                <a:gd name="T38" fmla="*/ 1111 w 1795"/>
                <a:gd name="T39" fmla="*/ 888 h 2008"/>
                <a:gd name="T40" fmla="*/ 871 w 1795"/>
                <a:gd name="T41" fmla="*/ 896 h 2008"/>
                <a:gd name="T42" fmla="*/ 871 w 1795"/>
                <a:gd name="T43" fmla="*/ 960 h 2008"/>
                <a:gd name="T44" fmla="*/ 669 w 1795"/>
                <a:gd name="T45" fmla="*/ 950 h 2008"/>
                <a:gd name="T46" fmla="*/ 871 w 1795"/>
                <a:gd name="T47" fmla="*/ 1601 h 2008"/>
                <a:gd name="T48" fmla="*/ 871 w 1795"/>
                <a:gd name="T49" fmla="*/ 1312 h 2008"/>
                <a:gd name="T50" fmla="*/ 506 w 1795"/>
                <a:gd name="T51" fmla="*/ 1697 h 2008"/>
                <a:gd name="T52" fmla="*/ 1300 w 1795"/>
                <a:gd name="T53" fmla="*/ 1697 h 2008"/>
                <a:gd name="T54" fmla="*/ 1203 w 1795"/>
                <a:gd name="T55" fmla="*/ 1618 h 2008"/>
                <a:gd name="T56" fmla="*/ 1351 w 1795"/>
                <a:gd name="T57" fmla="*/ 1641 h 2008"/>
                <a:gd name="T58" fmla="*/ 1203 w 1795"/>
                <a:gd name="T59" fmla="*/ 943 h 2008"/>
                <a:gd name="T60" fmla="*/ 1254 w 1795"/>
                <a:gd name="T61" fmla="*/ 1248 h 2008"/>
                <a:gd name="T62" fmla="*/ 1090 w 1795"/>
                <a:gd name="T63" fmla="*/ 736 h 2008"/>
                <a:gd name="T64" fmla="*/ 603 w 1795"/>
                <a:gd name="T65" fmla="*/ 943 h 2008"/>
                <a:gd name="T66" fmla="*/ 455 w 1795"/>
                <a:gd name="T67" fmla="*/ 920 h 2008"/>
                <a:gd name="T68" fmla="*/ 1468 w 1795"/>
                <a:gd name="T69" fmla="*/ 981 h 2008"/>
                <a:gd name="T70" fmla="*/ 903 w 1795"/>
                <a:gd name="T71" fmla="*/ 320 h 2008"/>
                <a:gd name="T72" fmla="*/ 1050 w 1795"/>
                <a:gd name="T73" fmla="*/ 414 h 2008"/>
                <a:gd name="T74" fmla="*/ 1173 w 1795"/>
                <a:gd name="T75" fmla="*/ 597 h 2008"/>
                <a:gd name="T76" fmla="*/ 1287 w 1795"/>
                <a:gd name="T77" fmla="*/ 770 h 2008"/>
                <a:gd name="T78" fmla="*/ 529 w 1795"/>
                <a:gd name="T79" fmla="*/ 680 h 2008"/>
                <a:gd name="T80" fmla="*/ 459 w 1795"/>
                <a:gd name="T81" fmla="*/ 821 h 2008"/>
                <a:gd name="T82" fmla="*/ 881 w 1795"/>
                <a:gd name="T83" fmla="*/ 256 h 2008"/>
                <a:gd name="T84" fmla="*/ 1127 w 1795"/>
                <a:gd name="T85" fmla="*/ 544 h 2008"/>
                <a:gd name="T86" fmla="*/ 1159 w 1795"/>
                <a:gd name="T87" fmla="*/ 512 h 20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795" h="2008">
                  <a:moveTo>
                    <a:pt x="446" y="82"/>
                  </a:moveTo>
                  <a:cubicBezTo>
                    <a:pt x="389" y="111"/>
                    <a:pt x="389" y="111"/>
                    <a:pt x="389" y="111"/>
                  </a:cubicBezTo>
                  <a:cubicBezTo>
                    <a:pt x="470" y="273"/>
                    <a:pt x="470" y="273"/>
                    <a:pt x="470" y="273"/>
                  </a:cubicBezTo>
                  <a:cubicBezTo>
                    <a:pt x="389" y="308"/>
                    <a:pt x="313" y="355"/>
                    <a:pt x="245" y="411"/>
                  </a:cubicBezTo>
                  <a:cubicBezTo>
                    <a:pt x="90" y="295"/>
                    <a:pt x="90" y="295"/>
                    <a:pt x="90" y="295"/>
                  </a:cubicBezTo>
                  <a:cubicBezTo>
                    <a:pt x="52" y="346"/>
                    <a:pt x="52" y="346"/>
                    <a:pt x="52" y="346"/>
                  </a:cubicBezTo>
                  <a:cubicBezTo>
                    <a:pt x="196" y="454"/>
                    <a:pt x="196" y="454"/>
                    <a:pt x="196" y="454"/>
                  </a:cubicBezTo>
                  <a:cubicBezTo>
                    <a:pt x="123" y="523"/>
                    <a:pt x="59" y="602"/>
                    <a:pt x="6" y="687"/>
                  </a:cubicBezTo>
                  <a:cubicBezTo>
                    <a:pt x="0" y="698"/>
                    <a:pt x="0" y="711"/>
                    <a:pt x="6" y="721"/>
                  </a:cubicBezTo>
                  <a:cubicBezTo>
                    <a:pt x="84" y="848"/>
                    <a:pt x="188" y="956"/>
                    <a:pt x="310" y="1040"/>
                  </a:cubicBezTo>
                  <a:cubicBezTo>
                    <a:pt x="177" y="1367"/>
                    <a:pt x="334" y="1740"/>
                    <a:pt x="661" y="1874"/>
                  </a:cubicBezTo>
                  <a:cubicBezTo>
                    <a:pt x="988" y="2008"/>
                    <a:pt x="1362" y="1850"/>
                    <a:pt x="1496" y="1523"/>
                  </a:cubicBezTo>
                  <a:cubicBezTo>
                    <a:pt x="1559" y="1368"/>
                    <a:pt x="1559" y="1195"/>
                    <a:pt x="1496" y="1040"/>
                  </a:cubicBezTo>
                  <a:cubicBezTo>
                    <a:pt x="1519" y="1023"/>
                    <a:pt x="1542" y="1006"/>
                    <a:pt x="1564" y="987"/>
                  </a:cubicBezTo>
                  <a:cubicBezTo>
                    <a:pt x="1652" y="910"/>
                    <a:pt x="1727" y="821"/>
                    <a:pt x="1788" y="721"/>
                  </a:cubicBezTo>
                  <a:cubicBezTo>
                    <a:pt x="1795" y="711"/>
                    <a:pt x="1795" y="698"/>
                    <a:pt x="1788" y="687"/>
                  </a:cubicBezTo>
                  <a:cubicBezTo>
                    <a:pt x="1739" y="608"/>
                    <a:pt x="1679" y="535"/>
                    <a:pt x="1611" y="471"/>
                  </a:cubicBezTo>
                  <a:cubicBezTo>
                    <a:pt x="1756" y="345"/>
                    <a:pt x="1756" y="345"/>
                    <a:pt x="1756" y="345"/>
                  </a:cubicBezTo>
                  <a:cubicBezTo>
                    <a:pt x="1714" y="296"/>
                    <a:pt x="1714" y="296"/>
                    <a:pt x="1714" y="296"/>
                  </a:cubicBezTo>
                  <a:cubicBezTo>
                    <a:pt x="1563" y="428"/>
                    <a:pt x="1563" y="428"/>
                    <a:pt x="1563" y="428"/>
                  </a:cubicBezTo>
                  <a:cubicBezTo>
                    <a:pt x="1490" y="368"/>
                    <a:pt x="1408" y="318"/>
                    <a:pt x="1321" y="280"/>
                  </a:cubicBezTo>
                  <a:cubicBezTo>
                    <a:pt x="1406" y="111"/>
                    <a:pt x="1406" y="111"/>
                    <a:pt x="1406" y="111"/>
                  </a:cubicBezTo>
                  <a:cubicBezTo>
                    <a:pt x="1349" y="82"/>
                    <a:pt x="1349" y="82"/>
                    <a:pt x="1349" y="82"/>
                  </a:cubicBezTo>
                  <a:cubicBezTo>
                    <a:pt x="1261" y="257"/>
                    <a:pt x="1261" y="257"/>
                    <a:pt x="1261" y="257"/>
                  </a:cubicBezTo>
                  <a:cubicBezTo>
                    <a:pt x="1156" y="220"/>
                    <a:pt x="1046" y="198"/>
                    <a:pt x="935" y="194"/>
                  </a:cubicBezTo>
                  <a:cubicBezTo>
                    <a:pt x="935" y="0"/>
                    <a:pt x="935" y="0"/>
                    <a:pt x="935" y="0"/>
                  </a:cubicBezTo>
                  <a:cubicBezTo>
                    <a:pt x="871" y="0"/>
                    <a:pt x="871" y="0"/>
                    <a:pt x="871" y="0"/>
                  </a:cubicBezTo>
                  <a:cubicBezTo>
                    <a:pt x="871" y="193"/>
                    <a:pt x="871" y="193"/>
                    <a:pt x="871" y="193"/>
                  </a:cubicBezTo>
                  <a:cubicBezTo>
                    <a:pt x="755" y="193"/>
                    <a:pt x="640" y="212"/>
                    <a:pt x="530" y="250"/>
                  </a:cubicBezTo>
                  <a:lnTo>
                    <a:pt x="446" y="82"/>
                  </a:lnTo>
                  <a:close/>
                  <a:moveTo>
                    <a:pt x="716" y="736"/>
                  </a:moveTo>
                  <a:cubicBezTo>
                    <a:pt x="679" y="780"/>
                    <a:pt x="648" y="829"/>
                    <a:pt x="626" y="881"/>
                  </a:cubicBezTo>
                  <a:cubicBezTo>
                    <a:pt x="585" y="877"/>
                    <a:pt x="545" y="871"/>
                    <a:pt x="506" y="864"/>
                  </a:cubicBezTo>
                  <a:cubicBezTo>
                    <a:pt x="566" y="807"/>
                    <a:pt x="638" y="763"/>
                    <a:pt x="716" y="736"/>
                  </a:cubicBezTo>
                  <a:moveTo>
                    <a:pt x="552" y="1312"/>
                  </a:moveTo>
                  <a:cubicBezTo>
                    <a:pt x="554" y="1416"/>
                    <a:pt x="571" y="1519"/>
                    <a:pt x="603" y="1618"/>
                  </a:cubicBezTo>
                  <a:cubicBezTo>
                    <a:pt x="551" y="1624"/>
                    <a:pt x="502" y="1632"/>
                    <a:pt x="455" y="1641"/>
                  </a:cubicBezTo>
                  <a:cubicBezTo>
                    <a:pt x="379" y="1548"/>
                    <a:pt x="335" y="1433"/>
                    <a:pt x="329" y="1312"/>
                  </a:cubicBezTo>
                  <a:lnTo>
                    <a:pt x="552" y="1312"/>
                  </a:lnTo>
                  <a:close/>
                  <a:moveTo>
                    <a:pt x="871" y="1852"/>
                  </a:moveTo>
                  <a:cubicBezTo>
                    <a:pt x="803" y="1836"/>
                    <a:pt x="741" y="1770"/>
                    <a:pt x="695" y="1673"/>
                  </a:cubicBezTo>
                  <a:cubicBezTo>
                    <a:pt x="752" y="1668"/>
                    <a:pt x="811" y="1666"/>
                    <a:pt x="871" y="1665"/>
                  </a:cubicBezTo>
                  <a:lnTo>
                    <a:pt x="871" y="1852"/>
                  </a:lnTo>
                  <a:close/>
                  <a:moveTo>
                    <a:pt x="935" y="1665"/>
                  </a:moveTo>
                  <a:cubicBezTo>
                    <a:pt x="995" y="1666"/>
                    <a:pt x="1054" y="1668"/>
                    <a:pt x="1111" y="1673"/>
                  </a:cubicBezTo>
                  <a:cubicBezTo>
                    <a:pt x="1065" y="1770"/>
                    <a:pt x="1003" y="1836"/>
                    <a:pt x="935" y="1852"/>
                  </a:cubicBezTo>
                  <a:lnTo>
                    <a:pt x="935" y="1665"/>
                  </a:lnTo>
                  <a:close/>
                  <a:moveTo>
                    <a:pt x="935" y="1601"/>
                  </a:moveTo>
                  <a:cubicBezTo>
                    <a:pt x="935" y="1312"/>
                    <a:pt x="935" y="1312"/>
                    <a:pt x="935" y="1312"/>
                  </a:cubicBezTo>
                  <a:cubicBezTo>
                    <a:pt x="1190" y="1312"/>
                    <a:pt x="1190" y="1312"/>
                    <a:pt x="1190" y="1312"/>
                  </a:cubicBezTo>
                  <a:cubicBezTo>
                    <a:pt x="1188" y="1414"/>
                    <a:pt x="1170" y="1515"/>
                    <a:pt x="1137" y="1611"/>
                  </a:cubicBezTo>
                  <a:cubicBezTo>
                    <a:pt x="1072" y="1605"/>
                    <a:pt x="1004" y="1602"/>
                    <a:pt x="935" y="1601"/>
                  </a:cubicBezTo>
                  <a:moveTo>
                    <a:pt x="935" y="1248"/>
                  </a:moveTo>
                  <a:cubicBezTo>
                    <a:pt x="935" y="960"/>
                    <a:pt x="935" y="960"/>
                    <a:pt x="935" y="960"/>
                  </a:cubicBezTo>
                  <a:cubicBezTo>
                    <a:pt x="1004" y="959"/>
                    <a:pt x="1072" y="956"/>
                    <a:pt x="1137" y="950"/>
                  </a:cubicBezTo>
                  <a:cubicBezTo>
                    <a:pt x="1170" y="1046"/>
                    <a:pt x="1188" y="1147"/>
                    <a:pt x="1190" y="1248"/>
                  </a:cubicBezTo>
                  <a:lnTo>
                    <a:pt x="935" y="1248"/>
                  </a:lnTo>
                  <a:close/>
                  <a:moveTo>
                    <a:pt x="935" y="896"/>
                  </a:moveTo>
                  <a:cubicBezTo>
                    <a:pt x="935" y="708"/>
                    <a:pt x="935" y="708"/>
                    <a:pt x="935" y="708"/>
                  </a:cubicBezTo>
                  <a:cubicBezTo>
                    <a:pt x="1003" y="724"/>
                    <a:pt x="1065" y="791"/>
                    <a:pt x="1111" y="888"/>
                  </a:cubicBezTo>
                  <a:cubicBezTo>
                    <a:pt x="1054" y="893"/>
                    <a:pt x="995" y="895"/>
                    <a:pt x="935" y="896"/>
                  </a:cubicBezTo>
                  <a:moveTo>
                    <a:pt x="871" y="708"/>
                  </a:moveTo>
                  <a:cubicBezTo>
                    <a:pt x="871" y="896"/>
                    <a:pt x="871" y="896"/>
                    <a:pt x="871" y="896"/>
                  </a:cubicBezTo>
                  <a:cubicBezTo>
                    <a:pt x="811" y="895"/>
                    <a:pt x="752" y="893"/>
                    <a:pt x="695" y="888"/>
                  </a:cubicBezTo>
                  <a:cubicBezTo>
                    <a:pt x="741" y="791"/>
                    <a:pt x="803" y="724"/>
                    <a:pt x="871" y="708"/>
                  </a:cubicBezTo>
                  <a:moveTo>
                    <a:pt x="871" y="960"/>
                  </a:moveTo>
                  <a:cubicBezTo>
                    <a:pt x="871" y="1248"/>
                    <a:pt x="871" y="1248"/>
                    <a:pt x="871" y="1248"/>
                  </a:cubicBezTo>
                  <a:cubicBezTo>
                    <a:pt x="616" y="1248"/>
                    <a:pt x="616" y="1248"/>
                    <a:pt x="616" y="1248"/>
                  </a:cubicBezTo>
                  <a:cubicBezTo>
                    <a:pt x="618" y="1147"/>
                    <a:pt x="636" y="1046"/>
                    <a:pt x="669" y="950"/>
                  </a:cubicBezTo>
                  <a:cubicBezTo>
                    <a:pt x="734" y="956"/>
                    <a:pt x="802" y="959"/>
                    <a:pt x="871" y="960"/>
                  </a:cubicBezTo>
                  <a:moveTo>
                    <a:pt x="871" y="1312"/>
                  </a:moveTo>
                  <a:cubicBezTo>
                    <a:pt x="871" y="1601"/>
                    <a:pt x="871" y="1601"/>
                    <a:pt x="871" y="1601"/>
                  </a:cubicBezTo>
                  <a:cubicBezTo>
                    <a:pt x="802" y="1602"/>
                    <a:pt x="734" y="1605"/>
                    <a:pt x="669" y="1611"/>
                  </a:cubicBezTo>
                  <a:cubicBezTo>
                    <a:pt x="636" y="1515"/>
                    <a:pt x="618" y="1414"/>
                    <a:pt x="616" y="1312"/>
                  </a:cubicBezTo>
                  <a:lnTo>
                    <a:pt x="871" y="1312"/>
                  </a:lnTo>
                  <a:close/>
                  <a:moveTo>
                    <a:pt x="626" y="1680"/>
                  </a:moveTo>
                  <a:cubicBezTo>
                    <a:pt x="648" y="1732"/>
                    <a:pt x="679" y="1781"/>
                    <a:pt x="716" y="1825"/>
                  </a:cubicBezTo>
                  <a:cubicBezTo>
                    <a:pt x="638" y="1798"/>
                    <a:pt x="566" y="1754"/>
                    <a:pt x="506" y="1697"/>
                  </a:cubicBezTo>
                  <a:cubicBezTo>
                    <a:pt x="545" y="1690"/>
                    <a:pt x="585" y="1684"/>
                    <a:pt x="626" y="1680"/>
                  </a:cubicBezTo>
                  <a:moveTo>
                    <a:pt x="1180" y="1680"/>
                  </a:moveTo>
                  <a:cubicBezTo>
                    <a:pt x="1221" y="1684"/>
                    <a:pt x="1261" y="1690"/>
                    <a:pt x="1300" y="1697"/>
                  </a:cubicBezTo>
                  <a:cubicBezTo>
                    <a:pt x="1240" y="1754"/>
                    <a:pt x="1168" y="1798"/>
                    <a:pt x="1090" y="1825"/>
                  </a:cubicBezTo>
                  <a:cubicBezTo>
                    <a:pt x="1127" y="1781"/>
                    <a:pt x="1158" y="1732"/>
                    <a:pt x="1180" y="1680"/>
                  </a:cubicBezTo>
                  <a:moveTo>
                    <a:pt x="1203" y="1618"/>
                  </a:moveTo>
                  <a:cubicBezTo>
                    <a:pt x="1235" y="1519"/>
                    <a:pt x="1252" y="1416"/>
                    <a:pt x="1254" y="1312"/>
                  </a:cubicBezTo>
                  <a:cubicBezTo>
                    <a:pt x="1477" y="1312"/>
                    <a:pt x="1477" y="1312"/>
                    <a:pt x="1477" y="1312"/>
                  </a:cubicBezTo>
                  <a:cubicBezTo>
                    <a:pt x="1471" y="1433"/>
                    <a:pt x="1427" y="1548"/>
                    <a:pt x="1351" y="1641"/>
                  </a:cubicBezTo>
                  <a:cubicBezTo>
                    <a:pt x="1304" y="1632"/>
                    <a:pt x="1255" y="1624"/>
                    <a:pt x="1203" y="1618"/>
                  </a:cubicBezTo>
                  <a:moveTo>
                    <a:pt x="1254" y="1248"/>
                  </a:moveTo>
                  <a:cubicBezTo>
                    <a:pt x="1252" y="1145"/>
                    <a:pt x="1235" y="1042"/>
                    <a:pt x="1203" y="943"/>
                  </a:cubicBezTo>
                  <a:cubicBezTo>
                    <a:pt x="1255" y="937"/>
                    <a:pt x="1304" y="929"/>
                    <a:pt x="1351" y="920"/>
                  </a:cubicBezTo>
                  <a:cubicBezTo>
                    <a:pt x="1427" y="1013"/>
                    <a:pt x="1471" y="1128"/>
                    <a:pt x="1477" y="1248"/>
                  </a:cubicBezTo>
                  <a:lnTo>
                    <a:pt x="1254" y="1248"/>
                  </a:lnTo>
                  <a:close/>
                  <a:moveTo>
                    <a:pt x="1300" y="864"/>
                  </a:moveTo>
                  <a:cubicBezTo>
                    <a:pt x="1261" y="871"/>
                    <a:pt x="1221" y="877"/>
                    <a:pt x="1180" y="881"/>
                  </a:cubicBezTo>
                  <a:cubicBezTo>
                    <a:pt x="1158" y="829"/>
                    <a:pt x="1127" y="780"/>
                    <a:pt x="1090" y="736"/>
                  </a:cubicBezTo>
                  <a:cubicBezTo>
                    <a:pt x="1168" y="763"/>
                    <a:pt x="1240" y="807"/>
                    <a:pt x="1300" y="864"/>
                  </a:cubicBezTo>
                  <a:moveTo>
                    <a:pt x="455" y="920"/>
                  </a:moveTo>
                  <a:cubicBezTo>
                    <a:pt x="502" y="929"/>
                    <a:pt x="551" y="937"/>
                    <a:pt x="603" y="943"/>
                  </a:cubicBezTo>
                  <a:cubicBezTo>
                    <a:pt x="571" y="1042"/>
                    <a:pt x="554" y="1145"/>
                    <a:pt x="552" y="1248"/>
                  </a:cubicBezTo>
                  <a:cubicBezTo>
                    <a:pt x="329" y="1248"/>
                    <a:pt x="329" y="1248"/>
                    <a:pt x="329" y="1248"/>
                  </a:cubicBezTo>
                  <a:cubicBezTo>
                    <a:pt x="335" y="1128"/>
                    <a:pt x="379" y="1013"/>
                    <a:pt x="455" y="920"/>
                  </a:cubicBezTo>
                  <a:moveTo>
                    <a:pt x="1723" y="704"/>
                  </a:moveTo>
                  <a:cubicBezTo>
                    <a:pt x="1668" y="792"/>
                    <a:pt x="1600" y="870"/>
                    <a:pt x="1522" y="938"/>
                  </a:cubicBezTo>
                  <a:cubicBezTo>
                    <a:pt x="1505" y="953"/>
                    <a:pt x="1487" y="967"/>
                    <a:pt x="1468" y="981"/>
                  </a:cubicBezTo>
                  <a:cubicBezTo>
                    <a:pt x="1436" y="921"/>
                    <a:pt x="1396" y="867"/>
                    <a:pt x="1347" y="821"/>
                  </a:cubicBezTo>
                  <a:cubicBezTo>
                    <a:pt x="1350" y="803"/>
                    <a:pt x="1351" y="786"/>
                    <a:pt x="1351" y="768"/>
                  </a:cubicBezTo>
                  <a:cubicBezTo>
                    <a:pt x="1351" y="521"/>
                    <a:pt x="1150" y="320"/>
                    <a:pt x="903" y="320"/>
                  </a:cubicBezTo>
                  <a:cubicBezTo>
                    <a:pt x="722" y="320"/>
                    <a:pt x="559" y="429"/>
                    <a:pt x="489" y="596"/>
                  </a:cubicBezTo>
                  <a:cubicBezTo>
                    <a:pt x="548" y="621"/>
                    <a:pt x="548" y="621"/>
                    <a:pt x="548" y="621"/>
                  </a:cubicBezTo>
                  <a:cubicBezTo>
                    <a:pt x="630" y="425"/>
                    <a:pt x="854" y="333"/>
                    <a:pt x="1050" y="414"/>
                  </a:cubicBezTo>
                  <a:cubicBezTo>
                    <a:pt x="1060" y="418"/>
                    <a:pt x="1071" y="423"/>
                    <a:pt x="1081" y="429"/>
                  </a:cubicBezTo>
                  <a:cubicBezTo>
                    <a:pt x="1035" y="454"/>
                    <a:pt x="1018" y="512"/>
                    <a:pt x="1043" y="558"/>
                  </a:cubicBezTo>
                  <a:cubicBezTo>
                    <a:pt x="1068" y="605"/>
                    <a:pt x="1126" y="622"/>
                    <a:pt x="1173" y="597"/>
                  </a:cubicBezTo>
                  <a:cubicBezTo>
                    <a:pt x="1193" y="586"/>
                    <a:pt x="1208" y="568"/>
                    <a:pt x="1216" y="547"/>
                  </a:cubicBezTo>
                  <a:cubicBezTo>
                    <a:pt x="1262" y="612"/>
                    <a:pt x="1287" y="689"/>
                    <a:pt x="1287" y="768"/>
                  </a:cubicBezTo>
                  <a:cubicBezTo>
                    <a:pt x="1287" y="770"/>
                    <a:pt x="1287" y="770"/>
                    <a:pt x="1287" y="770"/>
                  </a:cubicBezTo>
                  <a:cubicBezTo>
                    <a:pt x="1060" y="597"/>
                    <a:pt x="746" y="597"/>
                    <a:pt x="519" y="770"/>
                  </a:cubicBezTo>
                  <a:cubicBezTo>
                    <a:pt x="519" y="768"/>
                    <a:pt x="519" y="768"/>
                    <a:pt x="519" y="768"/>
                  </a:cubicBezTo>
                  <a:cubicBezTo>
                    <a:pt x="519" y="739"/>
                    <a:pt x="522" y="709"/>
                    <a:pt x="529" y="680"/>
                  </a:cubicBezTo>
                  <a:cubicBezTo>
                    <a:pt x="467" y="665"/>
                    <a:pt x="467" y="665"/>
                    <a:pt x="467" y="665"/>
                  </a:cubicBezTo>
                  <a:cubicBezTo>
                    <a:pt x="459" y="699"/>
                    <a:pt x="455" y="734"/>
                    <a:pt x="455" y="768"/>
                  </a:cubicBezTo>
                  <a:cubicBezTo>
                    <a:pt x="455" y="786"/>
                    <a:pt x="456" y="803"/>
                    <a:pt x="459" y="821"/>
                  </a:cubicBezTo>
                  <a:cubicBezTo>
                    <a:pt x="410" y="867"/>
                    <a:pt x="369" y="922"/>
                    <a:pt x="338" y="981"/>
                  </a:cubicBezTo>
                  <a:cubicBezTo>
                    <a:pt x="232" y="907"/>
                    <a:pt x="141" y="813"/>
                    <a:pt x="71" y="704"/>
                  </a:cubicBezTo>
                  <a:cubicBezTo>
                    <a:pt x="267" y="403"/>
                    <a:pt x="532" y="256"/>
                    <a:pt x="881" y="256"/>
                  </a:cubicBezTo>
                  <a:cubicBezTo>
                    <a:pt x="1236" y="256"/>
                    <a:pt x="1534" y="415"/>
                    <a:pt x="1723" y="704"/>
                  </a:cubicBezTo>
                  <a:moveTo>
                    <a:pt x="1159" y="512"/>
                  </a:moveTo>
                  <a:cubicBezTo>
                    <a:pt x="1159" y="530"/>
                    <a:pt x="1145" y="544"/>
                    <a:pt x="1127" y="544"/>
                  </a:cubicBezTo>
                  <a:cubicBezTo>
                    <a:pt x="1109" y="544"/>
                    <a:pt x="1095" y="530"/>
                    <a:pt x="1095" y="512"/>
                  </a:cubicBezTo>
                  <a:cubicBezTo>
                    <a:pt x="1095" y="495"/>
                    <a:pt x="1109" y="480"/>
                    <a:pt x="1127" y="480"/>
                  </a:cubicBezTo>
                  <a:cubicBezTo>
                    <a:pt x="1145" y="480"/>
                    <a:pt x="1159" y="495"/>
                    <a:pt x="1159" y="5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4" name="Rectangle 349">
              <a:extLst>
                <a:ext uri="{FF2B5EF4-FFF2-40B4-BE49-F238E27FC236}">
                  <a16:creationId xmlns:a16="http://schemas.microsoft.com/office/drawing/2014/main" id="{BB460AA4-5EEA-C00F-364C-5F12BC0A15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6301" y="7143751"/>
              <a:ext cx="39688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5" name="Rectangle 350">
              <a:extLst>
                <a:ext uri="{FF2B5EF4-FFF2-40B4-BE49-F238E27FC236}">
                  <a16:creationId xmlns:a16="http://schemas.microsoft.com/office/drawing/2014/main" id="{9198A4C1-1B5F-E882-1838-B683CE7AB85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6301" y="7223126"/>
              <a:ext cx="39688" cy="381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6" name="Rectangle 351">
              <a:extLst>
                <a:ext uri="{FF2B5EF4-FFF2-40B4-BE49-F238E27FC236}">
                  <a16:creationId xmlns:a16="http://schemas.microsoft.com/office/drawing/2014/main" id="{6A11854E-724B-12C8-9EA0-3F21A25EC7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5988" y="7183438"/>
              <a:ext cx="38100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7" name="Rectangle 352">
              <a:extLst>
                <a:ext uri="{FF2B5EF4-FFF2-40B4-BE49-F238E27FC236}">
                  <a16:creationId xmlns:a16="http://schemas.microsoft.com/office/drawing/2014/main" id="{BDAD892F-84D5-674D-A4D1-61A139A1ED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6613" y="7183438"/>
              <a:ext cx="39688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8" name="Rectangle 353">
              <a:extLst>
                <a:ext uri="{FF2B5EF4-FFF2-40B4-BE49-F238E27FC236}">
                  <a16:creationId xmlns:a16="http://schemas.microsoft.com/office/drawing/2014/main" id="{19EC4990-BCF7-76C5-9705-42A695AA36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0401" y="7143751"/>
              <a:ext cx="39688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9" name="Rectangle 354">
              <a:extLst>
                <a:ext uri="{FF2B5EF4-FFF2-40B4-BE49-F238E27FC236}">
                  <a16:creationId xmlns:a16="http://schemas.microsoft.com/office/drawing/2014/main" id="{D2B3C7B9-D88C-AC41-5EAA-C04DFDC88E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0401" y="7223126"/>
              <a:ext cx="39688" cy="381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0" name="Rectangle 355">
              <a:extLst>
                <a:ext uri="{FF2B5EF4-FFF2-40B4-BE49-F238E27FC236}">
                  <a16:creationId xmlns:a16="http://schemas.microsoft.com/office/drawing/2014/main" id="{2443A9E2-27CC-BEA7-1DB9-8F95B20F77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70088" y="7183438"/>
              <a:ext cx="38100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1" name="Rectangle 356">
              <a:extLst>
                <a:ext uri="{FF2B5EF4-FFF2-40B4-BE49-F238E27FC236}">
                  <a16:creationId xmlns:a16="http://schemas.microsoft.com/office/drawing/2014/main" id="{65C03E88-23A7-EF10-0CA1-3DB0C7782C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92301" y="7183438"/>
              <a:ext cx="38100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82" name="Group 81">
            <a:extLst>
              <a:ext uri="{FF2B5EF4-FFF2-40B4-BE49-F238E27FC236}">
                <a16:creationId xmlns:a16="http://schemas.microsoft.com/office/drawing/2014/main" id="{D9BE00AA-9011-7C78-BF0D-678B594639AB}"/>
              </a:ext>
            </a:extLst>
          </p:cNvPr>
          <p:cNvGrpSpPr/>
          <p:nvPr/>
        </p:nvGrpSpPr>
        <p:grpSpPr>
          <a:xfrm>
            <a:off x="6504133" y="4971945"/>
            <a:ext cx="463845" cy="417840"/>
            <a:chOff x="5070475" y="5924550"/>
            <a:chExt cx="576263" cy="519113"/>
          </a:xfrm>
          <a:solidFill>
            <a:schemeClr val="bg1"/>
          </a:solidFill>
        </p:grpSpPr>
        <p:sp>
          <p:nvSpPr>
            <p:cNvPr id="83" name="Freeform 6">
              <a:extLst>
                <a:ext uri="{FF2B5EF4-FFF2-40B4-BE49-F238E27FC236}">
                  <a16:creationId xmlns:a16="http://schemas.microsoft.com/office/drawing/2014/main" id="{D12BFE5E-8011-93F0-7FEB-E3EDBB29B26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70475" y="6030913"/>
              <a:ext cx="538163" cy="412750"/>
            </a:xfrm>
            <a:custGeom>
              <a:avLst/>
              <a:gdLst>
                <a:gd name="T0" fmla="*/ 250 w 3498"/>
                <a:gd name="T1" fmla="*/ 2686 h 2686"/>
                <a:gd name="T2" fmla="*/ 3248 w 3498"/>
                <a:gd name="T3" fmla="*/ 2686 h 2686"/>
                <a:gd name="T4" fmla="*/ 3498 w 3498"/>
                <a:gd name="T5" fmla="*/ 2436 h 2686"/>
                <a:gd name="T6" fmla="*/ 3498 w 3498"/>
                <a:gd name="T7" fmla="*/ 2248 h 2686"/>
                <a:gd name="T8" fmla="*/ 3436 w 3498"/>
                <a:gd name="T9" fmla="*/ 2186 h 2686"/>
                <a:gd name="T10" fmla="*/ 3311 w 3498"/>
                <a:gd name="T11" fmla="*/ 2186 h 2686"/>
                <a:gd name="T12" fmla="*/ 3311 w 3498"/>
                <a:gd name="T13" fmla="*/ 1249 h 2686"/>
                <a:gd name="T14" fmla="*/ 3186 w 3498"/>
                <a:gd name="T15" fmla="*/ 1249 h 2686"/>
                <a:gd name="T16" fmla="*/ 3186 w 3498"/>
                <a:gd name="T17" fmla="*/ 2186 h 2686"/>
                <a:gd name="T18" fmla="*/ 3061 w 3498"/>
                <a:gd name="T19" fmla="*/ 2186 h 2686"/>
                <a:gd name="T20" fmla="*/ 3061 w 3498"/>
                <a:gd name="T21" fmla="*/ 1311 h 2686"/>
                <a:gd name="T22" fmla="*/ 2936 w 3498"/>
                <a:gd name="T23" fmla="*/ 1311 h 2686"/>
                <a:gd name="T24" fmla="*/ 2936 w 3498"/>
                <a:gd name="T25" fmla="*/ 2186 h 2686"/>
                <a:gd name="T26" fmla="*/ 2131 w 3498"/>
                <a:gd name="T27" fmla="*/ 2186 h 2686"/>
                <a:gd name="T28" fmla="*/ 1974 w 3498"/>
                <a:gd name="T29" fmla="*/ 2283 h 2686"/>
                <a:gd name="T30" fmla="*/ 1929 w 3498"/>
                <a:gd name="T31" fmla="*/ 2311 h 2686"/>
                <a:gd name="T32" fmla="*/ 1569 w 3498"/>
                <a:gd name="T33" fmla="*/ 2311 h 2686"/>
                <a:gd name="T34" fmla="*/ 1524 w 3498"/>
                <a:gd name="T35" fmla="*/ 2283 h 2686"/>
                <a:gd name="T36" fmla="*/ 1367 w 3498"/>
                <a:gd name="T37" fmla="*/ 2186 h 2686"/>
                <a:gd name="T38" fmla="*/ 562 w 3498"/>
                <a:gd name="T39" fmla="*/ 2186 h 2686"/>
                <a:gd name="T40" fmla="*/ 562 w 3498"/>
                <a:gd name="T41" fmla="*/ 374 h 2686"/>
                <a:gd name="T42" fmla="*/ 1749 w 3498"/>
                <a:gd name="T43" fmla="*/ 374 h 2686"/>
                <a:gd name="T44" fmla="*/ 1749 w 3498"/>
                <a:gd name="T45" fmla="*/ 249 h 2686"/>
                <a:gd name="T46" fmla="*/ 500 w 3498"/>
                <a:gd name="T47" fmla="*/ 249 h 2686"/>
                <a:gd name="T48" fmla="*/ 437 w 3498"/>
                <a:gd name="T49" fmla="*/ 312 h 2686"/>
                <a:gd name="T50" fmla="*/ 437 w 3498"/>
                <a:gd name="T51" fmla="*/ 2186 h 2686"/>
                <a:gd name="T52" fmla="*/ 312 w 3498"/>
                <a:gd name="T53" fmla="*/ 2186 h 2686"/>
                <a:gd name="T54" fmla="*/ 312 w 3498"/>
                <a:gd name="T55" fmla="*/ 312 h 2686"/>
                <a:gd name="T56" fmla="*/ 500 w 3498"/>
                <a:gd name="T57" fmla="*/ 125 h 2686"/>
                <a:gd name="T58" fmla="*/ 1749 w 3498"/>
                <a:gd name="T59" fmla="*/ 125 h 2686"/>
                <a:gd name="T60" fmla="*/ 1749 w 3498"/>
                <a:gd name="T61" fmla="*/ 0 h 2686"/>
                <a:gd name="T62" fmla="*/ 500 w 3498"/>
                <a:gd name="T63" fmla="*/ 0 h 2686"/>
                <a:gd name="T64" fmla="*/ 187 w 3498"/>
                <a:gd name="T65" fmla="*/ 312 h 2686"/>
                <a:gd name="T66" fmla="*/ 187 w 3498"/>
                <a:gd name="T67" fmla="*/ 2186 h 2686"/>
                <a:gd name="T68" fmla="*/ 62 w 3498"/>
                <a:gd name="T69" fmla="*/ 2186 h 2686"/>
                <a:gd name="T70" fmla="*/ 0 w 3498"/>
                <a:gd name="T71" fmla="*/ 2248 h 2686"/>
                <a:gd name="T72" fmla="*/ 0 w 3498"/>
                <a:gd name="T73" fmla="*/ 2436 h 2686"/>
                <a:gd name="T74" fmla="*/ 250 w 3498"/>
                <a:gd name="T75" fmla="*/ 2686 h 2686"/>
                <a:gd name="T76" fmla="*/ 125 w 3498"/>
                <a:gd name="T77" fmla="*/ 2311 h 2686"/>
                <a:gd name="T78" fmla="*/ 1367 w 3498"/>
                <a:gd name="T79" fmla="*/ 2311 h 2686"/>
                <a:gd name="T80" fmla="*/ 1412 w 3498"/>
                <a:gd name="T81" fmla="*/ 2339 h 2686"/>
                <a:gd name="T82" fmla="*/ 1569 w 3498"/>
                <a:gd name="T83" fmla="*/ 2436 h 2686"/>
                <a:gd name="T84" fmla="*/ 1929 w 3498"/>
                <a:gd name="T85" fmla="*/ 2436 h 2686"/>
                <a:gd name="T86" fmla="*/ 2086 w 3498"/>
                <a:gd name="T87" fmla="*/ 2339 h 2686"/>
                <a:gd name="T88" fmla="*/ 2131 w 3498"/>
                <a:gd name="T89" fmla="*/ 2311 h 2686"/>
                <a:gd name="T90" fmla="*/ 3373 w 3498"/>
                <a:gd name="T91" fmla="*/ 2311 h 2686"/>
                <a:gd name="T92" fmla="*/ 3373 w 3498"/>
                <a:gd name="T93" fmla="*/ 2436 h 2686"/>
                <a:gd name="T94" fmla="*/ 3248 w 3498"/>
                <a:gd name="T95" fmla="*/ 2561 h 2686"/>
                <a:gd name="T96" fmla="*/ 250 w 3498"/>
                <a:gd name="T97" fmla="*/ 2561 h 2686"/>
                <a:gd name="T98" fmla="*/ 125 w 3498"/>
                <a:gd name="T99" fmla="*/ 2436 h 2686"/>
                <a:gd name="T100" fmla="*/ 125 w 3498"/>
                <a:gd name="T101" fmla="*/ 2311 h 26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498" h="2686">
                  <a:moveTo>
                    <a:pt x="250" y="2686"/>
                  </a:moveTo>
                  <a:cubicBezTo>
                    <a:pt x="3248" y="2686"/>
                    <a:pt x="3248" y="2686"/>
                    <a:pt x="3248" y="2686"/>
                  </a:cubicBezTo>
                  <a:cubicBezTo>
                    <a:pt x="3386" y="2686"/>
                    <a:pt x="3498" y="2574"/>
                    <a:pt x="3498" y="2436"/>
                  </a:cubicBezTo>
                  <a:cubicBezTo>
                    <a:pt x="3498" y="2248"/>
                    <a:pt x="3498" y="2248"/>
                    <a:pt x="3498" y="2248"/>
                  </a:cubicBezTo>
                  <a:cubicBezTo>
                    <a:pt x="3498" y="2214"/>
                    <a:pt x="3470" y="2186"/>
                    <a:pt x="3436" y="2186"/>
                  </a:cubicBezTo>
                  <a:cubicBezTo>
                    <a:pt x="3311" y="2186"/>
                    <a:pt x="3311" y="2186"/>
                    <a:pt x="3311" y="2186"/>
                  </a:cubicBezTo>
                  <a:cubicBezTo>
                    <a:pt x="3311" y="1249"/>
                    <a:pt x="3311" y="1249"/>
                    <a:pt x="3311" y="1249"/>
                  </a:cubicBezTo>
                  <a:cubicBezTo>
                    <a:pt x="3186" y="1249"/>
                    <a:pt x="3186" y="1249"/>
                    <a:pt x="3186" y="1249"/>
                  </a:cubicBezTo>
                  <a:cubicBezTo>
                    <a:pt x="3186" y="2186"/>
                    <a:pt x="3186" y="2186"/>
                    <a:pt x="3186" y="2186"/>
                  </a:cubicBezTo>
                  <a:cubicBezTo>
                    <a:pt x="3061" y="2186"/>
                    <a:pt x="3061" y="2186"/>
                    <a:pt x="3061" y="2186"/>
                  </a:cubicBezTo>
                  <a:cubicBezTo>
                    <a:pt x="3061" y="1311"/>
                    <a:pt x="3061" y="1311"/>
                    <a:pt x="3061" y="1311"/>
                  </a:cubicBezTo>
                  <a:cubicBezTo>
                    <a:pt x="2936" y="1311"/>
                    <a:pt x="2936" y="1311"/>
                    <a:pt x="2936" y="1311"/>
                  </a:cubicBezTo>
                  <a:cubicBezTo>
                    <a:pt x="2936" y="2186"/>
                    <a:pt x="2936" y="2186"/>
                    <a:pt x="2936" y="2186"/>
                  </a:cubicBezTo>
                  <a:cubicBezTo>
                    <a:pt x="2131" y="2186"/>
                    <a:pt x="2131" y="2186"/>
                    <a:pt x="2131" y="2186"/>
                  </a:cubicBezTo>
                  <a:cubicBezTo>
                    <a:pt x="2065" y="2186"/>
                    <a:pt x="2004" y="2223"/>
                    <a:pt x="1974" y="2283"/>
                  </a:cubicBezTo>
                  <a:cubicBezTo>
                    <a:pt x="1966" y="2300"/>
                    <a:pt x="1948" y="2311"/>
                    <a:pt x="1929" y="2311"/>
                  </a:cubicBezTo>
                  <a:cubicBezTo>
                    <a:pt x="1569" y="2311"/>
                    <a:pt x="1569" y="2311"/>
                    <a:pt x="1569" y="2311"/>
                  </a:cubicBezTo>
                  <a:cubicBezTo>
                    <a:pt x="1550" y="2311"/>
                    <a:pt x="1532" y="2300"/>
                    <a:pt x="1524" y="2283"/>
                  </a:cubicBezTo>
                  <a:cubicBezTo>
                    <a:pt x="1494" y="2223"/>
                    <a:pt x="1433" y="2186"/>
                    <a:pt x="1367" y="2186"/>
                  </a:cubicBezTo>
                  <a:cubicBezTo>
                    <a:pt x="562" y="2186"/>
                    <a:pt x="562" y="2186"/>
                    <a:pt x="562" y="2186"/>
                  </a:cubicBezTo>
                  <a:cubicBezTo>
                    <a:pt x="562" y="374"/>
                    <a:pt x="562" y="374"/>
                    <a:pt x="562" y="374"/>
                  </a:cubicBezTo>
                  <a:cubicBezTo>
                    <a:pt x="1749" y="374"/>
                    <a:pt x="1749" y="374"/>
                    <a:pt x="1749" y="374"/>
                  </a:cubicBezTo>
                  <a:cubicBezTo>
                    <a:pt x="1749" y="249"/>
                    <a:pt x="1749" y="249"/>
                    <a:pt x="1749" y="249"/>
                  </a:cubicBezTo>
                  <a:cubicBezTo>
                    <a:pt x="500" y="249"/>
                    <a:pt x="500" y="249"/>
                    <a:pt x="500" y="249"/>
                  </a:cubicBezTo>
                  <a:cubicBezTo>
                    <a:pt x="465" y="249"/>
                    <a:pt x="437" y="277"/>
                    <a:pt x="437" y="312"/>
                  </a:cubicBezTo>
                  <a:cubicBezTo>
                    <a:pt x="437" y="2186"/>
                    <a:pt x="437" y="2186"/>
                    <a:pt x="437" y="2186"/>
                  </a:cubicBezTo>
                  <a:cubicBezTo>
                    <a:pt x="312" y="2186"/>
                    <a:pt x="312" y="2186"/>
                    <a:pt x="312" y="2186"/>
                  </a:cubicBezTo>
                  <a:cubicBezTo>
                    <a:pt x="312" y="312"/>
                    <a:pt x="312" y="312"/>
                    <a:pt x="312" y="312"/>
                  </a:cubicBezTo>
                  <a:cubicBezTo>
                    <a:pt x="312" y="208"/>
                    <a:pt x="396" y="125"/>
                    <a:pt x="500" y="125"/>
                  </a:cubicBezTo>
                  <a:cubicBezTo>
                    <a:pt x="1749" y="125"/>
                    <a:pt x="1749" y="125"/>
                    <a:pt x="1749" y="125"/>
                  </a:cubicBezTo>
                  <a:cubicBezTo>
                    <a:pt x="1749" y="0"/>
                    <a:pt x="1749" y="0"/>
                    <a:pt x="1749" y="0"/>
                  </a:cubicBezTo>
                  <a:cubicBezTo>
                    <a:pt x="500" y="0"/>
                    <a:pt x="500" y="0"/>
                    <a:pt x="500" y="0"/>
                  </a:cubicBezTo>
                  <a:cubicBezTo>
                    <a:pt x="327" y="0"/>
                    <a:pt x="188" y="140"/>
                    <a:pt x="187" y="312"/>
                  </a:cubicBezTo>
                  <a:cubicBezTo>
                    <a:pt x="187" y="2186"/>
                    <a:pt x="187" y="2186"/>
                    <a:pt x="187" y="2186"/>
                  </a:cubicBezTo>
                  <a:cubicBezTo>
                    <a:pt x="62" y="2186"/>
                    <a:pt x="62" y="2186"/>
                    <a:pt x="62" y="2186"/>
                  </a:cubicBezTo>
                  <a:cubicBezTo>
                    <a:pt x="28" y="2186"/>
                    <a:pt x="0" y="2214"/>
                    <a:pt x="0" y="2248"/>
                  </a:cubicBezTo>
                  <a:cubicBezTo>
                    <a:pt x="0" y="2436"/>
                    <a:pt x="0" y="2436"/>
                    <a:pt x="0" y="2436"/>
                  </a:cubicBezTo>
                  <a:cubicBezTo>
                    <a:pt x="0" y="2574"/>
                    <a:pt x="112" y="2686"/>
                    <a:pt x="250" y="2686"/>
                  </a:cubicBezTo>
                  <a:moveTo>
                    <a:pt x="125" y="2311"/>
                  </a:moveTo>
                  <a:cubicBezTo>
                    <a:pt x="1367" y="2311"/>
                    <a:pt x="1367" y="2311"/>
                    <a:pt x="1367" y="2311"/>
                  </a:cubicBezTo>
                  <a:cubicBezTo>
                    <a:pt x="1386" y="2311"/>
                    <a:pt x="1404" y="2322"/>
                    <a:pt x="1412" y="2339"/>
                  </a:cubicBezTo>
                  <a:cubicBezTo>
                    <a:pt x="1442" y="2398"/>
                    <a:pt x="1503" y="2436"/>
                    <a:pt x="1569" y="2436"/>
                  </a:cubicBezTo>
                  <a:cubicBezTo>
                    <a:pt x="1929" y="2436"/>
                    <a:pt x="1929" y="2436"/>
                    <a:pt x="1929" y="2436"/>
                  </a:cubicBezTo>
                  <a:cubicBezTo>
                    <a:pt x="1996" y="2436"/>
                    <a:pt x="2056" y="2398"/>
                    <a:pt x="2086" y="2339"/>
                  </a:cubicBezTo>
                  <a:cubicBezTo>
                    <a:pt x="2095" y="2322"/>
                    <a:pt x="2112" y="2311"/>
                    <a:pt x="2131" y="2311"/>
                  </a:cubicBezTo>
                  <a:cubicBezTo>
                    <a:pt x="3373" y="2311"/>
                    <a:pt x="3373" y="2311"/>
                    <a:pt x="3373" y="2311"/>
                  </a:cubicBezTo>
                  <a:cubicBezTo>
                    <a:pt x="3373" y="2436"/>
                    <a:pt x="3373" y="2436"/>
                    <a:pt x="3373" y="2436"/>
                  </a:cubicBezTo>
                  <a:cubicBezTo>
                    <a:pt x="3373" y="2505"/>
                    <a:pt x="3317" y="2561"/>
                    <a:pt x="3248" y="2561"/>
                  </a:cubicBezTo>
                  <a:cubicBezTo>
                    <a:pt x="250" y="2561"/>
                    <a:pt x="250" y="2561"/>
                    <a:pt x="250" y="2561"/>
                  </a:cubicBezTo>
                  <a:cubicBezTo>
                    <a:pt x="181" y="2561"/>
                    <a:pt x="125" y="2505"/>
                    <a:pt x="125" y="2436"/>
                  </a:cubicBezTo>
                  <a:lnTo>
                    <a:pt x="125" y="23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4" name="Rectangle 7">
              <a:extLst>
                <a:ext uri="{FF2B5EF4-FFF2-40B4-BE49-F238E27FC236}">
                  <a16:creationId xmlns:a16="http://schemas.microsoft.com/office/drawing/2014/main" id="{37418C97-5F11-DC42-3798-A7451E9936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76838" y="6107113"/>
              <a:ext cx="19050" cy="190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5" name="Rectangle 8">
              <a:extLst>
                <a:ext uri="{FF2B5EF4-FFF2-40B4-BE49-F238E27FC236}">
                  <a16:creationId xmlns:a16="http://schemas.microsoft.com/office/drawing/2014/main" id="{483D14BE-7A15-2200-AAF8-6E0EA069C8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14938" y="6107113"/>
              <a:ext cx="19050" cy="190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6" name="Rectangle 9">
              <a:extLst>
                <a:ext uri="{FF2B5EF4-FFF2-40B4-BE49-F238E27FC236}">
                  <a16:creationId xmlns:a16="http://schemas.microsoft.com/office/drawing/2014/main" id="{7EE30B33-1425-F926-B451-4BDBCAEA9A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53038" y="6107113"/>
              <a:ext cx="19050" cy="190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7" name="Freeform 10">
              <a:extLst>
                <a:ext uri="{FF2B5EF4-FFF2-40B4-BE49-F238E27FC236}">
                  <a16:creationId xmlns:a16="http://schemas.microsoft.com/office/drawing/2014/main" id="{109C383E-C5ED-943A-1A38-40801BCF05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6838" y="6145213"/>
              <a:ext cx="239713" cy="77788"/>
            </a:xfrm>
            <a:custGeom>
              <a:avLst/>
              <a:gdLst>
                <a:gd name="T0" fmla="*/ 1187 w 1562"/>
                <a:gd name="T1" fmla="*/ 125 h 500"/>
                <a:gd name="T2" fmla="*/ 1187 w 1562"/>
                <a:gd name="T3" fmla="*/ 0 h 500"/>
                <a:gd name="T4" fmla="*/ 63 w 1562"/>
                <a:gd name="T5" fmla="*/ 0 h 500"/>
                <a:gd name="T6" fmla="*/ 0 w 1562"/>
                <a:gd name="T7" fmla="*/ 63 h 500"/>
                <a:gd name="T8" fmla="*/ 0 w 1562"/>
                <a:gd name="T9" fmla="*/ 437 h 500"/>
                <a:gd name="T10" fmla="*/ 63 w 1562"/>
                <a:gd name="T11" fmla="*/ 500 h 500"/>
                <a:gd name="T12" fmla="*/ 1562 w 1562"/>
                <a:gd name="T13" fmla="*/ 500 h 500"/>
                <a:gd name="T14" fmla="*/ 1562 w 1562"/>
                <a:gd name="T15" fmla="*/ 375 h 500"/>
                <a:gd name="T16" fmla="*/ 125 w 1562"/>
                <a:gd name="T17" fmla="*/ 375 h 500"/>
                <a:gd name="T18" fmla="*/ 125 w 1562"/>
                <a:gd name="T19" fmla="*/ 125 h 500"/>
                <a:gd name="T20" fmla="*/ 1187 w 1562"/>
                <a:gd name="T21" fmla="*/ 125 h 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62" h="500">
                  <a:moveTo>
                    <a:pt x="1187" y="125"/>
                  </a:moveTo>
                  <a:cubicBezTo>
                    <a:pt x="1187" y="0"/>
                    <a:pt x="1187" y="0"/>
                    <a:pt x="1187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28" y="0"/>
                    <a:pt x="0" y="28"/>
                    <a:pt x="0" y="63"/>
                  </a:cubicBezTo>
                  <a:cubicBezTo>
                    <a:pt x="0" y="437"/>
                    <a:pt x="0" y="437"/>
                    <a:pt x="0" y="437"/>
                  </a:cubicBezTo>
                  <a:cubicBezTo>
                    <a:pt x="0" y="472"/>
                    <a:pt x="28" y="500"/>
                    <a:pt x="63" y="500"/>
                  </a:cubicBezTo>
                  <a:cubicBezTo>
                    <a:pt x="1562" y="500"/>
                    <a:pt x="1562" y="500"/>
                    <a:pt x="1562" y="500"/>
                  </a:cubicBezTo>
                  <a:cubicBezTo>
                    <a:pt x="1562" y="375"/>
                    <a:pt x="1562" y="375"/>
                    <a:pt x="1562" y="375"/>
                  </a:cubicBezTo>
                  <a:cubicBezTo>
                    <a:pt x="125" y="375"/>
                    <a:pt x="125" y="375"/>
                    <a:pt x="125" y="375"/>
                  </a:cubicBezTo>
                  <a:cubicBezTo>
                    <a:pt x="125" y="125"/>
                    <a:pt x="125" y="125"/>
                    <a:pt x="125" y="125"/>
                  </a:cubicBezTo>
                  <a:lnTo>
                    <a:pt x="1187" y="1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8" name="Rectangle 11">
              <a:extLst>
                <a:ext uri="{FF2B5EF4-FFF2-40B4-BE49-F238E27FC236}">
                  <a16:creationId xmlns:a16="http://schemas.microsoft.com/office/drawing/2014/main" id="{8F4B4ED8-6734-9B3A-06FE-F60D12FF0A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76838" y="6327775"/>
              <a:ext cx="66675" cy="190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9" name="Rectangle 12">
              <a:extLst>
                <a:ext uri="{FF2B5EF4-FFF2-40B4-BE49-F238E27FC236}">
                  <a16:creationId xmlns:a16="http://schemas.microsoft.com/office/drawing/2014/main" id="{37ED1AF0-60E0-1019-46F7-77C38398D1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62563" y="6327775"/>
              <a:ext cx="66675" cy="190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0" name="Rectangle 13">
              <a:extLst>
                <a:ext uri="{FF2B5EF4-FFF2-40B4-BE49-F238E27FC236}">
                  <a16:creationId xmlns:a16="http://schemas.microsoft.com/office/drawing/2014/main" id="{C30B5389-927E-FFDE-1D1A-1000E817C0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49875" y="6327775"/>
              <a:ext cx="66675" cy="190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1" name="Rectangle 14">
              <a:extLst>
                <a:ext uri="{FF2B5EF4-FFF2-40B4-BE49-F238E27FC236}">
                  <a16:creationId xmlns:a16="http://schemas.microsoft.com/office/drawing/2014/main" id="{A3510920-B4ED-1C61-1E4A-3BE8D740A7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35600" y="6327775"/>
              <a:ext cx="66675" cy="190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2" name="Freeform 15">
              <a:extLst>
                <a:ext uri="{FF2B5EF4-FFF2-40B4-BE49-F238E27FC236}">
                  <a16:creationId xmlns:a16="http://schemas.microsoft.com/office/drawing/2014/main" id="{50D0A5CE-2212-492B-B290-DC547DF353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62563" y="6242050"/>
              <a:ext cx="66675" cy="66675"/>
            </a:xfrm>
            <a:custGeom>
              <a:avLst/>
              <a:gdLst>
                <a:gd name="T0" fmla="*/ 438 w 438"/>
                <a:gd name="T1" fmla="*/ 62 h 437"/>
                <a:gd name="T2" fmla="*/ 375 w 438"/>
                <a:gd name="T3" fmla="*/ 0 h 437"/>
                <a:gd name="T4" fmla="*/ 63 w 438"/>
                <a:gd name="T5" fmla="*/ 0 h 437"/>
                <a:gd name="T6" fmla="*/ 0 w 438"/>
                <a:gd name="T7" fmla="*/ 62 h 437"/>
                <a:gd name="T8" fmla="*/ 0 w 438"/>
                <a:gd name="T9" fmla="*/ 375 h 437"/>
                <a:gd name="T10" fmla="*/ 63 w 438"/>
                <a:gd name="T11" fmla="*/ 437 h 437"/>
                <a:gd name="T12" fmla="*/ 375 w 438"/>
                <a:gd name="T13" fmla="*/ 437 h 437"/>
                <a:gd name="T14" fmla="*/ 438 w 438"/>
                <a:gd name="T15" fmla="*/ 375 h 437"/>
                <a:gd name="T16" fmla="*/ 438 w 438"/>
                <a:gd name="T17" fmla="*/ 62 h 437"/>
                <a:gd name="T18" fmla="*/ 313 w 438"/>
                <a:gd name="T19" fmla="*/ 312 h 437"/>
                <a:gd name="T20" fmla="*/ 125 w 438"/>
                <a:gd name="T21" fmla="*/ 312 h 437"/>
                <a:gd name="T22" fmla="*/ 125 w 438"/>
                <a:gd name="T23" fmla="*/ 125 h 437"/>
                <a:gd name="T24" fmla="*/ 313 w 438"/>
                <a:gd name="T25" fmla="*/ 125 h 437"/>
                <a:gd name="T26" fmla="*/ 313 w 438"/>
                <a:gd name="T27" fmla="*/ 312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38" h="437">
                  <a:moveTo>
                    <a:pt x="438" y="62"/>
                  </a:moveTo>
                  <a:cubicBezTo>
                    <a:pt x="438" y="28"/>
                    <a:pt x="410" y="0"/>
                    <a:pt x="375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28" y="0"/>
                    <a:pt x="0" y="28"/>
                    <a:pt x="0" y="62"/>
                  </a:cubicBezTo>
                  <a:cubicBezTo>
                    <a:pt x="0" y="375"/>
                    <a:pt x="0" y="375"/>
                    <a:pt x="0" y="375"/>
                  </a:cubicBezTo>
                  <a:cubicBezTo>
                    <a:pt x="0" y="409"/>
                    <a:pt x="28" y="437"/>
                    <a:pt x="63" y="437"/>
                  </a:cubicBezTo>
                  <a:cubicBezTo>
                    <a:pt x="375" y="437"/>
                    <a:pt x="375" y="437"/>
                    <a:pt x="375" y="437"/>
                  </a:cubicBezTo>
                  <a:cubicBezTo>
                    <a:pt x="410" y="437"/>
                    <a:pt x="438" y="409"/>
                    <a:pt x="438" y="375"/>
                  </a:cubicBezTo>
                  <a:lnTo>
                    <a:pt x="438" y="62"/>
                  </a:lnTo>
                  <a:close/>
                  <a:moveTo>
                    <a:pt x="313" y="312"/>
                  </a:moveTo>
                  <a:cubicBezTo>
                    <a:pt x="125" y="312"/>
                    <a:pt x="125" y="312"/>
                    <a:pt x="125" y="312"/>
                  </a:cubicBezTo>
                  <a:cubicBezTo>
                    <a:pt x="125" y="125"/>
                    <a:pt x="125" y="125"/>
                    <a:pt x="125" y="125"/>
                  </a:cubicBezTo>
                  <a:cubicBezTo>
                    <a:pt x="313" y="125"/>
                    <a:pt x="313" y="125"/>
                    <a:pt x="313" y="125"/>
                  </a:cubicBezTo>
                  <a:lnTo>
                    <a:pt x="313" y="3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3" name="Freeform 16">
              <a:extLst>
                <a:ext uri="{FF2B5EF4-FFF2-40B4-BE49-F238E27FC236}">
                  <a16:creationId xmlns:a16="http://schemas.microsoft.com/office/drawing/2014/main" id="{D6E6ACEB-774E-B5BF-42EB-0E858585D4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76838" y="6242050"/>
              <a:ext cx="66675" cy="66675"/>
            </a:xfrm>
            <a:custGeom>
              <a:avLst/>
              <a:gdLst>
                <a:gd name="T0" fmla="*/ 437 w 437"/>
                <a:gd name="T1" fmla="*/ 62 h 437"/>
                <a:gd name="T2" fmla="*/ 375 w 437"/>
                <a:gd name="T3" fmla="*/ 0 h 437"/>
                <a:gd name="T4" fmla="*/ 63 w 437"/>
                <a:gd name="T5" fmla="*/ 0 h 437"/>
                <a:gd name="T6" fmla="*/ 0 w 437"/>
                <a:gd name="T7" fmla="*/ 62 h 437"/>
                <a:gd name="T8" fmla="*/ 0 w 437"/>
                <a:gd name="T9" fmla="*/ 375 h 437"/>
                <a:gd name="T10" fmla="*/ 63 w 437"/>
                <a:gd name="T11" fmla="*/ 437 h 437"/>
                <a:gd name="T12" fmla="*/ 375 w 437"/>
                <a:gd name="T13" fmla="*/ 437 h 437"/>
                <a:gd name="T14" fmla="*/ 437 w 437"/>
                <a:gd name="T15" fmla="*/ 375 h 437"/>
                <a:gd name="T16" fmla="*/ 437 w 437"/>
                <a:gd name="T17" fmla="*/ 62 h 437"/>
                <a:gd name="T18" fmla="*/ 312 w 437"/>
                <a:gd name="T19" fmla="*/ 312 h 437"/>
                <a:gd name="T20" fmla="*/ 125 w 437"/>
                <a:gd name="T21" fmla="*/ 312 h 437"/>
                <a:gd name="T22" fmla="*/ 125 w 437"/>
                <a:gd name="T23" fmla="*/ 125 h 437"/>
                <a:gd name="T24" fmla="*/ 312 w 437"/>
                <a:gd name="T25" fmla="*/ 125 h 437"/>
                <a:gd name="T26" fmla="*/ 312 w 437"/>
                <a:gd name="T27" fmla="*/ 312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37" h="437">
                  <a:moveTo>
                    <a:pt x="437" y="62"/>
                  </a:moveTo>
                  <a:cubicBezTo>
                    <a:pt x="437" y="28"/>
                    <a:pt x="409" y="0"/>
                    <a:pt x="375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28" y="0"/>
                    <a:pt x="0" y="28"/>
                    <a:pt x="0" y="62"/>
                  </a:cubicBezTo>
                  <a:cubicBezTo>
                    <a:pt x="0" y="375"/>
                    <a:pt x="0" y="375"/>
                    <a:pt x="0" y="375"/>
                  </a:cubicBezTo>
                  <a:cubicBezTo>
                    <a:pt x="0" y="409"/>
                    <a:pt x="28" y="437"/>
                    <a:pt x="63" y="437"/>
                  </a:cubicBezTo>
                  <a:cubicBezTo>
                    <a:pt x="375" y="437"/>
                    <a:pt x="375" y="437"/>
                    <a:pt x="375" y="437"/>
                  </a:cubicBezTo>
                  <a:cubicBezTo>
                    <a:pt x="409" y="437"/>
                    <a:pt x="437" y="409"/>
                    <a:pt x="437" y="375"/>
                  </a:cubicBezTo>
                  <a:lnTo>
                    <a:pt x="437" y="62"/>
                  </a:lnTo>
                  <a:close/>
                  <a:moveTo>
                    <a:pt x="312" y="312"/>
                  </a:moveTo>
                  <a:cubicBezTo>
                    <a:pt x="125" y="312"/>
                    <a:pt x="125" y="312"/>
                    <a:pt x="125" y="312"/>
                  </a:cubicBezTo>
                  <a:cubicBezTo>
                    <a:pt x="125" y="125"/>
                    <a:pt x="125" y="125"/>
                    <a:pt x="125" y="125"/>
                  </a:cubicBezTo>
                  <a:cubicBezTo>
                    <a:pt x="312" y="125"/>
                    <a:pt x="312" y="125"/>
                    <a:pt x="312" y="125"/>
                  </a:cubicBezTo>
                  <a:lnTo>
                    <a:pt x="312" y="3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4" name="Freeform 17">
              <a:extLst>
                <a:ext uri="{FF2B5EF4-FFF2-40B4-BE49-F238E27FC236}">
                  <a16:creationId xmlns:a16="http://schemas.microsoft.com/office/drawing/2014/main" id="{CB06BBEE-5172-47E4-CBBC-B5E3A4E8C01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35600" y="6242050"/>
              <a:ext cx="66675" cy="66675"/>
            </a:xfrm>
            <a:custGeom>
              <a:avLst/>
              <a:gdLst>
                <a:gd name="T0" fmla="*/ 375 w 437"/>
                <a:gd name="T1" fmla="*/ 437 h 437"/>
                <a:gd name="T2" fmla="*/ 437 w 437"/>
                <a:gd name="T3" fmla="*/ 375 h 437"/>
                <a:gd name="T4" fmla="*/ 437 w 437"/>
                <a:gd name="T5" fmla="*/ 62 h 437"/>
                <a:gd name="T6" fmla="*/ 375 w 437"/>
                <a:gd name="T7" fmla="*/ 0 h 437"/>
                <a:gd name="T8" fmla="*/ 62 w 437"/>
                <a:gd name="T9" fmla="*/ 0 h 437"/>
                <a:gd name="T10" fmla="*/ 0 w 437"/>
                <a:gd name="T11" fmla="*/ 62 h 437"/>
                <a:gd name="T12" fmla="*/ 0 w 437"/>
                <a:gd name="T13" fmla="*/ 375 h 437"/>
                <a:gd name="T14" fmla="*/ 62 w 437"/>
                <a:gd name="T15" fmla="*/ 437 h 437"/>
                <a:gd name="T16" fmla="*/ 375 w 437"/>
                <a:gd name="T17" fmla="*/ 437 h 437"/>
                <a:gd name="T18" fmla="*/ 125 w 437"/>
                <a:gd name="T19" fmla="*/ 125 h 437"/>
                <a:gd name="T20" fmla="*/ 312 w 437"/>
                <a:gd name="T21" fmla="*/ 125 h 437"/>
                <a:gd name="T22" fmla="*/ 312 w 437"/>
                <a:gd name="T23" fmla="*/ 312 h 437"/>
                <a:gd name="T24" fmla="*/ 125 w 437"/>
                <a:gd name="T25" fmla="*/ 312 h 437"/>
                <a:gd name="T26" fmla="*/ 125 w 437"/>
                <a:gd name="T27" fmla="*/ 125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37" h="437">
                  <a:moveTo>
                    <a:pt x="375" y="437"/>
                  </a:moveTo>
                  <a:cubicBezTo>
                    <a:pt x="409" y="437"/>
                    <a:pt x="437" y="409"/>
                    <a:pt x="437" y="375"/>
                  </a:cubicBezTo>
                  <a:cubicBezTo>
                    <a:pt x="437" y="62"/>
                    <a:pt x="437" y="62"/>
                    <a:pt x="437" y="62"/>
                  </a:cubicBezTo>
                  <a:cubicBezTo>
                    <a:pt x="437" y="28"/>
                    <a:pt x="409" y="0"/>
                    <a:pt x="375" y="0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28" y="0"/>
                    <a:pt x="0" y="28"/>
                    <a:pt x="0" y="62"/>
                  </a:cubicBezTo>
                  <a:cubicBezTo>
                    <a:pt x="0" y="375"/>
                    <a:pt x="0" y="375"/>
                    <a:pt x="0" y="375"/>
                  </a:cubicBezTo>
                  <a:cubicBezTo>
                    <a:pt x="0" y="409"/>
                    <a:pt x="28" y="437"/>
                    <a:pt x="62" y="437"/>
                  </a:cubicBezTo>
                  <a:lnTo>
                    <a:pt x="375" y="437"/>
                  </a:lnTo>
                  <a:close/>
                  <a:moveTo>
                    <a:pt x="125" y="125"/>
                  </a:moveTo>
                  <a:cubicBezTo>
                    <a:pt x="312" y="125"/>
                    <a:pt x="312" y="125"/>
                    <a:pt x="312" y="125"/>
                  </a:cubicBezTo>
                  <a:cubicBezTo>
                    <a:pt x="312" y="312"/>
                    <a:pt x="312" y="312"/>
                    <a:pt x="312" y="312"/>
                  </a:cubicBezTo>
                  <a:cubicBezTo>
                    <a:pt x="125" y="312"/>
                    <a:pt x="125" y="312"/>
                    <a:pt x="125" y="312"/>
                  </a:cubicBezTo>
                  <a:lnTo>
                    <a:pt x="125" y="1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5" name="Freeform 18">
              <a:extLst>
                <a:ext uri="{FF2B5EF4-FFF2-40B4-BE49-F238E27FC236}">
                  <a16:creationId xmlns:a16="http://schemas.microsoft.com/office/drawing/2014/main" id="{38AD1F97-B05D-5F30-1FA5-E034EB24C0A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49875" y="6242050"/>
              <a:ext cx="66675" cy="66675"/>
            </a:xfrm>
            <a:custGeom>
              <a:avLst/>
              <a:gdLst>
                <a:gd name="T0" fmla="*/ 437 w 437"/>
                <a:gd name="T1" fmla="*/ 62 h 437"/>
                <a:gd name="T2" fmla="*/ 374 w 437"/>
                <a:gd name="T3" fmla="*/ 0 h 437"/>
                <a:gd name="T4" fmla="*/ 62 w 437"/>
                <a:gd name="T5" fmla="*/ 0 h 437"/>
                <a:gd name="T6" fmla="*/ 0 w 437"/>
                <a:gd name="T7" fmla="*/ 62 h 437"/>
                <a:gd name="T8" fmla="*/ 0 w 437"/>
                <a:gd name="T9" fmla="*/ 375 h 437"/>
                <a:gd name="T10" fmla="*/ 62 w 437"/>
                <a:gd name="T11" fmla="*/ 437 h 437"/>
                <a:gd name="T12" fmla="*/ 374 w 437"/>
                <a:gd name="T13" fmla="*/ 437 h 437"/>
                <a:gd name="T14" fmla="*/ 437 w 437"/>
                <a:gd name="T15" fmla="*/ 375 h 437"/>
                <a:gd name="T16" fmla="*/ 437 w 437"/>
                <a:gd name="T17" fmla="*/ 62 h 437"/>
                <a:gd name="T18" fmla="*/ 312 w 437"/>
                <a:gd name="T19" fmla="*/ 312 h 437"/>
                <a:gd name="T20" fmla="*/ 124 w 437"/>
                <a:gd name="T21" fmla="*/ 312 h 437"/>
                <a:gd name="T22" fmla="*/ 124 w 437"/>
                <a:gd name="T23" fmla="*/ 125 h 437"/>
                <a:gd name="T24" fmla="*/ 312 w 437"/>
                <a:gd name="T25" fmla="*/ 125 h 437"/>
                <a:gd name="T26" fmla="*/ 312 w 437"/>
                <a:gd name="T27" fmla="*/ 312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37" h="437">
                  <a:moveTo>
                    <a:pt x="437" y="62"/>
                  </a:moveTo>
                  <a:cubicBezTo>
                    <a:pt x="437" y="28"/>
                    <a:pt x="409" y="0"/>
                    <a:pt x="374" y="0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27" y="0"/>
                    <a:pt x="0" y="28"/>
                    <a:pt x="0" y="62"/>
                  </a:cubicBezTo>
                  <a:cubicBezTo>
                    <a:pt x="0" y="375"/>
                    <a:pt x="0" y="375"/>
                    <a:pt x="0" y="375"/>
                  </a:cubicBezTo>
                  <a:cubicBezTo>
                    <a:pt x="0" y="409"/>
                    <a:pt x="27" y="437"/>
                    <a:pt x="62" y="437"/>
                  </a:cubicBezTo>
                  <a:cubicBezTo>
                    <a:pt x="374" y="437"/>
                    <a:pt x="374" y="437"/>
                    <a:pt x="374" y="437"/>
                  </a:cubicBezTo>
                  <a:cubicBezTo>
                    <a:pt x="409" y="437"/>
                    <a:pt x="437" y="409"/>
                    <a:pt x="437" y="375"/>
                  </a:cubicBezTo>
                  <a:lnTo>
                    <a:pt x="437" y="62"/>
                  </a:lnTo>
                  <a:close/>
                  <a:moveTo>
                    <a:pt x="312" y="312"/>
                  </a:moveTo>
                  <a:cubicBezTo>
                    <a:pt x="124" y="312"/>
                    <a:pt x="124" y="312"/>
                    <a:pt x="124" y="312"/>
                  </a:cubicBezTo>
                  <a:cubicBezTo>
                    <a:pt x="124" y="125"/>
                    <a:pt x="124" y="125"/>
                    <a:pt x="124" y="125"/>
                  </a:cubicBezTo>
                  <a:cubicBezTo>
                    <a:pt x="312" y="125"/>
                    <a:pt x="312" y="125"/>
                    <a:pt x="312" y="125"/>
                  </a:cubicBezTo>
                  <a:lnTo>
                    <a:pt x="312" y="3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6" name="Freeform 19">
              <a:extLst>
                <a:ext uri="{FF2B5EF4-FFF2-40B4-BE49-F238E27FC236}">
                  <a16:creationId xmlns:a16="http://schemas.microsoft.com/office/drawing/2014/main" id="{2F7F2F6B-0322-FF6C-C132-2C2F6CB1E6A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59400" y="5924550"/>
              <a:ext cx="287338" cy="288925"/>
            </a:xfrm>
            <a:custGeom>
              <a:avLst/>
              <a:gdLst>
                <a:gd name="T0" fmla="*/ 937 w 1874"/>
                <a:gd name="T1" fmla="*/ 0 h 1874"/>
                <a:gd name="T2" fmla="*/ 0 w 1874"/>
                <a:gd name="T3" fmla="*/ 937 h 1874"/>
                <a:gd name="T4" fmla="*/ 937 w 1874"/>
                <a:gd name="T5" fmla="*/ 1874 h 1874"/>
                <a:gd name="T6" fmla="*/ 1874 w 1874"/>
                <a:gd name="T7" fmla="*/ 937 h 1874"/>
                <a:gd name="T8" fmla="*/ 937 w 1874"/>
                <a:gd name="T9" fmla="*/ 0 h 1874"/>
                <a:gd name="T10" fmla="*/ 937 w 1874"/>
                <a:gd name="T11" fmla="*/ 1750 h 1874"/>
                <a:gd name="T12" fmla="*/ 125 w 1874"/>
                <a:gd name="T13" fmla="*/ 937 h 1874"/>
                <a:gd name="T14" fmla="*/ 937 w 1874"/>
                <a:gd name="T15" fmla="*/ 125 h 1874"/>
                <a:gd name="T16" fmla="*/ 1749 w 1874"/>
                <a:gd name="T17" fmla="*/ 937 h 1874"/>
                <a:gd name="T18" fmla="*/ 937 w 1874"/>
                <a:gd name="T19" fmla="*/ 1750 h 18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74" h="1874">
                  <a:moveTo>
                    <a:pt x="937" y="0"/>
                  </a:moveTo>
                  <a:cubicBezTo>
                    <a:pt x="420" y="0"/>
                    <a:pt x="0" y="420"/>
                    <a:pt x="0" y="937"/>
                  </a:cubicBezTo>
                  <a:cubicBezTo>
                    <a:pt x="0" y="1455"/>
                    <a:pt x="420" y="1874"/>
                    <a:pt x="937" y="1874"/>
                  </a:cubicBezTo>
                  <a:cubicBezTo>
                    <a:pt x="1455" y="1874"/>
                    <a:pt x="1874" y="1455"/>
                    <a:pt x="1874" y="937"/>
                  </a:cubicBezTo>
                  <a:cubicBezTo>
                    <a:pt x="1873" y="420"/>
                    <a:pt x="1454" y="1"/>
                    <a:pt x="937" y="0"/>
                  </a:cubicBezTo>
                  <a:moveTo>
                    <a:pt x="937" y="1750"/>
                  </a:moveTo>
                  <a:cubicBezTo>
                    <a:pt x="489" y="1750"/>
                    <a:pt x="125" y="1386"/>
                    <a:pt x="125" y="937"/>
                  </a:cubicBezTo>
                  <a:cubicBezTo>
                    <a:pt x="125" y="489"/>
                    <a:pt x="489" y="125"/>
                    <a:pt x="937" y="125"/>
                  </a:cubicBezTo>
                  <a:cubicBezTo>
                    <a:pt x="1386" y="125"/>
                    <a:pt x="1749" y="489"/>
                    <a:pt x="1749" y="937"/>
                  </a:cubicBezTo>
                  <a:cubicBezTo>
                    <a:pt x="1749" y="1386"/>
                    <a:pt x="1385" y="1749"/>
                    <a:pt x="937" y="175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7" name="Freeform 20">
              <a:extLst>
                <a:ext uri="{FF2B5EF4-FFF2-40B4-BE49-F238E27FC236}">
                  <a16:creationId xmlns:a16="http://schemas.microsoft.com/office/drawing/2014/main" id="{1951EF8D-4EE0-D3F2-91C6-3A78859585CD}"/>
                </a:ext>
              </a:extLst>
            </p:cNvPr>
            <p:cNvSpPr>
              <a:spLocks/>
            </p:cNvSpPr>
            <p:nvPr/>
          </p:nvSpPr>
          <p:spPr bwMode="auto">
            <a:xfrm>
              <a:off x="5416550" y="5961063"/>
              <a:ext cx="131763" cy="157163"/>
            </a:xfrm>
            <a:custGeom>
              <a:avLst/>
              <a:gdLst>
                <a:gd name="T0" fmla="*/ 563 w 862"/>
                <a:gd name="T1" fmla="*/ 260 h 1020"/>
                <a:gd name="T2" fmla="*/ 645 w 862"/>
                <a:gd name="T3" fmla="*/ 269 h 1020"/>
                <a:gd name="T4" fmla="*/ 553 w 862"/>
                <a:gd name="T5" fmla="*/ 327 h 1020"/>
                <a:gd name="T6" fmla="*/ 620 w 862"/>
                <a:gd name="T7" fmla="*/ 433 h 1020"/>
                <a:gd name="T8" fmla="*/ 831 w 862"/>
                <a:gd name="T9" fmla="*/ 300 h 1020"/>
                <a:gd name="T10" fmla="*/ 859 w 862"/>
                <a:gd name="T11" fmla="*/ 259 h 1020"/>
                <a:gd name="T12" fmla="*/ 848 w 862"/>
                <a:gd name="T13" fmla="*/ 210 h 1020"/>
                <a:gd name="T14" fmla="*/ 694 w 862"/>
                <a:gd name="T15" fmla="*/ 0 h 1020"/>
                <a:gd name="T16" fmla="*/ 593 w 862"/>
                <a:gd name="T17" fmla="*/ 73 h 1020"/>
                <a:gd name="T18" fmla="*/ 643 w 862"/>
                <a:gd name="T19" fmla="*/ 141 h 1020"/>
                <a:gd name="T20" fmla="*/ 194 w 862"/>
                <a:gd name="T21" fmla="*/ 272 h 1020"/>
                <a:gd name="T22" fmla="*/ 1 w 862"/>
                <a:gd name="T23" fmla="*/ 697 h 1020"/>
                <a:gd name="T24" fmla="*/ 103 w 862"/>
                <a:gd name="T25" fmla="*/ 1020 h 1020"/>
                <a:gd name="T26" fmla="*/ 205 w 862"/>
                <a:gd name="T27" fmla="*/ 948 h 1020"/>
                <a:gd name="T28" fmla="*/ 175 w 862"/>
                <a:gd name="T29" fmla="*/ 496 h 1020"/>
                <a:gd name="T30" fmla="*/ 563 w 862"/>
                <a:gd name="T31" fmla="*/ 260 h 10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62" h="1020">
                  <a:moveTo>
                    <a:pt x="563" y="260"/>
                  </a:moveTo>
                  <a:cubicBezTo>
                    <a:pt x="591" y="260"/>
                    <a:pt x="618" y="263"/>
                    <a:pt x="645" y="269"/>
                  </a:cubicBezTo>
                  <a:cubicBezTo>
                    <a:pt x="553" y="327"/>
                    <a:pt x="553" y="327"/>
                    <a:pt x="553" y="327"/>
                  </a:cubicBezTo>
                  <a:cubicBezTo>
                    <a:pt x="620" y="433"/>
                    <a:pt x="620" y="433"/>
                    <a:pt x="620" y="433"/>
                  </a:cubicBezTo>
                  <a:cubicBezTo>
                    <a:pt x="831" y="300"/>
                    <a:pt x="831" y="300"/>
                    <a:pt x="831" y="300"/>
                  </a:cubicBezTo>
                  <a:cubicBezTo>
                    <a:pt x="845" y="291"/>
                    <a:pt x="855" y="276"/>
                    <a:pt x="859" y="259"/>
                  </a:cubicBezTo>
                  <a:cubicBezTo>
                    <a:pt x="862" y="242"/>
                    <a:pt x="858" y="224"/>
                    <a:pt x="848" y="210"/>
                  </a:cubicBezTo>
                  <a:cubicBezTo>
                    <a:pt x="694" y="0"/>
                    <a:pt x="694" y="0"/>
                    <a:pt x="694" y="0"/>
                  </a:cubicBezTo>
                  <a:cubicBezTo>
                    <a:pt x="593" y="73"/>
                    <a:pt x="593" y="73"/>
                    <a:pt x="593" y="73"/>
                  </a:cubicBezTo>
                  <a:cubicBezTo>
                    <a:pt x="643" y="141"/>
                    <a:pt x="643" y="141"/>
                    <a:pt x="643" y="141"/>
                  </a:cubicBezTo>
                  <a:cubicBezTo>
                    <a:pt x="482" y="117"/>
                    <a:pt x="318" y="165"/>
                    <a:pt x="194" y="272"/>
                  </a:cubicBezTo>
                  <a:cubicBezTo>
                    <a:pt x="71" y="379"/>
                    <a:pt x="0" y="534"/>
                    <a:pt x="1" y="697"/>
                  </a:cubicBezTo>
                  <a:cubicBezTo>
                    <a:pt x="1" y="813"/>
                    <a:pt x="36" y="926"/>
                    <a:pt x="103" y="1020"/>
                  </a:cubicBezTo>
                  <a:cubicBezTo>
                    <a:pt x="205" y="948"/>
                    <a:pt x="205" y="948"/>
                    <a:pt x="205" y="948"/>
                  </a:cubicBezTo>
                  <a:cubicBezTo>
                    <a:pt x="111" y="815"/>
                    <a:pt x="100" y="640"/>
                    <a:pt x="175" y="496"/>
                  </a:cubicBezTo>
                  <a:cubicBezTo>
                    <a:pt x="250" y="351"/>
                    <a:pt x="400" y="260"/>
                    <a:pt x="563" y="26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8" name="Freeform 21">
              <a:extLst>
                <a:ext uri="{FF2B5EF4-FFF2-40B4-BE49-F238E27FC236}">
                  <a16:creationId xmlns:a16="http://schemas.microsoft.com/office/drawing/2014/main" id="{76A65A60-24F4-A028-3395-180618C233F3}"/>
                </a:ext>
              </a:extLst>
            </p:cNvPr>
            <p:cNvSpPr>
              <a:spLocks/>
            </p:cNvSpPr>
            <p:nvPr/>
          </p:nvSpPr>
          <p:spPr bwMode="auto">
            <a:xfrm>
              <a:off x="5456238" y="6018213"/>
              <a:ext cx="138113" cy="157163"/>
            </a:xfrm>
            <a:custGeom>
              <a:avLst/>
              <a:gdLst>
                <a:gd name="T0" fmla="*/ 657 w 894"/>
                <a:gd name="T1" fmla="*/ 72 h 1021"/>
                <a:gd name="T2" fmla="*/ 686 w 894"/>
                <a:gd name="T3" fmla="*/ 525 h 1021"/>
                <a:gd name="T4" fmla="*/ 298 w 894"/>
                <a:gd name="T5" fmla="*/ 760 h 1021"/>
                <a:gd name="T6" fmla="*/ 216 w 894"/>
                <a:gd name="T7" fmla="*/ 752 h 1021"/>
                <a:gd name="T8" fmla="*/ 308 w 894"/>
                <a:gd name="T9" fmla="*/ 694 h 1021"/>
                <a:gd name="T10" fmla="*/ 242 w 894"/>
                <a:gd name="T11" fmla="*/ 588 h 1021"/>
                <a:gd name="T12" fmla="*/ 31 w 894"/>
                <a:gd name="T13" fmla="*/ 721 h 1021"/>
                <a:gd name="T14" fmla="*/ 3 w 894"/>
                <a:gd name="T15" fmla="*/ 762 h 1021"/>
                <a:gd name="T16" fmla="*/ 14 w 894"/>
                <a:gd name="T17" fmla="*/ 810 h 1021"/>
                <a:gd name="T18" fmla="*/ 167 w 894"/>
                <a:gd name="T19" fmla="*/ 1021 h 1021"/>
                <a:gd name="T20" fmla="*/ 268 w 894"/>
                <a:gd name="T21" fmla="*/ 947 h 1021"/>
                <a:gd name="T22" fmla="*/ 218 w 894"/>
                <a:gd name="T23" fmla="*/ 879 h 1021"/>
                <a:gd name="T24" fmla="*/ 777 w 894"/>
                <a:gd name="T25" fmla="*/ 617 h 1021"/>
                <a:gd name="T26" fmla="*/ 759 w 894"/>
                <a:gd name="T27" fmla="*/ 0 h 1021"/>
                <a:gd name="T28" fmla="*/ 657 w 894"/>
                <a:gd name="T29" fmla="*/ 72 h 10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94" h="1021">
                  <a:moveTo>
                    <a:pt x="657" y="72"/>
                  </a:moveTo>
                  <a:cubicBezTo>
                    <a:pt x="750" y="206"/>
                    <a:pt x="762" y="380"/>
                    <a:pt x="686" y="525"/>
                  </a:cubicBezTo>
                  <a:cubicBezTo>
                    <a:pt x="611" y="670"/>
                    <a:pt x="462" y="761"/>
                    <a:pt x="298" y="760"/>
                  </a:cubicBezTo>
                  <a:cubicBezTo>
                    <a:pt x="271" y="760"/>
                    <a:pt x="243" y="757"/>
                    <a:pt x="216" y="752"/>
                  </a:cubicBezTo>
                  <a:cubicBezTo>
                    <a:pt x="308" y="694"/>
                    <a:pt x="308" y="694"/>
                    <a:pt x="308" y="694"/>
                  </a:cubicBezTo>
                  <a:cubicBezTo>
                    <a:pt x="242" y="588"/>
                    <a:pt x="242" y="588"/>
                    <a:pt x="242" y="588"/>
                  </a:cubicBezTo>
                  <a:cubicBezTo>
                    <a:pt x="31" y="721"/>
                    <a:pt x="31" y="721"/>
                    <a:pt x="31" y="721"/>
                  </a:cubicBezTo>
                  <a:cubicBezTo>
                    <a:pt x="16" y="730"/>
                    <a:pt x="6" y="745"/>
                    <a:pt x="3" y="762"/>
                  </a:cubicBezTo>
                  <a:cubicBezTo>
                    <a:pt x="0" y="779"/>
                    <a:pt x="3" y="796"/>
                    <a:pt x="14" y="810"/>
                  </a:cubicBezTo>
                  <a:cubicBezTo>
                    <a:pt x="167" y="1021"/>
                    <a:pt x="167" y="1021"/>
                    <a:pt x="167" y="1021"/>
                  </a:cubicBezTo>
                  <a:cubicBezTo>
                    <a:pt x="268" y="947"/>
                    <a:pt x="268" y="947"/>
                    <a:pt x="268" y="947"/>
                  </a:cubicBezTo>
                  <a:cubicBezTo>
                    <a:pt x="218" y="879"/>
                    <a:pt x="218" y="879"/>
                    <a:pt x="218" y="879"/>
                  </a:cubicBezTo>
                  <a:cubicBezTo>
                    <a:pt x="440" y="911"/>
                    <a:pt x="659" y="808"/>
                    <a:pt x="777" y="617"/>
                  </a:cubicBezTo>
                  <a:cubicBezTo>
                    <a:pt x="894" y="426"/>
                    <a:pt x="887" y="184"/>
                    <a:pt x="759" y="0"/>
                  </a:cubicBezTo>
                  <a:lnTo>
                    <a:pt x="657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99" name="Group 98">
            <a:extLst>
              <a:ext uri="{FF2B5EF4-FFF2-40B4-BE49-F238E27FC236}">
                <a16:creationId xmlns:a16="http://schemas.microsoft.com/office/drawing/2014/main" id="{1BA6936B-C3DA-1467-BF06-1036DA887F75}"/>
              </a:ext>
            </a:extLst>
          </p:cNvPr>
          <p:cNvGrpSpPr/>
          <p:nvPr/>
        </p:nvGrpSpPr>
        <p:grpSpPr>
          <a:xfrm>
            <a:off x="4375463" y="2562889"/>
            <a:ext cx="416963" cy="417819"/>
            <a:chOff x="2174875" y="4595813"/>
            <a:chExt cx="771525" cy="773113"/>
          </a:xfrm>
          <a:solidFill>
            <a:schemeClr val="bg1"/>
          </a:solidFill>
        </p:grpSpPr>
        <p:sp>
          <p:nvSpPr>
            <p:cNvPr id="100" name="Freeform 24">
              <a:extLst>
                <a:ext uri="{FF2B5EF4-FFF2-40B4-BE49-F238E27FC236}">
                  <a16:creationId xmlns:a16="http://schemas.microsoft.com/office/drawing/2014/main" id="{4645ED2A-DB5E-714A-67D9-73B05592037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17775" y="5100638"/>
              <a:ext cx="77788" cy="77788"/>
            </a:xfrm>
            <a:custGeom>
              <a:avLst/>
              <a:gdLst>
                <a:gd name="T0" fmla="*/ 121 w 242"/>
                <a:gd name="T1" fmla="*/ 0 h 242"/>
                <a:gd name="T2" fmla="*/ 0 w 242"/>
                <a:gd name="T3" fmla="*/ 121 h 242"/>
                <a:gd name="T4" fmla="*/ 121 w 242"/>
                <a:gd name="T5" fmla="*/ 242 h 242"/>
                <a:gd name="T6" fmla="*/ 242 w 242"/>
                <a:gd name="T7" fmla="*/ 121 h 242"/>
                <a:gd name="T8" fmla="*/ 121 w 242"/>
                <a:gd name="T9" fmla="*/ 0 h 242"/>
                <a:gd name="T10" fmla="*/ 121 w 242"/>
                <a:gd name="T11" fmla="*/ 149 h 242"/>
                <a:gd name="T12" fmla="*/ 93 w 242"/>
                <a:gd name="T13" fmla="*/ 121 h 242"/>
                <a:gd name="T14" fmla="*/ 121 w 242"/>
                <a:gd name="T15" fmla="*/ 93 h 242"/>
                <a:gd name="T16" fmla="*/ 149 w 242"/>
                <a:gd name="T17" fmla="*/ 121 h 242"/>
                <a:gd name="T18" fmla="*/ 121 w 242"/>
                <a:gd name="T19" fmla="*/ 149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2" h="242">
                  <a:moveTo>
                    <a:pt x="121" y="0"/>
                  </a:moveTo>
                  <a:cubicBezTo>
                    <a:pt x="54" y="0"/>
                    <a:pt x="0" y="54"/>
                    <a:pt x="0" y="121"/>
                  </a:cubicBezTo>
                  <a:cubicBezTo>
                    <a:pt x="0" y="188"/>
                    <a:pt x="54" y="242"/>
                    <a:pt x="121" y="242"/>
                  </a:cubicBezTo>
                  <a:cubicBezTo>
                    <a:pt x="188" y="242"/>
                    <a:pt x="242" y="188"/>
                    <a:pt x="242" y="121"/>
                  </a:cubicBezTo>
                  <a:cubicBezTo>
                    <a:pt x="242" y="54"/>
                    <a:pt x="188" y="0"/>
                    <a:pt x="121" y="0"/>
                  </a:cubicBezTo>
                  <a:close/>
                  <a:moveTo>
                    <a:pt x="121" y="149"/>
                  </a:moveTo>
                  <a:cubicBezTo>
                    <a:pt x="106" y="149"/>
                    <a:pt x="93" y="137"/>
                    <a:pt x="93" y="121"/>
                  </a:cubicBezTo>
                  <a:cubicBezTo>
                    <a:pt x="93" y="106"/>
                    <a:pt x="106" y="93"/>
                    <a:pt x="121" y="93"/>
                  </a:cubicBezTo>
                  <a:cubicBezTo>
                    <a:pt x="136" y="93"/>
                    <a:pt x="149" y="106"/>
                    <a:pt x="149" y="121"/>
                  </a:cubicBezTo>
                  <a:cubicBezTo>
                    <a:pt x="149" y="137"/>
                    <a:pt x="136" y="149"/>
                    <a:pt x="121" y="1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1" name="Freeform 25">
              <a:extLst>
                <a:ext uri="{FF2B5EF4-FFF2-40B4-BE49-F238E27FC236}">
                  <a16:creationId xmlns:a16="http://schemas.microsoft.com/office/drawing/2014/main" id="{D8099115-461C-0DA4-F355-06D3974EA038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2713" y="5046663"/>
              <a:ext cx="30163" cy="30163"/>
            </a:xfrm>
            <a:custGeom>
              <a:avLst/>
              <a:gdLst>
                <a:gd name="T0" fmla="*/ 79 w 93"/>
                <a:gd name="T1" fmla="*/ 14 h 93"/>
                <a:gd name="T2" fmla="*/ 46 w 93"/>
                <a:gd name="T3" fmla="*/ 0 h 93"/>
                <a:gd name="T4" fmla="*/ 13 w 93"/>
                <a:gd name="T5" fmla="*/ 14 h 93"/>
                <a:gd name="T6" fmla="*/ 0 w 93"/>
                <a:gd name="T7" fmla="*/ 47 h 93"/>
                <a:gd name="T8" fmla="*/ 13 w 93"/>
                <a:gd name="T9" fmla="*/ 80 h 93"/>
                <a:gd name="T10" fmla="*/ 46 w 93"/>
                <a:gd name="T11" fmla="*/ 93 h 93"/>
                <a:gd name="T12" fmla="*/ 79 w 93"/>
                <a:gd name="T13" fmla="*/ 80 h 93"/>
                <a:gd name="T14" fmla="*/ 93 w 93"/>
                <a:gd name="T15" fmla="*/ 47 h 93"/>
                <a:gd name="T16" fmla="*/ 79 w 93"/>
                <a:gd name="T17" fmla="*/ 14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3" h="93">
                  <a:moveTo>
                    <a:pt x="79" y="14"/>
                  </a:moveTo>
                  <a:cubicBezTo>
                    <a:pt x="71" y="5"/>
                    <a:pt x="59" y="0"/>
                    <a:pt x="46" y="0"/>
                  </a:cubicBezTo>
                  <a:cubicBezTo>
                    <a:pt x="34" y="0"/>
                    <a:pt x="22" y="5"/>
                    <a:pt x="13" y="14"/>
                  </a:cubicBezTo>
                  <a:cubicBezTo>
                    <a:pt x="5" y="23"/>
                    <a:pt x="0" y="35"/>
                    <a:pt x="0" y="47"/>
                  </a:cubicBezTo>
                  <a:cubicBezTo>
                    <a:pt x="0" y="59"/>
                    <a:pt x="5" y="71"/>
                    <a:pt x="13" y="80"/>
                  </a:cubicBezTo>
                  <a:cubicBezTo>
                    <a:pt x="22" y="89"/>
                    <a:pt x="34" y="93"/>
                    <a:pt x="46" y="93"/>
                  </a:cubicBezTo>
                  <a:cubicBezTo>
                    <a:pt x="59" y="93"/>
                    <a:pt x="71" y="89"/>
                    <a:pt x="79" y="80"/>
                  </a:cubicBezTo>
                  <a:cubicBezTo>
                    <a:pt x="88" y="71"/>
                    <a:pt x="93" y="59"/>
                    <a:pt x="93" y="47"/>
                  </a:cubicBezTo>
                  <a:cubicBezTo>
                    <a:pt x="93" y="35"/>
                    <a:pt x="88" y="23"/>
                    <a:pt x="79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2" name="Freeform 26">
              <a:extLst>
                <a:ext uri="{FF2B5EF4-FFF2-40B4-BE49-F238E27FC236}">
                  <a16:creationId xmlns:a16="http://schemas.microsoft.com/office/drawing/2014/main" id="{111DC5A3-AF96-A7D4-F566-6A4AF15EC4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74875" y="4595813"/>
              <a:ext cx="771525" cy="773113"/>
            </a:xfrm>
            <a:custGeom>
              <a:avLst/>
              <a:gdLst>
                <a:gd name="T0" fmla="*/ 2099 w 2382"/>
                <a:gd name="T1" fmla="*/ 675 h 2387"/>
                <a:gd name="T2" fmla="*/ 1377 w 2382"/>
                <a:gd name="T3" fmla="*/ 19 h 2387"/>
                <a:gd name="T4" fmla="*/ 537 w 2382"/>
                <a:gd name="T5" fmla="*/ 7 h 2387"/>
                <a:gd name="T6" fmla="*/ 310 w 2382"/>
                <a:gd name="T7" fmla="*/ 675 h 2387"/>
                <a:gd name="T8" fmla="*/ 0 w 2382"/>
                <a:gd name="T9" fmla="*/ 870 h 2387"/>
                <a:gd name="T10" fmla="*/ 0 w 2382"/>
                <a:gd name="T11" fmla="*/ 882 h 2387"/>
                <a:gd name="T12" fmla="*/ 233 w 2382"/>
                <a:gd name="T13" fmla="*/ 2387 h 2387"/>
                <a:gd name="T14" fmla="*/ 1900 w 2382"/>
                <a:gd name="T15" fmla="*/ 2387 h 2387"/>
                <a:gd name="T16" fmla="*/ 2382 w 2382"/>
                <a:gd name="T17" fmla="*/ 2154 h 2387"/>
                <a:gd name="T18" fmla="*/ 2149 w 2382"/>
                <a:gd name="T19" fmla="*/ 675 h 2387"/>
                <a:gd name="T20" fmla="*/ 2149 w 2382"/>
                <a:gd name="T21" fmla="*/ 768 h 2387"/>
                <a:gd name="T22" fmla="*/ 2289 w 2382"/>
                <a:gd name="T23" fmla="*/ 1280 h 2387"/>
                <a:gd name="T24" fmla="*/ 2130 w 2382"/>
                <a:gd name="T25" fmla="*/ 1391 h 2387"/>
                <a:gd name="T26" fmla="*/ 1903 w 2382"/>
                <a:gd name="T27" fmla="*/ 973 h 2387"/>
                <a:gd name="T28" fmla="*/ 1256 w 2382"/>
                <a:gd name="T29" fmla="*/ 272 h 2387"/>
                <a:gd name="T30" fmla="*/ 1410 w 2382"/>
                <a:gd name="T31" fmla="*/ 118 h 2387"/>
                <a:gd name="T32" fmla="*/ 1773 w 2382"/>
                <a:gd name="T33" fmla="*/ 971 h 2387"/>
                <a:gd name="T34" fmla="*/ 1799 w 2382"/>
                <a:gd name="T35" fmla="*/ 860 h 2387"/>
                <a:gd name="T36" fmla="*/ 1799 w 2382"/>
                <a:gd name="T37" fmla="*/ 658 h 2387"/>
                <a:gd name="T38" fmla="*/ 1544 w 2382"/>
                <a:gd name="T39" fmla="*/ 337 h 2387"/>
                <a:gd name="T40" fmla="*/ 1342 w 2382"/>
                <a:gd name="T41" fmla="*/ 337 h 2387"/>
                <a:gd name="T42" fmla="*/ 642 w 2382"/>
                <a:gd name="T43" fmla="*/ 971 h 2387"/>
                <a:gd name="T44" fmla="*/ 1256 w 2382"/>
                <a:gd name="T45" fmla="*/ 272 h 2387"/>
                <a:gd name="T46" fmla="*/ 902 w 2382"/>
                <a:gd name="T47" fmla="*/ 971 h 2387"/>
                <a:gd name="T48" fmla="*/ 1313 w 2382"/>
                <a:gd name="T49" fmla="*/ 431 h 2387"/>
                <a:gd name="T50" fmla="*/ 1704 w 2382"/>
                <a:gd name="T51" fmla="*/ 629 h 2387"/>
                <a:gd name="T52" fmla="*/ 1556 w 2382"/>
                <a:gd name="T53" fmla="*/ 971 h 2387"/>
                <a:gd name="T54" fmla="*/ 1119 w 2382"/>
                <a:gd name="T55" fmla="*/ 796 h 2387"/>
                <a:gd name="T56" fmla="*/ 999 w 2382"/>
                <a:gd name="T57" fmla="*/ 971 h 2387"/>
                <a:gd name="T58" fmla="*/ 1239 w 2382"/>
                <a:gd name="T59" fmla="*/ 971 h 2387"/>
                <a:gd name="T60" fmla="*/ 631 w 2382"/>
                <a:gd name="T61" fmla="*/ 429 h 2387"/>
                <a:gd name="T62" fmla="*/ 799 w 2382"/>
                <a:gd name="T63" fmla="*/ 332 h 2387"/>
                <a:gd name="T64" fmla="*/ 704 w 2382"/>
                <a:gd name="T65" fmla="*/ 692 h 2387"/>
                <a:gd name="T66" fmla="*/ 558 w 2382"/>
                <a:gd name="T67" fmla="*/ 109 h 2387"/>
                <a:gd name="T68" fmla="*/ 1084 w 2382"/>
                <a:gd name="T69" fmla="*/ 312 h 2387"/>
                <a:gd name="T70" fmla="*/ 748 w 2382"/>
                <a:gd name="T71" fmla="*/ 236 h 2387"/>
                <a:gd name="T72" fmla="*/ 681 w 2382"/>
                <a:gd name="T73" fmla="*/ 323 h 2387"/>
                <a:gd name="T74" fmla="*/ 551 w 2382"/>
                <a:gd name="T75" fmla="*/ 366 h 2387"/>
                <a:gd name="T76" fmla="*/ 326 w 2382"/>
                <a:gd name="T77" fmla="*/ 973 h 2387"/>
                <a:gd name="T78" fmla="*/ 196 w 2382"/>
                <a:gd name="T79" fmla="*/ 768 h 2387"/>
                <a:gd name="T80" fmla="*/ 230 w 2382"/>
                <a:gd name="T81" fmla="*/ 973 h 2387"/>
                <a:gd name="T82" fmla="*/ 93 w 2382"/>
                <a:gd name="T83" fmla="*/ 870 h 2387"/>
                <a:gd name="T84" fmla="*/ 2289 w 2382"/>
                <a:gd name="T85" fmla="*/ 2154 h 2387"/>
                <a:gd name="T86" fmla="*/ 2084 w 2382"/>
                <a:gd name="T87" fmla="*/ 2293 h 2387"/>
                <a:gd name="T88" fmla="*/ 2130 w 2382"/>
                <a:gd name="T89" fmla="*/ 1967 h 2387"/>
                <a:gd name="T90" fmla="*/ 2289 w 2382"/>
                <a:gd name="T91" fmla="*/ 1925 h 2387"/>
                <a:gd name="T92" fmla="*/ 2289 w 2382"/>
                <a:gd name="T93" fmla="*/ 1744 h 2387"/>
                <a:gd name="T94" fmla="*/ 1182 w 2382"/>
                <a:gd name="T95" fmla="*/ 1874 h 2387"/>
                <a:gd name="T96" fmla="*/ 1182 w 2382"/>
                <a:gd name="T97" fmla="*/ 1484 h 2387"/>
                <a:gd name="T98" fmla="*/ 1369 w 2382"/>
                <a:gd name="T99" fmla="*/ 1437 h 2387"/>
                <a:gd name="T100" fmla="*/ 1182 w 2382"/>
                <a:gd name="T101" fmla="*/ 1391 h 2387"/>
                <a:gd name="T102" fmla="*/ 1182 w 2382"/>
                <a:gd name="T103" fmla="*/ 1967 h 2387"/>
                <a:gd name="T104" fmla="*/ 2037 w 2382"/>
                <a:gd name="T105" fmla="*/ 2154 h 2387"/>
                <a:gd name="T106" fmla="*/ 317 w 2382"/>
                <a:gd name="T107" fmla="*/ 2294 h 2387"/>
                <a:gd name="T108" fmla="*/ 270 w 2382"/>
                <a:gd name="T109" fmla="*/ 1723 h 2387"/>
                <a:gd name="T110" fmla="*/ 224 w 2382"/>
                <a:gd name="T111" fmla="*/ 2293 h 2387"/>
                <a:gd name="T112" fmla="*/ 93 w 2382"/>
                <a:gd name="T113" fmla="*/ 1037 h 2387"/>
                <a:gd name="T114" fmla="*/ 1898 w 2382"/>
                <a:gd name="T115" fmla="*/ 1066 h 2387"/>
                <a:gd name="T116" fmla="*/ 2037 w 2382"/>
                <a:gd name="T117" fmla="*/ 1391 h 2387"/>
                <a:gd name="T118" fmla="*/ 1655 w 2382"/>
                <a:gd name="T119" fmla="*/ 1437 h 2387"/>
                <a:gd name="T120" fmla="*/ 2178 w 2382"/>
                <a:gd name="T121" fmla="*/ 1484 h 2387"/>
                <a:gd name="T122" fmla="*/ 2289 w 2382"/>
                <a:gd name="T123" fmla="*/ 1744 h 2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82" h="2387">
                  <a:moveTo>
                    <a:pt x="2149" y="675"/>
                  </a:moveTo>
                  <a:cubicBezTo>
                    <a:pt x="2099" y="675"/>
                    <a:pt x="2099" y="675"/>
                    <a:pt x="2099" y="675"/>
                  </a:cubicBezTo>
                  <a:cubicBezTo>
                    <a:pt x="1443" y="19"/>
                    <a:pt x="1443" y="19"/>
                    <a:pt x="1443" y="19"/>
                  </a:cubicBezTo>
                  <a:cubicBezTo>
                    <a:pt x="1425" y="1"/>
                    <a:pt x="1395" y="1"/>
                    <a:pt x="1377" y="19"/>
                  </a:cubicBezTo>
                  <a:cubicBezTo>
                    <a:pt x="1209" y="187"/>
                    <a:pt x="1209" y="187"/>
                    <a:pt x="1209" y="187"/>
                  </a:cubicBezTo>
                  <a:cubicBezTo>
                    <a:pt x="537" y="7"/>
                    <a:pt x="537" y="7"/>
                    <a:pt x="537" y="7"/>
                  </a:cubicBezTo>
                  <a:cubicBezTo>
                    <a:pt x="512" y="0"/>
                    <a:pt x="487" y="15"/>
                    <a:pt x="480" y="40"/>
                  </a:cubicBezTo>
                  <a:cubicBezTo>
                    <a:pt x="310" y="675"/>
                    <a:pt x="310" y="675"/>
                    <a:pt x="310" y="675"/>
                  </a:cubicBezTo>
                  <a:cubicBezTo>
                    <a:pt x="196" y="675"/>
                    <a:pt x="196" y="675"/>
                    <a:pt x="196" y="675"/>
                  </a:cubicBezTo>
                  <a:cubicBezTo>
                    <a:pt x="88" y="675"/>
                    <a:pt x="0" y="763"/>
                    <a:pt x="0" y="870"/>
                  </a:cubicBezTo>
                  <a:cubicBezTo>
                    <a:pt x="0" y="873"/>
                    <a:pt x="1" y="876"/>
                    <a:pt x="1" y="878"/>
                  </a:cubicBezTo>
                  <a:cubicBezTo>
                    <a:pt x="1" y="879"/>
                    <a:pt x="0" y="881"/>
                    <a:pt x="0" y="882"/>
                  </a:cubicBezTo>
                  <a:cubicBezTo>
                    <a:pt x="0" y="2154"/>
                    <a:pt x="0" y="2154"/>
                    <a:pt x="0" y="2154"/>
                  </a:cubicBezTo>
                  <a:cubicBezTo>
                    <a:pt x="0" y="2282"/>
                    <a:pt x="105" y="2387"/>
                    <a:pt x="233" y="2387"/>
                  </a:cubicBezTo>
                  <a:cubicBezTo>
                    <a:pt x="1898" y="2387"/>
                    <a:pt x="1898" y="2387"/>
                    <a:pt x="1898" y="2387"/>
                  </a:cubicBezTo>
                  <a:cubicBezTo>
                    <a:pt x="1899" y="2387"/>
                    <a:pt x="1899" y="2387"/>
                    <a:pt x="1900" y="2387"/>
                  </a:cubicBezTo>
                  <a:cubicBezTo>
                    <a:pt x="2149" y="2387"/>
                    <a:pt x="2149" y="2387"/>
                    <a:pt x="2149" y="2387"/>
                  </a:cubicBezTo>
                  <a:cubicBezTo>
                    <a:pt x="2277" y="2387"/>
                    <a:pt x="2382" y="2282"/>
                    <a:pt x="2382" y="2154"/>
                  </a:cubicBezTo>
                  <a:cubicBezTo>
                    <a:pt x="2382" y="908"/>
                    <a:pt x="2382" y="908"/>
                    <a:pt x="2382" y="908"/>
                  </a:cubicBezTo>
                  <a:cubicBezTo>
                    <a:pt x="2382" y="779"/>
                    <a:pt x="2277" y="675"/>
                    <a:pt x="2149" y="675"/>
                  </a:cubicBezTo>
                  <a:close/>
                  <a:moveTo>
                    <a:pt x="2107" y="768"/>
                  </a:moveTo>
                  <a:cubicBezTo>
                    <a:pt x="2149" y="768"/>
                    <a:pt x="2149" y="768"/>
                    <a:pt x="2149" y="768"/>
                  </a:cubicBezTo>
                  <a:cubicBezTo>
                    <a:pt x="2226" y="768"/>
                    <a:pt x="2289" y="831"/>
                    <a:pt x="2289" y="908"/>
                  </a:cubicBezTo>
                  <a:cubicBezTo>
                    <a:pt x="2289" y="1280"/>
                    <a:pt x="2289" y="1280"/>
                    <a:pt x="2289" y="1280"/>
                  </a:cubicBezTo>
                  <a:cubicBezTo>
                    <a:pt x="2289" y="1341"/>
                    <a:pt x="2239" y="1391"/>
                    <a:pt x="2178" y="1391"/>
                  </a:cubicBezTo>
                  <a:cubicBezTo>
                    <a:pt x="2130" y="1391"/>
                    <a:pt x="2130" y="1391"/>
                    <a:pt x="2130" y="1391"/>
                  </a:cubicBezTo>
                  <a:cubicBezTo>
                    <a:pt x="2130" y="1205"/>
                    <a:pt x="2130" y="1205"/>
                    <a:pt x="2130" y="1205"/>
                  </a:cubicBezTo>
                  <a:cubicBezTo>
                    <a:pt x="2130" y="1079"/>
                    <a:pt x="2029" y="975"/>
                    <a:pt x="1903" y="973"/>
                  </a:cubicBezTo>
                  <a:lnTo>
                    <a:pt x="2107" y="768"/>
                  </a:lnTo>
                  <a:close/>
                  <a:moveTo>
                    <a:pt x="1256" y="272"/>
                  </a:moveTo>
                  <a:cubicBezTo>
                    <a:pt x="1256" y="272"/>
                    <a:pt x="1256" y="272"/>
                    <a:pt x="1256" y="272"/>
                  </a:cubicBezTo>
                  <a:cubicBezTo>
                    <a:pt x="1410" y="118"/>
                    <a:pt x="1410" y="118"/>
                    <a:pt x="1410" y="118"/>
                  </a:cubicBezTo>
                  <a:cubicBezTo>
                    <a:pt x="2018" y="726"/>
                    <a:pt x="2018" y="726"/>
                    <a:pt x="2018" y="726"/>
                  </a:cubicBezTo>
                  <a:cubicBezTo>
                    <a:pt x="1773" y="971"/>
                    <a:pt x="1773" y="971"/>
                    <a:pt x="1773" y="971"/>
                  </a:cubicBezTo>
                  <a:cubicBezTo>
                    <a:pt x="1688" y="971"/>
                    <a:pt x="1688" y="971"/>
                    <a:pt x="1688" y="971"/>
                  </a:cubicBezTo>
                  <a:cubicBezTo>
                    <a:pt x="1799" y="860"/>
                    <a:pt x="1799" y="860"/>
                    <a:pt x="1799" y="860"/>
                  </a:cubicBezTo>
                  <a:cubicBezTo>
                    <a:pt x="1817" y="842"/>
                    <a:pt x="1817" y="812"/>
                    <a:pt x="1799" y="794"/>
                  </a:cubicBezTo>
                  <a:cubicBezTo>
                    <a:pt x="1761" y="756"/>
                    <a:pt x="1761" y="695"/>
                    <a:pt x="1799" y="658"/>
                  </a:cubicBezTo>
                  <a:cubicBezTo>
                    <a:pt x="1817" y="639"/>
                    <a:pt x="1817" y="610"/>
                    <a:pt x="1799" y="592"/>
                  </a:cubicBezTo>
                  <a:cubicBezTo>
                    <a:pt x="1544" y="337"/>
                    <a:pt x="1544" y="337"/>
                    <a:pt x="1544" y="337"/>
                  </a:cubicBezTo>
                  <a:cubicBezTo>
                    <a:pt x="1526" y="319"/>
                    <a:pt x="1496" y="319"/>
                    <a:pt x="1478" y="337"/>
                  </a:cubicBezTo>
                  <a:cubicBezTo>
                    <a:pt x="1441" y="374"/>
                    <a:pt x="1379" y="374"/>
                    <a:pt x="1342" y="337"/>
                  </a:cubicBezTo>
                  <a:cubicBezTo>
                    <a:pt x="1324" y="319"/>
                    <a:pt x="1294" y="319"/>
                    <a:pt x="1276" y="337"/>
                  </a:cubicBezTo>
                  <a:cubicBezTo>
                    <a:pt x="642" y="971"/>
                    <a:pt x="642" y="971"/>
                    <a:pt x="642" y="971"/>
                  </a:cubicBezTo>
                  <a:cubicBezTo>
                    <a:pt x="557" y="971"/>
                    <a:pt x="557" y="971"/>
                    <a:pt x="557" y="971"/>
                  </a:cubicBezTo>
                  <a:lnTo>
                    <a:pt x="1256" y="272"/>
                  </a:lnTo>
                  <a:close/>
                  <a:moveTo>
                    <a:pt x="1119" y="796"/>
                  </a:moveTo>
                  <a:cubicBezTo>
                    <a:pt x="1013" y="796"/>
                    <a:pt x="924" y="871"/>
                    <a:pt x="902" y="971"/>
                  </a:cubicBezTo>
                  <a:cubicBezTo>
                    <a:pt x="773" y="971"/>
                    <a:pt x="773" y="971"/>
                    <a:pt x="773" y="971"/>
                  </a:cubicBezTo>
                  <a:cubicBezTo>
                    <a:pt x="1313" y="431"/>
                    <a:pt x="1313" y="431"/>
                    <a:pt x="1313" y="431"/>
                  </a:cubicBezTo>
                  <a:cubicBezTo>
                    <a:pt x="1372" y="467"/>
                    <a:pt x="1447" y="467"/>
                    <a:pt x="1507" y="431"/>
                  </a:cubicBezTo>
                  <a:cubicBezTo>
                    <a:pt x="1704" y="629"/>
                    <a:pt x="1704" y="629"/>
                    <a:pt x="1704" y="629"/>
                  </a:cubicBezTo>
                  <a:cubicBezTo>
                    <a:pt x="1669" y="688"/>
                    <a:pt x="1669" y="763"/>
                    <a:pt x="1704" y="823"/>
                  </a:cubicBezTo>
                  <a:cubicBezTo>
                    <a:pt x="1556" y="971"/>
                    <a:pt x="1556" y="971"/>
                    <a:pt x="1556" y="971"/>
                  </a:cubicBezTo>
                  <a:cubicBezTo>
                    <a:pt x="1336" y="971"/>
                    <a:pt x="1336" y="971"/>
                    <a:pt x="1336" y="971"/>
                  </a:cubicBezTo>
                  <a:cubicBezTo>
                    <a:pt x="1314" y="871"/>
                    <a:pt x="1225" y="796"/>
                    <a:pt x="1119" y="796"/>
                  </a:cubicBezTo>
                  <a:close/>
                  <a:moveTo>
                    <a:pt x="1239" y="971"/>
                  </a:moveTo>
                  <a:cubicBezTo>
                    <a:pt x="999" y="971"/>
                    <a:pt x="999" y="971"/>
                    <a:pt x="999" y="971"/>
                  </a:cubicBezTo>
                  <a:cubicBezTo>
                    <a:pt x="1018" y="923"/>
                    <a:pt x="1065" y="889"/>
                    <a:pt x="1119" y="889"/>
                  </a:cubicBezTo>
                  <a:cubicBezTo>
                    <a:pt x="1173" y="889"/>
                    <a:pt x="1220" y="923"/>
                    <a:pt x="1239" y="971"/>
                  </a:cubicBezTo>
                  <a:close/>
                  <a:moveTo>
                    <a:pt x="507" y="889"/>
                  </a:moveTo>
                  <a:cubicBezTo>
                    <a:pt x="631" y="429"/>
                    <a:pt x="631" y="429"/>
                    <a:pt x="631" y="429"/>
                  </a:cubicBezTo>
                  <a:cubicBezTo>
                    <a:pt x="664" y="430"/>
                    <a:pt x="698" y="421"/>
                    <a:pt x="728" y="404"/>
                  </a:cubicBezTo>
                  <a:cubicBezTo>
                    <a:pt x="758" y="386"/>
                    <a:pt x="782" y="362"/>
                    <a:pt x="799" y="332"/>
                  </a:cubicBezTo>
                  <a:cubicBezTo>
                    <a:pt x="1008" y="388"/>
                    <a:pt x="1008" y="388"/>
                    <a:pt x="1008" y="388"/>
                  </a:cubicBezTo>
                  <a:cubicBezTo>
                    <a:pt x="704" y="692"/>
                    <a:pt x="704" y="692"/>
                    <a:pt x="704" y="692"/>
                  </a:cubicBezTo>
                  <a:lnTo>
                    <a:pt x="507" y="889"/>
                  </a:lnTo>
                  <a:close/>
                  <a:moveTo>
                    <a:pt x="558" y="109"/>
                  </a:moveTo>
                  <a:cubicBezTo>
                    <a:pt x="1133" y="263"/>
                    <a:pt x="1133" y="263"/>
                    <a:pt x="1133" y="263"/>
                  </a:cubicBezTo>
                  <a:cubicBezTo>
                    <a:pt x="1084" y="312"/>
                    <a:pt x="1084" y="312"/>
                    <a:pt x="1084" y="312"/>
                  </a:cubicBezTo>
                  <a:cubicBezTo>
                    <a:pt x="783" y="232"/>
                    <a:pt x="783" y="232"/>
                    <a:pt x="783" y="232"/>
                  </a:cubicBezTo>
                  <a:cubicBezTo>
                    <a:pt x="771" y="228"/>
                    <a:pt x="759" y="230"/>
                    <a:pt x="748" y="236"/>
                  </a:cubicBezTo>
                  <a:cubicBezTo>
                    <a:pt x="737" y="242"/>
                    <a:pt x="730" y="253"/>
                    <a:pt x="726" y="265"/>
                  </a:cubicBezTo>
                  <a:cubicBezTo>
                    <a:pt x="720" y="289"/>
                    <a:pt x="704" y="310"/>
                    <a:pt x="681" y="323"/>
                  </a:cubicBezTo>
                  <a:cubicBezTo>
                    <a:pt x="659" y="336"/>
                    <a:pt x="633" y="339"/>
                    <a:pt x="608" y="333"/>
                  </a:cubicBezTo>
                  <a:cubicBezTo>
                    <a:pt x="583" y="326"/>
                    <a:pt x="558" y="341"/>
                    <a:pt x="551" y="366"/>
                  </a:cubicBezTo>
                  <a:cubicBezTo>
                    <a:pt x="389" y="973"/>
                    <a:pt x="389" y="973"/>
                    <a:pt x="389" y="973"/>
                  </a:cubicBezTo>
                  <a:cubicBezTo>
                    <a:pt x="326" y="973"/>
                    <a:pt x="326" y="973"/>
                    <a:pt x="326" y="973"/>
                  </a:cubicBezTo>
                  <a:lnTo>
                    <a:pt x="558" y="109"/>
                  </a:lnTo>
                  <a:close/>
                  <a:moveTo>
                    <a:pt x="196" y="768"/>
                  </a:moveTo>
                  <a:cubicBezTo>
                    <a:pt x="285" y="768"/>
                    <a:pt x="285" y="768"/>
                    <a:pt x="285" y="768"/>
                  </a:cubicBezTo>
                  <a:cubicBezTo>
                    <a:pt x="230" y="973"/>
                    <a:pt x="230" y="973"/>
                    <a:pt x="230" y="973"/>
                  </a:cubicBezTo>
                  <a:cubicBezTo>
                    <a:pt x="196" y="973"/>
                    <a:pt x="196" y="973"/>
                    <a:pt x="196" y="973"/>
                  </a:cubicBezTo>
                  <a:cubicBezTo>
                    <a:pt x="139" y="973"/>
                    <a:pt x="93" y="927"/>
                    <a:pt x="93" y="870"/>
                  </a:cubicBezTo>
                  <a:cubicBezTo>
                    <a:pt x="93" y="814"/>
                    <a:pt x="139" y="768"/>
                    <a:pt x="196" y="768"/>
                  </a:cubicBezTo>
                  <a:close/>
                  <a:moveTo>
                    <a:pt x="2289" y="2154"/>
                  </a:moveTo>
                  <a:cubicBezTo>
                    <a:pt x="2289" y="2231"/>
                    <a:pt x="2226" y="2293"/>
                    <a:pt x="2149" y="2293"/>
                  </a:cubicBezTo>
                  <a:cubicBezTo>
                    <a:pt x="2084" y="2293"/>
                    <a:pt x="2084" y="2293"/>
                    <a:pt x="2084" y="2293"/>
                  </a:cubicBezTo>
                  <a:cubicBezTo>
                    <a:pt x="2113" y="2255"/>
                    <a:pt x="2130" y="2206"/>
                    <a:pt x="2130" y="2154"/>
                  </a:cubicBezTo>
                  <a:cubicBezTo>
                    <a:pt x="2130" y="1967"/>
                    <a:pt x="2130" y="1967"/>
                    <a:pt x="2130" y="1967"/>
                  </a:cubicBezTo>
                  <a:cubicBezTo>
                    <a:pt x="2158" y="1967"/>
                    <a:pt x="2158" y="1967"/>
                    <a:pt x="2158" y="1967"/>
                  </a:cubicBezTo>
                  <a:cubicBezTo>
                    <a:pt x="2207" y="1967"/>
                    <a:pt x="2252" y="1952"/>
                    <a:pt x="2289" y="1925"/>
                  </a:cubicBezTo>
                  <a:lnTo>
                    <a:pt x="2289" y="2154"/>
                  </a:lnTo>
                  <a:close/>
                  <a:moveTo>
                    <a:pt x="2289" y="1744"/>
                  </a:moveTo>
                  <a:cubicBezTo>
                    <a:pt x="2289" y="1816"/>
                    <a:pt x="2230" y="1874"/>
                    <a:pt x="2158" y="1874"/>
                  </a:cubicBezTo>
                  <a:cubicBezTo>
                    <a:pt x="1182" y="1874"/>
                    <a:pt x="1182" y="1874"/>
                    <a:pt x="1182" y="1874"/>
                  </a:cubicBezTo>
                  <a:cubicBezTo>
                    <a:pt x="1074" y="1874"/>
                    <a:pt x="986" y="1787"/>
                    <a:pt x="986" y="1679"/>
                  </a:cubicBezTo>
                  <a:cubicBezTo>
                    <a:pt x="986" y="1571"/>
                    <a:pt x="1074" y="1484"/>
                    <a:pt x="1182" y="1484"/>
                  </a:cubicBezTo>
                  <a:cubicBezTo>
                    <a:pt x="1323" y="1484"/>
                    <a:pt x="1323" y="1484"/>
                    <a:pt x="1323" y="1484"/>
                  </a:cubicBezTo>
                  <a:cubicBezTo>
                    <a:pt x="1348" y="1484"/>
                    <a:pt x="1369" y="1463"/>
                    <a:pt x="1369" y="1437"/>
                  </a:cubicBezTo>
                  <a:cubicBezTo>
                    <a:pt x="1369" y="1411"/>
                    <a:pt x="1348" y="1391"/>
                    <a:pt x="1323" y="1391"/>
                  </a:cubicBezTo>
                  <a:cubicBezTo>
                    <a:pt x="1182" y="1391"/>
                    <a:pt x="1182" y="1391"/>
                    <a:pt x="1182" y="1391"/>
                  </a:cubicBezTo>
                  <a:cubicBezTo>
                    <a:pt x="1023" y="1391"/>
                    <a:pt x="893" y="1520"/>
                    <a:pt x="893" y="1679"/>
                  </a:cubicBezTo>
                  <a:cubicBezTo>
                    <a:pt x="893" y="1838"/>
                    <a:pt x="1023" y="1967"/>
                    <a:pt x="1182" y="1967"/>
                  </a:cubicBezTo>
                  <a:cubicBezTo>
                    <a:pt x="2037" y="1967"/>
                    <a:pt x="2037" y="1967"/>
                    <a:pt x="2037" y="1967"/>
                  </a:cubicBezTo>
                  <a:cubicBezTo>
                    <a:pt x="2037" y="2154"/>
                    <a:pt x="2037" y="2154"/>
                    <a:pt x="2037" y="2154"/>
                  </a:cubicBezTo>
                  <a:cubicBezTo>
                    <a:pt x="2037" y="2230"/>
                    <a:pt x="1976" y="2292"/>
                    <a:pt x="1900" y="2294"/>
                  </a:cubicBezTo>
                  <a:cubicBezTo>
                    <a:pt x="317" y="2294"/>
                    <a:pt x="317" y="2294"/>
                    <a:pt x="317" y="2294"/>
                  </a:cubicBezTo>
                  <a:cubicBezTo>
                    <a:pt x="317" y="1770"/>
                    <a:pt x="317" y="1770"/>
                    <a:pt x="317" y="1770"/>
                  </a:cubicBezTo>
                  <a:cubicBezTo>
                    <a:pt x="317" y="1744"/>
                    <a:pt x="296" y="1723"/>
                    <a:pt x="270" y="1723"/>
                  </a:cubicBezTo>
                  <a:cubicBezTo>
                    <a:pt x="245" y="1723"/>
                    <a:pt x="224" y="1744"/>
                    <a:pt x="224" y="1770"/>
                  </a:cubicBezTo>
                  <a:cubicBezTo>
                    <a:pt x="224" y="2293"/>
                    <a:pt x="224" y="2293"/>
                    <a:pt x="224" y="2293"/>
                  </a:cubicBezTo>
                  <a:cubicBezTo>
                    <a:pt x="151" y="2288"/>
                    <a:pt x="93" y="2228"/>
                    <a:pt x="93" y="2154"/>
                  </a:cubicBezTo>
                  <a:cubicBezTo>
                    <a:pt x="93" y="1037"/>
                    <a:pt x="93" y="1037"/>
                    <a:pt x="93" y="1037"/>
                  </a:cubicBezTo>
                  <a:cubicBezTo>
                    <a:pt x="123" y="1055"/>
                    <a:pt x="158" y="1066"/>
                    <a:pt x="196" y="1066"/>
                  </a:cubicBezTo>
                  <a:cubicBezTo>
                    <a:pt x="1898" y="1066"/>
                    <a:pt x="1898" y="1066"/>
                    <a:pt x="1898" y="1066"/>
                  </a:cubicBezTo>
                  <a:cubicBezTo>
                    <a:pt x="1975" y="1066"/>
                    <a:pt x="2037" y="1128"/>
                    <a:pt x="2037" y="1205"/>
                  </a:cubicBezTo>
                  <a:cubicBezTo>
                    <a:pt x="2037" y="1391"/>
                    <a:pt x="2037" y="1391"/>
                    <a:pt x="2037" y="1391"/>
                  </a:cubicBezTo>
                  <a:cubicBezTo>
                    <a:pt x="1701" y="1391"/>
                    <a:pt x="1701" y="1391"/>
                    <a:pt x="1701" y="1391"/>
                  </a:cubicBezTo>
                  <a:cubicBezTo>
                    <a:pt x="1675" y="1391"/>
                    <a:pt x="1655" y="1411"/>
                    <a:pt x="1655" y="1437"/>
                  </a:cubicBezTo>
                  <a:cubicBezTo>
                    <a:pt x="1655" y="1463"/>
                    <a:pt x="1675" y="1484"/>
                    <a:pt x="1701" y="1484"/>
                  </a:cubicBezTo>
                  <a:cubicBezTo>
                    <a:pt x="2178" y="1484"/>
                    <a:pt x="2178" y="1484"/>
                    <a:pt x="2178" y="1484"/>
                  </a:cubicBezTo>
                  <a:cubicBezTo>
                    <a:pt x="2219" y="1484"/>
                    <a:pt x="2257" y="1472"/>
                    <a:pt x="2289" y="1451"/>
                  </a:cubicBezTo>
                  <a:cubicBezTo>
                    <a:pt x="2289" y="1744"/>
                    <a:pt x="2289" y="1744"/>
                    <a:pt x="2289" y="17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3" name="Freeform 27">
              <a:extLst>
                <a:ext uri="{FF2B5EF4-FFF2-40B4-BE49-F238E27FC236}">
                  <a16:creationId xmlns:a16="http://schemas.microsoft.com/office/drawing/2014/main" id="{A8C5D79C-AD8B-9D30-2FC3-7BF9F5EABF15}"/>
                </a:ext>
              </a:extLst>
            </p:cNvPr>
            <p:cNvSpPr>
              <a:spLocks/>
            </p:cNvSpPr>
            <p:nvPr/>
          </p:nvSpPr>
          <p:spPr bwMode="auto">
            <a:xfrm>
              <a:off x="2247900" y="5095875"/>
              <a:ext cx="30163" cy="30163"/>
            </a:xfrm>
            <a:custGeom>
              <a:avLst/>
              <a:gdLst>
                <a:gd name="T0" fmla="*/ 79 w 93"/>
                <a:gd name="T1" fmla="*/ 14 h 93"/>
                <a:gd name="T2" fmla="*/ 46 w 93"/>
                <a:gd name="T3" fmla="*/ 0 h 93"/>
                <a:gd name="T4" fmla="*/ 13 w 93"/>
                <a:gd name="T5" fmla="*/ 14 h 93"/>
                <a:gd name="T6" fmla="*/ 0 w 93"/>
                <a:gd name="T7" fmla="*/ 46 h 93"/>
                <a:gd name="T8" fmla="*/ 13 w 93"/>
                <a:gd name="T9" fmla="*/ 79 h 93"/>
                <a:gd name="T10" fmla="*/ 46 w 93"/>
                <a:gd name="T11" fmla="*/ 93 h 93"/>
                <a:gd name="T12" fmla="*/ 79 w 93"/>
                <a:gd name="T13" fmla="*/ 79 h 93"/>
                <a:gd name="T14" fmla="*/ 93 w 93"/>
                <a:gd name="T15" fmla="*/ 46 h 93"/>
                <a:gd name="T16" fmla="*/ 79 w 93"/>
                <a:gd name="T17" fmla="*/ 14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3" h="93">
                  <a:moveTo>
                    <a:pt x="79" y="14"/>
                  </a:moveTo>
                  <a:cubicBezTo>
                    <a:pt x="70" y="5"/>
                    <a:pt x="58" y="0"/>
                    <a:pt x="46" y="0"/>
                  </a:cubicBezTo>
                  <a:cubicBezTo>
                    <a:pt x="34" y="0"/>
                    <a:pt x="22" y="5"/>
                    <a:pt x="13" y="14"/>
                  </a:cubicBezTo>
                  <a:cubicBezTo>
                    <a:pt x="5" y="22"/>
                    <a:pt x="0" y="34"/>
                    <a:pt x="0" y="46"/>
                  </a:cubicBezTo>
                  <a:cubicBezTo>
                    <a:pt x="0" y="59"/>
                    <a:pt x="5" y="71"/>
                    <a:pt x="13" y="79"/>
                  </a:cubicBezTo>
                  <a:cubicBezTo>
                    <a:pt x="22" y="88"/>
                    <a:pt x="34" y="93"/>
                    <a:pt x="46" y="93"/>
                  </a:cubicBezTo>
                  <a:cubicBezTo>
                    <a:pt x="58" y="93"/>
                    <a:pt x="70" y="88"/>
                    <a:pt x="79" y="79"/>
                  </a:cubicBezTo>
                  <a:cubicBezTo>
                    <a:pt x="88" y="71"/>
                    <a:pt x="93" y="59"/>
                    <a:pt x="93" y="46"/>
                  </a:cubicBezTo>
                  <a:cubicBezTo>
                    <a:pt x="93" y="34"/>
                    <a:pt x="88" y="22"/>
                    <a:pt x="79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7FF8A2C3-180C-6430-1CEE-FFBAEDA87E9F}"/>
              </a:ext>
            </a:extLst>
          </p:cNvPr>
          <p:cNvGrpSpPr/>
          <p:nvPr/>
        </p:nvGrpSpPr>
        <p:grpSpPr>
          <a:xfrm>
            <a:off x="7382020" y="3790472"/>
            <a:ext cx="445867" cy="445803"/>
            <a:chOff x="-56745188" y="-7202488"/>
            <a:chExt cx="21274088" cy="21270914"/>
          </a:xfrm>
          <a:solidFill>
            <a:schemeClr val="bg1"/>
          </a:solidFill>
        </p:grpSpPr>
        <p:sp>
          <p:nvSpPr>
            <p:cNvPr id="105" name="Freeform 36">
              <a:extLst>
                <a:ext uri="{FF2B5EF4-FFF2-40B4-BE49-F238E27FC236}">
                  <a16:creationId xmlns:a16="http://schemas.microsoft.com/office/drawing/2014/main" id="{A23F6D7F-2181-544B-169B-DB46164A293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4689713" y="2014538"/>
              <a:ext cx="9218613" cy="12053888"/>
            </a:xfrm>
            <a:custGeom>
              <a:avLst/>
              <a:gdLst>
                <a:gd name="T0" fmla="*/ 2173 w 2457"/>
                <a:gd name="T1" fmla="*/ 0 h 3213"/>
                <a:gd name="T2" fmla="*/ 283 w 2457"/>
                <a:gd name="T3" fmla="*/ 0 h 3213"/>
                <a:gd name="T4" fmla="*/ 0 w 2457"/>
                <a:gd name="T5" fmla="*/ 284 h 3213"/>
                <a:gd name="T6" fmla="*/ 0 w 2457"/>
                <a:gd name="T7" fmla="*/ 2929 h 3213"/>
                <a:gd name="T8" fmla="*/ 283 w 2457"/>
                <a:gd name="T9" fmla="*/ 3213 h 3213"/>
                <a:gd name="T10" fmla="*/ 2173 w 2457"/>
                <a:gd name="T11" fmla="*/ 3213 h 3213"/>
                <a:gd name="T12" fmla="*/ 2457 w 2457"/>
                <a:gd name="T13" fmla="*/ 2929 h 3213"/>
                <a:gd name="T14" fmla="*/ 2457 w 2457"/>
                <a:gd name="T15" fmla="*/ 284 h 3213"/>
                <a:gd name="T16" fmla="*/ 2173 w 2457"/>
                <a:gd name="T17" fmla="*/ 0 h 3213"/>
                <a:gd name="T18" fmla="*/ 1134 w 2457"/>
                <a:gd name="T19" fmla="*/ 3024 h 3213"/>
                <a:gd name="T20" fmla="*/ 283 w 2457"/>
                <a:gd name="T21" fmla="*/ 3024 h 3213"/>
                <a:gd name="T22" fmla="*/ 189 w 2457"/>
                <a:gd name="T23" fmla="*/ 2929 h 3213"/>
                <a:gd name="T24" fmla="*/ 189 w 2457"/>
                <a:gd name="T25" fmla="*/ 2268 h 3213"/>
                <a:gd name="T26" fmla="*/ 1134 w 2457"/>
                <a:gd name="T27" fmla="*/ 2268 h 3213"/>
                <a:gd name="T28" fmla="*/ 1134 w 2457"/>
                <a:gd name="T29" fmla="*/ 3024 h 3213"/>
                <a:gd name="T30" fmla="*/ 1134 w 2457"/>
                <a:gd name="T31" fmla="*/ 2079 h 3213"/>
                <a:gd name="T32" fmla="*/ 189 w 2457"/>
                <a:gd name="T33" fmla="*/ 2079 h 3213"/>
                <a:gd name="T34" fmla="*/ 189 w 2457"/>
                <a:gd name="T35" fmla="*/ 1323 h 3213"/>
                <a:gd name="T36" fmla="*/ 1134 w 2457"/>
                <a:gd name="T37" fmla="*/ 1323 h 3213"/>
                <a:gd name="T38" fmla="*/ 1134 w 2457"/>
                <a:gd name="T39" fmla="*/ 2079 h 3213"/>
                <a:gd name="T40" fmla="*/ 2268 w 2457"/>
                <a:gd name="T41" fmla="*/ 2929 h 3213"/>
                <a:gd name="T42" fmla="*/ 2173 w 2457"/>
                <a:gd name="T43" fmla="*/ 3024 h 3213"/>
                <a:gd name="T44" fmla="*/ 1323 w 2457"/>
                <a:gd name="T45" fmla="*/ 3024 h 3213"/>
                <a:gd name="T46" fmla="*/ 1323 w 2457"/>
                <a:gd name="T47" fmla="*/ 2268 h 3213"/>
                <a:gd name="T48" fmla="*/ 2268 w 2457"/>
                <a:gd name="T49" fmla="*/ 2268 h 3213"/>
                <a:gd name="T50" fmla="*/ 2268 w 2457"/>
                <a:gd name="T51" fmla="*/ 2929 h 3213"/>
                <a:gd name="T52" fmla="*/ 2268 w 2457"/>
                <a:gd name="T53" fmla="*/ 2079 h 3213"/>
                <a:gd name="T54" fmla="*/ 1323 w 2457"/>
                <a:gd name="T55" fmla="*/ 2079 h 3213"/>
                <a:gd name="T56" fmla="*/ 1323 w 2457"/>
                <a:gd name="T57" fmla="*/ 1323 h 3213"/>
                <a:gd name="T58" fmla="*/ 2268 w 2457"/>
                <a:gd name="T59" fmla="*/ 1323 h 3213"/>
                <a:gd name="T60" fmla="*/ 2268 w 2457"/>
                <a:gd name="T61" fmla="*/ 2079 h 3213"/>
                <a:gd name="T62" fmla="*/ 2268 w 2457"/>
                <a:gd name="T63" fmla="*/ 1134 h 3213"/>
                <a:gd name="T64" fmla="*/ 189 w 2457"/>
                <a:gd name="T65" fmla="*/ 1134 h 3213"/>
                <a:gd name="T66" fmla="*/ 189 w 2457"/>
                <a:gd name="T67" fmla="*/ 284 h 3213"/>
                <a:gd name="T68" fmla="*/ 283 w 2457"/>
                <a:gd name="T69" fmla="*/ 189 h 3213"/>
                <a:gd name="T70" fmla="*/ 2173 w 2457"/>
                <a:gd name="T71" fmla="*/ 189 h 3213"/>
                <a:gd name="T72" fmla="*/ 2268 w 2457"/>
                <a:gd name="T73" fmla="*/ 284 h 3213"/>
                <a:gd name="T74" fmla="*/ 2268 w 2457"/>
                <a:gd name="T75" fmla="*/ 1134 h 3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457" h="3213">
                  <a:moveTo>
                    <a:pt x="2173" y="0"/>
                  </a:moveTo>
                  <a:cubicBezTo>
                    <a:pt x="283" y="0"/>
                    <a:pt x="283" y="0"/>
                    <a:pt x="283" y="0"/>
                  </a:cubicBezTo>
                  <a:cubicBezTo>
                    <a:pt x="127" y="0"/>
                    <a:pt x="0" y="127"/>
                    <a:pt x="0" y="284"/>
                  </a:cubicBezTo>
                  <a:cubicBezTo>
                    <a:pt x="0" y="2929"/>
                    <a:pt x="0" y="2929"/>
                    <a:pt x="0" y="2929"/>
                  </a:cubicBezTo>
                  <a:cubicBezTo>
                    <a:pt x="0" y="3086"/>
                    <a:pt x="127" y="3213"/>
                    <a:pt x="283" y="3213"/>
                  </a:cubicBezTo>
                  <a:cubicBezTo>
                    <a:pt x="2173" y="3213"/>
                    <a:pt x="2173" y="3213"/>
                    <a:pt x="2173" y="3213"/>
                  </a:cubicBezTo>
                  <a:cubicBezTo>
                    <a:pt x="2330" y="3213"/>
                    <a:pt x="2457" y="3086"/>
                    <a:pt x="2457" y="2929"/>
                  </a:cubicBezTo>
                  <a:cubicBezTo>
                    <a:pt x="2457" y="284"/>
                    <a:pt x="2457" y="284"/>
                    <a:pt x="2457" y="284"/>
                  </a:cubicBezTo>
                  <a:cubicBezTo>
                    <a:pt x="2457" y="127"/>
                    <a:pt x="2330" y="0"/>
                    <a:pt x="2173" y="0"/>
                  </a:cubicBezTo>
                  <a:close/>
                  <a:moveTo>
                    <a:pt x="1134" y="3024"/>
                  </a:moveTo>
                  <a:cubicBezTo>
                    <a:pt x="283" y="3024"/>
                    <a:pt x="283" y="3024"/>
                    <a:pt x="283" y="3024"/>
                  </a:cubicBezTo>
                  <a:cubicBezTo>
                    <a:pt x="231" y="3024"/>
                    <a:pt x="189" y="2981"/>
                    <a:pt x="189" y="2929"/>
                  </a:cubicBezTo>
                  <a:cubicBezTo>
                    <a:pt x="189" y="2268"/>
                    <a:pt x="189" y="2268"/>
                    <a:pt x="189" y="2268"/>
                  </a:cubicBezTo>
                  <a:cubicBezTo>
                    <a:pt x="1134" y="2268"/>
                    <a:pt x="1134" y="2268"/>
                    <a:pt x="1134" y="2268"/>
                  </a:cubicBezTo>
                  <a:lnTo>
                    <a:pt x="1134" y="3024"/>
                  </a:lnTo>
                  <a:close/>
                  <a:moveTo>
                    <a:pt x="1134" y="2079"/>
                  </a:moveTo>
                  <a:cubicBezTo>
                    <a:pt x="189" y="2079"/>
                    <a:pt x="189" y="2079"/>
                    <a:pt x="189" y="2079"/>
                  </a:cubicBezTo>
                  <a:cubicBezTo>
                    <a:pt x="189" y="1323"/>
                    <a:pt x="189" y="1323"/>
                    <a:pt x="189" y="1323"/>
                  </a:cubicBezTo>
                  <a:cubicBezTo>
                    <a:pt x="1134" y="1323"/>
                    <a:pt x="1134" y="1323"/>
                    <a:pt x="1134" y="1323"/>
                  </a:cubicBezTo>
                  <a:lnTo>
                    <a:pt x="1134" y="2079"/>
                  </a:lnTo>
                  <a:close/>
                  <a:moveTo>
                    <a:pt x="2268" y="2929"/>
                  </a:moveTo>
                  <a:cubicBezTo>
                    <a:pt x="2268" y="2981"/>
                    <a:pt x="2225" y="3024"/>
                    <a:pt x="2173" y="3024"/>
                  </a:cubicBezTo>
                  <a:cubicBezTo>
                    <a:pt x="1323" y="3024"/>
                    <a:pt x="1323" y="3024"/>
                    <a:pt x="1323" y="3024"/>
                  </a:cubicBezTo>
                  <a:cubicBezTo>
                    <a:pt x="1323" y="2268"/>
                    <a:pt x="1323" y="2268"/>
                    <a:pt x="1323" y="2268"/>
                  </a:cubicBezTo>
                  <a:cubicBezTo>
                    <a:pt x="2268" y="2268"/>
                    <a:pt x="2268" y="2268"/>
                    <a:pt x="2268" y="2268"/>
                  </a:cubicBezTo>
                  <a:lnTo>
                    <a:pt x="2268" y="2929"/>
                  </a:lnTo>
                  <a:close/>
                  <a:moveTo>
                    <a:pt x="2268" y="2079"/>
                  </a:moveTo>
                  <a:cubicBezTo>
                    <a:pt x="1323" y="2079"/>
                    <a:pt x="1323" y="2079"/>
                    <a:pt x="1323" y="2079"/>
                  </a:cubicBezTo>
                  <a:cubicBezTo>
                    <a:pt x="1323" y="1323"/>
                    <a:pt x="1323" y="1323"/>
                    <a:pt x="1323" y="1323"/>
                  </a:cubicBezTo>
                  <a:cubicBezTo>
                    <a:pt x="2268" y="1323"/>
                    <a:pt x="2268" y="1323"/>
                    <a:pt x="2268" y="1323"/>
                  </a:cubicBezTo>
                  <a:lnTo>
                    <a:pt x="2268" y="2079"/>
                  </a:lnTo>
                  <a:close/>
                  <a:moveTo>
                    <a:pt x="2268" y="1134"/>
                  </a:moveTo>
                  <a:cubicBezTo>
                    <a:pt x="189" y="1134"/>
                    <a:pt x="189" y="1134"/>
                    <a:pt x="189" y="1134"/>
                  </a:cubicBezTo>
                  <a:cubicBezTo>
                    <a:pt x="189" y="284"/>
                    <a:pt x="189" y="284"/>
                    <a:pt x="189" y="284"/>
                  </a:cubicBezTo>
                  <a:cubicBezTo>
                    <a:pt x="189" y="231"/>
                    <a:pt x="231" y="189"/>
                    <a:pt x="283" y="189"/>
                  </a:cubicBezTo>
                  <a:cubicBezTo>
                    <a:pt x="2173" y="189"/>
                    <a:pt x="2173" y="189"/>
                    <a:pt x="2173" y="189"/>
                  </a:cubicBezTo>
                  <a:cubicBezTo>
                    <a:pt x="2225" y="189"/>
                    <a:pt x="2268" y="231"/>
                    <a:pt x="2268" y="284"/>
                  </a:cubicBezTo>
                  <a:lnTo>
                    <a:pt x="2268" y="11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6" name="Freeform 37">
              <a:extLst>
                <a:ext uri="{FF2B5EF4-FFF2-40B4-BE49-F238E27FC236}">
                  <a16:creationId xmlns:a16="http://schemas.microsoft.com/office/drawing/2014/main" id="{699A513C-0072-1B58-26B5-52DC20F889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3272075" y="3432175"/>
              <a:ext cx="6381750" cy="2127250"/>
            </a:xfrm>
            <a:custGeom>
              <a:avLst/>
              <a:gdLst>
                <a:gd name="T0" fmla="*/ 1606 w 1701"/>
                <a:gd name="T1" fmla="*/ 0 h 567"/>
                <a:gd name="T2" fmla="*/ 94 w 1701"/>
                <a:gd name="T3" fmla="*/ 0 h 567"/>
                <a:gd name="T4" fmla="*/ 0 w 1701"/>
                <a:gd name="T5" fmla="*/ 94 h 567"/>
                <a:gd name="T6" fmla="*/ 0 w 1701"/>
                <a:gd name="T7" fmla="*/ 472 h 567"/>
                <a:gd name="T8" fmla="*/ 94 w 1701"/>
                <a:gd name="T9" fmla="*/ 567 h 567"/>
                <a:gd name="T10" fmla="*/ 1606 w 1701"/>
                <a:gd name="T11" fmla="*/ 567 h 567"/>
                <a:gd name="T12" fmla="*/ 1701 w 1701"/>
                <a:gd name="T13" fmla="*/ 472 h 567"/>
                <a:gd name="T14" fmla="*/ 1701 w 1701"/>
                <a:gd name="T15" fmla="*/ 94 h 567"/>
                <a:gd name="T16" fmla="*/ 1606 w 1701"/>
                <a:gd name="T17" fmla="*/ 0 h 567"/>
                <a:gd name="T18" fmla="*/ 1512 w 1701"/>
                <a:gd name="T19" fmla="*/ 378 h 567"/>
                <a:gd name="T20" fmla="*/ 189 w 1701"/>
                <a:gd name="T21" fmla="*/ 378 h 567"/>
                <a:gd name="T22" fmla="*/ 189 w 1701"/>
                <a:gd name="T23" fmla="*/ 189 h 567"/>
                <a:gd name="T24" fmla="*/ 1512 w 1701"/>
                <a:gd name="T25" fmla="*/ 189 h 567"/>
                <a:gd name="T26" fmla="*/ 1512 w 1701"/>
                <a:gd name="T27" fmla="*/ 378 h 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01" h="567">
                  <a:moveTo>
                    <a:pt x="1606" y="0"/>
                  </a:moveTo>
                  <a:cubicBezTo>
                    <a:pt x="94" y="0"/>
                    <a:pt x="94" y="0"/>
                    <a:pt x="94" y="0"/>
                  </a:cubicBezTo>
                  <a:cubicBezTo>
                    <a:pt x="42" y="0"/>
                    <a:pt x="0" y="42"/>
                    <a:pt x="0" y="94"/>
                  </a:cubicBezTo>
                  <a:cubicBezTo>
                    <a:pt x="0" y="472"/>
                    <a:pt x="0" y="472"/>
                    <a:pt x="0" y="472"/>
                  </a:cubicBezTo>
                  <a:cubicBezTo>
                    <a:pt x="0" y="525"/>
                    <a:pt x="42" y="567"/>
                    <a:pt x="94" y="567"/>
                  </a:cubicBezTo>
                  <a:cubicBezTo>
                    <a:pt x="1606" y="567"/>
                    <a:pt x="1606" y="567"/>
                    <a:pt x="1606" y="567"/>
                  </a:cubicBezTo>
                  <a:cubicBezTo>
                    <a:pt x="1658" y="567"/>
                    <a:pt x="1701" y="525"/>
                    <a:pt x="1701" y="472"/>
                  </a:cubicBezTo>
                  <a:cubicBezTo>
                    <a:pt x="1701" y="94"/>
                    <a:pt x="1701" y="94"/>
                    <a:pt x="1701" y="94"/>
                  </a:cubicBezTo>
                  <a:cubicBezTo>
                    <a:pt x="1701" y="42"/>
                    <a:pt x="1658" y="0"/>
                    <a:pt x="1606" y="0"/>
                  </a:cubicBezTo>
                  <a:close/>
                  <a:moveTo>
                    <a:pt x="1512" y="378"/>
                  </a:moveTo>
                  <a:cubicBezTo>
                    <a:pt x="189" y="378"/>
                    <a:pt x="189" y="378"/>
                    <a:pt x="189" y="378"/>
                  </a:cubicBezTo>
                  <a:cubicBezTo>
                    <a:pt x="189" y="189"/>
                    <a:pt x="189" y="189"/>
                    <a:pt x="189" y="189"/>
                  </a:cubicBezTo>
                  <a:cubicBezTo>
                    <a:pt x="1512" y="189"/>
                    <a:pt x="1512" y="189"/>
                    <a:pt x="1512" y="189"/>
                  </a:cubicBezTo>
                  <a:lnTo>
                    <a:pt x="1512" y="3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7" name="Freeform 38">
              <a:extLst>
                <a:ext uri="{FF2B5EF4-FFF2-40B4-BE49-F238E27FC236}">
                  <a16:creationId xmlns:a16="http://schemas.microsoft.com/office/drawing/2014/main" id="{38211547-30ED-23A9-AD88-C9A8953E3290}"/>
                </a:ext>
              </a:extLst>
            </p:cNvPr>
            <p:cNvSpPr>
              <a:spLocks/>
            </p:cNvSpPr>
            <p:nvPr/>
          </p:nvSpPr>
          <p:spPr bwMode="auto">
            <a:xfrm>
              <a:off x="-43272075" y="7331075"/>
              <a:ext cx="2127250" cy="2127250"/>
            </a:xfrm>
            <a:custGeom>
              <a:avLst/>
              <a:gdLst>
                <a:gd name="T0" fmla="*/ 893 w 1340"/>
                <a:gd name="T1" fmla="*/ 447 h 1340"/>
                <a:gd name="T2" fmla="*/ 893 w 1340"/>
                <a:gd name="T3" fmla="*/ 0 h 1340"/>
                <a:gd name="T4" fmla="*/ 447 w 1340"/>
                <a:gd name="T5" fmla="*/ 0 h 1340"/>
                <a:gd name="T6" fmla="*/ 447 w 1340"/>
                <a:gd name="T7" fmla="*/ 447 h 1340"/>
                <a:gd name="T8" fmla="*/ 0 w 1340"/>
                <a:gd name="T9" fmla="*/ 447 h 1340"/>
                <a:gd name="T10" fmla="*/ 0 w 1340"/>
                <a:gd name="T11" fmla="*/ 893 h 1340"/>
                <a:gd name="T12" fmla="*/ 447 w 1340"/>
                <a:gd name="T13" fmla="*/ 893 h 1340"/>
                <a:gd name="T14" fmla="*/ 447 w 1340"/>
                <a:gd name="T15" fmla="*/ 1340 h 1340"/>
                <a:gd name="T16" fmla="*/ 893 w 1340"/>
                <a:gd name="T17" fmla="*/ 1340 h 1340"/>
                <a:gd name="T18" fmla="*/ 893 w 1340"/>
                <a:gd name="T19" fmla="*/ 893 h 1340"/>
                <a:gd name="T20" fmla="*/ 1340 w 1340"/>
                <a:gd name="T21" fmla="*/ 893 h 1340"/>
                <a:gd name="T22" fmla="*/ 1340 w 1340"/>
                <a:gd name="T23" fmla="*/ 447 h 1340"/>
                <a:gd name="T24" fmla="*/ 893 w 1340"/>
                <a:gd name="T25" fmla="*/ 447 h 1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40" h="1340">
                  <a:moveTo>
                    <a:pt x="893" y="447"/>
                  </a:moveTo>
                  <a:lnTo>
                    <a:pt x="893" y="0"/>
                  </a:lnTo>
                  <a:lnTo>
                    <a:pt x="447" y="0"/>
                  </a:lnTo>
                  <a:lnTo>
                    <a:pt x="447" y="447"/>
                  </a:lnTo>
                  <a:lnTo>
                    <a:pt x="0" y="447"/>
                  </a:lnTo>
                  <a:lnTo>
                    <a:pt x="0" y="893"/>
                  </a:lnTo>
                  <a:lnTo>
                    <a:pt x="447" y="893"/>
                  </a:lnTo>
                  <a:lnTo>
                    <a:pt x="447" y="1340"/>
                  </a:lnTo>
                  <a:lnTo>
                    <a:pt x="893" y="1340"/>
                  </a:lnTo>
                  <a:lnTo>
                    <a:pt x="893" y="893"/>
                  </a:lnTo>
                  <a:lnTo>
                    <a:pt x="1340" y="893"/>
                  </a:lnTo>
                  <a:lnTo>
                    <a:pt x="1340" y="447"/>
                  </a:lnTo>
                  <a:lnTo>
                    <a:pt x="893" y="44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8" name="Rectangle 39">
              <a:extLst>
                <a:ext uri="{FF2B5EF4-FFF2-40B4-BE49-F238E27FC236}">
                  <a16:creationId xmlns:a16="http://schemas.microsoft.com/office/drawing/2014/main" id="{9FB937C6-3A8E-AD98-0726-665DA9531A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39017575" y="8040688"/>
              <a:ext cx="2127250" cy="7080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9" name="Freeform 40">
              <a:extLst>
                <a:ext uri="{FF2B5EF4-FFF2-40B4-BE49-F238E27FC236}">
                  <a16:creationId xmlns:a16="http://schemas.microsoft.com/office/drawing/2014/main" id="{8E09BD50-2C48-17D3-8A6F-8622F8007F1D}"/>
                </a:ext>
              </a:extLst>
            </p:cNvPr>
            <p:cNvSpPr>
              <a:spLocks/>
            </p:cNvSpPr>
            <p:nvPr/>
          </p:nvSpPr>
          <p:spPr bwMode="auto">
            <a:xfrm>
              <a:off x="-43211750" y="10980738"/>
              <a:ext cx="2006600" cy="2003425"/>
            </a:xfrm>
            <a:custGeom>
              <a:avLst/>
              <a:gdLst>
                <a:gd name="T0" fmla="*/ 1264 w 1264"/>
                <a:gd name="T1" fmla="*/ 317 h 1262"/>
                <a:gd name="T2" fmla="*/ 947 w 1264"/>
                <a:gd name="T3" fmla="*/ 0 h 1262"/>
                <a:gd name="T4" fmla="*/ 631 w 1264"/>
                <a:gd name="T5" fmla="*/ 317 h 1262"/>
                <a:gd name="T6" fmla="*/ 316 w 1264"/>
                <a:gd name="T7" fmla="*/ 0 h 1262"/>
                <a:gd name="T8" fmla="*/ 0 w 1264"/>
                <a:gd name="T9" fmla="*/ 317 h 1262"/>
                <a:gd name="T10" fmla="*/ 316 w 1264"/>
                <a:gd name="T11" fmla="*/ 631 h 1262"/>
                <a:gd name="T12" fmla="*/ 0 w 1264"/>
                <a:gd name="T13" fmla="*/ 948 h 1262"/>
                <a:gd name="T14" fmla="*/ 316 w 1264"/>
                <a:gd name="T15" fmla="*/ 1262 h 1262"/>
                <a:gd name="T16" fmla="*/ 631 w 1264"/>
                <a:gd name="T17" fmla="*/ 948 h 1262"/>
                <a:gd name="T18" fmla="*/ 947 w 1264"/>
                <a:gd name="T19" fmla="*/ 1262 h 1262"/>
                <a:gd name="T20" fmla="*/ 1264 w 1264"/>
                <a:gd name="T21" fmla="*/ 948 h 1262"/>
                <a:gd name="T22" fmla="*/ 947 w 1264"/>
                <a:gd name="T23" fmla="*/ 631 h 1262"/>
                <a:gd name="T24" fmla="*/ 1264 w 1264"/>
                <a:gd name="T25" fmla="*/ 317 h 1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64" h="1262">
                  <a:moveTo>
                    <a:pt x="1264" y="317"/>
                  </a:moveTo>
                  <a:lnTo>
                    <a:pt x="947" y="0"/>
                  </a:lnTo>
                  <a:lnTo>
                    <a:pt x="631" y="317"/>
                  </a:lnTo>
                  <a:lnTo>
                    <a:pt x="316" y="0"/>
                  </a:lnTo>
                  <a:lnTo>
                    <a:pt x="0" y="317"/>
                  </a:lnTo>
                  <a:lnTo>
                    <a:pt x="316" y="631"/>
                  </a:lnTo>
                  <a:lnTo>
                    <a:pt x="0" y="948"/>
                  </a:lnTo>
                  <a:lnTo>
                    <a:pt x="316" y="1262"/>
                  </a:lnTo>
                  <a:lnTo>
                    <a:pt x="631" y="948"/>
                  </a:lnTo>
                  <a:lnTo>
                    <a:pt x="947" y="1262"/>
                  </a:lnTo>
                  <a:lnTo>
                    <a:pt x="1264" y="948"/>
                  </a:lnTo>
                  <a:lnTo>
                    <a:pt x="947" y="631"/>
                  </a:lnTo>
                  <a:lnTo>
                    <a:pt x="1264" y="3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0" name="Rectangle 41">
              <a:extLst>
                <a:ext uri="{FF2B5EF4-FFF2-40B4-BE49-F238E27FC236}">
                  <a16:creationId xmlns:a16="http://schemas.microsoft.com/office/drawing/2014/main" id="{7BCC4C43-6A06-A9F8-DF8A-E6E645F15C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39017575" y="11585575"/>
              <a:ext cx="2127250" cy="7096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1" name="Rectangle 42">
              <a:extLst>
                <a:ext uri="{FF2B5EF4-FFF2-40B4-BE49-F238E27FC236}">
                  <a16:creationId xmlns:a16="http://schemas.microsoft.com/office/drawing/2014/main" id="{F8DCBAE1-C1C1-A3FE-1C06-C98652C415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38307963" y="12471400"/>
              <a:ext cx="708025" cy="3556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2" name="Rectangle 43">
              <a:extLst>
                <a:ext uri="{FF2B5EF4-FFF2-40B4-BE49-F238E27FC236}">
                  <a16:creationId xmlns:a16="http://schemas.microsoft.com/office/drawing/2014/main" id="{01DDC3AB-3D95-6574-DBB6-EE0CD79A95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38307963" y="11052175"/>
              <a:ext cx="708025" cy="3571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3" name="Freeform 44">
              <a:extLst>
                <a:ext uri="{FF2B5EF4-FFF2-40B4-BE49-F238E27FC236}">
                  <a16:creationId xmlns:a16="http://schemas.microsoft.com/office/drawing/2014/main" id="{3FDBD202-1B3C-1F8A-C5DE-13EEB2E69D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6745188" y="-7202488"/>
              <a:ext cx="14890750" cy="21270913"/>
            </a:xfrm>
            <a:custGeom>
              <a:avLst/>
              <a:gdLst>
                <a:gd name="T0" fmla="*/ 1040 w 3969"/>
                <a:gd name="T1" fmla="*/ 0 h 5670"/>
                <a:gd name="T2" fmla="*/ 973 w 3969"/>
                <a:gd name="T3" fmla="*/ 28 h 5670"/>
                <a:gd name="T4" fmla="*/ 1 w 3969"/>
                <a:gd name="T5" fmla="*/ 1040 h 5670"/>
                <a:gd name="T6" fmla="*/ 0 w 3969"/>
                <a:gd name="T7" fmla="*/ 5481 h 5670"/>
                <a:gd name="T8" fmla="*/ 3024 w 3969"/>
                <a:gd name="T9" fmla="*/ 5670 h 5670"/>
                <a:gd name="T10" fmla="*/ 2457 w 3969"/>
                <a:gd name="T11" fmla="*/ 5481 h 5670"/>
                <a:gd name="T12" fmla="*/ 2646 w 3969"/>
                <a:gd name="T13" fmla="*/ 5197 h 5670"/>
                <a:gd name="T14" fmla="*/ 2741 w 3969"/>
                <a:gd name="T15" fmla="*/ 4630 h 5670"/>
                <a:gd name="T16" fmla="*/ 2457 w 3969"/>
                <a:gd name="T17" fmla="*/ 4536 h 5670"/>
                <a:gd name="T18" fmla="*/ 2646 w 3969"/>
                <a:gd name="T19" fmla="*/ 4252 h 5670"/>
                <a:gd name="T20" fmla="*/ 2741 w 3969"/>
                <a:gd name="T21" fmla="*/ 3685 h 5670"/>
                <a:gd name="T22" fmla="*/ 2644 w 3969"/>
                <a:gd name="T23" fmla="*/ 3591 h 5670"/>
                <a:gd name="T24" fmla="*/ 2081 w 3969"/>
                <a:gd name="T25" fmla="*/ 1888 h 5670"/>
                <a:gd name="T26" fmla="*/ 1515 w 3969"/>
                <a:gd name="T27" fmla="*/ 3591 h 5670"/>
                <a:gd name="T28" fmla="*/ 662 w 3969"/>
                <a:gd name="T29" fmla="*/ 3685 h 5670"/>
                <a:gd name="T30" fmla="*/ 473 w 3969"/>
                <a:gd name="T31" fmla="*/ 4063 h 5670"/>
                <a:gd name="T32" fmla="*/ 378 w 3969"/>
                <a:gd name="T33" fmla="*/ 4630 h 5670"/>
                <a:gd name="T34" fmla="*/ 662 w 3969"/>
                <a:gd name="T35" fmla="*/ 4725 h 5670"/>
                <a:gd name="T36" fmla="*/ 473 w 3969"/>
                <a:gd name="T37" fmla="*/ 5008 h 5670"/>
                <a:gd name="T38" fmla="*/ 378 w 3969"/>
                <a:gd name="T39" fmla="*/ 5481 h 5670"/>
                <a:gd name="T40" fmla="*/ 189 w 3969"/>
                <a:gd name="T41" fmla="*/ 1134 h 5670"/>
                <a:gd name="T42" fmla="*/ 1134 w 3969"/>
                <a:gd name="T43" fmla="*/ 945 h 5670"/>
                <a:gd name="T44" fmla="*/ 3780 w 3969"/>
                <a:gd name="T45" fmla="*/ 189 h 5670"/>
                <a:gd name="T46" fmla="*/ 3969 w 3969"/>
                <a:gd name="T47" fmla="*/ 2268 h 5670"/>
                <a:gd name="T48" fmla="*/ 3780 w 3969"/>
                <a:gd name="T49" fmla="*/ 0 h 5670"/>
                <a:gd name="T50" fmla="*/ 2552 w 3969"/>
                <a:gd name="T51" fmla="*/ 5008 h 5670"/>
                <a:gd name="T52" fmla="*/ 851 w 3969"/>
                <a:gd name="T53" fmla="*/ 4725 h 5670"/>
                <a:gd name="T54" fmla="*/ 1323 w 3969"/>
                <a:gd name="T55" fmla="*/ 2835 h 5670"/>
                <a:gd name="T56" fmla="*/ 2835 w 3969"/>
                <a:gd name="T57" fmla="*/ 2835 h 5670"/>
                <a:gd name="T58" fmla="*/ 1323 w 3969"/>
                <a:gd name="T59" fmla="*/ 2835 h 5670"/>
                <a:gd name="T60" fmla="*/ 2552 w 3969"/>
                <a:gd name="T61" fmla="*/ 3780 h 5670"/>
                <a:gd name="T62" fmla="*/ 851 w 3969"/>
                <a:gd name="T63" fmla="*/ 4063 h 5670"/>
                <a:gd name="T64" fmla="*/ 567 w 3969"/>
                <a:gd name="T65" fmla="*/ 4536 h 5670"/>
                <a:gd name="T66" fmla="*/ 2268 w 3969"/>
                <a:gd name="T67" fmla="*/ 4252 h 5670"/>
                <a:gd name="T68" fmla="*/ 756 w 3969"/>
                <a:gd name="T69" fmla="*/ 4536 h 5670"/>
                <a:gd name="T70" fmla="*/ 567 w 3969"/>
                <a:gd name="T71" fmla="*/ 5197 h 5670"/>
                <a:gd name="T72" fmla="*/ 2268 w 3969"/>
                <a:gd name="T73" fmla="*/ 5481 h 5670"/>
                <a:gd name="T74" fmla="*/ 567 w 3969"/>
                <a:gd name="T75" fmla="*/ 5197 h 5670"/>
                <a:gd name="T76" fmla="*/ 323 w 3969"/>
                <a:gd name="T77" fmla="*/ 945 h 5670"/>
                <a:gd name="T78" fmla="*/ 945 w 3969"/>
                <a:gd name="T79" fmla="*/ 945 h 56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969" h="5670">
                  <a:moveTo>
                    <a:pt x="3780" y="0"/>
                  </a:moveTo>
                  <a:cubicBezTo>
                    <a:pt x="1040" y="0"/>
                    <a:pt x="1040" y="0"/>
                    <a:pt x="1040" y="0"/>
                  </a:cubicBezTo>
                  <a:cubicBezTo>
                    <a:pt x="1040" y="1"/>
                    <a:pt x="1040" y="1"/>
                    <a:pt x="1040" y="1"/>
                  </a:cubicBezTo>
                  <a:cubicBezTo>
                    <a:pt x="1015" y="1"/>
                    <a:pt x="991" y="11"/>
                    <a:pt x="973" y="28"/>
                  </a:cubicBezTo>
                  <a:cubicBezTo>
                    <a:pt x="28" y="973"/>
                    <a:pt x="28" y="973"/>
                    <a:pt x="28" y="973"/>
                  </a:cubicBezTo>
                  <a:cubicBezTo>
                    <a:pt x="11" y="991"/>
                    <a:pt x="1" y="1015"/>
                    <a:pt x="1" y="1040"/>
                  </a:cubicBezTo>
                  <a:cubicBezTo>
                    <a:pt x="0" y="1040"/>
                    <a:pt x="0" y="1040"/>
                    <a:pt x="0" y="1040"/>
                  </a:cubicBezTo>
                  <a:cubicBezTo>
                    <a:pt x="0" y="5481"/>
                    <a:pt x="0" y="5481"/>
                    <a:pt x="0" y="5481"/>
                  </a:cubicBezTo>
                  <a:cubicBezTo>
                    <a:pt x="0" y="5585"/>
                    <a:pt x="85" y="5670"/>
                    <a:pt x="189" y="5670"/>
                  </a:cubicBezTo>
                  <a:cubicBezTo>
                    <a:pt x="3024" y="5670"/>
                    <a:pt x="3024" y="5670"/>
                    <a:pt x="3024" y="5670"/>
                  </a:cubicBezTo>
                  <a:cubicBezTo>
                    <a:pt x="3024" y="5481"/>
                    <a:pt x="3024" y="5481"/>
                    <a:pt x="3024" y="5481"/>
                  </a:cubicBezTo>
                  <a:cubicBezTo>
                    <a:pt x="2457" y="5481"/>
                    <a:pt x="2457" y="5481"/>
                    <a:pt x="2457" y="5481"/>
                  </a:cubicBezTo>
                  <a:cubicBezTo>
                    <a:pt x="2457" y="5197"/>
                    <a:pt x="2457" y="5197"/>
                    <a:pt x="2457" y="5197"/>
                  </a:cubicBezTo>
                  <a:cubicBezTo>
                    <a:pt x="2646" y="5197"/>
                    <a:pt x="2646" y="5197"/>
                    <a:pt x="2646" y="5197"/>
                  </a:cubicBezTo>
                  <a:cubicBezTo>
                    <a:pt x="2698" y="5197"/>
                    <a:pt x="2741" y="5155"/>
                    <a:pt x="2741" y="5103"/>
                  </a:cubicBezTo>
                  <a:cubicBezTo>
                    <a:pt x="2741" y="4630"/>
                    <a:pt x="2741" y="4630"/>
                    <a:pt x="2741" y="4630"/>
                  </a:cubicBezTo>
                  <a:cubicBezTo>
                    <a:pt x="2741" y="4578"/>
                    <a:pt x="2698" y="4536"/>
                    <a:pt x="2646" y="4536"/>
                  </a:cubicBezTo>
                  <a:cubicBezTo>
                    <a:pt x="2457" y="4536"/>
                    <a:pt x="2457" y="4536"/>
                    <a:pt x="2457" y="4536"/>
                  </a:cubicBezTo>
                  <a:cubicBezTo>
                    <a:pt x="2457" y="4252"/>
                    <a:pt x="2457" y="4252"/>
                    <a:pt x="2457" y="4252"/>
                  </a:cubicBezTo>
                  <a:cubicBezTo>
                    <a:pt x="2646" y="4252"/>
                    <a:pt x="2646" y="4252"/>
                    <a:pt x="2646" y="4252"/>
                  </a:cubicBezTo>
                  <a:cubicBezTo>
                    <a:pt x="2698" y="4252"/>
                    <a:pt x="2741" y="4210"/>
                    <a:pt x="2741" y="4158"/>
                  </a:cubicBezTo>
                  <a:cubicBezTo>
                    <a:pt x="2741" y="3685"/>
                    <a:pt x="2741" y="3685"/>
                    <a:pt x="2741" y="3685"/>
                  </a:cubicBezTo>
                  <a:cubicBezTo>
                    <a:pt x="2741" y="3633"/>
                    <a:pt x="2698" y="3591"/>
                    <a:pt x="2646" y="3591"/>
                  </a:cubicBezTo>
                  <a:cubicBezTo>
                    <a:pt x="2644" y="3591"/>
                    <a:pt x="2644" y="3591"/>
                    <a:pt x="2644" y="3591"/>
                  </a:cubicBezTo>
                  <a:cubicBezTo>
                    <a:pt x="2883" y="3413"/>
                    <a:pt x="3024" y="3133"/>
                    <a:pt x="3024" y="2835"/>
                  </a:cubicBezTo>
                  <a:cubicBezTo>
                    <a:pt x="3025" y="2313"/>
                    <a:pt x="2603" y="1889"/>
                    <a:pt x="2081" y="1888"/>
                  </a:cubicBezTo>
                  <a:cubicBezTo>
                    <a:pt x="1559" y="1887"/>
                    <a:pt x="1135" y="2309"/>
                    <a:pt x="1134" y="2831"/>
                  </a:cubicBezTo>
                  <a:cubicBezTo>
                    <a:pt x="1134" y="3130"/>
                    <a:pt x="1275" y="3412"/>
                    <a:pt x="1515" y="3591"/>
                  </a:cubicBezTo>
                  <a:cubicBezTo>
                    <a:pt x="756" y="3591"/>
                    <a:pt x="756" y="3591"/>
                    <a:pt x="756" y="3591"/>
                  </a:cubicBezTo>
                  <a:cubicBezTo>
                    <a:pt x="704" y="3591"/>
                    <a:pt x="662" y="3633"/>
                    <a:pt x="662" y="3685"/>
                  </a:cubicBezTo>
                  <a:cubicBezTo>
                    <a:pt x="662" y="4063"/>
                    <a:pt x="662" y="4063"/>
                    <a:pt x="662" y="4063"/>
                  </a:cubicBezTo>
                  <a:cubicBezTo>
                    <a:pt x="473" y="4063"/>
                    <a:pt x="473" y="4063"/>
                    <a:pt x="473" y="4063"/>
                  </a:cubicBezTo>
                  <a:cubicBezTo>
                    <a:pt x="421" y="4063"/>
                    <a:pt x="378" y="4106"/>
                    <a:pt x="378" y="4158"/>
                  </a:cubicBezTo>
                  <a:cubicBezTo>
                    <a:pt x="378" y="4630"/>
                    <a:pt x="378" y="4630"/>
                    <a:pt x="378" y="4630"/>
                  </a:cubicBezTo>
                  <a:cubicBezTo>
                    <a:pt x="378" y="4682"/>
                    <a:pt x="421" y="4725"/>
                    <a:pt x="473" y="4725"/>
                  </a:cubicBezTo>
                  <a:cubicBezTo>
                    <a:pt x="662" y="4725"/>
                    <a:pt x="662" y="4725"/>
                    <a:pt x="662" y="4725"/>
                  </a:cubicBezTo>
                  <a:cubicBezTo>
                    <a:pt x="662" y="5008"/>
                    <a:pt x="662" y="5008"/>
                    <a:pt x="662" y="5008"/>
                  </a:cubicBezTo>
                  <a:cubicBezTo>
                    <a:pt x="473" y="5008"/>
                    <a:pt x="473" y="5008"/>
                    <a:pt x="473" y="5008"/>
                  </a:cubicBezTo>
                  <a:cubicBezTo>
                    <a:pt x="421" y="5008"/>
                    <a:pt x="378" y="5051"/>
                    <a:pt x="378" y="5103"/>
                  </a:cubicBezTo>
                  <a:cubicBezTo>
                    <a:pt x="378" y="5481"/>
                    <a:pt x="378" y="5481"/>
                    <a:pt x="378" y="5481"/>
                  </a:cubicBezTo>
                  <a:cubicBezTo>
                    <a:pt x="189" y="5481"/>
                    <a:pt x="189" y="5481"/>
                    <a:pt x="189" y="5481"/>
                  </a:cubicBezTo>
                  <a:cubicBezTo>
                    <a:pt x="189" y="1134"/>
                    <a:pt x="189" y="1134"/>
                    <a:pt x="189" y="1134"/>
                  </a:cubicBezTo>
                  <a:cubicBezTo>
                    <a:pt x="945" y="1134"/>
                    <a:pt x="945" y="1134"/>
                    <a:pt x="945" y="1134"/>
                  </a:cubicBezTo>
                  <a:cubicBezTo>
                    <a:pt x="1050" y="1134"/>
                    <a:pt x="1134" y="1050"/>
                    <a:pt x="1134" y="945"/>
                  </a:cubicBezTo>
                  <a:cubicBezTo>
                    <a:pt x="1134" y="189"/>
                    <a:pt x="1134" y="189"/>
                    <a:pt x="1134" y="189"/>
                  </a:cubicBezTo>
                  <a:cubicBezTo>
                    <a:pt x="3780" y="189"/>
                    <a:pt x="3780" y="189"/>
                    <a:pt x="3780" y="189"/>
                  </a:cubicBezTo>
                  <a:cubicBezTo>
                    <a:pt x="3780" y="2268"/>
                    <a:pt x="3780" y="2268"/>
                    <a:pt x="3780" y="2268"/>
                  </a:cubicBezTo>
                  <a:cubicBezTo>
                    <a:pt x="3969" y="2268"/>
                    <a:pt x="3969" y="2268"/>
                    <a:pt x="3969" y="2268"/>
                  </a:cubicBezTo>
                  <a:cubicBezTo>
                    <a:pt x="3969" y="189"/>
                    <a:pt x="3969" y="189"/>
                    <a:pt x="3969" y="189"/>
                  </a:cubicBezTo>
                  <a:cubicBezTo>
                    <a:pt x="3969" y="85"/>
                    <a:pt x="3884" y="0"/>
                    <a:pt x="3780" y="0"/>
                  </a:cubicBezTo>
                  <a:close/>
                  <a:moveTo>
                    <a:pt x="2552" y="4725"/>
                  </a:moveTo>
                  <a:cubicBezTo>
                    <a:pt x="2552" y="5008"/>
                    <a:pt x="2552" y="5008"/>
                    <a:pt x="2552" y="5008"/>
                  </a:cubicBezTo>
                  <a:cubicBezTo>
                    <a:pt x="851" y="5008"/>
                    <a:pt x="851" y="5008"/>
                    <a:pt x="851" y="5008"/>
                  </a:cubicBezTo>
                  <a:cubicBezTo>
                    <a:pt x="851" y="4725"/>
                    <a:pt x="851" y="4725"/>
                    <a:pt x="851" y="4725"/>
                  </a:cubicBezTo>
                  <a:lnTo>
                    <a:pt x="2552" y="4725"/>
                  </a:lnTo>
                  <a:close/>
                  <a:moveTo>
                    <a:pt x="1323" y="2835"/>
                  </a:moveTo>
                  <a:cubicBezTo>
                    <a:pt x="1323" y="2418"/>
                    <a:pt x="1662" y="2079"/>
                    <a:pt x="2079" y="2079"/>
                  </a:cubicBezTo>
                  <a:cubicBezTo>
                    <a:pt x="2497" y="2079"/>
                    <a:pt x="2835" y="2418"/>
                    <a:pt x="2835" y="2835"/>
                  </a:cubicBezTo>
                  <a:cubicBezTo>
                    <a:pt x="2835" y="3252"/>
                    <a:pt x="2497" y="3591"/>
                    <a:pt x="2079" y="3591"/>
                  </a:cubicBezTo>
                  <a:cubicBezTo>
                    <a:pt x="1662" y="3590"/>
                    <a:pt x="1324" y="3252"/>
                    <a:pt x="1323" y="2835"/>
                  </a:cubicBezTo>
                  <a:close/>
                  <a:moveTo>
                    <a:pt x="851" y="3780"/>
                  </a:moveTo>
                  <a:cubicBezTo>
                    <a:pt x="2552" y="3780"/>
                    <a:pt x="2552" y="3780"/>
                    <a:pt x="2552" y="3780"/>
                  </a:cubicBezTo>
                  <a:cubicBezTo>
                    <a:pt x="2552" y="4063"/>
                    <a:pt x="2552" y="4063"/>
                    <a:pt x="2552" y="4063"/>
                  </a:cubicBezTo>
                  <a:cubicBezTo>
                    <a:pt x="851" y="4063"/>
                    <a:pt x="851" y="4063"/>
                    <a:pt x="851" y="4063"/>
                  </a:cubicBezTo>
                  <a:lnTo>
                    <a:pt x="851" y="3780"/>
                  </a:lnTo>
                  <a:close/>
                  <a:moveTo>
                    <a:pt x="567" y="4536"/>
                  </a:moveTo>
                  <a:cubicBezTo>
                    <a:pt x="567" y="4252"/>
                    <a:pt x="567" y="4252"/>
                    <a:pt x="567" y="4252"/>
                  </a:cubicBezTo>
                  <a:cubicBezTo>
                    <a:pt x="2268" y="4252"/>
                    <a:pt x="2268" y="4252"/>
                    <a:pt x="2268" y="4252"/>
                  </a:cubicBezTo>
                  <a:cubicBezTo>
                    <a:pt x="2268" y="4536"/>
                    <a:pt x="2268" y="4536"/>
                    <a:pt x="2268" y="4536"/>
                  </a:cubicBezTo>
                  <a:cubicBezTo>
                    <a:pt x="756" y="4536"/>
                    <a:pt x="756" y="4536"/>
                    <a:pt x="756" y="4536"/>
                  </a:cubicBezTo>
                  <a:lnTo>
                    <a:pt x="567" y="4536"/>
                  </a:lnTo>
                  <a:close/>
                  <a:moveTo>
                    <a:pt x="567" y="5197"/>
                  </a:moveTo>
                  <a:cubicBezTo>
                    <a:pt x="2268" y="5197"/>
                    <a:pt x="2268" y="5197"/>
                    <a:pt x="2268" y="5197"/>
                  </a:cubicBezTo>
                  <a:cubicBezTo>
                    <a:pt x="2268" y="5481"/>
                    <a:pt x="2268" y="5481"/>
                    <a:pt x="2268" y="5481"/>
                  </a:cubicBezTo>
                  <a:cubicBezTo>
                    <a:pt x="567" y="5481"/>
                    <a:pt x="567" y="5481"/>
                    <a:pt x="567" y="5481"/>
                  </a:cubicBezTo>
                  <a:lnTo>
                    <a:pt x="567" y="5197"/>
                  </a:lnTo>
                  <a:close/>
                  <a:moveTo>
                    <a:pt x="945" y="945"/>
                  </a:moveTo>
                  <a:cubicBezTo>
                    <a:pt x="323" y="945"/>
                    <a:pt x="323" y="945"/>
                    <a:pt x="323" y="945"/>
                  </a:cubicBezTo>
                  <a:cubicBezTo>
                    <a:pt x="945" y="323"/>
                    <a:pt x="945" y="323"/>
                    <a:pt x="945" y="323"/>
                  </a:cubicBezTo>
                  <a:lnTo>
                    <a:pt x="945" y="9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4" name="Freeform 45">
              <a:extLst>
                <a:ext uri="{FF2B5EF4-FFF2-40B4-BE49-F238E27FC236}">
                  <a16:creationId xmlns:a16="http://schemas.microsoft.com/office/drawing/2014/main" id="{DFE41F46-4354-A6A3-119B-BBA05F0A275A}"/>
                </a:ext>
              </a:extLst>
            </p:cNvPr>
            <p:cNvSpPr>
              <a:spLocks/>
            </p:cNvSpPr>
            <p:nvPr/>
          </p:nvSpPr>
          <p:spPr bwMode="auto">
            <a:xfrm>
              <a:off x="-50142775" y="1304925"/>
              <a:ext cx="2393950" cy="4254500"/>
            </a:xfrm>
            <a:custGeom>
              <a:avLst/>
              <a:gdLst>
                <a:gd name="T0" fmla="*/ 319 w 638"/>
                <a:gd name="T1" fmla="*/ 284 h 1134"/>
                <a:gd name="T2" fmla="*/ 603 w 638"/>
                <a:gd name="T3" fmla="*/ 284 h 1134"/>
                <a:gd name="T4" fmla="*/ 603 w 638"/>
                <a:gd name="T5" fmla="*/ 95 h 1134"/>
                <a:gd name="T6" fmla="*/ 414 w 638"/>
                <a:gd name="T7" fmla="*/ 95 h 1134"/>
                <a:gd name="T8" fmla="*/ 414 w 638"/>
                <a:gd name="T9" fmla="*/ 0 h 1134"/>
                <a:gd name="T10" fmla="*/ 225 w 638"/>
                <a:gd name="T11" fmla="*/ 0 h 1134"/>
                <a:gd name="T12" fmla="*/ 225 w 638"/>
                <a:gd name="T13" fmla="*/ 112 h 1134"/>
                <a:gd name="T14" fmla="*/ 52 w 638"/>
                <a:gd name="T15" fmla="*/ 473 h 1134"/>
                <a:gd name="T16" fmla="*/ 319 w 638"/>
                <a:gd name="T17" fmla="*/ 661 h 1134"/>
                <a:gd name="T18" fmla="*/ 414 w 638"/>
                <a:gd name="T19" fmla="*/ 756 h 1134"/>
                <a:gd name="T20" fmla="*/ 319 w 638"/>
                <a:gd name="T21" fmla="*/ 850 h 1134"/>
                <a:gd name="T22" fmla="*/ 36 w 638"/>
                <a:gd name="T23" fmla="*/ 850 h 1134"/>
                <a:gd name="T24" fmla="*/ 36 w 638"/>
                <a:gd name="T25" fmla="*/ 1039 h 1134"/>
                <a:gd name="T26" fmla="*/ 225 w 638"/>
                <a:gd name="T27" fmla="*/ 1039 h 1134"/>
                <a:gd name="T28" fmla="*/ 225 w 638"/>
                <a:gd name="T29" fmla="*/ 1134 h 1134"/>
                <a:gd name="T30" fmla="*/ 414 w 638"/>
                <a:gd name="T31" fmla="*/ 1134 h 1134"/>
                <a:gd name="T32" fmla="*/ 414 w 638"/>
                <a:gd name="T33" fmla="*/ 1022 h 1134"/>
                <a:gd name="T34" fmla="*/ 586 w 638"/>
                <a:gd name="T35" fmla="*/ 661 h 1134"/>
                <a:gd name="T36" fmla="*/ 319 w 638"/>
                <a:gd name="T37" fmla="*/ 473 h 1134"/>
                <a:gd name="T38" fmla="*/ 225 w 638"/>
                <a:gd name="T39" fmla="*/ 378 h 1134"/>
                <a:gd name="T40" fmla="*/ 319 w 638"/>
                <a:gd name="T41" fmla="*/ 284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38" h="1134">
                  <a:moveTo>
                    <a:pt x="319" y="284"/>
                  </a:moveTo>
                  <a:cubicBezTo>
                    <a:pt x="603" y="284"/>
                    <a:pt x="603" y="284"/>
                    <a:pt x="603" y="284"/>
                  </a:cubicBezTo>
                  <a:cubicBezTo>
                    <a:pt x="603" y="95"/>
                    <a:pt x="603" y="95"/>
                    <a:pt x="603" y="95"/>
                  </a:cubicBezTo>
                  <a:cubicBezTo>
                    <a:pt x="414" y="95"/>
                    <a:pt x="414" y="95"/>
                    <a:pt x="414" y="95"/>
                  </a:cubicBezTo>
                  <a:cubicBezTo>
                    <a:pt x="414" y="0"/>
                    <a:pt x="414" y="0"/>
                    <a:pt x="414" y="0"/>
                  </a:cubicBezTo>
                  <a:cubicBezTo>
                    <a:pt x="225" y="0"/>
                    <a:pt x="225" y="0"/>
                    <a:pt x="225" y="0"/>
                  </a:cubicBezTo>
                  <a:cubicBezTo>
                    <a:pt x="225" y="112"/>
                    <a:pt x="225" y="112"/>
                    <a:pt x="225" y="112"/>
                  </a:cubicBezTo>
                  <a:cubicBezTo>
                    <a:pt x="77" y="164"/>
                    <a:pt x="0" y="325"/>
                    <a:pt x="52" y="473"/>
                  </a:cubicBezTo>
                  <a:cubicBezTo>
                    <a:pt x="92" y="586"/>
                    <a:pt x="199" y="662"/>
                    <a:pt x="319" y="661"/>
                  </a:cubicBezTo>
                  <a:cubicBezTo>
                    <a:pt x="371" y="661"/>
                    <a:pt x="414" y="704"/>
                    <a:pt x="414" y="756"/>
                  </a:cubicBezTo>
                  <a:cubicBezTo>
                    <a:pt x="414" y="808"/>
                    <a:pt x="371" y="850"/>
                    <a:pt x="319" y="850"/>
                  </a:cubicBezTo>
                  <a:cubicBezTo>
                    <a:pt x="36" y="850"/>
                    <a:pt x="36" y="850"/>
                    <a:pt x="36" y="850"/>
                  </a:cubicBezTo>
                  <a:cubicBezTo>
                    <a:pt x="36" y="1039"/>
                    <a:pt x="36" y="1039"/>
                    <a:pt x="36" y="1039"/>
                  </a:cubicBezTo>
                  <a:cubicBezTo>
                    <a:pt x="225" y="1039"/>
                    <a:pt x="225" y="1039"/>
                    <a:pt x="225" y="1039"/>
                  </a:cubicBezTo>
                  <a:cubicBezTo>
                    <a:pt x="225" y="1134"/>
                    <a:pt x="225" y="1134"/>
                    <a:pt x="225" y="1134"/>
                  </a:cubicBezTo>
                  <a:cubicBezTo>
                    <a:pt x="414" y="1134"/>
                    <a:pt x="414" y="1134"/>
                    <a:pt x="414" y="1134"/>
                  </a:cubicBezTo>
                  <a:cubicBezTo>
                    <a:pt x="414" y="1022"/>
                    <a:pt x="414" y="1022"/>
                    <a:pt x="414" y="1022"/>
                  </a:cubicBezTo>
                  <a:cubicBezTo>
                    <a:pt x="561" y="970"/>
                    <a:pt x="638" y="809"/>
                    <a:pt x="586" y="661"/>
                  </a:cubicBezTo>
                  <a:cubicBezTo>
                    <a:pt x="546" y="548"/>
                    <a:pt x="439" y="472"/>
                    <a:pt x="319" y="473"/>
                  </a:cubicBezTo>
                  <a:cubicBezTo>
                    <a:pt x="267" y="473"/>
                    <a:pt x="225" y="430"/>
                    <a:pt x="225" y="378"/>
                  </a:cubicBezTo>
                  <a:cubicBezTo>
                    <a:pt x="225" y="326"/>
                    <a:pt x="267" y="284"/>
                    <a:pt x="319" y="2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5" name="Freeform 46">
              <a:extLst>
                <a:ext uri="{FF2B5EF4-FFF2-40B4-BE49-F238E27FC236}">
                  <a16:creationId xmlns:a16="http://schemas.microsoft.com/office/drawing/2014/main" id="{5265E204-E27C-532A-A8BC-ACD68DBEF4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1144825" y="-7202488"/>
              <a:ext cx="4964113" cy="8507413"/>
            </a:xfrm>
            <a:custGeom>
              <a:avLst/>
              <a:gdLst>
                <a:gd name="T0" fmla="*/ 1134 w 1323"/>
                <a:gd name="T1" fmla="*/ 473 h 2268"/>
                <a:gd name="T2" fmla="*/ 945 w 1323"/>
                <a:gd name="T3" fmla="*/ 473 h 2268"/>
                <a:gd name="T4" fmla="*/ 850 w 1323"/>
                <a:gd name="T5" fmla="*/ 378 h 2268"/>
                <a:gd name="T6" fmla="*/ 756 w 1323"/>
                <a:gd name="T7" fmla="*/ 378 h 2268"/>
                <a:gd name="T8" fmla="*/ 756 w 1323"/>
                <a:gd name="T9" fmla="*/ 95 h 2268"/>
                <a:gd name="T10" fmla="*/ 661 w 1323"/>
                <a:gd name="T11" fmla="*/ 0 h 2268"/>
                <a:gd name="T12" fmla="*/ 283 w 1323"/>
                <a:gd name="T13" fmla="*/ 0 h 2268"/>
                <a:gd name="T14" fmla="*/ 189 w 1323"/>
                <a:gd name="T15" fmla="*/ 95 h 2268"/>
                <a:gd name="T16" fmla="*/ 189 w 1323"/>
                <a:gd name="T17" fmla="*/ 378 h 2268"/>
                <a:gd name="T18" fmla="*/ 94 w 1323"/>
                <a:gd name="T19" fmla="*/ 378 h 2268"/>
                <a:gd name="T20" fmla="*/ 0 w 1323"/>
                <a:gd name="T21" fmla="*/ 473 h 2268"/>
                <a:gd name="T22" fmla="*/ 0 w 1323"/>
                <a:gd name="T23" fmla="*/ 2268 h 2268"/>
                <a:gd name="T24" fmla="*/ 189 w 1323"/>
                <a:gd name="T25" fmla="*/ 2268 h 2268"/>
                <a:gd name="T26" fmla="*/ 189 w 1323"/>
                <a:gd name="T27" fmla="*/ 567 h 2268"/>
                <a:gd name="T28" fmla="*/ 756 w 1323"/>
                <a:gd name="T29" fmla="*/ 567 h 2268"/>
                <a:gd name="T30" fmla="*/ 756 w 1323"/>
                <a:gd name="T31" fmla="*/ 2268 h 2268"/>
                <a:gd name="T32" fmla="*/ 945 w 1323"/>
                <a:gd name="T33" fmla="*/ 2268 h 2268"/>
                <a:gd name="T34" fmla="*/ 945 w 1323"/>
                <a:gd name="T35" fmla="*/ 662 h 2268"/>
                <a:gd name="T36" fmla="*/ 1134 w 1323"/>
                <a:gd name="T37" fmla="*/ 662 h 2268"/>
                <a:gd name="T38" fmla="*/ 1134 w 1323"/>
                <a:gd name="T39" fmla="*/ 1890 h 2268"/>
                <a:gd name="T40" fmla="*/ 1323 w 1323"/>
                <a:gd name="T41" fmla="*/ 1890 h 2268"/>
                <a:gd name="T42" fmla="*/ 1323 w 1323"/>
                <a:gd name="T43" fmla="*/ 662 h 2268"/>
                <a:gd name="T44" fmla="*/ 1134 w 1323"/>
                <a:gd name="T45" fmla="*/ 473 h 2268"/>
                <a:gd name="T46" fmla="*/ 567 w 1323"/>
                <a:gd name="T47" fmla="*/ 378 h 2268"/>
                <a:gd name="T48" fmla="*/ 378 w 1323"/>
                <a:gd name="T49" fmla="*/ 378 h 2268"/>
                <a:gd name="T50" fmla="*/ 378 w 1323"/>
                <a:gd name="T51" fmla="*/ 189 h 2268"/>
                <a:gd name="T52" fmla="*/ 567 w 1323"/>
                <a:gd name="T53" fmla="*/ 189 h 2268"/>
                <a:gd name="T54" fmla="*/ 567 w 1323"/>
                <a:gd name="T55" fmla="*/ 378 h 2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323" h="2268">
                  <a:moveTo>
                    <a:pt x="1134" y="473"/>
                  </a:moveTo>
                  <a:cubicBezTo>
                    <a:pt x="945" y="473"/>
                    <a:pt x="945" y="473"/>
                    <a:pt x="945" y="473"/>
                  </a:cubicBezTo>
                  <a:cubicBezTo>
                    <a:pt x="945" y="421"/>
                    <a:pt x="902" y="378"/>
                    <a:pt x="850" y="378"/>
                  </a:cubicBezTo>
                  <a:cubicBezTo>
                    <a:pt x="756" y="378"/>
                    <a:pt x="756" y="378"/>
                    <a:pt x="756" y="378"/>
                  </a:cubicBezTo>
                  <a:cubicBezTo>
                    <a:pt x="756" y="95"/>
                    <a:pt x="756" y="95"/>
                    <a:pt x="756" y="95"/>
                  </a:cubicBezTo>
                  <a:cubicBezTo>
                    <a:pt x="756" y="43"/>
                    <a:pt x="713" y="0"/>
                    <a:pt x="661" y="0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231" y="0"/>
                    <a:pt x="189" y="43"/>
                    <a:pt x="189" y="95"/>
                  </a:cubicBezTo>
                  <a:cubicBezTo>
                    <a:pt x="189" y="378"/>
                    <a:pt x="189" y="378"/>
                    <a:pt x="189" y="378"/>
                  </a:cubicBezTo>
                  <a:cubicBezTo>
                    <a:pt x="94" y="378"/>
                    <a:pt x="94" y="378"/>
                    <a:pt x="94" y="378"/>
                  </a:cubicBezTo>
                  <a:cubicBezTo>
                    <a:pt x="42" y="378"/>
                    <a:pt x="0" y="421"/>
                    <a:pt x="0" y="473"/>
                  </a:cubicBezTo>
                  <a:cubicBezTo>
                    <a:pt x="0" y="2268"/>
                    <a:pt x="0" y="2268"/>
                    <a:pt x="0" y="2268"/>
                  </a:cubicBezTo>
                  <a:cubicBezTo>
                    <a:pt x="189" y="2268"/>
                    <a:pt x="189" y="2268"/>
                    <a:pt x="189" y="2268"/>
                  </a:cubicBezTo>
                  <a:cubicBezTo>
                    <a:pt x="189" y="567"/>
                    <a:pt x="189" y="567"/>
                    <a:pt x="189" y="567"/>
                  </a:cubicBezTo>
                  <a:cubicBezTo>
                    <a:pt x="756" y="567"/>
                    <a:pt x="756" y="567"/>
                    <a:pt x="756" y="567"/>
                  </a:cubicBezTo>
                  <a:cubicBezTo>
                    <a:pt x="756" y="2268"/>
                    <a:pt x="756" y="2268"/>
                    <a:pt x="756" y="2268"/>
                  </a:cubicBezTo>
                  <a:cubicBezTo>
                    <a:pt x="945" y="2268"/>
                    <a:pt x="945" y="2268"/>
                    <a:pt x="945" y="2268"/>
                  </a:cubicBezTo>
                  <a:cubicBezTo>
                    <a:pt x="945" y="662"/>
                    <a:pt x="945" y="662"/>
                    <a:pt x="945" y="662"/>
                  </a:cubicBezTo>
                  <a:cubicBezTo>
                    <a:pt x="1134" y="662"/>
                    <a:pt x="1134" y="662"/>
                    <a:pt x="1134" y="662"/>
                  </a:cubicBezTo>
                  <a:cubicBezTo>
                    <a:pt x="1134" y="1890"/>
                    <a:pt x="1134" y="1890"/>
                    <a:pt x="1134" y="1890"/>
                  </a:cubicBezTo>
                  <a:cubicBezTo>
                    <a:pt x="1323" y="1890"/>
                    <a:pt x="1323" y="1890"/>
                    <a:pt x="1323" y="1890"/>
                  </a:cubicBezTo>
                  <a:cubicBezTo>
                    <a:pt x="1323" y="662"/>
                    <a:pt x="1323" y="662"/>
                    <a:pt x="1323" y="662"/>
                  </a:cubicBezTo>
                  <a:cubicBezTo>
                    <a:pt x="1323" y="557"/>
                    <a:pt x="1238" y="473"/>
                    <a:pt x="1134" y="473"/>
                  </a:cubicBezTo>
                  <a:close/>
                  <a:moveTo>
                    <a:pt x="567" y="378"/>
                  </a:moveTo>
                  <a:cubicBezTo>
                    <a:pt x="378" y="378"/>
                    <a:pt x="378" y="378"/>
                    <a:pt x="378" y="378"/>
                  </a:cubicBezTo>
                  <a:cubicBezTo>
                    <a:pt x="378" y="189"/>
                    <a:pt x="378" y="189"/>
                    <a:pt x="378" y="189"/>
                  </a:cubicBezTo>
                  <a:cubicBezTo>
                    <a:pt x="567" y="189"/>
                    <a:pt x="567" y="189"/>
                    <a:pt x="567" y="189"/>
                  </a:cubicBezTo>
                  <a:lnTo>
                    <a:pt x="567" y="3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6" name="Rectangle 47">
              <a:extLst>
                <a:ext uri="{FF2B5EF4-FFF2-40B4-BE49-F238E27FC236}">
                  <a16:creationId xmlns:a16="http://schemas.microsoft.com/office/drawing/2014/main" id="{562B177D-6D96-23FD-248D-AA8DB5F687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1425475" y="-4367213"/>
              <a:ext cx="6026150" cy="7096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7" name="Rectangle 48">
              <a:extLst>
                <a:ext uri="{FF2B5EF4-FFF2-40B4-BE49-F238E27FC236}">
                  <a16:creationId xmlns:a16="http://schemas.microsoft.com/office/drawing/2014/main" id="{B4BBBBC4-8030-2B84-B7D3-7BA816F61F7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5327550" y="-2239963"/>
              <a:ext cx="12055475" cy="7096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8" name="Rectangle 49">
              <a:extLst>
                <a:ext uri="{FF2B5EF4-FFF2-40B4-BE49-F238E27FC236}">
                  <a16:creationId xmlns:a16="http://schemas.microsoft.com/office/drawing/2014/main" id="{749FD499-7014-2055-B1A0-EB7105EE50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5327550" y="-822325"/>
              <a:ext cx="4254500" cy="7096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9" name="Rectangle 50">
              <a:extLst>
                <a:ext uri="{FF2B5EF4-FFF2-40B4-BE49-F238E27FC236}">
                  <a16:creationId xmlns:a16="http://schemas.microsoft.com/office/drawing/2014/main" id="{2E3136BF-1460-DABF-BB3B-B7A48C10B2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46461363" y="-822325"/>
              <a:ext cx="3189288" cy="7096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</p:spTree>
    <p:extLst>
      <p:ext uri="{BB962C8B-B14F-4D97-AF65-F5344CB8AC3E}">
        <p14:creationId xmlns:p14="http://schemas.microsoft.com/office/powerpoint/2010/main" val="710039859"/>
      </p:ext>
    </p:extLst>
  </p:cSld>
  <p:clrMapOvr>
    <a:masterClrMapping/>
  </p:clrMapOvr>
</p:sld>
</file>

<file path=ppt/slides/slide1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86FD7CA-EBAF-0D8E-7255-9ECE9F7E43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5" name="think-cell data - do not delete" hidden="1">
            <a:extLst>
              <a:ext uri="{FF2B5EF4-FFF2-40B4-BE49-F238E27FC236}">
                <a16:creationId xmlns:a16="http://schemas.microsoft.com/office/drawing/2014/main" id="{99924C96-E9DA-27B5-62CB-D26E25DBE1B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2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924C96-E9DA-27B5-62CB-D26E25DBE1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60EF33D-157F-7BB6-D324-33D15DC3BA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ircular layou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7AD90F2-F24D-E91C-D47F-A1719BE5D9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36</a:t>
            </a:fld>
            <a:endParaRPr lang="en-US" dirty="0"/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id="{2ECCBB82-938B-473A-2D53-D973D06CFD57}"/>
              </a:ext>
            </a:extLst>
          </p:cNvPr>
          <p:cNvGrpSpPr/>
          <p:nvPr/>
        </p:nvGrpSpPr>
        <p:grpSpPr>
          <a:xfrm>
            <a:off x="3636252" y="1406308"/>
            <a:ext cx="4405229" cy="4418053"/>
            <a:chOff x="383324" y="1981709"/>
            <a:chExt cx="1177402" cy="1180831"/>
          </a:xfrm>
        </p:grpSpPr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7967499-297F-BFC4-3DB7-9662445811C6}"/>
                </a:ext>
              </a:extLst>
            </p:cNvPr>
            <p:cNvGrpSpPr/>
            <p:nvPr/>
          </p:nvGrpSpPr>
          <p:grpSpPr>
            <a:xfrm>
              <a:off x="383324" y="1981709"/>
              <a:ext cx="1177402" cy="1180831"/>
              <a:chOff x="-29244121" y="-4562475"/>
              <a:chExt cx="12534900" cy="12571413"/>
            </a:xfrm>
            <a:effectLst>
              <a:outerShdw blurRad="1041400" dir="21540000" sx="61000" sy="61000" algn="ctr" rotWithShape="0">
                <a:schemeClr val="tx1">
                  <a:alpha val="67000"/>
                </a:schemeClr>
              </a:outerShdw>
            </a:effectLst>
          </p:grpSpPr>
          <p:sp>
            <p:nvSpPr>
              <p:cNvPr id="77" name="Freeform 743">
                <a:extLst>
                  <a:ext uri="{FF2B5EF4-FFF2-40B4-BE49-F238E27FC236}">
                    <a16:creationId xmlns:a16="http://schemas.microsoft.com/office/drawing/2014/main" id="{57A2AE87-0506-59F3-C562-02FE16A029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5523021" y="-4562475"/>
                <a:ext cx="5138738" cy="4173538"/>
              </a:xfrm>
              <a:custGeom>
                <a:avLst/>
                <a:gdLst>
                  <a:gd name="T0" fmla="*/ 1370 w 1370"/>
                  <a:gd name="T1" fmla="*/ 148 h 1113"/>
                  <a:gd name="T2" fmla="*/ 1315 w 1370"/>
                  <a:gd name="T3" fmla="*/ 260 h 1113"/>
                  <a:gd name="T4" fmla="*/ 980 w 1370"/>
                  <a:gd name="T5" fmla="*/ 946 h 1113"/>
                  <a:gd name="T6" fmla="*/ 897 w 1370"/>
                  <a:gd name="T7" fmla="*/ 1113 h 1113"/>
                  <a:gd name="T8" fmla="*/ 685 w 1370"/>
                  <a:gd name="T9" fmla="*/ 1073 h 1113"/>
                  <a:gd name="T10" fmla="*/ 465 w 1370"/>
                  <a:gd name="T11" fmla="*/ 1113 h 1113"/>
                  <a:gd name="T12" fmla="*/ 385 w 1370"/>
                  <a:gd name="T13" fmla="*/ 949 h 1113"/>
                  <a:gd name="T14" fmla="*/ 52 w 1370"/>
                  <a:gd name="T15" fmla="*/ 257 h 1113"/>
                  <a:gd name="T16" fmla="*/ 0 w 1370"/>
                  <a:gd name="T17" fmla="*/ 148 h 1113"/>
                  <a:gd name="T18" fmla="*/ 685 w 1370"/>
                  <a:gd name="T19" fmla="*/ 0 h 1113"/>
                  <a:gd name="T20" fmla="*/ 1370 w 1370"/>
                  <a:gd name="T21" fmla="*/ 148 h 1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370" h="1113">
                    <a:moveTo>
                      <a:pt x="1370" y="148"/>
                    </a:moveTo>
                    <a:cubicBezTo>
                      <a:pt x="1370" y="148"/>
                      <a:pt x="1370" y="148"/>
                      <a:pt x="1315" y="260"/>
                    </a:cubicBezTo>
                    <a:cubicBezTo>
                      <a:pt x="1264" y="364"/>
                      <a:pt x="1167" y="564"/>
                      <a:pt x="980" y="946"/>
                    </a:cubicBezTo>
                    <a:cubicBezTo>
                      <a:pt x="954" y="998"/>
                      <a:pt x="927" y="1054"/>
                      <a:pt x="897" y="1113"/>
                    </a:cubicBezTo>
                    <a:cubicBezTo>
                      <a:pt x="828" y="1087"/>
                      <a:pt x="757" y="1073"/>
                      <a:pt x="685" y="1073"/>
                    </a:cubicBezTo>
                    <a:cubicBezTo>
                      <a:pt x="613" y="1073"/>
                      <a:pt x="544" y="1086"/>
                      <a:pt x="465" y="1113"/>
                    </a:cubicBezTo>
                    <a:cubicBezTo>
                      <a:pt x="465" y="1113"/>
                      <a:pt x="465" y="1113"/>
                      <a:pt x="385" y="949"/>
                    </a:cubicBezTo>
                    <a:cubicBezTo>
                      <a:pt x="327" y="828"/>
                      <a:pt x="227" y="619"/>
                      <a:pt x="52" y="257"/>
                    </a:cubicBezTo>
                    <a:cubicBezTo>
                      <a:pt x="35" y="222"/>
                      <a:pt x="18" y="185"/>
                      <a:pt x="0" y="148"/>
                    </a:cubicBezTo>
                    <a:cubicBezTo>
                      <a:pt x="219" y="49"/>
                      <a:pt x="450" y="0"/>
                      <a:pt x="685" y="0"/>
                    </a:cubicBezTo>
                    <a:cubicBezTo>
                      <a:pt x="921" y="0"/>
                      <a:pt x="1151" y="49"/>
                      <a:pt x="1370" y="148"/>
                    </a:cubicBezTo>
                  </a:path>
                </a:pathLst>
              </a:custGeom>
              <a:solidFill>
                <a:srgbClr val="F1F2F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78" name="Freeform 744">
                <a:extLst>
                  <a:ext uri="{FF2B5EF4-FFF2-40B4-BE49-F238E27FC236}">
                    <a16:creationId xmlns:a16="http://schemas.microsoft.com/office/drawing/2014/main" id="{FF662AA1-60F0-4E40-A9EF-CFB9E18462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7728059" y="3211513"/>
                <a:ext cx="4613275" cy="4797425"/>
              </a:xfrm>
              <a:custGeom>
                <a:avLst/>
                <a:gdLst>
                  <a:gd name="T0" fmla="*/ 1230 w 1230"/>
                  <a:gd name="T1" fmla="*/ 194 h 1279"/>
                  <a:gd name="T2" fmla="*/ 1230 w 1230"/>
                  <a:gd name="T3" fmla="*/ 388 h 1279"/>
                  <a:gd name="T4" fmla="*/ 1230 w 1230"/>
                  <a:gd name="T5" fmla="*/ 1279 h 1279"/>
                  <a:gd name="T6" fmla="*/ 0 w 1230"/>
                  <a:gd name="T7" fmla="*/ 679 h 1279"/>
                  <a:gd name="T8" fmla="*/ 87 w 1230"/>
                  <a:gd name="T9" fmla="*/ 609 h 1279"/>
                  <a:gd name="T10" fmla="*/ 693 w 1230"/>
                  <a:gd name="T11" fmla="*/ 119 h 1279"/>
                  <a:gd name="T12" fmla="*/ 839 w 1230"/>
                  <a:gd name="T13" fmla="*/ 0 h 1279"/>
                  <a:gd name="T14" fmla="*/ 1230 w 1230"/>
                  <a:gd name="T15" fmla="*/ 194 h 1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30" h="1279">
                    <a:moveTo>
                      <a:pt x="1230" y="194"/>
                    </a:moveTo>
                    <a:cubicBezTo>
                      <a:pt x="1230" y="194"/>
                      <a:pt x="1230" y="194"/>
                      <a:pt x="1230" y="388"/>
                    </a:cubicBezTo>
                    <a:cubicBezTo>
                      <a:pt x="1230" y="1279"/>
                      <a:pt x="1230" y="1279"/>
                      <a:pt x="1230" y="1279"/>
                    </a:cubicBezTo>
                    <a:cubicBezTo>
                      <a:pt x="747" y="1264"/>
                      <a:pt x="300" y="1046"/>
                      <a:pt x="0" y="679"/>
                    </a:cubicBezTo>
                    <a:cubicBezTo>
                      <a:pt x="0" y="679"/>
                      <a:pt x="0" y="679"/>
                      <a:pt x="87" y="609"/>
                    </a:cubicBezTo>
                    <a:cubicBezTo>
                      <a:pt x="174" y="539"/>
                      <a:pt x="347" y="398"/>
                      <a:pt x="693" y="119"/>
                    </a:cubicBezTo>
                    <a:cubicBezTo>
                      <a:pt x="739" y="81"/>
                      <a:pt x="787" y="42"/>
                      <a:pt x="839" y="0"/>
                    </a:cubicBezTo>
                    <a:cubicBezTo>
                      <a:pt x="933" y="110"/>
                      <a:pt x="1073" y="180"/>
                      <a:pt x="1230" y="194"/>
                    </a:cubicBezTo>
                  </a:path>
                </a:pathLst>
              </a:custGeom>
              <a:solidFill>
                <a:srgbClr val="F1F2F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79" name="Freeform 745">
                <a:extLst>
                  <a:ext uri="{FF2B5EF4-FFF2-40B4-BE49-F238E27FC236}">
                    <a16:creationId xmlns:a16="http://schemas.microsoft.com/office/drawing/2014/main" id="{4538764C-89DF-9751-0FB0-E4C0EB453E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1817796" y="-3865563"/>
                <a:ext cx="4959350" cy="4932363"/>
              </a:xfrm>
              <a:custGeom>
                <a:avLst/>
                <a:gdLst>
                  <a:gd name="T0" fmla="*/ 1322 w 1322"/>
                  <a:gd name="T1" fmla="*/ 1073 h 1315"/>
                  <a:gd name="T2" fmla="*/ 1195 w 1322"/>
                  <a:gd name="T3" fmla="*/ 1102 h 1315"/>
                  <a:gd name="T4" fmla="*/ 445 w 1322"/>
                  <a:gd name="T5" fmla="*/ 1273 h 1315"/>
                  <a:gd name="T6" fmla="*/ 266 w 1322"/>
                  <a:gd name="T7" fmla="*/ 1315 h 1315"/>
                  <a:gd name="T8" fmla="*/ 0 w 1322"/>
                  <a:gd name="T9" fmla="*/ 978 h 1315"/>
                  <a:gd name="T10" fmla="*/ 83 w 1322"/>
                  <a:gd name="T11" fmla="*/ 803 h 1315"/>
                  <a:gd name="T12" fmla="*/ 411 w 1322"/>
                  <a:gd name="T13" fmla="*/ 116 h 1315"/>
                  <a:gd name="T14" fmla="*/ 466 w 1322"/>
                  <a:gd name="T15" fmla="*/ 0 h 1315"/>
                  <a:gd name="T16" fmla="*/ 1322 w 1322"/>
                  <a:gd name="T17" fmla="*/ 1073 h 13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22" h="1315">
                    <a:moveTo>
                      <a:pt x="1322" y="1073"/>
                    </a:moveTo>
                    <a:cubicBezTo>
                      <a:pt x="1322" y="1073"/>
                      <a:pt x="1322" y="1073"/>
                      <a:pt x="1195" y="1102"/>
                    </a:cubicBezTo>
                    <a:cubicBezTo>
                      <a:pt x="1080" y="1128"/>
                      <a:pt x="861" y="1178"/>
                      <a:pt x="445" y="1273"/>
                    </a:cubicBezTo>
                    <a:cubicBezTo>
                      <a:pt x="389" y="1286"/>
                      <a:pt x="330" y="1300"/>
                      <a:pt x="266" y="1315"/>
                    </a:cubicBezTo>
                    <a:cubicBezTo>
                      <a:pt x="226" y="1166"/>
                      <a:pt x="130" y="1044"/>
                      <a:pt x="0" y="978"/>
                    </a:cubicBezTo>
                    <a:cubicBezTo>
                      <a:pt x="0" y="978"/>
                      <a:pt x="0" y="978"/>
                      <a:pt x="83" y="803"/>
                    </a:cubicBezTo>
                    <a:cubicBezTo>
                      <a:pt x="141" y="680"/>
                      <a:pt x="241" y="471"/>
                      <a:pt x="411" y="116"/>
                    </a:cubicBezTo>
                    <a:cubicBezTo>
                      <a:pt x="429" y="78"/>
                      <a:pt x="447" y="40"/>
                      <a:pt x="466" y="0"/>
                    </a:cubicBezTo>
                    <a:cubicBezTo>
                      <a:pt x="884" y="214"/>
                      <a:pt x="1202" y="612"/>
                      <a:pt x="1322" y="1073"/>
                    </a:cubicBezTo>
                  </a:path>
                </a:pathLst>
              </a:custGeom>
              <a:solidFill>
                <a:srgbClr val="F1F2F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80" name="Freeform 746">
                <a:extLst>
                  <a:ext uri="{FF2B5EF4-FFF2-40B4-BE49-F238E27FC236}">
                    <a16:creationId xmlns:a16="http://schemas.microsoft.com/office/drawing/2014/main" id="{BB15EEEF-2F54-1F14-4354-9E0B7C711D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9040921" y="-3865563"/>
                <a:ext cx="4957763" cy="4935538"/>
              </a:xfrm>
              <a:custGeom>
                <a:avLst/>
                <a:gdLst>
                  <a:gd name="T0" fmla="*/ 1322 w 1322"/>
                  <a:gd name="T1" fmla="*/ 978 h 1316"/>
                  <a:gd name="T2" fmla="*/ 1047 w 1322"/>
                  <a:gd name="T3" fmla="*/ 1316 h 1316"/>
                  <a:gd name="T4" fmla="*/ 869 w 1322"/>
                  <a:gd name="T5" fmla="*/ 1275 h 1316"/>
                  <a:gd name="T6" fmla="*/ 117 w 1322"/>
                  <a:gd name="T7" fmla="*/ 1100 h 1316"/>
                  <a:gd name="T8" fmla="*/ 0 w 1322"/>
                  <a:gd name="T9" fmla="*/ 1074 h 1316"/>
                  <a:gd name="T10" fmla="*/ 858 w 1322"/>
                  <a:gd name="T11" fmla="*/ 0 h 1316"/>
                  <a:gd name="T12" fmla="*/ 910 w 1322"/>
                  <a:gd name="T13" fmla="*/ 110 h 1316"/>
                  <a:gd name="T14" fmla="*/ 1239 w 1322"/>
                  <a:gd name="T15" fmla="*/ 805 h 1316"/>
                  <a:gd name="T16" fmla="*/ 1322 w 1322"/>
                  <a:gd name="T17" fmla="*/ 978 h 13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22" h="1316">
                    <a:moveTo>
                      <a:pt x="1322" y="978"/>
                    </a:moveTo>
                    <a:cubicBezTo>
                      <a:pt x="1197" y="1044"/>
                      <a:pt x="1097" y="1166"/>
                      <a:pt x="1047" y="1316"/>
                    </a:cubicBezTo>
                    <a:cubicBezTo>
                      <a:pt x="1047" y="1316"/>
                      <a:pt x="1047" y="1316"/>
                      <a:pt x="869" y="1275"/>
                    </a:cubicBezTo>
                    <a:cubicBezTo>
                      <a:pt x="739" y="1244"/>
                      <a:pt x="511" y="1192"/>
                      <a:pt x="117" y="1100"/>
                    </a:cubicBezTo>
                    <a:cubicBezTo>
                      <a:pt x="80" y="1092"/>
                      <a:pt x="40" y="1083"/>
                      <a:pt x="0" y="1074"/>
                    </a:cubicBezTo>
                    <a:cubicBezTo>
                      <a:pt x="120" y="612"/>
                      <a:pt x="439" y="214"/>
                      <a:pt x="858" y="0"/>
                    </a:cubicBezTo>
                    <a:cubicBezTo>
                      <a:pt x="858" y="0"/>
                      <a:pt x="858" y="0"/>
                      <a:pt x="910" y="110"/>
                    </a:cubicBezTo>
                    <a:cubicBezTo>
                      <a:pt x="958" y="214"/>
                      <a:pt x="1054" y="414"/>
                      <a:pt x="1239" y="805"/>
                    </a:cubicBezTo>
                    <a:cubicBezTo>
                      <a:pt x="1265" y="859"/>
                      <a:pt x="1292" y="916"/>
                      <a:pt x="1322" y="978"/>
                    </a:cubicBezTo>
                  </a:path>
                </a:pathLst>
              </a:custGeom>
              <a:solidFill>
                <a:srgbClr val="F1F2F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81" name="Freeform 747">
                <a:extLst>
                  <a:ext uri="{FF2B5EF4-FFF2-40B4-BE49-F238E27FC236}">
                    <a16:creationId xmlns:a16="http://schemas.microsoft.com/office/drawing/2014/main" id="{BD33EC86-D1DE-6017-5356-80F437AE0A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1116121" y="458788"/>
                <a:ext cx="4406900" cy="5000625"/>
              </a:xfrm>
              <a:custGeom>
                <a:avLst/>
                <a:gdLst>
                  <a:gd name="T0" fmla="*/ 1175 w 1175"/>
                  <a:gd name="T1" fmla="*/ 329 h 1333"/>
                  <a:gd name="T2" fmla="*/ 840 w 1175"/>
                  <a:gd name="T3" fmla="*/ 1333 h 1333"/>
                  <a:gd name="T4" fmla="*/ 752 w 1175"/>
                  <a:gd name="T5" fmla="*/ 1262 h 1333"/>
                  <a:gd name="T6" fmla="*/ 152 w 1175"/>
                  <a:gd name="T7" fmla="*/ 781 h 1333"/>
                  <a:gd name="T8" fmla="*/ 0 w 1175"/>
                  <a:gd name="T9" fmla="*/ 660 h 1333"/>
                  <a:gd name="T10" fmla="*/ 104 w 1175"/>
                  <a:gd name="T11" fmla="*/ 329 h 1333"/>
                  <a:gd name="T12" fmla="*/ 98 w 1175"/>
                  <a:gd name="T13" fmla="*/ 243 h 1333"/>
                  <a:gd name="T14" fmla="*/ 276 w 1175"/>
                  <a:gd name="T15" fmla="*/ 202 h 1333"/>
                  <a:gd name="T16" fmla="*/ 1026 w 1175"/>
                  <a:gd name="T17" fmla="*/ 28 h 1333"/>
                  <a:gd name="T18" fmla="*/ 1145 w 1175"/>
                  <a:gd name="T19" fmla="*/ 0 h 1333"/>
                  <a:gd name="T20" fmla="*/ 1175 w 1175"/>
                  <a:gd name="T21" fmla="*/ 329 h 13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75" h="1333">
                    <a:moveTo>
                      <a:pt x="1175" y="329"/>
                    </a:moveTo>
                    <a:cubicBezTo>
                      <a:pt x="1175" y="697"/>
                      <a:pt x="1056" y="1053"/>
                      <a:pt x="840" y="1333"/>
                    </a:cubicBezTo>
                    <a:cubicBezTo>
                      <a:pt x="840" y="1333"/>
                      <a:pt x="840" y="1333"/>
                      <a:pt x="752" y="1262"/>
                    </a:cubicBezTo>
                    <a:cubicBezTo>
                      <a:pt x="665" y="1193"/>
                      <a:pt x="492" y="1054"/>
                      <a:pt x="152" y="781"/>
                    </a:cubicBezTo>
                    <a:cubicBezTo>
                      <a:pt x="104" y="743"/>
                      <a:pt x="54" y="703"/>
                      <a:pt x="0" y="660"/>
                    </a:cubicBezTo>
                    <a:cubicBezTo>
                      <a:pt x="68" y="554"/>
                      <a:pt x="104" y="442"/>
                      <a:pt x="104" y="329"/>
                    </a:cubicBezTo>
                    <a:cubicBezTo>
                      <a:pt x="104" y="299"/>
                      <a:pt x="104" y="269"/>
                      <a:pt x="98" y="243"/>
                    </a:cubicBezTo>
                    <a:cubicBezTo>
                      <a:pt x="98" y="243"/>
                      <a:pt x="98" y="243"/>
                      <a:pt x="276" y="202"/>
                    </a:cubicBezTo>
                    <a:cubicBezTo>
                      <a:pt x="405" y="171"/>
                      <a:pt x="632" y="119"/>
                      <a:pt x="1026" y="28"/>
                    </a:cubicBezTo>
                    <a:cubicBezTo>
                      <a:pt x="1064" y="19"/>
                      <a:pt x="1103" y="10"/>
                      <a:pt x="1145" y="0"/>
                    </a:cubicBezTo>
                    <a:cubicBezTo>
                      <a:pt x="1165" y="94"/>
                      <a:pt x="1175" y="201"/>
                      <a:pt x="1175" y="329"/>
                    </a:cubicBezTo>
                  </a:path>
                </a:pathLst>
              </a:custGeom>
              <a:solidFill>
                <a:srgbClr val="F1F2F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82" name="Freeform 748">
                <a:extLst>
                  <a:ext uri="{FF2B5EF4-FFF2-40B4-BE49-F238E27FC236}">
                    <a16:creationId xmlns:a16="http://schemas.microsoft.com/office/drawing/2014/main" id="{2BAD4D55-7029-F08A-7344-314B78CA3C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2784584" y="3211513"/>
                <a:ext cx="4608513" cy="4797425"/>
              </a:xfrm>
              <a:custGeom>
                <a:avLst/>
                <a:gdLst>
                  <a:gd name="T0" fmla="*/ 1229 w 1229"/>
                  <a:gd name="T1" fmla="*/ 681 h 1279"/>
                  <a:gd name="T2" fmla="*/ 0 w 1229"/>
                  <a:gd name="T3" fmla="*/ 1279 h 1279"/>
                  <a:gd name="T4" fmla="*/ 0 w 1229"/>
                  <a:gd name="T5" fmla="*/ 1153 h 1279"/>
                  <a:gd name="T6" fmla="*/ 0 w 1229"/>
                  <a:gd name="T7" fmla="*/ 195 h 1279"/>
                  <a:gd name="T8" fmla="*/ 389 w 1229"/>
                  <a:gd name="T9" fmla="*/ 0 h 1279"/>
                  <a:gd name="T10" fmla="*/ 539 w 1229"/>
                  <a:gd name="T11" fmla="*/ 121 h 1279"/>
                  <a:gd name="T12" fmla="*/ 1135 w 1229"/>
                  <a:gd name="T13" fmla="*/ 604 h 1279"/>
                  <a:gd name="T14" fmla="*/ 1229 w 1229"/>
                  <a:gd name="T15" fmla="*/ 681 h 1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29" h="1279">
                    <a:moveTo>
                      <a:pt x="1229" y="681"/>
                    </a:moveTo>
                    <a:cubicBezTo>
                      <a:pt x="919" y="1047"/>
                      <a:pt x="474" y="1264"/>
                      <a:pt x="0" y="1279"/>
                    </a:cubicBezTo>
                    <a:cubicBezTo>
                      <a:pt x="0" y="1279"/>
                      <a:pt x="0" y="1279"/>
                      <a:pt x="0" y="1153"/>
                    </a:cubicBezTo>
                    <a:cubicBezTo>
                      <a:pt x="0" y="195"/>
                      <a:pt x="0" y="195"/>
                      <a:pt x="0" y="195"/>
                    </a:cubicBezTo>
                    <a:cubicBezTo>
                      <a:pt x="148" y="181"/>
                      <a:pt x="288" y="111"/>
                      <a:pt x="389" y="0"/>
                    </a:cubicBezTo>
                    <a:cubicBezTo>
                      <a:pt x="389" y="0"/>
                      <a:pt x="389" y="0"/>
                      <a:pt x="539" y="121"/>
                    </a:cubicBezTo>
                    <a:cubicBezTo>
                      <a:pt x="644" y="207"/>
                      <a:pt x="826" y="354"/>
                      <a:pt x="1135" y="604"/>
                    </a:cubicBezTo>
                    <a:cubicBezTo>
                      <a:pt x="1165" y="629"/>
                      <a:pt x="1196" y="654"/>
                      <a:pt x="1229" y="681"/>
                    </a:cubicBezTo>
                  </a:path>
                </a:pathLst>
              </a:custGeom>
              <a:solidFill>
                <a:srgbClr val="F1F2F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83" name="Freeform 749">
                <a:extLst>
                  <a:ext uri="{FF2B5EF4-FFF2-40B4-BE49-F238E27FC236}">
                    <a16:creationId xmlns:a16="http://schemas.microsoft.com/office/drawing/2014/main" id="{B627F500-83A4-4732-7D78-74C668BCD1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9244121" y="458788"/>
                <a:ext cx="4467225" cy="5000625"/>
              </a:xfrm>
              <a:custGeom>
                <a:avLst/>
                <a:gdLst>
                  <a:gd name="T0" fmla="*/ 1191 w 1191"/>
                  <a:gd name="T1" fmla="*/ 661 h 1333"/>
                  <a:gd name="T2" fmla="*/ 1040 w 1191"/>
                  <a:gd name="T3" fmla="*/ 781 h 1333"/>
                  <a:gd name="T4" fmla="*/ 429 w 1191"/>
                  <a:gd name="T5" fmla="*/ 1267 h 1333"/>
                  <a:gd name="T6" fmla="*/ 346 w 1191"/>
                  <a:gd name="T7" fmla="*/ 1333 h 1333"/>
                  <a:gd name="T8" fmla="*/ 0 w 1191"/>
                  <a:gd name="T9" fmla="*/ 329 h 1333"/>
                  <a:gd name="T10" fmla="*/ 41 w 1191"/>
                  <a:gd name="T11" fmla="*/ 0 h 1333"/>
                  <a:gd name="T12" fmla="*/ 150 w 1191"/>
                  <a:gd name="T13" fmla="*/ 26 h 1333"/>
                  <a:gd name="T14" fmla="*/ 905 w 1191"/>
                  <a:gd name="T15" fmla="*/ 200 h 1333"/>
                  <a:gd name="T16" fmla="*/ 1093 w 1191"/>
                  <a:gd name="T17" fmla="*/ 243 h 1333"/>
                  <a:gd name="T18" fmla="*/ 1088 w 1191"/>
                  <a:gd name="T19" fmla="*/ 329 h 1333"/>
                  <a:gd name="T20" fmla="*/ 1191 w 1191"/>
                  <a:gd name="T21" fmla="*/ 661 h 13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91" h="1333">
                    <a:moveTo>
                      <a:pt x="1191" y="661"/>
                    </a:moveTo>
                    <a:cubicBezTo>
                      <a:pt x="1040" y="781"/>
                      <a:pt x="1040" y="781"/>
                      <a:pt x="1040" y="781"/>
                    </a:cubicBezTo>
                    <a:cubicBezTo>
                      <a:pt x="429" y="1267"/>
                      <a:pt x="429" y="1267"/>
                      <a:pt x="429" y="1267"/>
                    </a:cubicBezTo>
                    <a:cubicBezTo>
                      <a:pt x="346" y="1333"/>
                      <a:pt x="346" y="1333"/>
                      <a:pt x="346" y="1333"/>
                    </a:cubicBezTo>
                    <a:cubicBezTo>
                      <a:pt x="123" y="1046"/>
                      <a:pt x="0" y="691"/>
                      <a:pt x="0" y="329"/>
                    </a:cubicBezTo>
                    <a:cubicBezTo>
                      <a:pt x="0" y="224"/>
                      <a:pt x="14" y="115"/>
                      <a:pt x="41" y="0"/>
                    </a:cubicBezTo>
                    <a:cubicBezTo>
                      <a:pt x="41" y="0"/>
                      <a:pt x="41" y="0"/>
                      <a:pt x="150" y="26"/>
                    </a:cubicBezTo>
                    <a:cubicBezTo>
                      <a:pt x="259" y="50"/>
                      <a:pt x="474" y="100"/>
                      <a:pt x="905" y="200"/>
                    </a:cubicBezTo>
                    <a:cubicBezTo>
                      <a:pt x="964" y="213"/>
                      <a:pt x="1026" y="228"/>
                      <a:pt x="1093" y="243"/>
                    </a:cubicBezTo>
                    <a:cubicBezTo>
                      <a:pt x="1088" y="269"/>
                      <a:pt x="1088" y="299"/>
                      <a:pt x="1088" y="329"/>
                    </a:cubicBezTo>
                    <a:cubicBezTo>
                      <a:pt x="1088" y="455"/>
                      <a:pt x="1123" y="567"/>
                      <a:pt x="1191" y="661"/>
                    </a:cubicBezTo>
                  </a:path>
                </a:pathLst>
              </a:custGeom>
              <a:solidFill>
                <a:srgbClr val="F1F2F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84" name="Freeform 807">
                <a:extLst>
                  <a:ext uri="{FF2B5EF4-FFF2-40B4-BE49-F238E27FC236}">
                    <a16:creationId xmlns:a16="http://schemas.microsoft.com/office/drawing/2014/main" id="{5214A308-E339-7C05-C330-311F88C2F8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5523021" y="-4562475"/>
                <a:ext cx="5138738" cy="974725"/>
              </a:xfrm>
              <a:custGeom>
                <a:avLst/>
                <a:gdLst>
                  <a:gd name="T0" fmla="*/ 685 w 1370"/>
                  <a:gd name="T1" fmla="*/ 0 h 260"/>
                  <a:gd name="T2" fmla="*/ 0 w 1370"/>
                  <a:gd name="T3" fmla="*/ 148 h 260"/>
                  <a:gd name="T4" fmla="*/ 52 w 1370"/>
                  <a:gd name="T5" fmla="*/ 256 h 260"/>
                  <a:gd name="T6" fmla="*/ 680 w 1370"/>
                  <a:gd name="T7" fmla="*/ 124 h 260"/>
                  <a:gd name="T8" fmla="*/ 1315 w 1370"/>
                  <a:gd name="T9" fmla="*/ 260 h 260"/>
                  <a:gd name="T10" fmla="*/ 1370 w 1370"/>
                  <a:gd name="T11" fmla="*/ 148 h 260"/>
                  <a:gd name="T12" fmla="*/ 685 w 1370"/>
                  <a:gd name="T13" fmla="*/ 0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70" h="260">
                    <a:moveTo>
                      <a:pt x="685" y="0"/>
                    </a:moveTo>
                    <a:cubicBezTo>
                      <a:pt x="450" y="0"/>
                      <a:pt x="219" y="49"/>
                      <a:pt x="0" y="148"/>
                    </a:cubicBezTo>
                    <a:cubicBezTo>
                      <a:pt x="18" y="185"/>
                      <a:pt x="35" y="221"/>
                      <a:pt x="52" y="256"/>
                    </a:cubicBezTo>
                    <a:cubicBezTo>
                      <a:pt x="244" y="171"/>
                      <a:pt x="456" y="124"/>
                      <a:pt x="680" y="124"/>
                    </a:cubicBezTo>
                    <a:cubicBezTo>
                      <a:pt x="906" y="124"/>
                      <a:pt x="1121" y="173"/>
                      <a:pt x="1315" y="260"/>
                    </a:cubicBezTo>
                    <a:cubicBezTo>
                      <a:pt x="1370" y="148"/>
                      <a:pt x="1370" y="148"/>
                      <a:pt x="1370" y="148"/>
                    </a:cubicBezTo>
                    <a:cubicBezTo>
                      <a:pt x="1151" y="49"/>
                      <a:pt x="921" y="0"/>
                      <a:pt x="685" y="0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85" name="Freeform 808">
                <a:extLst>
                  <a:ext uri="{FF2B5EF4-FFF2-40B4-BE49-F238E27FC236}">
                    <a16:creationId xmlns:a16="http://schemas.microsoft.com/office/drawing/2014/main" id="{5A83DA97-C7A7-E0CE-2B2D-3CFEC7C0E0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0282684" y="-3865563"/>
                <a:ext cx="3424238" cy="4129088"/>
              </a:xfrm>
              <a:custGeom>
                <a:avLst/>
                <a:gdLst>
                  <a:gd name="T0" fmla="*/ 55 w 913"/>
                  <a:gd name="T1" fmla="*/ 0 h 1101"/>
                  <a:gd name="T2" fmla="*/ 0 w 913"/>
                  <a:gd name="T3" fmla="*/ 116 h 1101"/>
                  <a:gd name="T4" fmla="*/ 786 w 913"/>
                  <a:gd name="T5" fmla="*/ 1101 h 1101"/>
                  <a:gd name="T6" fmla="*/ 913 w 913"/>
                  <a:gd name="T7" fmla="*/ 1073 h 1101"/>
                  <a:gd name="T8" fmla="*/ 55 w 913"/>
                  <a:gd name="T9" fmla="*/ 0 h 1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13" h="1101">
                    <a:moveTo>
                      <a:pt x="55" y="0"/>
                    </a:moveTo>
                    <a:cubicBezTo>
                      <a:pt x="36" y="40"/>
                      <a:pt x="18" y="78"/>
                      <a:pt x="0" y="116"/>
                    </a:cubicBezTo>
                    <a:cubicBezTo>
                      <a:pt x="386" y="316"/>
                      <a:pt x="675" y="673"/>
                      <a:pt x="786" y="1101"/>
                    </a:cubicBezTo>
                    <a:cubicBezTo>
                      <a:pt x="913" y="1073"/>
                      <a:pt x="913" y="1073"/>
                      <a:pt x="913" y="1073"/>
                    </a:cubicBezTo>
                    <a:cubicBezTo>
                      <a:pt x="793" y="612"/>
                      <a:pt x="475" y="214"/>
                      <a:pt x="55" y="0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86" name="Freeform 809">
                <a:extLst>
                  <a:ext uri="{FF2B5EF4-FFF2-40B4-BE49-F238E27FC236}">
                    <a16:creationId xmlns:a16="http://schemas.microsoft.com/office/drawing/2014/main" id="{2BB71EBB-1720-B118-5DA7-B22DDD0335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9040921" y="-3865563"/>
                <a:ext cx="3409950" cy="4122738"/>
              </a:xfrm>
              <a:custGeom>
                <a:avLst/>
                <a:gdLst>
                  <a:gd name="T0" fmla="*/ 857 w 909"/>
                  <a:gd name="T1" fmla="*/ 0 h 1099"/>
                  <a:gd name="T2" fmla="*/ 0 w 909"/>
                  <a:gd name="T3" fmla="*/ 1073 h 1099"/>
                  <a:gd name="T4" fmla="*/ 117 w 909"/>
                  <a:gd name="T5" fmla="*/ 1099 h 1099"/>
                  <a:gd name="T6" fmla="*/ 909 w 909"/>
                  <a:gd name="T7" fmla="*/ 110 h 1099"/>
                  <a:gd name="T8" fmla="*/ 857 w 909"/>
                  <a:gd name="T9" fmla="*/ 0 h 10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09" h="1099">
                    <a:moveTo>
                      <a:pt x="857" y="0"/>
                    </a:moveTo>
                    <a:cubicBezTo>
                      <a:pt x="439" y="214"/>
                      <a:pt x="120" y="611"/>
                      <a:pt x="0" y="1073"/>
                    </a:cubicBezTo>
                    <a:cubicBezTo>
                      <a:pt x="40" y="1082"/>
                      <a:pt x="80" y="1091"/>
                      <a:pt x="117" y="1099"/>
                    </a:cubicBezTo>
                    <a:cubicBezTo>
                      <a:pt x="228" y="668"/>
                      <a:pt x="521" y="310"/>
                      <a:pt x="909" y="110"/>
                    </a:cubicBezTo>
                    <a:cubicBezTo>
                      <a:pt x="857" y="0"/>
                      <a:pt x="857" y="0"/>
                      <a:pt x="857" y="0"/>
                    </a:cubicBez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87" name="Freeform 810">
                <a:extLst>
                  <a:ext uri="{FF2B5EF4-FFF2-40B4-BE49-F238E27FC236}">
                    <a16:creationId xmlns:a16="http://schemas.microsoft.com/office/drawing/2014/main" id="{7652BA09-6CCC-3A14-BCE9-29EC6CF4DF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8291959" y="458788"/>
                <a:ext cx="1582738" cy="5000625"/>
              </a:xfrm>
              <a:custGeom>
                <a:avLst/>
                <a:gdLst>
                  <a:gd name="T0" fmla="*/ 392 w 422"/>
                  <a:gd name="T1" fmla="*/ 0 h 1333"/>
                  <a:gd name="T2" fmla="*/ 273 w 422"/>
                  <a:gd name="T3" fmla="*/ 28 h 1333"/>
                  <a:gd name="T4" fmla="*/ 304 w 422"/>
                  <a:gd name="T5" fmla="*/ 336 h 1333"/>
                  <a:gd name="T6" fmla="*/ 0 w 422"/>
                  <a:gd name="T7" fmla="*/ 1262 h 1333"/>
                  <a:gd name="T8" fmla="*/ 88 w 422"/>
                  <a:gd name="T9" fmla="*/ 1333 h 1333"/>
                  <a:gd name="T10" fmla="*/ 422 w 422"/>
                  <a:gd name="T11" fmla="*/ 329 h 1333"/>
                  <a:gd name="T12" fmla="*/ 392 w 422"/>
                  <a:gd name="T13" fmla="*/ 0 h 13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22" h="1333">
                    <a:moveTo>
                      <a:pt x="392" y="0"/>
                    </a:moveTo>
                    <a:cubicBezTo>
                      <a:pt x="351" y="10"/>
                      <a:pt x="311" y="19"/>
                      <a:pt x="273" y="28"/>
                    </a:cubicBezTo>
                    <a:cubicBezTo>
                      <a:pt x="293" y="128"/>
                      <a:pt x="304" y="231"/>
                      <a:pt x="304" y="336"/>
                    </a:cubicBezTo>
                    <a:cubicBezTo>
                      <a:pt x="304" y="684"/>
                      <a:pt x="191" y="1003"/>
                      <a:pt x="0" y="1262"/>
                    </a:cubicBezTo>
                    <a:cubicBezTo>
                      <a:pt x="88" y="1333"/>
                      <a:pt x="88" y="1333"/>
                      <a:pt x="88" y="1333"/>
                    </a:cubicBezTo>
                    <a:cubicBezTo>
                      <a:pt x="303" y="1053"/>
                      <a:pt x="422" y="697"/>
                      <a:pt x="422" y="329"/>
                    </a:cubicBezTo>
                    <a:cubicBezTo>
                      <a:pt x="422" y="201"/>
                      <a:pt x="412" y="94"/>
                      <a:pt x="392" y="0"/>
                    </a:cubicBez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88" name="Freeform 811">
                <a:extLst>
                  <a:ext uri="{FF2B5EF4-FFF2-40B4-BE49-F238E27FC236}">
                    <a16:creationId xmlns:a16="http://schemas.microsoft.com/office/drawing/2014/main" id="{B150B352-C35E-7841-E9DD-4EF4036765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9244121" y="458788"/>
                <a:ext cx="1609725" cy="5000625"/>
              </a:xfrm>
              <a:custGeom>
                <a:avLst/>
                <a:gdLst>
                  <a:gd name="T0" fmla="*/ 41 w 429"/>
                  <a:gd name="T1" fmla="*/ 0 h 1333"/>
                  <a:gd name="T2" fmla="*/ 0 w 429"/>
                  <a:gd name="T3" fmla="*/ 329 h 1333"/>
                  <a:gd name="T4" fmla="*/ 346 w 429"/>
                  <a:gd name="T5" fmla="*/ 1333 h 1333"/>
                  <a:gd name="T6" fmla="*/ 429 w 429"/>
                  <a:gd name="T7" fmla="*/ 1267 h 1333"/>
                  <a:gd name="T8" fmla="*/ 118 w 429"/>
                  <a:gd name="T9" fmla="*/ 336 h 1333"/>
                  <a:gd name="T10" fmla="*/ 150 w 429"/>
                  <a:gd name="T11" fmla="*/ 26 h 1333"/>
                  <a:gd name="T12" fmla="*/ 41 w 429"/>
                  <a:gd name="T13" fmla="*/ 0 h 13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29" h="1333">
                    <a:moveTo>
                      <a:pt x="41" y="0"/>
                    </a:moveTo>
                    <a:cubicBezTo>
                      <a:pt x="14" y="115"/>
                      <a:pt x="0" y="224"/>
                      <a:pt x="0" y="329"/>
                    </a:cubicBezTo>
                    <a:cubicBezTo>
                      <a:pt x="0" y="691"/>
                      <a:pt x="123" y="1046"/>
                      <a:pt x="346" y="1333"/>
                    </a:cubicBezTo>
                    <a:cubicBezTo>
                      <a:pt x="429" y="1267"/>
                      <a:pt x="429" y="1267"/>
                      <a:pt x="429" y="1267"/>
                    </a:cubicBezTo>
                    <a:cubicBezTo>
                      <a:pt x="234" y="1008"/>
                      <a:pt x="118" y="686"/>
                      <a:pt x="118" y="336"/>
                    </a:cubicBezTo>
                    <a:cubicBezTo>
                      <a:pt x="118" y="230"/>
                      <a:pt x="130" y="126"/>
                      <a:pt x="150" y="26"/>
                    </a:cubicBezTo>
                    <a:cubicBezTo>
                      <a:pt x="41" y="0"/>
                      <a:pt x="41" y="0"/>
                      <a:pt x="41" y="0"/>
                    </a:cubicBezTo>
                  </a:path>
                </a:pathLst>
              </a:cu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89" name="Freeform 812">
                <a:extLst>
                  <a:ext uri="{FF2B5EF4-FFF2-40B4-BE49-F238E27FC236}">
                    <a16:creationId xmlns:a16="http://schemas.microsoft.com/office/drawing/2014/main" id="{40399126-1CEC-F0CC-44A5-218D8474DD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2784584" y="5478463"/>
                <a:ext cx="4608513" cy="2530475"/>
              </a:xfrm>
              <a:custGeom>
                <a:avLst/>
                <a:gdLst>
                  <a:gd name="T0" fmla="*/ 1135 w 1229"/>
                  <a:gd name="T1" fmla="*/ 0 h 675"/>
                  <a:gd name="T2" fmla="*/ 0 w 1229"/>
                  <a:gd name="T3" fmla="*/ 549 h 675"/>
                  <a:gd name="T4" fmla="*/ 0 w 1229"/>
                  <a:gd name="T5" fmla="*/ 675 h 675"/>
                  <a:gd name="T6" fmla="*/ 1229 w 1229"/>
                  <a:gd name="T7" fmla="*/ 77 h 675"/>
                  <a:gd name="T8" fmla="*/ 1135 w 1229"/>
                  <a:gd name="T9" fmla="*/ 0 h 675"/>
                  <a:gd name="T10" fmla="*/ 1135 w 1229"/>
                  <a:gd name="T11" fmla="*/ 0 h 6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29" h="675">
                    <a:moveTo>
                      <a:pt x="1135" y="0"/>
                    </a:moveTo>
                    <a:cubicBezTo>
                      <a:pt x="861" y="325"/>
                      <a:pt x="455" y="536"/>
                      <a:pt x="0" y="549"/>
                    </a:cubicBezTo>
                    <a:cubicBezTo>
                      <a:pt x="0" y="675"/>
                      <a:pt x="0" y="675"/>
                      <a:pt x="0" y="675"/>
                    </a:cubicBezTo>
                    <a:cubicBezTo>
                      <a:pt x="474" y="660"/>
                      <a:pt x="919" y="443"/>
                      <a:pt x="1229" y="77"/>
                    </a:cubicBezTo>
                    <a:cubicBezTo>
                      <a:pt x="1196" y="50"/>
                      <a:pt x="1165" y="25"/>
                      <a:pt x="1135" y="0"/>
                    </a:cubicBezTo>
                    <a:cubicBezTo>
                      <a:pt x="1135" y="0"/>
                      <a:pt x="1135" y="0"/>
                      <a:pt x="1135" y="0"/>
                    </a:cubicBezTo>
                  </a:path>
                </a:pathLst>
              </a:custGeom>
              <a:solidFill>
                <a:schemeClr val="accent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90" name="Freeform 813">
                <a:extLst>
                  <a:ext uri="{FF2B5EF4-FFF2-40B4-BE49-F238E27FC236}">
                    <a16:creationId xmlns:a16="http://schemas.microsoft.com/office/drawing/2014/main" id="{1439B77F-AF09-1430-8C3E-3957FEAB90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7728059" y="5500688"/>
                <a:ext cx="4613275" cy="2508250"/>
              </a:xfrm>
              <a:custGeom>
                <a:avLst/>
                <a:gdLst>
                  <a:gd name="T0" fmla="*/ 87 w 1230"/>
                  <a:gd name="T1" fmla="*/ 0 h 669"/>
                  <a:gd name="T2" fmla="*/ 87 w 1230"/>
                  <a:gd name="T3" fmla="*/ 0 h 669"/>
                  <a:gd name="T4" fmla="*/ 0 w 1230"/>
                  <a:gd name="T5" fmla="*/ 70 h 669"/>
                  <a:gd name="T6" fmla="*/ 1230 w 1230"/>
                  <a:gd name="T7" fmla="*/ 669 h 669"/>
                  <a:gd name="T8" fmla="*/ 1230 w 1230"/>
                  <a:gd name="T9" fmla="*/ 543 h 669"/>
                  <a:gd name="T10" fmla="*/ 87 w 1230"/>
                  <a:gd name="T11" fmla="*/ 0 h 6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30" h="669">
                    <a:moveTo>
                      <a:pt x="87" y="0"/>
                    </a:moveTo>
                    <a:cubicBezTo>
                      <a:pt x="87" y="0"/>
                      <a:pt x="87" y="0"/>
                      <a:pt x="87" y="0"/>
                    </a:cubicBezTo>
                    <a:cubicBezTo>
                      <a:pt x="0" y="70"/>
                      <a:pt x="0" y="70"/>
                      <a:pt x="0" y="70"/>
                    </a:cubicBezTo>
                    <a:cubicBezTo>
                      <a:pt x="300" y="436"/>
                      <a:pt x="747" y="654"/>
                      <a:pt x="1230" y="669"/>
                    </a:cubicBezTo>
                    <a:cubicBezTo>
                      <a:pt x="1230" y="543"/>
                      <a:pt x="1230" y="543"/>
                      <a:pt x="1230" y="543"/>
                    </a:cubicBezTo>
                    <a:cubicBezTo>
                      <a:pt x="773" y="533"/>
                      <a:pt x="364" y="324"/>
                      <a:pt x="87" y="0"/>
                    </a:cubicBez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</p:grp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DD91E2A1-3919-09D1-4279-F33C5B7C5D41}"/>
                </a:ext>
              </a:extLst>
            </p:cNvPr>
            <p:cNvGrpSpPr/>
            <p:nvPr/>
          </p:nvGrpSpPr>
          <p:grpSpPr>
            <a:xfrm>
              <a:off x="651432" y="2236693"/>
              <a:ext cx="645066" cy="632391"/>
              <a:chOff x="651432" y="2236693"/>
              <a:chExt cx="645066" cy="632391"/>
            </a:xfrm>
          </p:grpSpPr>
          <p:sp>
            <p:nvSpPr>
              <p:cNvPr id="68" name="Freeform 918">
                <a:extLst>
                  <a:ext uri="{FF2B5EF4-FFF2-40B4-BE49-F238E27FC236}">
                    <a16:creationId xmlns:a16="http://schemas.microsoft.com/office/drawing/2014/main" id="{56407D06-1DA7-3613-3A37-56C7A93FAC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1432" y="2236693"/>
                <a:ext cx="645066" cy="632391"/>
              </a:xfrm>
              <a:custGeom>
                <a:avLst/>
                <a:gdLst>
                  <a:gd name="T0" fmla="*/ 1636 w 1831"/>
                  <a:gd name="T1" fmla="*/ 1253 h 1795"/>
                  <a:gd name="T2" fmla="*/ 1831 w 1831"/>
                  <a:gd name="T3" fmla="*/ 1160 h 1795"/>
                  <a:gd name="T4" fmla="*/ 1691 w 1831"/>
                  <a:gd name="T5" fmla="*/ 991 h 1795"/>
                  <a:gd name="T6" fmla="*/ 1691 w 1831"/>
                  <a:gd name="T7" fmla="*/ 954 h 1795"/>
                  <a:gd name="T8" fmla="*/ 1607 w 1831"/>
                  <a:gd name="T9" fmla="*/ 589 h 1795"/>
                  <a:gd name="T10" fmla="*/ 1663 w 1831"/>
                  <a:gd name="T11" fmla="*/ 374 h 1795"/>
                  <a:gd name="T12" fmla="*/ 1439 w 1831"/>
                  <a:gd name="T13" fmla="*/ 364 h 1795"/>
                  <a:gd name="T14" fmla="*/ 1056 w 1831"/>
                  <a:gd name="T15" fmla="*/ 177 h 1795"/>
                  <a:gd name="T16" fmla="*/ 916 w 1831"/>
                  <a:gd name="T17" fmla="*/ 0 h 1795"/>
                  <a:gd name="T18" fmla="*/ 776 w 1831"/>
                  <a:gd name="T19" fmla="*/ 177 h 1795"/>
                  <a:gd name="T20" fmla="*/ 412 w 1831"/>
                  <a:gd name="T21" fmla="*/ 356 h 1795"/>
                  <a:gd name="T22" fmla="*/ 178 w 1831"/>
                  <a:gd name="T23" fmla="*/ 356 h 1795"/>
                  <a:gd name="T24" fmla="*/ 233 w 1831"/>
                  <a:gd name="T25" fmla="*/ 571 h 1795"/>
                  <a:gd name="T26" fmla="*/ 131 w 1831"/>
                  <a:gd name="T27" fmla="*/ 954 h 1795"/>
                  <a:gd name="T28" fmla="*/ 141 w 1831"/>
                  <a:gd name="T29" fmla="*/ 983 h 1795"/>
                  <a:gd name="T30" fmla="*/ 0 w 1831"/>
                  <a:gd name="T31" fmla="*/ 1160 h 1795"/>
                  <a:gd name="T32" fmla="*/ 196 w 1831"/>
                  <a:gd name="T33" fmla="*/ 1253 h 1795"/>
                  <a:gd name="T34" fmla="*/ 458 w 1831"/>
                  <a:gd name="T35" fmla="*/ 1580 h 1795"/>
                  <a:gd name="T36" fmla="*/ 504 w 1831"/>
                  <a:gd name="T37" fmla="*/ 1795 h 1795"/>
                  <a:gd name="T38" fmla="*/ 692 w 1831"/>
                  <a:gd name="T39" fmla="*/ 1702 h 1795"/>
                  <a:gd name="T40" fmla="*/ 916 w 1831"/>
                  <a:gd name="T41" fmla="*/ 1739 h 1795"/>
                  <a:gd name="T42" fmla="*/ 1122 w 1831"/>
                  <a:gd name="T43" fmla="*/ 1712 h 1795"/>
                  <a:gd name="T44" fmla="*/ 1308 w 1831"/>
                  <a:gd name="T45" fmla="*/ 1795 h 1795"/>
                  <a:gd name="T46" fmla="*/ 1355 w 1831"/>
                  <a:gd name="T47" fmla="*/ 1599 h 1795"/>
                  <a:gd name="T48" fmla="*/ 1636 w 1831"/>
                  <a:gd name="T49" fmla="*/ 1253 h 17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831" h="1795">
                    <a:moveTo>
                      <a:pt x="1636" y="1253"/>
                    </a:moveTo>
                    <a:cubicBezTo>
                      <a:pt x="1831" y="1160"/>
                      <a:pt x="1831" y="1160"/>
                      <a:pt x="1831" y="1160"/>
                    </a:cubicBezTo>
                    <a:cubicBezTo>
                      <a:pt x="1691" y="991"/>
                      <a:pt x="1691" y="991"/>
                      <a:pt x="1691" y="991"/>
                    </a:cubicBezTo>
                    <a:cubicBezTo>
                      <a:pt x="1691" y="973"/>
                      <a:pt x="1691" y="963"/>
                      <a:pt x="1691" y="954"/>
                    </a:cubicBezTo>
                    <a:cubicBezTo>
                      <a:pt x="1691" y="823"/>
                      <a:pt x="1663" y="701"/>
                      <a:pt x="1607" y="589"/>
                    </a:cubicBezTo>
                    <a:cubicBezTo>
                      <a:pt x="1663" y="374"/>
                      <a:pt x="1663" y="374"/>
                      <a:pt x="1663" y="374"/>
                    </a:cubicBezTo>
                    <a:cubicBezTo>
                      <a:pt x="1439" y="364"/>
                      <a:pt x="1439" y="364"/>
                      <a:pt x="1439" y="364"/>
                    </a:cubicBezTo>
                    <a:cubicBezTo>
                      <a:pt x="1336" y="272"/>
                      <a:pt x="1206" y="206"/>
                      <a:pt x="1056" y="177"/>
                    </a:cubicBezTo>
                    <a:cubicBezTo>
                      <a:pt x="916" y="0"/>
                      <a:pt x="916" y="0"/>
                      <a:pt x="916" y="0"/>
                    </a:cubicBezTo>
                    <a:cubicBezTo>
                      <a:pt x="776" y="177"/>
                      <a:pt x="776" y="177"/>
                      <a:pt x="776" y="177"/>
                    </a:cubicBezTo>
                    <a:cubicBezTo>
                      <a:pt x="636" y="206"/>
                      <a:pt x="513" y="262"/>
                      <a:pt x="412" y="356"/>
                    </a:cubicBezTo>
                    <a:cubicBezTo>
                      <a:pt x="178" y="356"/>
                      <a:pt x="178" y="356"/>
                      <a:pt x="178" y="356"/>
                    </a:cubicBezTo>
                    <a:cubicBezTo>
                      <a:pt x="233" y="571"/>
                      <a:pt x="233" y="571"/>
                      <a:pt x="233" y="571"/>
                    </a:cubicBezTo>
                    <a:cubicBezTo>
                      <a:pt x="168" y="683"/>
                      <a:pt x="131" y="814"/>
                      <a:pt x="131" y="954"/>
                    </a:cubicBezTo>
                    <a:cubicBezTo>
                      <a:pt x="131" y="963"/>
                      <a:pt x="131" y="973"/>
                      <a:pt x="141" y="983"/>
                    </a:cubicBezTo>
                    <a:cubicBezTo>
                      <a:pt x="0" y="1160"/>
                      <a:pt x="0" y="1160"/>
                      <a:pt x="0" y="1160"/>
                    </a:cubicBezTo>
                    <a:cubicBezTo>
                      <a:pt x="196" y="1253"/>
                      <a:pt x="196" y="1253"/>
                      <a:pt x="196" y="1253"/>
                    </a:cubicBezTo>
                    <a:cubicBezTo>
                      <a:pt x="252" y="1385"/>
                      <a:pt x="346" y="1497"/>
                      <a:pt x="458" y="1580"/>
                    </a:cubicBezTo>
                    <a:cubicBezTo>
                      <a:pt x="504" y="1795"/>
                      <a:pt x="504" y="1795"/>
                      <a:pt x="504" y="1795"/>
                    </a:cubicBezTo>
                    <a:cubicBezTo>
                      <a:pt x="692" y="1702"/>
                      <a:pt x="692" y="1702"/>
                      <a:pt x="692" y="1702"/>
                    </a:cubicBezTo>
                    <a:cubicBezTo>
                      <a:pt x="766" y="1721"/>
                      <a:pt x="842" y="1739"/>
                      <a:pt x="916" y="1739"/>
                    </a:cubicBezTo>
                    <a:cubicBezTo>
                      <a:pt x="990" y="1739"/>
                      <a:pt x="1056" y="1721"/>
                      <a:pt x="1122" y="1712"/>
                    </a:cubicBezTo>
                    <a:cubicBezTo>
                      <a:pt x="1308" y="1795"/>
                      <a:pt x="1308" y="1795"/>
                      <a:pt x="1308" y="1795"/>
                    </a:cubicBezTo>
                    <a:cubicBezTo>
                      <a:pt x="1355" y="1599"/>
                      <a:pt x="1355" y="1599"/>
                      <a:pt x="1355" y="1599"/>
                    </a:cubicBezTo>
                    <a:cubicBezTo>
                      <a:pt x="1476" y="1515"/>
                      <a:pt x="1579" y="1393"/>
                      <a:pt x="1636" y="1253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>
                <a:outerShdw blurRad="812800" sx="116000" sy="116000" algn="ctr" rotWithShape="0">
                  <a:prstClr val="black">
                    <a:alpha val="16000"/>
                  </a:prstClr>
                </a:outerShdw>
              </a:effectLst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grpSp>
            <p:nvGrpSpPr>
              <p:cNvPr id="69" name="Group 68">
                <a:extLst>
                  <a:ext uri="{FF2B5EF4-FFF2-40B4-BE49-F238E27FC236}">
                    <a16:creationId xmlns:a16="http://schemas.microsoft.com/office/drawing/2014/main" id="{F4E87CCD-4264-67FE-5CC5-BEADAEF7D730}"/>
                  </a:ext>
                </a:extLst>
              </p:cNvPr>
              <p:cNvGrpSpPr/>
              <p:nvPr/>
            </p:nvGrpSpPr>
            <p:grpSpPr>
              <a:xfrm rot="1625921">
                <a:off x="744740" y="2344175"/>
                <a:ext cx="454574" cy="455898"/>
                <a:chOff x="1203767" y="628673"/>
                <a:chExt cx="1024454" cy="1027444"/>
              </a:xfrm>
            </p:grpSpPr>
            <p:sp>
              <p:nvSpPr>
                <p:cNvPr id="70" name="Freeform 807">
                  <a:extLst>
                    <a:ext uri="{FF2B5EF4-FFF2-40B4-BE49-F238E27FC236}">
                      <a16:creationId xmlns:a16="http://schemas.microsoft.com/office/drawing/2014/main" id="{219E914C-0ADF-569B-1470-7DB14033595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07884" y="628673"/>
                  <a:ext cx="419980" cy="79663"/>
                </a:xfrm>
                <a:custGeom>
                  <a:avLst/>
                  <a:gdLst>
                    <a:gd name="T0" fmla="*/ 685 w 1370"/>
                    <a:gd name="T1" fmla="*/ 0 h 260"/>
                    <a:gd name="T2" fmla="*/ 0 w 1370"/>
                    <a:gd name="T3" fmla="*/ 148 h 260"/>
                    <a:gd name="T4" fmla="*/ 52 w 1370"/>
                    <a:gd name="T5" fmla="*/ 256 h 260"/>
                    <a:gd name="T6" fmla="*/ 680 w 1370"/>
                    <a:gd name="T7" fmla="*/ 124 h 260"/>
                    <a:gd name="T8" fmla="*/ 1315 w 1370"/>
                    <a:gd name="T9" fmla="*/ 260 h 260"/>
                    <a:gd name="T10" fmla="*/ 1370 w 1370"/>
                    <a:gd name="T11" fmla="*/ 148 h 260"/>
                    <a:gd name="T12" fmla="*/ 685 w 1370"/>
                    <a:gd name="T13" fmla="*/ 0 h 2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370" h="260">
                      <a:moveTo>
                        <a:pt x="685" y="0"/>
                      </a:moveTo>
                      <a:cubicBezTo>
                        <a:pt x="450" y="0"/>
                        <a:pt x="219" y="49"/>
                        <a:pt x="0" y="148"/>
                      </a:cubicBezTo>
                      <a:cubicBezTo>
                        <a:pt x="18" y="185"/>
                        <a:pt x="35" y="221"/>
                        <a:pt x="52" y="256"/>
                      </a:cubicBezTo>
                      <a:cubicBezTo>
                        <a:pt x="244" y="171"/>
                        <a:pt x="456" y="124"/>
                        <a:pt x="680" y="124"/>
                      </a:cubicBezTo>
                      <a:cubicBezTo>
                        <a:pt x="906" y="124"/>
                        <a:pt x="1121" y="173"/>
                        <a:pt x="1315" y="260"/>
                      </a:cubicBezTo>
                      <a:cubicBezTo>
                        <a:pt x="1370" y="148"/>
                        <a:pt x="1370" y="148"/>
                        <a:pt x="1370" y="148"/>
                      </a:cubicBezTo>
                      <a:cubicBezTo>
                        <a:pt x="1151" y="49"/>
                        <a:pt x="921" y="0"/>
                        <a:pt x="685" y="0"/>
                      </a:cubicBezTo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2400"/>
                </a:p>
              </p:txBody>
            </p:sp>
            <p:sp>
              <p:nvSpPr>
                <p:cNvPr id="71" name="Freeform 808">
                  <a:extLst>
                    <a:ext uri="{FF2B5EF4-FFF2-40B4-BE49-F238E27FC236}">
                      <a16:creationId xmlns:a16="http://schemas.microsoft.com/office/drawing/2014/main" id="{FD45DAC2-8BEB-B86A-63F2-64F55CC1435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36167" y="685632"/>
                  <a:ext cx="279857" cy="337464"/>
                </a:xfrm>
                <a:custGeom>
                  <a:avLst/>
                  <a:gdLst>
                    <a:gd name="T0" fmla="*/ 55 w 913"/>
                    <a:gd name="T1" fmla="*/ 0 h 1101"/>
                    <a:gd name="T2" fmla="*/ 0 w 913"/>
                    <a:gd name="T3" fmla="*/ 116 h 1101"/>
                    <a:gd name="T4" fmla="*/ 786 w 913"/>
                    <a:gd name="T5" fmla="*/ 1101 h 1101"/>
                    <a:gd name="T6" fmla="*/ 913 w 913"/>
                    <a:gd name="T7" fmla="*/ 1073 h 1101"/>
                    <a:gd name="T8" fmla="*/ 55 w 913"/>
                    <a:gd name="T9" fmla="*/ 0 h 11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13" h="1101">
                      <a:moveTo>
                        <a:pt x="55" y="0"/>
                      </a:moveTo>
                      <a:cubicBezTo>
                        <a:pt x="36" y="40"/>
                        <a:pt x="18" y="78"/>
                        <a:pt x="0" y="116"/>
                      </a:cubicBezTo>
                      <a:cubicBezTo>
                        <a:pt x="386" y="316"/>
                        <a:pt x="675" y="673"/>
                        <a:pt x="786" y="1101"/>
                      </a:cubicBezTo>
                      <a:cubicBezTo>
                        <a:pt x="913" y="1073"/>
                        <a:pt x="913" y="1073"/>
                        <a:pt x="913" y="1073"/>
                      </a:cubicBezTo>
                      <a:cubicBezTo>
                        <a:pt x="793" y="612"/>
                        <a:pt x="475" y="214"/>
                        <a:pt x="55" y="0"/>
                      </a:cubicBezTo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2400"/>
                </a:p>
              </p:txBody>
            </p:sp>
            <p:sp>
              <p:nvSpPr>
                <p:cNvPr id="72" name="Freeform 809">
                  <a:extLst>
                    <a:ext uri="{FF2B5EF4-FFF2-40B4-BE49-F238E27FC236}">
                      <a16:creationId xmlns:a16="http://schemas.microsoft.com/office/drawing/2014/main" id="{20D642CE-4A41-75BD-3F2A-CA1779D0EE9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20372" y="685631"/>
                  <a:ext cx="278690" cy="336943"/>
                </a:xfrm>
                <a:custGeom>
                  <a:avLst/>
                  <a:gdLst>
                    <a:gd name="T0" fmla="*/ 857 w 909"/>
                    <a:gd name="T1" fmla="*/ 0 h 1099"/>
                    <a:gd name="T2" fmla="*/ 0 w 909"/>
                    <a:gd name="T3" fmla="*/ 1073 h 1099"/>
                    <a:gd name="T4" fmla="*/ 117 w 909"/>
                    <a:gd name="T5" fmla="*/ 1099 h 1099"/>
                    <a:gd name="T6" fmla="*/ 909 w 909"/>
                    <a:gd name="T7" fmla="*/ 110 h 1099"/>
                    <a:gd name="T8" fmla="*/ 857 w 909"/>
                    <a:gd name="T9" fmla="*/ 0 h 10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09" h="1099">
                      <a:moveTo>
                        <a:pt x="857" y="0"/>
                      </a:moveTo>
                      <a:cubicBezTo>
                        <a:pt x="439" y="214"/>
                        <a:pt x="120" y="611"/>
                        <a:pt x="0" y="1073"/>
                      </a:cubicBezTo>
                      <a:cubicBezTo>
                        <a:pt x="40" y="1082"/>
                        <a:pt x="80" y="1091"/>
                        <a:pt x="117" y="1099"/>
                      </a:cubicBezTo>
                      <a:cubicBezTo>
                        <a:pt x="228" y="668"/>
                        <a:pt x="521" y="310"/>
                        <a:pt x="909" y="110"/>
                      </a:cubicBezTo>
                      <a:cubicBezTo>
                        <a:pt x="857" y="0"/>
                        <a:pt x="857" y="0"/>
                        <a:pt x="857" y="0"/>
                      </a:cubicBezTo>
                    </a:path>
                  </a:pathLst>
                </a:custGeom>
                <a:solidFill>
                  <a:schemeClr val="accent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2400"/>
                </a:p>
              </p:txBody>
            </p:sp>
            <p:sp>
              <p:nvSpPr>
                <p:cNvPr id="73" name="Freeform 810">
                  <a:extLst>
                    <a:ext uri="{FF2B5EF4-FFF2-40B4-BE49-F238E27FC236}">
                      <a16:creationId xmlns:a16="http://schemas.microsoft.com/office/drawing/2014/main" id="{47A7CDD2-00C9-BBEE-E1C8-785759EA00E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98868" y="1039052"/>
                  <a:ext cx="129353" cy="408690"/>
                </a:xfrm>
                <a:custGeom>
                  <a:avLst/>
                  <a:gdLst>
                    <a:gd name="T0" fmla="*/ 392 w 422"/>
                    <a:gd name="T1" fmla="*/ 0 h 1333"/>
                    <a:gd name="T2" fmla="*/ 273 w 422"/>
                    <a:gd name="T3" fmla="*/ 28 h 1333"/>
                    <a:gd name="T4" fmla="*/ 304 w 422"/>
                    <a:gd name="T5" fmla="*/ 336 h 1333"/>
                    <a:gd name="T6" fmla="*/ 0 w 422"/>
                    <a:gd name="T7" fmla="*/ 1262 h 1333"/>
                    <a:gd name="T8" fmla="*/ 88 w 422"/>
                    <a:gd name="T9" fmla="*/ 1333 h 1333"/>
                    <a:gd name="T10" fmla="*/ 422 w 422"/>
                    <a:gd name="T11" fmla="*/ 329 h 1333"/>
                    <a:gd name="T12" fmla="*/ 392 w 422"/>
                    <a:gd name="T13" fmla="*/ 0 h 13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22" h="1333">
                      <a:moveTo>
                        <a:pt x="392" y="0"/>
                      </a:moveTo>
                      <a:cubicBezTo>
                        <a:pt x="351" y="10"/>
                        <a:pt x="311" y="19"/>
                        <a:pt x="273" y="28"/>
                      </a:cubicBezTo>
                      <a:cubicBezTo>
                        <a:pt x="293" y="128"/>
                        <a:pt x="304" y="231"/>
                        <a:pt x="304" y="336"/>
                      </a:cubicBezTo>
                      <a:cubicBezTo>
                        <a:pt x="304" y="684"/>
                        <a:pt x="191" y="1003"/>
                        <a:pt x="0" y="1262"/>
                      </a:cubicBezTo>
                      <a:cubicBezTo>
                        <a:pt x="88" y="1333"/>
                        <a:pt x="88" y="1333"/>
                        <a:pt x="88" y="1333"/>
                      </a:cubicBezTo>
                      <a:cubicBezTo>
                        <a:pt x="303" y="1053"/>
                        <a:pt x="422" y="697"/>
                        <a:pt x="422" y="329"/>
                      </a:cubicBezTo>
                      <a:cubicBezTo>
                        <a:pt x="422" y="201"/>
                        <a:pt x="412" y="94"/>
                        <a:pt x="392" y="0"/>
                      </a:cubicBezTo>
                    </a:path>
                  </a:pathLst>
                </a:custGeom>
                <a:solidFill>
                  <a:schemeClr val="accent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2400"/>
                </a:p>
              </p:txBody>
            </p:sp>
            <p:sp>
              <p:nvSpPr>
                <p:cNvPr id="74" name="Freeform 811">
                  <a:extLst>
                    <a:ext uri="{FF2B5EF4-FFF2-40B4-BE49-F238E27FC236}">
                      <a16:creationId xmlns:a16="http://schemas.microsoft.com/office/drawing/2014/main" id="{7E842359-436E-3387-52FC-074FB9CD24E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03767" y="1039053"/>
                  <a:ext cx="131560" cy="408691"/>
                </a:xfrm>
                <a:custGeom>
                  <a:avLst/>
                  <a:gdLst>
                    <a:gd name="T0" fmla="*/ 41 w 429"/>
                    <a:gd name="T1" fmla="*/ 0 h 1333"/>
                    <a:gd name="T2" fmla="*/ 0 w 429"/>
                    <a:gd name="T3" fmla="*/ 329 h 1333"/>
                    <a:gd name="T4" fmla="*/ 346 w 429"/>
                    <a:gd name="T5" fmla="*/ 1333 h 1333"/>
                    <a:gd name="T6" fmla="*/ 429 w 429"/>
                    <a:gd name="T7" fmla="*/ 1267 h 1333"/>
                    <a:gd name="T8" fmla="*/ 118 w 429"/>
                    <a:gd name="T9" fmla="*/ 336 h 1333"/>
                    <a:gd name="T10" fmla="*/ 150 w 429"/>
                    <a:gd name="T11" fmla="*/ 26 h 1333"/>
                    <a:gd name="T12" fmla="*/ 41 w 429"/>
                    <a:gd name="T13" fmla="*/ 0 h 13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29" h="1333">
                      <a:moveTo>
                        <a:pt x="41" y="0"/>
                      </a:moveTo>
                      <a:cubicBezTo>
                        <a:pt x="14" y="115"/>
                        <a:pt x="0" y="224"/>
                        <a:pt x="0" y="329"/>
                      </a:cubicBezTo>
                      <a:cubicBezTo>
                        <a:pt x="0" y="691"/>
                        <a:pt x="123" y="1046"/>
                        <a:pt x="346" y="1333"/>
                      </a:cubicBezTo>
                      <a:cubicBezTo>
                        <a:pt x="429" y="1267"/>
                        <a:pt x="429" y="1267"/>
                        <a:pt x="429" y="1267"/>
                      </a:cubicBezTo>
                      <a:cubicBezTo>
                        <a:pt x="234" y="1008"/>
                        <a:pt x="118" y="686"/>
                        <a:pt x="118" y="336"/>
                      </a:cubicBezTo>
                      <a:cubicBezTo>
                        <a:pt x="118" y="230"/>
                        <a:pt x="130" y="126"/>
                        <a:pt x="150" y="26"/>
                      </a:cubicBezTo>
                      <a:cubicBezTo>
                        <a:pt x="41" y="0"/>
                        <a:pt x="41" y="0"/>
                        <a:pt x="41" y="0"/>
                      </a:cubicBezTo>
                    </a:path>
                  </a:pathLst>
                </a:custGeom>
                <a:solidFill>
                  <a:schemeClr val="accent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2400"/>
                </a:p>
              </p:txBody>
            </p:sp>
            <p:sp>
              <p:nvSpPr>
                <p:cNvPr id="75" name="Freeform 812">
                  <a:extLst>
                    <a:ext uri="{FF2B5EF4-FFF2-40B4-BE49-F238E27FC236}">
                      <a16:creationId xmlns:a16="http://schemas.microsoft.com/office/drawing/2014/main" id="{E10C73DB-AF0B-7A0A-E636-0C3EFCAF001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31695" y="1449305"/>
                  <a:ext cx="376645" cy="206810"/>
                </a:xfrm>
                <a:custGeom>
                  <a:avLst/>
                  <a:gdLst>
                    <a:gd name="T0" fmla="*/ 1135 w 1229"/>
                    <a:gd name="T1" fmla="*/ 0 h 675"/>
                    <a:gd name="T2" fmla="*/ 0 w 1229"/>
                    <a:gd name="T3" fmla="*/ 549 h 675"/>
                    <a:gd name="T4" fmla="*/ 0 w 1229"/>
                    <a:gd name="T5" fmla="*/ 675 h 675"/>
                    <a:gd name="T6" fmla="*/ 1229 w 1229"/>
                    <a:gd name="T7" fmla="*/ 77 h 675"/>
                    <a:gd name="T8" fmla="*/ 1135 w 1229"/>
                    <a:gd name="T9" fmla="*/ 0 h 675"/>
                    <a:gd name="T10" fmla="*/ 1135 w 1229"/>
                    <a:gd name="T11" fmla="*/ 0 h 6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229" h="675">
                      <a:moveTo>
                        <a:pt x="1135" y="0"/>
                      </a:moveTo>
                      <a:cubicBezTo>
                        <a:pt x="861" y="325"/>
                        <a:pt x="455" y="536"/>
                        <a:pt x="0" y="549"/>
                      </a:cubicBezTo>
                      <a:cubicBezTo>
                        <a:pt x="0" y="675"/>
                        <a:pt x="0" y="675"/>
                        <a:pt x="0" y="675"/>
                      </a:cubicBezTo>
                      <a:cubicBezTo>
                        <a:pt x="474" y="660"/>
                        <a:pt x="919" y="443"/>
                        <a:pt x="1229" y="77"/>
                      </a:cubicBezTo>
                      <a:cubicBezTo>
                        <a:pt x="1196" y="50"/>
                        <a:pt x="1165" y="25"/>
                        <a:pt x="1135" y="0"/>
                      </a:cubicBezTo>
                      <a:cubicBezTo>
                        <a:pt x="1135" y="0"/>
                        <a:pt x="1135" y="0"/>
                        <a:pt x="1135" y="0"/>
                      </a:cubicBezTo>
                    </a:path>
                  </a:pathLst>
                </a:custGeom>
                <a:solidFill>
                  <a:schemeClr val="accent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2400"/>
                </a:p>
              </p:txBody>
            </p:sp>
            <p:sp>
              <p:nvSpPr>
                <p:cNvPr id="76" name="Freeform 813">
                  <a:extLst>
                    <a:ext uri="{FF2B5EF4-FFF2-40B4-BE49-F238E27FC236}">
                      <a16:creationId xmlns:a16="http://schemas.microsoft.com/office/drawing/2014/main" id="{892119C2-42A5-09EC-6A3B-95AA3CB9E08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27675" y="1451121"/>
                  <a:ext cx="377035" cy="204996"/>
                </a:xfrm>
                <a:custGeom>
                  <a:avLst/>
                  <a:gdLst>
                    <a:gd name="T0" fmla="*/ 87 w 1230"/>
                    <a:gd name="T1" fmla="*/ 0 h 669"/>
                    <a:gd name="T2" fmla="*/ 87 w 1230"/>
                    <a:gd name="T3" fmla="*/ 0 h 669"/>
                    <a:gd name="T4" fmla="*/ 0 w 1230"/>
                    <a:gd name="T5" fmla="*/ 70 h 669"/>
                    <a:gd name="T6" fmla="*/ 1230 w 1230"/>
                    <a:gd name="T7" fmla="*/ 669 h 669"/>
                    <a:gd name="T8" fmla="*/ 1230 w 1230"/>
                    <a:gd name="T9" fmla="*/ 543 h 669"/>
                    <a:gd name="T10" fmla="*/ 87 w 1230"/>
                    <a:gd name="T11" fmla="*/ 0 h 6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230" h="669">
                      <a:moveTo>
                        <a:pt x="87" y="0"/>
                      </a:moveTo>
                      <a:cubicBezTo>
                        <a:pt x="87" y="0"/>
                        <a:pt x="87" y="0"/>
                        <a:pt x="87" y="0"/>
                      </a:cubicBezTo>
                      <a:cubicBezTo>
                        <a:pt x="0" y="70"/>
                        <a:pt x="0" y="70"/>
                        <a:pt x="0" y="70"/>
                      </a:cubicBezTo>
                      <a:cubicBezTo>
                        <a:pt x="300" y="436"/>
                        <a:pt x="747" y="654"/>
                        <a:pt x="1230" y="669"/>
                      </a:cubicBezTo>
                      <a:cubicBezTo>
                        <a:pt x="1230" y="543"/>
                        <a:pt x="1230" y="543"/>
                        <a:pt x="1230" y="543"/>
                      </a:cubicBezTo>
                      <a:cubicBezTo>
                        <a:pt x="773" y="533"/>
                        <a:pt x="364" y="324"/>
                        <a:pt x="87" y="0"/>
                      </a:cubicBezTo>
                    </a:path>
                  </a:pathLst>
                </a:custGeom>
                <a:solidFill>
                  <a:schemeClr val="accent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2400"/>
                </a:p>
              </p:txBody>
            </p:sp>
          </p:grpSp>
        </p:grpSp>
      </p:grpSp>
      <p:sp>
        <p:nvSpPr>
          <p:cNvPr id="91" name="Rectangle 90">
            <a:extLst>
              <a:ext uri="{FF2B5EF4-FFF2-40B4-BE49-F238E27FC236}">
                <a16:creationId xmlns:a16="http://schemas.microsoft.com/office/drawing/2014/main" id="{187FA8F2-F6F0-E24A-2F02-CB84634EFFB0}"/>
              </a:ext>
            </a:extLst>
          </p:cNvPr>
          <p:cNvSpPr/>
          <p:nvPr/>
        </p:nvSpPr>
        <p:spPr>
          <a:xfrm>
            <a:off x="8413377" y="1695540"/>
            <a:ext cx="3003923" cy="83561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40000"/>
              </a:lnSpc>
            </a:pPr>
            <a:r>
              <a:rPr lang="en-US" sz="1600" b="1" dirty="0">
                <a:solidFill>
                  <a:schemeClr val="accent1"/>
                </a:solidFill>
              </a:rPr>
              <a:t>Your Title Here</a:t>
            </a:r>
          </a:p>
          <a:p>
            <a:pPr>
              <a:lnSpc>
                <a:spcPct val="140000"/>
              </a:lnSpc>
            </a:pPr>
            <a:r>
              <a:rPr lang="en-US" sz="1200" dirty="0"/>
              <a:t>This is a sample text. You simply add your own text and description here. 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240B1A31-E967-5C94-8780-A35D33D33F0C}"/>
              </a:ext>
            </a:extLst>
          </p:cNvPr>
          <p:cNvSpPr/>
          <p:nvPr/>
        </p:nvSpPr>
        <p:spPr>
          <a:xfrm>
            <a:off x="260433" y="1695540"/>
            <a:ext cx="3003923" cy="83561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>
              <a:lnSpc>
                <a:spcPct val="140000"/>
              </a:lnSpc>
            </a:pPr>
            <a:r>
              <a:rPr lang="en-US" sz="1600" b="1" dirty="0">
                <a:solidFill>
                  <a:schemeClr val="accent3"/>
                </a:solidFill>
              </a:rPr>
              <a:t>Your Title Here</a:t>
            </a:r>
          </a:p>
          <a:p>
            <a:pPr algn="r">
              <a:lnSpc>
                <a:spcPct val="140000"/>
              </a:lnSpc>
            </a:pPr>
            <a:r>
              <a:rPr lang="en-US" sz="1200" dirty="0"/>
              <a:t>This is a sample text. You simply add your own text and description here. 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E8804BC8-D9DD-AD6C-143F-14A0D683BF0B}"/>
              </a:ext>
            </a:extLst>
          </p:cNvPr>
          <p:cNvSpPr/>
          <p:nvPr/>
        </p:nvSpPr>
        <p:spPr>
          <a:xfrm>
            <a:off x="8413377" y="3221009"/>
            <a:ext cx="3003923" cy="83561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40000"/>
              </a:lnSpc>
            </a:pPr>
            <a:r>
              <a:rPr lang="en-US" sz="1600" b="1" dirty="0">
                <a:solidFill>
                  <a:schemeClr val="accent2"/>
                </a:solidFill>
              </a:rPr>
              <a:t>Your Title Here</a:t>
            </a:r>
          </a:p>
          <a:p>
            <a:pPr>
              <a:lnSpc>
                <a:spcPct val="140000"/>
              </a:lnSpc>
            </a:pPr>
            <a:r>
              <a:rPr lang="en-US" sz="1200" dirty="0"/>
              <a:t>This is a sample text. You simply add your own text and description here. 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9E6A38AD-42E5-438A-D454-94BD353C4501}"/>
              </a:ext>
            </a:extLst>
          </p:cNvPr>
          <p:cNvSpPr/>
          <p:nvPr/>
        </p:nvSpPr>
        <p:spPr>
          <a:xfrm>
            <a:off x="260433" y="2712520"/>
            <a:ext cx="3003923" cy="83561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>
              <a:lnSpc>
                <a:spcPct val="140000"/>
              </a:lnSpc>
            </a:pPr>
            <a:r>
              <a:rPr lang="en-US" sz="1600" b="1" dirty="0">
                <a:solidFill>
                  <a:schemeClr val="accent6"/>
                </a:solidFill>
              </a:rPr>
              <a:t>Your Title Here</a:t>
            </a:r>
          </a:p>
          <a:p>
            <a:pPr algn="r">
              <a:lnSpc>
                <a:spcPct val="140000"/>
              </a:lnSpc>
            </a:pPr>
            <a:r>
              <a:rPr lang="en-US" sz="1200" dirty="0"/>
              <a:t>This is a sample text. You simply add your own text and description here. 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83BE8DED-8AC1-B386-2094-94F6F4BC23C0}"/>
              </a:ext>
            </a:extLst>
          </p:cNvPr>
          <p:cNvSpPr/>
          <p:nvPr/>
        </p:nvSpPr>
        <p:spPr>
          <a:xfrm>
            <a:off x="8413377" y="4746478"/>
            <a:ext cx="3003923" cy="83561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40000"/>
              </a:lnSpc>
            </a:pPr>
            <a:r>
              <a:rPr lang="en-US" sz="1600" b="1" dirty="0">
                <a:solidFill>
                  <a:schemeClr val="accent3"/>
                </a:solidFill>
              </a:rPr>
              <a:t>Your Title Here</a:t>
            </a:r>
          </a:p>
          <a:p>
            <a:pPr>
              <a:lnSpc>
                <a:spcPct val="140000"/>
              </a:lnSpc>
            </a:pPr>
            <a:r>
              <a:rPr lang="en-US" sz="1200" dirty="0"/>
              <a:t>This is a sample text. You simply add your own text and description here. </a:t>
            </a: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64E09C78-AA78-3B8C-77D1-B01F43B27C83}"/>
              </a:ext>
            </a:extLst>
          </p:cNvPr>
          <p:cNvSpPr/>
          <p:nvPr/>
        </p:nvSpPr>
        <p:spPr>
          <a:xfrm>
            <a:off x="260433" y="4746478"/>
            <a:ext cx="3003923" cy="83561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>
              <a:lnSpc>
                <a:spcPct val="140000"/>
              </a:lnSpc>
            </a:pPr>
            <a:r>
              <a:rPr lang="en-US" sz="1600" b="1" dirty="0">
                <a:solidFill>
                  <a:schemeClr val="accent4"/>
                </a:solidFill>
              </a:rPr>
              <a:t>Your Title Here</a:t>
            </a:r>
          </a:p>
          <a:p>
            <a:pPr algn="r">
              <a:lnSpc>
                <a:spcPct val="140000"/>
              </a:lnSpc>
            </a:pPr>
            <a:r>
              <a:rPr lang="en-US" sz="1200" dirty="0"/>
              <a:t>This is a sample text. You simply add your own text and description here. </a:t>
            </a: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DA1CA081-2C90-3B63-C474-50CF71295705}"/>
              </a:ext>
            </a:extLst>
          </p:cNvPr>
          <p:cNvSpPr/>
          <p:nvPr/>
        </p:nvSpPr>
        <p:spPr>
          <a:xfrm>
            <a:off x="260433" y="3729500"/>
            <a:ext cx="3003923" cy="83561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>
              <a:lnSpc>
                <a:spcPct val="140000"/>
              </a:lnSpc>
            </a:pPr>
            <a:r>
              <a:rPr lang="en-US" sz="1600" b="1" dirty="0">
                <a:solidFill>
                  <a:schemeClr val="accent5"/>
                </a:solidFill>
              </a:rPr>
              <a:t>Your Title Here</a:t>
            </a:r>
          </a:p>
          <a:p>
            <a:pPr algn="r">
              <a:lnSpc>
                <a:spcPct val="140000"/>
              </a:lnSpc>
            </a:pPr>
            <a:r>
              <a:rPr lang="en-US" sz="1200" dirty="0"/>
              <a:t>This is a sample text. You simply add your own text and description here. </a:t>
            </a:r>
          </a:p>
        </p:txBody>
      </p:sp>
      <p:grpSp>
        <p:nvGrpSpPr>
          <p:cNvPr id="98" name="Group 958">
            <a:extLst>
              <a:ext uri="{FF2B5EF4-FFF2-40B4-BE49-F238E27FC236}">
                <a16:creationId xmlns:a16="http://schemas.microsoft.com/office/drawing/2014/main" id="{7AFAEDCD-3687-6906-C6A6-B4EB1602509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265718" y="3853233"/>
            <a:ext cx="243232" cy="266683"/>
            <a:chOff x="-3127" y="-1343"/>
            <a:chExt cx="2852" cy="3127"/>
          </a:xfrm>
          <a:solidFill>
            <a:schemeClr val="accent3"/>
          </a:solidFill>
        </p:grpSpPr>
        <p:sp>
          <p:nvSpPr>
            <p:cNvPr id="99" name="Freeform 960">
              <a:extLst>
                <a:ext uri="{FF2B5EF4-FFF2-40B4-BE49-F238E27FC236}">
                  <a16:creationId xmlns:a16="http://schemas.microsoft.com/office/drawing/2014/main" id="{87115B76-34C2-D6F3-B964-C0F536904C1C}"/>
                </a:ext>
              </a:extLst>
            </p:cNvPr>
            <p:cNvSpPr>
              <a:spLocks/>
            </p:cNvSpPr>
            <p:nvPr/>
          </p:nvSpPr>
          <p:spPr bwMode="auto">
            <a:xfrm>
              <a:off x="-3127" y="-991"/>
              <a:ext cx="2852" cy="2234"/>
            </a:xfrm>
            <a:custGeom>
              <a:avLst/>
              <a:gdLst>
                <a:gd name="T0" fmla="*/ 281 w 5704"/>
                <a:gd name="T1" fmla="*/ 8 h 4470"/>
                <a:gd name="T2" fmla="*/ 1078 w 5704"/>
                <a:gd name="T3" fmla="*/ 248 h 4470"/>
                <a:gd name="T4" fmla="*/ 1140 w 5704"/>
                <a:gd name="T5" fmla="*/ 297 h 4470"/>
                <a:gd name="T6" fmla="*/ 1182 w 5704"/>
                <a:gd name="T7" fmla="*/ 364 h 4470"/>
                <a:gd name="T8" fmla="*/ 1196 w 5704"/>
                <a:gd name="T9" fmla="*/ 407 h 4470"/>
                <a:gd name="T10" fmla="*/ 1386 w 5704"/>
                <a:gd name="T11" fmla="*/ 1176 h 4470"/>
                <a:gd name="T12" fmla="*/ 5385 w 5704"/>
                <a:gd name="T13" fmla="*/ 1547 h 4470"/>
                <a:gd name="T14" fmla="*/ 5499 w 5704"/>
                <a:gd name="T15" fmla="*/ 1577 h 4470"/>
                <a:gd name="T16" fmla="*/ 5594 w 5704"/>
                <a:gd name="T17" fmla="*/ 1636 h 4470"/>
                <a:gd name="T18" fmla="*/ 5663 w 5704"/>
                <a:gd name="T19" fmla="*/ 1722 h 4470"/>
                <a:gd name="T20" fmla="*/ 5701 w 5704"/>
                <a:gd name="T21" fmla="*/ 1822 h 4470"/>
                <a:gd name="T22" fmla="*/ 5699 w 5704"/>
                <a:gd name="T23" fmla="*/ 1933 h 4470"/>
                <a:gd name="T24" fmla="*/ 5419 w 5704"/>
                <a:gd name="T25" fmla="*/ 3312 h 4470"/>
                <a:gd name="T26" fmla="*/ 5358 w 5704"/>
                <a:gd name="T27" fmla="*/ 3409 h 4470"/>
                <a:gd name="T28" fmla="*/ 5265 w 5704"/>
                <a:gd name="T29" fmla="*/ 3479 h 4470"/>
                <a:gd name="T30" fmla="*/ 5151 w 5704"/>
                <a:gd name="T31" fmla="*/ 3519 h 4470"/>
                <a:gd name="T32" fmla="*/ 1842 w 5704"/>
                <a:gd name="T33" fmla="*/ 3523 h 4470"/>
                <a:gd name="T34" fmla="*/ 5032 w 5704"/>
                <a:gd name="T35" fmla="*/ 4029 h 4470"/>
                <a:gd name="T36" fmla="*/ 5128 w 5704"/>
                <a:gd name="T37" fmla="*/ 4051 h 4470"/>
                <a:gd name="T38" fmla="*/ 5203 w 5704"/>
                <a:gd name="T39" fmla="*/ 4110 h 4470"/>
                <a:gd name="T40" fmla="*/ 5246 w 5704"/>
                <a:gd name="T41" fmla="*/ 4198 h 4470"/>
                <a:gd name="T42" fmla="*/ 5246 w 5704"/>
                <a:gd name="T43" fmla="*/ 4299 h 4470"/>
                <a:gd name="T44" fmla="*/ 5203 w 5704"/>
                <a:gd name="T45" fmla="*/ 4386 h 4470"/>
                <a:gd name="T46" fmla="*/ 5128 w 5704"/>
                <a:gd name="T47" fmla="*/ 4447 h 4470"/>
                <a:gd name="T48" fmla="*/ 5032 w 5704"/>
                <a:gd name="T49" fmla="*/ 4468 h 4470"/>
                <a:gd name="T50" fmla="*/ 1720 w 5704"/>
                <a:gd name="T51" fmla="*/ 4466 h 4470"/>
                <a:gd name="T52" fmla="*/ 1639 w 5704"/>
                <a:gd name="T53" fmla="*/ 4428 h 4470"/>
                <a:gd name="T54" fmla="*/ 1578 w 5704"/>
                <a:gd name="T55" fmla="*/ 4363 h 4470"/>
                <a:gd name="T56" fmla="*/ 1547 w 5704"/>
                <a:gd name="T57" fmla="*/ 4280 h 4470"/>
                <a:gd name="T58" fmla="*/ 158 w 5704"/>
                <a:gd name="T59" fmla="*/ 432 h 4470"/>
                <a:gd name="T60" fmla="*/ 80 w 5704"/>
                <a:gd name="T61" fmla="*/ 392 h 4470"/>
                <a:gd name="T62" fmla="*/ 25 w 5704"/>
                <a:gd name="T63" fmla="*/ 326 h 4470"/>
                <a:gd name="T64" fmla="*/ 0 w 5704"/>
                <a:gd name="T65" fmla="*/ 246 h 4470"/>
                <a:gd name="T66" fmla="*/ 8 w 5704"/>
                <a:gd name="T67" fmla="*/ 158 h 4470"/>
                <a:gd name="T68" fmla="*/ 49 w 5704"/>
                <a:gd name="T69" fmla="*/ 80 h 4470"/>
                <a:gd name="T70" fmla="*/ 114 w 5704"/>
                <a:gd name="T71" fmla="*/ 27 h 4470"/>
                <a:gd name="T72" fmla="*/ 194 w 5704"/>
                <a:gd name="T73" fmla="*/ 0 h 4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704" h="4470">
                  <a:moveTo>
                    <a:pt x="238" y="0"/>
                  </a:moveTo>
                  <a:lnTo>
                    <a:pt x="281" y="8"/>
                  </a:lnTo>
                  <a:lnTo>
                    <a:pt x="1038" y="232"/>
                  </a:lnTo>
                  <a:lnTo>
                    <a:pt x="1078" y="248"/>
                  </a:lnTo>
                  <a:lnTo>
                    <a:pt x="1112" y="269"/>
                  </a:lnTo>
                  <a:lnTo>
                    <a:pt x="1140" y="297"/>
                  </a:lnTo>
                  <a:lnTo>
                    <a:pt x="1163" y="328"/>
                  </a:lnTo>
                  <a:lnTo>
                    <a:pt x="1182" y="364"/>
                  </a:lnTo>
                  <a:lnTo>
                    <a:pt x="1190" y="385"/>
                  </a:lnTo>
                  <a:lnTo>
                    <a:pt x="1196" y="407"/>
                  </a:lnTo>
                  <a:lnTo>
                    <a:pt x="1355" y="1176"/>
                  </a:lnTo>
                  <a:lnTo>
                    <a:pt x="1386" y="1176"/>
                  </a:lnTo>
                  <a:lnTo>
                    <a:pt x="1418" y="1178"/>
                  </a:lnTo>
                  <a:lnTo>
                    <a:pt x="5385" y="1547"/>
                  </a:lnTo>
                  <a:lnTo>
                    <a:pt x="5444" y="1558"/>
                  </a:lnTo>
                  <a:lnTo>
                    <a:pt x="5499" y="1577"/>
                  </a:lnTo>
                  <a:lnTo>
                    <a:pt x="5550" y="1604"/>
                  </a:lnTo>
                  <a:lnTo>
                    <a:pt x="5594" y="1636"/>
                  </a:lnTo>
                  <a:lnTo>
                    <a:pt x="5632" y="1676"/>
                  </a:lnTo>
                  <a:lnTo>
                    <a:pt x="5663" y="1722"/>
                  </a:lnTo>
                  <a:lnTo>
                    <a:pt x="5685" y="1769"/>
                  </a:lnTo>
                  <a:lnTo>
                    <a:pt x="5701" y="1822"/>
                  </a:lnTo>
                  <a:lnTo>
                    <a:pt x="5704" y="1876"/>
                  </a:lnTo>
                  <a:lnTo>
                    <a:pt x="5699" y="1933"/>
                  </a:lnTo>
                  <a:lnTo>
                    <a:pt x="5436" y="3256"/>
                  </a:lnTo>
                  <a:lnTo>
                    <a:pt x="5419" y="3312"/>
                  </a:lnTo>
                  <a:lnTo>
                    <a:pt x="5393" y="3363"/>
                  </a:lnTo>
                  <a:lnTo>
                    <a:pt x="5358" y="3409"/>
                  </a:lnTo>
                  <a:lnTo>
                    <a:pt x="5315" y="3448"/>
                  </a:lnTo>
                  <a:lnTo>
                    <a:pt x="5265" y="3479"/>
                  </a:lnTo>
                  <a:lnTo>
                    <a:pt x="5210" y="3504"/>
                  </a:lnTo>
                  <a:lnTo>
                    <a:pt x="5151" y="3519"/>
                  </a:lnTo>
                  <a:lnTo>
                    <a:pt x="5089" y="3523"/>
                  </a:lnTo>
                  <a:lnTo>
                    <a:pt x="1842" y="3523"/>
                  </a:lnTo>
                  <a:lnTo>
                    <a:pt x="1946" y="4030"/>
                  </a:lnTo>
                  <a:lnTo>
                    <a:pt x="5032" y="4029"/>
                  </a:lnTo>
                  <a:lnTo>
                    <a:pt x="5081" y="4034"/>
                  </a:lnTo>
                  <a:lnTo>
                    <a:pt x="5128" y="4051"/>
                  </a:lnTo>
                  <a:lnTo>
                    <a:pt x="5168" y="4076"/>
                  </a:lnTo>
                  <a:lnTo>
                    <a:pt x="5203" y="4110"/>
                  </a:lnTo>
                  <a:lnTo>
                    <a:pt x="5229" y="4152"/>
                  </a:lnTo>
                  <a:lnTo>
                    <a:pt x="5246" y="4198"/>
                  </a:lnTo>
                  <a:lnTo>
                    <a:pt x="5252" y="4249"/>
                  </a:lnTo>
                  <a:lnTo>
                    <a:pt x="5246" y="4299"/>
                  </a:lnTo>
                  <a:lnTo>
                    <a:pt x="5229" y="4346"/>
                  </a:lnTo>
                  <a:lnTo>
                    <a:pt x="5203" y="4386"/>
                  </a:lnTo>
                  <a:lnTo>
                    <a:pt x="5168" y="4420"/>
                  </a:lnTo>
                  <a:lnTo>
                    <a:pt x="5128" y="4447"/>
                  </a:lnTo>
                  <a:lnTo>
                    <a:pt x="5081" y="4462"/>
                  </a:lnTo>
                  <a:lnTo>
                    <a:pt x="5032" y="4468"/>
                  </a:lnTo>
                  <a:lnTo>
                    <a:pt x="1766" y="4470"/>
                  </a:lnTo>
                  <a:lnTo>
                    <a:pt x="1720" y="4466"/>
                  </a:lnTo>
                  <a:lnTo>
                    <a:pt x="1677" y="4451"/>
                  </a:lnTo>
                  <a:lnTo>
                    <a:pt x="1639" y="4428"/>
                  </a:lnTo>
                  <a:lnTo>
                    <a:pt x="1604" y="4399"/>
                  </a:lnTo>
                  <a:lnTo>
                    <a:pt x="1578" y="4363"/>
                  </a:lnTo>
                  <a:lnTo>
                    <a:pt x="1559" y="4323"/>
                  </a:lnTo>
                  <a:lnTo>
                    <a:pt x="1547" y="4280"/>
                  </a:lnTo>
                  <a:lnTo>
                    <a:pt x="789" y="619"/>
                  </a:lnTo>
                  <a:lnTo>
                    <a:pt x="158" y="432"/>
                  </a:lnTo>
                  <a:lnTo>
                    <a:pt x="116" y="415"/>
                  </a:lnTo>
                  <a:lnTo>
                    <a:pt x="80" y="392"/>
                  </a:lnTo>
                  <a:lnTo>
                    <a:pt x="49" y="362"/>
                  </a:lnTo>
                  <a:lnTo>
                    <a:pt x="25" y="326"/>
                  </a:lnTo>
                  <a:lnTo>
                    <a:pt x="10" y="288"/>
                  </a:lnTo>
                  <a:lnTo>
                    <a:pt x="0" y="246"/>
                  </a:lnTo>
                  <a:lnTo>
                    <a:pt x="0" y="202"/>
                  </a:lnTo>
                  <a:lnTo>
                    <a:pt x="8" y="158"/>
                  </a:lnTo>
                  <a:lnTo>
                    <a:pt x="25" y="116"/>
                  </a:lnTo>
                  <a:lnTo>
                    <a:pt x="49" y="80"/>
                  </a:lnTo>
                  <a:lnTo>
                    <a:pt x="80" y="50"/>
                  </a:lnTo>
                  <a:lnTo>
                    <a:pt x="114" y="27"/>
                  </a:lnTo>
                  <a:lnTo>
                    <a:pt x="154" y="10"/>
                  </a:lnTo>
                  <a:lnTo>
                    <a:pt x="194" y="0"/>
                  </a:lnTo>
                  <a:lnTo>
                    <a:pt x="23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0" name="Freeform 961">
              <a:extLst>
                <a:ext uri="{FF2B5EF4-FFF2-40B4-BE49-F238E27FC236}">
                  <a16:creationId xmlns:a16="http://schemas.microsoft.com/office/drawing/2014/main" id="{6FD697D6-5F78-6926-FEE4-834A01139911}"/>
                </a:ext>
              </a:extLst>
            </p:cNvPr>
            <p:cNvSpPr>
              <a:spLocks/>
            </p:cNvSpPr>
            <p:nvPr/>
          </p:nvSpPr>
          <p:spPr bwMode="auto">
            <a:xfrm>
              <a:off x="-2150" y="1343"/>
              <a:ext cx="440" cy="441"/>
            </a:xfrm>
            <a:custGeom>
              <a:avLst/>
              <a:gdLst>
                <a:gd name="T0" fmla="*/ 439 w 880"/>
                <a:gd name="T1" fmla="*/ 0 h 883"/>
                <a:gd name="T2" fmla="*/ 511 w 880"/>
                <a:gd name="T3" fmla="*/ 6 h 883"/>
                <a:gd name="T4" fmla="*/ 580 w 880"/>
                <a:gd name="T5" fmla="*/ 23 h 883"/>
                <a:gd name="T6" fmla="*/ 643 w 880"/>
                <a:gd name="T7" fmla="*/ 50 h 883"/>
                <a:gd name="T8" fmla="*/ 700 w 880"/>
                <a:gd name="T9" fmla="*/ 86 h 883"/>
                <a:gd name="T10" fmla="*/ 751 w 880"/>
                <a:gd name="T11" fmla="*/ 130 h 883"/>
                <a:gd name="T12" fmla="*/ 795 w 880"/>
                <a:gd name="T13" fmla="*/ 181 h 883"/>
                <a:gd name="T14" fmla="*/ 831 w 880"/>
                <a:gd name="T15" fmla="*/ 238 h 883"/>
                <a:gd name="T16" fmla="*/ 857 w 880"/>
                <a:gd name="T17" fmla="*/ 303 h 883"/>
                <a:gd name="T18" fmla="*/ 874 w 880"/>
                <a:gd name="T19" fmla="*/ 369 h 883"/>
                <a:gd name="T20" fmla="*/ 880 w 880"/>
                <a:gd name="T21" fmla="*/ 442 h 883"/>
                <a:gd name="T22" fmla="*/ 874 w 880"/>
                <a:gd name="T23" fmla="*/ 512 h 883"/>
                <a:gd name="T24" fmla="*/ 857 w 880"/>
                <a:gd name="T25" fmla="*/ 580 h 883"/>
                <a:gd name="T26" fmla="*/ 831 w 880"/>
                <a:gd name="T27" fmla="*/ 643 h 883"/>
                <a:gd name="T28" fmla="*/ 795 w 880"/>
                <a:gd name="T29" fmla="*/ 702 h 883"/>
                <a:gd name="T30" fmla="*/ 751 w 880"/>
                <a:gd name="T31" fmla="*/ 754 h 883"/>
                <a:gd name="T32" fmla="*/ 700 w 880"/>
                <a:gd name="T33" fmla="*/ 797 h 883"/>
                <a:gd name="T34" fmla="*/ 643 w 880"/>
                <a:gd name="T35" fmla="*/ 833 h 883"/>
                <a:gd name="T36" fmla="*/ 580 w 880"/>
                <a:gd name="T37" fmla="*/ 860 h 883"/>
                <a:gd name="T38" fmla="*/ 511 w 880"/>
                <a:gd name="T39" fmla="*/ 877 h 883"/>
                <a:gd name="T40" fmla="*/ 439 w 880"/>
                <a:gd name="T41" fmla="*/ 883 h 883"/>
                <a:gd name="T42" fmla="*/ 369 w 880"/>
                <a:gd name="T43" fmla="*/ 877 h 883"/>
                <a:gd name="T44" fmla="*/ 300 w 880"/>
                <a:gd name="T45" fmla="*/ 860 h 883"/>
                <a:gd name="T46" fmla="*/ 238 w 880"/>
                <a:gd name="T47" fmla="*/ 833 h 883"/>
                <a:gd name="T48" fmla="*/ 181 w 880"/>
                <a:gd name="T49" fmla="*/ 797 h 883"/>
                <a:gd name="T50" fmla="*/ 129 w 880"/>
                <a:gd name="T51" fmla="*/ 754 h 883"/>
                <a:gd name="T52" fmla="*/ 86 w 880"/>
                <a:gd name="T53" fmla="*/ 702 h 883"/>
                <a:gd name="T54" fmla="*/ 49 w 880"/>
                <a:gd name="T55" fmla="*/ 643 h 883"/>
                <a:gd name="T56" fmla="*/ 23 w 880"/>
                <a:gd name="T57" fmla="*/ 580 h 883"/>
                <a:gd name="T58" fmla="*/ 6 w 880"/>
                <a:gd name="T59" fmla="*/ 512 h 883"/>
                <a:gd name="T60" fmla="*/ 0 w 880"/>
                <a:gd name="T61" fmla="*/ 442 h 883"/>
                <a:gd name="T62" fmla="*/ 6 w 880"/>
                <a:gd name="T63" fmla="*/ 369 h 883"/>
                <a:gd name="T64" fmla="*/ 23 w 880"/>
                <a:gd name="T65" fmla="*/ 303 h 883"/>
                <a:gd name="T66" fmla="*/ 49 w 880"/>
                <a:gd name="T67" fmla="*/ 238 h 883"/>
                <a:gd name="T68" fmla="*/ 86 w 880"/>
                <a:gd name="T69" fmla="*/ 181 h 883"/>
                <a:gd name="T70" fmla="*/ 129 w 880"/>
                <a:gd name="T71" fmla="*/ 130 h 883"/>
                <a:gd name="T72" fmla="*/ 181 w 880"/>
                <a:gd name="T73" fmla="*/ 86 h 883"/>
                <a:gd name="T74" fmla="*/ 238 w 880"/>
                <a:gd name="T75" fmla="*/ 50 h 883"/>
                <a:gd name="T76" fmla="*/ 300 w 880"/>
                <a:gd name="T77" fmla="*/ 23 h 883"/>
                <a:gd name="T78" fmla="*/ 369 w 880"/>
                <a:gd name="T79" fmla="*/ 6 h 883"/>
                <a:gd name="T80" fmla="*/ 439 w 880"/>
                <a:gd name="T81" fmla="*/ 0 h 8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80" h="883">
                  <a:moveTo>
                    <a:pt x="439" y="0"/>
                  </a:moveTo>
                  <a:lnTo>
                    <a:pt x="511" y="6"/>
                  </a:lnTo>
                  <a:lnTo>
                    <a:pt x="580" y="23"/>
                  </a:lnTo>
                  <a:lnTo>
                    <a:pt x="643" y="50"/>
                  </a:lnTo>
                  <a:lnTo>
                    <a:pt x="700" y="86"/>
                  </a:lnTo>
                  <a:lnTo>
                    <a:pt x="751" y="130"/>
                  </a:lnTo>
                  <a:lnTo>
                    <a:pt x="795" y="181"/>
                  </a:lnTo>
                  <a:lnTo>
                    <a:pt x="831" y="238"/>
                  </a:lnTo>
                  <a:lnTo>
                    <a:pt x="857" y="303"/>
                  </a:lnTo>
                  <a:lnTo>
                    <a:pt x="874" y="369"/>
                  </a:lnTo>
                  <a:lnTo>
                    <a:pt x="880" y="442"/>
                  </a:lnTo>
                  <a:lnTo>
                    <a:pt x="874" y="512"/>
                  </a:lnTo>
                  <a:lnTo>
                    <a:pt x="857" y="580"/>
                  </a:lnTo>
                  <a:lnTo>
                    <a:pt x="831" y="643"/>
                  </a:lnTo>
                  <a:lnTo>
                    <a:pt x="795" y="702"/>
                  </a:lnTo>
                  <a:lnTo>
                    <a:pt x="751" y="754"/>
                  </a:lnTo>
                  <a:lnTo>
                    <a:pt x="700" y="797"/>
                  </a:lnTo>
                  <a:lnTo>
                    <a:pt x="643" y="833"/>
                  </a:lnTo>
                  <a:lnTo>
                    <a:pt x="580" y="860"/>
                  </a:lnTo>
                  <a:lnTo>
                    <a:pt x="511" y="877"/>
                  </a:lnTo>
                  <a:lnTo>
                    <a:pt x="439" y="883"/>
                  </a:lnTo>
                  <a:lnTo>
                    <a:pt x="369" y="877"/>
                  </a:lnTo>
                  <a:lnTo>
                    <a:pt x="300" y="860"/>
                  </a:lnTo>
                  <a:lnTo>
                    <a:pt x="238" y="833"/>
                  </a:lnTo>
                  <a:lnTo>
                    <a:pt x="181" y="797"/>
                  </a:lnTo>
                  <a:lnTo>
                    <a:pt x="129" y="754"/>
                  </a:lnTo>
                  <a:lnTo>
                    <a:pt x="86" y="702"/>
                  </a:lnTo>
                  <a:lnTo>
                    <a:pt x="49" y="643"/>
                  </a:lnTo>
                  <a:lnTo>
                    <a:pt x="23" y="580"/>
                  </a:lnTo>
                  <a:lnTo>
                    <a:pt x="6" y="512"/>
                  </a:lnTo>
                  <a:lnTo>
                    <a:pt x="0" y="442"/>
                  </a:lnTo>
                  <a:lnTo>
                    <a:pt x="6" y="369"/>
                  </a:lnTo>
                  <a:lnTo>
                    <a:pt x="23" y="303"/>
                  </a:lnTo>
                  <a:lnTo>
                    <a:pt x="49" y="238"/>
                  </a:lnTo>
                  <a:lnTo>
                    <a:pt x="86" y="181"/>
                  </a:lnTo>
                  <a:lnTo>
                    <a:pt x="129" y="130"/>
                  </a:lnTo>
                  <a:lnTo>
                    <a:pt x="181" y="86"/>
                  </a:lnTo>
                  <a:lnTo>
                    <a:pt x="238" y="50"/>
                  </a:lnTo>
                  <a:lnTo>
                    <a:pt x="300" y="23"/>
                  </a:lnTo>
                  <a:lnTo>
                    <a:pt x="369" y="6"/>
                  </a:lnTo>
                  <a:lnTo>
                    <a:pt x="43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1" name="Freeform 962">
              <a:extLst>
                <a:ext uri="{FF2B5EF4-FFF2-40B4-BE49-F238E27FC236}">
                  <a16:creationId xmlns:a16="http://schemas.microsoft.com/office/drawing/2014/main" id="{B190AF8F-07D9-013F-41B8-F6AAC3493161}"/>
                </a:ext>
              </a:extLst>
            </p:cNvPr>
            <p:cNvSpPr>
              <a:spLocks/>
            </p:cNvSpPr>
            <p:nvPr/>
          </p:nvSpPr>
          <p:spPr bwMode="auto">
            <a:xfrm>
              <a:off x="-1098" y="1343"/>
              <a:ext cx="440" cy="441"/>
            </a:xfrm>
            <a:custGeom>
              <a:avLst/>
              <a:gdLst>
                <a:gd name="T0" fmla="*/ 441 w 880"/>
                <a:gd name="T1" fmla="*/ 0 h 883"/>
                <a:gd name="T2" fmla="*/ 512 w 880"/>
                <a:gd name="T3" fmla="*/ 6 h 883"/>
                <a:gd name="T4" fmla="*/ 580 w 880"/>
                <a:gd name="T5" fmla="*/ 23 h 883"/>
                <a:gd name="T6" fmla="*/ 643 w 880"/>
                <a:gd name="T7" fmla="*/ 50 h 883"/>
                <a:gd name="T8" fmla="*/ 700 w 880"/>
                <a:gd name="T9" fmla="*/ 86 h 883"/>
                <a:gd name="T10" fmla="*/ 751 w 880"/>
                <a:gd name="T11" fmla="*/ 130 h 883"/>
                <a:gd name="T12" fmla="*/ 797 w 880"/>
                <a:gd name="T13" fmla="*/ 181 h 883"/>
                <a:gd name="T14" fmla="*/ 831 w 880"/>
                <a:gd name="T15" fmla="*/ 238 h 883"/>
                <a:gd name="T16" fmla="*/ 859 w 880"/>
                <a:gd name="T17" fmla="*/ 303 h 883"/>
                <a:gd name="T18" fmla="*/ 875 w 880"/>
                <a:gd name="T19" fmla="*/ 369 h 883"/>
                <a:gd name="T20" fmla="*/ 880 w 880"/>
                <a:gd name="T21" fmla="*/ 442 h 883"/>
                <a:gd name="T22" fmla="*/ 875 w 880"/>
                <a:gd name="T23" fmla="*/ 512 h 883"/>
                <a:gd name="T24" fmla="*/ 859 w 880"/>
                <a:gd name="T25" fmla="*/ 580 h 883"/>
                <a:gd name="T26" fmla="*/ 831 w 880"/>
                <a:gd name="T27" fmla="*/ 643 h 883"/>
                <a:gd name="T28" fmla="*/ 797 w 880"/>
                <a:gd name="T29" fmla="*/ 702 h 883"/>
                <a:gd name="T30" fmla="*/ 751 w 880"/>
                <a:gd name="T31" fmla="*/ 754 h 883"/>
                <a:gd name="T32" fmla="*/ 700 w 880"/>
                <a:gd name="T33" fmla="*/ 797 h 883"/>
                <a:gd name="T34" fmla="*/ 643 w 880"/>
                <a:gd name="T35" fmla="*/ 833 h 883"/>
                <a:gd name="T36" fmla="*/ 580 w 880"/>
                <a:gd name="T37" fmla="*/ 860 h 883"/>
                <a:gd name="T38" fmla="*/ 512 w 880"/>
                <a:gd name="T39" fmla="*/ 877 h 883"/>
                <a:gd name="T40" fmla="*/ 441 w 880"/>
                <a:gd name="T41" fmla="*/ 883 h 883"/>
                <a:gd name="T42" fmla="*/ 369 w 880"/>
                <a:gd name="T43" fmla="*/ 877 h 883"/>
                <a:gd name="T44" fmla="*/ 301 w 880"/>
                <a:gd name="T45" fmla="*/ 860 h 883"/>
                <a:gd name="T46" fmla="*/ 238 w 880"/>
                <a:gd name="T47" fmla="*/ 833 h 883"/>
                <a:gd name="T48" fmla="*/ 181 w 880"/>
                <a:gd name="T49" fmla="*/ 797 h 883"/>
                <a:gd name="T50" fmla="*/ 130 w 880"/>
                <a:gd name="T51" fmla="*/ 754 h 883"/>
                <a:gd name="T52" fmla="*/ 86 w 880"/>
                <a:gd name="T53" fmla="*/ 702 h 883"/>
                <a:gd name="T54" fmla="*/ 50 w 880"/>
                <a:gd name="T55" fmla="*/ 643 h 883"/>
                <a:gd name="T56" fmla="*/ 23 w 880"/>
                <a:gd name="T57" fmla="*/ 580 h 883"/>
                <a:gd name="T58" fmla="*/ 6 w 880"/>
                <a:gd name="T59" fmla="*/ 512 h 883"/>
                <a:gd name="T60" fmla="*/ 0 w 880"/>
                <a:gd name="T61" fmla="*/ 442 h 883"/>
                <a:gd name="T62" fmla="*/ 6 w 880"/>
                <a:gd name="T63" fmla="*/ 369 h 883"/>
                <a:gd name="T64" fmla="*/ 23 w 880"/>
                <a:gd name="T65" fmla="*/ 303 h 883"/>
                <a:gd name="T66" fmla="*/ 50 w 880"/>
                <a:gd name="T67" fmla="*/ 238 h 883"/>
                <a:gd name="T68" fmla="*/ 86 w 880"/>
                <a:gd name="T69" fmla="*/ 181 h 883"/>
                <a:gd name="T70" fmla="*/ 130 w 880"/>
                <a:gd name="T71" fmla="*/ 130 h 883"/>
                <a:gd name="T72" fmla="*/ 181 w 880"/>
                <a:gd name="T73" fmla="*/ 86 h 883"/>
                <a:gd name="T74" fmla="*/ 238 w 880"/>
                <a:gd name="T75" fmla="*/ 50 h 883"/>
                <a:gd name="T76" fmla="*/ 301 w 880"/>
                <a:gd name="T77" fmla="*/ 23 h 883"/>
                <a:gd name="T78" fmla="*/ 369 w 880"/>
                <a:gd name="T79" fmla="*/ 6 h 883"/>
                <a:gd name="T80" fmla="*/ 441 w 880"/>
                <a:gd name="T81" fmla="*/ 0 h 8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80" h="883">
                  <a:moveTo>
                    <a:pt x="441" y="0"/>
                  </a:moveTo>
                  <a:lnTo>
                    <a:pt x="512" y="6"/>
                  </a:lnTo>
                  <a:lnTo>
                    <a:pt x="580" y="23"/>
                  </a:lnTo>
                  <a:lnTo>
                    <a:pt x="643" y="50"/>
                  </a:lnTo>
                  <a:lnTo>
                    <a:pt x="700" y="86"/>
                  </a:lnTo>
                  <a:lnTo>
                    <a:pt x="751" y="130"/>
                  </a:lnTo>
                  <a:lnTo>
                    <a:pt x="797" y="181"/>
                  </a:lnTo>
                  <a:lnTo>
                    <a:pt x="831" y="238"/>
                  </a:lnTo>
                  <a:lnTo>
                    <a:pt x="859" y="303"/>
                  </a:lnTo>
                  <a:lnTo>
                    <a:pt x="875" y="369"/>
                  </a:lnTo>
                  <a:lnTo>
                    <a:pt x="880" y="442"/>
                  </a:lnTo>
                  <a:lnTo>
                    <a:pt x="875" y="512"/>
                  </a:lnTo>
                  <a:lnTo>
                    <a:pt x="859" y="580"/>
                  </a:lnTo>
                  <a:lnTo>
                    <a:pt x="831" y="643"/>
                  </a:lnTo>
                  <a:lnTo>
                    <a:pt x="797" y="702"/>
                  </a:lnTo>
                  <a:lnTo>
                    <a:pt x="751" y="754"/>
                  </a:lnTo>
                  <a:lnTo>
                    <a:pt x="700" y="797"/>
                  </a:lnTo>
                  <a:lnTo>
                    <a:pt x="643" y="833"/>
                  </a:lnTo>
                  <a:lnTo>
                    <a:pt x="580" y="860"/>
                  </a:lnTo>
                  <a:lnTo>
                    <a:pt x="512" y="877"/>
                  </a:lnTo>
                  <a:lnTo>
                    <a:pt x="441" y="883"/>
                  </a:lnTo>
                  <a:lnTo>
                    <a:pt x="369" y="877"/>
                  </a:lnTo>
                  <a:lnTo>
                    <a:pt x="301" y="860"/>
                  </a:lnTo>
                  <a:lnTo>
                    <a:pt x="238" y="833"/>
                  </a:lnTo>
                  <a:lnTo>
                    <a:pt x="181" y="797"/>
                  </a:lnTo>
                  <a:lnTo>
                    <a:pt x="130" y="754"/>
                  </a:lnTo>
                  <a:lnTo>
                    <a:pt x="86" y="702"/>
                  </a:lnTo>
                  <a:lnTo>
                    <a:pt x="50" y="643"/>
                  </a:lnTo>
                  <a:lnTo>
                    <a:pt x="23" y="580"/>
                  </a:lnTo>
                  <a:lnTo>
                    <a:pt x="6" y="512"/>
                  </a:lnTo>
                  <a:lnTo>
                    <a:pt x="0" y="442"/>
                  </a:lnTo>
                  <a:lnTo>
                    <a:pt x="6" y="369"/>
                  </a:lnTo>
                  <a:lnTo>
                    <a:pt x="23" y="303"/>
                  </a:lnTo>
                  <a:lnTo>
                    <a:pt x="50" y="238"/>
                  </a:lnTo>
                  <a:lnTo>
                    <a:pt x="86" y="181"/>
                  </a:lnTo>
                  <a:lnTo>
                    <a:pt x="130" y="130"/>
                  </a:lnTo>
                  <a:lnTo>
                    <a:pt x="181" y="86"/>
                  </a:lnTo>
                  <a:lnTo>
                    <a:pt x="238" y="50"/>
                  </a:lnTo>
                  <a:lnTo>
                    <a:pt x="301" y="23"/>
                  </a:lnTo>
                  <a:lnTo>
                    <a:pt x="369" y="6"/>
                  </a:lnTo>
                  <a:lnTo>
                    <a:pt x="44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2" name="Freeform 963">
              <a:extLst>
                <a:ext uri="{FF2B5EF4-FFF2-40B4-BE49-F238E27FC236}">
                  <a16:creationId xmlns:a16="http://schemas.microsoft.com/office/drawing/2014/main" id="{B0788F7C-BD2A-E59B-927E-33C49C0CFB06}"/>
                </a:ext>
              </a:extLst>
            </p:cNvPr>
            <p:cNvSpPr>
              <a:spLocks/>
            </p:cNvSpPr>
            <p:nvPr/>
          </p:nvSpPr>
          <p:spPr bwMode="auto">
            <a:xfrm>
              <a:off x="-2179" y="-1343"/>
              <a:ext cx="1598" cy="992"/>
            </a:xfrm>
            <a:custGeom>
              <a:avLst/>
              <a:gdLst>
                <a:gd name="T0" fmla="*/ 1857 w 3197"/>
                <a:gd name="T1" fmla="*/ 21 h 1983"/>
                <a:gd name="T2" fmla="*/ 1926 w 3197"/>
                <a:gd name="T3" fmla="*/ 45 h 1983"/>
                <a:gd name="T4" fmla="*/ 1969 w 3197"/>
                <a:gd name="T5" fmla="*/ 99 h 1983"/>
                <a:gd name="T6" fmla="*/ 1981 w 3197"/>
                <a:gd name="T7" fmla="*/ 171 h 1983"/>
                <a:gd name="T8" fmla="*/ 2059 w 3197"/>
                <a:gd name="T9" fmla="*/ 409 h 1983"/>
                <a:gd name="T10" fmla="*/ 2239 w 3197"/>
                <a:gd name="T11" fmla="*/ 496 h 1983"/>
                <a:gd name="T12" fmla="*/ 2403 w 3197"/>
                <a:gd name="T13" fmla="*/ 608 h 1983"/>
                <a:gd name="T14" fmla="*/ 2595 w 3197"/>
                <a:gd name="T15" fmla="*/ 458 h 1983"/>
                <a:gd name="T16" fmla="*/ 2663 w 3197"/>
                <a:gd name="T17" fmla="*/ 447 h 1983"/>
                <a:gd name="T18" fmla="*/ 2730 w 3197"/>
                <a:gd name="T19" fmla="*/ 470 h 1983"/>
                <a:gd name="T20" fmla="*/ 2899 w 3197"/>
                <a:gd name="T21" fmla="*/ 665 h 1983"/>
                <a:gd name="T22" fmla="*/ 2927 w 3197"/>
                <a:gd name="T23" fmla="*/ 732 h 1983"/>
                <a:gd name="T24" fmla="*/ 2922 w 3197"/>
                <a:gd name="T25" fmla="*/ 802 h 1983"/>
                <a:gd name="T26" fmla="*/ 2880 w 3197"/>
                <a:gd name="T27" fmla="*/ 861 h 1983"/>
                <a:gd name="T28" fmla="*/ 2766 w 3197"/>
                <a:gd name="T29" fmla="*/ 1082 h 1983"/>
                <a:gd name="T30" fmla="*/ 2832 w 3197"/>
                <a:gd name="T31" fmla="*/ 1270 h 1983"/>
                <a:gd name="T32" fmla="*/ 2868 w 3197"/>
                <a:gd name="T33" fmla="*/ 1470 h 1983"/>
                <a:gd name="T34" fmla="*/ 3110 w 3197"/>
                <a:gd name="T35" fmla="*/ 1497 h 1983"/>
                <a:gd name="T36" fmla="*/ 3167 w 3197"/>
                <a:gd name="T37" fmla="*/ 1536 h 1983"/>
                <a:gd name="T38" fmla="*/ 3195 w 3197"/>
                <a:gd name="T39" fmla="*/ 1601 h 1983"/>
                <a:gd name="T40" fmla="*/ 3176 w 3197"/>
                <a:gd name="T41" fmla="*/ 1858 h 1983"/>
                <a:gd name="T42" fmla="*/ 3152 w 3197"/>
                <a:gd name="T43" fmla="*/ 1926 h 1983"/>
                <a:gd name="T44" fmla="*/ 3098 w 3197"/>
                <a:gd name="T45" fmla="*/ 1970 h 1983"/>
                <a:gd name="T46" fmla="*/ 3028 w 3197"/>
                <a:gd name="T47" fmla="*/ 1983 h 1983"/>
                <a:gd name="T48" fmla="*/ 2180 w 3197"/>
                <a:gd name="T49" fmla="*/ 1904 h 1983"/>
                <a:gd name="T50" fmla="*/ 2205 w 3197"/>
                <a:gd name="T51" fmla="*/ 1573 h 1983"/>
                <a:gd name="T52" fmla="*/ 2177 w 3197"/>
                <a:gd name="T53" fmla="*/ 1417 h 1983"/>
                <a:gd name="T54" fmla="*/ 2112 w 3197"/>
                <a:gd name="T55" fmla="*/ 1274 h 1983"/>
                <a:gd name="T56" fmla="*/ 2013 w 3197"/>
                <a:gd name="T57" fmla="*/ 1154 h 1983"/>
                <a:gd name="T58" fmla="*/ 1886 w 3197"/>
                <a:gd name="T59" fmla="*/ 1063 h 1983"/>
                <a:gd name="T60" fmla="*/ 1737 w 3197"/>
                <a:gd name="T61" fmla="*/ 1008 h 1983"/>
                <a:gd name="T62" fmla="*/ 1572 w 3197"/>
                <a:gd name="T63" fmla="*/ 993 h 1983"/>
                <a:gd name="T64" fmla="*/ 1414 w 3197"/>
                <a:gd name="T65" fmla="*/ 1019 h 1983"/>
                <a:gd name="T66" fmla="*/ 1274 w 3197"/>
                <a:gd name="T67" fmla="*/ 1086 h 1983"/>
                <a:gd name="T68" fmla="*/ 1154 w 3197"/>
                <a:gd name="T69" fmla="*/ 1185 h 1983"/>
                <a:gd name="T70" fmla="*/ 1063 w 3197"/>
                <a:gd name="T71" fmla="*/ 1310 h 1983"/>
                <a:gd name="T72" fmla="*/ 1006 w 3197"/>
                <a:gd name="T73" fmla="*/ 1460 h 1983"/>
                <a:gd name="T74" fmla="*/ 970 w 3197"/>
                <a:gd name="T75" fmla="*/ 1789 h 1983"/>
                <a:gd name="T76" fmla="*/ 171 w 3197"/>
                <a:gd name="T77" fmla="*/ 1715 h 1983"/>
                <a:gd name="T78" fmla="*/ 86 w 3197"/>
                <a:gd name="T79" fmla="*/ 1702 h 1983"/>
                <a:gd name="T80" fmla="*/ 29 w 3197"/>
                <a:gd name="T81" fmla="*/ 1660 h 1983"/>
                <a:gd name="T82" fmla="*/ 0 w 3197"/>
                <a:gd name="T83" fmla="*/ 1597 h 1983"/>
                <a:gd name="T84" fmla="*/ 21 w 3197"/>
                <a:gd name="T85" fmla="*/ 1339 h 1983"/>
                <a:gd name="T86" fmla="*/ 46 w 3197"/>
                <a:gd name="T87" fmla="*/ 1272 h 1983"/>
                <a:gd name="T88" fmla="*/ 101 w 3197"/>
                <a:gd name="T89" fmla="*/ 1226 h 1983"/>
                <a:gd name="T90" fmla="*/ 171 w 3197"/>
                <a:gd name="T91" fmla="*/ 1215 h 1983"/>
                <a:gd name="T92" fmla="*/ 409 w 3197"/>
                <a:gd name="T93" fmla="*/ 1139 h 1983"/>
                <a:gd name="T94" fmla="*/ 496 w 3197"/>
                <a:gd name="T95" fmla="*/ 956 h 1983"/>
                <a:gd name="T96" fmla="*/ 608 w 3197"/>
                <a:gd name="T97" fmla="*/ 795 h 1983"/>
                <a:gd name="T98" fmla="*/ 458 w 3197"/>
                <a:gd name="T99" fmla="*/ 605 h 1983"/>
                <a:gd name="T100" fmla="*/ 447 w 3197"/>
                <a:gd name="T101" fmla="*/ 534 h 1983"/>
                <a:gd name="T102" fmla="*/ 470 w 3197"/>
                <a:gd name="T103" fmla="*/ 468 h 1983"/>
                <a:gd name="T104" fmla="*/ 665 w 3197"/>
                <a:gd name="T105" fmla="*/ 300 h 1983"/>
                <a:gd name="T106" fmla="*/ 732 w 3197"/>
                <a:gd name="T107" fmla="*/ 270 h 1983"/>
                <a:gd name="T108" fmla="*/ 800 w 3197"/>
                <a:gd name="T109" fmla="*/ 276 h 1983"/>
                <a:gd name="T110" fmla="*/ 859 w 3197"/>
                <a:gd name="T111" fmla="*/ 317 h 1983"/>
                <a:gd name="T112" fmla="*/ 1080 w 3197"/>
                <a:gd name="T113" fmla="*/ 432 h 1983"/>
                <a:gd name="T114" fmla="*/ 1268 w 3197"/>
                <a:gd name="T115" fmla="*/ 365 h 1983"/>
                <a:gd name="T116" fmla="*/ 1468 w 3197"/>
                <a:gd name="T117" fmla="*/ 329 h 1983"/>
                <a:gd name="T118" fmla="*/ 1496 w 3197"/>
                <a:gd name="T119" fmla="*/ 87 h 1983"/>
                <a:gd name="T120" fmla="*/ 1536 w 3197"/>
                <a:gd name="T121" fmla="*/ 30 h 1983"/>
                <a:gd name="T122" fmla="*/ 1601 w 3197"/>
                <a:gd name="T123" fmla="*/ 2 h 19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97" h="1983">
                  <a:moveTo>
                    <a:pt x="1637" y="0"/>
                  </a:moveTo>
                  <a:lnTo>
                    <a:pt x="1857" y="21"/>
                  </a:lnTo>
                  <a:lnTo>
                    <a:pt x="1893" y="28"/>
                  </a:lnTo>
                  <a:lnTo>
                    <a:pt x="1926" y="45"/>
                  </a:lnTo>
                  <a:lnTo>
                    <a:pt x="1950" y="70"/>
                  </a:lnTo>
                  <a:lnTo>
                    <a:pt x="1969" y="99"/>
                  </a:lnTo>
                  <a:lnTo>
                    <a:pt x="1981" y="133"/>
                  </a:lnTo>
                  <a:lnTo>
                    <a:pt x="1981" y="171"/>
                  </a:lnTo>
                  <a:lnTo>
                    <a:pt x="1962" y="374"/>
                  </a:lnTo>
                  <a:lnTo>
                    <a:pt x="2059" y="409"/>
                  </a:lnTo>
                  <a:lnTo>
                    <a:pt x="2152" y="449"/>
                  </a:lnTo>
                  <a:lnTo>
                    <a:pt x="2239" y="496"/>
                  </a:lnTo>
                  <a:lnTo>
                    <a:pt x="2323" y="549"/>
                  </a:lnTo>
                  <a:lnTo>
                    <a:pt x="2403" y="608"/>
                  </a:lnTo>
                  <a:lnTo>
                    <a:pt x="2562" y="477"/>
                  </a:lnTo>
                  <a:lnTo>
                    <a:pt x="2595" y="458"/>
                  </a:lnTo>
                  <a:lnTo>
                    <a:pt x="2629" y="447"/>
                  </a:lnTo>
                  <a:lnTo>
                    <a:pt x="2663" y="447"/>
                  </a:lnTo>
                  <a:lnTo>
                    <a:pt x="2697" y="454"/>
                  </a:lnTo>
                  <a:lnTo>
                    <a:pt x="2730" y="470"/>
                  </a:lnTo>
                  <a:lnTo>
                    <a:pt x="2756" y="496"/>
                  </a:lnTo>
                  <a:lnTo>
                    <a:pt x="2899" y="665"/>
                  </a:lnTo>
                  <a:lnTo>
                    <a:pt x="2918" y="698"/>
                  </a:lnTo>
                  <a:lnTo>
                    <a:pt x="2927" y="732"/>
                  </a:lnTo>
                  <a:lnTo>
                    <a:pt x="2929" y="766"/>
                  </a:lnTo>
                  <a:lnTo>
                    <a:pt x="2922" y="802"/>
                  </a:lnTo>
                  <a:lnTo>
                    <a:pt x="2905" y="833"/>
                  </a:lnTo>
                  <a:lnTo>
                    <a:pt x="2880" y="861"/>
                  </a:lnTo>
                  <a:lnTo>
                    <a:pt x="2722" y="993"/>
                  </a:lnTo>
                  <a:lnTo>
                    <a:pt x="2766" y="1082"/>
                  </a:lnTo>
                  <a:lnTo>
                    <a:pt x="2802" y="1173"/>
                  </a:lnTo>
                  <a:lnTo>
                    <a:pt x="2832" y="1270"/>
                  </a:lnTo>
                  <a:lnTo>
                    <a:pt x="2855" y="1367"/>
                  </a:lnTo>
                  <a:lnTo>
                    <a:pt x="2868" y="1470"/>
                  </a:lnTo>
                  <a:lnTo>
                    <a:pt x="3074" y="1489"/>
                  </a:lnTo>
                  <a:lnTo>
                    <a:pt x="3110" y="1497"/>
                  </a:lnTo>
                  <a:lnTo>
                    <a:pt x="3140" y="1514"/>
                  </a:lnTo>
                  <a:lnTo>
                    <a:pt x="3167" y="1536"/>
                  </a:lnTo>
                  <a:lnTo>
                    <a:pt x="3186" y="1567"/>
                  </a:lnTo>
                  <a:lnTo>
                    <a:pt x="3195" y="1601"/>
                  </a:lnTo>
                  <a:lnTo>
                    <a:pt x="3197" y="1637"/>
                  </a:lnTo>
                  <a:lnTo>
                    <a:pt x="3176" y="1858"/>
                  </a:lnTo>
                  <a:lnTo>
                    <a:pt x="3169" y="1894"/>
                  </a:lnTo>
                  <a:lnTo>
                    <a:pt x="3152" y="1926"/>
                  </a:lnTo>
                  <a:lnTo>
                    <a:pt x="3129" y="1951"/>
                  </a:lnTo>
                  <a:lnTo>
                    <a:pt x="3098" y="1970"/>
                  </a:lnTo>
                  <a:lnTo>
                    <a:pt x="3064" y="1981"/>
                  </a:lnTo>
                  <a:lnTo>
                    <a:pt x="3028" y="1983"/>
                  </a:lnTo>
                  <a:lnTo>
                    <a:pt x="2823" y="1962"/>
                  </a:lnTo>
                  <a:lnTo>
                    <a:pt x="2180" y="1904"/>
                  </a:lnTo>
                  <a:lnTo>
                    <a:pt x="2203" y="1656"/>
                  </a:lnTo>
                  <a:lnTo>
                    <a:pt x="2205" y="1573"/>
                  </a:lnTo>
                  <a:lnTo>
                    <a:pt x="2196" y="1493"/>
                  </a:lnTo>
                  <a:lnTo>
                    <a:pt x="2177" y="1417"/>
                  </a:lnTo>
                  <a:lnTo>
                    <a:pt x="2148" y="1342"/>
                  </a:lnTo>
                  <a:lnTo>
                    <a:pt x="2112" y="1274"/>
                  </a:lnTo>
                  <a:lnTo>
                    <a:pt x="2066" y="1211"/>
                  </a:lnTo>
                  <a:lnTo>
                    <a:pt x="2013" y="1154"/>
                  </a:lnTo>
                  <a:lnTo>
                    <a:pt x="1952" y="1105"/>
                  </a:lnTo>
                  <a:lnTo>
                    <a:pt x="1886" y="1063"/>
                  </a:lnTo>
                  <a:lnTo>
                    <a:pt x="1814" y="1031"/>
                  </a:lnTo>
                  <a:lnTo>
                    <a:pt x="1737" y="1008"/>
                  </a:lnTo>
                  <a:lnTo>
                    <a:pt x="1656" y="994"/>
                  </a:lnTo>
                  <a:lnTo>
                    <a:pt x="1572" y="993"/>
                  </a:lnTo>
                  <a:lnTo>
                    <a:pt x="1492" y="1000"/>
                  </a:lnTo>
                  <a:lnTo>
                    <a:pt x="1414" y="1019"/>
                  </a:lnTo>
                  <a:lnTo>
                    <a:pt x="1342" y="1048"/>
                  </a:lnTo>
                  <a:lnTo>
                    <a:pt x="1274" y="1086"/>
                  </a:lnTo>
                  <a:lnTo>
                    <a:pt x="1211" y="1131"/>
                  </a:lnTo>
                  <a:lnTo>
                    <a:pt x="1154" y="1185"/>
                  </a:lnTo>
                  <a:lnTo>
                    <a:pt x="1105" y="1244"/>
                  </a:lnTo>
                  <a:lnTo>
                    <a:pt x="1063" y="1310"/>
                  </a:lnTo>
                  <a:lnTo>
                    <a:pt x="1030" y="1382"/>
                  </a:lnTo>
                  <a:lnTo>
                    <a:pt x="1006" y="1460"/>
                  </a:lnTo>
                  <a:lnTo>
                    <a:pt x="992" y="1542"/>
                  </a:lnTo>
                  <a:lnTo>
                    <a:pt x="970" y="1789"/>
                  </a:lnTo>
                  <a:lnTo>
                    <a:pt x="327" y="1729"/>
                  </a:lnTo>
                  <a:lnTo>
                    <a:pt x="171" y="1715"/>
                  </a:lnTo>
                  <a:lnTo>
                    <a:pt x="122" y="1710"/>
                  </a:lnTo>
                  <a:lnTo>
                    <a:pt x="86" y="1702"/>
                  </a:lnTo>
                  <a:lnTo>
                    <a:pt x="53" y="1685"/>
                  </a:lnTo>
                  <a:lnTo>
                    <a:pt x="29" y="1660"/>
                  </a:lnTo>
                  <a:lnTo>
                    <a:pt x="10" y="1632"/>
                  </a:lnTo>
                  <a:lnTo>
                    <a:pt x="0" y="1597"/>
                  </a:lnTo>
                  <a:lnTo>
                    <a:pt x="0" y="1559"/>
                  </a:lnTo>
                  <a:lnTo>
                    <a:pt x="21" y="1339"/>
                  </a:lnTo>
                  <a:lnTo>
                    <a:pt x="31" y="1304"/>
                  </a:lnTo>
                  <a:lnTo>
                    <a:pt x="46" y="1272"/>
                  </a:lnTo>
                  <a:lnTo>
                    <a:pt x="70" y="1245"/>
                  </a:lnTo>
                  <a:lnTo>
                    <a:pt x="101" y="1226"/>
                  </a:lnTo>
                  <a:lnTo>
                    <a:pt x="135" y="1217"/>
                  </a:lnTo>
                  <a:lnTo>
                    <a:pt x="171" y="1215"/>
                  </a:lnTo>
                  <a:lnTo>
                    <a:pt x="376" y="1234"/>
                  </a:lnTo>
                  <a:lnTo>
                    <a:pt x="409" y="1139"/>
                  </a:lnTo>
                  <a:lnTo>
                    <a:pt x="449" y="1046"/>
                  </a:lnTo>
                  <a:lnTo>
                    <a:pt x="496" y="956"/>
                  </a:lnTo>
                  <a:lnTo>
                    <a:pt x="549" y="873"/>
                  </a:lnTo>
                  <a:lnTo>
                    <a:pt x="608" y="795"/>
                  </a:lnTo>
                  <a:lnTo>
                    <a:pt x="477" y="635"/>
                  </a:lnTo>
                  <a:lnTo>
                    <a:pt x="458" y="605"/>
                  </a:lnTo>
                  <a:lnTo>
                    <a:pt x="447" y="568"/>
                  </a:lnTo>
                  <a:lnTo>
                    <a:pt x="447" y="534"/>
                  </a:lnTo>
                  <a:lnTo>
                    <a:pt x="454" y="500"/>
                  </a:lnTo>
                  <a:lnTo>
                    <a:pt x="470" y="468"/>
                  </a:lnTo>
                  <a:lnTo>
                    <a:pt x="494" y="441"/>
                  </a:lnTo>
                  <a:lnTo>
                    <a:pt x="665" y="300"/>
                  </a:lnTo>
                  <a:lnTo>
                    <a:pt x="698" y="279"/>
                  </a:lnTo>
                  <a:lnTo>
                    <a:pt x="732" y="270"/>
                  </a:lnTo>
                  <a:lnTo>
                    <a:pt x="766" y="268"/>
                  </a:lnTo>
                  <a:lnTo>
                    <a:pt x="800" y="276"/>
                  </a:lnTo>
                  <a:lnTo>
                    <a:pt x="833" y="293"/>
                  </a:lnTo>
                  <a:lnTo>
                    <a:pt x="859" y="317"/>
                  </a:lnTo>
                  <a:lnTo>
                    <a:pt x="992" y="477"/>
                  </a:lnTo>
                  <a:lnTo>
                    <a:pt x="1080" y="432"/>
                  </a:lnTo>
                  <a:lnTo>
                    <a:pt x="1173" y="395"/>
                  </a:lnTo>
                  <a:lnTo>
                    <a:pt x="1268" y="365"/>
                  </a:lnTo>
                  <a:lnTo>
                    <a:pt x="1367" y="344"/>
                  </a:lnTo>
                  <a:lnTo>
                    <a:pt x="1468" y="329"/>
                  </a:lnTo>
                  <a:lnTo>
                    <a:pt x="1487" y="123"/>
                  </a:lnTo>
                  <a:lnTo>
                    <a:pt x="1496" y="87"/>
                  </a:lnTo>
                  <a:lnTo>
                    <a:pt x="1511" y="57"/>
                  </a:lnTo>
                  <a:lnTo>
                    <a:pt x="1536" y="30"/>
                  </a:lnTo>
                  <a:lnTo>
                    <a:pt x="1566" y="11"/>
                  </a:lnTo>
                  <a:lnTo>
                    <a:pt x="1601" y="2"/>
                  </a:lnTo>
                  <a:lnTo>
                    <a:pt x="163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103" name="Group 1036">
            <a:extLst>
              <a:ext uri="{FF2B5EF4-FFF2-40B4-BE49-F238E27FC236}">
                <a16:creationId xmlns:a16="http://schemas.microsoft.com/office/drawing/2014/main" id="{FC9818BA-DF35-ECD7-9757-41FA6B3406D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451317" y="2458329"/>
            <a:ext cx="279827" cy="278123"/>
            <a:chOff x="9876" y="-1946"/>
            <a:chExt cx="822" cy="817"/>
          </a:xfrm>
          <a:solidFill>
            <a:schemeClr val="accent3"/>
          </a:solidFill>
        </p:grpSpPr>
        <p:sp>
          <p:nvSpPr>
            <p:cNvPr id="104" name="Freeform 1038">
              <a:extLst>
                <a:ext uri="{FF2B5EF4-FFF2-40B4-BE49-F238E27FC236}">
                  <a16:creationId xmlns:a16="http://schemas.microsoft.com/office/drawing/2014/main" id="{3F258BEE-A946-A009-423C-4CEA1F7782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16" y="-1801"/>
              <a:ext cx="356" cy="75"/>
            </a:xfrm>
            <a:custGeom>
              <a:avLst/>
              <a:gdLst>
                <a:gd name="T0" fmla="*/ 149 w 1421"/>
                <a:gd name="T1" fmla="*/ 0 h 298"/>
                <a:gd name="T2" fmla="*/ 1272 w 1421"/>
                <a:gd name="T3" fmla="*/ 0 h 298"/>
                <a:gd name="T4" fmla="*/ 1302 w 1421"/>
                <a:gd name="T5" fmla="*/ 3 h 298"/>
                <a:gd name="T6" fmla="*/ 1330 w 1421"/>
                <a:gd name="T7" fmla="*/ 12 h 298"/>
                <a:gd name="T8" fmla="*/ 1356 w 1421"/>
                <a:gd name="T9" fmla="*/ 25 h 298"/>
                <a:gd name="T10" fmla="*/ 1378 w 1421"/>
                <a:gd name="T11" fmla="*/ 44 h 298"/>
                <a:gd name="T12" fmla="*/ 1396 w 1421"/>
                <a:gd name="T13" fmla="*/ 66 h 298"/>
                <a:gd name="T14" fmla="*/ 1410 w 1421"/>
                <a:gd name="T15" fmla="*/ 91 h 298"/>
                <a:gd name="T16" fmla="*/ 1418 w 1421"/>
                <a:gd name="T17" fmla="*/ 119 h 298"/>
                <a:gd name="T18" fmla="*/ 1421 w 1421"/>
                <a:gd name="T19" fmla="*/ 149 h 298"/>
                <a:gd name="T20" fmla="*/ 1418 w 1421"/>
                <a:gd name="T21" fmla="*/ 179 h 298"/>
                <a:gd name="T22" fmla="*/ 1410 w 1421"/>
                <a:gd name="T23" fmla="*/ 206 h 298"/>
                <a:gd name="T24" fmla="*/ 1396 w 1421"/>
                <a:gd name="T25" fmla="*/ 232 h 298"/>
                <a:gd name="T26" fmla="*/ 1378 w 1421"/>
                <a:gd name="T27" fmla="*/ 254 h 298"/>
                <a:gd name="T28" fmla="*/ 1356 w 1421"/>
                <a:gd name="T29" fmla="*/ 272 h 298"/>
                <a:gd name="T30" fmla="*/ 1330 w 1421"/>
                <a:gd name="T31" fmla="*/ 285 h 298"/>
                <a:gd name="T32" fmla="*/ 1302 w 1421"/>
                <a:gd name="T33" fmla="*/ 295 h 298"/>
                <a:gd name="T34" fmla="*/ 1272 w 1421"/>
                <a:gd name="T35" fmla="*/ 298 h 298"/>
                <a:gd name="T36" fmla="*/ 149 w 1421"/>
                <a:gd name="T37" fmla="*/ 298 h 298"/>
                <a:gd name="T38" fmla="*/ 119 w 1421"/>
                <a:gd name="T39" fmla="*/ 295 h 298"/>
                <a:gd name="T40" fmla="*/ 91 w 1421"/>
                <a:gd name="T41" fmla="*/ 285 h 298"/>
                <a:gd name="T42" fmla="*/ 65 w 1421"/>
                <a:gd name="T43" fmla="*/ 272 h 298"/>
                <a:gd name="T44" fmla="*/ 44 w 1421"/>
                <a:gd name="T45" fmla="*/ 254 h 298"/>
                <a:gd name="T46" fmla="*/ 25 w 1421"/>
                <a:gd name="T47" fmla="*/ 232 h 298"/>
                <a:gd name="T48" fmla="*/ 11 w 1421"/>
                <a:gd name="T49" fmla="*/ 206 h 298"/>
                <a:gd name="T50" fmla="*/ 3 w 1421"/>
                <a:gd name="T51" fmla="*/ 179 h 298"/>
                <a:gd name="T52" fmla="*/ 0 w 1421"/>
                <a:gd name="T53" fmla="*/ 149 h 298"/>
                <a:gd name="T54" fmla="*/ 3 w 1421"/>
                <a:gd name="T55" fmla="*/ 119 h 298"/>
                <a:gd name="T56" fmla="*/ 11 w 1421"/>
                <a:gd name="T57" fmla="*/ 91 h 298"/>
                <a:gd name="T58" fmla="*/ 25 w 1421"/>
                <a:gd name="T59" fmla="*/ 66 h 298"/>
                <a:gd name="T60" fmla="*/ 44 w 1421"/>
                <a:gd name="T61" fmla="*/ 44 h 298"/>
                <a:gd name="T62" fmla="*/ 65 w 1421"/>
                <a:gd name="T63" fmla="*/ 25 h 298"/>
                <a:gd name="T64" fmla="*/ 91 w 1421"/>
                <a:gd name="T65" fmla="*/ 12 h 298"/>
                <a:gd name="T66" fmla="*/ 119 w 1421"/>
                <a:gd name="T67" fmla="*/ 3 h 298"/>
                <a:gd name="T68" fmla="*/ 149 w 1421"/>
                <a:gd name="T69" fmla="*/ 0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421" h="298">
                  <a:moveTo>
                    <a:pt x="149" y="0"/>
                  </a:moveTo>
                  <a:lnTo>
                    <a:pt x="1272" y="0"/>
                  </a:lnTo>
                  <a:lnTo>
                    <a:pt x="1302" y="3"/>
                  </a:lnTo>
                  <a:lnTo>
                    <a:pt x="1330" y="12"/>
                  </a:lnTo>
                  <a:lnTo>
                    <a:pt x="1356" y="25"/>
                  </a:lnTo>
                  <a:lnTo>
                    <a:pt x="1378" y="44"/>
                  </a:lnTo>
                  <a:lnTo>
                    <a:pt x="1396" y="66"/>
                  </a:lnTo>
                  <a:lnTo>
                    <a:pt x="1410" y="91"/>
                  </a:lnTo>
                  <a:lnTo>
                    <a:pt x="1418" y="119"/>
                  </a:lnTo>
                  <a:lnTo>
                    <a:pt x="1421" y="149"/>
                  </a:lnTo>
                  <a:lnTo>
                    <a:pt x="1418" y="179"/>
                  </a:lnTo>
                  <a:lnTo>
                    <a:pt x="1410" y="206"/>
                  </a:lnTo>
                  <a:lnTo>
                    <a:pt x="1396" y="232"/>
                  </a:lnTo>
                  <a:lnTo>
                    <a:pt x="1378" y="254"/>
                  </a:lnTo>
                  <a:lnTo>
                    <a:pt x="1356" y="272"/>
                  </a:lnTo>
                  <a:lnTo>
                    <a:pt x="1330" y="285"/>
                  </a:lnTo>
                  <a:lnTo>
                    <a:pt x="1302" y="295"/>
                  </a:lnTo>
                  <a:lnTo>
                    <a:pt x="1272" y="298"/>
                  </a:lnTo>
                  <a:lnTo>
                    <a:pt x="149" y="298"/>
                  </a:lnTo>
                  <a:lnTo>
                    <a:pt x="119" y="295"/>
                  </a:lnTo>
                  <a:lnTo>
                    <a:pt x="91" y="285"/>
                  </a:lnTo>
                  <a:lnTo>
                    <a:pt x="65" y="272"/>
                  </a:lnTo>
                  <a:lnTo>
                    <a:pt x="44" y="254"/>
                  </a:lnTo>
                  <a:lnTo>
                    <a:pt x="25" y="232"/>
                  </a:lnTo>
                  <a:lnTo>
                    <a:pt x="11" y="206"/>
                  </a:lnTo>
                  <a:lnTo>
                    <a:pt x="3" y="179"/>
                  </a:lnTo>
                  <a:lnTo>
                    <a:pt x="0" y="149"/>
                  </a:lnTo>
                  <a:lnTo>
                    <a:pt x="3" y="119"/>
                  </a:lnTo>
                  <a:lnTo>
                    <a:pt x="11" y="91"/>
                  </a:lnTo>
                  <a:lnTo>
                    <a:pt x="25" y="66"/>
                  </a:lnTo>
                  <a:lnTo>
                    <a:pt x="44" y="44"/>
                  </a:lnTo>
                  <a:lnTo>
                    <a:pt x="65" y="25"/>
                  </a:lnTo>
                  <a:lnTo>
                    <a:pt x="91" y="12"/>
                  </a:lnTo>
                  <a:lnTo>
                    <a:pt x="119" y="3"/>
                  </a:lnTo>
                  <a:lnTo>
                    <a:pt x="1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5" name="Freeform 1039">
              <a:extLst>
                <a:ext uri="{FF2B5EF4-FFF2-40B4-BE49-F238E27FC236}">
                  <a16:creationId xmlns:a16="http://schemas.microsoft.com/office/drawing/2014/main" id="{514A39AB-3995-2137-1203-243B2F3625B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16" y="-1662"/>
              <a:ext cx="356" cy="75"/>
            </a:xfrm>
            <a:custGeom>
              <a:avLst/>
              <a:gdLst>
                <a:gd name="T0" fmla="*/ 149 w 1421"/>
                <a:gd name="T1" fmla="*/ 0 h 298"/>
                <a:gd name="T2" fmla="*/ 1272 w 1421"/>
                <a:gd name="T3" fmla="*/ 0 h 298"/>
                <a:gd name="T4" fmla="*/ 1302 w 1421"/>
                <a:gd name="T5" fmla="*/ 3 h 298"/>
                <a:gd name="T6" fmla="*/ 1330 w 1421"/>
                <a:gd name="T7" fmla="*/ 12 h 298"/>
                <a:gd name="T8" fmla="*/ 1356 w 1421"/>
                <a:gd name="T9" fmla="*/ 26 h 298"/>
                <a:gd name="T10" fmla="*/ 1378 w 1421"/>
                <a:gd name="T11" fmla="*/ 44 h 298"/>
                <a:gd name="T12" fmla="*/ 1396 w 1421"/>
                <a:gd name="T13" fmla="*/ 66 h 298"/>
                <a:gd name="T14" fmla="*/ 1410 w 1421"/>
                <a:gd name="T15" fmla="*/ 91 h 298"/>
                <a:gd name="T16" fmla="*/ 1418 w 1421"/>
                <a:gd name="T17" fmla="*/ 119 h 298"/>
                <a:gd name="T18" fmla="*/ 1421 w 1421"/>
                <a:gd name="T19" fmla="*/ 149 h 298"/>
                <a:gd name="T20" fmla="*/ 1418 w 1421"/>
                <a:gd name="T21" fmla="*/ 179 h 298"/>
                <a:gd name="T22" fmla="*/ 1410 w 1421"/>
                <a:gd name="T23" fmla="*/ 207 h 298"/>
                <a:gd name="T24" fmla="*/ 1396 w 1421"/>
                <a:gd name="T25" fmla="*/ 232 h 298"/>
                <a:gd name="T26" fmla="*/ 1378 w 1421"/>
                <a:gd name="T27" fmla="*/ 255 h 298"/>
                <a:gd name="T28" fmla="*/ 1356 w 1421"/>
                <a:gd name="T29" fmla="*/ 272 h 298"/>
                <a:gd name="T30" fmla="*/ 1330 w 1421"/>
                <a:gd name="T31" fmla="*/ 287 h 298"/>
                <a:gd name="T32" fmla="*/ 1302 w 1421"/>
                <a:gd name="T33" fmla="*/ 295 h 298"/>
                <a:gd name="T34" fmla="*/ 1272 w 1421"/>
                <a:gd name="T35" fmla="*/ 298 h 298"/>
                <a:gd name="T36" fmla="*/ 149 w 1421"/>
                <a:gd name="T37" fmla="*/ 298 h 298"/>
                <a:gd name="T38" fmla="*/ 119 w 1421"/>
                <a:gd name="T39" fmla="*/ 295 h 298"/>
                <a:gd name="T40" fmla="*/ 91 w 1421"/>
                <a:gd name="T41" fmla="*/ 287 h 298"/>
                <a:gd name="T42" fmla="*/ 65 w 1421"/>
                <a:gd name="T43" fmla="*/ 272 h 298"/>
                <a:gd name="T44" fmla="*/ 44 w 1421"/>
                <a:gd name="T45" fmla="*/ 255 h 298"/>
                <a:gd name="T46" fmla="*/ 25 w 1421"/>
                <a:gd name="T47" fmla="*/ 232 h 298"/>
                <a:gd name="T48" fmla="*/ 11 w 1421"/>
                <a:gd name="T49" fmla="*/ 207 h 298"/>
                <a:gd name="T50" fmla="*/ 3 w 1421"/>
                <a:gd name="T51" fmla="*/ 179 h 298"/>
                <a:gd name="T52" fmla="*/ 0 w 1421"/>
                <a:gd name="T53" fmla="*/ 149 h 298"/>
                <a:gd name="T54" fmla="*/ 3 w 1421"/>
                <a:gd name="T55" fmla="*/ 119 h 298"/>
                <a:gd name="T56" fmla="*/ 11 w 1421"/>
                <a:gd name="T57" fmla="*/ 91 h 298"/>
                <a:gd name="T58" fmla="*/ 25 w 1421"/>
                <a:gd name="T59" fmla="*/ 66 h 298"/>
                <a:gd name="T60" fmla="*/ 44 w 1421"/>
                <a:gd name="T61" fmla="*/ 44 h 298"/>
                <a:gd name="T62" fmla="*/ 65 w 1421"/>
                <a:gd name="T63" fmla="*/ 26 h 298"/>
                <a:gd name="T64" fmla="*/ 91 w 1421"/>
                <a:gd name="T65" fmla="*/ 12 h 298"/>
                <a:gd name="T66" fmla="*/ 119 w 1421"/>
                <a:gd name="T67" fmla="*/ 3 h 298"/>
                <a:gd name="T68" fmla="*/ 149 w 1421"/>
                <a:gd name="T69" fmla="*/ 0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421" h="298">
                  <a:moveTo>
                    <a:pt x="149" y="0"/>
                  </a:moveTo>
                  <a:lnTo>
                    <a:pt x="1272" y="0"/>
                  </a:lnTo>
                  <a:lnTo>
                    <a:pt x="1302" y="3"/>
                  </a:lnTo>
                  <a:lnTo>
                    <a:pt x="1330" y="12"/>
                  </a:lnTo>
                  <a:lnTo>
                    <a:pt x="1356" y="26"/>
                  </a:lnTo>
                  <a:lnTo>
                    <a:pt x="1378" y="44"/>
                  </a:lnTo>
                  <a:lnTo>
                    <a:pt x="1396" y="66"/>
                  </a:lnTo>
                  <a:lnTo>
                    <a:pt x="1410" y="91"/>
                  </a:lnTo>
                  <a:lnTo>
                    <a:pt x="1418" y="119"/>
                  </a:lnTo>
                  <a:lnTo>
                    <a:pt x="1421" y="149"/>
                  </a:lnTo>
                  <a:lnTo>
                    <a:pt x="1418" y="179"/>
                  </a:lnTo>
                  <a:lnTo>
                    <a:pt x="1410" y="207"/>
                  </a:lnTo>
                  <a:lnTo>
                    <a:pt x="1396" y="232"/>
                  </a:lnTo>
                  <a:lnTo>
                    <a:pt x="1378" y="255"/>
                  </a:lnTo>
                  <a:lnTo>
                    <a:pt x="1356" y="272"/>
                  </a:lnTo>
                  <a:lnTo>
                    <a:pt x="1330" y="287"/>
                  </a:lnTo>
                  <a:lnTo>
                    <a:pt x="1302" y="295"/>
                  </a:lnTo>
                  <a:lnTo>
                    <a:pt x="1272" y="298"/>
                  </a:lnTo>
                  <a:lnTo>
                    <a:pt x="149" y="298"/>
                  </a:lnTo>
                  <a:lnTo>
                    <a:pt x="119" y="295"/>
                  </a:lnTo>
                  <a:lnTo>
                    <a:pt x="91" y="287"/>
                  </a:lnTo>
                  <a:lnTo>
                    <a:pt x="65" y="272"/>
                  </a:lnTo>
                  <a:lnTo>
                    <a:pt x="44" y="255"/>
                  </a:lnTo>
                  <a:lnTo>
                    <a:pt x="25" y="232"/>
                  </a:lnTo>
                  <a:lnTo>
                    <a:pt x="11" y="207"/>
                  </a:lnTo>
                  <a:lnTo>
                    <a:pt x="3" y="179"/>
                  </a:lnTo>
                  <a:lnTo>
                    <a:pt x="0" y="149"/>
                  </a:lnTo>
                  <a:lnTo>
                    <a:pt x="3" y="119"/>
                  </a:lnTo>
                  <a:lnTo>
                    <a:pt x="11" y="91"/>
                  </a:lnTo>
                  <a:lnTo>
                    <a:pt x="25" y="66"/>
                  </a:lnTo>
                  <a:lnTo>
                    <a:pt x="44" y="44"/>
                  </a:lnTo>
                  <a:lnTo>
                    <a:pt x="65" y="26"/>
                  </a:lnTo>
                  <a:lnTo>
                    <a:pt x="91" y="12"/>
                  </a:lnTo>
                  <a:lnTo>
                    <a:pt x="119" y="3"/>
                  </a:lnTo>
                  <a:lnTo>
                    <a:pt x="1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6" name="Freeform 1040">
              <a:extLst>
                <a:ext uri="{FF2B5EF4-FFF2-40B4-BE49-F238E27FC236}">
                  <a16:creationId xmlns:a16="http://schemas.microsoft.com/office/drawing/2014/main" id="{043BBB81-96EA-46B9-5F25-BFF5BB2FDAB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16" y="-1522"/>
              <a:ext cx="215" cy="74"/>
            </a:xfrm>
            <a:custGeom>
              <a:avLst/>
              <a:gdLst>
                <a:gd name="T0" fmla="*/ 149 w 860"/>
                <a:gd name="T1" fmla="*/ 0 h 297"/>
                <a:gd name="T2" fmla="*/ 711 w 860"/>
                <a:gd name="T3" fmla="*/ 0 h 297"/>
                <a:gd name="T4" fmla="*/ 741 w 860"/>
                <a:gd name="T5" fmla="*/ 3 h 297"/>
                <a:gd name="T6" fmla="*/ 769 w 860"/>
                <a:gd name="T7" fmla="*/ 11 h 297"/>
                <a:gd name="T8" fmla="*/ 795 w 860"/>
                <a:gd name="T9" fmla="*/ 26 h 297"/>
                <a:gd name="T10" fmla="*/ 817 w 860"/>
                <a:gd name="T11" fmla="*/ 43 h 297"/>
                <a:gd name="T12" fmla="*/ 835 w 860"/>
                <a:gd name="T13" fmla="*/ 66 h 297"/>
                <a:gd name="T14" fmla="*/ 849 w 860"/>
                <a:gd name="T15" fmla="*/ 90 h 297"/>
                <a:gd name="T16" fmla="*/ 857 w 860"/>
                <a:gd name="T17" fmla="*/ 118 h 297"/>
                <a:gd name="T18" fmla="*/ 860 w 860"/>
                <a:gd name="T19" fmla="*/ 149 h 297"/>
                <a:gd name="T20" fmla="*/ 857 w 860"/>
                <a:gd name="T21" fmla="*/ 179 h 297"/>
                <a:gd name="T22" fmla="*/ 849 w 860"/>
                <a:gd name="T23" fmla="*/ 207 h 297"/>
                <a:gd name="T24" fmla="*/ 835 w 860"/>
                <a:gd name="T25" fmla="*/ 231 h 297"/>
                <a:gd name="T26" fmla="*/ 817 w 860"/>
                <a:gd name="T27" fmla="*/ 254 h 297"/>
                <a:gd name="T28" fmla="*/ 795 w 860"/>
                <a:gd name="T29" fmla="*/ 271 h 297"/>
                <a:gd name="T30" fmla="*/ 769 w 860"/>
                <a:gd name="T31" fmla="*/ 286 h 297"/>
                <a:gd name="T32" fmla="*/ 741 w 860"/>
                <a:gd name="T33" fmla="*/ 294 h 297"/>
                <a:gd name="T34" fmla="*/ 711 w 860"/>
                <a:gd name="T35" fmla="*/ 297 h 297"/>
                <a:gd name="T36" fmla="*/ 149 w 860"/>
                <a:gd name="T37" fmla="*/ 297 h 297"/>
                <a:gd name="T38" fmla="*/ 119 w 860"/>
                <a:gd name="T39" fmla="*/ 294 h 297"/>
                <a:gd name="T40" fmla="*/ 91 w 860"/>
                <a:gd name="T41" fmla="*/ 286 h 297"/>
                <a:gd name="T42" fmla="*/ 65 w 860"/>
                <a:gd name="T43" fmla="*/ 271 h 297"/>
                <a:gd name="T44" fmla="*/ 44 w 860"/>
                <a:gd name="T45" fmla="*/ 254 h 297"/>
                <a:gd name="T46" fmla="*/ 25 w 860"/>
                <a:gd name="T47" fmla="*/ 231 h 297"/>
                <a:gd name="T48" fmla="*/ 11 w 860"/>
                <a:gd name="T49" fmla="*/ 207 h 297"/>
                <a:gd name="T50" fmla="*/ 3 w 860"/>
                <a:gd name="T51" fmla="*/ 179 h 297"/>
                <a:gd name="T52" fmla="*/ 0 w 860"/>
                <a:gd name="T53" fmla="*/ 149 h 297"/>
                <a:gd name="T54" fmla="*/ 3 w 860"/>
                <a:gd name="T55" fmla="*/ 118 h 297"/>
                <a:gd name="T56" fmla="*/ 11 w 860"/>
                <a:gd name="T57" fmla="*/ 90 h 297"/>
                <a:gd name="T58" fmla="*/ 25 w 860"/>
                <a:gd name="T59" fmla="*/ 66 h 297"/>
                <a:gd name="T60" fmla="*/ 44 w 860"/>
                <a:gd name="T61" fmla="*/ 43 h 297"/>
                <a:gd name="T62" fmla="*/ 65 w 860"/>
                <a:gd name="T63" fmla="*/ 26 h 297"/>
                <a:gd name="T64" fmla="*/ 91 w 860"/>
                <a:gd name="T65" fmla="*/ 11 h 297"/>
                <a:gd name="T66" fmla="*/ 119 w 860"/>
                <a:gd name="T67" fmla="*/ 3 h 297"/>
                <a:gd name="T68" fmla="*/ 149 w 860"/>
                <a:gd name="T69" fmla="*/ 0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60" h="297">
                  <a:moveTo>
                    <a:pt x="149" y="0"/>
                  </a:moveTo>
                  <a:lnTo>
                    <a:pt x="711" y="0"/>
                  </a:lnTo>
                  <a:lnTo>
                    <a:pt x="741" y="3"/>
                  </a:lnTo>
                  <a:lnTo>
                    <a:pt x="769" y="11"/>
                  </a:lnTo>
                  <a:lnTo>
                    <a:pt x="795" y="26"/>
                  </a:lnTo>
                  <a:lnTo>
                    <a:pt x="817" y="43"/>
                  </a:lnTo>
                  <a:lnTo>
                    <a:pt x="835" y="66"/>
                  </a:lnTo>
                  <a:lnTo>
                    <a:pt x="849" y="90"/>
                  </a:lnTo>
                  <a:lnTo>
                    <a:pt x="857" y="118"/>
                  </a:lnTo>
                  <a:lnTo>
                    <a:pt x="860" y="149"/>
                  </a:lnTo>
                  <a:lnTo>
                    <a:pt x="857" y="179"/>
                  </a:lnTo>
                  <a:lnTo>
                    <a:pt x="849" y="207"/>
                  </a:lnTo>
                  <a:lnTo>
                    <a:pt x="835" y="231"/>
                  </a:lnTo>
                  <a:lnTo>
                    <a:pt x="817" y="254"/>
                  </a:lnTo>
                  <a:lnTo>
                    <a:pt x="795" y="271"/>
                  </a:lnTo>
                  <a:lnTo>
                    <a:pt x="769" y="286"/>
                  </a:lnTo>
                  <a:lnTo>
                    <a:pt x="741" y="294"/>
                  </a:lnTo>
                  <a:lnTo>
                    <a:pt x="711" y="297"/>
                  </a:lnTo>
                  <a:lnTo>
                    <a:pt x="149" y="297"/>
                  </a:lnTo>
                  <a:lnTo>
                    <a:pt x="119" y="294"/>
                  </a:lnTo>
                  <a:lnTo>
                    <a:pt x="91" y="286"/>
                  </a:lnTo>
                  <a:lnTo>
                    <a:pt x="65" y="271"/>
                  </a:lnTo>
                  <a:lnTo>
                    <a:pt x="44" y="254"/>
                  </a:lnTo>
                  <a:lnTo>
                    <a:pt x="25" y="231"/>
                  </a:lnTo>
                  <a:lnTo>
                    <a:pt x="11" y="207"/>
                  </a:lnTo>
                  <a:lnTo>
                    <a:pt x="3" y="179"/>
                  </a:lnTo>
                  <a:lnTo>
                    <a:pt x="0" y="149"/>
                  </a:lnTo>
                  <a:lnTo>
                    <a:pt x="3" y="118"/>
                  </a:lnTo>
                  <a:lnTo>
                    <a:pt x="11" y="90"/>
                  </a:lnTo>
                  <a:lnTo>
                    <a:pt x="25" y="66"/>
                  </a:lnTo>
                  <a:lnTo>
                    <a:pt x="44" y="43"/>
                  </a:lnTo>
                  <a:lnTo>
                    <a:pt x="65" y="26"/>
                  </a:lnTo>
                  <a:lnTo>
                    <a:pt x="91" y="11"/>
                  </a:lnTo>
                  <a:lnTo>
                    <a:pt x="119" y="3"/>
                  </a:lnTo>
                  <a:lnTo>
                    <a:pt x="1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7" name="Freeform 1041">
              <a:extLst>
                <a:ext uri="{FF2B5EF4-FFF2-40B4-BE49-F238E27FC236}">
                  <a16:creationId xmlns:a16="http://schemas.microsoft.com/office/drawing/2014/main" id="{C064F992-3778-2E34-C9BB-0FD254AA05A7}"/>
                </a:ext>
              </a:extLst>
            </p:cNvPr>
            <p:cNvSpPr>
              <a:spLocks/>
            </p:cNvSpPr>
            <p:nvPr/>
          </p:nvSpPr>
          <p:spPr bwMode="auto">
            <a:xfrm>
              <a:off x="9876" y="-1946"/>
              <a:ext cx="636" cy="817"/>
            </a:xfrm>
            <a:custGeom>
              <a:avLst/>
              <a:gdLst>
                <a:gd name="T0" fmla="*/ 150 w 2545"/>
                <a:gd name="T1" fmla="*/ 0 h 3271"/>
                <a:gd name="T2" fmla="*/ 2395 w 2545"/>
                <a:gd name="T3" fmla="*/ 0 h 3271"/>
                <a:gd name="T4" fmla="*/ 2425 w 2545"/>
                <a:gd name="T5" fmla="*/ 3 h 3271"/>
                <a:gd name="T6" fmla="*/ 2453 w 2545"/>
                <a:gd name="T7" fmla="*/ 11 h 3271"/>
                <a:gd name="T8" fmla="*/ 2479 w 2545"/>
                <a:gd name="T9" fmla="*/ 26 h 3271"/>
                <a:gd name="T10" fmla="*/ 2501 w 2545"/>
                <a:gd name="T11" fmla="*/ 43 h 3271"/>
                <a:gd name="T12" fmla="*/ 2520 w 2545"/>
                <a:gd name="T13" fmla="*/ 66 h 3271"/>
                <a:gd name="T14" fmla="*/ 2533 w 2545"/>
                <a:gd name="T15" fmla="*/ 90 h 3271"/>
                <a:gd name="T16" fmla="*/ 2542 w 2545"/>
                <a:gd name="T17" fmla="*/ 118 h 3271"/>
                <a:gd name="T18" fmla="*/ 2545 w 2545"/>
                <a:gd name="T19" fmla="*/ 148 h 3271"/>
                <a:gd name="T20" fmla="*/ 2545 w 2545"/>
                <a:gd name="T21" fmla="*/ 369 h 3271"/>
                <a:gd name="T22" fmla="*/ 2246 w 2545"/>
                <a:gd name="T23" fmla="*/ 885 h 3271"/>
                <a:gd name="T24" fmla="*/ 2246 w 2545"/>
                <a:gd name="T25" fmla="*/ 297 h 3271"/>
                <a:gd name="T26" fmla="*/ 300 w 2545"/>
                <a:gd name="T27" fmla="*/ 297 h 3271"/>
                <a:gd name="T28" fmla="*/ 300 w 2545"/>
                <a:gd name="T29" fmla="*/ 2973 h 3271"/>
                <a:gd name="T30" fmla="*/ 2246 w 2545"/>
                <a:gd name="T31" fmla="*/ 2973 h 3271"/>
                <a:gd name="T32" fmla="*/ 2246 w 2545"/>
                <a:gd name="T33" fmla="*/ 2603 h 3271"/>
                <a:gd name="T34" fmla="*/ 2403 w 2545"/>
                <a:gd name="T35" fmla="*/ 2500 h 3271"/>
                <a:gd name="T36" fmla="*/ 2430 w 2545"/>
                <a:gd name="T37" fmla="*/ 2478 h 3271"/>
                <a:gd name="T38" fmla="*/ 2454 w 2545"/>
                <a:gd name="T39" fmla="*/ 2453 h 3271"/>
                <a:gd name="T40" fmla="*/ 2474 w 2545"/>
                <a:gd name="T41" fmla="*/ 2425 h 3271"/>
                <a:gd name="T42" fmla="*/ 2545 w 2545"/>
                <a:gd name="T43" fmla="*/ 2302 h 3271"/>
                <a:gd name="T44" fmla="*/ 2545 w 2545"/>
                <a:gd name="T45" fmla="*/ 3122 h 3271"/>
                <a:gd name="T46" fmla="*/ 2542 w 2545"/>
                <a:gd name="T47" fmla="*/ 3151 h 3271"/>
                <a:gd name="T48" fmla="*/ 2533 w 2545"/>
                <a:gd name="T49" fmla="*/ 3179 h 3271"/>
                <a:gd name="T50" fmla="*/ 2520 w 2545"/>
                <a:gd name="T51" fmla="*/ 3205 h 3271"/>
                <a:gd name="T52" fmla="*/ 2501 w 2545"/>
                <a:gd name="T53" fmla="*/ 3226 h 3271"/>
                <a:gd name="T54" fmla="*/ 2479 w 2545"/>
                <a:gd name="T55" fmla="*/ 3245 h 3271"/>
                <a:gd name="T56" fmla="*/ 2453 w 2545"/>
                <a:gd name="T57" fmla="*/ 3258 h 3271"/>
                <a:gd name="T58" fmla="*/ 2425 w 2545"/>
                <a:gd name="T59" fmla="*/ 3268 h 3271"/>
                <a:gd name="T60" fmla="*/ 2395 w 2545"/>
                <a:gd name="T61" fmla="*/ 3271 h 3271"/>
                <a:gd name="T62" fmla="*/ 150 w 2545"/>
                <a:gd name="T63" fmla="*/ 3271 h 3271"/>
                <a:gd name="T64" fmla="*/ 120 w 2545"/>
                <a:gd name="T65" fmla="*/ 3268 h 3271"/>
                <a:gd name="T66" fmla="*/ 92 w 2545"/>
                <a:gd name="T67" fmla="*/ 3258 h 3271"/>
                <a:gd name="T68" fmla="*/ 66 w 2545"/>
                <a:gd name="T69" fmla="*/ 3245 h 3271"/>
                <a:gd name="T70" fmla="*/ 44 w 2545"/>
                <a:gd name="T71" fmla="*/ 3226 h 3271"/>
                <a:gd name="T72" fmla="*/ 26 w 2545"/>
                <a:gd name="T73" fmla="*/ 3205 h 3271"/>
                <a:gd name="T74" fmla="*/ 12 w 2545"/>
                <a:gd name="T75" fmla="*/ 3179 h 3271"/>
                <a:gd name="T76" fmla="*/ 3 w 2545"/>
                <a:gd name="T77" fmla="*/ 3151 h 3271"/>
                <a:gd name="T78" fmla="*/ 0 w 2545"/>
                <a:gd name="T79" fmla="*/ 3122 h 3271"/>
                <a:gd name="T80" fmla="*/ 0 w 2545"/>
                <a:gd name="T81" fmla="*/ 148 h 3271"/>
                <a:gd name="T82" fmla="*/ 3 w 2545"/>
                <a:gd name="T83" fmla="*/ 118 h 3271"/>
                <a:gd name="T84" fmla="*/ 12 w 2545"/>
                <a:gd name="T85" fmla="*/ 90 h 3271"/>
                <a:gd name="T86" fmla="*/ 26 w 2545"/>
                <a:gd name="T87" fmla="*/ 66 h 3271"/>
                <a:gd name="T88" fmla="*/ 44 w 2545"/>
                <a:gd name="T89" fmla="*/ 43 h 3271"/>
                <a:gd name="T90" fmla="*/ 66 w 2545"/>
                <a:gd name="T91" fmla="*/ 26 h 3271"/>
                <a:gd name="T92" fmla="*/ 92 w 2545"/>
                <a:gd name="T93" fmla="*/ 11 h 3271"/>
                <a:gd name="T94" fmla="*/ 120 w 2545"/>
                <a:gd name="T95" fmla="*/ 3 h 3271"/>
                <a:gd name="T96" fmla="*/ 150 w 2545"/>
                <a:gd name="T97" fmla="*/ 0 h 3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545" h="3271">
                  <a:moveTo>
                    <a:pt x="150" y="0"/>
                  </a:moveTo>
                  <a:lnTo>
                    <a:pt x="2395" y="0"/>
                  </a:lnTo>
                  <a:lnTo>
                    <a:pt x="2425" y="3"/>
                  </a:lnTo>
                  <a:lnTo>
                    <a:pt x="2453" y="11"/>
                  </a:lnTo>
                  <a:lnTo>
                    <a:pt x="2479" y="26"/>
                  </a:lnTo>
                  <a:lnTo>
                    <a:pt x="2501" y="43"/>
                  </a:lnTo>
                  <a:lnTo>
                    <a:pt x="2520" y="66"/>
                  </a:lnTo>
                  <a:lnTo>
                    <a:pt x="2533" y="90"/>
                  </a:lnTo>
                  <a:lnTo>
                    <a:pt x="2542" y="118"/>
                  </a:lnTo>
                  <a:lnTo>
                    <a:pt x="2545" y="148"/>
                  </a:lnTo>
                  <a:lnTo>
                    <a:pt x="2545" y="369"/>
                  </a:lnTo>
                  <a:lnTo>
                    <a:pt x="2246" y="885"/>
                  </a:lnTo>
                  <a:lnTo>
                    <a:pt x="2246" y="297"/>
                  </a:lnTo>
                  <a:lnTo>
                    <a:pt x="300" y="297"/>
                  </a:lnTo>
                  <a:lnTo>
                    <a:pt x="300" y="2973"/>
                  </a:lnTo>
                  <a:lnTo>
                    <a:pt x="2246" y="2973"/>
                  </a:lnTo>
                  <a:lnTo>
                    <a:pt x="2246" y="2603"/>
                  </a:lnTo>
                  <a:lnTo>
                    <a:pt x="2403" y="2500"/>
                  </a:lnTo>
                  <a:lnTo>
                    <a:pt x="2430" y="2478"/>
                  </a:lnTo>
                  <a:lnTo>
                    <a:pt x="2454" y="2453"/>
                  </a:lnTo>
                  <a:lnTo>
                    <a:pt x="2474" y="2425"/>
                  </a:lnTo>
                  <a:lnTo>
                    <a:pt x="2545" y="2302"/>
                  </a:lnTo>
                  <a:lnTo>
                    <a:pt x="2545" y="3122"/>
                  </a:lnTo>
                  <a:lnTo>
                    <a:pt x="2542" y="3151"/>
                  </a:lnTo>
                  <a:lnTo>
                    <a:pt x="2533" y="3179"/>
                  </a:lnTo>
                  <a:lnTo>
                    <a:pt x="2520" y="3205"/>
                  </a:lnTo>
                  <a:lnTo>
                    <a:pt x="2501" y="3226"/>
                  </a:lnTo>
                  <a:lnTo>
                    <a:pt x="2479" y="3245"/>
                  </a:lnTo>
                  <a:lnTo>
                    <a:pt x="2453" y="3258"/>
                  </a:lnTo>
                  <a:lnTo>
                    <a:pt x="2425" y="3268"/>
                  </a:lnTo>
                  <a:lnTo>
                    <a:pt x="2395" y="3271"/>
                  </a:lnTo>
                  <a:lnTo>
                    <a:pt x="150" y="3271"/>
                  </a:lnTo>
                  <a:lnTo>
                    <a:pt x="120" y="3268"/>
                  </a:lnTo>
                  <a:lnTo>
                    <a:pt x="92" y="3258"/>
                  </a:lnTo>
                  <a:lnTo>
                    <a:pt x="66" y="3245"/>
                  </a:lnTo>
                  <a:lnTo>
                    <a:pt x="44" y="3226"/>
                  </a:lnTo>
                  <a:lnTo>
                    <a:pt x="26" y="3205"/>
                  </a:lnTo>
                  <a:lnTo>
                    <a:pt x="12" y="3179"/>
                  </a:lnTo>
                  <a:lnTo>
                    <a:pt x="3" y="3151"/>
                  </a:lnTo>
                  <a:lnTo>
                    <a:pt x="0" y="3122"/>
                  </a:lnTo>
                  <a:lnTo>
                    <a:pt x="0" y="148"/>
                  </a:lnTo>
                  <a:lnTo>
                    <a:pt x="3" y="118"/>
                  </a:lnTo>
                  <a:lnTo>
                    <a:pt x="12" y="90"/>
                  </a:lnTo>
                  <a:lnTo>
                    <a:pt x="26" y="66"/>
                  </a:lnTo>
                  <a:lnTo>
                    <a:pt x="44" y="43"/>
                  </a:lnTo>
                  <a:lnTo>
                    <a:pt x="66" y="26"/>
                  </a:lnTo>
                  <a:lnTo>
                    <a:pt x="92" y="11"/>
                  </a:lnTo>
                  <a:lnTo>
                    <a:pt x="120" y="3"/>
                  </a:lnTo>
                  <a:lnTo>
                    <a:pt x="15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08" name="Freeform 1042">
              <a:extLst>
                <a:ext uri="{FF2B5EF4-FFF2-40B4-BE49-F238E27FC236}">
                  <a16:creationId xmlns:a16="http://schemas.microsoft.com/office/drawing/2014/main" id="{E626C7D4-8F5A-DABD-7769-FADC121824B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05" y="-1855"/>
              <a:ext cx="393" cy="586"/>
            </a:xfrm>
            <a:custGeom>
              <a:avLst/>
              <a:gdLst>
                <a:gd name="T0" fmla="*/ 130 w 1574"/>
                <a:gd name="T1" fmla="*/ 1973 h 2342"/>
                <a:gd name="T2" fmla="*/ 221 w 1574"/>
                <a:gd name="T3" fmla="*/ 2017 h 2342"/>
                <a:gd name="T4" fmla="*/ 305 w 1574"/>
                <a:gd name="T5" fmla="*/ 2073 h 2342"/>
                <a:gd name="T6" fmla="*/ 434 w 1574"/>
                <a:gd name="T7" fmla="*/ 1957 h 2342"/>
                <a:gd name="T8" fmla="*/ 385 w 1574"/>
                <a:gd name="T9" fmla="*/ 1912 h 2342"/>
                <a:gd name="T10" fmla="*/ 311 w 1574"/>
                <a:gd name="T11" fmla="*/ 1861 h 2342"/>
                <a:gd name="T12" fmla="*/ 242 w 1574"/>
                <a:gd name="T13" fmla="*/ 1827 h 2342"/>
                <a:gd name="T14" fmla="*/ 186 w 1574"/>
                <a:gd name="T15" fmla="*/ 1808 h 2342"/>
                <a:gd name="T16" fmla="*/ 140 w 1574"/>
                <a:gd name="T17" fmla="*/ 1799 h 2342"/>
                <a:gd name="T18" fmla="*/ 1106 w 1574"/>
                <a:gd name="T19" fmla="*/ 0 h 2342"/>
                <a:gd name="T20" fmla="*/ 1161 w 1574"/>
                <a:gd name="T21" fmla="*/ 7 h 2342"/>
                <a:gd name="T22" fmla="*/ 1227 w 1574"/>
                <a:gd name="T23" fmla="*/ 25 h 2342"/>
                <a:gd name="T24" fmla="*/ 1305 w 1574"/>
                <a:gd name="T25" fmla="*/ 56 h 2342"/>
                <a:gd name="T26" fmla="*/ 1391 w 1574"/>
                <a:gd name="T27" fmla="*/ 107 h 2342"/>
                <a:gd name="T28" fmla="*/ 1462 w 1574"/>
                <a:gd name="T29" fmla="*/ 161 h 2342"/>
                <a:gd name="T30" fmla="*/ 1512 w 1574"/>
                <a:gd name="T31" fmla="*/ 213 h 2342"/>
                <a:gd name="T32" fmla="*/ 1544 w 1574"/>
                <a:gd name="T33" fmla="*/ 258 h 2342"/>
                <a:gd name="T34" fmla="*/ 1562 w 1574"/>
                <a:gd name="T35" fmla="*/ 294 h 2342"/>
                <a:gd name="T36" fmla="*/ 1571 w 1574"/>
                <a:gd name="T37" fmla="*/ 316 h 2342"/>
                <a:gd name="T38" fmla="*/ 1574 w 1574"/>
                <a:gd name="T39" fmla="*/ 340 h 2342"/>
                <a:gd name="T40" fmla="*/ 1563 w 1574"/>
                <a:gd name="T41" fmla="*/ 375 h 2342"/>
                <a:gd name="T42" fmla="*/ 618 w 1574"/>
                <a:gd name="T43" fmla="*/ 1998 h 2342"/>
                <a:gd name="T44" fmla="*/ 115 w 1574"/>
                <a:gd name="T45" fmla="*/ 2330 h 2342"/>
                <a:gd name="T46" fmla="*/ 77 w 1574"/>
                <a:gd name="T47" fmla="*/ 2342 h 2342"/>
                <a:gd name="T48" fmla="*/ 36 w 1574"/>
                <a:gd name="T49" fmla="*/ 2332 h 2342"/>
                <a:gd name="T50" fmla="*/ 13 w 1574"/>
                <a:gd name="T51" fmla="*/ 2311 h 2342"/>
                <a:gd name="T52" fmla="*/ 0 w 1574"/>
                <a:gd name="T53" fmla="*/ 2280 h 2342"/>
                <a:gd name="T54" fmla="*/ 34 w 1574"/>
                <a:gd name="T55" fmla="*/ 1683 h 2342"/>
                <a:gd name="T56" fmla="*/ 45 w 1574"/>
                <a:gd name="T57" fmla="*/ 1651 h 2342"/>
                <a:gd name="T58" fmla="*/ 991 w 1574"/>
                <a:gd name="T59" fmla="*/ 27 h 2342"/>
                <a:gd name="T60" fmla="*/ 1023 w 1574"/>
                <a:gd name="T61" fmla="*/ 7 h 2342"/>
                <a:gd name="T62" fmla="*/ 1036 w 1574"/>
                <a:gd name="T63" fmla="*/ 4 h 2342"/>
                <a:gd name="T64" fmla="*/ 1064 w 1574"/>
                <a:gd name="T65" fmla="*/ 0 h 2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574" h="2342">
                  <a:moveTo>
                    <a:pt x="140" y="1799"/>
                  </a:moveTo>
                  <a:lnTo>
                    <a:pt x="130" y="1973"/>
                  </a:lnTo>
                  <a:lnTo>
                    <a:pt x="175" y="1993"/>
                  </a:lnTo>
                  <a:lnTo>
                    <a:pt x="221" y="2017"/>
                  </a:lnTo>
                  <a:lnTo>
                    <a:pt x="264" y="2043"/>
                  </a:lnTo>
                  <a:lnTo>
                    <a:pt x="305" y="2073"/>
                  </a:lnTo>
                  <a:lnTo>
                    <a:pt x="451" y="1976"/>
                  </a:lnTo>
                  <a:lnTo>
                    <a:pt x="434" y="1957"/>
                  </a:lnTo>
                  <a:lnTo>
                    <a:pt x="412" y="1935"/>
                  </a:lnTo>
                  <a:lnTo>
                    <a:pt x="385" y="1912"/>
                  </a:lnTo>
                  <a:lnTo>
                    <a:pt x="351" y="1887"/>
                  </a:lnTo>
                  <a:lnTo>
                    <a:pt x="311" y="1861"/>
                  </a:lnTo>
                  <a:lnTo>
                    <a:pt x="276" y="1843"/>
                  </a:lnTo>
                  <a:lnTo>
                    <a:pt x="242" y="1827"/>
                  </a:lnTo>
                  <a:lnTo>
                    <a:pt x="212" y="1816"/>
                  </a:lnTo>
                  <a:lnTo>
                    <a:pt x="186" y="1808"/>
                  </a:lnTo>
                  <a:lnTo>
                    <a:pt x="162" y="1803"/>
                  </a:lnTo>
                  <a:lnTo>
                    <a:pt x="140" y="1799"/>
                  </a:lnTo>
                  <a:close/>
                  <a:moveTo>
                    <a:pt x="1083" y="0"/>
                  </a:moveTo>
                  <a:lnTo>
                    <a:pt x="1106" y="0"/>
                  </a:lnTo>
                  <a:lnTo>
                    <a:pt x="1132" y="2"/>
                  </a:lnTo>
                  <a:lnTo>
                    <a:pt x="1161" y="7"/>
                  </a:lnTo>
                  <a:lnTo>
                    <a:pt x="1192" y="14"/>
                  </a:lnTo>
                  <a:lnTo>
                    <a:pt x="1227" y="25"/>
                  </a:lnTo>
                  <a:lnTo>
                    <a:pt x="1264" y="39"/>
                  </a:lnTo>
                  <a:lnTo>
                    <a:pt x="1305" y="56"/>
                  </a:lnTo>
                  <a:lnTo>
                    <a:pt x="1347" y="80"/>
                  </a:lnTo>
                  <a:lnTo>
                    <a:pt x="1391" y="107"/>
                  </a:lnTo>
                  <a:lnTo>
                    <a:pt x="1430" y="135"/>
                  </a:lnTo>
                  <a:lnTo>
                    <a:pt x="1462" y="161"/>
                  </a:lnTo>
                  <a:lnTo>
                    <a:pt x="1489" y="188"/>
                  </a:lnTo>
                  <a:lnTo>
                    <a:pt x="1512" y="213"/>
                  </a:lnTo>
                  <a:lnTo>
                    <a:pt x="1529" y="236"/>
                  </a:lnTo>
                  <a:lnTo>
                    <a:pt x="1544" y="258"/>
                  </a:lnTo>
                  <a:lnTo>
                    <a:pt x="1554" y="277"/>
                  </a:lnTo>
                  <a:lnTo>
                    <a:pt x="1562" y="294"/>
                  </a:lnTo>
                  <a:lnTo>
                    <a:pt x="1567" y="307"/>
                  </a:lnTo>
                  <a:lnTo>
                    <a:pt x="1571" y="316"/>
                  </a:lnTo>
                  <a:lnTo>
                    <a:pt x="1572" y="322"/>
                  </a:lnTo>
                  <a:lnTo>
                    <a:pt x="1574" y="340"/>
                  </a:lnTo>
                  <a:lnTo>
                    <a:pt x="1571" y="359"/>
                  </a:lnTo>
                  <a:lnTo>
                    <a:pt x="1563" y="375"/>
                  </a:lnTo>
                  <a:lnTo>
                    <a:pt x="628" y="1985"/>
                  </a:lnTo>
                  <a:lnTo>
                    <a:pt x="618" y="1998"/>
                  </a:lnTo>
                  <a:lnTo>
                    <a:pt x="605" y="2009"/>
                  </a:lnTo>
                  <a:lnTo>
                    <a:pt x="115" y="2330"/>
                  </a:lnTo>
                  <a:lnTo>
                    <a:pt x="97" y="2339"/>
                  </a:lnTo>
                  <a:lnTo>
                    <a:pt x="77" y="2342"/>
                  </a:lnTo>
                  <a:lnTo>
                    <a:pt x="56" y="2340"/>
                  </a:lnTo>
                  <a:lnTo>
                    <a:pt x="36" y="2332"/>
                  </a:lnTo>
                  <a:lnTo>
                    <a:pt x="23" y="2323"/>
                  </a:lnTo>
                  <a:lnTo>
                    <a:pt x="13" y="2311"/>
                  </a:lnTo>
                  <a:lnTo>
                    <a:pt x="5" y="2296"/>
                  </a:lnTo>
                  <a:lnTo>
                    <a:pt x="0" y="2280"/>
                  </a:lnTo>
                  <a:lnTo>
                    <a:pt x="0" y="2263"/>
                  </a:lnTo>
                  <a:lnTo>
                    <a:pt x="34" y="1683"/>
                  </a:lnTo>
                  <a:lnTo>
                    <a:pt x="38" y="1666"/>
                  </a:lnTo>
                  <a:lnTo>
                    <a:pt x="45" y="1651"/>
                  </a:lnTo>
                  <a:lnTo>
                    <a:pt x="981" y="41"/>
                  </a:lnTo>
                  <a:lnTo>
                    <a:pt x="991" y="27"/>
                  </a:lnTo>
                  <a:lnTo>
                    <a:pt x="1005" y="15"/>
                  </a:lnTo>
                  <a:lnTo>
                    <a:pt x="1023" y="7"/>
                  </a:lnTo>
                  <a:lnTo>
                    <a:pt x="1027" y="6"/>
                  </a:lnTo>
                  <a:lnTo>
                    <a:pt x="1036" y="4"/>
                  </a:lnTo>
                  <a:lnTo>
                    <a:pt x="1049" y="2"/>
                  </a:lnTo>
                  <a:lnTo>
                    <a:pt x="1064" y="0"/>
                  </a:lnTo>
                  <a:lnTo>
                    <a:pt x="108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9" name="Freeform 1043">
              <a:extLst>
                <a:ext uri="{FF2B5EF4-FFF2-40B4-BE49-F238E27FC236}">
                  <a16:creationId xmlns:a16="http://schemas.microsoft.com/office/drawing/2014/main" id="{163AE666-5145-CE17-9604-785214FC5EEB}"/>
                </a:ext>
              </a:extLst>
            </p:cNvPr>
            <p:cNvSpPr>
              <a:spLocks/>
            </p:cNvSpPr>
            <p:nvPr/>
          </p:nvSpPr>
          <p:spPr bwMode="auto">
            <a:xfrm>
              <a:off x="9995" y="-1385"/>
              <a:ext cx="286" cy="146"/>
            </a:xfrm>
            <a:custGeom>
              <a:avLst/>
              <a:gdLst>
                <a:gd name="T0" fmla="*/ 551 w 1143"/>
                <a:gd name="T1" fmla="*/ 5 h 585"/>
                <a:gd name="T2" fmla="*/ 577 w 1143"/>
                <a:gd name="T3" fmla="*/ 28 h 585"/>
                <a:gd name="T4" fmla="*/ 585 w 1143"/>
                <a:gd name="T5" fmla="*/ 110 h 585"/>
                <a:gd name="T6" fmla="*/ 554 w 1143"/>
                <a:gd name="T7" fmla="*/ 197 h 585"/>
                <a:gd name="T8" fmla="*/ 563 w 1143"/>
                <a:gd name="T9" fmla="*/ 239 h 585"/>
                <a:gd name="T10" fmla="*/ 581 w 1143"/>
                <a:gd name="T11" fmla="*/ 267 h 585"/>
                <a:gd name="T12" fmla="*/ 631 w 1143"/>
                <a:gd name="T13" fmla="*/ 275 h 585"/>
                <a:gd name="T14" fmla="*/ 674 w 1143"/>
                <a:gd name="T15" fmla="*/ 319 h 585"/>
                <a:gd name="T16" fmla="*/ 685 w 1143"/>
                <a:gd name="T17" fmla="*/ 353 h 585"/>
                <a:gd name="T18" fmla="*/ 838 w 1143"/>
                <a:gd name="T19" fmla="*/ 347 h 585"/>
                <a:gd name="T20" fmla="*/ 986 w 1143"/>
                <a:gd name="T21" fmla="*/ 362 h 585"/>
                <a:gd name="T22" fmla="*/ 1106 w 1143"/>
                <a:gd name="T23" fmla="*/ 369 h 585"/>
                <a:gd name="T24" fmla="*/ 1137 w 1143"/>
                <a:gd name="T25" fmla="*/ 396 h 585"/>
                <a:gd name="T26" fmla="*/ 1142 w 1143"/>
                <a:gd name="T27" fmla="*/ 436 h 585"/>
                <a:gd name="T28" fmla="*/ 1119 w 1143"/>
                <a:gd name="T29" fmla="*/ 470 h 585"/>
                <a:gd name="T30" fmla="*/ 1055 w 1143"/>
                <a:gd name="T31" fmla="*/ 477 h 585"/>
                <a:gd name="T32" fmla="*/ 946 w 1143"/>
                <a:gd name="T33" fmla="*/ 461 h 585"/>
                <a:gd name="T34" fmla="*/ 834 w 1143"/>
                <a:gd name="T35" fmla="*/ 447 h 585"/>
                <a:gd name="T36" fmla="*/ 730 w 1143"/>
                <a:gd name="T37" fmla="*/ 456 h 585"/>
                <a:gd name="T38" fmla="*/ 672 w 1143"/>
                <a:gd name="T39" fmla="*/ 481 h 585"/>
                <a:gd name="T40" fmla="*/ 630 w 1143"/>
                <a:gd name="T41" fmla="*/ 486 h 585"/>
                <a:gd name="T42" fmla="*/ 596 w 1143"/>
                <a:gd name="T43" fmla="*/ 472 h 585"/>
                <a:gd name="T44" fmla="*/ 571 w 1143"/>
                <a:gd name="T45" fmla="*/ 449 h 585"/>
                <a:gd name="T46" fmla="*/ 565 w 1143"/>
                <a:gd name="T47" fmla="*/ 403 h 585"/>
                <a:gd name="T48" fmla="*/ 531 w 1143"/>
                <a:gd name="T49" fmla="*/ 452 h 585"/>
                <a:gd name="T50" fmla="*/ 490 w 1143"/>
                <a:gd name="T51" fmla="*/ 465 h 585"/>
                <a:gd name="T52" fmla="*/ 450 w 1143"/>
                <a:gd name="T53" fmla="*/ 451 h 585"/>
                <a:gd name="T54" fmla="*/ 435 w 1143"/>
                <a:gd name="T55" fmla="*/ 414 h 585"/>
                <a:gd name="T56" fmla="*/ 445 w 1143"/>
                <a:gd name="T57" fmla="*/ 385 h 585"/>
                <a:gd name="T58" fmla="*/ 454 w 1143"/>
                <a:gd name="T59" fmla="*/ 365 h 585"/>
                <a:gd name="T60" fmla="*/ 417 w 1143"/>
                <a:gd name="T61" fmla="*/ 400 h 585"/>
                <a:gd name="T62" fmla="*/ 375 w 1143"/>
                <a:gd name="T63" fmla="*/ 423 h 585"/>
                <a:gd name="T64" fmla="*/ 331 w 1143"/>
                <a:gd name="T65" fmla="*/ 412 h 585"/>
                <a:gd name="T66" fmla="*/ 311 w 1143"/>
                <a:gd name="T67" fmla="*/ 375 h 585"/>
                <a:gd name="T68" fmla="*/ 360 w 1143"/>
                <a:gd name="T69" fmla="*/ 285 h 585"/>
                <a:gd name="T70" fmla="*/ 250 w 1143"/>
                <a:gd name="T71" fmla="*/ 388 h 585"/>
                <a:gd name="T72" fmla="*/ 95 w 1143"/>
                <a:gd name="T73" fmla="*/ 574 h 585"/>
                <a:gd name="T74" fmla="*/ 49 w 1143"/>
                <a:gd name="T75" fmla="*/ 584 h 585"/>
                <a:gd name="T76" fmla="*/ 9 w 1143"/>
                <a:gd name="T77" fmla="*/ 562 h 585"/>
                <a:gd name="T78" fmla="*/ 2 w 1143"/>
                <a:gd name="T79" fmla="*/ 521 h 585"/>
                <a:gd name="T80" fmla="*/ 137 w 1143"/>
                <a:gd name="T81" fmla="*/ 347 h 585"/>
                <a:gd name="T82" fmla="*/ 341 w 1143"/>
                <a:gd name="T83" fmla="*/ 122 h 585"/>
                <a:gd name="T84" fmla="*/ 395 w 1143"/>
                <a:gd name="T85" fmla="*/ 70 h 585"/>
                <a:gd name="T86" fmla="*/ 458 w 1143"/>
                <a:gd name="T87" fmla="*/ 20 h 585"/>
                <a:gd name="T88" fmla="*/ 528 w 1143"/>
                <a:gd name="T89" fmla="*/ 0 h 5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43" h="585">
                  <a:moveTo>
                    <a:pt x="528" y="0"/>
                  </a:moveTo>
                  <a:lnTo>
                    <a:pt x="539" y="2"/>
                  </a:lnTo>
                  <a:lnTo>
                    <a:pt x="551" y="5"/>
                  </a:lnTo>
                  <a:lnTo>
                    <a:pt x="561" y="10"/>
                  </a:lnTo>
                  <a:lnTo>
                    <a:pt x="571" y="18"/>
                  </a:lnTo>
                  <a:lnTo>
                    <a:pt x="577" y="28"/>
                  </a:lnTo>
                  <a:lnTo>
                    <a:pt x="585" y="53"/>
                  </a:lnTo>
                  <a:lnTo>
                    <a:pt x="587" y="81"/>
                  </a:lnTo>
                  <a:lnTo>
                    <a:pt x="585" y="110"/>
                  </a:lnTo>
                  <a:lnTo>
                    <a:pt x="578" y="139"/>
                  </a:lnTo>
                  <a:lnTo>
                    <a:pt x="567" y="168"/>
                  </a:lnTo>
                  <a:lnTo>
                    <a:pt x="554" y="197"/>
                  </a:lnTo>
                  <a:lnTo>
                    <a:pt x="537" y="227"/>
                  </a:lnTo>
                  <a:lnTo>
                    <a:pt x="551" y="232"/>
                  </a:lnTo>
                  <a:lnTo>
                    <a:pt x="563" y="239"/>
                  </a:lnTo>
                  <a:lnTo>
                    <a:pt x="573" y="252"/>
                  </a:lnTo>
                  <a:lnTo>
                    <a:pt x="577" y="260"/>
                  </a:lnTo>
                  <a:lnTo>
                    <a:pt x="581" y="267"/>
                  </a:lnTo>
                  <a:lnTo>
                    <a:pt x="597" y="266"/>
                  </a:lnTo>
                  <a:lnTo>
                    <a:pt x="614" y="269"/>
                  </a:lnTo>
                  <a:lnTo>
                    <a:pt x="631" y="275"/>
                  </a:lnTo>
                  <a:lnTo>
                    <a:pt x="646" y="286"/>
                  </a:lnTo>
                  <a:lnTo>
                    <a:pt x="661" y="300"/>
                  </a:lnTo>
                  <a:lnTo>
                    <a:pt x="674" y="319"/>
                  </a:lnTo>
                  <a:lnTo>
                    <a:pt x="681" y="334"/>
                  </a:lnTo>
                  <a:lnTo>
                    <a:pt x="684" y="345"/>
                  </a:lnTo>
                  <a:lnTo>
                    <a:pt x="685" y="353"/>
                  </a:lnTo>
                  <a:lnTo>
                    <a:pt x="738" y="347"/>
                  </a:lnTo>
                  <a:lnTo>
                    <a:pt x="789" y="346"/>
                  </a:lnTo>
                  <a:lnTo>
                    <a:pt x="838" y="347"/>
                  </a:lnTo>
                  <a:lnTo>
                    <a:pt x="887" y="351"/>
                  </a:lnTo>
                  <a:lnTo>
                    <a:pt x="936" y="356"/>
                  </a:lnTo>
                  <a:lnTo>
                    <a:pt x="986" y="362"/>
                  </a:lnTo>
                  <a:lnTo>
                    <a:pt x="1036" y="365"/>
                  </a:lnTo>
                  <a:lnTo>
                    <a:pt x="1089" y="367"/>
                  </a:lnTo>
                  <a:lnTo>
                    <a:pt x="1106" y="369"/>
                  </a:lnTo>
                  <a:lnTo>
                    <a:pt x="1119" y="375"/>
                  </a:lnTo>
                  <a:lnTo>
                    <a:pt x="1130" y="384"/>
                  </a:lnTo>
                  <a:lnTo>
                    <a:pt x="1137" y="396"/>
                  </a:lnTo>
                  <a:lnTo>
                    <a:pt x="1142" y="408"/>
                  </a:lnTo>
                  <a:lnTo>
                    <a:pt x="1143" y="422"/>
                  </a:lnTo>
                  <a:lnTo>
                    <a:pt x="1142" y="436"/>
                  </a:lnTo>
                  <a:lnTo>
                    <a:pt x="1137" y="449"/>
                  </a:lnTo>
                  <a:lnTo>
                    <a:pt x="1130" y="460"/>
                  </a:lnTo>
                  <a:lnTo>
                    <a:pt x="1119" y="470"/>
                  </a:lnTo>
                  <a:lnTo>
                    <a:pt x="1106" y="476"/>
                  </a:lnTo>
                  <a:lnTo>
                    <a:pt x="1089" y="478"/>
                  </a:lnTo>
                  <a:lnTo>
                    <a:pt x="1055" y="477"/>
                  </a:lnTo>
                  <a:lnTo>
                    <a:pt x="1020" y="473"/>
                  </a:lnTo>
                  <a:lnTo>
                    <a:pt x="983" y="467"/>
                  </a:lnTo>
                  <a:lnTo>
                    <a:pt x="946" y="461"/>
                  </a:lnTo>
                  <a:lnTo>
                    <a:pt x="909" y="455"/>
                  </a:lnTo>
                  <a:lnTo>
                    <a:pt x="872" y="450"/>
                  </a:lnTo>
                  <a:lnTo>
                    <a:pt x="834" y="447"/>
                  </a:lnTo>
                  <a:lnTo>
                    <a:pt x="798" y="446"/>
                  </a:lnTo>
                  <a:lnTo>
                    <a:pt x="763" y="449"/>
                  </a:lnTo>
                  <a:lnTo>
                    <a:pt x="730" y="456"/>
                  </a:lnTo>
                  <a:lnTo>
                    <a:pt x="698" y="469"/>
                  </a:lnTo>
                  <a:lnTo>
                    <a:pt x="685" y="475"/>
                  </a:lnTo>
                  <a:lnTo>
                    <a:pt x="672" y="481"/>
                  </a:lnTo>
                  <a:lnTo>
                    <a:pt x="657" y="486"/>
                  </a:lnTo>
                  <a:lnTo>
                    <a:pt x="644" y="488"/>
                  </a:lnTo>
                  <a:lnTo>
                    <a:pt x="630" y="486"/>
                  </a:lnTo>
                  <a:lnTo>
                    <a:pt x="619" y="482"/>
                  </a:lnTo>
                  <a:lnTo>
                    <a:pt x="608" y="477"/>
                  </a:lnTo>
                  <a:lnTo>
                    <a:pt x="596" y="472"/>
                  </a:lnTo>
                  <a:lnTo>
                    <a:pt x="586" y="465"/>
                  </a:lnTo>
                  <a:lnTo>
                    <a:pt x="578" y="458"/>
                  </a:lnTo>
                  <a:lnTo>
                    <a:pt x="571" y="449"/>
                  </a:lnTo>
                  <a:lnTo>
                    <a:pt x="566" y="437"/>
                  </a:lnTo>
                  <a:lnTo>
                    <a:pt x="565" y="418"/>
                  </a:lnTo>
                  <a:lnTo>
                    <a:pt x="565" y="403"/>
                  </a:lnTo>
                  <a:lnTo>
                    <a:pt x="554" y="422"/>
                  </a:lnTo>
                  <a:lnTo>
                    <a:pt x="542" y="441"/>
                  </a:lnTo>
                  <a:lnTo>
                    <a:pt x="531" y="452"/>
                  </a:lnTo>
                  <a:lnTo>
                    <a:pt x="519" y="460"/>
                  </a:lnTo>
                  <a:lnTo>
                    <a:pt x="504" y="464"/>
                  </a:lnTo>
                  <a:lnTo>
                    <a:pt x="490" y="465"/>
                  </a:lnTo>
                  <a:lnTo>
                    <a:pt x="475" y="463"/>
                  </a:lnTo>
                  <a:lnTo>
                    <a:pt x="462" y="458"/>
                  </a:lnTo>
                  <a:lnTo>
                    <a:pt x="450" y="451"/>
                  </a:lnTo>
                  <a:lnTo>
                    <a:pt x="441" y="441"/>
                  </a:lnTo>
                  <a:lnTo>
                    <a:pt x="436" y="428"/>
                  </a:lnTo>
                  <a:lnTo>
                    <a:pt x="435" y="414"/>
                  </a:lnTo>
                  <a:lnTo>
                    <a:pt x="439" y="398"/>
                  </a:lnTo>
                  <a:lnTo>
                    <a:pt x="442" y="391"/>
                  </a:lnTo>
                  <a:lnTo>
                    <a:pt x="445" y="385"/>
                  </a:lnTo>
                  <a:lnTo>
                    <a:pt x="445" y="385"/>
                  </a:lnTo>
                  <a:lnTo>
                    <a:pt x="444" y="385"/>
                  </a:lnTo>
                  <a:lnTo>
                    <a:pt x="454" y="365"/>
                  </a:lnTo>
                  <a:lnTo>
                    <a:pt x="440" y="374"/>
                  </a:lnTo>
                  <a:lnTo>
                    <a:pt x="428" y="385"/>
                  </a:lnTo>
                  <a:lnTo>
                    <a:pt x="417" y="400"/>
                  </a:lnTo>
                  <a:lnTo>
                    <a:pt x="405" y="412"/>
                  </a:lnTo>
                  <a:lnTo>
                    <a:pt x="390" y="420"/>
                  </a:lnTo>
                  <a:lnTo>
                    <a:pt x="375" y="423"/>
                  </a:lnTo>
                  <a:lnTo>
                    <a:pt x="359" y="423"/>
                  </a:lnTo>
                  <a:lnTo>
                    <a:pt x="345" y="419"/>
                  </a:lnTo>
                  <a:lnTo>
                    <a:pt x="331" y="412"/>
                  </a:lnTo>
                  <a:lnTo>
                    <a:pt x="321" y="402"/>
                  </a:lnTo>
                  <a:lnTo>
                    <a:pt x="314" y="389"/>
                  </a:lnTo>
                  <a:lnTo>
                    <a:pt x="311" y="375"/>
                  </a:lnTo>
                  <a:lnTo>
                    <a:pt x="313" y="360"/>
                  </a:lnTo>
                  <a:lnTo>
                    <a:pt x="320" y="343"/>
                  </a:lnTo>
                  <a:lnTo>
                    <a:pt x="360" y="285"/>
                  </a:lnTo>
                  <a:lnTo>
                    <a:pt x="400" y="224"/>
                  </a:lnTo>
                  <a:lnTo>
                    <a:pt x="323" y="305"/>
                  </a:lnTo>
                  <a:lnTo>
                    <a:pt x="250" y="388"/>
                  </a:lnTo>
                  <a:lnTo>
                    <a:pt x="177" y="475"/>
                  </a:lnTo>
                  <a:lnTo>
                    <a:pt x="108" y="562"/>
                  </a:lnTo>
                  <a:lnTo>
                    <a:pt x="95" y="574"/>
                  </a:lnTo>
                  <a:lnTo>
                    <a:pt x="80" y="582"/>
                  </a:lnTo>
                  <a:lnTo>
                    <a:pt x="64" y="585"/>
                  </a:lnTo>
                  <a:lnTo>
                    <a:pt x="49" y="584"/>
                  </a:lnTo>
                  <a:lnTo>
                    <a:pt x="33" y="580"/>
                  </a:lnTo>
                  <a:lnTo>
                    <a:pt x="21" y="572"/>
                  </a:lnTo>
                  <a:lnTo>
                    <a:pt x="9" y="562"/>
                  </a:lnTo>
                  <a:lnTo>
                    <a:pt x="2" y="550"/>
                  </a:lnTo>
                  <a:lnTo>
                    <a:pt x="0" y="535"/>
                  </a:lnTo>
                  <a:lnTo>
                    <a:pt x="2" y="521"/>
                  </a:lnTo>
                  <a:lnTo>
                    <a:pt x="12" y="506"/>
                  </a:lnTo>
                  <a:lnTo>
                    <a:pt x="74" y="426"/>
                  </a:lnTo>
                  <a:lnTo>
                    <a:pt x="137" y="347"/>
                  </a:lnTo>
                  <a:lnTo>
                    <a:pt x="202" y="270"/>
                  </a:lnTo>
                  <a:lnTo>
                    <a:pt x="270" y="194"/>
                  </a:lnTo>
                  <a:lnTo>
                    <a:pt x="341" y="122"/>
                  </a:lnTo>
                  <a:lnTo>
                    <a:pt x="357" y="106"/>
                  </a:lnTo>
                  <a:lnTo>
                    <a:pt x="376" y="88"/>
                  </a:lnTo>
                  <a:lnTo>
                    <a:pt x="395" y="70"/>
                  </a:lnTo>
                  <a:lnTo>
                    <a:pt x="414" y="51"/>
                  </a:lnTo>
                  <a:lnTo>
                    <a:pt x="435" y="35"/>
                  </a:lnTo>
                  <a:lnTo>
                    <a:pt x="458" y="20"/>
                  </a:lnTo>
                  <a:lnTo>
                    <a:pt x="480" y="9"/>
                  </a:lnTo>
                  <a:lnTo>
                    <a:pt x="504" y="2"/>
                  </a:lnTo>
                  <a:lnTo>
                    <a:pt x="52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110" name="Group 1139">
            <a:extLst>
              <a:ext uri="{FF2B5EF4-FFF2-40B4-BE49-F238E27FC236}">
                <a16:creationId xmlns:a16="http://schemas.microsoft.com/office/drawing/2014/main" id="{FC45EE91-0C5A-18E4-A664-3561D69C78B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941525" y="2476710"/>
            <a:ext cx="381704" cy="275520"/>
            <a:chOff x="449" y="-2288"/>
            <a:chExt cx="2466" cy="1780"/>
          </a:xfrm>
          <a:solidFill>
            <a:schemeClr val="accent2"/>
          </a:solidFill>
        </p:grpSpPr>
        <p:sp>
          <p:nvSpPr>
            <p:cNvPr id="111" name="Freeform 1141">
              <a:extLst>
                <a:ext uri="{FF2B5EF4-FFF2-40B4-BE49-F238E27FC236}">
                  <a16:creationId xmlns:a16="http://schemas.microsoft.com/office/drawing/2014/main" id="{1A34E215-9959-4F83-BD1D-EE764133C045}"/>
                </a:ext>
              </a:extLst>
            </p:cNvPr>
            <p:cNvSpPr>
              <a:spLocks/>
            </p:cNvSpPr>
            <p:nvPr/>
          </p:nvSpPr>
          <p:spPr bwMode="auto">
            <a:xfrm>
              <a:off x="1868" y="-1171"/>
              <a:ext cx="1047" cy="645"/>
            </a:xfrm>
            <a:custGeom>
              <a:avLst/>
              <a:gdLst>
                <a:gd name="T0" fmla="*/ 1398 w 2094"/>
                <a:gd name="T1" fmla="*/ 4 h 1290"/>
                <a:gd name="T2" fmla="*/ 1436 w 2094"/>
                <a:gd name="T3" fmla="*/ 25 h 1290"/>
                <a:gd name="T4" fmla="*/ 1494 w 2094"/>
                <a:gd name="T5" fmla="*/ 57 h 1290"/>
                <a:gd name="T6" fmla="*/ 1564 w 2094"/>
                <a:gd name="T7" fmla="*/ 99 h 1290"/>
                <a:gd name="T8" fmla="*/ 1639 w 2094"/>
                <a:gd name="T9" fmla="*/ 145 h 1290"/>
                <a:gd name="T10" fmla="*/ 1711 w 2094"/>
                <a:gd name="T11" fmla="*/ 195 h 1290"/>
                <a:gd name="T12" fmla="*/ 1773 w 2094"/>
                <a:gd name="T13" fmla="*/ 243 h 1290"/>
                <a:gd name="T14" fmla="*/ 1816 w 2094"/>
                <a:gd name="T15" fmla="*/ 286 h 1290"/>
                <a:gd name="T16" fmla="*/ 1870 w 2094"/>
                <a:gd name="T17" fmla="*/ 378 h 1290"/>
                <a:gd name="T18" fmla="*/ 1920 w 2094"/>
                <a:gd name="T19" fmla="*/ 498 h 1290"/>
                <a:gd name="T20" fmla="*/ 1963 w 2094"/>
                <a:gd name="T21" fmla="*/ 637 h 1290"/>
                <a:gd name="T22" fmla="*/ 2002 w 2094"/>
                <a:gd name="T23" fmla="*/ 786 h 1290"/>
                <a:gd name="T24" fmla="*/ 2037 w 2094"/>
                <a:gd name="T25" fmla="*/ 936 h 1290"/>
                <a:gd name="T26" fmla="*/ 2064 w 2094"/>
                <a:gd name="T27" fmla="*/ 1075 h 1290"/>
                <a:gd name="T28" fmla="*/ 2085 w 2094"/>
                <a:gd name="T29" fmla="*/ 1195 h 1290"/>
                <a:gd name="T30" fmla="*/ 2092 w 2094"/>
                <a:gd name="T31" fmla="*/ 1261 h 1290"/>
                <a:gd name="T32" fmla="*/ 2071 w 2094"/>
                <a:gd name="T33" fmla="*/ 1287 h 1290"/>
                <a:gd name="T34" fmla="*/ 39 w 2094"/>
                <a:gd name="T35" fmla="*/ 1290 h 1290"/>
                <a:gd name="T36" fmla="*/ 9 w 2094"/>
                <a:gd name="T37" fmla="*/ 1276 h 1290"/>
                <a:gd name="T38" fmla="*/ 0 w 2094"/>
                <a:gd name="T39" fmla="*/ 1245 h 1290"/>
                <a:gd name="T40" fmla="*/ 18 w 2094"/>
                <a:gd name="T41" fmla="*/ 1138 h 1290"/>
                <a:gd name="T42" fmla="*/ 42 w 2094"/>
                <a:gd name="T43" fmla="*/ 1008 h 1290"/>
                <a:gd name="T44" fmla="*/ 73 w 2094"/>
                <a:gd name="T45" fmla="*/ 861 h 1290"/>
                <a:gd name="T46" fmla="*/ 109 w 2094"/>
                <a:gd name="T47" fmla="*/ 711 h 1290"/>
                <a:gd name="T48" fmla="*/ 151 w 2094"/>
                <a:gd name="T49" fmla="*/ 565 h 1290"/>
                <a:gd name="T50" fmla="*/ 198 w 2094"/>
                <a:gd name="T51" fmla="*/ 435 h 1290"/>
                <a:gd name="T52" fmla="*/ 249 w 2094"/>
                <a:gd name="T53" fmla="*/ 327 h 1290"/>
                <a:gd name="T54" fmla="*/ 295 w 2094"/>
                <a:gd name="T55" fmla="*/ 265 h 1290"/>
                <a:gd name="T56" fmla="*/ 349 w 2094"/>
                <a:gd name="T57" fmla="*/ 219 h 1290"/>
                <a:gd name="T58" fmla="*/ 417 w 2094"/>
                <a:gd name="T59" fmla="*/ 169 h 1290"/>
                <a:gd name="T60" fmla="*/ 491 w 2094"/>
                <a:gd name="T61" fmla="*/ 121 h 1290"/>
                <a:gd name="T62" fmla="*/ 565 w 2094"/>
                <a:gd name="T63" fmla="*/ 76 h 1290"/>
                <a:gd name="T64" fmla="*/ 629 w 2094"/>
                <a:gd name="T65" fmla="*/ 40 h 1290"/>
                <a:gd name="T66" fmla="*/ 679 w 2094"/>
                <a:gd name="T67" fmla="*/ 13 h 1290"/>
                <a:gd name="T68" fmla="*/ 709 w 2094"/>
                <a:gd name="T69" fmla="*/ 0 h 1290"/>
                <a:gd name="T70" fmla="*/ 737 w 2094"/>
                <a:gd name="T71" fmla="*/ 9 h 1290"/>
                <a:gd name="T72" fmla="*/ 836 w 2094"/>
                <a:gd name="T73" fmla="*/ 70 h 1290"/>
                <a:gd name="T74" fmla="*/ 943 w 2094"/>
                <a:gd name="T75" fmla="*/ 108 h 1290"/>
                <a:gd name="T76" fmla="*/ 965 w 2094"/>
                <a:gd name="T77" fmla="*/ 121 h 1290"/>
                <a:gd name="T78" fmla="*/ 1046 w 2094"/>
                <a:gd name="T79" fmla="*/ 330 h 1290"/>
                <a:gd name="T80" fmla="*/ 1128 w 2094"/>
                <a:gd name="T81" fmla="*/ 121 h 1290"/>
                <a:gd name="T82" fmla="*/ 1149 w 2094"/>
                <a:gd name="T83" fmla="*/ 108 h 1290"/>
                <a:gd name="T84" fmla="*/ 1256 w 2094"/>
                <a:gd name="T85" fmla="*/ 70 h 1290"/>
                <a:gd name="T86" fmla="*/ 1356 w 2094"/>
                <a:gd name="T87" fmla="*/ 9 h 1290"/>
                <a:gd name="T88" fmla="*/ 1385 w 2094"/>
                <a:gd name="T89" fmla="*/ 0 h 1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94" h="1290">
                  <a:moveTo>
                    <a:pt x="1385" y="0"/>
                  </a:moveTo>
                  <a:lnTo>
                    <a:pt x="1398" y="4"/>
                  </a:lnTo>
                  <a:lnTo>
                    <a:pt x="1415" y="13"/>
                  </a:lnTo>
                  <a:lnTo>
                    <a:pt x="1436" y="25"/>
                  </a:lnTo>
                  <a:lnTo>
                    <a:pt x="1463" y="40"/>
                  </a:lnTo>
                  <a:lnTo>
                    <a:pt x="1494" y="57"/>
                  </a:lnTo>
                  <a:lnTo>
                    <a:pt x="1527" y="76"/>
                  </a:lnTo>
                  <a:lnTo>
                    <a:pt x="1564" y="99"/>
                  </a:lnTo>
                  <a:lnTo>
                    <a:pt x="1602" y="121"/>
                  </a:lnTo>
                  <a:lnTo>
                    <a:pt x="1639" y="145"/>
                  </a:lnTo>
                  <a:lnTo>
                    <a:pt x="1675" y="169"/>
                  </a:lnTo>
                  <a:lnTo>
                    <a:pt x="1711" y="195"/>
                  </a:lnTo>
                  <a:lnTo>
                    <a:pt x="1744" y="219"/>
                  </a:lnTo>
                  <a:lnTo>
                    <a:pt x="1773" y="243"/>
                  </a:lnTo>
                  <a:lnTo>
                    <a:pt x="1797" y="265"/>
                  </a:lnTo>
                  <a:lnTo>
                    <a:pt x="1816" y="286"/>
                  </a:lnTo>
                  <a:lnTo>
                    <a:pt x="1843" y="327"/>
                  </a:lnTo>
                  <a:lnTo>
                    <a:pt x="1870" y="378"/>
                  </a:lnTo>
                  <a:lnTo>
                    <a:pt x="1896" y="435"/>
                  </a:lnTo>
                  <a:lnTo>
                    <a:pt x="1920" y="498"/>
                  </a:lnTo>
                  <a:lnTo>
                    <a:pt x="1942" y="565"/>
                  </a:lnTo>
                  <a:lnTo>
                    <a:pt x="1963" y="637"/>
                  </a:lnTo>
                  <a:lnTo>
                    <a:pt x="1984" y="711"/>
                  </a:lnTo>
                  <a:lnTo>
                    <a:pt x="2002" y="786"/>
                  </a:lnTo>
                  <a:lnTo>
                    <a:pt x="2020" y="861"/>
                  </a:lnTo>
                  <a:lnTo>
                    <a:pt x="2037" y="936"/>
                  </a:lnTo>
                  <a:lnTo>
                    <a:pt x="2050" y="1008"/>
                  </a:lnTo>
                  <a:lnTo>
                    <a:pt x="2064" y="1075"/>
                  </a:lnTo>
                  <a:lnTo>
                    <a:pt x="2076" y="1138"/>
                  </a:lnTo>
                  <a:lnTo>
                    <a:pt x="2085" y="1195"/>
                  </a:lnTo>
                  <a:lnTo>
                    <a:pt x="2094" y="1245"/>
                  </a:lnTo>
                  <a:lnTo>
                    <a:pt x="2092" y="1261"/>
                  </a:lnTo>
                  <a:lnTo>
                    <a:pt x="2085" y="1276"/>
                  </a:lnTo>
                  <a:lnTo>
                    <a:pt x="2071" y="1287"/>
                  </a:lnTo>
                  <a:lnTo>
                    <a:pt x="2055" y="1290"/>
                  </a:lnTo>
                  <a:lnTo>
                    <a:pt x="39" y="1290"/>
                  </a:lnTo>
                  <a:lnTo>
                    <a:pt x="22" y="1287"/>
                  </a:lnTo>
                  <a:lnTo>
                    <a:pt x="9" y="1276"/>
                  </a:lnTo>
                  <a:lnTo>
                    <a:pt x="1" y="1261"/>
                  </a:lnTo>
                  <a:lnTo>
                    <a:pt x="0" y="1245"/>
                  </a:lnTo>
                  <a:lnTo>
                    <a:pt x="7" y="1195"/>
                  </a:lnTo>
                  <a:lnTo>
                    <a:pt x="18" y="1138"/>
                  </a:lnTo>
                  <a:lnTo>
                    <a:pt x="28" y="1075"/>
                  </a:lnTo>
                  <a:lnTo>
                    <a:pt x="42" y="1008"/>
                  </a:lnTo>
                  <a:lnTo>
                    <a:pt x="57" y="936"/>
                  </a:lnTo>
                  <a:lnTo>
                    <a:pt x="73" y="861"/>
                  </a:lnTo>
                  <a:lnTo>
                    <a:pt x="90" y="786"/>
                  </a:lnTo>
                  <a:lnTo>
                    <a:pt x="109" y="711"/>
                  </a:lnTo>
                  <a:lnTo>
                    <a:pt x="129" y="637"/>
                  </a:lnTo>
                  <a:lnTo>
                    <a:pt x="151" y="565"/>
                  </a:lnTo>
                  <a:lnTo>
                    <a:pt x="174" y="498"/>
                  </a:lnTo>
                  <a:lnTo>
                    <a:pt x="198" y="435"/>
                  </a:lnTo>
                  <a:lnTo>
                    <a:pt x="223" y="378"/>
                  </a:lnTo>
                  <a:lnTo>
                    <a:pt x="249" y="327"/>
                  </a:lnTo>
                  <a:lnTo>
                    <a:pt x="277" y="286"/>
                  </a:lnTo>
                  <a:lnTo>
                    <a:pt x="295" y="265"/>
                  </a:lnTo>
                  <a:lnTo>
                    <a:pt x="319" y="243"/>
                  </a:lnTo>
                  <a:lnTo>
                    <a:pt x="349" y="219"/>
                  </a:lnTo>
                  <a:lnTo>
                    <a:pt x="382" y="195"/>
                  </a:lnTo>
                  <a:lnTo>
                    <a:pt x="417" y="169"/>
                  </a:lnTo>
                  <a:lnTo>
                    <a:pt x="454" y="145"/>
                  </a:lnTo>
                  <a:lnTo>
                    <a:pt x="491" y="121"/>
                  </a:lnTo>
                  <a:lnTo>
                    <a:pt x="529" y="99"/>
                  </a:lnTo>
                  <a:lnTo>
                    <a:pt x="565" y="76"/>
                  </a:lnTo>
                  <a:lnTo>
                    <a:pt x="599" y="57"/>
                  </a:lnTo>
                  <a:lnTo>
                    <a:pt x="629" y="40"/>
                  </a:lnTo>
                  <a:lnTo>
                    <a:pt x="656" y="25"/>
                  </a:lnTo>
                  <a:lnTo>
                    <a:pt x="679" y="13"/>
                  </a:lnTo>
                  <a:lnTo>
                    <a:pt x="694" y="4"/>
                  </a:lnTo>
                  <a:lnTo>
                    <a:pt x="709" y="0"/>
                  </a:lnTo>
                  <a:lnTo>
                    <a:pt x="724" y="1"/>
                  </a:lnTo>
                  <a:lnTo>
                    <a:pt x="737" y="9"/>
                  </a:lnTo>
                  <a:lnTo>
                    <a:pt x="785" y="43"/>
                  </a:lnTo>
                  <a:lnTo>
                    <a:pt x="836" y="70"/>
                  </a:lnTo>
                  <a:lnTo>
                    <a:pt x="889" y="93"/>
                  </a:lnTo>
                  <a:lnTo>
                    <a:pt x="943" y="108"/>
                  </a:lnTo>
                  <a:lnTo>
                    <a:pt x="955" y="114"/>
                  </a:lnTo>
                  <a:lnTo>
                    <a:pt x="965" y="121"/>
                  </a:lnTo>
                  <a:lnTo>
                    <a:pt x="971" y="133"/>
                  </a:lnTo>
                  <a:lnTo>
                    <a:pt x="1046" y="330"/>
                  </a:lnTo>
                  <a:lnTo>
                    <a:pt x="1121" y="133"/>
                  </a:lnTo>
                  <a:lnTo>
                    <a:pt x="1128" y="121"/>
                  </a:lnTo>
                  <a:lnTo>
                    <a:pt x="1137" y="114"/>
                  </a:lnTo>
                  <a:lnTo>
                    <a:pt x="1149" y="108"/>
                  </a:lnTo>
                  <a:lnTo>
                    <a:pt x="1203" y="93"/>
                  </a:lnTo>
                  <a:lnTo>
                    <a:pt x="1256" y="70"/>
                  </a:lnTo>
                  <a:lnTo>
                    <a:pt x="1307" y="43"/>
                  </a:lnTo>
                  <a:lnTo>
                    <a:pt x="1356" y="9"/>
                  </a:lnTo>
                  <a:lnTo>
                    <a:pt x="1370" y="1"/>
                  </a:lnTo>
                  <a:lnTo>
                    <a:pt x="138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2" name="Freeform 1142">
              <a:extLst>
                <a:ext uri="{FF2B5EF4-FFF2-40B4-BE49-F238E27FC236}">
                  <a16:creationId xmlns:a16="http://schemas.microsoft.com/office/drawing/2014/main" id="{E3BE2B53-B27F-D182-218A-53B88F2697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020" y="-1788"/>
              <a:ext cx="654" cy="637"/>
            </a:xfrm>
            <a:custGeom>
              <a:avLst/>
              <a:gdLst>
                <a:gd name="T0" fmla="*/ 816 w 1308"/>
                <a:gd name="T1" fmla="*/ 3 h 1273"/>
                <a:gd name="T2" fmla="*/ 945 w 1308"/>
                <a:gd name="T3" fmla="*/ 18 h 1273"/>
                <a:gd name="T4" fmla="*/ 1049 w 1308"/>
                <a:gd name="T5" fmla="*/ 49 h 1273"/>
                <a:gd name="T6" fmla="*/ 1131 w 1308"/>
                <a:gd name="T7" fmla="*/ 96 h 1273"/>
                <a:gd name="T8" fmla="*/ 1194 w 1308"/>
                <a:gd name="T9" fmla="*/ 153 h 1273"/>
                <a:gd name="T10" fmla="*/ 1241 w 1308"/>
                <a:gd name="T11" fmla="*/ 222 h 1273"/>
                <a:gd name="T12" fmla="*/ 1272 w 1308"/>
                <a:gd name="T13" fmla="*/ 301 h 1273"/>
                <a:gd name="T14" fmla="*/ 1293 w 1308"/>
                <a:gd name="T15" fmla="*/ 388 h 1273"/>
                <a:gd name="T16" fmla="*/ 1303 w 1308"/>
                <a:gd name="T17" fmla="*/ 484 h 1273"/>
                <a:gd name="T18" fmla="*/ 1308 w 1308"/>
                <a:gd name="T19" fmla="*/ 585 h 1273"/>
                <a:gd name="T20" fmla="*/ 1305 w 1308"/>
                <a:gd name="T21" fmla="*/ 711 h 1273"/>
                <a:gd name="T22" fmla="*/ 1275 w 1308"/>
                <a:gd name="T23" fmla="*/ 852 h 1273"/>
                <a:gd name="T24" fmla="*/ 1221 w 1308"/>
                <a:gd name="T25" fmla="*/ 978 h 1273"/>
                <a:gd name="T26" fmla="*/ 1143 w 1308"/>
                <a:gd name="T27" fmla="*/ 1087 h 1273"/>
                <a:gd name="T28" fmla="*/ 1046 w 1308"/>
                <a:gd name="T29" fmla="*/ 1174 h 1273"/>
                <a:gd name="T30" fmla="*/ 933 w 1308"/>
                <a:gd name="T31" fmla="*/ 1236 h 1273"/>
                <a:gd name="T32" fmla="*/ 809 w 1308"/>
                <a:gd name="T33" fmla="*/ 1269 h 1273"/>
                <a:gd name="T34" fmla="*/ 677 w 1308"/>
                <a:gd name="T35" fmla="*/ 1269 h 1273"/>
                <a:gd name="T36" fmla="*/ 553 w 1308"/>
                <a:gd name="T37" fmla="*/ 1236 h 1273"/>
                <a:gd name="T38" fmla="*/ 440 w 1308"/>
                <a:gd name="T39" fmla="*/ 1174 h 1273"/>
                <a:gd name="T40" fmla="*/ 344 w 1308"/>
                <a:gd name="T41" fmla="*/ 1087 h 1273"/>
                <a:gd name="T42" fmla="*/ 266 w 1308"/>
                <a:gd name="T43" fmla="*/ 978 h 1273"/>
                <a:gd name="T44" fmla="*/ 211 w 1308"/>
                <a:gd name="T45" fmla="*/ 852 h 1273"/>
                <a:gd name="T46" fmla="*/ 182 w 1308"/>
                <a:gd name="T47" fmla="*/ 711 h 1273"/>
                <a:gd name="T48" fmla="*/ 179 w 1308"/>
                <a:gd name="T49" fmla="*/ 576 h 1273"/>
                <a:gd name="T50" fmla="*/ 136 w 1308"/>
                <a:gd name="T51" fmla="*/ 615 h 1273"/>
                <a:gd name="T52" fmla="*/ 106 w 1308"/>
                <a:gd name="T53" fmla="*/ 666 h 1273"/>
                <a:gd name="T54" fmla="*/ 97 w 1308"/>
                <a:gd name="T55" fmla="*/ 735 h 1273"/>
                <a:gd name="T56" fmla="*/ 117 w 1308"/>
                <a:gd name="T57" fmla="*/ 813 h 1273"/>
                <a:gd name="T58" fmla="*/ 158 w 1308"/>
                <a:gd name="T59" fmla="*/ 864 h 1273"/>
                <a:gd name="T60" fmla="*/ 199 w 1308"/>
                <a:gd name="T61" fmla="*/ 913 h 1273"/>
                <a:gd name="T62" fmla="*/ 211 w 1308"/>
                <a:gd name="T63" fmla="*/ 946 h 1273"/>
                <a:gd name="T64" fmla="*/ 205 w 1308"/>
                <a:gd name="T65" fmla="*/ 981 h 1273"/>
                <a:gd name="T66" fmla="*/ 182 w 1308"/>
                <a:gd name="T67" fmla="*/ 1006 h 1273"/>
                <a:gd name="T68" fmla="*/ 145 w 1308"/>
                <a:gd name="T69" fmla="*/ 1018 h 1273"/>
                <a:gd name="T70" fmla="*/ 105 w 1308"/>
                <a:gd name="T71" fmla="*/ 1005 h 1273"/>
                <a:gd name="T72" fmla="*/ 66 w 1308"/>
                <a:gd name="T73" fmla="*/ 957 h 1273"/>
                <a:gd name="T74" fmla="*/ 55 w 1308"/>
                <a:gd name="T75" fmla="*/ 921 h 1273"/>
                <a:gd name="T76" fmla="*/ 31 w 1308"/>
                <a:gd name="T77" fmla="*/ 855 h 1273"/>
                <a:gd name="T78" fmla="*/ 3 w 1308"/>
                <a:gd name="T79" fmla="*/ 762 h 1273"/>
                <a:gd name="T80" fmla="*/ 4 w 1308"/>
                <a:gd name="T81" fmla="*/ 673 h 1273"/>
                <a:gd name="T82" fmla="*/ 36 w 1308"/>
                <a:gd name="T83" fmla="*/ 591 h 1273"/>
                <a:gd name="T84" fmla="*/ 90 w 1308"/>
                <a:gd name="T85" fmla="*/ 525 h 1273"/>
                <a:gd name="T86" fmla="*/ 154 w 1308"/>
                <a:gd name="T87" fmla="*/ 477 h 1273"/>
                <a:gd name="T88" fmla="*/ 191 w 1308"/>
                <a:gd name="T89" fmla="*/ 409 h 1273"/>
                <a:gd name="T90" fmla="*/ 211 w 1308"/>
                <a:gd name="T91" fmla="*/ 318 h 1273"/>
                <a:gd name="T92" fmla="*/ 241 w 1308"/>
                <a:gd name="T93" fmla="*/ 234 h 1273"/>
                <a:gd name="T94" fmla="*/ 286 w 1308"/>
                <a:gd name="T95" fmla="*/ 162 h 1273"/>
                <a:gd name="T96" fmla="*/ 349 w 1308"/>
                <a:gd name="T97" fmla="*/ 100 h 1273"/>
                <a:gd name="T98" fmla="*/ 431 w 1308"/>
                <a:gd name="T99" fmla="*/ 52 h 1273"/>
                <a:gd name="T100" fmla="*/ 538 w 1308"/>
                <a:gd name="T101" fmla="*/ 19 h 1273"/>
                <a:gd name="T102" fmla="*/ 668 w 1308"/>
                <a:gd name="T103" fmla="*/ 3 h 1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8" h="1273">
                  <a:moveTo>
                    <a:pt x="743" y="0"/>
                  </a:moveTo>
                  <a:lnTo>
                    <a:pt x="816" y="3"/>
                  </a:lnTo>
                  <a:lnTo>
                    <a:pt x="884" y="9"/>
                  </a:lnTo>
                  <a:lnTo>
                    <a:pt x="945" y="18"/>
                  </a:lnTo>
                  <a:lnTo>
                    <a:pt x="999" y="33"/>
                  </a:lnTo>
                  <a:lnTo>
                    <a:pt x="1049" y="49"/>
                  </a:lnTo>
                  <a:lnTo>
                    <a:pt x="1092" y="72"/>
                  </a:lnTo>
                  <a:lnTo>
                    <a:pt x="1131" y="96"/>
                  </a:lnTo>
                  <a:lnTo>
                    <a:pt x="1164" y="123"/>
                  </a:lnTo>
                  <a:lnTo>
                    <a:pt x="1194" y="153"/>
                  </a:lnTo>
                  <a:lnTo>
                    <a:pt x="1218" y="186"/>
                  </a:lnTo>
                  <a:lnTo>
                    <a:pt x="1241" y="222"/>
                  </a:lnTo>
                  <a:lnTo>
                    <a:pt x="1257" y="261"/>
                  </a:lnTo>
                  <a:lnTo>
                    <a:pt x="1272" y="301"/>
                  </a:lnTo>
                  <a:lnTo>
                    <a:pt x="1284" y="345"/>
                  </a:lnTo>
                  <a:lnTo>
                    <a:pt x="1293" y="388"/>
                  </a:lnTo>
                  <a:lnTo>
                    <a:pt x="1299" y="435"/>
                  </a:lnTo>
                  <a:lnTo>
                    <a:pt x="1303" y="484"/>
                  </a:lnTo>
                  <a:lnTo>
                    <a:pt x="1306" y="534"/>
                  </a:lnTo>
                  <a:lnTo>
                    <a:pt x="1308" y="585"/>
                  </a:lnTo>
                  <a:lnTo>
                    <a:pt x="1308" y="637"/>
                  </a:lnTo>
                  <a:lnTo>
                    <a:pt x="1305" y="711"/>
                  </a:lnTo>
                  <a:lnTo>
                    <a:pt x="1293" y="783"/>
                  </a:lnTo>
                  <a:lnTo>
                    <a:pt x="1275" y="852"/>
                  </a:lnTo>
                  <a:lnTo>
                    <a:pt x="1251" y="916"/>
                  </a:lnTo>
                  <a:lnTo>
                    <a:pt x="1221" y="978"/>
                  </a:lnTo>
                  <a:lnTo>
                    <a:pt x="1184" y="1035"/>
                  </a:lnTo>
                  <a:lnTo>
                    <a:pt x="1143" y="1087"/>
                  </a:lnTo>
                  <a:lnTo>
                    <a:pt x="1097" y="1134"/>
                  </a:lnTo>
                  <a:lnTo>
                    <a:pt x="1046" y="1174"/>
                  </a:lnTo>
                  <a:lnTo>
                    <a:pt x="992" y="1209"/>
                  </a:lnTo>
                  <a:lnTo>
                    <a:pt x="933" y="1236"/>
                  </a:lnTo>
                  <a:lnTo>
                    <a:pt x="873" y="1257"/>
                  </a:lnTo>
                  <a:lnTo>
                    <a:pt x="809" y="1269"/>
                  </a:lnTo>
                  <a:lnTo>
                    <a:pt x="743" y="1273"/>
                  </a:lnTo>
                  <a:lnTo>
                    <a:pt x="677" y="1269"/>
                  </a:lnTo>
                  <a:lnTo>
                    <a:pt x="614" y="1257"/>
                  </a:lnTo>
                  <a:lnTo>
                    <a:pt x="553" y="1236"/>
                  </a:lnTo>
                  <a:lnTo>
                    <a:pt x="494" y="1209"/>
                  </a:lnTo>
                  <a:lnTo>
                    <a:pt x="440" y="1174"/>
                  </a:lnTo>
                  <a:lnTo>
                    <a:pt x="389" y="1134"/>
                  </a:lnTo>
                  <a:lnTo>
                    <a:pt x="344" y="1087"/>
                  </a:lnTo>
                  <a:lnTo>
                    <a:pt x="302" y="1035"/>
                  </a:lnTo>
                  <a:lnTo>
                    <a:pt x="266" y="978"/>
                  </a:lnTo>
                  <a:lnTo>
                    <a:pt x="236" y="916"/>
                  </a:lnTo>
                  <a:lnTo>
                    <a:pt x="211" y="852"/>
                  </a:lnTo>
                  <a:lnTo>
                    <a:pt x="193" y="783"/>
                  </a:lnTo>
                  <a:lnTo>
                    <a:pt x="182" y="711"/>
                  </a:lnTo>
                  <a:lnTo>
                    <a:pt x="178" y="637"/>
                  </a:lnTo>
                  <a:lnTo>
                    <a:pt x="179" y="576"/>
                  </a:lnTo>
                  <a:lnTo>
                    <a:pt x="157" y="594"/>
                  </a:lnTo>
                  <a:lnTo>
                    <a:pt x="136" y="615"/>
                  </a:lnTo>
                  <a:lnTo>
                    <a:pt x="120" y="639"/>
                  </a:lnTo>
                  <a:lnTo>
                    <a:pt x="106" y="666"/>
                  </a:lnTo>
                  <a:lnTo>
                    <a:pt x="97" y="699"/>
                  </a:lnTo>
                  <a:lnTo>
                    <a:pt x="97" y="735"/>
                  </a:lnTo>
                  <a:lnTo>
                    <a:pt x="103" y="772"/>
                  </a:lnTo>
                  <a:lnTo>
                    <a:pt x="117" y="813"/>
                  </a:lnTo>
                  <a:lnTo>
                    <a:pt x="139" y="855"/>
                  </a:lnTo>
                  <a:lnTo>
                    <a:pt x="158" y="864"/>
                  </a:lnTo>
                  <a:lnTo>
                    <a:pt x="175" y="880"/>
                  </a:lnTo>
                  <a:lnTo>
                    <a:pt x="199" y="913"/>
                  </a:lnTo>
                  <a:lnTo>
                    <a:pt x="206" y="930"/>
                  </a:lnTo>
                  <a:lnTo>
                    <a:pt x="211" y="946"/>
                  </a:lnTo>
                  <a:lnTo>
                    <a:pt x="209" y="964"/>
                  </a:lnTo>
                  <a:lnTo>
                    <a:pt x="205" y="981"/>
                  </a:lnTo>
                  <a:lnTo>
                    <a:pt x="196" y="994"/>
                  </a:lnTo>
                  <a:lnTo>
                    <a:pt x="182" y="1006"/>
                  </a:lnTo>
                  <a:lnTo>
                    <a:pt x="164" y="1015"/>
                  </a:lnTo>
                  <a:lnTo>
                    <a:pt x="145" y="1018"/>
                  </a:lnTo>
                  <a:lnTo>
                    <a:pt x="123" y="1015"/>
                  </a:lnTo>
                  <a:lnTo>
                    <a:pt x="105" y="1005"/>
                  </a:lnTo>
                  <a:lnTo>
                    <a:pt x="90" y="990"/>
                  </a:lnTo>
                  <a:lnTo>
                    <a:pt x="66" y="957"/>
                  </a:lnTo>
                  <a:lnTo>
                    <a:pt x="58" y="939"/>
                  </a:lnTo>
                  <a:lnTo>
                    <a:pt x="55" y="921"/>
                  </a:lnTo>
                  <a:lnTo>
                    <a:pt x="57" y="903"/>
                  </a:lnTo>
                  <a:lnTo>
                    <a:pt x="31" y="855"/>
                  </a:lnTo>
                  <a:lnTo>
                    <a:pt x="13" y="807"/>
                  </a:lnTo>
                  <a:lnTo>
                    <a:pt x="3" y="762"/>
                  </a:lnTo>
                  <a:lnTo>
                    <a:pt x="0" y="717"/>
                  </a:lnTo>
                  <a:lnTo>
                    <a:pt x="4" y="673"/>
                  </a:lnTo>
                  <a:lnTo>
                    <a:pt x="16" y="631"/>
                  </a:lnTo>
                  <a:lnTo>
                    <a:pt x="36" y="591"/>
                  </a:lnTo>
                  <a:lnTo>
                    <a:pt x="61" y="556"/>
                  </a:lnTo>
                  <a:lnTo>
                    <a:pt x="90" y="525"/>
                  </a:lnTo>
                  <a:lnTo>
                    <a:pt x="121" y="498"/>
                  </a:lnTo>
                  <a:lnTo>
                    <a:pt x="154" y="477"/>
                  </a:lnTo>
                  <a:lnTo>
                    <a:pt x="185" y="457"/>
                  </a:lnTo>
                  <a:lnTo>
                    <a:pt x="191" y="409"/>
                  </a:lnTo>
                  <a:lnTo>
                    <a:pt x="199" y="363"/>
                  </a:lnTo>
                  <a:lnTo>
                    <a:pt x="211" y="318"/>
                  </a:lnTo>
                  <a:lnTo>
                    <a:pt x="224" y="274"/>
                  </a:lnTo>
                  <a:lnTo>
                    <a:pt x="241" y="234"/>
                  </a:lnTo>
                  <a:lnTo>
                    <a:pt x="262" y="196"/>
                  </a:lnTo>
                  <a:lnTo>
                    <a:pt x="286" y="162"/>
                  </a:lnTo>
                  <a:lnTo>
                    <a:pt x="316" y="130"/>
                  </a:lnTo>
                  <a:lnTo>
                    <a:pt x="349" y="100"/>
                  </a:lnTo>
                  <a:lnTo>
                    <a:pt x="388" y="75"/>
                  </a:lnTo>
                  <a:lnTo>
                    <a:pt x="431" y="52"/>
                  </a:lnTo>
                  <a:lnTo>
                    <a:pt x="481" y="34"/>
                  </a:lnTo>
                  <a:lnTo>
                    <a:pt x="538" y="19"/>
                  </a:lnTo>
                  <a:lnTo>
                    <a:pt x="599" y="9"/>
                  </a:lnTo>
                  <a:lnTo>
                    <a:pt x="668" y="3"/>
                  </a:lnTo>
                  <a:lnTo>
                    <a:pt x="74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3" name="Freeform 1143">
              <a:extLst>
                <a:ext uri="{FF2B5EF4-FFF2-40B4-BE49-F238E27FC236}">
                  <a16:creationId xmlns:a16="http://schemas.microsoft.com/office/drawing/2014/main" id="{517EBF79-3A85-F25D-1FBD-41B522830A9D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" y="-2288"/>
              <a:ext cx="2064" cy="1780"/>
            </a:xfrm>
            <a:custGeom>
              <a:avLst/>
              <a:gdLst>
                <a:gd name="T0" fmla="*/ 4016 w 4127"/>
                <a:gd name="T1" fmla="*/ 0 h 3560"/>
                <a:gd name="T2" fmla="*/ 4071 w 4127"/>
                <a:gd name="T3" fmla="*/ 15 h 3560"/>
                <a:gd name="T4" fmla="*/ 4112 w 4127"/>
                <a:gd name="T5" fmla="*/ 56 h 3560"/>
                <a:gd name="T6" fmla="*/ 4127 w 4127"/>
                <a:gd name="T7" fmla="*/ 111 h 3560"/>
                <a:gd name="T8" fmla="*/ 4065 w 4127"/>
                <a:gd name="T9" fmla="*/ 839 h 3560"/>
                <a:gd name="T10" fmla="*/ 3935 w 4127"/>
                <a:gd name="T11" fmla="*/ 824 h 3560"/>
                <a:gd name="T12" fmla="*/ 3814 w 4127"/>
                <a:gd name="T13" fmla="*/ 822 h 3560"/>
                <a:gd name="T14" fmla="*/ 3766 w 4127"/>
                <a:gd name="T15" fmla="*/ 309 h 3560"/>
                <a:gd name="T16" fmla="*/ 361 w 4127"/>
                <a:gd name="T17" fmla="*/ 2423 h 3560"/>
                <a:gd name="T18" fmla="*/ 2908 w 4127"/>
                <a:gd name="T19" fmla="*/ 2471 h 3560"/>
                <a:gd name="T20" fmla="*/ 2850 w 4127"/>
                <a:gd name="T21" fmla="*/ 2589 h 3560"/>
                <a:gd name="T22" fmla="*/ 2797 w 4127"/>
                <a:gd name="T23" fmla="*/ 2730 h 3560"/>
                <a:gd name="T24" fmla="*/ 2645 w 4127"/>
                <a:gd name="T25" fmla="*/ 2783 h 3560"/>
                <a:gd name="T26" fmla="*/ 2672 w 4127"/>
                <a:gd name="T27" fmla="*/ 2909 h 3560"/>
                <a:gd name="T28" fmla="*/ 2709 w 4127"/>
                <a:gd name="T29" fmla="*/ 3057 h 3560"/>
                <a:gd name="T30" fmla="*/ 2667 w 4127"/>
                <a:gd name="T31" fmla="*/ 3260 h 3560"/>
                <a:gd name="T32" fmla="*/ 2634 w 4127"/>
                <a:gd name="T33" fmla="*/ 3456 h 3560"/>
                <a:gd name="T34" fmla="*/ 2634 w 4127"/>
                <a:gd name="T35" fmla="*/ 3527 h 3560"/>
                <a:gd name="T36" fmla="*/ 1390 w 4127"/>
                <a:gd name="T37" fmla="*/ 3560 h 3560"/>
                <a:gd name="T38" fmla="*/ 1338 w 4127"/>
                <a:gd name="T39" fmla="*/ 3546 h 3560"/>
                <a:gd name="T40" fmla="*/ 1297 w 4127"/>
                <a:gd name="T41" fmla="*/ 3509 h 3560"/>
                <a:gd name="T42" fmla="*/ 1279 w 4127"/>
                <a:gd name="T43" fmla="*/ 3456 h 3560"/>
                <a:gd name="T44" fmla="*/ 1290 w 4127"/>
                <a:gd name="T45" fmla="*/ 3402 h 3560"/>
                <a:gd name="T46" fmla="*/ 1360 w 4127"/>
                <a:gd name="T47" fmla="*/ 3230 h 3560"/>
                <a:gd name="T48" fmla="*/ 1414 w 4127"/>
                <a:gd name="T49" fmla="*/ 3065 h 3560"/>
                <a:gd name="T50" fmla="*/ 1453 w 4127"/>
                <a:gd name="T51" fmla="*/ 2913 h 3560"/>
                <a:gd name="T52" fmla="*/ 1480 w 4127"/>
                <a:gd name="T53" fmla="*/ 2784 h 3560"/>
                <a:gd name="T54" fmla="*/ 110 w 4127"/>
                <a:gd name="T55" fmla="*/ 2730 h 3560"/>
                <a:gd name="T56" fmla="*/ 55 w 4127"/>
                <a:gd name="T57" fmla="*/ 2715 h 3560"/>
                <a:gd name="T58" fmla="*/ 14 w 4127"/>
                <a:gd name="T59" fmla="*/ 2676 h 3560"/>
                <a:gd name="T60" fmla="*/ 0 w 4127"/>
                <a:gd name="T61" fmla="*/ 2619 h 3560"/>
                <a:gd name="T62" fmla="*/ 4 w 4127"/>
                <a:gd name="T63" fmla="*/ 83 h 3560"/>
                <a:gd name="T64" fmla="*/ 32 w 4127"/>
                <a:gd name="T65" fmla="*/ 33 h 3560"/>
                <a:gd name="T66" fmla="*/ 80 w 4127"/>
                <a:gd name="T67" fmla="*/ 5 h 3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127" h="3560">
                  <a:moveTo>
                    <a:pt x="110" y="0"/>
                  </a:moveTo>
                  <a:lnTo>
                    <a:pt x="4016" y="0"/>
                  </a:lnTo>
                  <a:lnTo>
                    <a:pt x="4044" y="5"/>
                  </a:lnTo>
                  <a:lnTo>
                    <a:pt x="4071" y="15"/>
                  </a:lnTo>
                  <a:lnTo>
                    <a:pt x="4094" y="33"/>
                  </a:lnTo>
                  <a:lnTo>
                    <a:pt x="4112" y="56"/>
                  </a:lnTo>
                  <a:lnTo>
                    <a:pt x="4122" y="83"/>
                  </a:lnTo>
                  <a:lnTo>
                    <a:pt x="4127" y="111"/>
                  </a:lnTo>
                  <a:lnTo>
                    <a:pt x="4127" y="851"/>
                  </a:lnTo>
                  <a:lnTo>
                    <a:pt x="4065" y="839"/>
                  </a:lnTo>
                  <a:lnTo>
                    <a:pt x="4002" y="830"/>
                  </a:lnTo>
                  <a:lnTo>
                    <a:pt x="3935" y="824"/>
                  </a:lnTo>
                  <a:lnTo>
                    <a:pt x="3863" y="822"/>
                  </a:lnTo>
                  <a:lnTo>
                    <a:pt x="3814" y="822"/>
                  </a:lnTo>
                  <a:lnTo>
                    <a:pt x="3766" y="825"/>
                  </a:lnTo>
                  <a:lnTo>
                    <a:pt x="3766" y="309"/>
                  </a:lnTo>
                  <a:lnTo>
                    <a:pt x="361" y="309"/>
                  </a:lnTo>
                  <a:lnTo>
                    <a:pt x="361" y="2423"/>
                  </a:lnTo>
                  <a:lnTo>
                    <a:pt x="2941" y="2423"/>
                  </a:lnTo>
                  <a:lnTo>
                    <a:pt x="2908" y="2471"/>
                  </a:lnTo>
                  <a:lnTo>
                    <a:pt x="2878" y="2526"/>
                  </a:lnTo>
                  <a:lnTo>
                    <a:pt x="2850" y="2589"/>
                  </a:lnTo>
                  <a:lnTo>
                    <a:pt x="2823" y="2657"/>
                  </a:lnTo>
                  <a:lnTo>
                    <a:pt x="2797" y="2730"/>
                  </a:lnTo>
                  <a:lnTo>
                    <a:pt x="2636" y="2730"/>
                  </a:lnTo>
                  <a:lnTo>
                    <a:pt x="2645" y="2783"/>
                  </a:lnTo>
                  <a:lnTo>
                    <a:pt x="2657" y="2843"/>
                  </a:lnTo>
                  <a:lnTo>
                    <a:pt x="2672" y="2909"/>
                  </a:lnTo>
                  <a:lnTo>
                    <a:pt x="2688" y="2981"/>
                  </a:lnTo>
                  <a:lnTo>
                    <a:pt x="2709" y="3057"/>
                  </a:lnTo>
                  <a:lnTo>
                    <a:pt x="2688" y="3159"/>
                  </a:lnTo>
                  <a:lnTo>
                    <a:pt x="2667" y="3260"/>
                  </a:lnTo>
                  <a:lnTo>
                    <a:pt x="2649" y="3360"/>
                  </a:lnTo>
                  <a:lnTo>
                    <a:pt x="2634" y="3456"/>
                  </a:lnTo>
                  <a:lnTo>
                    <a:pt x="2631" y="3491"/>
                  </a:lnTo>
                  <a:lnTo>
                    <a:pt x="2634" y="3527"/>
                  </a:lnTo>
                  <a:lnTo>
                    <a:pt x="2642" y="3560"/>
                  </a:lnTo>
                  <a:lnTo>
                    <a:pt x="1390" y="3560"/>
                  </a:lnTo>
                  <a:lnTo>
                    <a:pt x="1363" y="3557"/>
                  </a:lnTo>
                  <a:lnTo>
                    <a:pt x="1338" y="3546"/>
                  </a:lnTo>
                  <a:lnTo>
                    <a:pt x="1315" y="3531"/>
                  </a:lnTo>
                  <a:lnTo>
                    <a:pt x="1297" y="3509"/>
                  </a:lnTo>
                  <a:lnTo>
                    <a:pt x="1285" y="3483"/>
                  </a:lnTo>
                  <a:lnTo>
                    <a:pt x="1279" y="3456"/>
                  </a:lnTo>
                  <a:lnTo>
                    <a:pt x="1281" y="3429"/>
                  </a:lnTo>
                  <a:lnTo>
                    <a:pt x="1290" y="3402"/>
                  </a:lnTo>
                  <a:lnTo>
                    <a:pt x="1327" y="3317"/>
                  </a:lnTo>
                  <a:lnTo>
                    <a:pt x="1360" y="3230"/>
                  </a:lnTo>
                  <a:lnTo>
                    <a:pt x="1389" y="3146"/>
                  </a:lnTo>
                  <a:lnTo>
                    <a:pt x="1414" y="3065"/>
                  </a:lnTo>
                  <a:lnTo>
                    <a:pt x="1435" y="2987"/>
                  </a:lnTo>
                  <a:lnTo>
                    <a:pt x="1453" y="2913"/>
                  </a:lnTo>
                  <a:lnTo>
                    <a:pt x="1468" y="2846"/>
                  </a:lnTo>
                  <a:lnTo>
                    <a:pt x="1480" y="2784"/>
                  </a:lnTo>
                  <a:lnTo>
                    <a:pt x="1491" y="2730"/>
                  </a:lnTo>
                  <a:lnTo>
                    <a:pt x="110" y="2730"/>
                  </a:lnTo>
                  <a:lnTo>
                    <a:pt x="80" y="2727"/>
                  </a:lnTo>
                  <a:lnTo>
                    <a:pt x="55" y="2715"/>
                  </a:lnTo>
                  <a:lnTo>
                    <a:pt x="32" y="2699"/>
                  </a:lnTo>
                  <a:lnTo>
                    <a:pt x="14" y="2676"/>
                  </a:lnTo>
                  <a:lnTo>
                    <a:pt x="4" y="2649"/>
                  </a:lnTo>
                  <a:lnTo>
                    <a:pt x="0" y="2619"/>
                  </a:lnTo>
                  <a:lnTo>
                    <a:pt x="0" y="111"/>
                  </a:lnTo>
                  <a:lnTo>
                    <a:pt x="4" y="83"/>
                  </a:lnTo>
                  <a:lnTo>
                    <a:pt x="14" y="56"/>
                  </a:lnTo>
                  <a:lnTo>
                    <a:pt x="32" y="33"/>
                  </a:lnTo>
                  <a:lnTo>
                    <a:pt x="55" y="15"/>
                  </a:lnTo>
                  <a:lnTo>
                    <a:pt x="80" y="5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4" name="Freeform 1144">
              <a:extLst>
                <a:ext uri="{FF2B5EF4-FFF2-40B4-BE49-F238E27FC236}">
                  <a16:creationId xmlns:a16="http://schemas.microsoft.com/office/drawing/2014/main" id="{C8800E0B-0FF7-29DE-41EB-E8845B08EEF7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" y="-1933"/>
              <a:ext cx="1291" cy="541"/>
            </a:xfrm>
            <a:custGeom>
              <a:avLst/>
              <a:gdLst>
                <a:gd name="T0" fmla="*/ 1506 w 2580"/>
                <a:gd name="T1" fmla="*/ 0 h 1083"/>
                <a:gd name="T2" fmla="*/ 1528 w 2580"/>
                <a:gd name="T3" fmla="*/ 1 h 1083"/>
                <a:gd name="T4" fmla="*/ 1549 w 2580"/>
                <a:gd name="T5" fmla="*/ 10 h 1083"/>
                <a:gd name="T6" fmla="*/ 1566 w 2580"/>
                <a:gd name="T7" fmla="*/ 22 h 1083"/>
                <a:gd name="T8" fmla="*/ 1579 w 2580"/>
                <a:gd name="T9" fmla="*/ 40 h 1083"/>
                <a:gd name="T10" fmla="*/ 1859 w 2580"/>
                <a:gd name="T11" fmla="*/ 514 h 1083"/>
                <a:gd name="T12" fmla="*/ 1859 w 2580"/>
                <a:gd name="T13" fmla="*/ 514 h 1083"/>
                <a:gd name="T14" fmla="*/ 2496 w 2580"/>
                <a:gd name="T15" fmla="*/ 514 h 1083"/>
                <a:gd name="T16" fmla="*/ 2523 w 2580"/>
                <a:gd name="T17" fmla="*/ 519 h 1083"/>
                <a:gd name="T18" fmla="*/ 2546 w 2580"/>
                <a:gd name="T19" fmla="*/ 531 h 1083"/>
                <a:gd name="T20" fmla="*/ 2564 w 2580"/>
                <a:gd name="T21" fmla="*/ 549 h 1083"/>
                <a:gd name="T22" fmla="*/ 2576 w 2580"/>
                <a:gd name="T23" fmla="*/ 571 h 1083"/>
                <a:gd name="T24" fmla="*/ 2580 w 2580"/>
                <a:gd name="T25" fmla="*/ 598 h 1083"/>
                <a:gd name="T26" fmla="*/ 2576 w 2580"/>
                <a:gd name="T27" fmla="*/ 624 h 1083"/>
                <a:gd name="T28" fmla="*/ 2564 w 2580"/>
                <a:gd name="T29" fmla="*/ 646 h 1083"/>
                <a:gd name="T30" fmla="*/ 2546 w 2580"/>
                <a:gd name="T31" fmla="*/ 664 h 1083"/>
                <a:gd name="T32" fmla="*/ 2523 w 2580"/>
                <a:gd name="T33" fmla="*/ 676 h 1083"/>
                <a:gd name="T34" fmla="*/ 2496 w 2580"/>
                <a:gd name="T35" fmla="*/ 681 h 1083"/>
                <a:gd name="T36" fmla="*/ 1811 w 2580"/>
                <a:gd name="T37" fmla="*/ 681 h 1083"/>
                <a:gd name="T38" fmla="*/ 1789 w 2580"/>
                <a:gd name="T39" fmla="*/ 678 h 1083"/>
                <a:gd name="T40" fmla="*/ 1769 w 2580"/>
                <a:gd name="T41" fmla="*/ 670 h 1083"/>
                <a:gd name="T42" fmla="*/ 1753 w 2580"/>
                <a:gd name="T43" fmla="*/ 657 h 1083"/>
                <a:gd name="T44" fmla="*/ 1739 w 2580"/>
                <a:gd name="T45" fmla="*/ 640 h 1083"/>
                <a:gd name="T46" fmla="*/ 1513 w 2580"/>
                <a:gd name="T47" fmla="*/ 255 h 1083"/>
                <a:gd name="T48" fmla="*/ 1104 w 2580"/>
                <a:gd name="T49" fmla="*/ 1038 h 1083"/>
                <a:gd name="T50" fmla="*/ 1092 w 2580"/>
                <a:gd name="T51" fmla="*/ 1054 h 1083"/>
                <a:gd name="T52" fmla="*/ 1077 w 2580"/>
                <a:gd name="T53" fmla="*/ 1068 h 1083"/>
                <a:gd name="T54" fmla="*/ 1059 w 2580"/>
                <a:gd name="T55" fmla="*/ 1078 h 1083"/>
                <a:gd name="T56" fmla="*/ 1038 w 2580"/>
                <a:gd name="T57" fmla="*/ 1083 h 1083"/>
                <a:gd name="T58" fmla="*/ 1031 w 2580"/>
                <a:gd name="T59" fmla="*/ 1083 h 1083"/>
                <a:gd name="T60" fmla="*/ 1005 w 2580"/>
                <a:gd name="T61" fmla="*/ 1078 h 1083"/>
                <a:gd name="T62" fmla="*/ 984 w 2580"/>
                <a:gd name="T63" fmla="*/ 1068 h 1083"/>
                <a:gd name="T64" fmla="*/ 965 w 2580"/>
                <a:gd name="T65" fmla="*/ 1051 h 1083"/>
                <a:gd name="T66" fmla="*/ 669 w 2580"/>
                <a:gd name="T67" fmla="*/ 681 h 1083"/>
                <a:gd name="T68" fmla="*/ 82 w 2580"/>
                <a:gd name="T69" fmla="*/ 681 h 1083"/>
                <a:gd name="T70" fmla="*/ 56 w 2580"/>
                <a:gd name="T71" fmla="*/ 676 h 1083"/>
                <a:gd name="T72" fmla="*/ 34 w 2580"/>
                <a:gd name="T73" fmla="*/ 664 h 1083"/>
                <a:gd name="T74" fmla="*/ 16 w 2580"/>
                <a:gd name="T75" fmla="*/ 646 h 1083"/>
                <a:gd name="T76" fmla="*/ 4 w 2580"/>
                <a:gd name="T77" fmla="*/ 624 h 1083"/>
                <a:gd name="T78" fmla="*/ 0 w 2580"/>
                <a:gd name="T79" fmla="*/ 598 h 1083"/>
                <a:gd name="T80" fmla="*/ 4 w 2580"/>
                <a:gd name="T81" fmla="*/ 571 h 1083"/>
                <a:gd name="T82" fmla="*/ 16 w 2580"/>
                <a:gd name="T83" fmla="*/ 549 h 1083"/>
                <a:gd name="T84" fmla="*/ 34 w 2580"/>
                <a:gd name="T85" fmla="*/ 531 h 1083"/>
                <a:gd name="T86" fmla="*/ 56 w 2580"/>
                <a:gd name="T87" fmla="*/ 519 h 1083"/>
                <a:gd name="T88" fmla="*/ 82 w 2580"/>
                <a:gd name="T89" fmla="*/ 514 h 1083"/>
                <a:gd name="T90" fmla="*/ 710 w 2580"/>
                <a:gd name="T91" fmla="*/ 514 h 1083"/>
                <a:gd name="T92" fmla="*/ 735 w 2580"/>
                <a:gd name="T93" fmla="*/ 519 h 1083"/>
                <a:gd name="T94" fmla="*/ 756 w 2580"/>
                <a:gd name="T95" fmla="*/ 529 h 1083"/>
                <a:gd name="T96" fmla="*/ 776 w 2580"/>
                <a:gd name="T97" fmla="*/ 546 h 1083"/>
                <a:gd name="T98" fmla="*/ 1016 w 2580"/>
                <a:gd name="T99" fmla="*/ 847 h 1083"/>
                <a:gd name="T100" fmla="*/ 1434 w 2580"/>
                <a:gd name="T101" fmla="*/ 45 h 1083"/>
                <a:gd name="T102" fmla="*/ 1447 w 2580"/>
                <a:gd name="T103" fmla="*/ 27 h 1083"/>
                <a:gd name="T104" fmla="*/ 1464 w 2580"/>
                <a:gd name="T105" fmla="*/ 12 h 1083"/>
                <a:gd name="T106" fmla="*/ 1485 w 2580"/>
                <a:gd name="T107" fmla="*/ 3 h 1083"/>
                <a:gd name="T108" fmla="*/ 1506 w 2580"/>
                <a:gd name="T109" fmla="*/ 0 h 10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580" h="1083">
                  <a:moveTo>
                    <a:pt x="1506" y="0"/>
                  </a:moveTo>
                  <a:lnTo>
                    <a:pt x="1528" y="1"/>
                  </a:lnTo>
                  <a:lnTo>
                    <a:pt x="1549" y="10"/>
                  </a:lnTo>
                  <a:lnTo>
                    <a:pt x="1566" y="22"/>
                  </a:lnTo>
                  <a:lnTo>
                    <a:pt x="1579" y="40"/>
                  </a:lnTo>
                  <a:lnTo>
                    <a:pt x="1859" y="514"/>
                  </a:lnTo>
                  <a:lnTo>
                    <a:pt x="1859" y="514"/>
                  </a:lnTo>
                  <a:lnTo>
                    <a:pt x="2496" y="514"/>
                  </a:lnTo>
                  <a:lnTo>
                    <a:pt x="2523" y="519"/>
                  </a:lnTo>
                  <a:lnTo>
                    <a:pt x="2546" y="531"/>
                  </a:lnTo>
                  <a:lnTo>
                    <a:pt x="2564" y="549"/>
                  </a:lnTo>
                  <a:lnTo>
                    <a:pt x="2576" y="571"/>
                  </a:lnTo>
                  <a:lnTo>
                    <a:pt x="2580" y="598"/>
                  </a:lnTo>
                  <a:lnTo>
                    <a:pt x="2576" y="624"/>
                  </a:lnTo>
                  <a:lnTo>
                    <a:pt x="2564" y="646"/>
                  </a:lnTo>
                  <a:lnTo>
                    <a:pt x="2546" y="664"/>
                  </a:lnTo>
                  <a:lnTo>
                    <a:pt x="2523" y="676"/>
                  </a:lnTo>
                  <a:lnTo>
                    <a:pt x="2496" y="681"/>
                  </a:lnTo>
                  <a:lnTo>
                    <a:pt x="1811" y="681"/>
                  </a:lnTo>
                  <a:lnTo>
                    <a:pt x="1789" y="678"/>
                  </a:lnTo>
                  <a:lnTo>
                    <a:pt x="1769" y="670"/>
                  </a:lnTo>
                  <a:lnTo>
                    <a:pt x="1753" y="657"/>
                  </a:lnTo>
                  <a:lnTo>
                    <a:pt x="1739" y="640"/>
                  </a:lnTo>
                  <a:lnTo>
                    <a:pt x="1513" y="255"/>
                  </a:lnTo>
                  <a:lnTo>
                    <a:pt x="1104" y="1038"/>
                  </a:lnTo>
                  <a:lnTo>
                    <a:pt x="1092" y="1054"/>
                  </a:lnTo>
                  <a:lnTo>
                    <a:pt x="1077" y="1068"/>
                  </a:lnTo>
                  <a:lnTo>
                    <a:pt x="1059" y="1078"/>
                  </a:lnTo>
                  <a:lnTo>
                    <a:pt x="1038" y="1083"/>
                  </a:lnTo>
                  <a:lnTo>
                    <a:pt x="1031" y="1083"/>
                  </a:lnTo>
                  <a:lnTo>
                    <a:pt x="1005" y="1078"/>
                  </a:lnTo>
                  <a:lnTo>
                    <a:pt x="984" y="1068"/>
                  </a:lnTo>
                  <a:lnTo>
                    <a:pt x="965" y="1051"/>
                  </a:lnTo>
                  <a:lnTo>
                    <a:pt x="669" y="681"/>
                  </a:lnTo>
                  <a:lnTo>
                    <a:pt x="82" y="681"/>
                  </a:lnTo>
                  <a:lnTo>
                    <a:pt x="56" y="676"/>
                  </a:lnTo>
                  <a:lnTo>
                    <a:pt x="34" y="664"/>
                  </a:lnTo>
                  <a:lnTo>
                    <a:pt x="16" y="646"/>
                  </a:lnTo>
                  <a:lnTo>
                    <a:pt x="4" y="624"/>
                  </a:lnTo>
                  <a:lnTo>
                    <a:pt x="0" y="598"/>
                  </a:lnTo>
                  <a:lnTo>
                    <a:pt x="4" y="571"/>
                  </a:lnTo>
                  <a:lnTo>
                    <a:pt x="16" y="549"/>
                  </a:lnTo>
                  <a:lnTo>
                    <a:pt x="34" y="531"/>
                  </a:lnTo>
                  <a:lnTo>
                    <a:pt x="56" y="519"/>
                  </a:lnTo>
                  <a:lnTo>
                    <a:pt x="82" y="514"/>
                  </a:lnTo>
                  <a:lnTo>
                    <a:pt x="710" y="514"/>
                  </a:lnTo>
                  <a:lnTo>
                    <a:pt x="735" y="519"/>
                  </a:lnTo>
                  <a:lnTo>
                    <a:pt x="756" y="529"/>
                  </a:lnTo>
                  <a:lnTo>
                    <a:pt x="776" y="546"/>
                  </a:lnTo>
                  <a:lnTo>
                    <a:pt x="1016" y="847"/>
                  </a:lnTo>
                  <a:lnTo>
                    <a:pt x="1434" y="45"/>
                  </a:lnTo>
                  <a:lnTo>
                    <a:pt x="1447" y="27"/>
                  </a:lnTo>
                  <a:lnTo>
                    <a:pt x="1464" y="12"/>
                  </a:lnTo>
                  <a:lnTo>
                    <a:pt x="1485" y="3"/>
                  </a:lnTo>
                  <a:lnTo>
                    <a:pt x="150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sp>
        <p:nvSpPr>
          <p:cNvPr id="115" name="Freeform 1005">
            <a:extLst>
              <a:ext uri="{FF2B5EF4-FFF2-40B4-BE49-F238E27FC236}">
                <a16:creationId xmlns:a16="http://schemas.microsoft.com/office/drawing/2014/main" id="{4F3FE4ED-C200-5EE3-A260-BA310ED63EF2}"/>
              </a:ext>
            </a:extLst>
          </p:cNvPr>
          <p:cNvSpPr>
            <a:spLocks noEditPoints="1"/>
          </p:cNvSpPr>
          <p:nvPr/>
        </p:nvSpPr>
        <p:spPr bwMode="auto">
          <a:xfrm>
            <a:off x="6342017" y="4938145"/>
            <a:ext cx="260373" cy="260021"/>
          </a:xfrm>
          <a:custGeom>
            <a:avLst/>
            <a:gdLst>
              <a:gd name="T0" fmla="*/ 1466 w 4446"/>
              <a:gd name="T1" fmla="*/ 1188 h 4440"/>
              <a:gd name="T2" fmla="*/ 978 w 4446"/>
              <a:gd name="T3" fmla="*/ 1913 h 4440"/>
              <a:gd name="T4" fmla="*/ 1084 w 4446"/>
              <a:gd name="T5" fmla="*/ 2808 h 4440"/>
              <a:gd name="T6" fmla="*/ 1724 w 4446"/>
              <a:gd name="T7" fmla="*/ 3399 h 4440"/>
              <a:gd name="T8" fmla="*/ 2589 w 4446"/>
              <a:gd name="T9" fmla="*/ 3447 h 4440"/>
              <a:gd name="T10" fmla="*/ 2039 w 4446"/>
              <a:gd name="T11" fmla="*/ 2795 h 4440"/>
              <a:gd name="T12" fmla="*/ 1483 w 4446"/>
              <a:gd name="T13" fmla="*/ 2565 h 4440"/>
              <a:gd name="T14" fmla="*/ 1254 w 4446"/>
              <a:gd name="T15" fmla="*/ 1953 h 4440"/>
              <a:gd name="T16" fmla="*/ 1393 w 4446"/>
              <a:gd name="T17" fmla="*/ 1742 h 4440"/>
              <a:gd name="T18" fmla="*/ 1523 w 4446"/>
              <a:gd name="T19" fmla="*/ 1860 h 4440"/>
              <a:gd name="T20" fmla="*/ 1753 w 4446"/>
              <a:gd name="T21" fmla="*/ 2089 h 4440"/>
              <a:gd name="T22" fmla="*/ 1842 w 4446"/>
              <a:gd name="T23" fmla="*/ 2144 h 4440"/>
              <a:gd name="T24" fmla="*/ 2127 w 4446"/>
              <a:gd name="T25" fmla="*/ 2091 h 4440"/>
              <a:gd name="T26" fmla="*/ 2173 w 4446"/>
              <a:gd name="T27" fmla="*/ 1811 h 4440"/>
              <a:gd name="T28" fmla="*/ 2054 w 4446"/>
              <a:gd name="T29" fmla="*/ 1661 h 4440"/>
              <a:gd name="T30" fmla="*/ 1830 w 4446"/>
              <a:gd name="T31" fmla="*/ 1435 h 4440"/>
              <a:gd name="T32" fmla="*/ 1779 w 4446"/>
              <a:gd name="T33" fmla="*/ 1293 h 4440"/>
              <a:gd name="T34" fmla="*/ 2268 w 4446"/>
              <a:gd name="T35" fmla="*/ 1259 h 4440"/>
              <a:gd name="T36" fmla="*/ 2751 w 4446"/>
              <a:gd name="T37" fmla="*/ 1679 h 4440"/>
              <a:gd name="T38" fmla="*/ 2762 w 4446"/>
              <a:gd name="T39" fmla="*/ 2316 h 4440"/>
              <a:gd name="T40" fmla="*/ 3500 w 4446"/>
              <a:gd name="T41" fmla="*/ 2116 h 4440"/>
              <a:gd name="T42" fmla="*/ 3129 w 4446"/>
              <a:gd name="T43" fmla="*/ 1315 h 4440"/>
              <a:gd name="T44" fmla="*/ 2327 w 4446"/>
              <a:gd name="T45" fmla="*/ 944 h 4440"/>
              <a:gd name="T46" fmla="*/ 2582 w 4446"/>
              <a:gd name="T47" fmla="*/ 92 h 4440"/>
              <a:gd name="T48" fmla="*/ 2713 w 4446"/>
              <a:gd name="T49" fmla="*/ 499 h 4440"/>
              <a:gd name="T50" fmla="*/ 3160 w 4446"/>
              <a:gd name="T51" fmla="*/ 653 h 4440"/>
              <a:gd name="T52" fmla="*/ 3514 w 4446"/>
              <a:gd name="T53" fmla="*/ 464 h 4440"/>
              <a:gd name="T54" fmla="*/ 3981 w 4446"/>
              <a:gd name="T55" fmla="*/ 867 h 4440"/>
              <a:gd name="T56" fmla="*/ 3851 w 4446"/>
              <a:gd name="T57" fmla="*/ 1140 h 4440"/>
              <a:gd name="T58" fmla="*/ 3854 w 4446"/>
              <a:gd name="T59" fmla="*/ 1614 h 4440"/>
              <a:gd name="T60" fmla="*/ 4289 w 4446"/>
              <a:gd name="T61" fmla="*/ 1864 h 4440"/>
              <a:gd name="T62" fmla="*/ 4446 w 4446"/>
              <a:gd name="T63" fmla="*/ 2227 h 4440"/>
              <a:gd name="T64" fmla="*/ 4301 w 4446"/>
              <a:gd name="T65" fmla="*/ 2588 h 4440"/>
              <a:gd name="T66" fmla="*/ 3876 w 4446"/>
              <a:gd name="T67" fmla="*/ 2787 h 4440"/>
              <a:gd name="T68" fmla="*/ 3817 w 4446"/>
              <a:gd name="T69" fmla="*/ 3261 h 4440"/>
              <a:gd name="T70" fmla="*/ 3980 w 4446"/>
              <a:gd name="T71" fmla="*/ 3562 h 4440"/>
              <a:gd name="T72" fmla="*/ 3523 w 4446"/>
              <a:gd name="T73" fmla="*/ 3991 h 4440"/>
              <a:gd name="T74" fmla="*/ 3200 w 4446"/>
              <a:gd name="T75" fmla="*/ 3813 h 4440"/>
              <a:gd name="T76" fmla="*/ 2728 w 4446"/>
              <a:gd name="T77" fmla="*/ 3923 h 4440"/>
              <a:gd name="T78" fmla="*/ 2564 w 4446"/>
              <a:gd name="T79" fmla="*/ 4352 h 4440"/>
              <a:gd name="T80" fmla="*/ 1964 w 4446"/>
              <a:gd name="T81" fmla="*/ 4425 h 4440"/>
              <a:gd name="T82" fmla="*/ 1849 w 4446"/>
              <a:gd name="T83" fmla="*/ 4184 h 4440"/>
              <a:gd name="T84" fmla="*/ 1554 w 4446"/>
              <a:gd name="T85" fmla="*/ 3813 h 4440"/>
              <a:gd name="T86" fmla="*/ 1082 w 4446"/>
              <a:gd name="T87" fmla="*/ 3867 h 4440"/>
              <a:gd name="T88" fmla="*/ 830 w 4446"/>
              <a:gd name="T89" fmla="*/ 3951 h 4440"/>
              <a:gd name="T90" fmla="*/ 462 w 4446"/>
              <a:gd name="T91" fmla="*/ 3472 h 4440"/>
              <a:gd name="T92" fmla="*/ 653 w 4446"/>
              <a:gd name="T93" fmla="*/ 3094 h 4440"/>
              <a:gd name="T94" fmla="*/ 432 w 4446"/>
              <a:gd name="T95" fmla="*/ 2655 h 4440"/>
              <a:gd name="T96" fmla="*/ 54 w 4446"/>
              <a:gd name="T97" fmla="*/ 2536 h 4440"/>
              <a:gd name="T98" fmla="*/ 31 w 4446"/>
              <a:gd name="T99" fmla="*/ 1911 h 4440"/>
              <a:gd name="T100" fmla="*/ 385 w 4446"/>
              <a:gd name="T101" fmla="*/ 1800 h 4440"/>
              <a:gd name="T102" fmla="*/ 664 w 4446"/>
              <a:gd name="T103" fmla="*/ 1392 h 4440"/>
              <a:gd name="T104" fmla="*/ 485 w 4446"/>
              <a:gd name="T105" fmla="*/ 978 h 4440"/>
              <a:gd name="T106" fmla="*/ 752 w 4446"/>
              <a:gd name="T107" fmla="*/ 556 h 4440"/>
              <a:gd name="T108" fmla="*/ 1055 w 4446"/>
              <a:gd name="T109" fmla="*/ 526 h 4440"/>
              <a:gd name="T110" fmla="*/ 1516 w 4446"/>
              <a:gd name="T111" fmla="*/ 632 h 4440"/>
              <a:gd name="T112" fmla="*/ 1860 w 4446"/>
              <a:gd name="T113" fmla="*/ 261 h 4440"/>
              <a:gd name="T114" fmla="*/ 2106 w 4446"/>
              <a:gd name="T115" fmla="*/ 4 h 44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4446" h="4440">
                <a:moveTo>
                  <a:pt x="2222" y="940"/>
                </a:moveTo>
                <a:lnTo>
                  <a:pt x="2117" y="944"/>
                </a:lnTo>
                <a:lnTo>
                  <a:pt x="2014" y="958"/>
                </a:lnTo>
                <a:lnTo>
                  <a:pt x="1915" y="978"/>
                </a:lnTo>
                <a:lnTo>
                  <a:pt x="1818" y="1005"/>
                </a:lnTo>
                <a:lnTo>
                  <a:pt x="1724" y="1042"/>
                </a:lnTo>
                <a:lnTo>
                  <a:pt x="1634" y="1084"/>
                </a:lnTo>
                <a:lnTo>
                  <a:pt x="1548" y="1132"/>
                </a:lnTo>
                <a:lnTo>
                  <a:pt x="1466" y="1188"/>
                </a:lnTo>
                <a:lnTo>
                  <a:pt x="1389" y="1249"/>
                </a:lnTo>
                <a:lnTo>
                  <a:pt x="1317" y="1315"/>
                </a:lnTo>
                <a:lnTo>
                  <a:pt x="1250" y="1388"/>
                </a:lnTo>
                <a:lnTo>
                  <a:pt x="1188" y="1465"/>
                </a:lnTo>
                <a:lnTo>
                  <a:pt x="1134" y="1546"/>
                </a:lnTo>
                <a:lnTo>
                  <a:pt x="1084" y="1633"/>
                </a:lnTo>
                <a:lnTo>
                  <a:pt x="1042" y="1722"/>
                </a:lnTo>
                <a:lnTo>
                  <a:pt x="1007" y="1815"/>
                </a:lnTo>
                <a:lnTo>
                  <a:pt x="978" y="1913"/>
                </a:lnTo>
                <a:lnTo>
                  <a:pt x="958" y="2013"/>
                </a:lnTo>
                <a:lnTo>
                  <a:pt x="946" y="2116"/>
                </a:lnTo>
                <a:lnTo>
                  <a:pt x="941" y="2220"/>
                </a:lnTo>
                <a:lnTo>
                  <a:pt x="946" y="2325"/>
                </a:lnTo>
                <a:lnTo>
                  <a:pt x="958" y="2428"/>
                </a:lnTo>
                <a:lnTo>
                  <a:pt x="978" y="2528"/>
                </a:lnTo>
                <a:lnTo>
                  <a:pt x="1007" y="2624"/>
                </a:lnTo>
                <a:lnTo>
                  <a:pt x="1042" y="2719"/>
                </a:lnTo>
                <a:lnTo>
                  <a:pt x="1084" y="2808"/>
                </a:lnTo>
                <a:lnTo>
                  <a:pt x="1134" y="2895"/>
                </a:lnTo>
                <a:lnTo>
                  <a:pt x="1188" y="2976"/>
                </a:lnTo>
                <a:lnTo>
                  <a:pt x="1250" y="3053"/>
                </a:lnTo>
                <a:lnTo>
                  <a:pt x="1317" y="3125"/>
                </a:lnTo>
                <a:lnTo>
                  <a:pt x="1389" y="3192"/>
                </a:lnTo>
                <a:lnTo>
                  <a:pt x="1466" y="3253"/>
                </a:lnTo>
                <a:lnTo>
                  <a:pt x="1548" y="3309"/>
                </a:lnTo>
                <a:lnTo>
                  <a:pt x="1634" y="3357"/>
                </a:lnTo>
                <a:lnTo>
                  <a:pt x="1724" y="3399"/>
                </a:lnTo>
                <a:lnTo>
                  <a:pt x="1818" y="3435"/>
                </a:lnTo>
                <a:lnTo>
                  <a:pt x="1915" y="3463"/>
                </a:lnTo>
                <a:lnTo>
                  <a:pt x="2014" y="3483"/>
                </a:lnTo>
                <a:lnTo>
                  <a:pt x="2117" y="3495"/>
                </a:lnTo>
                <a:lnTo>
                  <a:pt x="2222" y="3500"/>
                </a:lnTo>
                <a:lnTo>
                  <a:pt x="2318" y="3497"/>
                </a:lnTo>
                <a:lnTo>
                  <a:pt x="2410" y="3486"/>
                </a:lnTo>
                <a:lnTo>
                  <a:pt x="2501" y="3470"/>
                </a:lnTo>
                <a:lnTo>
                  <a:pt x="2589" y="3447"/>
                </a:lnTo>
                <a:lnTo>
                  <a:pt x="2674" y="3418"/>
                </a:lnTo>
                <a:lnTo>
                  <a:pt x="2757" y="3383"/>
                </a:lnTo>
                <a:lnTo>
                  <a:pt x="2837" y="3344"/>
                </a:lnTo>
                <a:lnTo>
                  <a:pt x="2913" y="3299"/>
                </a:lnTo>
                <a:lnTo>
                  <a:pt x="2345" y="2733"/>
                </a:lnTo>
                <a:lnTo>
                  <a:pt x="2272" y="2760"/>
                </a:lnTo>
                <a:lnTo>
                  <a:pt x="2196" y="2779"/>
                </a:lnTo>
                <a:lnTo>
                  <a:pt x="2119" y="2791"/>
                </a:lnTo>
                <a:lnTo>
                  <a:pt x="2039" y="2795"/>
                </a:lnTo>
                <a:lnTo>
                  <a:pt x="1968" y="2791"/>
                </a:lnTo>
                <a:lnTo>
                  <a:pt x="1901" y="2783"/>
                </a:lnTo>
                <a:lnTo>
                  <a:pt x="1834" y="2768"/>
                </a:lnTo>
                <a:lnTo>
                  <a:pt x="1769" y="2747"/>
                </a:lnTo>
                <a:lnTo>
                  <a:pt x="1707" y="2722"/>
                </a:lnTo>
                <a:lnTo>
                  <a:pt x="1646" y="2689"/>
                </a:lnTo>
                <a:lnTo>
                  <a:pt x="1589" y="2653"/>
                </a:lnTo>
                <a:lnTo>
                  <a:pt x="1533" y="2611"/>
                </a:lnTo>
                <a:lnTo>
                  <a:pt x="1483" y="2565"/>
                </a:lnTo>
                <a:lnTo>
                  <a:pt x="1432" y="2508"/>
                </a:lnTo>
                <a:lnTo>
                  <a:pt x="1387" y="2447"/>
                </a:lnTo>
                <a:lnTo>
                  <a:pt x="1348" y="2384"/>
                </a:lnTo>
                <a:lnTo>
                  <a:pt x="1315" y="2317"/>
                </a:lnTo>
                <a:lnTo>
                  <a:pt x="1290" y="2247"/>
                </a:lnTo>
                <a:lnTo>
                  <a:pt x="1271" y="2175"/>
                </a:lnTo>
                <a:lnTo>
                  <a:pt x="1258" y="2102"/>
                </a:lnTo>
                <a:lnTo>
                  <a:pt x="1253" y="2028"/>
                </a:lnTo>
                <a:lnTo>
                  <a:pt x="1254" y="1953"/>
                </a:lnTo>
                <a:lnTo>
                  <a:pt x="1264" y="1879"/>
                </a:lnTo>
                <a:lnTo>
                  <a:pt x="1280" y="1805"/>
                </a:lnTo>
                <a:lnTo>
                  <a:pt x="1290" y="1782"/>
                </a:lnTo>
                <a:lnTo>
                  <a:pt x="1303" y="1764"/>
                </a:lnTo>
                <a:lnTo>
                  <a:pt x="1321" y="1749"/>
                </a:lnTo>
                <a:lnTo>
                  <a:pt x="1341" y="1741"/>
                </a:lnTo>
                <a:lnTo>
                  <a:pt x="1363" y="1737"/>
                </a:lnTo>
                <a:lnTo>
                  <a:pt x="1376" y="1738"/>
                </a:lnTo>
                <a:lnTo>
                  <a:pt x="1393" y="1742"/>
                </a:lnTo>
                <a:lnTo>
                  <a:pt x="1410" y="1752"/>
                </a:lnTo>
                <a:lnTo>
                  <a:pt x="1428" y="1767"/>
                </a:lnTo>
                <a:lnTo>
                  <a:pt x="1431" y="1768"/>
                </a:lnTo>
                <a:lnTo>
                  <a:pt x="1437" y="1775"/>
                </a:lnTo>
                <a:lnTo>
                  <a:pt x="1448" y="1786"/>
                </a:lnTo>
                <a:lnTo>
                  <a:pt x="1462" y="1800"/>
                </a:lnTo>
                <a:lnTo>
                  <a:pt x="1479" y="1818"/>
                </a:lnTo>
                <a:lnTo>
                  <a:pt x="1500" y="1838"/>
                </a:lnTo>
                <a:lnTo>
                  <a:pt x="1523" y="1860"/>
                </a:lnTo>
                <a:lnTo>
                  <a:pt x="1547" y="1884"/>
                </a:lnTo>
                <a:lnTo>
                  <a:pt x="1573" y="1910"/>
                </a:lnTo>
                <a:lnTo>
                  <a:pt x="1600" y="1937"/>
                </a:lnTo>
                <a:lnTo>
                  <a:pt x="1627" y="1963"/>
                </a:lnTo>
                <a:lnTo>
                  <a:pt x="1653" y="1990"/>
                </a:lnTo>
                <a:lnTo>
                  <a:pt x="1680" y="2017"/>
                </a:lnTo>
                <a:lnTo>
                  <a:pt x="1706" y="2043"/>
                </a:lnTo>
                <a:lnTo>
                  <a:pt x="1730" y="2066"/>
                </a:lnTo>
                <a:lnTo>
                  <a:pt x="1753" y="2089"/>
                </a:lnTo>
                <a:lnTo>
                  <a:pt x="1773" y="2109"/>
                </a:lnTo>
                <a:lnTo>
                  <a:pt x="1791" y="2126"/>
                </a:lnTo>
                <a:lnTo>
                  <a:pt x="1806" y="2137"/>
                </a:lnTo>
                <a:lnTo>
                  <a:pt x="1821" y="2143"/>
                </a:lnTo>
                <a:lnTo>
                  <a:pt x="1833" y="2144"/>
                </a:lnTo>
                <a:lnTo>
                  <a:pt x="1836" y="2144"/>
                </a:lnTo>
                <a:lnTo>
                  <a:pt x="1837" y="2144"/>
                </a:lnTo>
                <a:lnTo>
                  <a:pt x="1842" y="2143"/>
                </a:lnTo>
                <a:lnTo>
                  <a:pt x="1842" y="2144"/>
                </a:lnTo>
                <a:lnTo>
                  <a:pt x="1887" y="2139"/>
                </a:lnTo>
                <a:lnTo>
                  <a:pt x="1933" y="2133"/>
                </a:lnTo>
                <a:lnTo>
                  <a:pt x="1979" y="2128"/>
                </a:lnTo>
                <a:lnTo>
                  <a:pt x="2021" y="2121"/>
                </a:lnTo>
                <a:lnTo>
                  <a:pt x="2060" y="2114"/>
                </a:lnTo>
                <a:lnTo>
                  <a:pt x="2093" y="2108"/>
                </a:lnTo>
                <a:lnTo>
                  <a:pt x="2117" y="2101"/>
                </a:lnTo>
                <a:lnTo>
                  <a:pt x="2123" y="2094"/>
                </a:lnTo>
                <a:lnTo>
                  <a:pt x="2127" y="2091"/>
                </a:lnTo>
                <a:lnTo>
                  <a:pt x="2130" y="2089"/>
                </a:lnTo>
                <a:lnTo>
                  <a:pt x="2136" y="2064"/>
                </a:lnTo>
                <a:lnTo>
                  <a:pt x="2143" y="2032"/>
                </a:lnTo>
                <a:lnTo>
                  <a:pt x="2150" y="1995"/>
                </a:lnTo>
                <a:lnTo>
                  <a:pt x="2155" y="1952"/>
                </a:lnTo>
                <a:lnTo>
                  <a:pt x="2162" y="1907"/>
                </a:lnTo>
                <a:lnTo>
                  <a:pt x="2167" y="1863"/>
                </a:lnTo>
                <a:lnTo>
                  <a:pt x="2172" y="1818"/>
                </a:lnTo>
                <a:lnTo>
                  <a:pt x="2173" y="1811"/>
                </a:lnTo>
                <a:lnTo>
                  <a:pt x="2173" y="1803"/>
                </a:lnTo>
                <a:lnTo>
                  <a:pt x="2173" y="1792"/>
                </a:lnTo>
                <a:lnTo>
                  <a:pt x="2170" y="1780"/>
                </a:lnTo>
                <a:lnTo>
                  <a:pt x="2163" y="1771"/>
                </a:lnTo>
                <a:lnTo>
                  <a:pt x="2147" y="1753"/>
                </a:lnTo>
                <a:lnTo>
                  <a:pt x="2127" y="1734"/>
                </a:lnTo>
                <a:lnTo>
                  <a:pt x="2105" y="1711"/>
                </a:lnTo>
                <a:lnTo>
                  <a:pt x="2079" y="1687"/>
                </a:lnTo>
                <a:lnTo>
                  <a:pt x="2054" y="1661"/>
                </a:lnTo>
                <a:lnTo>
                  <a:pt x="2027" y="1633"/>
                </a:lnTo>
                <a:lnTo>
                  <a:pt x="1999" y="1606"/>
                </a:lnTo>
                <a:lnTo>
                  <a:pt x="1972" y="1577"/>
                </a:lnTo>
                <a:lnTo>
                  <a:pt x="1944" y="1550"/>
                </a:lnTo>
                <a:lnTo>
                  <a:pt x="1918" y="1525"/>
                </a:lnTo>
                <a:lnTo>
                  <a:pt x="1892" y="1499"/>
                </a:lnTo>
                <a:lnTo>
                  <a:pt x="1869" y="1476"/>
                </a:lnTo>
                <a:lnTo>
                  <a:pt x="1849" y="1454"/>
                </a:lnTo>
                <a:lnTo>
                  <a:pt x="1830" y="1435"/>
                </a:lnTo>
                <a:lnTo>
                  <a:pt x="1815" y="1420"/>
                </a:lnTo>
                <a:lnTo>
                  <a:pt x="1804" y="1410"/>
                </a:lnTo>
                <a:lnTo>
                  <a:pt x="1796" y="1401"/>
                </a:lnTo>
                <a:lnTo>
                  <a:pt x="1795" y="1400"/>
                </a:lnTo>
                <a:lnTo>
                  <a:pt x="1780" y="1381"/>
                </a:lnTo>
                <a:lnTo>
                  <a:pt x="1771" y="1359"/>
                </a:lnTo>
                <a:lnTo>
                  <a:pt x="1766" y="1338"/>
                </a:lnTo>
                <a:lnTo>
                  <a:pt x="1769" y="1315"/>
                </a:lnTo>
                <a:lnTo>
                  <a:pt x="1779" y="1293"/>
                </a:lnTo>
                <a:lnTo>
                  <a:pt x="1792" y="1276"/>
                </a:lnTo>
                <a:lnTo>
                  <a:pt x="1810" y="1262"/>
                </a:lnTo>
                <a:lnTo>
                  <a:pt x="1832" y="1253"/>
                </a:lnTo>
                <a:lnTo>
                  <a:pt x="1899" y="1238"/>
                </a:lnTo>
                <a:lnTo>
                  <a:pt x="1968" y="1228"/>
                </a:lnTo>
                <a:lnTo>
                  <a:pt x="2039" y="1226"/>
                </a:lnTo>
                <a:lnTo>
                  <a:pt x="2116" y="1228"/>
                </a:lnTo>
                <a:lnTo>
                  <a:pt x="2193" y="1240"/>
                </a:lnTo>
                <a:lnTo>
                  <a:pt x="2268" y="1259"/>
                </a:lnTo>
                <a:lnTo>
                  <a:pt x="2340" y="1285"/>
                </a:lnTo>
                <a:lnTo>
                  <a:pt x="2409" y="1318"/>
                </a:lnTo>
                <a:lnTo>
                  <a:pt x="2474" y="1357"/>
                </a:lnTo>
                <a:lnTo>
                  <a:pt x="2536" y="1403"/>
                </a:lnTo>
                <a:lnTo>
                  <a:pt x="2594" y="1454"/>
                </a:lnTo>
                <a:lnTo>
                  <a:pt x="2640" y="1506"/>
                </a:lnTo>
                <a:lnTo>
                  <a:pt x="2682" y="1561"/>
                </a:lnTo>
                <a:lnTo>
                  <a:pt x="2720" y="1618"/>
                </a:lnTo>
                <a:lnTo>
                  <a:pt x="2751" y="1679"/>
                </a:lnTo>
                <a:lnTo>
                  <a:pt x="2777" y="1741"/>
                </a:lnTo>
                <a:lnTo>
                  <a:pt x="2797" y="1806"/>
                </a:lnTo>
                <a:lnTo>
                  <a:pt x="2812" y="1872"/>
                </a:lnTo>
                <a:lnTo>
                  <a:pt x="2820" y="1940"/>
                </a:lnTo>
                <a:lnTo>
                  <a:pt x="2824" y="2010"/>
                </a:lnTo>
                <a:lnTo>
                  <a:pt x="2820" y="2089"/>
                </a:lnTo>
                <a:lnTo>
                  <a:pt x="2808" y="2167"/>
                </a:lnTo>
                <a:lnTo>
                  <a:pt x="2789" y="2243"/>
                </a:lnTo>
                <a:lnTo>
                  <a:pt x="2762" y="2316"/>
                </a:lnTo>
                <a:lnTo>
                  <a:pt x="3323" y="2876"/>
                </a:lnTo>
                <a:lnTo>
                  <a:pt x="3369" y="2792"/>
                </a:lnTo>
                <a:lnTo>
                  <a:pt x="3410" y="2704"/>
                </a:lnTo>
                <a:lnTo>
                  <a:pt x="3442" y="2613"/>
                </a:lnTo>
                <a:lnTo>
                  <a:pt x="3469" y="2519"/>
                </a:lnTo>
                <a:lnTo>
                  <a:pt x="3488" y="2421"/>
                </a:lnTo>
                <a:lnTo>
                  <a:pt x="3500" y="2323"/>
                </a:lnTo>
                <a:lnTo>
                  <a:pt x="3505" y="2220"/>
                </a:lnTo>
                <a:lnTo>
                  <a:pt x="3500" y="2116"/>
                </a:lnTo>
                <a:lnTo>
                  <a:pt x="3488" y="2013"/>
                </a:lnTo>
                <a:lnTo>
                  <a:pt x="3467" y="1913"/>
                </a:lnTo>
                <a:lnTo>
                  <a:pt x="3439" y="1815"/>
                </a:lnTo>
                <a:lnTo>
                  <a:pt x="3404" y="1722"/>
                </a:lnTo>
                <a:lnTo>
                  <a:pt x="3361" y="1633"/>
                </a:lnTo>
                <a:lnTo>
                  <a:pt x="3312" y="1546"/>
                </a:lnTo>
                <a:lnTo>
                  <a:pt x="3257" y="1465"/>
                </a:lnTo>
                <a:lnTo>
                  <a:pt x="3196" y="1388"/>
                </a:lnTo>
                <a:lnTo>
                  <a:pt x="3129" y="1315"/>
                </a:lnTo>
                <a:lnTo>
                  <a:pt x="3057" y="1249"/>
                </a:lnTo>
                <a:lnTo>
                  <a:pt x="2980" y="1188"/>
                </a:lnTo>
                <a:lnTo>
                  <a:pt x="2898" y="1132"/>
                </a:lnTo>
                <a:lnTo>
                  <a:pt x="2812" y="1084"/>
                </a:lnTo>
                <a:lnTo>
                  <a:pt x="2722" y="1042"/>
                </a:lnTo>
                <a:lnTo>
                  <a:pt x="2628" y="1005"/>
                </a:lnTo>
                <a:lnTo>
                  <a:pt x="2531" y="978"/>
                </a:lnTo>
                <a:lnTo>
                  <a:pt x="2430" y="958"/>
                </a:lnTo>
                <a:lnTo>
                  <a:pt x="2327" y="944"/>
                </a:lnTo>
                <a:lnTo>
                  <a:pt x="2222" y="940"/>
                </a:lnTo>
                <a:close/>
                <a:moveTo>
                  <a:pt x="2231" y="0"/>
                </a:moveTo>
                <a:lnTo>
                  <a:pt x="2357" y="4"/>
                </a:lnTo>
                <a:lnTo>
                  <a:pt x="2482" y="15"/>
                </a:lnTo>
                <a:lnTo>
                  <a:pt x="2509" y="22"/>
                </a:lnTo>
                <a:lnTo>
                  <a:pt x="2532" y="32"/>
                </a:lnTo>
                <a:lnTo>
                  <a:pt x="2554" y="49"/>
                </a:lnTo>
                <a:lnTo>
                  <a:pt x="2570" y="69"/>
                </a:lnTo>
                <a:lnTo>
                  <a:pt x="2582" y="92"/>
                </a:lnTo>
                <a:lnTo>
                  <a:pt x="2589" y="118"/>
                </a:lnTo>
                <a:lnTo>
                  <a:pt x="2590" y="145"/>
                </a:lnTo>
                <a:lnTo>
                  <a:pt x="2590" y="202"/>
                </a:lnTo>
                <a:lnTo>
                  <a:pt x="2597" y="256"/>
                </a:lnTo>
                <a:lnTo>
                  <a:pt x="2609" y="310"/>
                </a:lnTo>
                <a:lnTo>
                  <a:pt x="2627" y="361"/>
                </a:lnTo>
                <a:lnTo>
                  <a:pt x="2651" y="410"/>
                </a:lnTo>
                <a:lnTo>
                  <a:pt x="2680" y="456"/>
                </a:lnTo>
                <a:lnTo>
                  <a:pt x="2713" y="499"/>
                </a:lnTo>
                <a:lnTo>
                  <a:pt x="2751" y="537"/>
                </a:lnTo>
                <a:lnTo>
                  <a:pt x="2793" y="572"/>
                </a:lnTo>
                <a:lnTo>
                  <a:pt x="2841" y="602"/>
                </a:lnTo>
                <a:lnTo>
                  <a:pt x="2891" y="626"/>
                </a:lnTo>
                <a:lnTo>
                  <a:pt x="2942" y="644"/>
                </a:lnTo>
                <a:lnTo>
                  <a:pt x="2995" y="656"/>
                </a:lnTo>
                <a:lnTo>
                  <a:pt x="3051" y="661"/>
                </a:lnTo>
                <a:lnTo>
                  <a:pt x="3105" y="660"/>
                </a:lnTo>
                <a:lnTo>
                  <a:pt x="3160" y="653"/>
                </a:lnTo>
                <a:lnTo>
                  <a:pt x="3215" y="641"/>
                </a:lnTo>
                <a:lnTo>
                  <a:pt x="3266" y="624"/>
                </a:lnTo>
                <a:lnTo>
                  <a:pt x="3316" y="601"/>
                </a:lnTo>
                <a:lnTo>
                  <a:pt x="3364" y="574"/>
                </a:lnTo>
                <a:lnTo>
                  <a:pt x="3407" y="540"/>
                </a:lnTo>
                <a:lnTo>
                  <a:pt x="3445" y="502"/>
                </a:lnTo>
                <a:lnTo>
                  <a:pt x="3467" y="484"/>
                </a:lnTo>
                <a:lnTo>
                  <a:pt x="3490" y="471"/>
                </a:lnTo>
                <a:lnTo>
                  <a:pt x="3514" y="464"/>
                </a:lnTo>
                <a:lnTo>
                  <a:pt x="3540" y="461"/>
                </a:lnTo>
                <a:lnTo>
                  <a:pt x="3567" y="465"/>
                </a:lnTo>
                <a:lnTo>
                  <a:pt x="3591" y="475"/>
                </a:lnTo>
                <a:lnTo>
                  <a:pt x="3614" y="488"/>
                </a:lnTo>
                <a:lnTo>
                  <a:pt x="3709" y="569"/>
                </a:lnTo>
                <a:lnTo>
                  <a:pt x="3800" y="656"/>
                </a:lnTo>
                <a:lnTo>
                  <a:pt x="3885" y="747"/>
                </a:lnTo>
                <a:lnTo>
                  <a:pt x="3966" y="844"/>
                </a:lnTo>
                <a:lnTo>
                  <a:pt x="3981" y="867"/>
                </a:lnTo>
                <a:lnTo>
                  <a:pt x="3989" y="891"/>
                </a:lnTo>
                <a:lnTo>
                  <a:pt x="3994" y="917"/>
                </a:lnTo>
                <a:lnTo>
                  <a:pt x="3991" y="943"/>
                </a:lnTo>
                <a:lnTo>
                  <a:pt x="3984" y="969"/>
                </a:lnTo>
                <a:lnTo>
                  <a:pt x="3971" y="992"/>
                </a:lnTo>
                <a:lnTo>
                  <a:pt x="3953" y="1012"/>
                </a:lnTo>
                <a:lnTo>
                  <a:pt x="3914" y="1051"/>
                </a:lnTo>
                <a:lnTo>
                  <a:pt x="3880" y="1094"/>
                </a:lnTo>
                <a:lnTo>
                  <a:pt x="3851" y="1140"/>
                </a:lnTo>
                <a:lnTo>
                  <a:pt x="3830" y="1190"/>
                </a:lnTo>
                <a:lnTo>
                  <a:pt x="3812" y="1240"/>
                </a:lnTo>
                <a:lnTo>
                  <a:pt x="3800" y="1293"/>
                </a:lnTo>
                <a:lnTo>
                  <a:pt x="3793" y="1347"/>
                </a:lnTo>
                <a:lnTo>
                  <a:pt x="3793" y="1400"/>
                </a:lnTo>
                <a:lnTo>
                  <a:pt x="3798" y="1454"/>
                </a:lnTo>
                <a:lnTo>
                  <a:pt x="3811" y="1508"/>
                </a:lnTo>
                <a:lnTo>
                  <a:pt x="3828" y="1560"/>
                </a:lnTo>
                <a:lnTo>
                  <a:pt x="3854" y="1614"/>
                </a:lnTo>
                <a:lnTo>
                  <a:pt x="3887" y="1663"/>
                </a:lnTo>
                <a:lnTo>
                  <a:pt x="3923" y="1707"/>
                </a:lnTo>
                <a:lnTo>
                  <a:pt x="3965" y="1748"/>
                </a:lnTo>
                <a:lnTo>
                  <a:pt x="4011" y="1782"/>
                </a:lnTo>
                <a:lnTo>
                  <a:pt x="4061" y="1810"/>
                </a:lnTo>
                <a:lnTo>
                  <a:pt x="4114" y="1833"/>
                </a:lnTo>
                <a:lnTo>
                  <a:pt x="4170" y="1851"/>
                </a:lnTo>
                <a:lnTo>
                  <a:pt x="4228" y="1861"/>
                </a:lnTo>
                <a:lnTo>
                  <a:pt x="4289" y="1864"/>
                </a:lnTo>
                <a:lnTo>
                  <a:pt x="4316" y="1867"/>
                </a:lnTo>
                <a:lnTo>
                  <a:pt x="4343" y="1875"/>
                </a:lnTo>
                <a:lnTo>
                  <a:pt x="4369" y="1888"/>
                </a:lnTo>
                <a:lnTo>
                  <a:pt x="4392" y="1905"/>
                </a:lnTo>
                <a:lnTo>
                  <a:pt x="4411" y="1925"/>
                </a:lnTo>
                <a:lnTo>
                  <a:pt x="4424" y="1948"/>
                </a:lnTo>
                <a:lnTo>
                  <a:pt x="4432" y="1974"/>
                </a:lnTo>
                <a:lnTo>
                  <a:pt x="4442" y="2099"/>
                </a:lnTo>
                <a:lnTo>
                  <a:pt x="4446" y="2227"/>
                </a:lnTo>
                <a:lnTo>
                  <a:pt x="4442" y="2352"/>
                </a:lnTo>
                <a:lnTo>
                  <a:pt x="4431" y="2478"/>
                </a:lnTo>
                <a:lnTo>
                  <a:pt x="4424" y="2505"/>
                </a:lnTo>
                <a:lnTo>
                  <a:pt x="4413" y="2530"/>
                </a:lnTo>
                <a:lnTo>
                  <a:pt x="4396" y="2550"/>
                </a:lnTo>
                <a:lnTo>
                  <a:pt x="4377" y="2567"/>
                </a:lnTo>
                <a:lnTo>
                  <a:pt x="4353" y="2580"/>
                </a:lnTo>
                <a:lnTo>
                  <a:pt x="4328" y="2586"/>
                </a:lnTo>
                <a:lnTo>
                  <a:pt x="4301" y="2588"/>
                </a:lnTo>
                <a:lnTo>
                  <a:pt x="4273" y="2586"/>
                </a:lnTo>
                <a:lnTo>
                  <a:pt x="4214" y="2590"/>
                </a:lnTo>
                <a:lnTo>
                  <a:pt x="4157" y="2601"/>
                </a:lnTo>
                <a:lnTo>
                  <a:pt x="4103" y="2618"/>
                </a:lnTo>
                <a:lnTo>
                  <a:pt x="4050" y="2641"/>
                </a:lnTo>
                <a:lnTo>
                  <a:pt x="4000" y="2669"/>
                </a:lnTo>
                <a:lnTo>
                  <a:pt x="3954" y="2704"/>
                </a:lnTo>
                <a:lnTo>
                  <a:pt x="3912" y="2743"/>
                </a:lnTo>
                <a:lnTo>
                  <a:pt x="3876" y="2787"/>
                </a:lnTo>
                <a:lnTo>
                  <a:pt x="3845" y="2835"/>
                </a:lnTo>
                <a:lnTo>
                  <a:pt x="3819" y="2888"/>
                </a:lnTo>
                <a:lnTo>
                  <a:pt x="3800" y="2941"/>
                </a:lnTo>
                <a:lnTo>
                  <a:pt x="3788" y="2995"/>
                </a:lnTo>
                <a:lnTo>
                  <a:pt x="3781" y="3049"/>
                </a:lnTo>
                <a:lnTo>
                  <a:pt x="3781" y="3103"/>
                </a:lnTo>
                <a:lnTo>
                  <a:pt x="3788" y="3157"/>
                </a:lnTo>
                <a:lnTo>
                  <a:pt x="3800" y="3210"/>
                </a:lnTo>
                <a:lnTo>
                  <a:pt x="3817" y="3261"/>
                </a:lnTo>
                <a:lnTo>
                  <a:pt x="3840" y="3310"/>
                </a:lnTo>
                <a:lnTo>
                  <a:pt x="3869" y="3357"/>
                </a:lnTo>
                <a:lnTo>
                  <a:pt x="3904" y="3401"/>
                </a:lnTo>
                <a:lnTo>
                  <a:pt x="3943" y="3441"/>
                </a:lnTo>
                <a:lnTo>
                  <a:pt x="3961" y="3462"/>
                </a:lnTo>
                <a:lnTo>
                  <a:pt x="3975" y="3485"/>
                </a:lnTo>
                <a:lnTo>
                  <a:pt x="3981" y="3510"/>
                </a:lnTo>
                <a:lnTo>
                  <a:pt x="3984" y="3536"/>
                </a:lnTo>
                <a:lnTo>
                  <a:pt x="3980" y="3562"/>
                </a:lnTo>
                <a:lnTo>
                  <a:pt x="3971" y="3587"/>
                </a:lnTo>
                <a:lnTo>
                  <a:pt x="3956" y="3610"/>
                </a:lnTo>
                <a:lnTo>
                  <a:pt x="3874" y="3706"/>
                </a:lnTo>
                <a:lnTo>
                  <a:pt x="3786" y="3798"/>
                </a:lnTo>
                <a:lnTo>
                  <a:pt x="3694" y="3884"/>
                </a:lnTo>
                <a:lnTo>
                  <a:pt x="3597" y="3965"/>
                </a:lnTo>
                <a:lnTo>
                  <a:pt x="3574" y="3980"/>
                </a:lnTo>
                <a:lnTo>
                  <a:pt x="3549" y="3988"/>
                </a:lnTo>
                <a:lnTo>
                  <a:pt x="3523" y="3991"/>
                </a:lnTo>
                <a:lnTo>
                  <a:pt x="3498" y="3989"/>
                </a:lnTo>
                <a:lnTo>
                  <a:pt x="3472" y="3981"/>
                </a:lnTo>
                <a:lnTo>
                  <a:pt x="3449" y="3969"/>
                </a:lnTo>
                <a:lnTo>
                  <a:pt x="3429" y="3951"/>
                </a:lnTo>
                <a:lnTo>
                  <a:pt x="3391" y="3913"/>
                </a:lnTo>
                <a:lnTo>
                  <a:pt x="3347" y="3881"/>
                </a:lnTo>
                <a:lnTo>
                  <a:pt x="3301" y="3854"/>
                </a:lnTo>
                <a:lnTo>
                  <a:pt x="3251" y="3831"/>
                </a:lnTo>
                <a:lnTo>
                  <a:pt x="3200" y="3813"/>
                </a:lnTo>
                <a:lnTo>
                  <a:pt x="3146" y="3801"/>
                </a:lnTo>
                <a:lnTo>
                  <a:pt x="3091" y="3794"/>
                </a:lnTo>
                <a:lnTo>
                  <a:pt x="3037" y="3793"/>
                </a:lnTo>
                <a:lnTo>
                  <a:pt x="2983" y="3798"/>
                </a:lnTo>
                <a:lnTo>
                  <a:pt x="2930" y="3809"/>
                </a:lnTo>
                <a:lnTo>
                  <a:pt x="2879" y="3826"/>
                </a:lnTo>
                <a:lnTo>
                  <a:pt x="2823" y="3853"/>
                </a:lnTo>
                <a:lnTo>
                  <a:pt x="2773" y="3885"/>
                </a:lnTo>
                <a:lnTo>
                  <a:pt x="2728" y="3923"/>
                </a:lnTo>
                <a:lnTo>
                  <a:pt x="2688" y="3966"/>
                </a:lnTo>
                <a:lnTo>
                  <a:pt x="2652" y="4015"/>
                </a:lnTo>
                <a:lnTo>
                  <a:pt x="2624" y="4066"/>
                </a:lnTo>
                <a:lnTo>
                  <a:pt x="2601" y="4120"/>
                </a:lnTo>
                <a:lnTo>
                  <a:pt x="2585" y="4179"/>
                </a:lnTo>
                <a:lnTo>
                  <a:pt x="2575" y="4238"/>
                </a:lnTo>
                <a:lnTo>
                  <a:pt x="2574" y="4299"/>
                </a:lnTo>
                <a:lnTo>
                  <a:pt x="2573" y="4326"/>
                </a:lnTo>
                <a:lnTo>
                  <a:pt x="2564" y="4352"/>
                </a:lnTo>
                <a:lnTo>
                  <a:pt x="2552" y="4375"/>
                </a:lnTo>
                <a:lnTo>
                  <a:pt x="2535" y="4394"/>
                </a:lnTo>
                <a:lnTo>
                  <a:pt x="2514" y="4410"/>
                </a:lnTo>
                <a:lnTo>
                  <a:pt x="2491" y="4421"/>
                </a:lnTo>
                <a:lnTo>
                  <a:pt x="2464" y="4426"/>
                </a:lnTo>
                <a:lnTo>
                  <a:pt x="2342" y="4437"/>
                </a:lnTo>
                <a:lnTo>
                  <a:pt x="2220" y="4440"/>
                </a:lnTo>
                <a:lnTo>
                  <a:pt x="2092" y="4437"/>
                </a:lnTo>
                <a:lnTo>
                  <a:pt x="1964" y="4425"/>
                </a:lnTo>
                <a:lnTo>
                  <a:pt x="1937" y="4419"/>
                </a:lnTo>
                <a:lnTo>
                  <a:pt x="1913" y="4407"/>
                </a:lnTo>
                <a:lnTo>
                  <a:pt x="1892" y="4391"/>
                </a:lnTo>
                <a:lnTo>
                  <a:pt x="1876" y="4372"/>
                </a:lnTo>
                <a:lnTo>
                  <a:pt x="1864" y="4349"/>
                </a:lnTo>
                <a:lnTo>
                  <a:pt x="1856" y="4323"/>
                </a:lnTo>
                <a:lnTo>
                  <a:pt x="1855" y="4295"/>
                </a:lnTo>
                <a:lnTo>
                  <a:pt x="1855" y="4239"/>
                </a:lnTo>
                <a:lnTo>
                  <a:pt x="1849" y="4184"/>
                </a:lnTo>
                <a:lnTo>
                  <a:pt x="1837" y="4131"/>
                </a:lnTo>
                <a:lnTo>
                  <a:pt x="1818" y="4078"/>
                </a:lnTo>
                <a:lnTo>
                  <a:pt x="1795" y="4030"/>
                </a:lnTo>
                <a:lnTo>
                  <a:pt x="1766" y="3984"/>
                </a:lnTo>
                <a:lnTo>
                  <a:pt x="1733" y="3942"/>
                </a:lnTo>
                <a:lnTo>
                  <a:pt x="1695" y="3903"/>
                </a:lnTo>
                <a:lnTo>
                  <a:pt x="1651" y="3867"/>
                </a:lnTo>
                <a:lnTo>
                  <a:pt x="1605" y="3838"/>
                </a:lnTo>
                <a:lnTo>
                  <a:pt x="1554" y="3813"/>
                </a:lnTo>
                <a:lnTo>
                  <a:pt x="1502" y="3796"/>
                </a:lnTo>
                <a:lnTo>
                  <a:pt x="1449" y="3785"/>
                </a:lnTo>
                <a:lnTo>
                  <a:pt x="1395" y="3780"/>
                </a:lnTo>
                <a:lnTo>
                  <a:pt x="1340" y="3780"/>
                </a:lnTo>
                <a:lnTo>
                  <a:pt x="1286" y="3786"/>
                </a:lnTo>
                <a:lnTo>
                  <a:pt x="1231" y="3798"/>
                </a:lnTo>
                <a:lnTo>
                  <a:pt x="1179" y="3816"/>
                </a:lnTo>
                <a:lnTo>
                  <a:pt x="1128" y="3839"/>
                </a:lnTo>
                <a:lnTo>
                  <a:pt x="1082" y="3867"/>
                </a:lnTo>
                <a:lnTo>
                  <a:pt x="1039" y="3900"/>
                </a:lnTo>
                <a:lnTo>
                  <a:pt x="1000" y="3938"/>
                </a:lnTo>
                <a:lnTo>
                  <a:pt x="979" y="3957"/>
                </a:lnTo>
                <a:lnTo>
                  <a:pt x="956" y="3969"/>
                </a:lnTo>
                <a:lnTo>
                  <a:pt x="931" y="3977"/>
                </a:lnTo>
                <a:lnTo>
                  <a:pt x="905" y="3978"/>
                </a:lnTo>
                <a:lnTo>
                  <a:pt x="879" y="3976"/>
                </a:lnTo>
                <a:lnTo>
                  <a:pt x="853" y="3966"/>
                </a:lnTo>
                <a:lnTo>
                  <a:pt x="830" y="3951"/>
                </a:lnTo>
                <a:lnTo>
                  <a:pt x="736" y="3870"/>
                </a:lnTo>
                <a:lnTo>
                  <a:pt x="645" y="3784"/>
                </a:lnTo>
                <a:lnTo>
                  <a:pt x="559" y="3693"/>
                </a:lnTo>
                <a:lnTo>
                  <a:pt x="480" y="3596"/>
                </a:lnTo>
                <a:lnTo>
                  <a:pt x="465" y="3574"/>
                </a:lnTo>
                <a:lnTo>
                  <a:pt x="457" y="3548"/>
                </a:lnTo>
                <a:lnTo>
                  <a:pt x="452" y="3523"/>
                </a:lnTo>
                <a:lnTo>
                  <a:pt x="455" y="3497"/>
                </a:lnTo>
                <a:lnTo>
                  <a:pt x="462" y="3472"/>
                </a:lnTo>
                <a:lnTo>
                  <a:pt x="474" y="3449"/>
                </a:lnTo>
                <a:lnTo>
                  <a:pt x="493" y="3429"/>
                </a:lnTo>
                <a:lnTo>
                  <a:pt x="531" y="3389"/>
                </a:lnTo>
                <a:lnTo>
                  <a:pt x="565" y="3345"/>
                </a:lnTo>
                <a:lnTo>
                  <a:pt x="593" y="3299"/>
                </a:lnTo>
                <a:lnTo>
                  <a:pt x="616" y="3251"/>
                </a:lnTo>
                <a:lnTo>
                  <a:pt x="634" y="3199"/>
                </a:lnTo>
                <a:lnTo>
                  <a:pt x="646" y="3146"/>
                </a:lnTo>
                <a:lnTo>
                  <a:pt x="653" y="3094"/>
                </a:lnTo>
                <a:lnTo>
                  <a:pt x="653" y="3040"/>
                </a:lnTo>
                <a:lnTo>
                  <a:pt x="646" y="2985"/>
                </a:lnTo>
                <a:lnTo>
                  <a:pt x="635" y="2933"/>
                </a:lnTo>
                <a:lnTo>
                  <a:pt x="616" y="2880"/>
                </a:lnTo>
                <a:lnTo>
                  <a:pt x="591" y="2826"/>
                </a:lnTo>
                <a:lnTo>
                  <a:pt x="558" y="2776"/>
                </a:lnTo>
                <a:lnTo>
                  <a:pt x="520" y="2730"/>
                </a:lnTo>
                <a:lnTo>
                  <a:pt x="478" y="2689"/>
                </a:lnTo>
                <a:lnTo>
                  <a:pt x="432" y="2655"/>
                </a:lnTo>
                <a:lnTo>
                  <a:pt x="382" y="2626"/>
                </a:lnTo>
                <a:lnTo>
                  <a:pt x="329" y="2604"/>
                </a:lnTo>
                <a:lnTo>
                  <a:pt x="274" y="2588"/>
                </a:lnTo>
                <a:lnTo>
                  <a:pt x="217" y="2578"/>
                </a:lnTo>
                <a:lnTo>
                  <a:pt x="160" y="2576"/>
                </a:lnTo>
                <a:lnTo>
                  <a:pt x="131" y="2573"/>
                </a:lnTo>
                <a:lnTo>
                  <a:pt x="104" y="2565"/>
                </a:lnTo>
                <a:lnTo>
                  <a:pt x="77" y="2553"/>
                </a:lnTo>
                <a:lnTo>
                  <a:pt x="54" y="2536"/>
                </a:lnTo>
                <a:lnTo>
                  <a:pt x="35" y="2516"/>
                </a:lnTo>
                <a:lnTo>
                  <a:pt x="20" y="2493"/>
                </a:lnTo>
                <a:lnTo>
                  <a:pt x="14" y="2466"/>
                </a:lnTo>
                <a:lnTo>
                  <a:pt x="3" y="2340"/>
                </a:lnTo>
                <a:lnTo>
                  <a:pt x="0" y="2214"/>
                </a:lnTo>
                <a:lnTo>
                  <a:pt x="4" y="2087"/>
                </a:lnTo>
                <a:lnTo>
                  <a:pt x="15" y="1961"/>
                </a:lnTo>
                <a:lnTo>
                  <a:pt x="20" y="1936"/>
                </a:lnTo>
                <a:lnTo>
                  <a:pt x="31" y="1911"/>
                </a:lnTo>
                <a:lnTo>
                  <a:pt x="46" y="1891"/>
                </a:lnTo>
                <a:lnTo>
                  <a:pt x="65" y="1875"/>
                </a:lnTo>
                <a:lnTo>
                  <a:pt x="88" y="1863"/>
                </a:lnTo>
                <a:lnTo>
                  <a:pt x="114" y="1855"/>
                </a:lnTo>
                <a:lnTo>
                  <a:pt x="144" y="1853"/>
                </a:lnTo>
                <a:lnTo>
                  <a:pt x="207" y="1849"/>
                </a:lnTo>
                <a:lnTo>
                  <a:pt x="270" y="1840"/>
                </a:lnTo>
                <a:lnTo>
                  <a:pt x="329" y="1822"/>
                </a:lnTo>
                <a:lnTo>
                  <a:pt x="385" y="1800"/>
                </a:lnTo>
                <a:lnTo>
                  <a:pt x="438" y="1771"/>
                </a:lnTo>
                <a:lnTo>
                  <a:pt x="486" y="1737"/>
                </a:lnTo>
                <a:lnTo>
                  <a:pt x="530" y="1698"/>
                </a:lnTo>
                <a:lnTo>
                  <a:pt x="568" y="1654"/>
                </a:lnTo>
                <a:lnTo>
                  <a:pt x="600" y="1606"/>
                </a:lnTo>
                <a:lnTo>
                  <a:pt x="627" y="1553"/>
                </a:lnTo>
                <a:lnTo>
                  <a:pt x="645" y="1500"/>
                </a:lnTo>
                <a:lnTo>
                  <a:pt x="658" y="1446"/>
                </a:lnTo>
                <a:lnTo>
                  <a:pt x="664" y="1392"/>
                </a:lnTo>
                <a:lnTo>
                  <a:pt x="664" y="1336"/>
                </a:lnTo>
                <a:lnTo>
                  <a:pt x="658" y="1284"/>
                </a:lnTo>
                <a:lnTo>
                  <a:pt x="646" y="1230"/>
                </a:lnTo>
                <a:lnTo>
                  <a:pt x="629" y="1180"/>
                </a:lnTo>
                <a:lnTo>
                  <a:pt x="606" y="1130"/>
                </a:lnTo>
                <a:lnTo>
                  <a:pt x="576" y="1082"/>
                </a:lnTo>
                <a:lnTo>
                  <a:pt x="542" y="1039"/>
                </a:lnTo>
                <a:lnTo>
                  <a:pt x="503" y="998"/>
                </a:lnTo>
                <a:lnTo>
                  <a:pt x="485" y="978"/>
                </a:lnTo>
                <a:lnTo>
                  <a:pt x="471" y="955"/>
                </a:lnTo>
                <a:lnTo>
                  <a:pt x="465" y="931"/>
                </a:lnTo>
                <a:lnTo>
                  <a:pt x="462" y="905"/>
                </a:lnTo>
                <a:lnTo>
                  <a:pt x="466" y="878"/>
                </a:lnTo>
                <a:lnTo>
                  <a:pt x="474" y="854"/>
                </a:lnTo>
                <a:lnTo>
                  <a:pt x="489" y="831"/>
                </a:lnTo>
                <a:lnTo>
                  <a:pt x="572" y="735"/>
                </a:lnTo>
                <a:lnTo>
                  <a:pt x="658" y="643"/>
                </a:lnTo>
                <a:lnTo>
                  <a:pt x="752" y="556"/>
                </a:lnTo>
                <a:lnTo>
                  <a:pt x="849" y="475"/>
                </a:lnTo>
                <a:lnTo>
                  <a:pt x="872" y="461"/>
                </a:lnTo>
                <a:lnTo>
                  <a:pt x="897" y="452"/>
                </a:lnTo>
                <a:lnTo>
                  <a:pt x="923" y="449"/>
                </a:lnTo>
                <a:lnTo>
                  <a:pt x="948" y="452"/>
                </a:lnTo>
                <a:lnTo>
                  <a:pt x="973" y="459"/>
                </a:lnTo>
                <a:lnTo>
                  <a:pt x="996" y="471"/>
                </a:lnTo>
                <a:lnTo>
                  <a:pt x="1016" y="490"/>
                </a:lnTo>
                <a:lnTo>
                  <a:pt x="1055" y="526"/>
                </a:lnTo>
                <a:lnTo>
                  <a:pt x="1099" y="559"/>
                </a:lnTo>
                <a:lnTo>
                  <a:pt x="1145" y="587"/>
                </a:lnTo>
                <a:lnTo>
                  <a:pt x="1195" y="610"/>
                </a:lnTo>
                <a:lnTo>
                  <a:pt x="1246" y="628"/>
                </a:lnTo>
                <a:lnTo>
                  <a:pt x="1300" y="640"/>
                </a:lnTo>
                <a:lnTo>
                  <a:pt x="1355" y="647"/>
                </a:lnTo>
                <a:lnTo>
                  <a:pt x="1409" y="647"/>
                </a:lnTo>
                <a:lnTo>
                  <a:pt x="1463" y="643"/>
                </a:lnTo>
                <a:lnTo>
                  <a:pt x="1516" y="632"/>
                </a:lnTo>
                <a:lnTo>
                  <a:pt x="1567" y="614"/>
                </a:lnTo>
                <a:lnTo>
                  <a:pt x="1622" y="588"/>
                </a:lnTo>
                <a:lnTo>
                  <a:pt x="1672" y="555"/>
                </a:lnTo>
                <a:lnTo>
                  <a:pt x="1718" y="517"/>
                </a:lnTo>
                <a:lnTo>
                  <a:pt x="1758" y="473"/>
                </a:lnTo>
                <a:lnTo>
                  <a:pt x="1792" y="426"/>
                </a:lnTo>
                <a:lnTo>
                  <a:pt x="1822" y="375"/>
                </a:lnTo>
                <a:lnTo>
                  <a:pt x="1845" y="319"/>
                </a:lnTo>
                <a:lnTo>
                  <a:pt x="1860" y="261"/>
                </a:lnTo>
                <a:lnTo>
                  <a:pt x="1869" y="202"/>
                </a:lnTo>
                <a:lnTo>
                  <a:pt x="1871" y="141"/>
                </a:lnTo>
                <a:lnTo>
                  <a:pt x="1875" y="110"/>
                </a:lnTo>
                <a:lnTo>
                  <a:pt x="1884" y="81"/>
                </a:lnTo>
                <a:lnTo>
                  <a:pt x="1902" y="55"/>
                </a:lnTo>
                <a:lnTo>
                  <a:pt x="1924" y="35"/>
                </a:lnTo>
                <a:lnTo>
                  <a:pt x="1951" y="22"/>
                </a:lnTo>
                <a:lnTo>
                  <a:pt x="1982" y="14"/>
                </a:lnTo>
                <a:lnTo>
                  <a:pt x="2106" y="4"/>
                </a:lnTo>
                <a:lnTo>
                  <a:pt x="2231" y="0"/>
                </a:lnTo>
                <a:close/>
              </a:path>
            </a:pathLst>
          </a:custGeom>
          <a:solidFill>
            <a:schemeClr val="accent4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grpSp>
        <p:nvGrpSpPr>
          <p:cNvPr id="116" name="Group 1254">
            <a:extLst>
              <a:ext uri="{FF2B5EF4-FFF2-40B4-BE49-F238E27FC236}">
                <a16:creationId xmlns:a16="http://schemas.microsoft.com/office/drawing/2014/main" id="{5FC2ADD1-05D4-EC4B-CEBA-344D4479757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979689" y="4893155"/>
            <a:ext cx="273285" cy="271128"/>
            <a:chOff x="3311" y="3798"/>
            <a:chExt cx="760" cy="754"/>
          </a:xfrm>
          <a:solidFill>
            <a:schemeClr val="accent5"/>
          </a:solidFill>
        </p:grpSpPr>
        <p:sp>
          <p:nvSpPr>
            <p:cNvPr id="117" name="Freeform 1256">
              <a:extLst>
                <a:ext uri="{FF2B5EF4-FFF2-40B4-BE49-F238E27FC236}">
                  <a16:creationId xmlns:a16="http://schemas.microsoft.com/office/drawing/2014/main" id="{C6B4CA29-2CBC-73C3-6C76-714A86ED7188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2" y="3874"/>
              <a:ext cx="419" cy="667"/>
            </a:xfrm>
            <a:custGeom>
              <a:avLst/>
              <a:gdLst>
                <a:gd name="T0" fmla="*/ 788 w 2091"/>
                <a:gd name="T1" fmla="*/ 34 h 3334"/>
                <a:gd name="T2" fmla="*/ 986 w 2091"/>
                <a:gd name="T3" fmla="*/ 288 h 3334"/>
                <a:gd name="T4" fmla="*/ 1263 w 2091"/>
                <a:gd name="T5" fmla="*/ 616 h 3334"/>
                <a:gd name="T6" fmla="*/ 1409 w 2091"/>
                <a:gd name="T7" fmla="*/ 500 h 3334"/>
                <a:gd name="T8" fmla="*/ 1769 w 2091"/>
                <a:gd name="T9" fmla="*/ 455 h 3334"/>
                <a:gd name="T10" fmla="*/ 1880 w 2091"/>
                <a:gd name="T11" fmla="*/ 643 h 3334"/>
                <a:gd name="T12" fmla="*/ 1971 w 2091"/>
                <a:gd name="T13" fmla="*/ 843 h 3334"/>
                <a:gd name="T14" fmla="*/ 2036 w 2091"/>
                <a:gd name="T15" fmla="*/ 1054 h 3334"/>
                <a:gd name="T16" fmla="*/ 2077 w 2091"/>
                <a:gd name="T17" fmla="*/ 1275 h 3334"/>
                <a:gd name="T18" fmla="*/ 2091 w 2091"/>
                <a:gd name="T19" fmla="*/ 1504 h 3334"/>
                <a:gd name="T20" fmla="*/ 2076 w 2091"/>
                <a:gd name="T21" fmla="*/ 1742 h 3334"/>
                <a:gd name="T22" fmla="*/ 2032 w 2091"/>
                <a:gd name="T23" fmla="*/ 1972 h 3334"/>
                <a:gd name="T24" fmla="*/ 1961 w 2091"/>
                <a:gd name="T25" fmla="*/ 2190 h 3334"/>
                <a:gd name="T26" fmla="*/ 1864 w 2091"/>
                <a:gd name="T27" fmla="*/ 2396 h 3334"/>
                <a:gd name="T28" fmla="*/ 1746 w 2091"/>
                <a:gd name="T29" fmla="*/ 2588 h 3334"/>
                <a:gd name="T30" fmla="*/ 1603 w 2091"/>
                <a:gd name="T31" fmla="*/ 2763 h 3334"/>
                <a:gd name="T32" fmla="*/ 1442 w 2091"/>
                <a:gd name="T33" fmla="*/ 2920 h 3334"/>
                <a:gd name="T34" fmla="*/ 1263 w 2091"/>
                <a:gd name="T35" fmla="*/ 3058 h 3334"/>
                <a:gd name="T36" fmla="*/ 1069 w 2091"/>
                <a:gd name="T37" fmla="*/ 3175 h 3334"/>
                <a:gd name="T38" fmla="*/ 859 w 2091"/>
                <a:gd name="T39" fmla="*/ 3267 h 3334"/>
                <a:gd name="T40" fmla="*/ 637 w 2091"/>
                <a:gd name="T41" fmla="*/ 3334 h 3334"/>
                <a:gd name="T42" fmla="*/ 998 w 2091"/>
                <a:gd name="T43" fmla="*/ 2993 h 3334"/>
                <a:gd name="T44" fmla="*/ 1309 w 2091"/>
                <a:gd name="T45" fmla="*/ 2658 h 3334"/>
                <a:gd name="T46" fmla="*/ 1193 w 2091"/>
                <a:gd name="T47" fmla="*/ 2061 h 3334"/>
                <a:gd name="T48" fmla="*/ 920 w 2091"/>
                <a:gd name="T49" fmla="*/ 1856 h 3334"/>
                <a:gd name="T50" fmla="*/ 544 w 2091"/>
                <a:gd name="T51" fmla="*/ 1775 h 3334"/>
                <a:gd name="T52" fmla="*/ 298 w 2091"/>
                <a:gd name="T53" fmla="*/ 1714 h 3334"/>
                <a:gd name="T54" fmla="*/ 214 w 2091"/>
                <a:gd name="T55" fmla="*/ 1548 h 3334"/>
                <a:gd name="T56" fmla="*/ 36 w 2091"/>
                <a:gd name="T57" fmla="*/ 1626 h 3334"/>
                <a:gd name="T58" fmla="*/ 147 w 2091"/>
                <a:gd name="T59" fmla="*/ 1402 h 3334"/>
                <a:gd name="T60" fmla="*/ 380 w 2091"/>
                <a:gd name="T61" fmla="*/ 1471 h 3334"/>
                <a:gd name="T62" fmla="*/ 637 w 2091"/>
                <a:gd name="T63" fmla="*/ 1082 h 3334"/>
                <a:gd name="T64" fmla="*/ 1134 w 2091"/>
                <a:gd name="T65" fmla="*/ 947 h 3334"/>
                <a:gd name="T66" fmla="*/ 924 w 2091"/>
                <a:gd name="T67" fmla="*/ 630 h 3334"/>
                <a:gd name="T68" fmla="*/ 714 w 2091"/>
                <a:gd name="T69" fmla="*/ 461 h 3334"/>
                <a:gd name="T70" fmla="*/ 470 w 2091"/>
                <a:gd name="T71" fmla="*/ 392 h 3334"/>
                <a:gd name="T72" fmla="*/ 233 w 2091"/>
                <a:gd name="T73" fmla="*/ 551 h 3334"/>
                <a:gd name="T74" fmla="*/ 372 w 2091"/>
                <a:gd name="T75" fmla="*/ 392 h 3334"/>
                <a:gd name="T76" fmla="*/ 578 w 2091"/>
                <a:gd name="T77" fmla="*/ 234 h 3334"/>
                <a:gd name="T78" fmla="*/ 692 w 2091"/>
                <a:gd name="T79" fmla="*/ 376 h 3334"/>
                <a:gd name="T80" fmla="*/ 866 w 2091"/>
                <a:gd name="T81" fmla="*/ 349 h 3334"/>
                <a:gd name="T82" fmla="*/ 605 w 2091"/>
                <a:gd name="T83" fmla="*/ 81 h 3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91" h="3334">
                  <a:moveTo>
                    <a:pt x="610" y="0"/>
                  </a:moveTo>
                  <a:lnTo>
                    <a:pt x="788" y="34"/>
                  </a:lnTo>
                  <a:lnTo>
                    <a:pt x="939" y="169"/>
                  </a:lnTo>
                  <a:lnTo>
                    <a:pt x="986" y="288"/>
                  </a:lnTo>
                  <a:lnTo>
                    <a:pt x="1022" y="400"/>
                  </a:lnTo>
                  <a:lnTo>
                    <a:pt x="1263" y="616"/>
                  </a:lnTo>
                  <a:lnTo>
                    <a:pt x="1325" y="635"/>
                  </a:lnTo>
                  <a:lnTo>
                    <a:pt x="1409" y="500"/>
                  </a:lnTo>
                  <a:lnTo>
                    <a:pt x="1712" y="473"/>
                  </a:lnTo>
                  <a:lnTo>
                    <a:pt x="1769" y="455"/>
                  </a:lnTo>
                  <a:lnTo>
                    <a:pt x="1827" y="547"/>
                  </a:lnTo>
                  <a:lnTo>
                    <a:pt x="1880" y="643"/>
                  </a:lnTo>
                  <a:lnTo>
                    <a:pt x="1929" y="741"/>
                  </a:lnTo>
                  <a:lnTo>
                    <a:pt x="1971" y="843"/>
                  </a:lnTo>
                  <a:lnTo>
                    <a:pt x="2007" y="947"/>
                  </a:lnTo>
                  <a:lnTo>
                    <a:pt x="2036" y="1054"/>
                  </a:lnTo>
                  <a:lnTo>
                    <a:pt x="2060" y="1163"/>
                  </a:lnTo>
                  <a:lnTo>
                    <a:pt x="2077" y="1275"/>
                  </a:lnTo>
                  <a:lnTo>
                    <a:pt x="2088" y="1389"/>
                  </a:lnTo>
                  <a:lnTo>
                    <a:pt x="2091" y="1504"/>
                  </a:lnTo>
                  <a:lnTo>
                    <a:pt x="2087" y="1624"/>
                  </a:lnTo>
                  <a:lnTo>
                    <a:pt x="2076" y="1742"/>
                  </a:lnTo>
                  <a:lnTo>
                    <a:pt x="2057" y="1859"/>
                  </a:lnTo>
                  <a:lnTo>
                    <a:pt x="2032" y="1972"/>
                  </a:lnTo>
                  <a:lnTo>
                    <a:pt x="2000" y="2082"/>
                  </a:lnTo>
                  <a:lnTo>
                    <a:pt x="1961" y="2190"/>
                  </a:lnTo>
                  <a:lnTo>
                    <a:pt x="1916" y="2295"/>
                  </a:lnTo>
                  <a:lnTo>
                    <a:pt x="1864" y="2396"/>
                  </a:lnTo>
                  <a:lnTo>
                    <a:pt x="1807" y="2493"/>
                  </a:lnTo>
                  <a:lnTo>
                    <a:pt x="1746" y="2588"/>
                  </a:lnTo>
                  <a:lnTo>
                    <a:pt x="1676" y="2677"/>
                  </a:lnTo>
                  <a:lnTo>
                    <a:pt x="1603" y="2763"/>
                  </a:lnTo>
                  <a:lnTo>
                    <a:pt x="1525" y="2844"/>
                  </a:lnTo>
                  <a:lnTo>
                    <a:pt x="1442" y="2920"/>
                  </a:lnTo>
                  <a:lnTo>
                    <a:pt x="1355" y="2992"/>
                  </a:lnTo>
                  <a:lnTo>
                    <a:pt x="1263" y="3058"/>
                  </a:lnTo>
                  <a:lnTo>
                    <a:pt x="1168" y="3119"/>
                  </a:lnTo>
                  <a:lnTo>
                    <a:pt x="1069" y="3175"/>
                  </a:lnTo>
                  <a:lnTo>
                    <a:pt x="965" y="3224"/>
                  </a:lnTo>
                  <a:lnTo>
                    <a:pt x="859" y="3267"/>
                  </a:lnTo>
                  <a:lnTo>
                    <a:pt x="750" y="3305"/>
                  </a:lnTo>
                  <a:lnTo>
                    <a:pt x="637" y="3334"/>
                  </a:lnTo>
                  <a:lnTo>
                    <a:pt x="672" y="3210"/>
                  </a:lnTo>
                  <a:lnTo>
                    <a:pt x="998" y="2993"/>
                  </a:lnTo>
                  <a:lnTo>
                    <a:pt x="1084" y="2762"/>
                  </a:lnTo>
                  <a:lnTo>
                    <a:pt x="1309" y="2658"/>
                  </a:lnTo>
                  <a:lnTo>
                    <a:pt x="1523" y="2254"/>
                  </a:lnTo>
                  <a:lnTo>
                    <a:pt x="1193" y="2061"/>
                  </a:lnTo>
                  <a:lnTo>
                    <a:pt x="1022" y="1869"/>
                  </a:lnTo>
                  <a:lnTo>
                    <a:pt x="920" y="1856"/>
                  </a:lnTo>
                  <a:lnTo>
                    <a:pt x="719" y="1802"/>
                  </a:lnTo>
                  <a:lnTo>
                    <a:pt x="544" y="1775"/>
                  </a:lnTo>
                  <a:lnTo>
                    <a:pt x="392" y="1818"/>
                  </a:lnTo>
                  <a:lnTo>
                    <a:pt x="298" y="1714"/>
                  </a:lnTo>
                  <a:lnTo>
                    <a:pt x="205" y="1687"/>
                  </a:lnTo>
                  <a:lnTo>
                    <a:pt x="214" y="1548"/>
                  </a:lnTo>
                  <a:lnTo>
                    <a:pt x="102" y="1552"/>
                  </a:lnTo>
                  <a:lnTo>
                    <a:pt x="36" y="1626"/>
                  </a:lnTo>
                  <a:lnTo>
                    <a:pt x="0" y="1471"/>
                  </a:lnTo>
                  <a:lnTo>
                    <a:pt x="147" y="1402"/>
                  </a:lnTo>
                  <a:lnTo>
                    <a:pt x="298" y="1471"/>
                  </a:lnTo>
                  <a:lnTo>
                    <a:pt x="380" y="1471"/>
                  </a:lnTo>
                  <a:lnTo>
                    <a:pt x="410" y="1352"/>
                  </a:lnTo>
                  <a:lnTo>
                    <a:pt x="637" y="1082"/>
                  </a:lnTo>
                  <a:lnTo>
                    <a:pt x="951" y="924"/>
                  </a:lnTo>
                  <a:lnTo>
                    <a:pt x="1134" y="947"/>
                  </a:lnTo>
                  <a:lnTo>
                    <a:pt x="1151" y="859"/>
                  </a:lnTo>
                  <a:lnTo>
                    <a:pt x="924" y="630"/>
                  </a:lnTo>
                  <a:lnTo>
                    <a:pt x="839" y="461"/>
                  </a:lnTo>
                  <a:lnTo>
                    <a:pt x="714" y="461"/>
                  </a:lnTo>
                  <a:lnTo>
                    <a:pt x="637" y="417"/>
                  </a:lnTo>
                  <a:lnTo>
                    <a:pt x="470" y="392"/>
                  </a:lnTo>
                  <a:lnTo>
                    <a:pt x="436" y="590"/>
                  </a:lnTo>
                  <a:lnTo>
                    <a:pt x="233" y="551"/>
                  </a:lnTo>
                  <a:lnTo>
                    <a:pt x="217" y="427"/>
                  </a:lnTo>
                  <a:lnTo>
                    <a:pt x="372" y="392"/>
                  </a:lnTo>
                  <a:lnTo>
                    <a:pt x="424" y="171"/>
                  </a:lnTo>
                  <a:lnTo>
                    <a:pt x="578" y="234"/>
                  </a:lnTo>
                  <a:lnTo>
                    <a:pt x="574" y="328"/>
                  </a:lnTo>
                  <a:lnTo>
                    <a:pt x="692" y="376"/>
                  </a:lnTo>
                  <a:lnTo>
                    <a:pt x="770" y="400"/>
                  </a:lnTo>
                  <a:lnTo>
                    <a:pt x="866" y="349"/>
                  </a:lnTo>
                  <a:lnTo>
                    <a:pt x="781" y="250"/>
                  </a:lnTo>
                  <a:lnTo>
                    <a:pt x="605" y="81"/>
                  </a:lnTo>
                  <a:lnTo>
                    <a:pt x="61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8" name="Freeform 1257">
              <a:extLst>
                <a:ext uri="{FF2B5EF4-FFF2-40B4-BE49-F238E27FC236}">
                  <a16:creationId xmlns:a16="http://schemas.microsoft.com/office/drawing/2014/main" id="{7AC9D81D-C1F0-09D5-B23E-77D765B1B2B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1" y="3979"/>
              <a:ext cx="441" cy="573"/>
            </a:xfrm>
            <a:custGeom>
              <a:avLst/>
              <a:gdLst>
                <a:gd name="T0" fmla="*/ 261 w 2205"/>
                <a:gd name="T1" fmla="*/ 106 h 2865"/>
                <a:gd name="T2" fmla="*/ 581 w 2205"/>
                <a:gd name="T3" fmla="*/ 176 h 2865"/>
                <a:gd name="T4" fmla="*/ 1098 w 2205"/>
                <a:gd name="T5" fmla="*/ 443 h 2865"/>
                <a:gd name="T6" fmla="*/ 1370 w 2205"/>
                <a:gd name="T7" fmla="*/ 1109 h 2865"/>
                <a:gd name="T8" fmla="*/ 1416 w 2205"/>
                <a:gd name="T9" fmla="*/ 980 h 2865"/>
                <a:gd name="T10" fmla="*/ 1837 w 2205"/>
                <a:gd name="T11" fmla="*/ 1269 h 2865"/>
                <a:gd name="T12" fmla="*/ 2106 w 2205"/>
                <a:gd name="T13" fmla="*/ 1448 h 2865"/>
                <a:gd name="T14" fmla="*/ 2118 w 2205"/>
                <a:gd name="T15" fmla="*/ 1964 h 2865"/>
                <a:gd name="T16" fmla="*/ 2121 w 2205"/>
                <a:gd name="T17" fmla="*/ 1978 h 2865"/>
                <a:gd name="T18" fmla="*/ 2131 w 2205"/>
                <a:gd name="T19" fmla="*/ 2011 h 2865"/>
                <a:gd name="T20" fmla="*/ 2146 w 2205"/>
                <a:gd name="T21" fmla="*/ 2058 h 2865"/>
                <a:gd name="T22" fmla="*/ 2162 w 2205"/>
                <a:gd name="T23" fmla="*/ 2113 h 2865"/>
                <a:gd name="T24" fmla="*/ 2177 w 2205"/>
                <a:gd name="T25" fmla="*/ 2168 h 2865"/>
                <a:gd name="T26" fmla="*/ 2192 w 2205"/>
                <a:gd name="T27" fmla="*/ 2217 h 2865"/>
                <a:gd name="T28" fmla="*/ 2202 w 2205"/>
                <a:gd name="T29" fmla="*/ 2253 h 2865"/>
                <a:gd name="T30" fmla="*/ 2205 w 2205"/>
                <a:gd name="T31" fmla="*/ 2270 h 2865"/>
                <a:gd name="T32" fmla="*/ 2202 w 2205"/>
                <a:gd name="T33" fmla="*/ 2286 h 2865"/>
                <a:gd name="T34" fmla="*/ 2193 w 2205"/>
                <a:gd name="T35" fmla="*/ 2323 h 2865"/>
                <a:gd name="T36" fmla="*/ 2181 w 2205"/>
                <a:gd name="T37" fmla="*/ 2374 h 2865"/>
                <a:gd name="T38" fmla="*/ 2166 w 2205"/>
                <a:gd name="T39" fmla="*/ 2433 h 2865"/>
                <a:gd name="T40" fmla="*/ 2150 w 2205"/>
                <a:gd name="T41" fmla="*/ 2495 h 2865"/>
                <a:gd name="T42" fmla="*/ 2136 w 2205"/>
                <a:gd name="T43" fmla="*/ 2549 h 2865"/>
                <a:gd name="T44" fmla="*/ 2125 w 2205"/>
                <a:gd name="T45" fmla="*/ 2592 h 2865"/>
                <a:gd name="T46" fmla="*/ 2119 w 2205"/>
                <a:gd name="T47" fmla="*/ 2616 h 2865"/>
                <a:gd name="T48" fmla="*/ 2137 w 2205"/>
                <a:gd name="T49" fmla="*/ 2848 h 2865"/>
                <a:gd name="T50" fmla="*/ 1979 w 2205"/>
                <a:gd name="T51" fmla="*/ 2863 h 2865"/>
                <a:gd name="T52" fmla="*/ 1779 w 2205"/>
                <a:gd name="T53" fmla="*/ 2862 h 2865"/>
                <a:gd name="T54" fmla="*/ 1545 w 2205"/>
                <a:gd name="T55" fmla="*/ 2832 h 2865"/>
                <a:gd name="T56" fmla="*/ 1321 w 2205"/>
                <a:gd name="T57" fmla="*/ 2776 h 2865"/>
                <a:gd name="T58" fmla="*/ 1108 w 2205"/>
                <a:gd name="T59" fmla="*/ 2693 h 2865"/>
                <a:gd name="T60" fmla="*/ 909 w 2205"/>
                <a:gd name="T61" fmla="*/ 2588 h 2865"/>
                <a:gd name="T62" fmla="*/ 723 w 2205"/>
                <a:gd name="T63" fmla="*/ 2460 h 2865"/>
                <a:gd name="T64" fmla="*/ 556 w 2205"/>
                <a:gd name="T65" fmla="*/ 2313 h 2865"/>
                <a:gd name="T66" fmla="*/ 407 w 2205"/>
                <a:gd name="T67" fmla="*/ 2146 h 2865"/>
                <a:gd name="T68" fmla="*/ 278 w 2205"/>
                <a:gd name="T69" fmla="*/ 1963 h 2865"/>
                <a:gd name="T70" fmla="*/ 172 w 2205"/>
                <a:gd name="T71" fmla="*/ 1766 h 2865"/>
                <a:gd name="T72" fmla="*/ 90 w 2205"/>
                <a:gd name="T73" fmla="*/ 1555 h 2865"/>
                <a:gd name="T74" fmla="*/ 33 w 2205"/>
                <a:gd name="T75" fmla="*/ 1331 h 2865"/>
                <a:gd name="T76" fmla="*/ 3 w 2205"/>
                <a:gd name="T77" fmla="*/ 1099 h 2865"/>
                <a:gd name="T78" fmla="*/ 3 w 2205"/>
                <a:gd name="T79" fmla="*/ 865 h 2865"/>
                <a:gd name="T80" fmla="*/ 31 w 2205"/>
                <a:gd name="T81" fmla="*/ 641 h 2865"/>
                <a:gd name="T82" fmla="*/ 84 w 2205"/>
                <a:gd name="T83" fmla="*/ 427 h 2865"/>
                <a:gd name="T84" fmla="*/ 162 w 2205"/>
                <a:gd name="T85" fmla="*/ 223 h 2865"/>
                <a:gd name="T86" fmla="*/ 261 w 2205"/>
                <a:gd name="T87" fmla="*/ 30 h 28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205" h="2865">
                  <a:moveTo>
                    <a:pt x="397" y="0"/>
                  </a:moveTo>
                  <a:lnTo>
                    <a:pt x="261" y="106"/>
                  </a:lnTo>
                  <a:lnTo>
                    <a:pt x="368" y="176"/>
                  </a:lnTo>
                  <a:lnTo>
                    <a:pt x="581" y="176"/>
                  </a:lnTo>
                  <a:lnTo>
                    <a:pt x="898" y="120"/>
                  </a:lnTo>
                  <a:lnTo>
                    <a:pt x="1098" y="443"/>
                  </a:lnTo>
                  <a:lnTo>
                    <a:pt x="1098" y="743"/>
                  </a:lnTo>
                  <a:lnTo>
                    <a:pt x="1370" y="1109"/>
                  </a:lnTo>
                  <a:lnTo>
                    <a:pt x="1416" y="1109"/>
                  </a:lnTo>
                  <a:lnTo>
                    <a:pt x="1416" y="980"/>
                  </a:lnTo>
                  <a:lnTo>
                    <a:pt x="1521" y="1199"/>
                  </a:lnTo>
                  <a:lnTo>
                    <a:pt x="1837" y="1269"/>
                  </a:lnTo>
                  <a:lnTo>
                    <a:pt x="1979" y="1410"/>
                  </a:lnTo>
                  <a:lnTo>
                    <a:pt x="2106" y="1448"/>
                  </a:lnTo>
                  <a:lnTo>
                    <a:pt x="1979" y="1710"/>
                  </a:lnTo>
                  <a:lnTo>
                    <a:pt x="2118" y="1964"/>
                  </a:lnTo>
                  <a:lnTo>
                    <a:pt x="2119" y="1968"/>
                  </a:lnTo>
                  <a:lnTo>
                    <a:pt x="2121" y="1978"/>
                  </a:lnTo>
                  <a:lnTo>
                    <a:pt x="2126" y="1993"/>
                  </a:lnTo>
                  <a:lnTo>
                    <a:pt x="2131" y="2011"/>
                  </a:lnTo>
                  <a:lnTo>
                    <a:pt x="2139" y="2033"/>
                  </a:lnTo>
                  <a:lnTo>
                    <a:pt x="2146" y="2058"/>
                  </a:lnTo>
                  <a:lnTo>
                    <a:pt x="2153" y="2085"/>
                  </a:lnTo>
                  <a:lnTo>
                    <a:pt x="2162" y="2113"/>
                  </a:lnTo>
                  <a:lnTo>
                    <a:pt x="2169" y="2141"/>
                  </a:lnTo>
                  <a:lnTo>
                    <a:pt x="2177" y="2168"/>
                  </a:lnTo>
                  <a:lnTo>
                    <a:pt x="2184" y="2194"/>
                  </a:lnTo>
                  <a:lnTo>
                    <a:pt x="2192" y="2217"/>
                  </a:lnTo>
                  <a:lnTo>
                    <a:pt x="2197" y="2237"/>
                  </a:lnTo>
                  <a:lnTo>
                    <a:pt x="2202" y="2253"/>
                  </a:lnTo>
                  <a:lnTo>
                    <a:pt x="2204" y="2264"/>
                  </a:lnTo>
                  <a:lnTo>
                    <a:pt x="2205" y="2270"/>
                  </a:lnTo>
                  <a:lnTo>
                    <a:pt x="2204" y="2275"/>
                  </a:lnTo>
                  <a:lnTo>
                    <a:pt x="2202" y="2286"/>
                  </a:lnTo>
                  <a:lnTo>
                    <a:pt x="2198" y="2302"/>
                  </a:lnTo>
                  <a:lnTo>
                    <a:pt x="2193" y="2323"/>
                  </a:lnTo>
                  <a:lnTo>
                    <a:pt x="2187" y="2347"/>
                  </a:lnTo>
                  <a:lnTo>
                    <a:pt x="2181" y="2374"/>
                  </a:lnTo>
                  <a:lnTo>
                    <a:pt x="2173" y="2404"/>
                  </a:lnTo>
                  <a:lnTo>
                    <a:pt x="2166" y="2433"/>
                  </a:lnTo>
                  <a:lnTo>
                    <a:pt x="2157" y="2464"/>
                  </a:lnTo>
                  <a:lnTo>
                    <a:pt x="2150" y="2495"/>
                  </a:lnTo>
                  <a:lnTo>
                    <a:pt x="2142" y="2523"/>
                  </a:lnTo>
                  <a:lnTo>
                    <a:pt x="2136" y="2549"/>
                  </a:lnTo>
                  <a:lnTo>
                    <a:pt x="2130" y="2572"/>
                  </a:lnTo>
                  <a:lnTo>
                    <a:pt x="2125" y="2592"/>
                  </a:lnTo>
                  <a:lnTo>
                    <a:pt x="2121" y="2608"/>
                  </a:lnTo>
                  <a:lnTo>
                    <a:pt x="2119" y="2616"/>
                  </a:lnTo>
                  <a:lnTo>
                    <a:pt x="2118" y="2620"/>
                  </a:lnTo>
                  <a:lnTo>
                    <a:pt x="2137" y="2848"/>
                  </a:lnTo>
                  <a:lnTo>
                    <a:pt x="2059" y="2857"/>
                  </a:lnTo>
                  <a:lnTo>
                    <a:pt x="1979" y="2863"/>
                  </a:lnTo>
                  <a:lnTo>
                    <a:pt x="1899" y="2865"/>
                  </a:lnTo>
                  <a:lnTo>
                    <a:pt x="1779" y="2862"/>
                  </a:lnTo>
                  <a:lnTo>
                    <a:pt x="1661" y="2851"/>
                  </a:lnTo>
                  <a:lnTo>
                    <a:pt x="1545" y="2832"/>
                  </a:lnTo>
                  <a:lnTo>
                    <a:pt x="1431" y="2808"/>
                  </a:lnTo>
                  <a:lnTo>
                    <a:pt x="1321" y="2776"/>
                  </a:lnTo>
                  <a:lnTo>
                    <a:pt x="1213" y="2738"/>
                  </a:lnTo>
                  <a:lnTo>
                    <a:pt x="1108" y="2693"/>
                  </a:lnTo>
                  <a:lnTo>
                    <a:pt x="1007" y="2644"/>
                  </a:lnTo>
                  <a:lnTo>
                    <a:pt x="909" y="2588"/>
                  </a:lnTo>
                  <a:lnTo>
                    <a:pt x="814" y="2528"/>
                  </a:lnTo>
                  <a:lnTo>
                    <a:pt x="723" y="2460"/>
                  </a:lnTo>
                  <a:lnTo>
                    <a:pt x="638" y="2389"/>
                  </a:lnTo>
                  <a:lnTo>
                    <a:pt x="556" y="2313"/>
                  </a:lnTo>
                  <a:lnTo>
                    <a:pt x="480" y="2232"/>
                  </a:lnTo>
                  <a:lnTo>
                    <a:pt x="407" y="2146"/>
                  </a:lnTo>
                  <a:lnTo>
                    <a:pt x="340" y="2057"/>
                  </a:lnTo>
                  <a:lnTo>
                    <a:pt x="278" y="1963"/>
                  </a:lnTo>
                  <a:lnTo>
                    <a:pt x="222" y="1866"/>
                  </a:lnTo>
                  <a:lnTo>
                    <a:pt x="172" y="1766"/>
                  </a:lnTo>
                  <a:lnTo>
                    <a:pt x="127" y="1661"/>
                  </a:lnTo>
                  <a:lnTo>
                    <a:pt x="90" y="1555"/>
                  </a:lnTo>
                  <a:lnTo>
                    <a:pt x="58" y="1444"/>
                  </a:lnTo>
                  <a:lnTo>
                    <a:pt x="33" y="1331"/>
                  </a:lnTo>
                  <a:lnTo>
                    <a:pt x="15" y="1217"/>
                  </a:lnTo>
                  <a:lnTo>
                    <a:pt x="3" y="1099"/>
                  </a:lnTo>
                  <a:lnTo>
                    <a:pt x="0" y="980"/>
                  </a:lnTo>
                  <a:lnTo>
                    <a:pt x="3" y="865"/>
                  </a:lnTo>
                  <a:lnTo>
                    <a:pt x="13" y="752"/>
                  </a:lnTo>
                  <a:lnTo>
                    <a:pt x="31" y="641"/>
                  </a:lnTo>
                  <a:lnTo>
                    <a:pt x="54" y="533"/>
                  </a:lnTo>
                  <a:lnTo>
                    <a:pt x="84" y="427"/>
                  </a:lnTo>
                  <a:lnTo>
                    <a:pt x="120" y="324"/>
                  </a:lnTo>
                  <a:lnTo>
                    <a:pt x="162" y="223"/>
                  </a:lnTo>
                  <a:lnTo>
                    <a:pt x="209" y="125"/>
                  </a:lnTo>
                  <a:lnTo>
                    <a:pt x="261" y="30"/>
                  </a:lnTo>
                  <a:lnTo>
                    <a:pt x="39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9" name="Freeform 1258">
              <a:extLst>
                <a:ext uri="{FF2B5EF4-FFF2-40B4-BE49-F238E27FC236}">
                  <a16:creationId xmlns:a16="http://schemas.microsoft.com/office/drawing/2014/main" id="{3C1B4EE7-4A5C-3784-ED02-9AAE390FDD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98" y="3798"/>
              <a:ext cx="455" cy="137"/>
            </a:xfrm>
            <a:custGeom>
              <a:avLst/>
              <a:gdLst>
                <a:gd name="T0" fmla="*/ 971 w 2275"/>
                <a:gd name="T1" fmla="*/ 203 h 686"/>
                <a:gd name="T2" fmla="*/ 967 w 2275"/>
                <a:gd name="T3" fmla="*/ 210 h 686"/>
                <a:gd name="T4" fmla="*/ 959 w 2275"/>
                <a:gd name="T5" fmla="*/ 220 h 686"/>
                <a:gd name="T6" fmla="*/ 946 w 2275"/>
                <a:gd name="T7" fmla="*/ 231 h 686"/>
                <a:gd name="T8" fmla="*/ 933 w 2275"/>
                <a:gd name="T9" fmla="*/ 243 h 686"/>
                <a:gd name="T10" fmla="*/ 915 w 2275"/>
                <a:gd name="T11" fmla="*/ 255 h 686"/>
                <a:gd name="T12" fmla="*/ 899 w 2275"/>
                <a:gd name="T13" fmla="*/ 268 h 686"/>
                <a:gd name="T14" fmla="*/ 883 w 2275"/>
                <a:gd name="T15" fmla="*/ 279 h 686"/>
                <a:gd name="T16" fmla="*/ 868 w 2275"/>
                <a:gd name="T17" fmla="*/ 289 h 686"/>
                <a:gd name="T18" fmla="*/ 857 w 2275"/>
                <a:gd name="T19" fmla="*/ 296 h 686"/>
                <a:gd name="T20" fmla="*/ 850 w 2275"/>
                <a:gd name="T21" fmla="*/ 301 h 686"/>
                <a:gd name="T22" fmla="*/ 846 w 2275"/>
                <a:gd name="T23" fmla="*/ 303 h 686"/>
                <a:gd name="T24" fmla="*/ 971 w 2275"/>
                <a:gd name="T25" fmla="*/ 376 h 686"/>
                <a:gd name="T26" fmla="*/ 1230 w 2275"/>
                <a:gd name="T27" fmla="*/ 308 h 686"/>
                <a:gd name="T28" fmla="*/ 1169 w 2275"/>
                <a:gd name="T29" fmla="*/ 203 h 686"/>
                <a:gd name="T30" fmla="*/ 1056 w 2275"/>
                <a:gd name="T31" fmla="*/ 238 h 686"/>
                <a:gd name="T32" fmla="*/ 971 w 2275"/>
                <a:gd name="T33" fmla="*/ 203 h 686"/>
                <a:gd name="T34" fmla="*/ 1740 w 2275"/>
                <a:gd name="T35" fmla="*/ 81 h 686"/>
                <a:gd name="T36" fmla="*/ 1545 w 2275"/>
                <a:gd name="T37" fmla="*/ 188 h 686"/>
                <a:gd name="T38" fmla="*/ 1435 w 2275"/>
                <a:gd name="T39" fmla="*/ 257 h 686"/>
                <a:gd name="T40" fmla="*/ 1512 w 2275"/>
                <a:gd name="T41" fmla="*/ 307 h 686"/>
                <a:gd name="T42" fmla="*/ 1684 w 2275"/>
                <a:gd name="T43" fmla="*/ 289 h 686"/>
                <a:gd name="T44" fmla="*/ 1864 w 2275"/>
                <a:gd name="T45" fmla="*/ 154 h 686"/>
                <a:gd name="T46" fmla="*/ 1740 w 2275"/>
                <a:gd name="T47" fmla="*/ 81 h 686"/>
                <a:gd name="T48" fmla="*/ 1465 w 2275"/>
                <a:gd name="T49" fmla="*/ 0 h 686"/>
                <a:gd name="T50" fmla="*/ 1573 w 2275"/>
                <a:gd name="T51" fmla="*/ 3 h 686"/>
                <a:gd name="T52" fmla="*/ 1680 w 2275"/>
                <a:gd name="T53" fmla="*/ 12 h 686"/>
                <a:gd name="T54" fmla="*/ 1784 w 2275"/>
                <a:gd name="T55" fmla="*/ 27 h 686"/>
                <a:gd name="T56" fmla="*/ 1886 w 2275"/>
                <a:gd name="T57" fmla="*/ 48 h 686"/>
                <a:gd name="T58" fmla="*/ 1987 w 2275"/>
                <a:gd name="T59" fmla="*/ 74 h 686"/>
                <a:gd name="T60" fmla="*/ 2086 w 2275"/>
                <a:gd name="T61" fmla="*/ 104 h 686"/>
                <a:gd name="T62" fmla="*/ 2181 w 2275"/>
                <a:gd name="T63" fmla="*/ 140 h 686"/>
                <a:gd name="T64" fmla="*/ 2275 w 2275"/>
                <a:gd name="T65" fmla="*/ 181 h 686"/>
                <a:gd name="T66" fmla="*/ 2206 w 2275"/>
                <a:gd name="T67" fmla="*/ 192 h 686"/>
                <a:gd name="T68" fmla="*/ 2020 w 2275"/>
                <a:gd name="T69" fmla="*/ 163 h 686"/>
                <a:gd name="T70" fmla="*/ 1888 w 2275"/>
                <a:gd name="T71" fmla="*/ 250 h 686"/>
                <a:gd name="T72" fmla="*/ 1794 w 2275"/>
                <a:gd name="T73" fmla="*/ 354 h 686"/>
                <a:gd name="T74" fmla="*/ 1455 w 2275"/>
                <a:gd name="T75" fmla="*/ 384 h 686"/>
                <a:gd name="T76" fmla="*/ 1315 w 2275"/>
                <a:gd name="T77" fmla="*/ 362 h 686"/>
                <a:gd name="T78" fmla="*/ 1220 w 2275"/>
                <a:gd name="T79" fmla="*/ 511 h 686"/>
                <a:gd name="T80" fmla="*/ 940 w 2275"/>
                <a:gd name="T81" fmla="*/ 527 h 686"/>
                <a:gd name="T82" fmla="*/ 764 w 2275"/>
                <a:gd name="T83" fmla="*/ 476 h 686"/>
                <a:gd name="T84" fmla="*/ 610 w 2275"/>
                <a:gd name="T85" fmla="*/ 561 h 686"/>
                <a:gd name="T86" fmla="*/ 272 w 2275"/>
                <a:gd name="T87" fmla="*/ 608 h 686"/>
                <a:gd name="T88" fmla="*/ 1 w 2275"/>
                <a:gd name="T89" fmla="*/ 686 h 686"/>
                <a:gd name="T90" fmla="*/ 0 w 2275"/>
                <a:gd name="T91" fmla="*/ 686 h 686"/>
                <a:gd name="T92" fmla="*/ 73 w 2275"/>
                <a:gd name="T93" fmla="*/ 604 h 686"/>
                <a:gd name="T94" fmla="*/ 150 w 2275"/>
                <a:gd name="T95" fmla="*/ 527 h 686"/>
                <a:gd name="T96" fmla="*/ 230 w 2275"/>
                <a:gd name="T97" fmla="*/ 453 h 686"/>
                <a:gd name="T98" fmla="*/ 315 w 2275"/>
                <a:gd name="T99" fmla="*/ 385 h 686"/>
                <a:gd name="T100" fmla="*/ 404 w 2275"/>
                <a:gd name="T101" fmla="*/ 322 h 686"/>
                <a:gd name="T102" fmla="*/ 497 w 2275"/>
                <a:gd name="T103" fmla="*/ 264 h 686"/>
                <a:gd name="T104" fmla="*/ 592 w 2275"/>
                <a:gd name="T105" fmla="*/ 210 h 686"/>
                <a:gd name="T106" fmla="*/ 693 w 2275"/>
                <a:gd name="T107" fmla="*/ 162 h 686"/>
                <a:gd name="T108" fmla="*/ 795 w 2275"/>
                <a:gd name="T109" fmla="*/ 120 h 686"/>
                <a:gd name="T110" fmla="*/ 901 w 2275"/>
                <a:gd name="T111" fmla="*/ 85 h 686"/>
                <a:gd name="T112" fmla="*/ 1009 w 2275"/>
                <a:gd name="T113" fmla="*/ 55 h 686"/>
                <a:gd name="T114" fmla="*/ 1119 w 2275"/>
                <a:gd name="T115" fmla="*/ 31 h 686"/>
                <a:gd name="T116" fmla="*/ 1233 w 2275"/>
                <a:gd name="T117" fmla="*/ 14 h 686"/>
                <a:gd name="T118" fmla="*/ 1348 w 2275"/>
                <a:gd name="T119" fmla="*/ 4 h 686"/>
                <a:gd name="T120" fmla="*/ 1465 w 2275"/>
                <a:gd name="T121" fmla="*/ 0 h 6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275" h="686">
                  <a:moveTo>
                    <a:pt x="971" y="203"/>
                  </a:moveTo>
                  <a:lnTo>
                    <a:pt x="967" y="210"/>
                  </a:lnTo>
                  <a:lnTo>
                    <a:pt x="959" y="220"/>
                  </a:lnTo>
                  <a:lnTo>
                    <a:pt x="946" y="231"/>
                  </a:lnTo>
                  <a:lnTo>
                    <a:pt x="933" y="243"/>
                  </a:lnTo>
                  <a:lnTo>
                    <a:pt x="915" y="255"/>
                  </a:lnTo>
                  <a:lnTo>
                    <a:pt x="899" y="268"/>
                  </a:lnTo>
                  <a:lnTo>
                    <a:pt x="883" y="279"/>
                  </a:lnTo>
                  <a:lnTo>
                    <a:pt x="868" y="289"/>
                  </a:lnTo>
                  <a:lnTo>
                    <a:pt x="857" y="296"/>
                  </a:lnTo>
                  <a:lnTo>
                    <a:pt x="850" y="301"/>
                  </a:lnTo>
                  <a:lnTo>
                    <a:pt x="846" y="303"/>
                  </a:lnTo>
                  <a:lnTo>
                    <a:pt x="971" y="376"/>
                  </a:lnTo>
                  <a:lnTo>
                    <a:pt x="1230" y="308"/>
                  </a:lnTo>
                  <a:lnTo>
                    <a:pt x="1169" y="203"/>
                  </a:lnTo>
                  <a:lnTo>
                    <a:pt x="1056" y="238"/>
                  </a:lnTo>
                  <a:lnTo>
                    <a:pt x="971" y="203"/>
                  </a:lnTo>
                  <a:close/>
                  <a:moveTo>
                    <a:pt x="1740" y="81"/>
                  </a:moveTo>
                  <a:lnTo>
                    <a:pt x="1545" y="188"/>
                  </a:lnTo>
                  <a:lnTo>
                    <a:pt x="1435" y="257"/>
                  </a:lnTo>
                  <a:lnTo>
                    <a:pt x="1512" y="307"/>
                  </a:lnTo>
                  <a:lnTo>
                    <a:pt x="1684" y="289"/>
                  </a:lnTo>
                  <a:lnTo>
                    <a:pt x="1864" y="154"/>
                  </a:lnTo>
                  <a:lnTo>
                    <a:pt x="1740" y="81"/>
                  </a:lnTo>
                  <a:close/>
                  <a:moveTo>
                    <a:pt x="1465" y="0"/>
                  </a:moveTo>
                  <a:lnTo>
                    <a:pt x="1573" y="3"/>
                  </a:lnTo>
                  <a:lnTo>
                    <a:pt x="1680" y="12"/>
                  </a:lnTo>
                  <a:lnTo>
                    <a:pt x="1784" y="27"/>
                  </a:lnTo>
                  <a:lnTo>
                    <a:pt x="1886" y="48"/>
                  </a:lnTo>
                  <a:lnTo>
                    <a:pt x="1987" y="74"/>
                  </a:lnTo>
                  <a:lnTo>
                    <a:pt x="2086" y="104"/>
                  </a:lnTo>
                  <a:lnTo>
                    <a:pt x="2181" y="140"/>
                  </a:lnTo>
                  <a:lnTo>
                    <a:pt x="2275" y="181"/>
                  </a:lnTo>
                  <a:lnTo>
                    <a:pt x="2206" y="192"/>
                  </a:lnTo>
                  <a:lnTo>
                    <a:pt x="2020" y="163"/>
                  </a:lnTo>
                  <a:lnTo>
                    <a:pt x="1888" y="250"/>
                  </a:lnTo>
                  <a:lnTo>
                    <a:pt x="1794" y="354"/>
                  </a:lnTo>
                  <a:lnTo>
                    <a:pt x="1455" y="384"/>
                  </a:lnTo>
                  <a:lnTo>
                    <a:pt x="1315" y="362"/>
                  </a:lnTo>
                  <a:lnTo>
                    <a:pt x="1220" y="511"/>
                  </a:lnTo>
                  <a:lnTo>
                    <a:pt x="940" y="527"/>
                  </a:lnTo>
                  <a:lnTo>
                    <a:pt x="764" y="476"/>
                  </a:lnTo>
                  <a:lnTo>
                    <a:pt x="610" y="561"/>
                  </a:lnTo>
                  <a:lnTo>
                    <a:pt x="272" y="608"/>
                  </a:lnTo>
                  <a:lnTo>
                    <a:pt x="1" y="686"/>
                  </a:lnTo>
                  <a:lnTo>
                    <a:pt x="0" y="686"/>
                  </a:lnTo>
                  <a:lnTo>
                    <a:pt x="73" y="604"/>
                  </a:lnTo>
                  <a:lnTo>
                    <a:pt x="150" y="527"/>
                  </a:lnTo>
                  <a:lnTo>
                    <a:pt x="230" y="453"/>
                  </a:lnTo>
                  <a:lnTo>
                    <a:pt x="315" y="385"/>
                  </a:lnTo>
                  <a:lnTo>
                    <a:pt x="404" y="322"/>
                  </a:lnTo>
                  <a:lnTo>
                    <a:pt x="497" y="264"/>
                  </a:lnTo>
                  <a:lnTo>
                    <a:pt x="592" y="210"/>
                  </a:lnTo>
                  <a:lnTo>
                    <a:pt x="693" y="162"/>
                  </a:lnTo>
                  <a:lnTo>
                    <a:pt x="795" y="120"/>
                  </a:lnTo>
                  <a:lnTo>
                    <a:pt x="901" y="85"/>
                  </a:lnTo>
                  <a:lnTo>
                    <a:pt x="1009" y="55"/>
                  </a:lnTo>
                  <a:lnTo>
                    <a:pt x="1119" y="31"/>
                  </a:lnTo>
                  <a:lnTo>
                    <a:pt x="1233" y="14"/>
                  </a:lnTo>
                  <a:lnTo>
                    <a:pt x="1348" y="4"/>
                  </a:lnTo>
                  <a:lnTo>
                    <a:pt x="146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120" name="Group 1290">
            <a:extLst>
              <a:ext uri="{FF2B5EF4-FFF2-40B4-BE49-F238E27FC236}">
                <a16:creationId xmlns:a16="http://schemas.microsoft.com/office/drawing/2014/main" id="{F321D19E-6CA3-1418-5771-2B3145845DF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672428" y="1828717"/>
            <a:ext cx="332877" cy="332877"/>
            <a:chOff x="-4627" y="146"/>
            <a:chExt cx="963" cy="963"/>
          </a:xfrm>
          <a:solidFill>
            <a:schemeClr val="accent1"/>
          </a:solidFill>
        </p:grpSpPr>
        <p:sp>
          <p:nvSpPr>
            <p:cNvPr id="121" name="Freeform 1292">
              <a:extLst>
                <a:ext uri="{FF2B5EF4-FFF2-40B4-BE49-F238E27FC236}">
                  <a16:creationId xmlns:a16="http://schemas.microsoft.com/office/drawing/2014/main" id="{BE602740-2FDE-2C99-F3BA-51A865F8CE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627" y="146"/>
              <a:ext cx="963" cy="963"/>
            </a:xfrm>
            <a:custGeom>
              <a:avLst/>
              <a:gdLst>
                <a:gd name="T0" fmla="*/ 1625 w 3852"/>
                <a:gd name="T1" fmla="*/ 519 h 3852"/>
                <a:gd name="T2" fmla="*/ 1257 w 3852"/>
                <a:gd name="T3" fmla="*/ 653 h 3852"/>
                <a:gd name="T4" fmla="*/ 944 w 3852"/>
                <a:gd name="T5" fmla="*/ 875 h 3852"/>
                <a:gd name="T6" fmla="*/ 700 w 3852"/>
                <a:gd name="T7" fmla="*/ 1173 h 3852"/>
                <a:gd name="T8" fmla="*/ 543 w 3852"/>
                <a:gd name="T9" fmla="*/ 1528 h 3852"/>
                <a:gd name="T10" fmla="*/ 488 w 3852"/>
                <a:gd name="T11" fmla="*/ 1926 h 3852"/>
                <a:gd name="T12" fmla="*/ 543 w 3852"/>
                <a:gd name="T13" fmla="*/ 2324 h 3852"/>
                <a:gd name="T14" fmla="*/ 700 w 3852"/>
                <a:gd name="T15" fmla="*/ 2679 h 3852"/>
                <a:gd name="T16" fmla="*/ 944 w 3852"/>
                <a:gd name="T17" fmla="*/ 2977 h 3852"/>
                <a:gd name="T18" fmla="*/ 1257 w 3852"/>
                <a:gd name="T19" fmla="*/ 3199 h 3852"/>
                <a:gd name="T20" fmla="*/ 1625 w 3852"/>
                <a:gd name="T21" fmla="*/ 3333 h 3852"/>
                <a:gd name="T22" fmla="*/ 2029 w 3852"/>
                <a:gd name="T23" fmla="*/ 3361 h 3852"/>
                <a:gd name="T24" fmla="*/ 2417 w 3852"/>
                <a:gd name="T25" fmla="*/ 3278 h 3852"/>
                <a:gd name="T26" fmla="*/ 2759 w 3852"/>
                <a:gd name="T27" fmla="*/ 3098 h 3852"/>
                <a:gd name="T28" fmla="*/ 3040 w 3852"/>
                <a:gd name="T29" fmla="*/ 2835 h 3852"/>
                <a:gd name="T30" fmla="*/ 3242 w 3852"/>
                <a:gd name="T31" fmla="*/ 2507 h 3852"/>
                <a:gd name="T32" fmla="*/ 3350 w 3852"/>
                <a:gd name="T33" fmla="*/ 2129 h 3852"/>
                <a:gd name="T34" fmla="*/ 3350 w 3852"/>
                <a:gd name="T35" fmla="*/ 1723 h 3852"/>
                <a:gd name="T36" fmla="*/ 3242 w 3852"/>
                <a:gd name="T37" fmla="*/ 1345 h 3852"/>
                <a:gd name="T38" fmla="*/ 3040 w 3852"/>
                <a:gd name="T39" fmla="*/ 1017 h 3852"/>
                <a:gd name="T40" fmla="*/ 2759 w 3852"/>
                <a:gd name="T41" fmla="*/ 754 h 3852"/>
                <a:gd name="T42" fmla="*/ 2417 w 3852"/>
                <a:gd name="T43" fmla="*/ 574 h 3852"/>
                <a:gd name="T44" fmla="*/ 2029 w 3852"/>
                <a:gd name="T45" fmla="*/ 491 h 3852"/>
                <a:gd name="T46" fmla="*/ 2158 w 3852"/>
                <a:gd name="T47" fmla="*/ 14 h 3852"/>
                <a:gd name="T48" fmla="*/ 2597 w 3852"/>
                <a:gd name="T49" fmla="*/ 120 h 3852"/>
                <a:gd name="T50" fmla="*/ 2991 w 3852"/>
                <a:gd name="T51" fmla="*/ 322 h 3852"/>
                <a:gd name="T52" fmla="*/ 3326 w 3852"/>
                <a:gd name="T53" fmla="*/ 603 h 3852"/>
                <a:gd name="T54" fmla="*/ 3588 w 3852"/>
                <a:gd name="T55" fmla="*/ 955 h 3852"/>
                <a:gd name="T56" fmla="*/ 3767 w 3852"/>
                <a:gd name="T57" fmla="*/ 1361 h 3852"/>
                <a:gd name="T58" fmla="*/ 3848 w 3852"/>
                <a:gd name="T59" fmla="*/ 1809 h 3852"/>
                <a:gd name="T60" fmla="*/ 3820 w 3852"/>
                <a:gd name="T61" fmla="*/ 2272 h 3852"/>
                <a:gd name="T62" fmla="*/ 3690 w 3852"/>
                <a:gd name="T63" fmla="*/ 2700 h 3852"/>
                <a:gd name="T64" fmla="*/ 3467 w 3852"/>
                <a:gd name="T65" fmla="*/ 3080 h 3852"/>
                <a:gd name="T66" fmla="*/ 3166 w 3852"/>
                <a:gd name="T67" fmla="*/ 3398 h 3852"/>
                <a:gd name="T68" fmla="*/ 2800 w 3852"/>
                <a:gd name="T69" fmla="*/ 3642 h 3852"/>
                <a:gd name="T70" fmla="*/ 2382 w 3852"/>
                <a:gd name="T71" fmla="*/ 3797 h 3852"/>
                <a:gd name="T72" fmla="*/ 1926 w 3852"/>
                <a:gd name="T73" fmla="*/ 3852 h 3852"/>
                <a:gd name="T74" fmla="*/ 1470 w 3852"/>
                <a:gd name="T75" fmla="*/ 3797 h 3852"/>
                <a:gd name="T76" fmla="*/ 1052 w 3852"/>
                <a:gd name="T77" fmla="*/ 3642 h 3852"/>
                <a:gd name="T78" fmla="*/ 686 w 3852"/>
                <a:gd name="T79" fmla="*/ 3398 h 3852"/>
                <a:gd name="T80" fmla="*/ 385 w 3852"/>
                <a:gd name="T81" fmla="*/ 3080 h 3852"/>
                <a:gd name="T82" fmla="*/ 162 w 3852"/>
                <a:gd name="T83" fmla="*/ 2700 h 3852"/>
                <a:gd name="T84" fmla="*/ 32 w 3852"/>
                <a:gd name="T85" fmla="*/ 2272 h 3852"/>
                <a:gd name="T86" fmla="*/ 4 w 3852"/>
                <a:gd name="T87" fmla="*/ 1809 h 3852"/>
                <a:gd name="T88" fmla="*/ 85 w 3852"/>
                <a:gd name="T89" fmla="*/ 1361 h 3852"/>
                <a:gd name="T90" fmla="*/ 264 w 3852"/>
                <a:gd name="T91" fmla="*/ 955 h 3852"/>
                <a:gd name="T92" fmla="*/ 526 w 3852"/>
                <a:gd name="T93" fmla="*/ 603 h 3852"/>
                <a:gd name="T94" fmla="*/ 861 w 3852"/>
                <a:gd name="T95" fmla="*/ 322 h 3852"/>
                <a:gd name="T96" fmla="*/ 1255 w 3852"/>
                <a:gd name="T97" fmla="*/ 120 h 3852"/>
                <a:gd name="T98" fmla="*/ 1694 w 3852"/>
                <a:gd name="T99" fmla="*/ 14 h 38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852" h="3852">
                  <a:moveTo>
                    <a:pt x="1926" y="488"/>
                  </a:moveTo>
                  <a:lnTo>
                    <a:pt x="1823" y="491"/>
                  </a:lnTo>
                  <a:lnTo>
                    <a:pt x="1723" y="502"/>
                  </a:lnTo>
                  <a:lnTo>
                    <a:pt x="1625" y="519"/>
                  </a:lnTo>
                  <a:lnTo>
                    <a:pt x="1528" y="543"/>
                  </a:lnTo>
                  <a:lnTo>
                    <a:pt x="1435" y="574"/>
                  </a:lnTo>
                  <a:lnTo>
                    <a:pt x="1345" y="610"/>
                  </a:lnTo>
                  <a:lnTo>
                    <a:pt x="1257" y="653"/>
                  </a:lnTo>
                  <a:lnTo>
                    <a:pt x="1173" y="700"/>
                  </a:lnTo>
                  <a:lnTo>
                    <a:pt x="1093" y="754"/>
                  </a:lnTo>
                  <a:lnTo>
                    <a:pt x="1017" y="812"/>
                  </a:lnTo>
                  <a:lnTo>
                    <a:pt x="944" y="875"/>
                  </a:lnTo>
                  <a:lnTo>
                    <a:pt x="875" y="944"/>
                  </a:lnTo>
                  <a:lnTo>
                    <a:pt x="812" y="1017"/>
                  </a:lnTo>
                  <a:lnTo>
                    <a:pt x="754" y="1093"/>
                  </a:lnTo>
                  <a:lnTo>
                    <a:pt x="700" y="1173"/>
                  </a:lnTo>
                  <a:lnTo>
                    <a:pt x="653" y="1257"/>
                  </a:lnTo>
                  <a:lnTo>
                    <a:pt x="610" y="1345"/>
                  </a:lnTo>
                  <a:lnTo>
                    <a:pt x="574" y="1435"/>
                  </a:lnTo>
                  <a:lnTo>
                    <a:pt x="543" y="1528"/>
                  </a:lnTo>
                  <a:lnTo>
                    <a:pt x="519" y="1625"/>
                  </a:lnTo>
                  <a:lnTo>
                    <a:pt x="502" y="1723"/>
                  </a:lnTo>
                  <a:lnTo>
                    <a:pt x="491" y="1823"/>
                  </a:lnTo>
                  <a:lnTo>
                    <a:pt x="488" y="1926"/>
                  </a:lnTo>
                  <a:lnTo>
                    <a:pt x="491" y="2029"/>
                  </a:lnTo>
                  <a:lnTo>
                    <a:pt x="502" y="2129"/>
                  </a:lnTo>
                  <a:lnTo>
                    <a:pt x="519" y="2227"/>
                  </a:lnTo>
                  <a:lnTo>
                    <a:pt x="543" y="2324"/>
                  </a:lnTo>
                  <a:lnTo>
                    <a:pt x="574" y="2417"/>
                  </a:lnTo>
                  <a:lnTo>
                    <a:pt x="610" y="2507"/>
                  </a:lnTo>
                  <a:lnTo>
                    <a:pt x="653" y="2595"/>
                  </a:lnTo>
                  <a:lnTo>
                    <a:pt x="700" y="2679"/>
                  </a:lnTo>
                  <a:lnTo>
                    <a:pt x="754" y="2759"/>
                  </a:lnTo>
                  <a:lnTo>
                    <a:pt x="812" y="2835"/>
                  </a:lnTo>
                  <a:lnTo>
                    <a:pt x="875" y="2908"/>
                  </a:lnTo>
                  <a:lnTo>
                    <a:pt x="944" y="2977"/>
                  </a:lnTo>
                  <a:lnTo>
                    <a:pt x="1017" y="3040"/>
                  </a:lnTo>
                  <a:lnTo>
                    <a:pt x="1093" y="3098"/>
                  </a:lnTo>
                  <a:lnTo>
                    <a:pt x="1173" y="3152"/>
                  </a:lnTo>
                  <a:lnTo>
                    <a:pt x="1257" y="3199"/>
                  </a:lnTo>
                  <a:lnTo>
                    <a:pt x="1345" y="3242"/>
                  </a:lnTo>
                  <a:lnTo>
                    <a:pt x="1435" y="3278"/>
                  </a:lnTo>
                  <a:lnTo>
                    <a:pt x="1528" y="3309"/>
                  </a:lnTo>
                  <a:lnTo>
                    <a:pt x="1625" y="3333"/>
                  </a:lnTo>
                  <a:lnTo>
                    <a:pt x="1723" y="3350"/>
                  </a:lnTo>
                  <a:lnTo>
                    <a:pt x="1823" y="3361"/>
                  </a:lnTo>
                  <a:lnTo>
                    <a:pt x="1926" y="3364"/>
                  </a:lnTo>
                  <a:lnTo>
                    <a:pt x="2029" y="3361"/>
                  </a:lnTo>
                  <a:lnTo>
                    <a:pt x="2129" y="3350"/>
                  </a:lnTo>
                  <a:lnTo>
                    <a:pt x="2227" y="3333"/>
                  </a:lnTo>
                  <a:lnTo>
                    <a:pt x="2324" y="3309"/>
                  </a:lnTo>
                  <a:lnTo>
                    <a:pt x="2417" y="3278"/>
                  </a:lnTo>
                  <a:lnTo>
                    <a:pt x="2507" y="3242"/>
                  </a:lnTo>
                  <a:lnTo>
                    <a:pt x="2595" y="3199"/>
                  </a:lnTo>
                  <a:lnTo>
                    <a:pt x="2679" y="3152"/>
                  </a:lnTo>
                  <a:lnTo>
                    <a:pt x="2759" y="3098"/>
                  </a:lnTo>
                  <a:lnTo>
                    <a:pt x="2835" y="3040"/>
                  </a:lnTo>
                  <a:lnTo>
                    <a:pt x="2908" y="2977"/>
                  </a:lnTo>
                  <a:lnTo>
                    <a:pt x="2977" y="2908"/>
                  </a:lnTo>
                  <a:lnTo>
                    <a:pt x="3040" y="2835"/>
                  </a:lnTo>
                  <a:lnTo>
                    <a:pt x="3098" y="2759"/>
                  </a:lnTo>
                  <a:lnTo>
                    <a:pt x="3152" y="2679"/>
                  </a:lnTo>
                  <a:lnTo>
                    <a:pt x="3199" y="2595"/>
                  </a:lnTo>
                  <a:lnTo>
                    <a:pt x="3242" y="2507"/>
                  </a:lnTo>
                  <a:lnTo>
                    <a:pt x="3278" y="2417"/>
                  </a:lnTo>
                  <a:lnTo>
                    <a:pt x="3309" y="2324"/>
                  </a:lnTo>
                  <a:lnTo>
                    <a:pt x="3333" y="2227"/>
                  </a:lnTo>
                  <a:lnTo>
                    <a:pt x="3350" y="2129"/>
                  </a:lnTo>
                  <a:lnTo>
                    <a:pt x="3361" y="2029"/>
                  </a:lnTo>
                  <a:lnTo>
                    <a:pt x="3364" y="1926"/>
                  </a:lnTo>
                  <a:lnTo>
                    <a:pt x="3361" y="1823"/>
                  </a:lnTo>
                  <a:lnTo>
                    <a:pt x="3350" y="1723"/>
                  </a:lnTo>
                  <a:lnTo>
                    <a:pt x="3333" y="1625"/>
                  </a:lnTo>
                  <a:lnTo>
                    <a:pt x="3309" y="1528"/>
                  </a:lnTo>
                  <a:lnTo>
                    <a:pt x="3278" y="1435"/>
                  </a:lnTo>
                  <a:lnTo>
                    <a:pt x="3242" y="1345"/>
                  </a:lnTo>
                  <a:lnTo>
                    <a:pt x="3199" y="1257"/>
                  </a:lnTo>
                  <a:lnTo>
                    <a:pt x="3152" y="1173"/>
                  </a:lnTo>
                  <a:lnTo>
                    <a:pt x="3098" y="1093"/>
                  </a:lnTo>
                  <a:lnTo>
                    <a:pt x="3040" y="1017"/>
                  </a:lnTo>
                  <a:lnTo>
                    <a:pt x="2977" y="944"/>
                  </a:lnTo>
                  <a:lnTo>
                    <a:pt x="2908" y="875"/>
                  </a:lnTo>
                  <a:lnTo>
                    <a:pt x="2835" y="812"/>
                  </a:lnTo>
                  <a:lnTo>
                    <a:pt x="2759" y="754"/>
                  </a:lnTo>
                  <a:lnTo>
                    <a:pt x="2679" y="700"/>
                  </a:lnTo>
                  <a:lnTo>
                    <a:pt x="2595" y="653"/>
                  </a:lnTo>
                  <a:lnTo>
                    <a:pt x="2507" y="610"/>
                  </a:lnTo>
                  <a:lnTo>
                    <a:pt x="2417" y="574"/>
                  </a:lnTo>
                  <a:lnTo>
                    <a:pt x="2324" y="543"/>
                  </a:lnTo>
                  <a:lnTo>
                    <a:pt x="2227" y="519"/>
                  </a:lnTo>
                  <a:lnTo>
                    <a:pt x="2129" y="502"/>
                  </a:lnTo>
                  <a:lnTo>
                    <a:pt x="2029" y="491"/>
                  </a:lnTo>
                  <a:lnTo>
                    <a:pt x="1926" y="488"/>
                  </a:lnTo>
                  <a:close/>
                  <a:moveTo>
                    <a:pt x="1926" y="0"/>
                  </a:moveTo>
                  <a:lnTo>
                    <a:pt x="2043" y="4"/>
                  </a:lnTo>
                  <a:lnTo>
                    <a:pt x="2158" y="14"/>
                  </a:lnTo>
                  <a:lnTo>
                    <a:pt x="2272" y="32"/>
                  </a:lnTo>
                  <a:lnTo>
                    <a:pt x="2382" y="55"/>
                  </a:lnTo>
                  <a:lnTo>
                    <a:pt x="2491" y="85"/>
                  </a:lnTo>
                  <a:lnTo>
                    <a:pt x="2597" y="120"/>
                  </a:lnTo>
                  <a:lnTo>
                    <a:pt x="2700" y="162"/>
                  </a:lnTo>
                  <a:lnTo>
                    <a:pt x="2800" y="210"/>
                  </a:lnTo>
                  <a:lnTo>
                    <a:pt x="2897" y="264"/>
                  </a:lnTo>
                  <a:lnTo>
                    <a:pt x="2991" y="322"/>
                  </a:lnTo>
                  <a:lnTo>
                    <a:pt x="3080" y="385"/>
                  </a:lnTo>
                  <a:lnTo>
                    <a:pt x="3166" y="454"/>
                  </a:lnTo>
                  <a:lnTo>
                    <a:pt x="3249" y="526"/>
                  </a:lnTo>
                  <a:lnTo>
                    <a:pt x="3326" y="603"/>
                  </a:lnTo>
                  <a:lnTo>
                    <a:pt x="3398" y="686"/>
                  </a:lnTo>
                  <a:lnTo>
                    <a:pt x="3467" y="772"/>
                  </a:lnTo>
                  <a:lnTo>
                    <a:pt x="3530" y="861"/>
                  </a:lnTo>
                  <a:lnTo>
                    <a:pt x="3588" y="955"/>
                  </a:lnTo>
                  <a:lnTo>
                    <a:pt x="3642" y="1052"/>
                  </a:lnTo>
                  <a:lnTo>
                    <a:pt x="3690" y="1152"/>
                  </a:lnTo>
                  <a:lnTo>
                    <a:pt x="3732" y="1255"/>
                  </a:lnTo>
                  <a:lnTo>
                    <a:pt x="3767" y="1361"/>
                  </a:lnTo>
                  <a:lnTo>
                    <a:pt x="3797" y="1470"/>
                  </a:lnTo>
                  <a:lnTo>
                    <a:pt x="3820" y="1580"/>
                  </a:lnTo>
                  <a:lnTo>
                    <a:pt x="3838" y="1694"/>
                  </a:lnTo>
                  <a:lnTo>
                    <a:pt x="3848" y="1809"/>
                  </a:lnTo>
                  <a:lnTo>
                    <a:pt x="3852" y="1926"/>
                  </a:lnTo>
                  <a:lnTo>
                    <a:pt x="3848" y="2043"/>
                  </a:lnTo>
                  <a:lnTo>
                    <a:pt x="3838" y="2158"/>
                  </a:lnTo>
                  <a:lnTo>
                    <a:pt x="3820" y="2272"/>
                  </a:lnTo>
                  <a:lnTo>
                    <a:pt x="3797" y="2382"/>
                  </a:lnTo>
                  <a:lnTo>
                    <a:pt x="3767" y="2491"/>
                  </a:lnTo>
                  <a:lnTo>
                    <a:pt x="3732" y="2597"/>
                  </a:lnTo>
                  <a:lnTo>
                    <a:pt x="3690" y="2700"/>
                  </a:lnTo>
                  <a:lnTo>
                    <a:pt x="3642" y="2800"/>
                  </a:lnTo>
                  <a:lnTo>
                    <a:pt x="3588" y="2897"/>
                  </a:lnTo>
                  <a:lnTo>
                    <a:pt x="3530" y="2991"/>
                  </a:lnTo>
                  <a:lnTo>
                    <a:pt x="3467" y="3080"/>
                  </a:lnTo>
                  <a:lnTo>
                    <a:pt x="3398" y="3166"/>
                  </a:lnTo>
                  <a:lnTo>
                    <a:pt x="3326" y="3249"/>
                  </a:lnTo>
                  <a:lnTo>
                    <a:pt x="3249" y="3326"/>
                  </a:lnTo>
                  <a:lnTo>
                    <a:pt x="3166" y="3398"/>
                  </a:lnTo>
                  <a:lnTo>
                    <a:pt x="3080" y="3467"/>
                  </a:lnTo>
                  <a:lnTo>
                    <a:pt x="2991" y="3530"/>
                  </a:lnTo>
                  <a:lnTo>
                    <a:pt x="2897" y="3588"/>
                  </a:lnTo>
                  <a:lnTo>
                    <a:pt x="2800" y="3642"/>
                  </a:lnTo>
                  <a:lnTo>
                    <a:pt x="2700" y="3690"/>
                  </a:lnTo>
                  <a:lnTo>
                    <a:pt x="2597" y="3732"/>
                  </a:lnTo>
                  <a:lnTo>
                    <a:pt x="2491" y="3767"/>
                  </a:lnTo>
                  <a:lnTo>
                    <a:pt x="2382" y="3797"/>
                  </a:lnTo>
                  <a:lnTo>
                    <a:pt x="2272" y="3820"/>
                  </a:lnTo>
                  <a:lnTo>
                    <a:pt x="2158" y="3838"/>
                  </a:lnTo>
                  <a:lnTo>
                    <a:pt x="2043" y="3848"/>
                  </a:lnTo>
                  <a:lnTo>
                    <a:pt x="1926" y="3852"/>
                  </a:lnTo>
                  <a:lnTo>
                    <a:pt x="1809" y="3848"/>
                  </a:lnTo>
                  <a:lnTo>
                    <a:pt x="1694" y="3838"/>
                  </a:lnTo>
                  <a:lnTo>
                    <a:pt x="1580" y="3820"/>
                  </a:lnTo>
                  <a:lnTo>
                    <a:pt x="1470" y="3797"/>
                  </a:lnTo>
                  <a:lnTo>
                    <a:pt x="1361" y="3767"/>
                  </a:lnTo>
                  <a:lnTo>
                    <a:pt x="1255" y="3732"/>
                  </a:lnTo>
                  <a:lnTo>
                    <a:pt x="1152" y="3690"/>
                  </a:lnTo>
                  <a:lnTo>
                    <a:pt x="1052" y="3642"/>
                  </a:lnTo>
                  <a:lnTo>
                    <a:pt x="955" y="3588"/>
                  </a:lnTo>
                  <a:lnTo>
                    <a:pt x="861" y="3530"/>
                  </a:lnTo>
                  <a:lnTo>
                    <a:pt x="772" y="3467"/>
                  </a:lnTo>
                  <a:lnTo>
                    <a:pt x="686" y="3398"/>
                  </a:lnTo>
                  <a:lnTo>
                    <a:pt x="603" y="3326"/>
                  </a:lnTo>
                  <a:lnTo>
                    <a:pt x="526" y="3249"/>
                  </a:lnTo>
                  <a:lnTo>
                    <a:pt x="454" y="3166"/>
                  </a:lnTo>
                  <a:lnTo>
                    <a:pt x="385" y="3080"/>
                  </a:lnTo>
                  <a:lnTo>
                    <a:pt x="322" y="2991"/>
                  </a:lnTo>
                  <a:lnTo>
                    <a:pt x="264" y="2897"/>
                  </a:lnTo>
                  <a:lnTo>
                    <a:pt x="210" y="2800"/>
                  </a:lnTo>
                  <a:lnTo>
                    <a:pt x="162" y="2700"/>
                  </a:lnTo>
                  <a:lnTo>
                    <a:pt x="120" y="2597"/>
                  </a:lnTo>
                  <a:lnTo>
                    <a:pt x="85" y="2491"/>
                  </a:lnTo>
                  <a:lnTo>
                    <a:pt x="55" y="2382"/>
                  </a:lnTo>
                  <a:lnTo>
                    <a:pt x="32" y="2272"/>
                  </a:lnTo>
                  <a:lnTo>
                    <a:pt x="14" y="2158"/>
                  </a:lnTo>
                  <a:lnTo>
                    <a:pt x="4" y="2043"/>
                  </a:lnTo>
                  <a:lnTo>
                    <a:pt x="0" y="1926"/>
                  </a:lnTo>
                  <a:lnTo>
                    <a:pt x="4" y="1809"/>
                  </a:lnTo>
                  <a:lnTo>
                    <a:pt x="14" y="1694"/>
                  </a:lnTo>
                  <a:lnTo>
                    <a:pt x="32" y="1580"/>
                  </a:lnTo>
                  <a:lnTo>
                    <a:pt x="55" y="1470"/>
                  </a:lnTo>
                  <a:lnTo>
                    <a:pt x="85" y="1361"/>
                  </a:lnTo>
                  <a:lnTo>
                    <a:pt x="120" y="1255"/>
                  </a:lnTo>
                  <a:lnTo>
                    <a:pt x="162" y="1152"/>
                  </a:lnTo>
                  <a:lnTo>
                    <a:pt x="210" y="1052"/>
                  </a:lnTo>
                  <a:lnTo>
                    <a:pt x="264" y="955"/>
                  </a:lnTo>
                  <a:lnTo>
                    <a:pt x="322" y="861"/>
                  </a:lnTo>
                  <a:lnTo>
                    <a:pt x="385" y="772"/>
                  </a:lnTo>
                  <a:lnTo>
                    <a:pt x="454" y="686"/>
                  </a:lnTo>
                  <a:lnTo>
                    <a:pt x="526" y="603"/>
                  </a:lnTo>
                  <a:lnTo>
                    <a:pt x="603" y="526"/>
                  </a:lnTo>
                  <a:lnTo>
                    <a:pt x="686" y="454"/>
                  </a:lnTo>
                  <a:lnTo>
                    <a:pt x="772" y="385"/>
                  </a:lnTo>
                  <a:lnTo>
                    <a:pt x="861" y="322"/>
                  </a:lnTo>
                  <a:lnTo>
                    <a:pt x="955" y="264"/>
                  </a:lnTo>
                  <a:lnTo>
                    <a:pt x="1052" y="210"/>
                  </a:lnTo>
                  <a:lnTo>
                    <a:pt x="1152" y="162"/>
                  </a:lnTo>
                  <a:lnTo>
                    <a:pt x="1255" y="120"/>
                  </a:lnTo>
                  <a:lnTo>
                    <a:pt x="1361" y="85"/>
                  </a:lnTo>
                  <a:lnTo>
                    <a:pt x="1470" y="55"/>
                  </a:lnTo>
                  <a:lnTo>
                    <a:pt x="1580" y="32"/>
                  </a:lnTo>
                  <a:lnTo>
                    <a:pt x="1694" y="14"/>
                  </a:lnTo>
                  <a:lnTo>
                    <a:pt x="1809" y="4"/>
                  </a:lnTo>
                  <a:lnTo>
                    <a:pt x="192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22" name="Freeform 1293">
              <a:extLst>
                <a:ext uri="{FF2B5EF4-FFF2-40B4-BE49-F238E27FC236}">
                  <a16:creationId xmlns:a16="http://schemas.microsoft.com/office/drawing/2014/main" id="{EE4E5CA6-001D-6FFB-3396-16F3F9AB55F1}"/>
                </a:ext>
              </a:extLst>
            </p:cNvPr>
            <p:cNvSpPr>
              <a:spLocks/>
            </p:cNvSpPr>
            <p:nvPr/>
          </p:nvSpPr>
          <p:spPr bwMode="auto">
            <a:xfrm>
              <a:off x="-4210" y="402"/>
              <a:ext cx="114" cy="114"/>
            </a:xfrm>
            <a:custGeom>
              <a:avLst/>
              <a:gdLst>
                <a:gd name="T0" fmla="*/ 229 w 458"/>
                <a:gd name="T1" fmla="*/ 0 h 457"/>
                <a:gd name="T2" fmla="*/ 266 w 458"/>
                <a:gd name="T3" fmla="*/ 3 h 457"/>
                <a:gd name="T4" fmla="*/ 301 w 458"/>
                <a:gd name="T5" fmla="*/ 11 h 457"/>
                <a:gd name="T6" fmla="*/ 334 w 458"/>
                <a:gd name="T7" fmla="*/ 25 h 457"/>
                <a:gd name="T8" fmla="*/ 364 w 458"/>
                <a:gd name="T9" fmla="*/ 44 h 457"/>
                <a:gd name="T10" fmla="*/ 391 w 458"/>
                <a:gd name="T11" fmla="*/ 67 h 457"/>
                <a:gd name="T12" fmla="*/ 413 w 458"/>
                <a:gd name="T13" fmla="*/ 93 h 457"/>
                <a:gd name="T14" fmla="*/ 432 w 458"/>
                <a:gd name="T15" fmla="*/ 123 h 457"/>
                <a:gd name="T16" fmla="*/ 446 w 458"/>
                <a:gd name="T17" fmla="*/ 156 h 457"/>
                <a:gd name="T18" fmla="*/ 454 w 458"/>
                <a:gd name="T19" fmla="*/ 191 h 457"/>
                <a:gd name="T20" fmla="*/ 458 w 458"/>
                <a:gd name="T21" fmla="*/ 228 h 457"/>
                <a:gd name="T22" fmla="*/ 454 w 458"/>
                <a:gd name="T23" fmla="*/ 266 h 457"/>
                <a:gd name="T24" fmla="*/ 446 w 458"/>
                <a:gd name="T25" fmla="*/ 301 h 457"/>
                <a:gd name="T26" fmla="*/ 432 w 458"/>
                <a:gd name="T27" fmla="*/ 333 h 457"/>
                <a:gd name="T28" fmla="*/ 413 w 458"/>
                <a:gd name="T29" fmla="*/ 364 h 457"/>
                <a:gd name="T30" fmla="*/ 391 w 458"/>
                <a:gd name="T31" fmla="*/ 391 h 457"/>
                <a:gd name="T32" fmla="*/ 364 w 458"/>
                <a:gd name="T33" fmla="*/ 413 h 457"/>
                <a:gd name="T34" fmla="*/ 334 w 458"/>
                <a:gd name="T35" fmla="*/ 431 h 457"/>
                <a:gd name="T36" fmla="*/ 301 w 458"/>
                <a:gd name="T37" fmla="*/ 445 h 457"/>
                <a:gd name="T38" fmla="*/ 266 w 458"/>
                <a:gd name="T39" fmla="*/ 455 h 457"/>
                <a:gd name="T40" fmla="*/ 229 w 458"/>
                <a:gd name="T41" fmla="*/ 457 h 457"/>
                <a:gd name="T42" fmla="*/ 191 w 458"/>
                <a:gd name="T43" fmla="*/ 455 h 457"/>
                <a:gd name="T44" fmla="*/ 156 w 458"/>
                <a:gd name="T45" fmla="*/ 445 h 457"/>
                <a:gd name="T46" fmla="*/ 124 w 458"/>
                <a:gd name="T47" fmla="*/ 431 h 457"/>
                <a:gd name="T48" fmla="*/ 93 w 458"/>
                <a:gd name="T49" fmla="*/ 413 h 457"/>
                <a:gd name="T50" fmla="*/ 68 w 458"/>
                <a:gd name="T51" fmla="*/ 391 h 457"/>
                <a:gd name="T52" fmla="*/ 44 w 458"/>
                <a:gd name="T53" fmla="*/ 364 h 457"/>
                <a:gd name="T54" fmla="*/ 26 w 458"/>
                <a:gd name="T55" fmla="*/ 333 h 457"/>
                <a:gd name="T56" fmla="*/ 12 w 458"/>
                <a:gd name="T57" fmla="*/ 301 h 457"/>
                <a:gd name="T58" fmla="*/ 4 w 458"/>
                <a:gd name="T59" fmla="*/ 266 h 457"/>
                <a:gd name="T60" fmla="*/ 0 w 458"/>
                <a:gd name="T61" fmla="*/ 228 h 457"/>
                <a:gd name="T62" fmla="*/ 4 w 458"/>
                <a:gd name="T63" fmla="*/ 191 h 457"/>
                <a:gd name="T64" fmla="*/ 12 w 458"/>
                <a:gd name="T65" fmla="*/ 156 h 457"/>
                <a:gd name="T66" fmla="*/ 26 w 458"/>
                <a:gd name="T67" fmla="*/ 123 h 457"/>
                <a:gd name="T68" fmla="*/ 44 w 458"/>
                <a:gd name="T69" fmla="*/ 93 h 457"/>
                <a:gd name="T70" fmla="*/ 68 w 458"/>
                <a:gd name="T71" fmla="*/ 67 h 457"/>
                <a:gd name="T72" fmla="*/ 93 w 458"/>
                <a:gd name="T73" fmla="*/ 44 h 457"/>
                <a:gd name="T74" fmla="*/ 124 w 458"/>
                <a:gd name="T75" fmla="*/ 25 h 457"/>
                <a:gd name="T76" fmla="*/ 156 w 458"/>
                <a:gd name="T77" fmla="*/ 11 h 457"/>
                <a:gd name="T78" fmla="*/ 191 w 458"/>
                <a:gd name="T79" fmla="*/ 3 h 457"/>
                <a:gd name="T80" fmla="*/ 229 w 458"/>
                <a:gd name="T81" fmla="*/ 0 h 4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58" h="457">
                  <a:moveTo>
                    <a:pt x="229" y="0"/>
                  </a:moveTo>
                  <a:lnTo>
                    <a:pt x="266" y="3"/>
                  </a:lnTo>
                  <a:lnTo>
                    <a:pt x="301" y="11"/>
                  </a:lnTo>
                  <a:lnTo>
                    <a:pt x="334" y="25"/>
                  </a:lnTo>
                  <a:lnTo>
                    <a:pt x="364" y="44"/>
                  </a:lnTo>
                  <a:lnTo>
                    <a:pt x="391" y="67"/>
                  </a:lnTo>
                  <a:lnTo>
                    <a:pt x="413" y="93"/>
                  </a:lnTo>
                  <a:lnTo>
                    <a:pt x="432" y="123"/>
                  </a:lnTo>
                  <a:lnTo>
                    <a:pt x="446" y="156"/>
                  </a:lnTo>
                  <a:lnTo>
                    <a:pt x="454" y="191"/>
                  </a:lnTo>
                  <a:lnTo>
                    <a:pt x="458" y="228"/>
                  </a:lnTo>
                  <a:lnTo>
                    <a:pt x="454" y="266"/>
                  </a:lnTo>
                  <a:lnTo>
                    <a:pt x="446" y="301"/>
                  </a:lnTo>
                  <a:lnTo>
                    <a:pt x="432" y="333"/>
                  </a:lnTo>
                  <a:lnTo>
                    <a:pt x="413" y="364"/>
                  </a:lnTo>
                  <a:lnTo>
                    <a:pt x="391" y="391"/>
                  </a:lnTo>
                  <a:lnTo>
                    <a:pt x="364" y="413"/>
                  </a:lnTo>
                  <a:lnTo>
                    <a:pt x="334" y="431"/>
                  </a:lnTo>
                  <a:lnTo>
                    <a:pt x="301" y="445"/>
                  </a:lnTo>
                  <a:lnTo>
                    <a:pt x="266" y="455"/>
                  </a:lnTo>
                  <a:lnTo>
                    <a:pt x="229" y="457"/>
                  </a:lnTo>
                  <a:lnTo>
                    <a:pt x="191" y="455"/>
                  </a:lnTo>
                  <a:lnTo>
                    <a:pt x="156" y="445"/>
                  </a:lnTo>
                  <a:lnTo>
                    <a:pt x="124" y="431"/>
                  </a:lnTo>
                  <a:lnTo>
                    <a:pt x="93" y="413"/>
                  </a:lnTo>
                  <a:lnTo>
                    <a:pt x="68" y="391"/>
                  </a:lnTo>
                  <a:lnTo>
                    <a:pt x="44" y="364"/>
                  </a:lnTo>
                  <a:lnTo>
                    <a:pt x="26" y="333"/>
                  </a:lnTo>
                  <a:lnTo>
                    <a:pt x="12" y="301"/>
                  </a:lnTo>
                  <a:lnTo>
                    <a:pt x="4" y="266"/>
                  </a:lnTo>
                  <a:lnTo>
                    <a:pt x="0" y="228"/>
                  </a:lnTo>
                  <a:lnTo>
                    <a:pt x="4" y="191"/>
                  </a:lnTo>
                  <a:lnTo>
                    <a:pt x="12" y="156"/>
                  </a:lnTo>
                  <a:lnTo>
                    <a:pt x="26" y="123"/>
                  </a:lnTo>
                  <a:lnTo>
                    <a:pt x="44" y="93"/>
                  </a:lnTo>
                  <a:lnTo>
                    <a:pt x="68" y="67"/>
                  </a:lnTo>
                  <a:lnTo>
                    <a:pt x="93" y="44"/>
                  </a:lnTo>
                  <a:lnTo>
                    <a:pt x="124" y="25"/>
                  </a:lnTo>
                  <a:lnTo>
                    <a:pt x="156" y="11"/>
                  </a:lnTo>
                  <a:lnTo>
                    <a:pt x="191" y="3"/>
                  </a:lnTo>
                  <a:lnTo>
                    <a:pt x="22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23" name="Freeform 1294">
              <a:extLst>
                <a:ext uri="{FF2B5EF4-FFF2-40B4-BE49-F238E27FC236}">
                  <a16:creationId xmlns:a16="http://schemas.microsoft.com/office/drawing/2014/main" id="{BE1C2F04-E161-F60D-06E0-8F1F073C3DE0}"/>
                </a:ext>
              </a:extLst>
            </p:cNvPr>
            <p:cNvSpPr>
              <a:spLocks/>
            </p:cNvSpPr>
            <p:nvPr/>
          </p:nvSpPr>
          <p:spPr bwMode="auto">
            <a:xfrm>
              <a:off x="-4224" y="570"/>
              <a:ext cx="157" cy="283"/>
            </a:xfrm>
            <a:custGeom>
              <a:avLst/>
              <a:gdLst>
                <a:gd name="T0" fmla="*/ 1 w 630"/>
                <a:gd name="T1" fmla="*/ 0 h 1132"/>
                <a:gd name="T2" fmla="*/ 515 w 630"/>
                <a:gd name="T3" fmla="*/ 0 h 1132"/>
                <a:gd name="T4" fmla="*/ 515 w 630"/>
                <a:gd name="T5" fmla="*/ 827 h 1132"/>
                <a:gd name="T6" fmla="*/ 630 w 630"/>
                <a:gd name="T7" fmla="*/ 827 h 1132"/>
                <a:gd name="T8" fmla="*/ 630 w 630"/>
                <a:gd name="T9" fmla="*/ 1132 h 1132"/>
                <a:gd name="T10" fmla="*/ 0 w 630"/>
                <a:gd name="T11" fmla="*/ 1132 h 1132"/>
                <a:gd name="T12" fmla="*/ 0 w 630"/>
                <a:gd name="T13" fmla="*/ 827 h 1132"/>
                <a:gd name="T14" fmla="*/ 115 w 630"/>
                <a:gd name="T15" fmla="*/ 827 h 1132"/>
                <a:gd name="T16" fmla="*/ 115 w 630"/>
                <a:gd name="T17" fmla="*/ 306 h 1132"/>
                <a:gd name="T18" fmla="*/ 1 w 630"/>
                <a:gd name="T19" fmla="*/ 306 h 1132"/>
                <a:gd name="T20" fmla="*/ 1 w 630"/>
                <a:gd name="T21" fmla="*/ 0 h 1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30" h="1132">
                  <a:moveTo>
                    <a:pt x="1" y="0"/>
                  </a:moveTo>
                  <a:lnTo>
                    <a:pt x="515" y="0"/>
                  </a:lnTo>
                  <a:lnTo>
                    <a:pt x="515" y="827"/>
                  </a:lnTo>
                  <a:lnTo>
                    <a:pt x="630" y="827"/>
                  </a:lnTo>
                  <a:lnTo>
                    <a:pt x="630" y="1132"/>
                  </a:lnTo>
                  <a:lnTo>
                    <a:pt x="0" y="1132"/>
                  </a:lnTo>
                  <a:lnTo>
                    <a:pt x="0" y="827"/>
                  </a:lnTo>
                  <a:lnTo>
                    <a:pt x="115" y="827"/>
                  </a:lnTo>
                  <a:lnTo>
                    <a:pt x="115" y="306"/>
                  </a:lnTo>
                  <a:lnTo>
                    <a:pt x="1" y="306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sp>
        <p:nvSpPr>
          <p:cNvPr id="124" name="Freeform 1304">
            <a:extLst>
              <a:ext uri="{FF2B5EF4-FFF2-40B4-BE49-F238E27FC236}">
                <a16:creationId xmlns:a16="http://schemas.microsoft.com/office/drawing/2014/main" id="{8DA2C830-53D0-AA87-3B65-3E1E756DD2AA}"/>
              </a:ext>
            </a:extLst>
          </p:cNvPr>
          <p:cNvSpPr>
            <a:spLocks noEditPoints="1"/>
          </p:cNvSpPr>
          <p:nvPr/>
        </p:nvSpPr>
        <p:spPr bwMode="auto">
          <a:xfrm>
            <a:off x="4150735" y="3834410"/>
            <a:ext cx="351715" cy="288208"/>
          </a:xfrm>
          <a:custGeom>
            <a:avLst/>
            <a:gdLst>
              <a:gd name="T0" fmla="*/ 1227 w 3456"/>
              <a:gd name="T1" fmla="*/ 655 h 2830"/>
              <a:gd name="T2" fmla="*/ 1044 w 3456"/>
              <a:gd name="T3" fmla="*/ 761 h 2830"/>
              <a:gd name="T4" fmla="*/ 920 w 3456"/>
              <a:gd name="T5" fmla="*/ 932 h 2830"/>
              <a:gd name="T6" fmla="*/ 872 w 3456"/>
              <a:gd name="T7" fmla="*/ 1146 h 2830"/>
              <a:gd name="T8" fmla="*/ 907 w 3456"/>
              <a:gd name="T9" fmla="*/ 1335 h 2830"/>
              <a:gd name="T10" fmla="*/ 988 w 3456"/>
              <a:gd name="T11" fmla="*/ 1472 h 2830"/>
              <a:gd name="T12" fmla="*/ 1124 w 3456"/>
              <a:gd name="T13" fmla="*/ 1609 h 2830"/>
              <a:gd name="T14" fmla="*/ 1273 w 3456"/>
              <a:gd name="T15" fmla="*/ 1741 h 2830"/>
              <a:gd name="T16" fmla="*/ 1427 w 3456"/>
              <a:gd name="T17" fmla="*/ 1864 h 2830"/>
              <a:gd name="T18" fmla="*/ 1568 w 3456"/>
              <a:gd name="T19" fmla="*/ 1968 h 2830"/>
              <a:gd name="T20" fmla="*/ 1672 w 3456"/>
              <a:gd name="T21" fmla="*/ 2042 h 2830"/>
              <a:gd name="T22" fmla="*/ 1725 w 3456"/>
              <a:gd name="T23" fmla="*/ 2078 h 2830"/>
              <a:gd name="T24" fmla="*/ 1748 w 3456"/>
              <a:gd name="T25" fmla="*/ 2065 h 2830"/>
              <a:gd name="T26" fmla="*/ 1829 w 3456"/>
              <a:gd name="T27" fmla="*/ 2009 h 2830"/>
              <a:gd name="T28" fmla="*/ 1954 w 3456"/>
              <a:gd name="T29" fmla="*/ 1919 h 2830"/>
              <a:gd name="T30" fmla="*/ 2103 w 3456"/>
              <a:gd name="T31" fmla="*/ 1804 h 2830"/>
              <a:gd name="T32" fmla="*/ 2258 w 3456"/>
              <a:gd name="T33" fmla="*/ 1676 h 2830"/>
              <a:gd name="T34" fmla="*/ 2398 w 3456"/>
              <a:gd name="T35" fmla="*/ 1543 h 2830"/>
              <a:gd name="T36" fmla="*/ 2522 w 3456"/>
              <a:gd name="T37" fmla="*/ 1389 h 2830"/>
              <a:gd name="T38" fmla="*/ 2570 w 3456"/>
              <a:gd name="T39" fmla="*/ 1258 h 2830"/>
              <a:gd name="T40" fmla="*/ 2570 w 3456"/>
              <a:gd name="T41" fmla="*/ 1036 h 2830"/>
              <a:gd name="T42" fmla="*/ 2481 w 3456"/>
              <a:gd name="T43" fmla="*/ 840 h 2830"/>
              <a:gd name="T44" fmla="*/ 2325 w 3456"/>
              <a:gd name="T45" fmla="*/ 699 h 2830"/>
              <a:gd name="T46" fmla="*/ 2120 w 3456"/>
              <a:gd name="T47" fmla="*/ 631 h 2830"/>
              <a:gd name="T48" fmla="*/ 1941 w 3456"/>
              <a:gd name="T49" fmla="*/ 645 h 2830"/>
              <a:gd name="T50" fmla="*/ 1825 w 3456"/>
              <a:gd name="T51" fmla="*/ 714 h 2830"/>
              <a:gd name="T52" fmla="*/ 1759 w 3456"/>
              <a:gd name="T53" fmla="*/ 813 h 2830"/>
              <a:gd name="T54" fmla="*/ 1730 w 3456"/>
              <a:gd name="T55" fmla="*/ 923 h 2830"/>
              <a:gd name="T56" fmla="*/ 1719 w 3456"/>
              <a:gd name="T57" fmla="*/ 911 h 2830"/>
              <a:gd name="T58" fmla="*/ 1656 w 3456"/>
              <a:gd name="T59" fmla="*/ 780 h 2830"/>
              <a:gd name="T60" fmla="*/ 1543 w 3456"/>
              <a:gd name="T61" fmla="*/ 672 h 2830"/>
              <a:gd name="T62" fmla="*/ 1392 w 3456"/>
              <a:gd name="T63" fmla="*/ 628 h 2830"/>
              <a:gd name="T64" fmla="*/ 1945 w 3456"/>
              <a:gd name="T65" fmla="*/ 9 h 2830"/>
              <a:gd name="T66" fmla="*/ 2352 w 3456"/>
              <a:gd name="T67" fmla="*/ 86 h 2830"/>
              <a:gd name="T68" fmla="*/ 2716 w 3456"/>
              <a:gd name="T69" fmla="*/ 231 h 2830"/>
              <a:gd name="T70" fmla="*/ 3020 w 3456"/>
              <a:gd name="T71" fmla="*/ 434 h 2830"/>
              <a:gd name="T72" fmla="*/ 3254 w 3456"/>
              <a:gd name="T73" fmla="*/ 684 h 2830"/>
              <a:gd name="T74" fmla="*/ 3404 w 3456"/>
              <a:gd name="T75" fmla="*/ 974 h 2830"/>
              <a:gd name="T76" fmla="*/ 3456 w 3456"/>
              <a:gd name="T77" fmla="*/ 1291 h 2830"/>
              <a:gd name="T78" fmla="*/ 3404 w 3456"/>
              <a:gd name="T79" fmla="*/ 1609 h 2830"/>
              <a:gd name="T80" fmla="*/ 3254 w 3456"/>
              <a:gd name="T81" fmla="*/ 1899 h 2830"/>
              <a:gd name="T82" fmla="*/ 3020 w 3456"/>
              <a:gd name="T83" fmla="*/ 2150 h 2830"/>
              <a:gd name="T84" fmla="*/ 2716 w 3456"/>
              <a:gd name="T85" fmla="*/ 2352 h 2830"/>
              <a:gd name="T86" fmla="*/ 2352 w 3456"/>
              <a:gd name="T87" fmla="*/ 2497 h 2830"/>
              <a:gd name="T88" fmla="*/ 1945 w 3456"/>
              <a:gd name="T89" fmla="*/ 2573 h 2830"/>
              <a:gd name="T90" fmla="*/ 1501 w 3456"/>
              <a:gd name="T91" fmla="*/ 2572 h 2830"/>
              <a:gd name="T92" fmla="*/ 1131 w 3456"/>
              <a:gd name="T93" fmla="*/ 2540 h 2830"/>
              <a:gd name="T94" fmla="*/ 932 w 3456"/>
              <a:gd name="T95" fmla="*/ 2635 h 2830"/>
              <a:gd name="T96" fmla="*/ 728 w 3456"/>
              <a:gd name="T97" fmla="*/ 2725 h 2830"/>
              <a:gd name="T98" fmla="*/ 541 w 3456"/>
              <a:gd name="T99" fmla="*/ 2793 h 2830"/>
              <a:gd name="T100" fmla="*/ 396 w 3456"/>
              <a:gd name="T101" fmla="*/ 2828 h 2830"/>
              <a:gd name="T102" fmla="*/ 468 w 3456"/>
              <a:gd name="T103" fmla="*/ 2643 h 2830"/>
              <a:gd name="T104" fmla="*/ 553 w 3456"/>
              <a:gd name="T105" fmla="*/ 2381 h 2830"/>
              <a:gd name="T106" fmla="*/ 436 w 3456"/>
              <a:gd name="T107" fmla="*/ 2149 h 2830"/>
              <a:gd name="T108" fmla="*/ 202 w 3456"/>
              <a:gd name="T109" fmla="*/ 1898 h 2830"/>
              <a:gd name="T110" fmla="*/ 52 w 3456"/>
              <a:gd name="T111" fmla="*/ 1609 h 2830"/>
              <a:gd name="T112" fmla="*/ 0 w 3456"/>
              <a:gd name="T113" fmla="*/ 1291 h 2830"/>
              <a:gd name="T114" fmla="*/ 52 w 3456"/>
              <a:gd name="T115" fmla="*/ 974 h 2830"/>
              <a:gd name="T116" fmla="*/ 202 w 3456"/>
              <a:gd name="T117" fmla="*/ 684 h 2830"/>
              <a:gd name="T118" fmla="*/ 436 w 3456"/>
              <a:gd name="T119" fmla="*/ 434 h 2830"/>
              <a:gd name="T120" fmla="*/ 740 w 3456"/>
              <a:gd name="T121" fmla="*/ 231 h 2830"/>
              <a:gd name="T122" fmla="*/ 1104 w 3456"/>
              <a:gd name="T123" fmla="*/ 86 h 2830"/>
              <a:gd name="T124" fmla="*/ 1511 w 3456"/>
              <a:gd name="T125" fmla="*/ 9 h 28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456" h="2830">
                <a:moveTo>
                  <a:pt x="1392" y="628"/>
                </a:moveTo>
                <a:lnTo>
                  <a:pt x="1335" y="631"/>
                </a:lnTo>
                <a:lnTo>
                  <a:pt x="1280" y="640"/>
                </a:lnTo>
                <a:lnTo>
                  <a:pt x="1227" y="655"/>
                </a:lnTo>
                <a:lnTo>
                  <a:pt x="1177" y="674"/>
                </a:lnTo>
                <a:lnTo>
                  <a:pt x="1130" y="699"/>
                </a:lnTo>
                <a:lnTo>
                  <a:pt x="1085" y="728"/>
                </a:lnTo>
                <a:lnTo>
                  <a:pt x="1044" y="761"/>
                </a:lnTo>
                <a:lnTo>
                  <a:pt x="1006" y="799"/>
                </a:lnTo>
                <a:lnTo>
                  <a:pt x="973" y="840"/>
                </a:lnTo>
                <a:lnTo>
                  <a:pt x="944" y="885"/>
                </a:lnTo>
                <a:lnTo>
                  <a:pt x="920" y="932"/>
                </a:lnTo>
                <a:lnTo>
                  <a:pt x="900" y="982"/>
                </a:lnTo>
                <a:lnTo>
                  <a:pt x="885" y="1036"/>
                </a:lnTo>
                <a:lnTo>
                  <a:pt x="876" y="1090"/>
                </a:lnTo>
                <a:lnTo>
                  <a:pt x="872" y="1146"/>
                </a:lnTo>
                <a:lnTo>
                  <a:pt x="876" y="1202"/>
                </a:lnTo>
                <a:lnTo>
                  <a:pt x="885" y="1258"/>
                </a:lnTo>
                <a:lnTo>
                  <a:pt x="900" y="1310"/>
                </a:lnTo>
                <a:lnTo>
                  <a:pt x="907" y="1335"/>
                </a:lnTo>
                <a:lnTo>
                  <a:pt x="918" y="1361"/>
                </a:lnTo>
                <a:lnTo>
                  <a:pt x="933" y="1389"/>
                </a:lnTo>
                <a:lnTo>
                  <a:pt x="958" y="1432"/>
                </a:lnTo>
                <a:lnTo>
                  <a:pt x="988" y="1472"/>
                </a:lnTo>
                <a:lnTo>
                  <a:pt x="1020" y="1508"/>
                </a:lnTo>
                <a:lnTo>
                  <a:pt x="1057" y="1543"/>
                </a:lnTo>
                <a:lnTo>
                  <a:pt x="1089" y="1576"/>
                </a:lnTo>
                <a:lnTo>
                  <a:pt x="1124" y="1609"/>
                </a:lnTo>
                <a:lnTo>
                  <a:pt x="1159" y="1643"/>
                </a:lnTo>
                <a:lnTo>
                  <a:pt x="1197" y="1675"/>
                </a:lnTo>
                <a:lnTo>
                  <a:pt x="1235" y="1708"/>
                </a:lnTo>
                <a:lnTo>
                  <a:pt x="1273" y="1741"/>
                </a:lnTo>
                <a:lnTo>
                  <a:pt x="1312" y="1773"/>
                </a:lnTo>
                <a:lnTo>
                  <a:pt x="1351" y="1804"/>
                </a:lnTo>
                <a:lnTo>
                  <a:pt x="1390" y="1835"/>
                </a:lnTo>
                <a:lnTo>
                  <a:pt x="1427" y="1864"/>
                </a:lnTo>
                <a:lnTo>
                  <a:pt x="1465" y="1892"/>
                </a:lnTo>
                <a:lnTo>
                  <a:pt x="1501" y="1919"/>
                </a:lnTo>
                <a:lnTo>
                  <a:pt x="1535" y="1944"/>
                </a:lnTo>
                <a:lnTo>
                  <a:pt x="1568" y="1968"/>
                </a:lnTo>
                <a:lnTo>
                  <a:pt x="1598" y="1989"/>
                </a:lnTo>
                <a:lnTo>
                  <a:pt x="1625" y="2009"/>
                </a:lnTo>
                <a:lnTo>
                  <a:pt x="1651" y="2027"/>
                </a:lnTo>
                <a:lnTo>
                  <a:pt x="1672" y="2042"/>
                </a:lnTo>
                <a:lnTo>
                  <a:pt x="1691" y="2055"/>
                </a:lnTo>
                <a:lnTo>
                  <a:pt x="1707" y="2065"/>
                </a:lnTo>
                <a:lnTo>
                  <a:pt x="1718" y="2074"/>
                </a:lnTo>
                <a:lnTo>
                  <a:pt x="1725" y="2078"/>
                </a:lnTo>
                <a:lnTo>
                  <a:pt x="1727" y="2079"/>
                </a:lnTo>
                <a:lnTo>
                  <a:pt x="1730" y="2078"/>
                </a:lnTo>
                <a:lnTo>
                  <a:pt x="1736" y="2074"/>
                </a:lnTo>
                <a:lnTo>
                  <a:pt x="1748" y="2065"/>
                </a:lnTo>
                <a:lnTo>
                  <a:pt x="1763" y="2055"/>
                </a:lnTo>
                <a:lnTo>
                  <a:pt x="1781" y="2042"/>
                </a:lnTo>
                <a:lnTo>
                  <a:pt x="1803" y="2027"/>
                </a:lnTo>
                <a:lnTo>
                  <a:pt x="1829" y="2009"/>
                </a:lnTo>
                <a:lnTo>
                  <a:pt x="1857" y="1989"/>
                </a:lnTo>
                <a:lnTo>
                  <a:pt x="1887" y="1968"/>
                </a:lnTo>
                <a:lnTo>
                  <a:pt x="1920" y="1944"/>
                </a:lnTo>
                <a:lnTo>
                  <a:pt x="1954" y="1919"/>
                </a:lnTo>
                <a:lnTo>
                  <a:pt x="1990" y="1892"/>
                </a:lnTo>
                <a:lnTo>
                  <a:pt x="2026" y="1864"/>
                </a:lnTo>
                <a:lnTo>
                  <a:pt x="2064" y="1835"/>
                </a:lnTo>
                <a:lnTo>
                  <a:pt x="2103" y="1804"/>
                </a:lnTo>
                <a:lnTo>
                  <a:pt x="2142" y="1773"/>
                </a:lnTo>
                <a:lnTo>
                  <a:pt x="2181" y="1741"/>
                </a:lnTo>
                <a:lnTo>
                  <a:pt x="2220" y="1708"/>
                </a:lnTo>
                <a:lnTo>
                  <a:pt x="2258" y="1676"/>
                </a:lnTo>
                <a:lnTo>
                  <a:pt x="2295" y="1643"/>
                </a:lnTo>
                <a:lnTo>
                  <a:pt x="2331" y="1609"/>
                </a:lnTo>
                <a:lnTo>
                  <a:pt x="2366" y="1576"/>
                </a:lnTo>
                <a:lnTo>
                  <a:pt x="2398" y="1543"/>
                </a:lnTo>
                <a:lnTo>
                  <a:pt x="2434" y="1508"/>
                </a:lnTo>
                <a:lnTo>
                  <a:pt x="2467" y="1472"/>
                </a:lnTo>
                <a:lnTo>
                  <a:pt x="2496" y="1432"/>
                </a:lnTo>
                <a:lnTo>
                  <a:pt x="2522" y="1389"/>
                </a:lnTo>
                <a:lnTo>
                  <a:pt x="2536" y="1361"/>
                </a:lnTo>
                <a:lnTo>
                  <a:pt x="2547" y="1335"/>
                </a:lnTo>
                <a:lnTo>
                  <a:pt x="2555" y="1310"/>
                </a:lnTo>
                <a:lnTo>
                  <a:pt x="2570" y="1258"/>
                </a:lnTo>
                <a:lnTo>
                  <a:pt x="2578" y="1202"/>
                </a:lnTo>
                <a:lnTo>
                  <a:pt x="2582" y="1146"/>
                </a:lnTo>
                <a:lnTo>
                  <a:pt x="2578" y="1090"/>
                </a:lnTo>
                <a:lnTo>
                  <a:pt x="2570" y="1036"/>
                </a:lnTo>
                <a:lnTo>
                  <a:pt x="2555" y="982"/>
                </a:lnTo>
                <a:lnTo>
                  <a:pt x="2535" y="932"/>
                </a:lnTo>
                <a:lnTo>
                  <a:pt x="2510" y="885"/>
                </a:lnTo>
                <a:lnTo>
                  <a:pt x="2481" y="840"/>
                </a:lnTo>
                <a:lnTo>
                  <a:pt x="2447" y="799"/>
                </a:lnTo>
                <a:lnTo>
                  <a:pt x="2411" y="761"/>
                </a:lnTo>
                <a:lnTo>
                  <a:pt x="2369" y="728"/>
                </a:lnTo>
                <a:lnTo>
                  <a:pt x="2325" y="699"/>
                </a:lnTo>
                <a:lnTo>
                  <a:pt x="2277" y="674"/>
                </a:lnTo>
                <a:lnTo>
                  <a:pt x="2227" y="655"/>
                </a:lnTo>
                <a:lnTo>
                  <a:pt x="2174" y="640"/>
                </a:lnTo>
                <a:lnTo>
                  <a:pt x="2120" y="631"/>
                </a:lnTo>
                <a:lnTo>
                  <a:pt x="2063" y="628"/>
                </a:lnTo>
                <a:lnTo>
                  <a:pt x="2018" y="630"/>
                </a:lnTo>
                <a:lnTo>
                  <a:pt x="1977" y="636"/>
                </a:lnTo>
                <a:lnTo>
                  <a:pt x="1941" y="645"/>
                </a:lnTo>
                <a:lnTo>
                  <a:pt x="1907" y="659"/>
                </a:lnTo>
                <a:lnTo>
                  <a:pt x="1877" y="675"/>
                </a:lnTo>
                <a:lnTo>
                  <a:pt x="1849" y="693"/>
                </a:lnTo>
                <a:lnTo>
                  <a:pt x="1825" y="714"/>
                </a:lnTo>
                <a:lnTo>
                  <a:pt x="1805" y="737"/>
                </a:lnTo>
                <a:lnTo>
                  <a:pt x="1787" y="761"/>
                </a:lnTo>
                <a:lnTo>
                  <a:pt x="1772" y="787"/>
                </a:lnTo>
                <a:lnTo>
                  <a:pt x="1759" y="813"/>
                </a:lnTo>
                <a:lnTo>
                  <a:pt x="1749" y="840"/>
                </a:lnTo>
                <a:lnTo>
                  <a:pt x="1741" y="869"/>
                </a:lnTo>
                <a:lnTo>
                  <a:pt x="1734" y="896"/>
                </a:lnTo>
                <a:lnTo>
                  <a:pt x="1730" y="923"/>
                </a:lnTo>
                <a:lnTo>
                  <a:pt x="1727" y="949"/>
                </a:lnTo>
                <a:lnTo>
                  <a:pt x="1727" y="974"/>
                </a:lnTo>
                <a:lnTo>
                  <a:pt x="1725" y="943"/>
                </a:lnTo>
                <a:lnTo>
                  <a:pt x="1719" y="911"/>
                </a:lnTo>
                <a:lnTo>
                  <a:pt x="1708" y="878"/>
                </a:lnTo>
                <a:lnTo>
                  <a:pt x="1694" y="845"/>
                </a:lnTo>
                <a:lnTo>
                  <a:pt x="1677" y="811"/>
                </a:lnTo>
                <a:lnTo>
                  <a:pt x="1656" y="780"/>
                </a:lnTo>
                <a:lnTo>
                  <a:pt x="1632" y="749"/>
                </a:lnTo>
                <a:lnTo>
                  <a:pt x="1604" y="720"/>
                </a:lnTo>
                <a:lnTo>
                  <a:pt x="1575" y="694"/>
                </a:lnTo>
                <a:lnTo>
                  <a:pt x="1543" y="672"/>
                </a:lnTo>
                <a:lnTo>
                  <a:pt x="1508" y="654"/>
                </a:lnTo>
                <a:lnTo>
                  <a:pt x="1470" y="640"/>
                </a:lnTo>
                <a:lnTo>
                  <a:pt x="1432" y="631"/>
                </a:lnTo>
                <a:lnTo>
                  <a:pt x="1392" y="628"/>
                </a:lnTo>
                <a:close/>
                <a:moveTo>
                  <a:pt x="1727" y="0"/>
                </a:moveTo>
                <a:lnTo>
                  <a:pt x="1728" y="0"/>
                </a:lnTo>
                <a:lnTo>
                  <a:pt x="1837" y="2"/>
                </a:lnTo>
                <a:lnTo>
                  <a:pt x="1945" y="9"/>
                </a:lnTo>
                <a:lnTo>
                  <a:pt x="2051" y="21"/>
                </a:lnTo>
                <a:lnTo>
                  <a:pt x="2153" y="39"/>
                </a:lnTo>
                <a:lnTo>
                  <a:pt x="2255" y="60"/>
                </a:lnTo>
                <a:lnTo>
                  <a:pt x="2352" y="86"/>
                </a:lnTo>
                <a:lnTo>
                  <a:pt x="2447" y="116"/>
                </a:lnTo>
                <a:lnTo>
                  <a:pt x="2541" y="151"/>
                </a:lnTo>
                <a:lnTo>
                  <a:pt x="2630" y="188"/>
                </a:lnTo>
                <a:lnTo>
                  <a:pt x="2716" y="231"/>
                </a:lnTo>
                <a:lnTo>
                  <a:pt x="2797" y="276"/>
                </a:lnTo>
                <a:lnTo>
                  <a:pt x="2876" y="325"/>
                </a:lnTo>
                <a:lnTo>
                  <a:pt x="2950" y="378"/>
                </a:lnTo>
                <a:lnTo>
                  <a:pt x="3020" y="434"/>
                </a:lnTo>
                <a:lnTo>
                  <a:pt x="3085" y="492"/>
                </a:lnTo>
                <a:lnTo>
                  <a:pt x="3146" y="554"/>
                </a:lnTo>
                <a:lnTo>
                  <a:pt x="3203" y="617"/>
                </a:lnTo>
                <a:lnTo>
                  <a:pt x="3254" y="684"/>
                </a:lnTo>
                <a:lnTo>
                  <a:pt x="3299" y="753"/>
                </a:lnTo>
                <a:lnTo>
                  <a:pt x="3340" y="825"/>
                </a:lnTo>
                <a:lnTo>
                  <a:pt x="3374" y="898"/>
                </a:lnTo>
                <a:lnTo>
                  <a:pt x="3404" y="974"/>
                </a:lnTo>
                <a:lnTo>
                  <a:pt x="3426" y="1051"/>
                </a:lnTo>
                <a:lnTo>
                  <a:pt x="3442" y="1129"/>
                </a:lnTo>
                <a:lnTo>
                  <a:pt x="3453" y="1210"/>
                </a:lnTo>
                <a:lnTo>
                  <a:pt x="3456" y="1291"/>
                </a:lnTo>
                <a:lnTo>
                  <a:pt x="3453" y="1374"/>
                </a:lnTo>
                <a:lnTo>
                  <a:pt x="3442" y="1454"/>
                </a:lnTo>
                <a:lnTo>
                  <a:pt x="3426" y="1532"/>
                </a:lnTo>
                <a:lnTo>
                  <a:pt x="3404" y="1609"/>
                </a:lnTo>
                <a:lnTo>
                  <a:pt x="3374" y="1686"/>
                </a:lnTo>
                <a:lnTo>
                  <a:pt x="3340" y="1759"/>
                </a:lnTo>
                <a:lnTo>
                  <a:pt x="3299" y="1831"/>
                </a:lnTo>
                <a:lnTo>
                  <a:pt x="3254" y="1899"/>
                </a:lnTo>
                <a:lnTo>
                  <a:pt x="3203" y="1966"/>
                </a:lnTo>
                <a:lnTo>
                  <a:pt x="3146" y="2030"/>
                </a:lnTo>
                <a:lnTo>
                  <a:pt x="3085" y="2091"/>
                </a:lnTo>
                <a:lnTo>
                  <a:pt x="3020" y="2150"/>
                </a:lnTo>
                <a:lnTo>
                  <a:pt x="2950" y="2205"/>
                </a:lnTo>
                <a:lnTo>
                  <a:pt x="2876" y="2258"/>
                </a:lnTo>
                <a:lnTo>
                  <a:pt x="2797" y="2307"/>
                </a:lnTo>
                <a:lnTo>
                  <a:pt x="2716" y="2352"/>
                </a:lnTo>
                <a:lnTo>
                  <a:pt x="2630" y="2394"/>
                </a:lnTo>
                <a:lnTo>
                  <a:pt x="2541" y="2433"/>
                </a:lnTo>
                <a:lnTo>
                  <a:pt x="2447" y="2467"/>
                </a:lnTo>
                <a:lnTo>
                  <a:pt x="2352" y="2497"/>
                </a:lnTo>
                <a:lnTo>
                  <a:pt x="2255" y="2523"/>
                </a:lnTo>
                <a:lnTo>
                  <a:pt x="2153" y="2544"/>
                </a:lnTo>
                <a:lnTo>
                  <a:pt x="2051" y="2562"/>
                </a:lnTo>
                <a:lnTo>
                  <a:pt x="1945" y="2573"/>
                </a:lnTo>
                <a:lnTo>
                  <a:pt x="1837" y="2582"/>
                </a:lnTo>
                <a:lnTo>
                  <a:pt x="1728" y="2584"/>
                </a:lnTo>
                <a:lnTo>
                  <a:pt x="1614" y="2581"/>
                </a:lnTo>
                <a:lnTo>
                  <a:pt x="1501" y="2572"/>
                </a:lnTo>
                <a:lnTo>
                  <a:pt x="1391" y="2559"/>
                </a:lnTo>
                <a:lnTo>
                  <a:pt x="1283" y="2540"/>
                </a:lnTo>
                <a:lnTo>
                  <a:pt x="1177" y="2516"/>
                </a:lnTo>
                <a:lnTo>
                  <a:pt x="1131" y="2540"/>
                </a:lnTo>
                <a:lnTo>
                  <a:pt x="1083" y="2563"/>
                </a:lnTo>
                <a:lnTo>
                  <a:pt x="1034" y="2587"/>
                </a:lnTo>
                <a:lnTo>
                  <a:pt x="983" y="2611"/>
                </a:lnTo>
                <a:lnTo>
                  <a:pt x="932" y="2635"/>
                </a:lnTo>
                <a:lnTo>
                  <a:pt x="881" y="2658"/>
                </a:lnTo>
                <a:lnTo>
                  <a:pt x="829" y="2681"/>
                </a:lnTo>
                <a:lnTo>
                  <a:pt x="778" y="2704"/>
                </a:lnTo>
                <a:lnTo>
                  <a:pt x="728" y="2725"/>
                </a:lnTo>
                <a:lnTo>
                  <a:pt x="679" y="2744"/>
                </a:lnTo>
                <a:lnTo>
                  <a:pt x="632" y="2762"/>
                </a:lnTo>
                <a:lnTo>
                  <a:pt x="585" y="2779"/>
                </a:lnTo>
                <a:lnTo>
                  <a:pt x="541" y="2793"/>
                </a:lnTo>
                <a:lnTo>
                  <a:pt x="501" y="2806"/>
                </a:lnTo>
                <a:lnTo>
                  <a:pt x="462" y="2816"/>
                </a:lnTo>
                <a:lnTo>
                  <a:pt x="427" y="2824"/>
                </a:lnTo>
                <a:lnTo>
                  <a:pt x="396" y="2828"/>
                </a:lnTo>
                <a:lnTo>
                  <a:pt x="369" y="2830"/>
                </a:lnTo>
                <a:lnTo>
                  <a:pt x="405" y="2771"/>
                </a:lnTo>
                <a:lnTo>
                  <a:pt x="439" y="2708"/>
                </a:lnTo>
                <a:lnTo>
                  <a:pt x="468" y="2643"/>
                </a:lnTo>
                <a:lnTo>
                  <a:pt x="494" y="2579"/>
                </a:lnTo>
                <a:lnTo>
                  <a:pt x="516" y="2513"/>
                </a:lnTo>
                <a:lnTo>
                  <a:pt x="536" y="2447"/>
                </a:lnTo>
                <a:lnTo>
                  <a:pt x="553" y="2381"/>
                </a:lnTo>
                <a:lnTo>
                  <a:pt x="568" y="2319"/>
                </a:lnTo>
                <a:lnTo>
                  <a:pt x="579" y="2257"/>
                </a:lnTo>
                <a:lnTo>
                  <a:pt x="506" y="2205"/>
                </a:lnTo>
                <a:lnTo>
                  <a:pt x="436" y="2149"/>
                </a:lnTo>
                <a:lnTo>
                  <a:pt x="370" y="2090"/>
                </a:lnTo>
                <a:lnTo>
                  <a:pt x="309" y="2029"/>
                </a:lnTo>
                <a:lnTo>
                  <a:pt x="253" y="1965"/>
                </a:lnTo>
                <a:lnTo>
                  <a:pt x="202" y="1898"/>
                </a:lnTo>
                <a:lnTo>
                  <a:pt x="156" y="1829"/>
                </a:lnTo>
                <a:lnTo>
                  <a:pt x="116" y="1759"/>
                </a:lnTo>
                <a:lnTo>
                  <a:pt x="82" y="1684"/>
                </a:lnTo>
                <a:lnTo>
                  <a:pt x="52" y="1609"/>
                </a:lnTo>
                <a:lnTo>
                  <a:pt x="30" y="1532"/>
                </a:lnTo>
                <a:lnTo>
                  <a:pt x="14" y="1454"/>
                </a:lnTo>
                <a:lnTo>
                  <a:pt x="3" y="1374"/>
                </a:lnTo>
                <a:lnTo>
                  <a:pt x="0" y="1291"/>
                </a:lnTo>
                <a:lnTo>
                  <a:pt x="3" y="1210"/>
                </a:lnTo>
                <a:lnTo>
                  <a:pt x="14" y="1129"/>
                </a:lnTo>
                <a:lnTo>
                  <a:pt x="30" y="1051"/>
                </a:lnTo>
                <a:lnTo>
                  <a:pt x="52" y="974"/>
                </a:lnTo>
                <a:lnTo>
                  <a:pt x="82" y="898"/>
                </a:lnTo>
                <a:lnTo>
                  <a:pt x="116" y="825"/>
                </a:lnTo>
                <a:lnTo>
                  <a:pt x="157" y="753"/>
                </a:lnTo>
                <a:lnTo>
                  <a:pt x="202" y="684"/>
                </a:lnTo>
                <a:lnTo>
                  <a:pt x="253" y="617"/>
                </a:lnTo>
                <a:lnTo>
                  <a:pt x="310" y="554"/>
                </a:lnTo>
                <a:lnTo>
                  <a:pt x="371" y="492"/>
                </a:lnTo>
                <a:lnTo>
                  <a:pt x="436" y="434"/>
                </a:lnTo>
                <a:lnTo>
                  <a:pt x="506" y="378"/>
                </a:lnTo>
                <a:lnTo>
                  <a:pt x="580" y="325"/>
                </a:lnTo>
                <a:lnTo>
                  <a:pt x="659" y="276"/>
                </a:lnTo>
                <a:lnTo>
                  <a:pt x="740" y="231"/>
                </a:lnTo>
                <a:lnTo>
                  <a:pt x="826" y="188"/>
                </a:lnTo>
                <a:lnTo>
                  <a:pt x="915" y="151"/>
                </a:lnTo>
                <a:lnTo>
                  <a:pt x="1009" y="116"/>
                </a:lnTo>
                <a:lnTo>
                  <a:pt x="1104" y="86"/>
                </a:lnTo>
                <a:lnTo>
                  <a:pt x="1201" y="60"/>
                </a:lnTo>
                <a:lnTo>
                  <a:pt x="1303" y="39"/>
                </a:lnTo>
                <a:lnTo>
                  <a:pt x="1405" y="21"/>
                </a:lnTo>
                <a:lnTo>
                  <a:pt x="1511" y="9"/>
                </a:lnTo>
                <a:lnTo>
                  <a:pt x="1619" y="2"/>
                </a:lnTo>
                <a:lnTo>
                  <a:pt x="1727" y="0"/>
                </a:ln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4067552869"/>
      </p:ext>
    </p:extLst>
  </p:cSld>
  <p:clrMapOvr>
    <a:masterClrMapping/>
  </p:clrMapOvr>
</p:sld>
</file>

<file path=ppt/slides/slide1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1DFC9C-291F-3632-2545-F03CCC236B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4" name="think-cell data - do not delete" hidden="1">
            <a:extLst>
              <a:ext uri="{FF2B5EF4-FFF2-40B4-BE49-F238E27FC236}">
                <a16:creationId xmlns:a16="http://schemas.microsoft.com/office/drawing/2014/main" id="{C1B9A467-F899-FA3E-A710-195AF779FB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1B9A467-F899-FA3E-A710-195AF779FB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AE47D3A-7B95-9939-1833-C4A32118F7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ircular layou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E2F9F5D-0EAD-248B-E049-63A4C4B9CB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37</a:t>
            </a:fld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94332CAE-50F4-012C-1814-323607F1A38F}"/>
              </a:ext>
            </a:extLst>
          </p:cNvPr>
          <p:cNvGrpSpPr/>
          <p:nvPr/>
        </p:nvGrpSpPr>
        <p:grpSpPr>
          <a:xfrm>
            <a:off x="4013383" y="1638220"/>
            <a:ext cx="4165235" cy="4158523"/>
            <a:chOff x="-3570288" y="4352925"/>
            <a:chExt cx="2955925" cy="2951163"/>
          </a:xfrm>
        </p:grpSpPr>
        <p:sp>
          <p:nvSpPr>
            <p:cNvPr id="6" name="Freeform 69">
              <a:extLst>
                <a:ext uri="{FF2B5EF4-FFF2-40B4-BE49-F238E27FC236}">
                  <a16:creationId xmlns:a16="http://schemas.microsoft.com/office/drawing/2014/main" id="{CEA1547E-1F52-7716-51E8-241ACABA3616}"/>
                </a:ext>
              </a:extLst>
            </p:cNvPr>
            <p:cNvSpPr>
              <a:spLocks/>
            </p:cNvSpPr>
            <p:nvPr/>
          </p:nvSpPr>
          <p:spPr bwMode="auto">
            <a:xfrm>
              <a:off x="-2609850" y="4413250"/>
              <a:ext cx="1035050" cy="615950"/>
            </a:xfrm>
            <a:custGeom>
              <a:avLst/>
              <a:gdLst>
                <a:gd name="T0" fmla="*/ 201 w 276"/>
                <a:gd name="T1" fmla="*/ 164 h 164"/>
                <a:gd name="T2" fmla="*/ 223 w 276"/>
                <a:gd name="T3" fmla="*/ 151 h 164"/>
                <a:gd name="T4" fmla="*/ 274 w 276"/>
                <a:gd name="T5" fmla="*/ 46 h 164"/>
                <a:gd name="T6" fmla="*/ 274 w 276"/>
                <a:gd name="T7" fmla="*/ 31 h 164"/>
                <a:gd name="T8" fmla="*/ 265 w 276"/>
                <a:gd name="T9" fmla="*/ 22 h 164"/>
                <a:gd name="T10" fmla="*/ 138 w 276"/>
                <a:gd name="T11" fmla="*/ 0 h 164"/>
                <a:gd name="T12" fmla="*/ 12 w 276"/>
                <a:gd name="T13" fmla="*/ 22 h 164"/>
                <a:gd name="T14" fmla="*/ 2 w 276"/>
                <a:gd name="T15" fmla="*/ 31 h 164"/>
                <a:gd name="T16" fmla="*/ 3 w 276"/>
                <a:gd name="T17" fmla="*/ 46 h 164"/>
                <a:gd name="T18" fmla="*/ 53 w 276"/>
                <a:gd name="T19" fmla="*/ 151 h 164"/>
                <a:gd name="T20" fmla="*/ 76 w 276"/>
                <a:gd name="T21" fmla="*/ 164 h 164"/>
                <a:gd name="T22" fmla="*/ 83 w 276"/>
                <a:gd name="T23" fmla="*/ 163 h 164"/>
                <a:gd name="T24" fmla="*/ 138 w 276"/>
                <a:gd name="T25" fmla="*/ 156 h 164"/>
                <a:gd name="T26" fmla="*/ 194 w 276"/>
                <a:gd name="T27" fmla="*/ 163 h 164"/>
                <a:gd name="T28" fmla="*/ 201 w 276"/>
                <a:gd name="T29" fmla="*/ 164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76" h="164">
                  <a:moveTo>
                    <a:pt x="201" y="164"/>
                  </a:moveTo>
                  <a:cubicBezTo>
                    <a:pt x="211" y="164"/>
                    <a:pt x="220" y="159"/>
                    <a:pt x="223" y="151"/>
                  </a:cubicBezTo>
                  <a:cubicBezTo>
                    <a:pt x="274" y="46"/>
                    <a:pt x="274" y="46"/>
                    <a:pt x="274" y="46"/>
                  </a:cubicBezTo>
                  <a:cubicBezTo>
                    <a:pt x="276" y="42"/>
                    <a:pt x="276" y="36"/>
                    <a:pt x="274" y="31"/>
                  </a:cubicBezTo>
                  <a:cubicBezTo>
                    <a:pt x="273" y="27"/>
                    <a:pt x="269" y="24"/>
                    <a:pt x="265" y="22"/>
                  </a:cubicBezTo>
                  <a:cubicBezTo>
                    <a:pt x="224" y="8"/>
                    <a:pt x="182" y="0"/>
                    <a:pt x="138" y="0"/>
                  </a:cubicBezTo>
                  <a:cubicBezTo>
                    <a:pt x="95" y="0"/>
                    <a:pt x="53" y="8"/>
                    <a:pt x="12" y="22"/>
                  </a:cubicBezTo>
                  <a:cubicBezTo>
                    <a:pt x="8" y="24"/>
                    <a:pt x="4" y="27"/>
                    <a:pt x="2" y="31"/>
                  </a:cubicBezTo>
                  <a:cubicBezTo>
                    <a:pt x="0" y="36"/>
                    <a:pt x="1" y="42"/>
                    <a:pt x="3" y="46"/>
                  </a:cubicBezTo>
                  <a:cubicBezTo>
                    <a:pt x="53" y="151"/>
                    <a:pt x="53" y="151"/>
                    <a:pt x="53" y="151"/>
                  </a:cubicBezTo>
                  <a:cubicBezTo>
                    <a:pt x="57" y="159"/>
                    <a:pt x="66" y="164"/>
                    <a:pt x="76" y="164"/>
                  </a:cubicBezTo>
                  <a:cubicBezTo>
                    <a:pt x="78" y="164"/>
                    <a:pt x="81" y="164"/>
                    <a:pt x="83" y="163"/>
                  </a:cubicBezTo>
                  <a:cubicBezTo>
                    <a:pt x="101" y="159"/>
                    <a:pt x="120" y="156"/>
                    <a:pt x="138" y="156"/>
                  </a:cubicBezTo>
                  <a:cubicBezTo>
                    <a:pt x="157" y="156"/>
                    <a:pt x="176" y="159"/>
                    <a:pt x="194" y="163"/>
                  </a:cubicBezTo>
                  <a:cubicBezTo>
                    <a:pt x="196" y="164"/>
                    <a:pt x="198" y="164"/>
                    <a:pt x="201" y="16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>
              <a:innerShdw blurRad="25400">
                <a:prstClr val="black"/>
              </a:inn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" name="Freeform 70">
              <a:extLst>
                <a:ext uri="{FF2B5EF4-FFF2-40B4-BE49-F238E27FC236}">
                  <a16:creationId xmlns:a16="http://schemas.microsoft.com/office/drawing/2014/main" id="{A0697969-F394-3101-CCBF-6E76CA8352F8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11550" y="5613400"/>
              <a:ext cx="701675" cy="1006475"/>
            </a:xfrm>
            <a:custGeom>
              <a:avLst/>
              <a:gdLst>
                <a:gd name="T0" fmla="*/ 181 w 187"/>
                <a:gd name="T1" fmla="*/ 160 h 268"/>
                <a:gd name="T2" fmla="*/ 156 w 187"/>
                <a:gd name="T3" fmla="*/ 58 h 268"/>
                <a:gd name="T4" fmla="*/ 157 w 187"/>
                <a:gd name="T5" fmla="*/ 41 h 268"/>
                <a:gd name="T6" fmla="*/ 138 w 187"/>
                <a:gd name="T7" fmla="*/ 26 h 268"/>
                <a:gd name="T8" fmla="*/ 25 w 187"/>
                <a:gd name="T9" fmla="*/ 0 h 268"/>
                <a:gd name="T10" fmla="*/ 20 w 187"/>
                <a:gd name="T11" fmla="*/ 0 h 268"/>
                <a:gd name="T12" fmla="*/ 3 w 187"/>
                <a:gd name="T13" fmla="*/ 15 h 268"/>
                <a:gd name="T14" fmla="*/ 0 w 187"/>
                <a:gd name="T15" fmla="*/ 58 h 268"/>
                <a:gd name="T16" fmla="*/ 59 w 187"/>
                <a:gd name="T17" fmla="*/ 260 h 268"/>
                <a:gd name="T18" fmla="*/ 73 w 187"/>
                <a:gd name="T19" fmla="*/ 268 h 268"/>
                <a:gd name="T20" fmla="*/ 73 w 187"/>
                <a:gd name="T21" fmla="*/ 268 h 268"/>
                <a:gd name="T22" fmla="*/ 85 w 187"/>
                <a:gd name="T23" fmla="*/ 264 h 268"/>
                <a:gd name="T24" fmla="*/ 176 w 187"/>
                <a:gd name="T25" fmla="*/ 192 h 268"/>
                <a:gd name="T26" fmla="*/ 181 w 187"/>
                <a:gd name="T27" fmla="*/ 160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7" h="268">
                  <a:moveTo>
                    <a:pt x="181" y="160"/>
                  </a:moveTo>
                  <a:cubicBezTo>
                    <a:pt x="165" y="129"/>
                    <a:pt x="156" y="94"/>
                    <a:pt x="156" y="58"/>
                  </a:cubicBezTo>
                  <a:cubicBezTo>
                    <a:pt x="156" y="52"/>
                    <a:pt x="157" y="46"/>
                    <a:pt x="157" y="41"/>
                  </a:cubicBezTo>
                  <a:cubicBezTo>
                    <a:pt x="157" y="36"/>
                    <a:pt x="150" y="29"/>
                    <a:pt x="138" y="26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3" y="0"/>
                    <a:pt x="22" y="0"/>
                    <a:pt x="20" y="0"/>
                  </a:cubicBezTo>
                  <a:cubicBezTo>
                    <a:pt x="11" y="0"/>
                    <a:pt x="4" y="6"/>
                    <a:pt x="3" y="15"/>
                  </a:cubicBezTo>
                  <a:cubicBezTo>
                    <a:pt x="1" y="29"/>
                    <a:pt x="0" y="44"/>
                    <a:pt x="0" y="58"/>
                  </a:cubicBezTo>
                  <a:cubicBezTo>
                    <a:pt x="0" y="130"/>
                    <a:pt x="21" y="200"/>
                    <a:pt x="59" y="260"/>
                  </a:cubicBezTo>
                  <a:cubicBezTo>
                    <a:pt x="62" y="265"/>
                    <a:pt x="68" y="268"/>
                    <a:pt x="73" y="268"/>
                  </a:cubicBezTo>
                  <a:cubicBezTo>
                    <a:pt x="73" y="268"/>
                    <a:pt x="73" y="268"/>
                    <a:pt x="73" y="268"/>
                  </a:cubicBezTo>
                  <a:cubicBezTo>
                    <a:pt x="78" y="268"/>
                    <a:pt x="82" y="267"/>
                    <a:pt x="85" y="264"/>
                  </a:cubicBezTo>
                  <a:cubicBezTo>
                    <a:pt x="176" y="192"/>
                    <a:pt x="176" y="192"/>
                    <a:pt x="176" y="192"/>
                  </a:cubicBezTo>
                  <a:cubicBezTo>
                    <a:pt x="185" y="185"/>
                    <a:pt x="187" y="171"/>
                    <a:pt x="181" y="16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innerShdw blurRad="25400">
                <a:prstClr val="black"/>
              </a:inn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" name="Freeform 71">
              <a:extLst>
                <a:ext uri="{FF2B5EF4-FFF2-40B4-BE49-F238E27FC236}">
                  <a16:creationId xmlns:a16="http://schemas.microsoft.com/office/drawing/2014/main" id="{500B2C5C-4A2E-AB16-C9F7-A21FAC977395}"/>
                </a:ext>
              </a:extLst>
            </p:cNvPr>
            <p:cNvSpPr>
              <a:spLocks/>
            </p:cNvSpPr>
            <p:nvPr/>
          </p:nvSpPr>
          <p:spPr bwMode="auto">
            <a:xfrm>
              <a:off x="-1371600" y="5613400"/>
              <a:ext cx="696913" cy="1006475"/>
            </a:xfrm>
            <a:custGeom>
              <a:avLst/>
              <a:gdLst>
                <a:gd name="T0" fmla="*/ 167 w 186"/>
                <a:gd name="T1" fmla="*/ 0 h 268"/>
                <a:gd name="T2" fmla="*/ 162 w 186"/>
                <a:gd name="T3" fmla="*/ 0 h 268"/>
                <a:gd name="T4" fmla="*/ 49 w 186"/>
                <a:gd name="T5" fmla="*/ 26 h 268"/>
                <a:gd name="T6" fmla="*/ 30 w 186"/>
                <a:gd name="T7" fmla="*/ 41 h 268"/>
                <a:gd name="T8" fmla="*/ 30 w 186"/>
                <a:gd name="T9" fmla="*/ 58 h 268"/>
                <a:gd name="T10" fmla="*/ 6 w 186"/>
                <a:gd name="T11" fmla="*/ 160 h 268"/>
                <a:gd name="T12" fmla="*/ 11 w 186"/>
                <a:gd name="T13" fmla="*/ 192 h 268"/>
                <a:gd name="T14" fmla="*/ 102 w 186"/>
                <a:gd name="T15" fmla="*/ 264 h 268"/>
                <a:gd name="T16" fmla="*/ 113 w 186"/>
                <a:gd name="T17" fmla="*/ 268 h 268"/>
                <a:gd name="T18" fmla="*/ 128 w 186"/>
                <a:gd name="T19" fmla="*/ 260 h 268"/>
                <a:gd name="T20" fmla="*/ 186 w 186"/>
                <a:gd name="T21" fmla="*/ 58 h 268"/>
                <a:gd name="T22" fmla="*/ 184 w 186"/>
                <a:gd name="T23" fmla="*/ 15 h 268"/>
                <a:gd name="T24" fmla="*/ 167 w 186"/>
                <a:gd name="T25" fmla="*/ 0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6" h="268">
                  <a:moveTo>
                    <a:pt x="167" y="0"/>
                  </a:moveTo>
                  <a:cubicBezTo>
                    <a:pt x="165" y="0"/>
                    <a:pt x="164" y="0"/>
                    <a:pt x="162" y="0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37" y="29"/>
                    <a:pt x="29" y="36"/>
                    <a:pt x="30" y="41"/>
                  </a:cubicBezTo>
                  <a:cubicBezTo>
                    <a:pt x="30" y="46"/>
                    <a:pt x="30" y="52"/>
                    <a:pt x="30" y="58"/>
                  </a:cubicBezTo>
                  <a:cubicBezTo>
                    <a:pt x="30" y="94"/>
                    <a:pt x="22" y="129"/>
                    <a:pt x="6" y="160"/>
                  </a:cubicBezTo>
                  <a:cubicBezTo>
                    <a:pt x="0" y="171"/>
                    <a:pt x="2" y="185"/>
                    <a:pt x="11" y="192"/>
                  </a:cubicBezTo>
                  <a:cubicBezTo>
                    <a:pt x="102" y="264"/>
                    <a:pt x="102" y="264"/>
                    <a:pt x="102" y="264"/>
                  </a:cubicBezTo>
                  <a:cubicBezTo>
                    <a:pt x="105" y="267"/>
                    <a:pt x="109" y="268"/>
                    <a:pt x="113" y="268"/>
                  </a:cubicBezTo>
                  <a:cubicBezTo>
                    <a:pt x="119" y="268"/>
                    <a:pt x="125" y="265"/>
                    <a:pt x="128" y="260"/>
                  </a:cubicBezTo>
                  <a:cubicBezTo>
                    <a:pt x="166" y="200"/>
                    <a:pt x="186" y="130"/>
                    <a:pt x="186" y="58"/>
                  </a:cubicBezTo>
                  <a:cubicBezTo>
                    <a:pt x="186" y="44"/>
                    <a:pt x="186" y="29"/>
                    <a:pt x="184" y="15"/>
                  </a:cubicBezTo>
                  <a:cubicBezTo>
                    <a:pt x="183" y="6"/>
                    <a:pt x="176" y="0"/>
                    <a:pt x="167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innerShdw blurRad="25400">
                <a:prstClr val="black"/>
              </a:inn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" name="Freeform 72">
              <a:extLst>
                <a:ext uri="{FF2B5EF4-FFF2-40B4-BE49-F238E27FC236}">
                  <a16:creationId xmlns:a16="http://schemas.microsoft.com/office/drawing/2014/main" id="{BDBF671F-012F-888F-3DAF-7B5AE425EE73}"/>
                </a:ext>
              </a:extLst>
            </p:cNvPr>
            <p:cNvSpPr>
              <a:spLocks/>
            </p:cNvSpPr>
            <p:nvPr/>
          </p:nvSpPr>
          <p:spPr bwMode="auto">
            <a:xfrm>
              <a:off x="-1641475" y="4619625"/>
              <a:ext cx="896938" cy="935038"/>
            </a:xfrm>
            <a:custGeom>
              <a:avLst/>
              <a:gdLst>
                <a:gd name="T0" fmla="*/ 14 w 239"/>
                <a:gd name="T1" fmla="*/ 146 h 249"/>
                <a:gd name="T2" fmla="*/ 83 w 239"/>
                <a:gd name="T3" fmla="*/ 233 h 249"/>
                <a:gd name="T4" fmla="*/ 106 w 239"/>
                <a:gd name="T5" fmla="*/ 249 h 249"/>
                <a:gd name="T6" fmla="*/ 106 w 239"/>
                <a:gd name="T7" fmla="*/ 249 h 249"/>
                <a:gd name="T8" fmla="*/ 111 w 239"/>
                <a:gd name="T9" fmla="*/ 248 h 249"/>
                <a:gd name="T10" fmla="*/ 224 w 239"/>
                <a:gd name="T11" fmla="*/ 222 h 249"/>
                <a:gd name="T12" fmla="*/ 237 w 239"/>
                <a:gd name="T13" fmla="*/ 213 h 249"/>
                <a:gd name="T14" fmla="*/ 238 w 239"/>
                <a:gd name="T15" fmla="*/ 200 h 249"/>
                <a:gd name="T16" fmla="*/ 80 w 239"/>
                <a:gd name="T17" fmla="*/ 3 h 249"/>
                <a:gd name="T18" fmla="*/ 72 w 239"/>
                <a:gd name="T19" fmla="*/ 0 h 249"/>
                <a:gd name="T20" fmla="*/ 55 w 239"/>
                <a:gd name="T21" fmla="*/ 11 h 249"/>
                <a:gd name="T22" fmla="*/ 5 w 239"/>
                <a:gd name="T23" fmla="*/ 115 h 249"/>
                <a:gd name="T24" fmla="*/ 14 w 239"/>
                <a:gd name="T25" fmla="*/ 146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9" h="249">
                  <a:moveTo>
                    <a:pt x="14" y="146"/>
                  </a:moveTo>
                  <a:cubicBezTo>
                    <a:pt x="44" y="169"/>
                    <a:pt x="68" y="198"/>
                    <a:pt x="83" y="233"/>
                  </a:cubicBezTo>
                  <a:cubicBezTo>
                    <a:pt x="87" y="242"/>
                    <a:pt x="97" y="249"/>
                    <a:pt x="106" y="249"/>
                  </a:cubicBezTo>
                  <a:cubicBezTo>
                    <a:pt x="106" y="249"/>
                    <a:pt x="106" y="249"/>
                    <a:pt x="106" y="249"/>
                  </a:cubicBezTo>
                  <a:cubicBezTo>
                    <a:pt x="108" y="249"/>
                    <a:pt x="109" y="248"/>
                    <a:pt x="111" y="248"/>
                  </a:cubicBezTo>
                  <a:cubicBezTo>
                    <a:pt x="224" y="222"/>
                    <a:pt x="224" y="222"/>
                    <a:pt x="224" y="222"/>
                  </a:cubicBezTo>
                  <a:cubicBezTo>
                    <a:pt x="230" y="221"/>
                    <a:pt x="234" y="218"/>
                    <a:pt x="237" y="213"/>
                  </a:cubicBezTo>
                  <a:cubicBezTo>
                    <a:pt x="239" y="209"/>
                    <a:pt x="239" y="204"/>
                    <a:pt x="238" y="200"/>
                  </a:cubicBezTo>
                  <a:cubicBezTo>
                    <a:pt x="209" y="118"/>
                    <a:pt x="154" y="48"/>
                    <a:pt x="80" y="3"/>
                  </a:cubicBezTo>
                  <a:cubicBezTo>
                    <a:pt x="78" y="1"/>
                    <a:pt x="75" y="0"/>
                    <a:pt x="72" y="0"/>
                  </a:cubicBezTo>
                  <a:cubicBezTo>
                    <a:pt x="65" y="0"/>
                    <a:pt x="59" y="4"/>
                    <a:pt x="55" y="11"/>
                  </a:cubicBezTo>
                  <a:cubicBezTo>
                    <a:pt x="5" y="115"/>
                    <a:pt x="5" y="115"/>
                    <a:pt x="5" y="115"/>
                  </a:cubicBezTo>
                  <a:cubicBezTo>
                    <a:pt x="0" y="125"/>
                    <a:pt x="4" y="139"/>
                    <a:pt x="14" y="146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innerShdw blurRad="25400">
                <a:prstClr val="black"/>
              </a:inn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" name="Freeform 73">
              <a:extLst>
                <a:ext uri="{FF2B5EF4-FFF2-40B4-BE49-F238E27FC236}">
                  <a16:creationId xmlns:a16="http://schemas.microsoft.com/office/drawing/2014/main" id="{5011041C-C30E-4E4D-38C6-B04EE23B761D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35350" y="4619625"/>
              <a:ext cx="896938" cy="938213"/>
            </a:xfrm>
            <a:custGeom>
              <a:avLst/>
              <a:gdLst>
                <a:gd name="T0" fmla="*/ 15 w 239"/>
                <a:gd name="T1" fmla="*/ 222 h 250"/>
                <a:gd name="T2" fmla="*/ 128 w 239"/>
                <a:gd name="T3" fmla="*/ 248 h 250"/>
                <a:gd name="T4" fmla="*/ 156 w 239"/>
                <a:gd name="T5" fmla="*/ 233 h 250"/>
                <a:gd name="T6" fmla="*/ 225 w 239"/>
                <a:gd name="T7" fmla="*/ 146 h 250"/>
                <a:gd name="T8" fmla="*/ 234 w 239"/>
                <a:gd name="T9" fmla="*/ 115 h 250"/>
                <a:gd name="T10" fmla="*/ 183 w 239"/>
                <a:gd name="T11" fmla="*/ 11 h 250"/>
                <a:gd name="T12" fmla="*/ 167 w 239"/>
                <a:gd name="T13" fmla="*/ 0 h 250"/>
                <a:gd name="T14" fmla="*/ 158 w 239"/>
                <a:gd name="T15" fmla="*/ 3 h 250"/>
                <a:gd name="T16" fmla="*/ 1 w 239"/>
                <a:gd name="T17" fmla="*/ 200 h 250"/>
                <a:gd name="T18" fmla="*/ 2 w 239"/>
                <a:gd name="T19" fmla="*/ 213 h 250"/>
                <a:gd name="T20" fmla="*/ 15 w 239"/>
                <a:gd name="T21" fmla="*/ 222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9" h="250">
                  <a:moveTo>
                    <a:pt x="15" y="222"/>
                  </a:moveTo>
                  <a:cubicBezTo>
                    <a:pt x="128" y="248"/>
                    <a:pt x="128" y="248"/>
                    <a:pt x="128" y="248"/>
                  </a:cubicBezTo>
                  <a:cubicBezTo>
                    <a:pt x="139" y="250"/>
                    <a:pt x="151" y="243"/>
                    <a:pt x="156" y="233"/>
                  </a:cubicBezTo>
                  <a:cubicBezTo>
                    <a:pt x="171" y="198"/>
                    <a:pt x="195" y="169"/>
                    <a:pt x="225" y="146"/>
                  </a:cubicBezTo>
                  <a:cubicBezTo>
                    <a:pt x="235" y="139"/>
                    <a:pt x="239" y="125"/>
                    <a:pt x="234" y="115"/>
                  </a:cubicBezTo>
                  <a:cubicBezTo>
                    <a:pt x="183" y="11"/>
                    <a:pt x="183" y="11"/>
                    <a:pt x="183" y="11"/>
                  </a:cubicBezTo>
                  <a:cubicBezTo>
                    <a:pt x="180" y="4"/>
                    <a:pt x="174" y="0"/>
                    <a:pt x="167" y="0"/>
                  </a:cubicBezTo>
                  <a:cubicBezTo>
                    <a:pt x="164" y="0"/>
                    <a:pt x="161" y="1"/>
                    <a:pt x="158" y="3"/>
                  </a:cubicBezTo>
                  <a:cubicBezTo>
                    <a:pt x="85" y="48"/>
                    <a:pt x="29" y="118"/>
                    <a:pt x="1" y="200"/>
                  </a:cubicBezTo>
                  <a:cubicBezTo>
                    <a:pt x="0" y="204"/>
                    <a:pt x="0" y="209"/>
                    <a:pt x="2" y="213"/>
                  </a:cubicBezTo>
                  <a:cubicBezTo>
                    <a:pt x="5" y="218"/>
                    <a:pt x="9" y="221"/>
                    <a:pt x="15" y="22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>
              <a:innerShdw blurRad="25400">
                <a:prstClr val="black"/>
              </a:inn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" name="Freeform 74">
              <a:extLst>
                <a:ext uri="{FF2B5EF4-FFF2-40B4-BE49-F238E27FC236}">
                  <a16:creationId xmlns:a16="http://schemas.microsoft.com/office/drawing/2014/main" id="{65A81F9F-7712-0FE3-D32C-FE8A44452CCB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09775" y="6443663"/>
              <a:ext cx="946150" cy="803275"/>
            </a:xfrm>
            <a:custGeom>
              <a:avLst/>
              <a:gdLst>
                <a:gd name="T0" fmla="*/ 244 w 252"/>
                <a:gd name="T1" fmla="*/ 77 h 214"/>
                <a:gd name="T2" fmla="*/ 153 w 252"/>
                <a:gd name="T3" fmla="*/ 5 h 214"/>
                <a:gd name="T4" fmla="*/ 139 w 252"/>
                <a:gd name="T5" fmla="*/ 0 h 214"/>
                <a:gd name="T6" fmla="*/ 122 w 252"/>
                <a:gd name="T7" fmla="*/ 7 h 214"/>
                <a:gd name="T8" fmla="*/ 22 w 252"/>
                <a:gd name="T9" fmla="*/ 55 h 214"/>
                <a:gd name="T10" fmla="*/ 0 w 252"/>
                <a:gd name="T11" fmla="*/ 79 h 214"/>
                <a:gd name="T12" fmla="*/ 0 w 252"/>
                <a:gd name="T13" fmla="*/ 195 h 214"/>
                <a:gd name="T14" fmla="*/ 19 w 252"/>
                <a:gd name="T15" fmla="*/ 213 h 214"/>
                <a:gd name="T16" fmla="*/ 246 w 252"/>
                <a:gd name="T17" fmla="*/ 103 h 214"/>
                <a:gd name="T18" fmla="*/ 251 w 252"/>
                <a:gd name="T19" fmla="*/ 91 h 214"/>
                <a:gd name="T20" fmla="*/ 244 w 252"/>
                <a:gd name="T21" fmla="*/ 77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2" h="214">
                  <a:moveTo>
                    <a:pt x="244" y="77"/>
                  </a:moveTo>
                  <a:cubicBezTo>
                    <a:pt x="153" y="5"/>
                    <a:pt x="153" y="5"/>
                    <a:pt x="153" y="5"/>
                  </a:cubicBezTo>
                  <a:cubicBezTo>
                    <a:pt x="150" y="2"/>
                    <a:pt x="145" y="0"/>
                    <a:pt x="139" y="0"/>
                  </a:cubicBezTo>
                  <a:cubicBezTo>
                    <a:pt x="133" y="0"/>
                    <a:pt x="126" y="3"/>
                    <a:pt x="122" y="7"/>
                  </a:cubicBezTo>
                  <a:cubicBezTo>
                    <a:pt x="93" y="31"/>
                    <a:pt x="58" y="48"/>
                    <a:pt x="22" y="55"/>
                  </a:cubicBezTo>
                  <a:cubicBezTo>
                    <a:pt x="10" y="57"/>
                    <a:pt x="0" y="68"/>
                    <a:pt x="0" y="79"/>
                  </a:cubicBezTo>
                  <a:cubicBezTo>
                    <a:pt x="0" y="195"/>
                    <a:pt x="0" y="195"/>
                    <a:pt x="0" y="195"/>
                  </a:cubicBezTo>
                  <a:cubicBezTo>
                    <a:pt x="0" y="206"/>
                    <a:pt x="9" y="214"/>
                    <a:pt x="19" y="213"/>
                  </a:cubicBezTo>
                  <a:cubicBezTo>
                    <a:pt x="105" y="204"/>
                    <a:pt x="185" y="165"/>
                    <a:pt x="246" y="103"/>
                  </a:cubicBezTo>
                  <a:cubicBezTo>
                    <a:pt x="250" y="100"/>
                    <a:pt x="252" y="95"/>
                    <a:pt x="251" y="91"/>
                  </a:cubicBezTo>
                  <a:cubicBezTo>
                    <a:pt x="251" y="86"/>
                    <a:pt x="248" y="81"/>
                    <a:pt x="244" y="77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innerShdw blurRad="25400">
                <a:prstClr val="black"/>
              </a:inn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2" name="Freeform 75">
              <a:extLst>
                <a:ext uri="{FF2B5EF4-FFF2-40B4-BE49-F238E27FC236}">
                  <a16:creationId xmlns:a16="http://schemas.microsoft.com/office/drawing/2014/main" id="{1615D301-E013-8704-FA93-E6BFA9457768}"/>
                </a:ext>
              </a:extLst>
            </p:cNvPr>
            <p:cNvSpPr>
              <a:spLocks/>
            </p:cNvSpPr>
            <p:nvPr/>
          </p:nvSpPr>
          <p:spPr bwMode="auto">
            <a:xfrm>
              <a:off x="-3116263" y="6443663"/>
              <a:ext cx="941388" cy="800100"/>
            </a:xfrm>
            <a:custGeom>
              <a:avLst/>
              <a:gdLst>
                <a:gd name="T0" fmla="*/ 230 w 251"/>
                <a:gd name="T1" fmla="*/ 55 h 213"/>
                <a:gd name="T2" fmla="*/ 130 w 251"/>
                <a:gd name="T3" fmla="*/ 7 h 213"/>
                <a:gd name="T4" fmla="*/ 112 w 251"/>
                <a:gd name="T5" fmla="*/ 0 h 213"/>
                <a:gd name="T6" fmla="*/ 98 w 251"/>
                <a:gd name="T7" fmla="*/ 5 h 213"/>
                <a:gd name="T8" fmla="*/ 8 w 251"/>
                <a:gd name="T9" fmla="*/ 77 h 213"/>
                <a:gd name="T10" fmla="*/ 0 w 251"/>
                <a:gd name="T11" fmla="*/ 91 h 213"/>
                <a:gd name="T12" fmla="*/ 5 w 251"/>
                <a:gd name="T13" fmla="*/ 103 h 213"/>
                <a:gd name="T14" fmla="*/ 232 w 251"/>
                <a:gd name="T15" fmla="*/ 213 h 213"/>
                <a:gd name="T16" fmla="*/ 234 w 251"/>
                <a:gd name="T17" fmla="*/ 213 h 213"/>
                <a:gd name="T18" fmla="*/ 246 w 251"/>
                <a:gd name="T19" fmla="*/ 208 h 213"/>
                <a:gd name="T20" fmla="*/ 251 w 251"/>
                <a:gd name="T21" fmla="*/ 195 h 213"/>
                <a:gd name="T22" fmla="*/ 251 w 251"/>
                <a:gd name="T23" fmla="*/ 79 h 213"/>
                <a:gd name="T24" fmla="*/ 230 w 251"/>
                <a:gd name="T25" fmla="*/ 55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1" h="213">
                  <a:moveTo>
                    <a:pt x="230" y="55"/>
                  </a:moveTo>
                  <a:cubicBezTo>
                    <a:pt x="193" y="48"/>
                    <a:pt x="159" y="31"/>
                    <a:pt x="130" y="7"/>
                  </a:cubicBezTo>
                  <a:cubicBezTo>
                    <a:pt x="125" y="3"/>
                    <a:pt x="119" y="0"/>
                    <a:pt x="112" y="0"/>
                  </a:cubicBezTo>
                  <a:cubicBezTo>
                    <a:pt x="107" y="0"/>
                    <a:pt x="102" y="2"/>
                    <a:pt x="98" y="5"/>
                  </a:cubicBezTo>
                  <a:cubicBezTo>
                    <a:pt x="8" y="77"/>
                    <a:pt x="8" y="77"/>
                    <a:pt x="8" y="77"/>
                  </a:cubicBezTo>
                  <a:cubicBezTo>
                    <a:pt x="3" y="81"/>
                    <a:pt x="1" y="86"/>
                    <a:pt x="0" y="91"/>
                  </a:cubicBezTo>
                  <a:cubicBezTo>
                    <a:pt x="0" y="95"/>
                    <a:pt x="2" y="100"/>
                    <a:pt x="5" y="103"/>
                  </a:cubicBezTo>
                  <a:cubicBezTo>
                    <a:pt x="66" y="165"/>
                    <a:pt x="147" y="204"/>
                    <a:pt x="232" y="213"/>
                  </a:cubicBezTo>
                  <a:cubicBezTo>
                    <a:pt x="233" y="213"/>
                    <a:pt x="234" y="213"/>
                    <a:pt x="234" y="213"/>
                  </a:cubicBezTo>
                  <a:cubicBezTo>
                    <a:pt x="239" y="213"/>
                    <a:pt x="243" y="211"/>
                    <a:pt x="246" y="208"/>
                  </a:cubicBezTo>
                  <a:cubicBezTo>
                    <a:pt x="250" y="205"/>
                    <a:pt x="251" y="200"/>
                    <a:pt x="251" y="195"/>
                  </a:cubicBezTo>
                  <a:cubicBezTo>
                    <a:pt x="251" y="79"/>
                    <a:pt x="251" y="79"/>
                    <a:pt x="251" y="79"/>
                  </a:cubicBezTo>
                  <a:cubicBezTo>
                    <a:pt x="251" y="68"/>
                    <a:pt x="242" y="57"/>
                    <a:pt x="230" y="55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innerShdw blurRad="25400">
                <a:prstClr val="black"/>
              </a:inn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3" name="Freeform 20">
              <a:extLst>
                <a:ext uri="{FF2B5EF4-FFF2-40B4-BE49-F238E27FC236}">
                  <a16:creationId xmlns:a16="http://schemas.microsoft.com/office/drawing/2014/main" id="{83CCBC60-7F86-6E8E-2A07-ED09CB5886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670175" y="4352925"/>
              <a:ext cx="1158875" cy="735013"/>
            </a:xfrm>
            <a:custGeom>
              <a:avLst/>
              <a:gdLst>
                <a:gd name="T0" fmla="*/ 305 w 309"/>
                <a:gd name="T1" fmla="*/ 41 h 196"/>
                <a:gd name="T2" fmla="*/ 286 w 309"/>
                <a:gd name="T3" fmla="*/ 23 h 196"/>
                <a:gd name="T4" fmla="*/ 154 w 309"/>
                <a:gd name="T5" fmla="*/ 0 h 196"/>
                <a:gd name="T6" fmla="*/ 23 w 309"/>
                <a:gd name="T7" fmla="*/ 23 h 196"/>
                <a:gd name="T8" fmla="*/ 4 w 309"/>
                <a:gd name="T9" fmla="*/ 41 h 196"/>
                <a:gd name="T10" fmla="*/ 5 w 309"/>
                <a:gd name="T11" fmla="*/ 69 h 196"/>
                <a:gd name="T12" fmla="*/ 55 w 309"/>
                <a:gd name="T13" fmla="*/ 174 h 196"/>
                <a:gd name="T14" fmla="*/ 92 w 309"/>
                <a:gd name="T15" fmla="*/ 196 h 196"/>
                <a:gd name="T16" fmla="*/ 103 w 309"/>
                <a:gd name="T17" fmla="*/ 195 h 196"/>
                <a:gd name="T18" fmla="*/ 206 w 309"/>
                <a:gd name="T19" fmla="*/ 195 h 196"/>
                <a:gd name="T20" fmla="*/ 217 w 309"/>
                <a:gd name="T21" fmla="*/ 196 h 196"/>
                <a:gd name="T22" fmla="*/ 254 w 309"/>
                <a:gd name="T23" fmla="*/ 174 h 196"/>
                <a:gd name="T24" fmla="*/ 304 w 309"/>
                <a:gd name="T25" fmla="*/ 69 h 196"/>
                <a:gd name="T26" fmla="*/ 305 w 309"/>
                <a:gd name="T27" fmla="*/ 41 h 196"/>
                <a:gd name="T28" fmla="*/ 217 w 309"/>
                <a:gd name="T29" fmla="*/ 180 h 196"/>
                <a:gd name="T30" fmla="*/ 210 w 309"/>
                <a:gd name="T31" fmla="*/ 179 h 196"/>
                <a:gd name="T32" fmla="*/ 154 w 309"/>
                <a:gd name="T33" fmla="*/ 172 h 196"/>
                <a:gd name="T34" fmla="*/ 99 w 309"/>
                <a:gd name="T35" fmla="*/ 179 h 196"/>
                <a:gd name="T36" fmla="*/ 92 w 309"/>
                <a:gd name="T37" fmla="*/ 180 h 196"/>
                <a:gd name="T38" fmla="*/ 69 w 309"/>
                <a:gd name="T39" fmla="*/ 167 h 196"/>
                <a:gd name="T40" fmla="*/ 19 w 309"/>
                <a:gd name="T41" fmla="*/ 62 h 196"/>
                <a:gd name="T42" fmla="*/ 18 w 309"/>
                <a:gd name="T43" fmla="*/ 47 h 196"/>
                <a:gd name="T44" fmla="*/ 28 w 309"/>
                <a:gd name="T45" fmla="*/ 38 h 196"/>
                <a:gd name="T46" fmla="*/ 154 w 309"/>
                <a:gd name="T47" fmla="*/ 16 h 196"/>
                <a:gd name="T48" fmla="*/ 281 w 309"/>
                <a:gd name="T49" fmla="*/ 38 h 196"/>
                <a:gd name="T50" fmla="*/ 290 w 309"/>
                <a:gd name="T51" fmla="*/ 47 h 196"/>
                <a:gd name="T52" fmla="*/ 290 w 309"/>
                <a:gd name="T53" fmla="*/ 62 h 196"/>
                <a:gd name="T54" fmla="*/ 239 w 309"/>
                <a:gd name="T55" fmla="*/ 167 h 196"/>
                <a:gd name="T56" fmla="*/ 217 w 309"/>
                <a:gd name="T57" fmla="*/ 180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09" h="196">
                  <a:moveTo>
                    <a:pt x="305" y="41"/>
                  </a:moveTo>
                  <a:cubicBezTo>
                    <a:pt x="302" y="33"/>
                    <a:pt x="295" y="26"/>
                    <a:pt x="286" y="23"/>
                  </a:cubicBezTo>
                  <a:cubicBezTo>
                    <a:pt x="244" y="8"/>
                    <a:pt x="199" y="0"/>
                    <a:pt x="154" y="0"/>
                  </a:cubicBezTo>
                  <a:cubicBezTo>
                    <a:pt x="109" y="0"/>
                    <a:pt x="65" y="8"/>
                    <a:pt x="23" y="23"/>
                  </a:cubicBezTo>
                  <a:cubicBezTo>
                    <a:pt x="14" y="26"/>
                    <a:pt x="7" y="33"/>
                    <a:pt x="4" y="41"/>
                  </a:cubicBezTo>
                  <a:cubicBezTo>
                    <a:pt x="0" y="50"/>
                    <a:pt x="0" y="60"/>
                    <a:pt x="5" y="69"/>
                  </a:cubicBezTo>
                  <a:cubicBezTo>
                    <a:pt x="55" y="174"/>
                    <a:pt x="55" y="174"/>
                    <a:pt x="55" y="174"/>
                  </a:cubicBezTo>
                  <a:cubicBezTo>
                    <a:pt x="61" y="187"/>
                    <a:pt x="76" y="196"/>
                    <a:pt x="92" y="196"/>
                  </a:cubicBezTo>
                  <a:cubicBezTo>
                    <a:pt x="96" y="196"/>
                    <a:pt x="99" y="196"/>
                    <a:pt x="103" y="195"/>
                  </a:cubicBezTo>
                  <a:cubicBezTo>
                    <a:pt x="136" y="186"/>
                    <a:pt x="172" y="186"/>
                    <a:pt x="206" y="195"/>
                  </a:cubicBezTo>
                  <a:cubicBezTo>
                    <a:pt x="209" y="196"/>
                    <a:pt x="213" y="196"/>
                    <a:pt x="217" y="196"/>
                  </a:cubicBezTo>
                  <a:cubicBezTo>
                    <a:pt x="233" y="196"/>
                    <a:pt x="247" y="187"/>
                    <a:pt x="254" y="174"/>
                  </a:cubicBezTo>
                  <a:cubicBezTo>
                    <a:pt x="304" y="69"/>
                    <a:pt x="304" y="69"/>
                    <a:pt x="304" y="69"/>
                  </a:cubicBezTo>
                  <a:cubicBezTo>
                    <a:pt x="309" y="60"/>
                    <a:pt x="309" y="50"/>
                    <a:pt x="305" y="41"/>
                  </a:cubicBezTo>
                  <a:close/>
                  <a:moveTo>
                    <a:pt x="217" y="180"/>
                  </a:moveTo>
                  <a:cubicBezTo>
                    <a:pt x="214" y="180"/>
                    <a:pt x="212" y="180"/>
                    <a:pt x="210" y="179"/>
                  </a:cubicBezTo>
                  <a:cubicBezTo>
                    <a:pt x="192" y="175"/>
                    <a:pt x="173" y="172"/>
                    <a:pt x="154" y="172"/>
                  </a:cubicBezTo>
                  <a:cubicBezTo>
                    <a:pt x="136" y="172"/>
                    <a:pt x="117" y="175"/>
                    <a:pt x="99" y="179"/>
                  </a:cubicBezTo>
                  <a:cubicBezTo>
                    <a:pt x="97" y="180"/>
                    <a:pt x="94" y="180"/>
                    <a:pt x="92" y="180"/>
                  </a:cubicBezTo>
                  <a:cubicBezTo>
                    <a:pt x="82" y="180"/>
                    <a:pt x="73" y="175"/>
                    <a:pt x="69" y="167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7" y="58"/>
                    <a:pt x="16" y="52"/>
                    <a:pt x="18" y="47"/>
                  </a:cubicBezTo>
                  <a:cubicBezTo>
                    <a:pt x="20" y="43"/>
                    <a:pt x="24" y="40"/>
                    <a:pt x="28" y="38"/>
                  </a:cubicBezTo>
                  <a:cubicBezTo>
                    <a:pt x="69" y="24"/>
                    <a:pt x="111" y="16"/>
                    <a:pt x="154" y="16"/>
                  </a:cubicBezTo>
                  <a:cubicBezTo>
                    <a:pt x="198" y="16"/>
                    <a:pt x="240" y="24"/>
                    <a:pt x="281" y="38"/>
                  </a:cubicBezTo>
                  <a:cubicBezTo>
                    <a:pt x="285" y="40"/>
                    <a:pt x="289" y="43"/>
                    <a:pt x="290" y="47"/>
                  </a:cubicBezTo>
                  <a:cubicBezTo>
                    <a:pt x="292" y="52"/>
                    <a:pt x="292" y="58"/>
                    <a:pt x="290" y="62"/>
                  </a:cubicBezTo>
                  <a:cubicBezTo>
                    <a:pt x="239" y="167"/>
                    <a:pt x="239" y="167"/>
                    <a:pt x="239" y="167"/>
                  </a:cubicBezTo>
                  <a:cubicBezTo>
                    <a:pt x="236" y="175"/>
                    <a:pt x="227" y="180"/>
                    <a:pt x="217" y="18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22000"/>
                </a:prstClr>
              </a:outerShdw>
            </a:effec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4" name="Freeform 21">
              <a:extLst>
                <a:ext uri="{FF2B5EF4-FFF2-40B4-BE49-F238E27FC236}">
                  <a16:creationId xmlns:a16="http://schemas.microsoft.com/office/drawing/2014/main" id="{845C8ED4-B255-CE27-6D0C-805D1CAC03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570288" y="5554663"/>
              <a:ext cx="828675" cy="1125538"/>
            </a:xfrm>
            <a:custGeom>
              <a:avLst/>
              <a:gdLst>
                <a:gd name="T0" fmla="*/ 211 w 221"/>
                <a:gd name="T1" fmla="*/ 169 h 300"/>
                <a:gd name="T2" fmla="*/ 188 w 221"/>
                <a:gd name="T3" fmla="*/ 74 h 300"/>
                <a:gd name="T4" fmla="*/ 189 w 221"/>
                <a:gd name="T5" fmla="*/ 58 h 300"/>
                <a:gd name="T6" fmla="*/ 158 w 221"/>
                <a:gd name="T7" fmla="*/ 26 h 300"/>
                <a:gd name="T8" fmla="*/ 44 w 221"/>
                <a:gd name="T9" fmla="*/ 0 h 300"/>
                <a:gd name="T10" fmla="*/ 36 w 221"/>
                <a:gd name="T11" fmla="*/ 0 h 300"/>
                <a:gd name="T12" fmla="*/ 3 w 221"/>
                <a:gd name="T13" fmla="*/ 29 h 300"/>
                <a:gd name="T14" fmla="*/ 0 w 221"/>
                <a:gd name="T15" fmla="*/ 74 h 300"/>
                <a:gd name="T16" fmla="*/ 62 w 221"/>
                <a:gd name="T17" fmla="*/ 285 h 300"/>
                <a:gd name="T18" fmla="*/ 89 w 221"/>
                <a:gd name="T19" fmla="*/ 300 h 300"/>
                <a:gd name="T20" fmla="*/ 89 w 221"/>
                <a:gd name="T21" fmla="*/ 300 h 300"/>
                <a:gd name="T22" fmla="*/ 111 w 221"/>
                <a:gd name="T23" fmla="*/ 292 h 300"/>
                <a:gd name="T24" fmla="*/ 202 w 221"/>
                <a:gd name="T25" fmla="*/ 220 h 300"/>
                <a:gd name="T26" fmla="*/ 211 w 221"/>
                <a:gd name="T27" fmla="*/ 169 h 300"/>
                <a:gd name="T28" fmla="*/ 192 w 221"/>
                <a:gd name="T29" fmla="*/ 208 h 300"/>
                <a:gd name="T30" fmla="*/ 101 w 221"/>
                <a:gd name="T31" fmla="*/ 280 h 300"/>
                <a:gd name="T32" fmla="*/ 89 w 221"/>
                <a:gd name="T33" fmla="*/ 284 h 300"/>
                <a:gd name="T34" fmla="*/ 89 w 221"/>
                <a:gd name="T35" fmla="*/ 284 h 300"/>
                <a:gd name="T36" fmla="*/ 75 w 221"/>
                <a:gd name="T37" fmla="*/ 276 h 300"/>
                <a:gd name="T38" fmla="*/ 16 w 221"/>
                <a:gd name="T39" fmla="*/ 74 h 300"/>
                <a:gd name="T40" fmla="*/ 19 w 221"/>
                <a:gd name="T41" fmla="*/ 31 h 300"/>
                <a:gd name="T42" fmla="*/ 36 w 221"/>
                <a:gd name="T43" fmla="*/ 16 h 300"/>
                <a:gd name="T44" fmla="*/ 41 w 221"/>
                <a:gd name="T45" fmla="*/ 16 h 300"/>
                <a:gd name="T46" fmla="*/ 154 w 221"/>
                <a:gd name="T47" fmla="*/ 42 h 300"/>
                <a:gd name="T48" fmla="*/ 173 w 221"/>
                <a:gd name="T49" fmla="*/ 57 h 300"/>
                <a:gd name="T50" fmla="*/ 172 w 221"/>
                <a:gd name="T51" fmla="*/ 74 h 300"/>
                <a:gd name="T52" fmla="*/ 197 w 221"/>
                <a:gd name="T53" fmla="*/ 176 h 300"/>
                <a:gd name="T54" fmla="*/ 192 w 221"/>
                <a:gd name="T55" fmla="*/ 208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21" h="300">
                  <a:moveTo>
                    <a:pt x="211" y="169"/>
                  </a:moveTo>
                  <a:cubicBezTo>
                    <a:pt x="196" y="139"/>
                    <a:pt x="188" y="107"/>
                    <a:pt x="188" y="74"/>
                  </a:cubicBezTo>
                  <a:cubicBezTo>
                    <a:pt x="188" y="69"/>
                    <a:pt x="189" y="63"/>
                    <a:pt x="189" y="58"/>
                  </a:cubicBezTo>
                  <a:cubicBezTo>
                    <a:pt x="190" y="44"/>
                    <a:pt x="177" y="31"/>
                    <a:pt x="158" y="26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42" y="0"/>
                    <a:pt x="39" y="0"/>
                    <a:pt x="36" y="0"/>
                  </a:cubicBezTo>
                  <a:cubicBezTo>
                    <a:pt x="19" y="0"/>
                    <a:pt x="5" y="12"/>
                    <a:pt x="3" y="29"/>
                  </a:cubicBezTo>
                  <a:cubicBezTo>
                    <a:pt x="1" y="44"/>
                    <a:pt x="0" y="59"/>
                    <a:pt x="0" y="74"/>
                  </a:cubicBezTo>
                  <a:cubicBezTo>
                    <a:pt x="0" y="149"/>
                    <a:pt x="22" y="222"/>
                    <a:pt x="62" y="285"/>
                  </a:cubicBezTo>
                  <a:cubicBezTo>
                    <a:pt x="68" y="294"/>
                    <a:pt x="78" y="300"/>
                    <a:pt x="89" y="300"/>
                  </a:cubicBezTo>
                  <a:cubicBezTo>
                    <a:pt x="89" y="300"/>
                    <a:pt x="89" y="300"/>
                    <a:pt x="89" y="300"/>
                  </a:cubicBezTo>
                  <a:cubicBezTo>
                    <a:pt x="97" y="300"/>
                    <a:pt x="105" y="297"/>
                    <a:pt x="111" y="292"/>
                  </a:cubicBezTo>
                  <a:cubicBezTo>
                    <a:pt x="202" y="220"/>
                    <a:pt x="202" y="220"/>
                    <a:pt x="202" y="220"/>
                  </a:cubicBezTo>
                  <a:cubicBezTo>
                    <a:pt x="217" y="208"/>
                    <a:pt x="221" y="186"/>
                    <a:pt x="211" y="169"/>
                  </a:cubicBezTo>
                  <a:close/>
                  <a:moveTo>
                    <a:pt x="192" y="208"/>
                  </a:moveTo>
                  <a:cubicBezTo>
                    <a:pt x="101" y="280"/>
                    <a:pt x="101" y="280"/>
                    <a:pt x="101" y="280"/>
                  </a:cubicBezTo>
                  <a:cubicBezTo>
                    <a:pt x="98" y="283"/>
                    <a:pt x="94" y="284"/>
                    <a:pt x="89" y="284"/>
                  </a:cubicBezTo>
                  <a:cubicBezTo>
                    <a:pt x="89" y="284"/>
                    <a:pt x="89" y="284"/>
                    <a:pt x="89" y="284"/>
                  </a:cubicBezTo>
                  <a:cubicBezTo>
                    <a:pt x="84" y="284"/>
                    <a:pt x="78" y="281"/>
                    <a:pt x="75" y="276"/>
                  </a:cubicBezTo>
                  <a:cubicBezTo>
                    <a:pt x="37" y="216"/>
                    <a:pt x="16" y="146"/>
                    <a:pt x="16" y="74"/>
                  </a:cubicBezTo>
                  <a:cubicBezTo>
                    <a:pt x="16" y="60"/>
                    <a:pt x="17" y="45"/>
                    <a:pt x="19" y="31"/>
                  </a:cubicBezTo>
                  <a:cubicBezTo>
                    <a:pt x="20" y="22"/>
                    <a:pt x="27" y="16"/>
                    <a:pt x="36" y="16"/>
                  </a:cubicBezTo>
                  <a:cubicBezTo>
                    <a:pt x="38" y="16"/>
                    <a:pt x="39" y="16"/>
                    <a:pt x="41" y="16"/>
                  </a:cubicBezTo>
                  <a:cubicBezTo>
                    <a:pt x="154" y="42"/>
                    <a:pt x="154" y="42"/>
                    <a:pt x="154" y="42"/>
                  </a:cubicBezTo>
                  <a:cubicBezTo>
                    <a:pt x="166" y="45"/>
                    <a:pt x="173" y="52"/>
                    <a:pt x="173" y="57"/>
                  </a:cubicBezTo>
                  <a:cubicBezTo>
                    <a:pt x="173" y="62"/>
                    <a:pt x="172" y="68"/>
                    <a:pt x="172" y="74"/>
                  </a:cubicBezTo>
                  <a:cubicBezTo>
                    <a:pt x="172" y="110"/>
                    <a:pt x="181" y="145"/>
                    <a:pt x="197" y="176"/>
                  </a:cubicBezTo>
                  <a:cubicBezTo>
                    <a:pt x="203" y="187"/>
                    <a:pt x="201" y="201"/>
                    <a:pt x="192" y="20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22000"/>
                </a:prstClr>
              </a:outerShdw>
            </a:effec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5" name="Freeform 22">
              <a:extLst>
                <a:ext uri="{FF2B5EF4-FFF2-40B4-BE49-F238E27FC236}">
                  <a16:creationId xmlns:a16="http://schemas.microsoft.com/office/drawing/2014/main" id="{7AD1213E-91DB-B6B5-45EF-86A1F72EA9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439863" y="5554663"/>
              <a:ext cx="825500" cy="1125538"/>
            </a:xfrm>
            <a:custGeom>
              <a:avLst/>
              <a:gdLst>
                <a:gd name="T0" fmla="*/ 218 w 220"/>
                <a:gd name="T1" fmla="*/ 29 h 300"/>
                <a:gd name="T2" fmla="*/ 185 w 220"/>
                <a:gd name="T3" fmla="*/ 0 h 300"/>
                <a:gd name="T4" fmla="*/ 177 w 220"/>
                <a:gd name="T5" fmla="*/ 0 h 300"/>
                <a:gd name="T6" fmla="*/ 63 w 220"/>
                <a:gd name="T7" fmla="*/ 26 h 300"/>
                <a:gd name="T8" fmla="*/ 32 w 220"/>
                <a:gd name="T9" fmla="*/ 58 h 300"/>
                <a:gd name="T10" fmla="*/ 32 w 220"/>
                <a:gd name="T11" fmla="*/ 74 h 300"/>
                <a:gd name="T12" fmla="*/ 9 w 220"/>
                <a:gd name="T13" fmla="*/ 169 h 300"/>
                <a:gd name="T14" fmla="*/ 19 w 220"/>
                <a:gd name="T15" fmla="*/ 220 h 300"/>
                <a:gd name="T16" fmla="*/ 110 w 220"/>
                <a:gd name="T17" fmla="*/ 292 h 300"/>
                <a:gd name="T18" fmla="*/ 131 w 220"/>
                <a:gd name="T19" fmla="*/ 300 h 300"/>
                <a:gd name="T20" fmla="*/ 131 w 220"/>
                <a:gd name="T21" fmla="*/ 300 h 300"/>
                <a:gd name="T22" fmla="*/ 159 w 220"/>
                <a:gd name="T23" fmla="*/ 285 h 300"/>
                <a:gd name="T24" fmla="*/ 220 w 220"/>
                <a:gd name="T25" fmla="*/ 74 h 300"/>
                <a:gd name="T26" fmla="*/ 218 w 220"/>
                <a:gd name="T27" fmla="*/ 29 h 300"/>
                <a:gd name="T28" fmla="*/ 131 w 220"/>
                <a:gd name="T29" fmla="*/ 284 h 300"/>
                <a:gd name="T30" fmla="*/ 120 w 220"/>
                <a:gd name="T31" fmla="*/ 280 h 300"/>
                <a:gd name="T32" fmla="*/ 29 w 220"/>
                <a:gd name="T33" fmla="*/ 208 h 300"/>
                <a:gd name="T34" fmla="*/ 24 w 220"/>
                <a:gd name="T35" fmla="*/ 176 h 300"/>
                <a:gd name="T36" fmla="*/ 48 w 220"/>
                <a:gd name="T37" fmla="*/ 74 h 300"/>
                <a:gd name="T38" fmla="*/ 48 w 220"/>
                <a:gd name="T39" fmla="*/ 57 h 300"/>
                <a:gd name="T40" fmla="*/ 67 w 220"/>
                <a:gd name="T41" fmla="*/ 42 h 300"/>
                <a:gd name="T42" fmla="*/ 180 w 220"/>
                <a:gd name="T43" fmla="*/ 16 h 300"/>
                <a:gd name="T44" fmla="*/ 185 w 220"/>
                <a:gd name="T45" fmla="*/ 16 h 300"/>
                <a:gd name="T46" fmla="*/ 202 w 220"/>
                <a:gd name="T47" fmla="*/ 31 h 300"/>
                <a:gd name="T48" fmla="*/ 204 w 220"/>
                <a:gd name="T49" fmla="*/ 74 h 300"/>
                <a:gd name="T50" fmla="*/ 146 w 220"/>
                <a:gd name="T51" fmla="*/ 276 h 300"/>
                <a:gd name="T52" fmla="*/ 131 w 220"/>
                <a:gd name="T53" fmla="*/ 284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20" h="300">
                  <a:moveTo>
                    <a:pt x="218" y="29"/>
                  </a:moveTo>
                  <a:cubicBezTo>
                    <a:pt x="216" y="12"/>
                    <a:pt x="202" y="0"/>
                    <a:pt x="185" y="0"/>
                  </a:cubicBezTo>
                  <a:cubicBezTo>
                    <a:pt x="182" y="0"/>
                    <a:pt x="179" y="0"/>
                    <a:pt x="177" y="0"/>
                  </a:cubicBezTo>
                  <a:cubicBezTo>
                    <a:pt x="63" y="26"/>
                    <a:pt x="63" y="26"/>
                    <a:pt x="63" y="26"/>
                  </a:cubicBezTo>
                  <a:cubicBezTo>
                    <a:pt x="44" y="31"/>
                    <a:pt x="31" y="44"/>
                    <a:pt x="32" y="58"/>
                  </a:cubicBezTo>
                  <a:cubicBezTo>
                    <a:pt x="32" y="63"/>
                    <a:pt x="32" y="69"/>
                    <a:pt x="32" y="74"/>
                  </a:cubicBezTo>
                  <a:cubicBezTo>
                    <a:pt x="32" y="107"/>
                    <a:pt x="25" y="139"/>
                    <a:pt x="9" y="169"/>
                  </a:cubicBezTo>
                  <a:cubicBezTo>
                    <a:pt x="0" y="186"/>
                    <a:pt x="4" y="208"/>
                    <a:pt x="19" y="220"/>
                  </a:cubicBezTo>
                  <a:cubicBezTo>
                    <a:pt x="110" y="292"/>
                    <a:pt x="110" y="292"/>
                    <a:pt x="110" y="292"/>
                  </a:cubicBezTo>
                  <a:cubicBezTo>
                    <a:pt x="116" y="297"/>
                    <a:pt x="124" y="300"/>
                    <a:pt x="131" y="300"/>
                  </a:cubicBezTo>
                  <a:cubicBezTo>
                    <a:pt x="131" y="300"/>
                    <a:pt x="131" y="300"/>
                    <a:pt x="131" y="300"/>
                  </a:cubicBezTo>
                  <a:cubicBezTo>
                    <a:pt x="143" y="300"/>
                    <a:pt x="153" y="294"/>
                    <a:pt x="159" y="285"/>
                  </a:cubicBezTo>
                  <a:cubicBezTo>
                    <a:pt x="199" y="222"/>
                    <a:pt x="220" y="149"/>
                    <a:pt x="220" y="74"/>
                  </a:cubicBezTo>
                  <a:cubicBezTo>
                    <a:pt x="220" y="59"/>
                    <a:pt x="220" y="44"/>
                    <a:pt x="218" y="29"/>
                  </a:cubicBezTo>
                  <a:close/>
                  <a:moveTo>
                    <a:pt x="131" y="284"/>
                  </a:moveTo>
                  <a:cubicBezTo>
                    <a:pt x="127" y="284"/>
                    <a:pt x="123" y="283"/>
                    <a:pt x="120" y="280"/>
                  </a:cubicBezTo>
                  <a:cubicBezTo>
                    <a:pt x="29" y="208"/>
                    <a:pt x="29" y="208"/>
                    <a:pt x="29" y="208"/>
                  </a:cubicBezTo>
                  <a:cubicBezTo>
                    <a:pt x="20" y="201"/>
                    <a:pt x="18" y="187"/>
                    <a:pt x="24" y="176"/>
                  </a:cubicBezTo>
                  <a:cubicBezTo>
                    <a:pt x="40" y="145"/>
                    <a:pt x="48" y="110"/>
                    <a:pt x="48" y="74"/>
                  </a:cubicBezTo>
                  <a:cubicBezTo>
                    <a:pt x="48" y="68"/>
                    <a:pt x="48" y="62"/>
                    <a:pt x="48" y="57"/>
                  </a:cubicBezTo>
                  <a:cubicBezTo>
                    <a:pt x="47" y="52"/>
                    <a:pt x="55" y="45"/>
                    <a:pt x="67" y="42"/>
                  </a:cubicBezTo>
                  <a:cubicBezTo>
                    <a:pt x="180" y="16"/>
                    <a:pt x="180" y="16"/>
                    <a:pt x="180" y="16"/>
                  </a:cubicBezTo>
                  <a:cubicBezTo>
                    <a:pt x="182" y="16"/>
                    <a:pt x="183" y="16"/>
                    <a:pt x="185" y="16"/>
                  </a:cubicBezTo>
                  <a:cubicBezTo>
                    <a:pt x="194" y="16"/>
                    <a:pt x="201" y="22"/>
                    <a:pt x="202" y="31"/>
                  </a:cubicBezTo>
                  <a:cubicBezTo>
                    <a:pt x="204" y="45"/>
                    <a:pt x="204" y="60"/>
                    <a:pt x="204" y="74"/>
                  </a:cubicBezTo>
                  <a:cubicBezTo>
                    <a:pt x="204" y="146"/>
                    <a:pt x="184" y="216"/>
                    <a:pt x="146" y="276"/>
                  </a:cubicBezTo>
                  <a:cubicBezTo>
                    <a:pt x="143" y="281"/>
                    <a:pt x="137" y="284"/>
                    <a:pt x="131" y="28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22000"/>
                </a:prstClr>
              </a:outerShdw>
            </a:effec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6" name="Freeform 23">
              <a:extLst>
                <a:ext uri="{FF2B5EF4-FFF2-40B4-BE49-F238E27FC236}">
                  <a16:creationId xmlns:a16="http://schemas.microsoft.com/office/drawing/2014/main" id="{29FE6268-E39D-4919-C681-BAABA490E1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706563" y="4559300"/>
              <a:ext cx="1025525" cy="1054100"/>
            </a:xfrm>
            <a:custGeom>
              <a:avLst/>
              <a:gdLst>
                <a:gd name="T0" fmla="*/ 270 w 273"/>
                <a:gd name="T1" fmla="*/ 210 h 281"/>
                <a:gd name="T2" fmla="*/ 106 w 273"/>
                <a:gd name="T3" fmla="*/ 5 h 281"/>
                <a:gd name="T4" fmla="*/ 89 w 273"/>
                <a:gd name="T5" fmla="*/ 0 h 281"/>
                <a:gd name="T6" fmla="*/ 58 w 273"/>
                <a:gd name="T7" fmla="*/ 20 h 281"/>
                <a:gd name="T8" fmla="*/ 8 w 273"/>
                <a:gd name="T9" fmla="*/ 124 h 281"/>
                <a:gd name="T10" fmla="*/ 21 w 273"/>
                <a:gd name="T11" fmla="*/ 175 h 281"/>
                <a:gd name="T12" fmla="*/ 85 w 273"/>
                <a:gd name="T13" fmla="*/ 255 h 281"/>
                <a:gd name="T14" fmla="*/ 123 w 273"/>
                <a:gd name="T15" fmla="*/ 281 h 281"/>
                <a:gd name="T16" fmla="*/ 123 w 273"/>
                <a:gd name="T17" fmla="*/ 281 h 281"/>
                <a:gd name="T18" fmla="*/ 132 w 273"/>
                <a:gd name="T19" fmla="*/ 280 h 281"/>
                <a:gd name="T20" fmla="*/ 245 w 273"/>
                <a:gd name="T21" fmla="*/ 254 h 281"/>
                <a:gd name="T22" fmla="*/ 268 w 273"/>
                <a:gd name="T23" fmla="*/ 237 h 281"/>
                <a:gd name="T24" fmla="*/ 270 w 273"/>
                <a:gd name="T25" fmla="*/ 210 h 281"/>
                <a:gd name="T26" fmla="*/ 254 w 273"/>
                <a:gd name="T27" fmla="*/ 229 h 281"/>
                <a:gd name="T28" fmla="*/ 241 w 273"/>
                <a:gd name="T29" fmla="*/ 238 h 281"/>
                <a:gd name="T30" fmla="*/ 128 w 273"/>
                <a:gd name="T31" fmla="*/ 264 h 281"/>
                <a:gd name="T32" fmla="*/ 123 w 273"/>
                <a:gd name="T33" fmla="*/ 265 h 281"/>
                <a:gd name="T34" fmla="*/ 123 w 273"/>
                <a:gd name="T35" fmla="*/ 265 h 281"/>
                <a:gd name="T36" fmla="*/ 100 w 273"/>
                <a:gd name="T37" fmla="*/ 249 h 281"/>
                <a:gd name="T38" fmla="*/ 31 w 273"/>
                <a:gd name="T39" fmla="*/ 162 h 281"/>
                <a:gd name="T40" fmla="*/ 22 w 273"/>
                <a:gd name="T41" fmla="*/ 131 h 281"/>
                <a:gd name="T42" fmla="*/ 72 w 273"/>
                <a:gd name="T43" fmla="*/ 27 h 281"/>
                <a:gd name="T44" fmla="*/ 89 w 273"/>
                <a:gd name="T45" fmla="*/ 16 h 281"/>
                <a:gd name="T46" fmla="*/ 97 w 273"/>
                <a:gd name="T47" fmla="*/ 19 h 281"/>
                <a:gd name="T48" fmla="*/ 255 w 273"/>
                <a:gd name="T49" fmla="*/ 216 h 281"/>
                <a:gd name="T50" fmla="*/ 254 w 273"/>
                <a:gd name="T51" fmla="*/ 229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73" h="281">
                  <a:moveTo>
                    <a:pt x="270" y="210"/>
                  </a:moveTo>
                  <a:cubicBezTo>
                    <a:pt x="240" y="126"/>
                    <a:pt x="182" y="53"/>
                    <a:pt x="106" y="5"/>
                  </a:cubicBezTo>
                  <a:cubicBezTo>
                    <a:pt x="101" y="2"/>
                    <a:pt x="95" y="0"/>
                    <a:pt x="89" y="0"/>
                  </a:cubicBezTo>
                  <a:cubicBezTo>
                    <a:pt x="76" y="0"/>
                    <a:pt x="64" y="8"/>
                    <a:pt x="58" y="20"/>
                  </a:cubicBezTo>
                  <a:cubicBezTo>
                    <a:pt x="8" y="124"/>
                    <a:pt x="8" y="124"/>
                    <a:pt x="8" y="124"/>
                  </a:cubicBezTo>
                  <a:cubicBezTo>
                    <a:pt x="0" y="141"/>
                    <a:pt x="5" y="163"/>
                    <a:pt x="21" y="175"/>
                  </a:cubicBezTo>
                  <a:cubicBezTo>
                    <a:pt x="49" y="196"/>
                    <a:pt x="71" y="224"/>
                    <a:pt x="85" y="255"/>
                  </a:cubicBezTo>
                  <a:cubicBezTo>
                    <a:pt x="92" y="270"/>
                    <a:pt x="107" y="281"/>
                    <a:pt x="123" y="281"/>
                  </a:cubicBezTo>
                  <a:cubicBezTo>
                    <a:pt x="123" y="281"/>
                    <a:pt x="123" y="281"/>
                    <a:pt x="123" y="281"/>
                  </a:cubicBezTo>
                  <a:cubicBezTo>
                    <a:pt x="126" y="281"/>
                    <a:pt x="129" y="280"/>
                    <a:pt x="132" y="280"/>
                  </a:cubicBezTo>
                  <a:cubicBezTo>
                    <a:pt x="245" y="254"/>
                    <a:pt x="245" y="254"/>
                    <a:pt x="245" y="254"/>
                  </a:cubicBezTo>
                  <a:cubicBezTo>
                    <a:pt x="255" y="252"/>
                    <a:pt x="263" y="245"/>
                    <a:pt x="268" y="237"/>
                  </a:cubicBezTo>
                  <a:cubicBezTo>
                    <a:pt x="272" y="229"/>
                    <a:pt x="273" y="219"/>
                    <a:pt x="270" y="210"/>
                  </a:cubicBezTo>
                  <a:close/>
                  <a:moveTo>
                    <a:pt x="254" y="229"/>
                  </a:moveTo>
                  <a:cubicBezTo>
                    <a:pt x="251" y="234"/>
                    <a:pt x="247" y="237"/>
                    <a:pt x="241" y="238"/>
                  </a:cubicBezTo>
                  <a:cubicBezTo>
                    <a:pt x="128" y="264"/>
                    <a:pt x="128" y="264"/>
                    <a:pt x="128" y="264"/>
                  </a:cubicBezTo>
                  <a:cubicBezTo>
                    <a:pt x="126" y="264"/>
                    <a:pt x="125" y="265"/>
                    <a:pt x="123" y="265"/>
                  </a:cubicBezTo>
                  <a:cubicBezTo>
                    <a:pt x="123" y="265"/>
                    <a:pt x="123" y="265"/>
                    <a:pt x="123" y="265"/>
                  </a:cubicBezTo>
                  <a:cubicBezTo>
                    <a:pt x="114" y="265"/>
                    <a:pt x="104" y="258"/>
                    <a:pt x="100" y="249"/>
                  </a:cubicBezTo>
                  <a:cubicBezTo>
                    <a:pt x="85" y="214"/>
                    <a:pt x="61" y="185"/>
                    <a:pt x="31" y="162"/>
                  </a:cubicBezTo>
                  <a:cubicBezTo>
                    <a:pt x="21" y="155"/>
                    <a:pt x="17" y="141"/>
                    <a:pt x="22" y="131"/>
                  </a:cubicBezTo>
                  <a:cubicBezTo>
                    <a:pt x="72" y="27"/>
                    <a:pt x="72" y="27"/>
                    <a:pt x="72" y="27"/>
                  </a:cubicBezTo>
                  <a:cubicBezTo>
                    <a:pt x="76" y="20"/>
                    <a:pt x="82" y="16"/>
                    <a:pt x="89" y="16"/>
                  </a:cubicBezTo>
                  <a:cubicBezTo>
                    <a:pt x="92" y="16"/>
                    <a:pt x="95" y="17"/>
                    <a:pt x="97" y="19"/>
                  </a:cubicBezTo>
                  <a:cubicBezTo>
                    <a:pt x="171" y="64"/>
                    <a:pt x="226" y="134"/>
                    <a:pt x="255" y="216"/>
                  </a:cubicBezTo>
                  <a:cubicBezTo>
                    <a:pt x="256" y="220"/>
                    <a:pt x="256" y="225"/>
                    <a:pt x="254" y="22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22000"/>
                </a:prstClr>
              </a:outerShdw>
            </a:effec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7" name="Freeform 24">
              <a:extLst>
                <a:ext uri="{FF2B5EF4-FFF2-40B4-BE49-F238E27FC236}">
                  <a16:creationId xmlns:a16="http://schemas.microsoft.com/office/drawing/2014/main" id="{BB4944DD-DDA7-E25D-A991-72DE43F4BB3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500438" y="4559300"/>
              <a:ext cx="1025525" cy="1054100"/>
            </a:xfrm>
            <a:custGeom>
              <a:avLst/>
              <a:gdLst>
                <a:gd name="T0" fmla="*/ 265 w 273"/>
                <a:gd name="T1" fmla="*/ 124 h 281"/>
                <a:gd name="T2" fmla="*/ 215 w 273"/>
                <a:gd name="T3" fmla="*/ 20 h 281"/>
                <a:gd name="T4" fmla="*/ 184 w 273"/>
                <a:gd name="T5" fmla="*/ 0 h 281"/>
                <a:gd name="T6" fmla="*/ 167 w 273"/>
                <a:gd name="T7" fmla="*/ 5 h 281"/>
                <a:gd name="T8" fmla="*/ 3 w 273"/>
                <a:gd name="T9" fmla="*/ 210 h 281"/>
                <a:gd name="T10" fmla="*/ 5 w 273"/>
                <a:gd name="T11" fmla="*/ 237 h 281"/>
                <a:gd name="T12" fmla="*/ 28 w 273"/>
                <a:gd name="T13" fmla="*/ 254 h 281"/>
                <a:gd name="T14" fmla="*/ 141 w 273"/>
                <a:gd name="T15" fmla="*/ 280 h 281"/>
                <a:gd name="T16" fmla="*/ 149 w 273"/>
                <a:gd name="T17" fmla="*/ 281 h 281"/>
                <a:gd name="T18" fmla="*/ 149 w 273"/>
                <a:gd name="T19" fmla="*/ 281 h 281"/>
                <a:gd name="T20" fmla="*/ 187 w 273"/>
                <a:gd name="T21" fmla="*/ 255 h 281"/>
                <a:gd name="T22" fmla="*/ 252 w 273"/>
                <a:gd name="T23" fmla="*/ 175 h 281"/>
                <a:gd name="T24" fmla="*/ 265 w 273"/>
                <a:gd name="T25" fmla="*/ 124 h 281"/>
                <a:gd name="T26" fmla="*/ 242 w 273"/>
                <a:gd name="T27" fmla="*/ 162 h 281"/>
                <a:gd name="T28" fmla="*/ 173 w 273"/>
                <a:gd name="T29" fmla="*/ 249 h 281"/>
                <a:gd name="T30" fmla="*/ 145 w 273"/>
                <a:gd name="T31" fmla="*/ 264 h 281"/>
                <a:gd name="T32" fmla="*/ 32 w 273"/>
                <a:gd name="T33" fmla="*/ 238 h 281"/>
                <a:gd name="T34" fmla="*/ 19 w 273"/>
                <a:gd name="T35" fmla="*/ 229 h 281"/>
                <a:gd name="T36" fmla="*/ 18 w 273"/>
                <a:gd name="T37" fmla="*/ 216 h 281"/>
                <a:gd name="T38" fmla="*/ 175 w 273"/>
                <a:gd name="T39" fmla="*/ 19 h 281"/>
                <a:gd name="T40" fmla="*/ 184 w 273"/>
                <a:gd name="T41" fmla="*/ 16 h 281"/>
                <a:gd name="T42" fmla="*/ 200 w 273"/>
                <a:gd name="T43" fmla="*/ 27 h 281"/>
                <a:gd name="T44" fmla="*/ 251 w 273"/>
                <a:gd name="T45" fmla="*/ 131 h 281"/>
                <a:gd name="T46" fmla="*/ 242 w 273"/>
                <a:gd name="T47" fmla="*/ 162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73" h="281">
                  <a:moveTo>
                    <a:pt x="265" y="124"/>
                  </a:moveTo>
                  <a:cubicBezTo>
                    <a:pt x="215" y="20"/>
                    <a:pt x="215" y="20"/>
                    <a:pt x="215" y="20"/>
                  </a:cubicBezTo>
                  <a:cubicBezTo>
                    <a:pt x="209" y="8"/>
                    <a:pt x="197" y="0"/>
                    <a:pt x="184" y="0"/>
                  </a:cubicBezTo>
                  <a:cubicBezTo>
                    <a:pt x="178" y="0"/>
                    <a:pt x="172" y="2"/>
                    <a:pt x="167" y="5"/>
                  </a:cubicBezTo>
                  <a:cubicBezTo>
                    <a:pt x="91" y="53"/>
                    <a:pt x="32" y="126"/>
                    <a:pt x="3" y="210"/>
                  </a:cubicBezTo>
                  <a:cubicBezTo>
                    <a:pt x="0" y="219"/>
                    <a:pt x="1" y="229"/>
                    <a:pt x="5" y="237"/>
                  </a:cubicBezTo>
                  <a:cubicBezTo>
                    <a:pt x="10" y="245"/>
                    <a:pt x="18" y="252"/>
                    <a:pt x="28" y="254"/>
                  </a:cubicBezTo>
                  <a:cubicBezTo>
                    <a:pt x="141" y="280"/>
                    <a:pt x="141" y="280"/>
                    <a:pt x="141" y="280"/>
                  </a:cubicBezTo>
                  <a:cubicBezTo>
                    <a:pt x="144" y="280"/>
                    <a:pt x="147" y="281"/>
                    <a:pt x="149" y="281"/>
                  </a:cubicBezTo>
                  <a:cubicBezTo>
                    <a:pt x="149" y="281"/>
                    <a:pt x="149" y="281"/>
                    <a:pt x="149" y="281"/>
                  </a:cubicBezTo>
                  <a:cubicBezTo>
                    <a:pt x="165" y="281"/>
                    <a:pt x="181" y="270"/>
                    <a:pt x="187" y="255"/>
                  </a:cubicBezTo>
                  <a:cubicBezTo>
                    <a:pt x="202" y="223"/>
                    <a:pt x="224" y="196"/>
                    <a:pt x="252" y="175"/>
                  </a:cubicBezTo>
                  <a:cubicBezTo>
                    <a:pt x="267" y="163"/>
                    <a:pt x="273" y="141"/>
                    <a:pt x="265" y="124"/>
                  </a:cubicBezTo>
                  <a:close/>
                  <a:moveTo>
                    <a:pt x="242" y="162"/>
                  </a:moveTo>
                  <a:cubicBezTo>
                    <a:pt x="212" y="185"/>
                    <a:pt x="188" y="214"/>
                    <a:pt x="173" y="249"/>
                  </a:cubicBezTo>
                  <a:cubicBezTo>
                    <a:pt x="168" y="259"/>
                    <a:pt x="156" y="266"/>
                    <a:pt x="145" y="264"/>
                  </a:cubicBezTo>
                  <a:cubicBezTo>
                    <a:pt x="32" y="238"/>
                    <a:pt x="32" y="238"/>
                    <a:pt x="32" y="238"/>
                  </a:cubicBezTo>
                  <a:cubicBezTo>
                    <a:pt x="26" y="237"/>
                    <a:pt x="22" y="234"/>
                    <a:pt x="19" y="229"/>
                  </a:cubicBezTo>
                  <a:cubicBezTo>
                    <a:pt x="17" y="225"/>
                    <a:pt x="17" y="220"/>
                    <a:pt x="18" y="216"/>
                  </a:cubicBezTo>
                  <a:cubicBezTo>
                    <a:pt x="46" y="134"/>
                    <a:pt x="102" y="64"/>
                    <a:pt x="175" y="19"/>
                  </a:cubicBezTo>
                  <a:cubicBezTo>
                    <a:pt x="178" y="17"/>
                    <a:pt x="181" y="16"/>
                    <a:pt x="184" y="16"/>
                  </a:cubicBezTo>
                  <a:cubicBezTo>
                    <a:pt x="191" y="16"/>
                    <a:pt x="197" y="20"/>
                    <a:pt x="200" y="27"/>
                  </a:cubicBezTo>
                  <a:cubicBezTo>
                    <a:pt x="251" y="131"/>
                    <a:pt x="251" y="131"/>
                    <a:pt x="251" y="131"/>
                  </a:cubicBezTo>
                  <a:cubicBezTo>
                    <a:pt x="256" y="141"/>
                    <a:pt x="252" y="155"/>
                    <a:pt x="242" y="16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22000"/>
                </a:prstClr>
              </a:outerShdw>
            </a:effec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8" name="Freeform 25">
              <a:extLst>
                <a:ext uri="{FF2B5EF4-FFF2-40B4-BE49-F238E27FC236}">
                  <a16:creationId xmlns:a16="http://schemas.microsoft.com/office/drawing/2014/main" id="{34AC8B6D-C4FF-CDA9-678B-543E6838E3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070100" y="6383338"/>
              <a:ext cx="1065213" cy="920750"/>
            </a:xfrm>
            <a:custGeom>
              <a:avLst/>
              <a:gdLst>
                <a:gd name="T0" fmla="*/ 283 w 284"/>
                <a:gd name="T1" fmla="*/ 106 h 245"/>
                <a:gd name="T2" fmla="*/ 270 w 284"/>
                <a:gd name="T3" fmla="*/ 81 h 245"/>
                <a:gd name="T4" fmla="*/ 179 w 284"/>
                <a:gd name="T5" fmla="*/ 8 h 245"/>
                <a:gd name="T6" fmla="*/ 155 w 284"/>
                <a:gd name="T7" fmla="*/ 0 h 245"/>
                <a:gd name="T8" fmla="*/ 127 w 284"/>
                <a:gd name="T9" fmla="*/ 11 h 245"/>
                <a:gd name="T10" fmla="*/ 35 w 284"/>
                <a:gd name="T11" fmla="*/ 55 h 245"/>
                <a:gd name="T12" fmla="*/ 0 w 284"/>
                <a:gd name="T13" fmla="*/ 95 h 245"/>
                <a:gd name="T14" fmla="*/ 0 w 284"/>
                <a:gd name="T15" fmla="*/ 211 h 245"/>
                <a:gd name="T16" fmla="*/ 34 w 284"/>
                <a:gd name="T17" fmla="*/ 245 h 245"/>
                <a:gd name="T18" fmla="*/ 37 w 284"/>
                <a:gd name="T19" fmla="*/ 245 h 245"/>
                <a:gd name="T20" fmla="*/ 274 w 284"/>
                <a:gd name="T21" fmla="*/ 131 h 245"/>
                <a:gd name="T22" fmla="*/ 283 w 284"/>
                <a:gd name="T23" fmla="*/ 106 h 245"/>
                <a:gd name="T24" fmla="*/ 16 w 284"/>
                <a:gd name="T25" fmla="*/ 95 h 245"/>
                <a:gd name="T26" fmla="*/ 38 w 284"/>
                <a:gd name="T27" fmla="*/ 71 h 245"/>
                <a:gd name="T28" fmla="*/ 138 w 284"/>
                <a:gd name="T29" fmla="*/ 23 h 245"/>
                <a:gd name="T30" fmla="*/ 155 w 284"/>
                <a:gd name="T31" fmla="*/ 16 h 245"/>
                <a:gd name="T32" fmla="*/ 169 w 284"/>
                <a:gd name="T33" fmla="*/ 21 h 245"/>
                <a:gd name="T34" fmla="*/ 260 w 284"/>
                <a:gd name="T35" fmla="*/ 93 h 245"/>
                <a:gd name="T36" fmla="*/ 267 w 284"/>
                <a:gd name="T37" fmla="*/ 107 h 245"/>
                <a:gd name="T38" fmla="*/ 262 w 284"/>
                <a:gd name="T39" fmla="*/ 119 h 245"/>
                <a:gd name="T40" fmla="*/ 35 w 284"/>
                <a:gd name="T41" fmla="*/ 229 h 245"/>
                <a:gd name="T42" fmla="*/ 16 w 284"/>
                <a:gd name="T43" fmla="*/ 211 h 245"/>
                <a:gd name="T44" fmla="*/ 16 w 284"/>
                <a:gd name="T45" fmla="*/ 95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84" h="245">
                  <a:moveTo>
                    <a:pt x="283" y="106"/>
                  </a:moveTo>
                  <a:cubicBezTo>
                    <a:pt x="283" y="96"/>
                    <a:pt x="278" y="87"/>
                    <a:pt x="270" y="81"/>
                  </a:cubicBezTo>
                  <a:cubicBezTo>
                    <a:pt x="179" y="8"/>
                    <a:pt x="179" y="8"/>
                    <a:pt x="179" y="8"/>
                  </a:cubicBezTo>
                  <a:cubicBezTo>
                    <a:pt x="173" y="3"/>
                    <a:pt x="164" y="0"/>
                    <a:pt x="155" y="0"/>
                  </a:cubicBezTo>
                  <a:cubicBezTo>
                    <a:pt x="145" y="0"/>
                    <a:pt x="135" y="4"/>
                    <a:pt x="127" y="11"/>
                  </a:cubicBezTo>
                  <a:cubicBezTo>
                    <a:pt x="101" y="33"/>
                    <a:pt x="69" y="48"/>
                    <a:pt x="35" y="55"/>
                  </a:cubicBezTo>
                  <a:cubicBezTo>
                    <a:pt x="15" y="59"/>
                    <a:pt x="0" y="76"/>
                    <a:pt x="0" y="95"/>
                  </a:cubicBezTo>
                  <a:cubicBezTo>
                    <a:pt x="0" y="211"/>
                    <a:pt x="0" y="211"/>
                    <a:pt x="0" y="211"/>
                  </a:cubicBezTo>
                  <a:cubicBezTo>
                    <a:pt x="0" y="230"/>
                    <a:pt x="15" y="245"/>
                    <a:pt x="34" y="245"/>
                  </a:cubicBezTo>
                  <a:cubicBezTo>
                    <a:pt x="35" y="245"/>
                    <a:pt x="36" y="245"/>
                    <a:pt x="37" y="245"/>
                  </a:cubicBezTo>
                  <a:cubicBezTo>
                    <a:pt x="126" y="235"/>
                    <a:pt x="210" y="195"/>
                    <a:pt x="274" y="131"/>
                  </a:cubicBezTo>
                  <a:cubicBezTo>
                    <a:pt x="280" y="124"/>
                    <a:pt x="284" y="115"/>
                    <a:pt x="283" y="106"/>
                  </a:cubicBezTo>
                  <a:close/>
                  <a:moveTo>
                    <a:pt x="16" y="95"/>
                  </a:moveTo>
                  <a:cubicBezTo>
                    <a:pt x="16" y="84"/>
                    <a:pt x="26" y="73"/>
                    <a:pt x="38" y="71"/>
                  </a:cubicBezTo>
                  <a:cubicBezTo>
                    <a:pt x="74" y="64"/>
                    <a:pt x="109" y="47"/>
                    <a:pt x="138" y="23"/>
                  </a:cubicBezTo>
                  <a:cubicBezTo>
                    <a:pt x="142" y="19"/>
                    <a:pt x="149" y="16"/>
                    <a:pt x="155" y="16"/>
                  </a:cubicBezTo>
                  <a:cubicBezTo>
                    <a:pt x="161" y="16"/>
                    <a:pt x="166" y="18"/>
                    <a:pt x="169" y="21"/>
                  </a:cubicBezTo>
                  <a:cubicBezTo>
                    <a:pt x="260" y="93"/>
                    <a:pt x="260" y="93"/>
                    <a:pt x="260" y="93"/>
                  </a:cubicBezTo>
                  <a:cubicBezTo>
                    <a:pt x="264" y="97"/>
                    <a:pt x="267" y="102"/>
                    <a:pt x="267" y="107"/>
                  </a:cubicBezTo>
                  <a:cubicBezTo>
                    <a:pt x="268" y="111"/>
                    <a:pt x="266" y="116"/>
                    <a:pt x="262" y="119"/>
                  </a:cubicBezTo>
                  <a:cubicBezTo>
                    <a:pt x="201" y="181"/>
                    <a:pt x="121" y="220"/>
                    <a:pt x="35" y="229"/>
                  </a:cubicBezTo>
                  <a:cubicBezTo>
                    <a:pt x="25" y="230"/>
                    <a:pt x="16" y="222"/>
                    <a:pt x="16" y="211"/>
                  </a:cubicBezTo>
                  <a:lnTo>
                    <a:pt x="16" y="9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22000"/>
                </a:prstClr>
              </a:outerShdw>
            </a:effec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9" name="Freeform 26">
              <a:extLst>
                <a:ext uri="{FF2B5EF4-FFF2-40B4-BE49-F238E27FC236}">
                  <a16:creationId xmlns:a16="http://schemas.microsoft.com/office/drawing/2014/main" id="{F9A06ED5-DE6E-2654-CC64-FB831C301C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176588" y="6383338"/>
              <a:ext cx="1062038" cy="920750"/>
            </a:xfrm>
            <a:custGeom>
              <a:avLst/>
              <a:gdLst>
                <a:gd name="T0" fmla="*/ 249 w 283"/>
                <a:gd name="T1" fmla="*/ 55 h 245"/>
                <a:gd name="T2" fmla="*/ 157 w 283"/>
                <a:gd name="T3" fmla="*/ 11 h 245"/>
                <a:gd name="T4" fmla="*/ 128 w 283"/>
                <a:gd name="T5" fmla="*/ 0 h 245"/>
                <a:gd name="T6" fmla="*/ 104 w 283"/>
                <a:gd name="T7" fmla="*/ 8 h 245"/>
                <a:gd name="T8" fmla="*/ 14 w 283"/>
                <a:gd name="T9" fmla="*/ 81 h 245"/>
                <a:gd name="T10" fmla="*/ 1 w 283"/>
                <a:gd name="T11" fmla="*/ 106 h 245"/>
                <a:gd name="T12" fmla="*/ 10 w 283"/>
                <a:gd name="T13" fmla="*/ 131 h 245"/>
                <a:gd name="T14" fmla="*/ 247 w 283"/>
                <a:gd name="T15" fmla="*/ 245 h 245"/>
                <a:gd name="T16" fmla="*/ 250 w 283"/>
                <a:gd name="T17" fmla="*/ 245 h 245"/>
                <a:gd name="T18" fmla="*/ 250 w 283"/>
                <a:gd name="T19" fmla="*/ 245 h 245"/>
                <a:gd name="T20" fmla="*/ 274 w 283"/>
                <a:gd name="T21" fmla="*/ 235 h 245"/>
                <a:gd name="T22" fmla="*/ 283 w 283"/>
                <a:gd name="T23" fmla="*/ 211 h 245"/>
                <a:gd name="T24" fmla="*/ 283 w 283"/>
                <a:gd name="T25" fmla="*/ 95 h 245"/>
                <a:gd name="T26" fmla="*/ 249 w 283"/>
                <a:gd name="T27" fmla="*/ 55 h 245"/>
                <a:gd name="T28" fmla="*/ 267 w 283"/>
                <a:gd name="T29" fmla="*/ 211 h 245"/>
                <a:gd name="T30" fmla="*/ 262 w 283"/>
                <a:gd name="T31" fmla="*/ 224 h 245"/>
                <a:gd name="T32" fmla="*/ 250 w 283"/>
                <a:gd name="T33" fmla="*/ 229 h 245"/>
                <a:gd name="T34" fmla="*/ 248 w 283"/>
                <a:gd name="T35" fmla="*/ 229 h 245"/>
                <a:gd name="T36" fmla="*/ 21 w 283"/>
                <a:gd name="T37" fmla="*/ 119 h 245"/>
                <a:gd name="T38" fmla="*/ 16 w 283"/>
                <a:gd name="T39" fmla="*/ 107 h 245"/>
                <a:gd name="T40" fmla="*/ 24 w 283"/>
                <a:gd name="T41" fmla="*/ 93 h 245"/>
                <a:gd name="T42" fmla="*/ 114 w 283"/>
                <a:gd name="T43" fmla="*/ 21 h 245"/>
                <a:gd name="T44" fmla="*/ 128 w 283"/>
                <a:gd name="T45" fmla="*/ 16 h 245"/>
                <a:gd name="T46" fmla="*/ 146 w 283"/>
                <a:gd name="T47" fmla="*/ 23 h 245"/>
                <a:gd name="T48" fmla="*/ 246 w 283"/>
                <a:gd name="T49" fmla="*/ 71 h 245"/>
                <a:gd name="T50" fmla="*/ 267 w 283"/>
                <a:gd name="T51" fmla="*/ 95 h 245"/>
                <a:gd name="T52" fmla="*/ 267 w 283"/>
                <a:gd name="T53" fmla="*/ 211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83" h="245">
                  <a:moveTo>
                    <a:pt x="249" y="55"/>
                  </a:moveTo>
                  <a:cubicBezTo>
                    <a:pt x="215" y="48"/>
                    <a:pt x="183" y="33"/>
                    <a:pt x="157" y="11"/>
                  </a:cubicBezTo>
                  <a:cubicBezTo>
                    <a:pt x="149" y="4"/>
                    <a:pt x="139" y="0"/>
                    <a:pt x="128" y="0"/>
                  </a:cubicBezTo>
                  <a:cubicBezTo>
                    <a:pt x="119" y="0"/>
                    <a:pt x="111" y="3"/>
                    <a:pt x="104" y="8"/>
                  </a:cubicBezTo>
                  <a:cubicBezTo>
                    <a:pt x="14" y="81"/>
                    <a:pt x="14" y="81"/>
                    <a:pt x="14" y="81"/>
                  </a:cubicBezTo>
                  <a:cubicBezTo>
                    <a:pt x="6" y="87"/>
                    <a:pt x="1" y="96"/>
                    <a:pt x="1" y="106"/>
                  </a:cubicBezTo>
                  <a:cubicBezTo>
                    <a:pt x="0" y="115"/>
                    <a:pt x="3" y="124"/>
                    <a:pt x="10" y="131"/>
                  </a:cubicBezTo>
                  <a:cubicBezTo>
                    <a:pt x="74" y="195"/>
                    <a:pt x="158" y="235"/>
                    <a:pt x="247" y="245"/>
                  </a:cubicBezTo>
                  <a:cubicBezTo>
                    <a:pt x="248" y="245"/>
                    <a:pt x="249" y="245"/>
                    <a:pt x="250" y="245"/>
                  </a:cubicBezTo>
                  <a:cubicBezTo>
                    <a:pt x="250" y="245"/>
                    <a:pt x="250" y="245"/>
                    <a:pt x="250" y="245"/>
                  </a:cubicBezTo>
                  <a:cubicBezTo>
                    <a:pt x="259" y="245"/>
                    <a:pt x="268" y="241"/>
                    <a:pt x="274" y="235"/>
                  </a:cubicBezTo>
                  <a:cubicBezTo>
                    <a:pt x="280" y="229"/>
                    <a:pt x="283" y="220"/>
                    <a:pt x="283" y="211"/>
                  </a:cubicBezTo>
                  <a:cubicBezTo>
                    <a:pt x="283" y="95"/>
                    <a:pt x="283" y="95"/>
                    <a:pt x="283" y="95"/>
                  </a:cubicBezTo>
                  <a:cubicBezTo>
                    <a:pt x="283" y="76"/>
                    <a:pt x="269" y="59"/>
                    <a:pt x="249" y="55"/>
                  </a:cubicBezTo>
                  <a:close/>
                  <a:moveTo>
                    <a:pt x="267" y="211"/>
                  </a:moveTo>
                  <a:cubicBezTo>
                    <a:pt x="267" y="216"/>
                    <a:pt x="266" y="221"/>
                    <a:pt x="262" y="224"/>
                  </a:cubicBezTo>
                  <a:cubicBezTo>
                    <a:pt x="259" y="227"/>
                    <a:pt x="255" y="229"/>
                    <a:pt x="250" y="229"/>
                  </a:cubicBezTo>
                  <a:cubicBezTo>
                    <a:pt x="250" y="229"/>
                    <a:pt x="249" y="229"/>
                    <a:pt x="248" y="229"/>
                  </a:cubicBezTo>
                  <a:cubicBezTo>
                    <a:pt x="163" y="220"/>
                    <a:pt x="82" y="181"/>
                    <a:pt x="21" y="119"/>
                  </a:cubicBezTo>
                  <a:cubicBezTo>
                    <a:pt x="18" y="116"/>
                    <a:pt x="16" y="111"/>
                    <a:pt x="16" y="107"/>
                  </a:cubicBezTo>
                  <a:cubicBezTo>
                    <a:pt x="17" y="102"/>
                    <a:pt x="19" y="97"/>
                    <a:pt x="24" y="93"/>
                  </a:cubicBezTo>
                  <a:cubicBezTo>
                    <a:pt x="114" y="21"/>
                    <a:pt x="114" y="21"/>
                    <a:pt x="114" y="21"/>
                  </a:cubicBezTo>
                  <a:cubicBezTo>
                    <a:pt x="118" y="18"/>
                    <a:pt x="123" y="16"/>
                    <a:pt x="128" y="16"/>
                  </a:cubicBezTo>
                  <a:cubicBezTo>
                    <a:pt x="135" y="16"/>
                    <a:pt x="141" y="19"/>
                    <a:pt x="146" y="23"/>
                  </a:cubicBezTo>
                  <a:cubicBezTo>
                    <a:pt x="175" y="47"/>
                    <a:pt x="209" y="64"/>
                    <a:pt x="246" y="71"/>
                  </a:cubicBezTo>
                  <a:cubicBezTo>
                    <a:pt x="258" y="73"/>
                    <a:pt x="267" y="84"/>
                    <a:pt x="267" y="95"/>
                  </a:cubicBezTo>
                  <a:lnTo>
                    <a:pt x="267" y="2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22000"/>
                </a:prstClr>
              </a:outerShdw>
            </a:effec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sp>
        <p:nvSpPr>
          <p:cNvPr id="22" name="Donut 77">
            <a:extLst>
              <a:ext uri="{FF2B5EF4-FFF2-40B4-BE49-F238E27FC236}">
                <a16:creationId xmlns:a16="http://schemas.microsoft.com/office/drawing/2014/main" id="{EB68597B-E6AA-9D92-0A04-F52912DD291C}"/>
              </a:ext>
            </a:extLst>
          </p:cNvPr>
          <p:cNvSpPr/>
          <p:nvPr/>
        </p:nvSpPr>
        <p:spPr bwMode="auto">
          <a:xfrm>
            <a:off x="5185664" y="2807148"/>
            <a:ext cx="1820672" cy="1820667"/>
          </a:xfrm>
          <a:prstGeom prst="donut">
            <a:avLst>
              <a:gd name="adj" fmla="val 12245"/>
            </a:avLst>
          </a:prstGeom>
          <a:solidFill>
            <a:schemeClr val="bg1"/>
          </a:solidFill>
          <a:ln w="9525">
            <a:noFill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 sz="240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0DC5016-6A05-F902-F8A2-0C42ABEBBD90}"/>
              </a:ext>
            </a:extLst>
          </p:cNvPr>
          <p:cNvSpPr/>
          <p:nvPr/>
        </p:nvSpPr>
        <p:spPr>
          <a:xfrm>
            <a:off x="8670511" y="1794575"/>
            <a:ext cx="3003923" cy="83561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40000"/>
              </a:lnSpc>
            </a:pPr>
            <a:r>
              <a:rPr lang="en-US" sz="1600" b="1" dirty="0">
                <a:solidFill>
                  <a:schemeClr val="accent2"/>
                </a:solidFill>
              </a:rPr>
              <a:t>Your Title Here</a:t>
            </a:r>
          </a:p>
          <a:p>
            <a:pPr>
              <a:lnSpc>
                <a:spcPct val="140000"/>
              </a:lnSpc>
            </a:pPr>
            <a:r>
              <a:rPr lang="en-US" sz="1200" dirty="0"/>
              <a:t>This is a sample text. You simply add your own text and description here. 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903F28B-C541-C926-0DC6-E5A7D4E3413D}"/>
              </a:ext>
            </a:extLst>
          </p:cNvPr>
          <p:cNvSpPr/>
          <p:nvPr/>
        </p:nvSpPr>
        <p:spPr>
          <a:xfrm>
            <a:off x="517567" y="1794575"/>
            <a:ext cx="3003923" cy="83561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>
              <a:lnSpc>
                <a:spcPct val="140000"/>
              </a:lnSpc>
            </a:pPr>
            <a:r>
              <a:rPr lang="en-US" sz="1600" b="1" dirty="0">
                <a:solidFill>
                  <a:schemeClr val="accent1"/>
                </a:solidFill>
              </a:rPr>
              <a:t>Your Title Here</a:t>
            </a:r>
          </a:p>
          <a:p>
            <a:pPr algn="r">
              <a:lnSpc>
                <a:spcPct val="140000"/>
              </a:lnSpc>
            </a:pPr>
            <a:r>
              <a:rPr lang="en-US" sz="1200" dirty="0"/>
              <a:t>This is a sample text. You simply add your own text and description here. 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C986716-7276-17B7-A440-D20DD2D14801}"/>
              </a:ext>
            </a:extLst>
          </p:cNvPr>
          <p:cNvSpPr/>
          <p:nvPr/>
        </p:nvSpPr>
        <p:spPr>
          <a:xfrm>
            <a:off x="8670511" y="3320044"/>
            <a:ext cx="3003923" cy="83561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40000"/>
              </a:lnSpc>
            </a:pPr>
            <a:r>
              <a:rPr lang="en-US" sz="1600" b="1" dirty="0">
                <a:solidFill>
                  <a:schemeClr val="accent3"/>
                </a:solidFill>
              </a:rPr>
              <a:t>Your Title Here</a:t>
            </a:r>
          </a:p>
          <a:p>
            <a:pPr>
              <a:lnSpc>
                <a:spcPct val="140000"/>
              </a:lnSpc>
            </a:pPr>
            <a:r>
              <a:rPr lang="en-US" sz="1200" dirty="0"/>
              <a:t>This is a sample text. You simply add your own text and description here. 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A5219C4-D4D9-D28B-5DE8-BAE48AA4848C}"/>
              </a:ext>
            </a:extLst>
          </p:cNvPr>
          <p:cNvSpPr/>
          <p:nvPr/>
        </p:nvSpPr>
        <p:spPr>
          <a:xfrm>
            <a:off x="517567" y="2811555"/>
            <a:ext cx="3003923" cy="83561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>
              <a:lnSpc>
                <a:spcPct val="140000"/>
              </a:lnSpc>
            </a:pPr>
            <a:r>
              <a:rPr lang="en-US" sz="1600" b="1" dirty="0">
                <a:solidFill>
                  <a:schemeClr val="accent3"/>
                </a:solidFill>
              </a:rPr>
              <a:t>Your Title Here</a:t>
            </a:r>
          </a:p>
          <a:p>
            <a:pPr algn="r">
              <a:lnSpc>
                <a:spcPct val="140000"/>
              </a:lnSpc>
            </a:pPr>
            <a:r>
              <a:rPr lang="en-US" sz="1200" dirty="0"/>
              <a:t>This is a sample text. You simply add your own text and description here. 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28B67988-E825-4EAA-E618-E12A916E5BD0}"/>
              </a:ext>
            </a:extLst>
          </p:cNvPr>
          <p:cNvSpPr/>
          <p:nvPr/>
        </p:nvSpPr>
        <p:spPr>
          <a:xfrm>
            <a:off x="8670511" y="4845513"/>
            <a:ext cx="3003923" cy="83561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40000"/>
              </a:lnSpc>
            </a:pPr>
            <a:r>
              <a:rPr lang="en-US" sz="1600" b="1" dirty="0">
                <a:solidFill>
                  <a:schemeClr val="accent4"/>
                </a:solidFill>
              </a:rPr>
              <a:t>Your Title Here</a:t>
            </a:r>
          </a:p>
          <a:p>
            <a:pPr>
              <a:lnSpc>
                <a:spcPct val="140000"/>
              </a:lnSpc>
            </a:pPr>
            <a:r>
              <a:rPr lang="en-US" sz="1200" dirty="0"/>
              <a:t>This is a sample text. You simply add your own text and description here. 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44D6190-6AE1-3B3D-B663-F66040F07CFD}"/>
              </a:ext>
            </a:extLst>
          </p:cNvPr>
          <p:cNvSpPr/>
          <p:nvPr/>
        </p:nvSpPr>
        <p:spPr>
          <a:xfrm>
            <a:off x="517567" y="4845513"/>
            <a:ext cx="3003923" cy="83561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>
              <a:lnSpc>
                <a:spcPct val="140000"/>
              </a:lnSpc>
            </a:pPr>
            <a:r>
              <a:rPr lang="en-US" sz="1600" b="1" dirty="0">
                <a:solidFill>
                  <a:schemeClr val="accent5"/>
                </a:solidFill>
              </a:rPr>
              <a:t>Your Title Here</a:t>
            </a:r>
          </a:p>
          <a:p>
            <a:pPr algn="r">
              <a:lnSpc>
                <a:spcPct val="140000"/>
              </a:lnSpc>
            </a:pPr>
            <a:r>
              <a:rPr lang="en-US" sz="1200" dirty="0"/>
              <a:t>This is a sample text. You simply add your own text and description here. 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68DAB813-F75D-056D-DC0C-681F7203CAAF}"/>
              </a:ext>
            </a:extLst>
          </p:cNvPr>
          <p:cNvSpPr/>
          <p:nvPr/>
        </p:nvSpPr>
        <p:spPr>
          <a:xfrm>
            <a:off x="517567" y="3828535"/>
            <a:ext cx="3003923" cy="83561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>
              <a:lnSpc>
                <a:spcPct val="140000"/>
              </a:lnSpc>
            </a:pPr>
            <a:r>
              <a:rPr lang="en-US" sz="1600" b="1" dirty="0">
                <a:solidFill>
                  <a:schemeClr val="accent6"/>
                </a:solidFill>
              </a:rPr>
              <a:t>Your Title Here</a:t>
            </a:r>
          </a:p>
          <a:p>
            <a:pPr algn="r">
              <a:lnSpc>
                <a:spcPct val="140000"/>
              </a:lnSpc>
            </a:pPr>
            <a:r>
              <a:rPr lang="en-US" sz="1200" dirty="0"/>
              <a:t>This is a sample text. You simply add your own text and description here. </a:t>
            </a:r>
          </a:p>
        </p:txBody>
      </p:sp>
      <p:grpSp>
        <p:nvGrpSpPr>
          <p:cNvPr id="30" name="Group 958">
            <a:extLst>
              <a:ext uri="{FF2B5EF4-FFF2-40B4-BE49-F238E27FC236}">
                <a16:creationId xmlns:a16="http://schemas.microsoft.com/office/drawing/2014/main" id="{CA96E55A-79CE-BBDD-10DC-F996B32A82C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995907" y="1997849"/>
            <a:ext cx="200187" cy="219488"/>
            <a:chOff x="-3127" y="-1343"/>
            <a:chExt cx="2852" cy="3127"/>
          </a:xfrm>
          <a:solidFill>
            <a:schemeClr val="bg1"/>
          </a:solidFill>
        </p:grpSpPr>
        <p:sp>
          <p:nvSpPr>
            <p:cNvPr id="31" name="Freeform 960">
              <a:extLst>
                <a:ext uri="{FF2B5EF4-FFF2-40B4-BE49-F238E27FC236}">
                  <a16:creationId xmlns:a16="http://schemas.microsoft.com/office/drawing/2014/main" id="{45198881-B6E0-6601-A31F-6E9E54C8F98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127" y="-991"/>
              <a:ext cx="2852" cy="2234"/>
            </a:xfrm>
            <a:custGeom>
              <a:avLst/>
              <a:gdLst>
                <a:gd name="T0" fmla="*/ 281 w 5704"/>
                <a:gd name="T1" fmla="*/ 8 h 4470"/>
                <a:gd name="T2" fmla="*/ 1078 w 5704"/>
                <a:gd name="T3" fmla="*/ 248 h 4470"/>
                <a:gd name="T4" fmla="*/ 1140 w 5704"/>
                <a:gd name="T5" fmla="*/ 297 h 4470"/>
                <a:gd name="T6" fmla="*/ 1182 w 5704"/>
                <a:gd name="T7" fmla="*/ 364 h 4470"/>
                <a:gd name="T8" fmla="*/ 1196 w 5704"/>
                <a:gd name="T9" fmla="*/ 407 h 4470"/>
                <a:gd name="T10" fmla="*/ 1386 w 5704"/>
                <a:gd name="T11" fmla="*/ 1176 h 4470"/>
                <a:gd name="T12" fmla="*/ 5385 w 5704"/>
                <a:gd name="T13" fmla="*/ 1547 h 4470"/>
                <a:gd name="T14" fmla="*/ 5499 w 5704"/>
                <a:gd name="T15" fmla="*/ 1577 h 4470"/>
                <a:gd name="T16" fmla="*/ 5594 w 5704"/>
                <a:gd name="T17" fmla="*/ 1636 h 4470"/>
                <a:gd name="T18" fmla="*/ 5663 w 5704"/>
                <a:gd name="T19" fmla="*/ 1722 h 4470"/>
                <a:gd name="T20" fmla="*/ 5701 w 5704"/>
                <a:gd name="T21" fmla="*/ 1822 h 4470"/>
                <a:gd name="T22" fmla="*/ 5699 w 5704"/>
                <a:gd name="T23" fmla="*/ 1933 h 4470"/>
                <a:gd name="T24" fmla="*/ 5419 w 5704"/>
                <a:gd name="T25" fmla="*/ 3312 h 4470"/>
                <a:gd name="T26" fmla="*/ 5358 w 5704"/>
                <a:gd name="T27" fmla="*/ 3409 h 4470"/>
                <a:gd name="T28" fmla="*/ 5265 w 5704"/>
                <a:gd name="T29" fmla="*/ 3479 h 4470"/>
                <a:gd name="T30" fmla="*/ 5151 w 5704"/>
                <a:gd name="T31" fmla="*/ 3519 h 4470"/>
                <a:gd name="T32" fmla="*/ 1842 w 5704"/>
                <a:gd name="T33" fmla="*/ 3523 h 4470"/>
                <a:gd name="T34" fmla="*/ 5032 w 5704"/>
                <a:gd name="T35" fmla="*/ 4029 h 4470"/>
                <a:gd name="T36" fmla="*/ 5128 w 5704"/>
                <a:gd name="T37" fmla="*/ 4051 h 4470"/>
                <a:gd name="T38" fmla="*/ 5203 w 5704"/>
                <a:gd name="T39" fmla="*/ 4110 h 4470"/>
                <a:gd name="T40" fmla="*/ 5246 w 5704"/>
                <a:gd name="T41" fmla="*/ 4198 h 4470"/>
                <a:gd name="T42" fmla="*/ 5246 w 5704"/>
                <a:gd name="T43" fmla="*/ 4299 h 4470"/>
                <a:gd name="T44" fmla="*/ 5203 w 5704"/>
                <a:gd name="T45" fmla="*/ 4386 h 4470"/>
                <a:gd name="T46" fmla="*/ 5128 w 5704"/>
                <a:gd name="T47" fmla="*/ 4447 h 4470"/>
                <a:gd name="T48" fmla="*/ 5032 w 5704"/>
                <a:gd name="T49" fmla="*/ 4468 h 4470"/>
                <a:gd name="T50" fmla="*/ 1720 w 5704"/>
                <a:gd name="T51" fmla="*/ 4466 h 4470"/>
                <a:gd name="T52" fmla="*/ 1639 w 5704"/>
                <a:gd name="T53" fmla="*/ 4428 h 4470"/>
                <a:gd name="T54" fmla="*/ 1578 w 5704"/>
                <a:gd name="T55" fmla="*/ 4363 h 4470"/>
                <a:gd name="T56" fmla="*/ 1547 w 5704"/>
                <a:gd name="T57" fmla="*/ 4280 h 4470"/>
                <a:gd name="T58" fmla="*/ 158 w 5704"/>
                <a:gd name="T59" fmla="*/ 432 h 4470"/>
                <a:gd name="T60" fmla="*/ 80 w 5704"/>
                <a:gd name="T61" fmla="*/ 392 h 4470"/>
                <a:gd name="T62" fmla="*/ 25 w 5704"/>
                <a:gd name="T63" fmla="*/ 326 h 4470"/>
                <a:gd name="T64" fmla="*/ 0 w 5704"/>
                <a:gd name="T65" fmla="*/ 246 h 4470"/>
                <a:gd name="T66" fmla="*/ 8 w 5704"/>
                <a:gd name="T67" fmla="*/ 158 h 4470"/>
                <a:gd name="T68" fmla="*/ 49 w 5704"/>
                <a:gd name="T69" fmla="*/ 80 h 4470"/>
                <a:gd name="T70" fmla="*/ 114 w 5704"/>
                <a:gd name="T71" fmla="*/ 27 h 4470"/>
                <a:gd name="T72" fmla="*/ 194 w 5704"/>
                <a:gd name="T73" fmla="*/ 0 h 4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704" h="4470">
                  <a:moveTo>
                    <a:pt x="238" y="0"/>
                  </a:moveTo>
                  <a:lnTo>
                    <a:pt x="281" y="8"/>
                  </a:lnTo>
                  <a:lnTo>
                    <a:pt x="1038" y="232"/>
                  </a:lnTo>
                  <a:lnTo>
                    <a:pt x="1078" y="248"/>
                  </a:lnTo>
                  <a:lnTo>
                    <a:pt x="1112" y="269"/>
                  </a:lnTo>
                  <a:lnTo>
                    <a:pt x="1140" y="297"/>
                  </a:lnTo>
                  <a:lnTo>
                    <a:pt x="1163" y="328"/>
                  </a:lnTo>
                  <a:lnTo>
                    <a:pt x="1182" y="364"/>
                  </a:lnTo>
                  <a:lnTo>
                    <a:pt x="1190" y="385"/>
                  </a:lnTo>
                  <a:lnTo>
                    <a:pt x="1196" y="407"/>
                  </a:lnTo>
                  <a:lnTo>
                    <a:pt x="1355" y="1176"/>
                  </a:lnTo>
                  <a:lnTo>
                    <a:pt x="1386" y="1176"/>
                  </a:lnTo>
                  <a:lnTo>
                    <a:pt x="1418" y="1178"/>
                  </a:lnTo>
                  <a:lnTo>
                    <a:pt x="5385" y="1547"/>
                  </a:lnTo>
                  <a:lnTo>
                    <a:pt x="5444" y="1558"/>
                  </a:lnTo>
                  <a:lnTo>
                    <a:pt x="5499" y="1577"/>
                  </a:lnTo>
                  <a:lnTo>
                    <a:pt x="5550" y="1604"/>
                  </a:lnTo>
                  <a:lnTo>
                    <a:pt x="5594" y="1636"/>
                  </a:lnTo>
                  <a:lnTo>
                    <a:pt x="5632" y="1676"/>
                  </a:lnTo>
                  <a:lnTo>
                    <a:pt x="5663" y="1722"/>
                  </a:lnTo>
                  <a:lnTo>
                    <a:pt x="5685" y="1769"/>
                  </a:lnTo>
                  <a:lnTo>
                    <a:pt x="5701" y="1822"/>
                  </a:lnTo>
                  <a:lnTo>
                    <a:pt x="5704" y="1876"/>
                  </a:lnTo>
                  <a:lnTo>
                    <a:pt x="5699" y="1933"/>
                  </a:lnTo>
                  <a:lnTo>
                    <a:pt x="5436" y="3256"/>
                  </a:lnTo>
                  <a:lnTo>
                    <a:pt x="5419" y="3312"/>
                  </a:lnTo>
                  <a:lnTo>
                    <a:pt x="5393" y="3363"/>
                  </a:lnTo>
                  <a:lnTo>
                    <a:pt x="5358" y="3409"/>
                  </a:lnTo>
                  <a:lnTo>
                    <a:pt x="5315" y="3448"/>
                  </a:lnTo>
                  <a:lnTo>
                    <a:pt x="5265" y="3479"/>
                  </a:lnTo>
                  <a:lnTo>
                    <a:pt x="5210" y="3504"/>
                  </a:lnTo>
                  <a:lnTo>
                    <a:pt x="5151" y="3519"/>
                  </a:lnTo>
                  <a:lnTo>
                    <a:pt x="5089" y="3523"/>
                  </a:lnTo>
                  <a:lnTo>
                    <a:pt x="1842" y="3523"/>
                  </a:lnTo>
                  <a:lnTo>
                    <a:pt x="1946" y="4030"/>
                  </a:lnTo>
                  <a:lnTo>
                    <a:pt x="5032" y="4029"/>
                  </a:lnTo>
                  <a:lnTo>
                    <a:pt x="5081" y="4034"/>
                  </a:lnTo>
                  <a:lnTo>
                    <a:pt x="5128" y="4051"/>
                  </a:lnTo>
                  <a:lnTo>
                    <a:pt x="5168" y="4076"/>
                  </a:lnTo>
                  <a:lnTo>
                    <a:pt x="5203" y="4110"/>
                  </a:lnTo>
                  <a:lnTo>
                    <a:pt x="5229" y="4152"/>
                  </a:lnTo>
                  <a:lnTo>
                    <a:pt x="5246" y="4198"/>
                  </a:lnTo>
                  <a:lnTo>
                    <a:pt x="5252" y="4249"/>
                  </a:lnTo>
                  <a:lnTo>
                    <a:pt x="5246" y="4299"/>
                  </a:lnTo>
                  <a:lnTo>
                    <a:pt x="5229" y="4346"/>
                  </a:lnTo>
                  <a:lnTo>
                    <a:pt x="5203" y="4386"/>
                  </a:lnTo>
                  <a:lnTo>
                    <a:pt x="5168" y="4420"/>
                  </a:lnTo>
                  <a:lnTo>
                    <a:pt x="5128" y="4447"/>
                  </a:lnTo>
                  <a:lnTo>
                    <a:pt x="5081" y="4462"/>
                  </a:lnTo>
                  <a:lnTo>
                    <a:pt x="5032" y="4468"/>
                  </a:lnTo>
                  <a:lnTo>
                    <a:pt x="1766" y="4470"/>
                  </a:lnTo>
                  <a:lnTo>
                    <a:pt x="1720" y="4466"/>
                  </a:lnTo>
                  <a:lnTo>
                    <a:pt x="1677" y="4451"/>
                  </a:lnTo>
                  <a:lnTo>
                    <a:pt x="1639" y="4428"/>
                  </a:lnTo>
                  <a:lnTo>
                    <a:pt x="1604" y="4399"/>
                  </a:lnTo>
                  <a:lnTo>
                    <a:pt x="1578" y="4363"/>
                  </a:lnTo>
                  <a:lnTo>
                    <a:pt x="1559" y="4323"/>
                  </a:lnTo>
                  <a:lnTo>
                    <a:pt x="1547" y="4280"/>
                  </a:lnTo>
                  <a:lnTo>
                    <a:pt x="789" y="619"/>
                  </a:lnTo>
                  <a:lnTo>
                    <a:pt x="158" y="432"/>
                  </a:lnTo>
                  <a:lnTo>
                    <a:pt x="116" y="415"/>
                  </a:lnTo>
                  <a:lnTo>
                    <a:pt x="80" y="392"/>
                  </a:lnTo>
                  <a:lnTo>
                    <a:pt x="49" y="362"/>
                  </a:lnTo>
                  <a:lnTo>
                    <a:pt x="25" y="326"/>
                  </a:lnTo>
                  <a:lnTo>
                    <a:pt x="10" y="288"/>
                  </a:lnTo>
                  <a:lnTo>
                    <a:pt x="0" y="246"/>
                  </a:lnTo>
                  <a:lnTo>
                    <a:pt x="0" y="202"/>
                  </a:lnTo>
                  <a:lnTo>
                    <a:pt x="8" y="158"/>
                  </a:lnTo>
                  <a:lnTo>
                    <a:pt x="25" y="116"/>
                  </a:lnTo>
                  <a:lnTo>
                    <a:pt x="49" y="80"/>
                  </a:lnTo>
                  <a:lnTo>
                    <a:pt x="80" y="50"/>
                  </a:lnTo>
                  <a:lnTo>
                    <a:pt x="114" y="27"/>
                  </a:lnTo>
                  <a:lnTo>
                    <a:pt x="154" y="10"/>
                  </a:lnTo>
                  <a:lnTo>
                    <a:pt x="194" y="0"/>
                  </a:lnTo>
                  <a:lnTo>
                    <a:pt x="23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2" name="Freeform 961">
              <a:extLst>
                <a:ext uri="{FF2B5EF4-FFF2-40B4-BE49-F238E27FC236}">
                  <a16:creationId xmlns:a16="http://schemas.microsoft.com/office/drawing/2014/main" id="{4816E779-B5EE-BD3D-4746-3C9E22CE91F4}"/>
                </a:ext>
              </a:extLst>
            </p:cNvPr>
            <p:cNvSpPr>
              <a:spLocks/>
            </p:cNvSpPr>
            <p:nvPr/>
          </p:nvSpPr>
          <p:spPr bwMode="auto">
            <a:xfrm>
              <a:off x="-2150" y="1343"/>
              <a:ext cx="440" cy="441"/>
            </a:xfrm>
            <a:custGeom>
              <a:avLst/>
              <a:gdLst>
                <a:gd name="T0" fmla="*/ 439 w 880"/>
                <a:gd name="T1" fmla="*/ 0 h 883"/>
                <a:gd name="T2" fmla="*/ 511 w 880"/>
                <a:gd name="T3" fmla="*/ 6 h 883"/>
                <a:gd name="T4" fmla="*/ 580 w 880"/>
                <a:gd name="T5" fmla="*/ 23 h 883"/>
                <a:gd name="T6" fmla="*/ 643 w 880"/>
                <a:gd name="T7" fmla="*/ 50 h 883"/>
                <a:gd name="T8" fmla="*/ 700 w 880"/>
                <a:gd name="T9" fmla="*/ 86 h 883"/>
                <a:gd name="T10" fmla="*/ 751 w 880"/>
                <a:gd name="T11" fmla="*/ 130 h 883"/>
                <a:gd name="T12" fmla="*/ 795 w 880"/>
                <a:gd name="T13" fmla="*/ 181 h 883"/>
                <a:gd name="T14" fmla="*/ 831 w 880"/>
                <a:gd name="T15" fmla="*/ 238 h 883"/>
                <a:gd name="T16" fmla="*/ 857 w 880"/>
                <a:gd name="T17" fmla="*/ 303 h 883"/>
                <a:gd name="T18" fmla="*/ 874 w 880"/>
                <a:gd name="T19" fmla="*/ 369 h 883"/>
                <a:gd name="T20" fmla="*/ 880 w 880"/>
                <a:gd name="T21" fmla="*/ 442 h 883"/>
                <a:gd name="T22" fmla="*/ 874 w 880"/>
                <a:gd name="T23" fmla="*/ 512 h 883"/>
                <a:gd name="T24" fmla="*/ 857 w 880"/>
                <a:gd name="T25" fmla="*/ 580 h 883"/>
                <a:gd name="T26" fmla="*/ 831 w 880"/>
                <a:gd name="T27" fmla="*/ 643 h 883"/>
                <a:gd name="T28" fmla="*/ 795 w 880"/>
                <a:gd name="T29" fmla="*/ 702 h 883"/>
                <a:gd name="T30" fmla="*/ 751 w 880"/>
                <a:gd name="T31" fmla="*/ 754 h 883"/>
                <a:gd name="T32" fmla="*/ 700 w 880"/>
                <a:gd name="T33" fmla="*/ 797 h 883"/>
                <a:gd name="T34" fmla="*/ 643 w 880"/>
                <a:gd name="T35" fmla="*/ 833 h 883"/>
                <a:gd name="T36" fmla="*/ 580 w 880"/>
                <a:gd name="T37" fmla="*/ 860 h 883"/>
                <a:gd name="T38" fmla="*/ 511 w 880"/>
                <a:gd name="T39" fmla="*/ 877 h 883"/>
                <a:gd name="T40" fmla="*/ 439 w 880"/>
                <a:gd name="T41" fmla="*/ 883 h 883"/>
                <a:gd name="T42" fmla="*/ 369 w 880"/>
                <a:gd name="T43" fmla="*/ 877 h 883"/>
                <a:gd name="T44" fmla="*/ 300 w 880"/>
                <a:gd name="T45" fmla="*/ 860 h 883"/>
                <a:gd name="T46" fmla="*/ 238 w 880"/>
                <a:gd name="T47" fmla="*/ 833 h 883"/>
                <a:gd name="T48" fmla="*/ 181 w 880"/>
                <a:gd name="T49" fmla="*/ 797 h 883"/>
                <a:gd name="T50" fmla="*/ 129 w 880"/>
                <a:gd name="T51" fmla="*/ 754 h 883"/>
                <a:gd name="T52" fmla="*/ 86 w 880"/>
                <a:gd name="T53" fmla="*/ 702 h 883"/>
                <a:gd name="T54" fmla="*/ 49 w 880"/>
                <a:gd name="T55" fmla="*/ 643 h 883"/>
                <a:gd name="T56" fmla="*/ 23 w 880"/>
                <a:gd name="T57" fmla="*/ 580 h 883"/>
                <a:gd name="T58" fmla="*/ 6 w 880"/>
                <a:gd name="T59" fmla="*/ 512 h 883"/>
                <a:gd name="T60" fmla="*/ 0 w 880"/>
                <a:gd name="T61" fmla="*/ 442 h 883"/>
                <a:gd name="T62" fmla="*/ 6 w 880"/>
                <a:gd name="T63" fmla="*/ 369 h 883"/>
                <a:gd name="T64" fmla="*/ 23 w 880"/>
                <a:gd name="T65" fmla="*/ 303 h 883"/>
                <a:gd name="T66" fmla="*/ 49 w 880"/>
                <a:gd name="T67" fmla="*/ 238 h 883"/>
                <a:gd name="T68" fmla="*/ 86 w 880"/>
                <a:gd name="T69" fmla="*/ 181 h 883"/>
                <a:gd name="T70" fmla="*/ 129 w 880"/>
                <a:gd name="T71" fmla="*/ 130 h 883"/>
                <a:gd name="T72" fmla="*/ 181 w 880"/>
                <a:gd name="T73" fmla="*/ 86 h 883"/>
                <a:gd name="T74" fmla="*/ 238 w 880"/>
                <a:gd name="T75" fmla="*/ 50 h 883"/>
                <a:gd name="T76" fmla="*/ 300 w 880"/>
                <a:gd name="T77" fmla="*/ 23 h 883"/>
                <a:gd name="T78" fmla="*/ 369 w 880"/>
                <a:gd name="T79" fmla="*/ 6 h 883"/>
                <a:gd name="T80" fmla="*/ 439 w 880"/>
                <a:gd name="T81" fmla="*/ 0 h 8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80" h="883">
                  <a:moveTo>
                    <a:pt x="439" y="0"/>
                  </a:moveTo>
                  <a:lnTo>
                    <a:pt x="511" y="6"/>
                  </a:lnTo>
                  <a:lnTo>
                    <a:pt x="580" y="23"/>
                  </a:lnTo>
                  <a:lnTo>
                    <a:pt x="643" y="50"/>
                  </a:lnTo>
                  <a:lnTo>
                    <a:pt x="700" y="86"/>
                  </a:lnTo>
                  <a:lnTo>
                    <a:pt x="751" y="130"/>
                  </a:lnTo>
                  <a:lnTo>
                    <a:pt x="795" y="181"/>
                  </a:lnTo>
                  <a:lnTo>
                    <a:pt x="831" y="238"/>
                  </a:lnTo>
                  <a:lnTo>
                    <a:pt x="857" y="303"/>
                  </a:lnTo>
                  <a:lnTo>
                    <a:pt x="874" y="369"/>
                  </a:lnTo>
                  <a:lnTo>
                    <a:pt x="880" y="442"/>
                  </a:lnTo>
                  <a:lnTo>
                    <a:pt x="874" y="512"/>
                  </a:lnTo>
                  <a:lnTo>
                    <a:pt x="857" y="580"/>
                  </a:lnTo>
                  <a:lnTo>
                    <a:pt x="831" y="643"/>
                  </a:lnTo>
                  <a:lnTo>
                    <a:pt x="795" y="702"/>
                  </a:lnTo>
                  <a:lnTo>
                    <a:pt x="751" y="754"/>
                  </a:lnTo>
                  <a:lnTo>
                    <a:pt x="700" y="797"/>
                  </a:lnTo>
                  <a:lnTo>
                    <a:pt x="643" y="833"/>
                  </a:lnTo>
                  <a:lnTo>
                    <a:pt x="580" y="860"/>
                  </a:lnTo>
                  <a:lnTo>
                    <a:pt x="511" y="877"/>
                  </a:lnTo>
                  <a:lnTo>
                    <a:pt x="439" y="883"/>
                  </a:lnTo>
                  <a:lnTo>
                    <a:pt x="369" y="877"/>
                  </a:lnTo>
                  <a:lnTo>
                    <a:pt x="300" y="860"/>
                  </a:lnTo>
                  <a:lnTo>
                    <a:pt x="238" y="833"/>
                  </a:lnTo>
                  <a:lnTo>
                    <a:pt x="181" y="797"/>
                  </a:lnTo>
                  <a:lnTo>
                    <a:pt x="129" y="754"/>
                  </a:lnTo>
                  <a:lnTo>
                    <a:pt x="86" y="702"/>
                  </a:lnTo>
                  <a:lnTo>
                    <a:pt x="49" y="643"/>
                  </a:lnTo>
                  <a:lnTo>
                    <a:pt x="23" y="580"/>
                  </a:lnTo>
                  <a:lnTo>
                    <a:pt x="6" y="512"/>
                  </a:lnTo>
                  <a:lnTo>
                    <a:pt x="0" y="442"/>
                  </a:lnTo>
                  <a:lnTo>
                    <a:pt x="6" y="369"/>
                  </a:lnTo>
                  <a:lnTo>
                    <a:pt x="23" y="303"/>
                  </a:lnTo>
                  <a:lnTo>
                    <a:pt x="49" y="238"/>
                  </a:lnTo>
                  <a:lnTo>
                    <a:pt x="86" y="181"/>
                  </a:lnTo>
                  <a:lnTo>
                    <a:pt x="129" y="130"/>
                  </a:lnTo>
                  <a:lnTo>
                    <a:pt x="181" y="86"/>
                  </a:lnTo>
                  <a:lnTo>
                    <a:pt x="238" y="50"/>
                  </a:lnTo>
                  <a:lnTo>
                    <a:pt x="300" y="23"/>
                  </a:lnTo>
                  <a:lnTo>
                    <a:pt x="369" y="6"/>
                  </a:lnTo>
                  <a:lnTo>
                    <a:pt x="43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3" name="Freeform 962">
              <a:extLst>
                <a:ext uri="{FF2B5EF4-FFF2-40B4-BE49-F238E27FC236}">
                  <a16:creationId xmlns:a16="http://schemas.microsoft.com/office/drawing/2014/main" id="{914E4564-9165-0798-D5C6-C3CA359A088D}"/>
                </a:ext>
              </a:extLst>
            </p:cNvPr>
            <p:cNvSpPr>
              <a:spLocks/>
            </p:cNvSpPr>
            <p:nvPr/>
          </p:nvSpPr>
          <p:spPr bwMode="auto">
            <a:xfrm>
              <a:off x="-1098" y="1343"/>
              <a:ext cx="440" cy="441"/>
            </a:xfrm>
            <a:custGeom>
              <a:avLst/>
              <a:gdLst>
                <a:gd name="T0" fmla="*/ 441 w 880"/>
                <a:gd name="T1" fmla="*/ 0 h 883"/>
                <a:gd name="T2" fmla="*/ 512 w 880"/>
                <a:gd name="T3" fmla="*/ 6 h 883"/>
                <a:gd name="T4" fmla="*/ 580 w 880"/>
                <a:gd name="T5" fmla="*/ 23 h 883"/>
                <a:gd name="T6" fmla="*/ 643 w 880"/>
                <a:gd name="T7" fmla="*/ 50 h 883"/>
                <a:gd name="T8" fmla="*/ 700 w 880"/>
                <a:gd name="T9" fmla="*/ 86 h 883"/>
                <a:gd name="T10" fmla="*/ 751 w 880"/>
                <a:gd name="T11" fmla="*/ 130 h 883"/>
                <a:gd name="T12" fmla="*/ 797 w 880"/>
                <a:gd name="T13" fmla="*/ 181 h 883"/>
                <a:gd name="T14" fmla="*/ 831 w 880"/>
                <a:gd name="T15" fmla="*/ 238 h 883"/>
                <a:gd name="T16" fmla="*/ 859 w 880"/>
                <a:gd name="T17" fmla="*/ 303 h 883"/>
                <a:gd name="T18" fmla="*/ 875 w 880"/>
                <a:gd name="T19" fmla="*/ 369 h 883"/>
                <a:gd name="T20" fmla="*/ 880 w 880"/>
                <a:gd name="T21" fmla="*/ 442 h 883"/>
                <a:gd name="T22" fmla="*/ 875 w 880"/>
                <a:gd name="T23" fmla="*/ 512 h 883"/>
                <a:gd name="T24" fmla="*/ 859 w 880"/>
                <a:gd name="T25" fmla="*/ 580 h 883"/>
                <a:gd name="T26" fmla="*/ 831 w 880"/>
                <a:gd name="T27" fmla="*/ 643 h 883"/>
                <a:gd name="T28" fmla="*/ 797 w 880"/>
                <a:gd name="T29" fmla="*/ 702 h 883"/>
                <a:gd name="T30" fmla="*/ 751 w 880"/>
                <a:gd name="T31" fmla="*/ 754 h 883"/>
                <a:gd name="T32" fmla="*/ 700 w 880"/>
                <a:gd name="T33" fmla="*/ 797 h 883"/>
                <a:gd name="T34" fmla="*/ 643 w 880"/>
                <a:gd name="T35" fmla="*/ 833 h 883"/>
                <a:gd name="T36" fmla="*/ 580 w 880"/>
                <a:gd name="T37" fmla="*/ 860 h 883"/>
                <a:gd name="T38" fmla="*/ 512 w 880"/>
                <a:gd name="T39" fmla="*/ 877 h 883"/>
                <a:gd name="T40" fmla="*/ 441 w 880"/>
                <a:gd name="T41" fmla="*/ 883 h 883"/>
                <a:gd name="T42" fmla="*/ 369 w 880"/>
                <a:gd name="T43" fmla="*/ 877 h 883"/>
                <a:gd name="T44" fmla="*/ 301 w 880"/>
                <a:gd name="T45" fmla="*/ 860 h 883"/>
                <a:gd name="T46" fmla="*/ 238 w 880"/>
                <a:gd name="T47" fmla="*/ 833 h 883"/>
                <a:gd name="T48" fmla="*/ 181 w 880"/>
                <a:gd name="T49" fmla="*/ 797 h 883"/>
                <a:gd name="T50" fmla="*/ 130 w 880"/>
                <a:gd name="T51" fmla="*/ 754 h 883"/>
                <a:gd name="T52" fmla="*/ 86 w 880"/>
                <a:gd name="T53" fmla="*/ 702 h 883"/>
                <a:gd name="T54" fmla="*/ 50 w 880"/>
                <a:gd name="T55" fmla="*/ 643 h 883"/>
                <a:gd name="T56" fmla="*/ 23 w 880"/>
                <a:gd name="T57" fmla="*/ 580 h 883"/>
                <a:gd name="T58" fmla="*/ 6 w 880"/>
                <a:gd name="T59" fmla="*/ 512 h 883"/>
                <a:gd name="T60" fmla="*/ 0 w 880"/>
                <a:gd name="T61" fmla="*/ 442 h 883"/>
                <a:gd name="T62" fmla="*/ 6 w 880"/>
                <a:gd name="T63" fmla="*/ 369 h 883"/>
                <a:gd name="T64" fmla="*/ 23 w 880"/>
                <a:gd name="T65" fmla="*/ 303 h 883"/>
                <a:gd name="T66" fmla="*/ 50 w 880"/>
                <a:gd name="T67" fmla="*/ 238 h 883"/>
                <a:gd name="T68" fmla="*/ 86 w 880"/>
                <a:gd name="T69" fmla="*/ 181 h 883"/>
                <a:gd name="T70" fmla="*/ 130 w 880"/>
                <a:gd name="T71" fmla="*/ 130 h 883"/>
                <a:gd name="T72" fmla="*/ 181 w 880"/>
                <a:gd name="T73" fmla="*/ 86 h 883"/>
                <a:gd name="T74" fmla="*/ 238 w 880"/>
                <a:gd name="T75" fmla="*/ 50 h 883"/>
                <a:gd name="T76" fmla="*/ 301 w 880"/>
                <a:gd name="T77" fmla="*/ 23 h 883"/>
                <a:gd name="T78" fmla="*/ 369 w 880"/>
                <a:gd name="T79" fmla="*/ 6 h 883"/>
                <a:gd name="T80" fmla="*/ 441 w 880"/>
                <a:gd name="T81" fmla="*/ 0 h 8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80" h="883">
                  <a:moveTo>
                    <a:pt x="441" y="0"/>
                  </a:moveTo>
                  <a:lnTo>
                    <a:pt x="512" y="6"/>
                  </a:lnTo>
                  <a:lnTo>
                    <a:pt x="580" y="23"/>
                  </a:lnTo>
                  <a:lnTo>
                    <a:pt x="643" y="50"/>
                  </a:lnTo>
                  <a:lnTo>
                    <a:pt x="700" y="86"/>
                  </a:lnTo>
                  <a:lnTo>
                    <a:pt x="751" y="130"/>
                  </a:lnTo>
                  <a:lnTo>
                    <a:pt x="797" y="181"/>
                  </a:lnTo>
                  <a:lnTo>
                    <a:pt x="831" y="238"/>
                  </a:lnTo>
                  <a:lnTo>
                    <a:pt x="859" y="303"/>
                  </a:lnTo>
                  <a:lnTo>
                    <a:pt x="875" y="369"/>
                  </a:lnTo>
                  <a:lnTo>
                    <a:pt x="880" y="442"/>
                  </a:lnTo>
                  <a:lnTo>
                    <a:pt x="875" y="512"/>
                  </a:lnTo>
                  <a:lnTo>
                    <a:pt x="859" y="580"/>
                  </a:lnTo>
                  <a:lnTo>
                    <a:pt x="831" y="643"/>
                  </a:lnTo>
                  <a:lnTo>
                    <a:pt x="797" y="702"/>
                  </a:lnTo>
                  <a:lnTo>
                    <a:pt x="751" y="754"/>
                  </a:lnTo>
                  <a:lnTo>
                    <a:pt x="700" y="797"/>
                  </a:lnTo>
                  <a:lnTo>
                    <a:pt x="643" y="833"/>
                  </a:lnTo>
                  <a:lnTo>
                    <a:pt x="580" y="860"/>
                  </a:lnTo>
                  <a:lnTo>
                    <a:pt x="512" y="877"/>
                  </a:lnTo>
                  <a:lnTo>
                    <a:pt x="441" y="883"/>
                  </a:lnTo>
                  <a:lnTo>
                    <a:pt x="369" y="877"/>
                  </a:lnTo>
                  <a:lnTo>
                    <a:pt x="301" y="860"/>
                  </a:lnTo>
                  <a:lnTo>
                    <a:pt x="238" y="833"/>
                  </a:lnTo>
                  <a:lnTo>
                    <a:pt x="181" y="797"/>
                  </a:lnTo>
                  <a:lnTo>
                    <a:pt x="130" y="754"/>
                  </a:lnTo>
                  <a:lnTo>
                    <a:pt x="86" y="702"/>
                  </a:lnTo>
                  <a:lnTo>
                    <a:pt x="50" y="643"/>
                  </a:lnTo>
                  <a:lnTo>
                    <a:pt x="23" y="580"/>
                  </a:lnTo>
                  <a:lnTo>
                    <a:pt x="6" y="512"/>
                  </a:lnTo>
                  <a:lnTo>
                    <a:pt x="0" y="442"/>
                  </a:lnTo>
                  <a:lnTo>
                    <a:pt x="6" y="369"/>
                  </a:lnTo>
                  <a:lnTo>
                    <a:pt x="23" y="303"/>
                  </a:lnTo>
                  <a:lnTo>
                    <a:pt x="50" y="238"/>
                  </a:lnTo>
                  <a:lnTo>
                    <a:pt x="86" y="181"/>
                  </a:lnTo>
                  <a:lnTo>
                    <a:pt x="130" y="130"/>
                  </a:lnTo>
                  <a:lnTo>
                    <a:pt x="181" y="86"/>
                  </a:lnTo>
                  <a:lnTo>
                    <a:pt x="238" y="50"/>
                  </a:lnTo>
                  <a:lnTo>
                    <a:pt x="301" y="23"/>
                  </a:lnTo>
                  <a:lnTo>
                    <a:pt x="369" y="6"/>
                  </a:lnTo>
                  <a:lnTo>
                    <a:pt x="44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4" name="Freeform 963">
              <a:extLst>
                <a:ext uri="{FF2B5EF4-FFF2-40B4-BE49-F238E27FC236}">
                  <a16:creationId xmlns:a16="http://schemas.microsoft.com/office/drawing/2014/main" id="{ADFD4E72-27B0-D0BB-A7CC-2EDA8A8FF3E6}"/>
                </a:ext>
              </a:extLst>
            </p:cNvPr>
            <p:cNvSpPr>
              <a:spLocks/>
            </p:cNvSpPr>
            <p:nvPr/>
          </p:nvSpPr>
          <p:spPr bwMode="auto">
            <a:xfrm>
              <a:off x="-2179" y="-1343"/>
              <a:ext cx="1598" cy="992"/>
            </a:xfrm>
            <a:custGeom>
              <a:avLst/>
              <a:gdLst>
                <a:gd name="T0" fmla="*/ 1857 w 3197"/>
                <a:gd name="T1" fmla="*/ 21 h 1983"/>
                <a:gd name="T2" fmla="*/ 1926 w 3197"/>
                <a:gd name="T3" fmla="*/ 45 h 1983"/>
                <a:gd name="T4" fmla="*/ 1969 w 3197"/>
                <a:gd name="T5" fmla="*/ 99 h 1983"/>
                <a:gd name="T6" fmla="*/ 1981 w 3197"/>
                <a:gd name="T7" fmla="*/ 171 h 1983"/>
                <a:gd name="T8" fmla="*/ 2059 w 3197"/>
                <a:gd name="T9" fmla="*/ 409 h 1983"/>
                <a:gd name="T10" fmla="*/ 2239 w 3197"/>
                <a:gd name="T11" fmla="*/ 496 h 1983"/>
                <a:gd name="T12" fmla="*/ 2403 w 3197"/>
                <a:gd name="T13" fmla="*/ 608 h 1983"/>
                <a:gd name="T14" fmla="*/ 2595 w 3197"/>
                <a:gd name="T15" fmla="*/ 458 h 1983"/>
                <a:gd name="T16" fmla="*/ 2663 w 3197"/>
                <a:gd name="T17" fmla="*/ 447 h 1983"/>
                <a:gd name="T18" fmla="*/ 2730 w 3197"/>
                <a:gd name="T19" fmla="*/ 470 h 1983"/>
                <a:gd name="T20" fmla="*/ 2899 w 3197"/>
                <a:gd name="T21" fmla="*/ 665 h 1983"/>
                <a:gd name="T22" fmla="*/ 2927 w 3197"/>
                <a:gd name="T23" fmla="*/ 732 h 1983"/>
                <a:gd name="T24" fmla="*/ 2922 w 3197"/>
                <a:gd name="T25" fmla="*/ 802 h 1983"/>
                <a:gd name="T26" fmla="*/ 2880 w 3197"/>
                <a:gd name="T27" fmla="*/ 861 h 1983"/>
                <a:gd name="T28" fmla="*/ 2766 w 3197"/>
                <a:gd name="T29" fmla="*/ 1082 h 1983"/>
                <a:gd name="T30" fmla="*/ 2832 w 3197"/>
                <a:gd name="T31" fmla="*/ 1270 h 1983"/>
                <a:gd name="T32" fmla="*/ 2868 w 3197"/>
                <a:gd name="T33" fmla="*/ 1470 h 1983"/>
                <a:gd name="T34" fmla="*/ 3110 w 3197"/>
                <a:gd name="T35" fmla="*/ 1497 h 1983"/>
                <a:gd name="T36" fmla="*/ 3167 w 3197"/>
                <a:gd name="T37" fmla="*/ 1536 h 1983"/>
                <a:gd name="T38" fmla="*/ 3195 w 3197"/>
                <a:gd name="T39" fmla="*/ 1601 h 1983"/>
                <a:gd name="T40" fmla="*/ 3176 w 3197"/>
                <a:gd name="T41" fmla="*/ 1858 h 1983"/>
                <a:gd name="T42" fmla="*/ 3152 w 3197"/>
                <a:gd name="T43" fmla="*/ 1926 h 1983"/>
                <a:gd name="T44" fmla="*/ 3098 w 3197"/>
                <a:gd name="T45" fmla="*/ 1970 h 1983"/>
                <a:gd name="T46" fmla="*/ 3028 w 3197"/>
                <a:gd name="T47" fmla="*/ 1983 h 1983"/>
                <a:gd name="T48" fmla="*/ 2180 w 3197"/>
                <a:gd name="T49" fmla="*/ 1904 h 1983"/>
                <a:gd name="T50" fmla="*/ 2205 w 3197"/>
                <a:gd name="T51" fmla="*/ 1573 h 1983"/>
                <a:gd name="T52" fmla="*/ 2177 w 3197"/>
                <a:gd name="T53" fmla="*/ 1417 h 1983"/>
                <a:gd name="T54" fmla="*/ 2112 w 3197"/>
                <a:gd name="T55" fmla="*/ 1274 h 1983"/>
                <a:gd name="T56" fmla="*/ 2013 w 3197"/>
                <a:gd name="T57" fmla="*/ 1154 h 1983"/>
                <a:gd name="T58" fmla="*/ 1886 w 3197"/>
                <a:gd name="T59" fmla="*/ 1063 h 1983"/>
                <a:gd name="T60" fmla="*/ 1737 w 3197"/>
                <a:gd name="T61" fmla="*/ 1008 h 1983"/>
                <a:gd name="T62" fmla="*/ 1572 w 3197"/>
                <a:gd name="T63" fmla="*/ 993 h 1983"/>
                <a:gd name="T64" fmla="*/ 1414 w 3197"/>
                <a:gd name="T65" fmla="*/ 1019 h 1983"/>
                <a:gd name="T66" fmla="*/ 1274 w 3197"/>
                <a:gd name="T67" fmla="*/ 1086 h 1983"/>
                <a:gd name="T68" fmla="*/ 1154 w 3197"/>
                <a:gd name="T69" fmla="*/ 1185 h 1983"/>
                <a:gd name="T70" fmla="*/ 1063 w 3197"/>
                <a:gd name="T71" fmla="*/ 1310 h 1983"/>
                <a:gd name="T72" fmla="*/ 1006 w 3197"/>
                <a:gd name="T73" fmla="*/ 1460 h 1983"/>
                <a:gd name="T74" fmla="*/ 970 w 3197"/>
                <a:gd name="T75" fmla="*/ 1789 h 1983"/>
                <a:gd name="T76" fmla="*/ 171 w 3197"/>
                <a:gd name="T77" fmla="*/ 1715 h 1983"/>
                <a:gd name="T78" fmla="*/ 86 w 3197"/>
                <a:gd name="T79" fmla="*/ 1702 h 1983"/>
                <a:gd name="T80" fmla="*/ 29 w 3197"/>
                <a:gd name="T81" fmla="*/ 1660 h 1983"/>
                <a:gd name="T82" fmla="*/ 0 w 3197"/>
                <a:gd name="T83" fmla="*/ 1597 h 1983"/>
                <a:gd name="T84" fmla="*/ 21 w 3197"/>
                <a:gd name="T85" fmla="*/ 1339 h 1983"/>
                <a:gd name="T86" fmla="*/ 46 w 3197"/>
                <a:gd name="T87" fmla="*/ 1272 h 1983"/>
                <a:gd name="T88" fmla="*/ 101 w 3197"/>
                <a:gd name="T89" fmla="*/ 1226 h 1983"/>
                <a:gd name="T90" fmla="*/ 171 w 3197"/>
                <a:gd name="T91" fmla="*/ 1215 h 1983"/>
                <a:gd name="T92" fmla="*/ 409 w 3197"/>
                <a:gd name="T93" fmla="*/ 1139 h 1983"/>
                <a:gd name="T94" fmla="*/ 496 w 3197"/>
                <a:gd name="T95" fmla="*/ 956 h 1983"/>
                <a:gd name="T96" fmla="*/ 608 w 3197"/>
                <a:gd name="T97" fmla="*/ 795 h 1983"/>
                <a:gd name="T98" fmla="*/ 458 w 3197"/>
                <a:gd name="T99" fmla="*/ 605 h 1983"/>
                <a:gd name="T100" fmla="*/ 447 w 3197"/>
                <a:gd name="T101" fmla="*/ 534 h 1983"/>
                <a:gd name="T102" fmla="*/ 470 w 3197"/>
                <a:gd name="T103" fmla="*/ 468 h 1983"/>
                <a:gd name="T104" fmla="*/ 665 w 3197"/>
                <a:gd name="T105" fmla="*/ 300 h 1983"/>
                <a:gd name="T106" fmla="*/ 732 w 3197"/>
                <a:gd name="T107" fmla="*/ 270 h 1983"/>
                <a:gd name="T108" fmla="*/ 800 w 3197"/>
                <a:gd name="T109" fmla="*/ 276 h 1983"/>
                <a:gd name="T110" fmla="*/ 859 w 3197"/>
                <a:gd name="T111" fmla="*/ 317 h 1983"/>
                <a:gd name="T112" fmla="*/ 1080 w 3197"/>
                <a:gd name="T113" fmla="*/ 432 h 1983"/>
                <a:gd name="T114" fmla="*/ 1268 w 3197"/>
                <a:gd name="T115" fmla="*/ 365 h 1983"/>
                <a:gd name="T116" fmla="*/ 1468 w 3197"/>
                <a:gd name="T117" fmla="*/ 329 h 1983"/>
                <a:gd name="T118" fmla="*/ 1496 w 3197"/>
                <a:gd name="T119" fmla="*/ 87 h 1983"/>
                <a:gd name="T120" fmla="*/ 1536 w 3197"/>
                <a:gd name="T121" fmla="*/ 30 h 1983"/>
                <a:gd name="T122" fmla="*/ 1601 w 3197"/>
                <a:gd name="T123" fmla="*/ 2 h 19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97" h="1983">
                  <a:moveTo>
                    <a:pt x="1637" y="0"/>
                  </a:moveTo>
                  <a:lnTo>
                    <a:pt x="1857" y="21"/>
                  </a:lnTo>
                  <a:lnTo>
                    <a:pt x="1893" y="28"/>
                  </a:lnTo>
                  <a:lnTo>
                    <a:pt x="1926" y="45"/>
                  </a:lnTo>
                  <a:lnTo>
                    <a:pt x="1950" y="70"/>
                  </a:lnTo>
                  <a:lnTo>
                    <a:pt x="1969" y="99"/>
                  </a:lnTo>
                  <a:lnTo>
                    <a:pt x="1981" y="133"/>
                  </a:lnTo>
                  <a:lnTo>
                    <a:pt x="1981" y="171"/>
                  </a:lnTo>
                  <a:lnTo>
                    <a:pt x="1962" y="374"/>
                  </a:lnTo>
                  <a:lnTo>
                    <a:pt x="2059" y="409"/>
                  </a:lnTo>
                  <a:lnTo>
                    <a:pt x="2152" y="449"/>
                  </a:lnTo>
                  <a:lnTo>
                    <a:pt x="2239" y="496"/>
                  </a:lnTo>
                  <a:lnTo>
                    <a:pt x="2323" y="549"/>
                  </a:lnTo>
                  <a:lnTo>
                    <a:pt x="2403" y="608"/>
                  </a:lnTo>
                  <a:lnTo>
                    <a:pt x="2562" y="477"/>
                  </a:lnTo>
                  <a:lnTo>
                    <a:pt x="2595" y="458"/>
                  </a:lnTo>
                  <a:lnTo>
                    <a:pt x="2629" y="447"/>
                  </a:lnTo>
                  <a:lnTo>
                    <a:pt x="2663" y="447"/>
                  </a:lnTo>
                  <a:lnTo>
                    <a:pt x="2697" y="454"/>
                  </a:lnTo>
                  <a:lnTo>
                    <a:pt x="2730" y="470"/>
                  </a:lnTo>
                  <a:lnTo>
                    <a:pt x="2756" y="496"/>
                  </a:lnTo>
                  <a:lnTo>
                    <a:pt x="2899" y="665"/>
                  </a:lnTo>
                  <a:lnTo>
                    <a:pt x="2918" y="698"/>
                  </a:lnTo>
                  <a:lnTo>
                    <a:pt x="2927" y="732"/>
                  </a:lnTo>
                  <a:lnTo>
                    <a:pt x="2929" y="766"/>
                  </a:lnTo>
                  <a:lnTo>
                    <a:pt x="2922" y="802"/>
                  </a:lnTo>
                  <a:lnTo>
                    <a:pt x="2905" y="833"/>
                  </a:lnTo>
                  <a:lnTo>
                    <a:pt x="2880" y="861"/>
                  </a:lnTo>
                  <a:lnTo>
                    <a:pt x="2722" y="993"/>
                  </a:lnTo>
                  <a:lnTo>
                    <a:pt x="2766" y="1082"/>
                  </a:lnTo>
                  <a:lnTo>
                    <a:pt x="2802" y="1173"/>
                  </a:lnTo>
                  <a:lnTo>
                    <a:pt x="2832" y="1270"/>
                  </a:lnTo>
                  <a:lnTo>
                    <a:pt x="2855" y="1367"/>
                  </a:lnTo>
                  <a:lnTo>
                    <a:pt x="2868" y="1470"/>
                  </a:lnTo>
                  <a:lnTo>
                    <a:pt x="3074" y="1489"/>
                  </a:lnTo>
                  <a:lnTo>
                    <a:pt x="3110" y="1497"/>
                  </a:lnTo>
                  <a:lnTo>
                    <a:pt x="3140" y="1514"/>
                  </a:lnTo>
                  <a:lnTo>
                    <a:pt x="3167" y="1536"/>
                  </a:lnTo>
                  <a:lnTo>
                    <a:pt x="3186" y="1567"/>
                  </a:lnTo>
                  <a:lnTo>
                    <a:pt x="3195" y="1601"/>
                  </a:lnTo>
                  <a:lnTo>
                    <a:pt x="3197" y="1637"/>
                  </a:lnTo>
                  <a:lnTo>
                    <a:pt x="3176" y="1858"/>
                  </a:lnTo>
                  <a:lnTo>
                    <a:pt x="3169" y="1894"/>
                  </a:lnTo>
                  <a:lnTo>
                    <a:pt x="3152" y="1926"/>
                  </a:lnTo>
                  <a:lnTo>
                    <a:pt x="3129" y="1951"/>
                  </a:lnTo>
                  <a:lnTo>
                    <a:pt x="3098" y="1970"/>
                  </a:lnTo>
                  <a:lnTo>
                    <a:pt x="3064" y="1981"/>
                  </a:lnTo>
                  <a:lnTo>
                    <a:pt x="3028" y="1983"/>
                  </a:lnTo>
                  <a:lnTo>
                    <a:pt x="2823" y="1962"/>
                  </a:lnTo>
                  <a:lnTo>
                    <a:pt x="2180" y="1904"/>
                  </a:lnTo>
                  <a:lnTo>
                    <a:pt x="2203" y="1656"/>
                  </a:lnTo>
                  <a:lnTo>
                    <a:pt x="2205" y="1573"/>
                  </a:lnTo>
                  <a:lnTo>
                    <a:pt x="2196" y="1493"/>
                  </a:lnTo>
                  <a:lnTo>
                    <a:pt x="2177" y="1417"/>
                  </a:lnTo>
                  <a:lnTo>
                    <a:pt x="2148" y="1342"/>
                  </a:lnTo>
                  <a:lnTo>
                    <a:pt x="2112" y="1274"/>
                  </a:lnTo>
                  <a:lnTo>
                    <a:pt x="2066" y="1211"/>
                  </a:lnTo>
                  <a:lnTo>
                    <a:pt x="2013" y="1154"/>
                  </a:lnTo>
                  <a:lnTo>
                    <a:pt x="1952" y="1105"/>
                  </a:lnTo>
                  <a:lnTo>
                    <a:pt x="1886" y="1063"/>
                  </a:lnTo>
                  <a:lnTo>
                    <a:pt x="1814" y="1031"/>
                  </a:lnTo>
                  <a:lnTo>
                    <a:pt x="1737" y="1008"/>
                  </a:lnTo>
                  <a:lnTo>
                    <a:pt x="1656" y="994"/>
                  </a:lnTo>
                  <a:lnTo>
                    <a:pt x="1572" y="993"/>
                  </a:lnTo>
                  <a:lnTo>
                    <a:pt x="1492" y="1000"/>
                  </a:lnTo>
                  <a:lnTo>
                    <a:pt x="1414" y="1019"/>
                  </a:lnTo>
                  <a:lnTo>
                    <a:pt x="1342" y="1048"/>
                  </a:lnTo>
                  <a:lnTo>
                    <a:pt x="1274" y="1086"/>
                  </a:lnTo>
                  <a:lnTo>
                    <a:pt x="1211" y="1131"/>
                  </a:lnTo>
                  <a:lnTo>
                    <a:pt x="1154" y="1185"/>
                  </a:lnTo>
                  <a:lnTo>
                    <a:pt x="1105" y="1244"/>
                  </a:lnTo>
                  <a:lnTo>
                    <a:pt x="1063" y="1310"/>
                  </a:lnTo>
                  <a:lnTo>
                    <a:pt x="1030" y="1382"/>
                  </a:lnTo>
                  <a:lnTo>
                    <a:pt x="1006" y="1460"/>
                  </a:lnTo>
                  <a:lnTo>
                    <a:pt x="992" y="1542"/>
                  </a:lnTo>
                  <a:lnTo>
                    <a:pt x="970" y="1789"/>
                  </a:lnTo>
                  <a:lnTo>
                    <a:pt x="327" y="1729"/>
                  </a:lnTo>
                  <a:lnTo>
                    <a:pt x="171" y="1715"/>
                  </a:lnTo>
                  <a:lnTo>
                    <a:pt x="122" y="1710"/>
                  </a:lnTo>
                  <a:lnTo>
                    <a:pt x="86" y="1702"/>
                  </a:lnTo>
                  <a:lnTo>
                    <a:pt x="53" y="1685"/>
                  </a:lnTo>
                  <a:lnTo>
                    <a:pt x="29" y="1660"/>
                  </a:lnTo>
                  <a:lnTo>
                    <a:pt x="10" y="1632"/>
                  </a:lnTo>
                  <a:lnTo>
                    <a:pt x="0" y="1597"/>
                  </a:lnTo>
                  <a:lnTo>
                    <a:pt x="0" y="1559"/>
                  </a:lnTo>
                  <a:lnTo>
                    <a:pt x="21" y="1339"/>
                  </a:lnTo>
                  <a:lnTo>
                    <a:pt x="31" y="1304"/>
                  </a:lnTo>
                  <a:lnTo>
                    <a:pt x="46" y="1272"/>
                  </a:lnTo>
                  <a:lnTo>
                    <a:pt x="70" y="1245"/>
                  </a:lnTo>
                  <a:lnTo>
                    <a:pt x="101" y="1226"/>
                  </a:lnTo>
                  <a:lnTo>
                    <a:pt x="135" y="1217"/>
                  </a:lnTo>
                  <a:lnTo>
                    <a:pt x="171" y="1215"/>
                  </a:lnTo>
                  <a:lnTo>
                    <a:pt x="376" y="1234"/>
                  </a:lnTo>
                  <a:lnTo>
                    <a:pt x="409" y="1139"/>
                  </a:lnTo>
                  <a:lnTo>
                    <a:pt x="449" y="1046"/>
                  </a:lnTo>
                  <a:lnTo>
                    <a:pt x="496" y="956"/>
                  </a:lnTo>
                  <a:lnTo>
                    <a:pt x="549" y="873"/>
                  </a:lnTo>
                  <a:lnTo>
                    <a:pt x="608" y="795"/>
                  </a:lnTo>
                  <a:lnTo>
                    <a:pt x="477" y="635"/>
                  </a:lnTo>
                  <a:lnTo>
                    <a:pt x="458" y="605"/>
                  </a:lnTo>
                  <a:lnTo>
                    <a:pt x="447" y="568"/>
                  </a:lnTo>
                  <a:lnTo>
                    <a:pt x="447" y="534"/>
                  </a:lnTo>
                  <a:lnTo>
                    <a:pt x="454" y="500"/>
                  </a:lnTo>
                  <a:lnTo>
                    <a:pt x="470" y="468"/>
                  </a:lnTo>
                  <a:lnTo>
                    <a:pt x="494" y="441"/>
                  </a:lnTo>
                  <a:lnTo>
                    <a:pt x="665" y="300"/>
                  </a:lnTo>
                  <a:lnTo>
                    <a:pt x="698" y="279"/>
                  </a:lnTo>
                  <a:lnTo>
                    <a:pt x="732" y="270"/>
                  </a:lnTo>
                  <a:lnTo>
                    <a:pt x="766" y="268"/>
                  </a:lnTo>
                  <a:lnTo>
                    <a:pt x="800" y="276"/>
                  </a:lnTo>
                  <a:lnTo>
                    <a:pt x="833" y="293"/>
                  </a:lnTo>
                  <a:lnTo>
                    <a:pt x="859" y="317"/>
                  </a:lnTo>
                  <a:lnTo>
                    <a:pt x="992" y="477"/>
                  </a:lnTo>
                  <a:lnTo>
                    <a:pt x="1080" y="432"/>
                  </a:lnTo>
                  <a:lnTo>
                    <a:pt x="1173" y="395"/>
                  </a:lnTo>
                  <a:lnTo>
                    <a:pt x="1268" y="365"/>
                  </a:lnTo>
                  <a:lnTo>
                    <a:pt x="1367" y="344"/>
                  </a:lnTo>
                  <a:lnTo>
                    <a:pt x="1468" y="329"/>
                  </a:lnTo>
                  <a:lnTo>
                    <a:pt x="1487" y="123"/>
                  </a:lnTo>
                  <a:lnTo>
                    <a:pt x="1496" y="87"/>
                  </a:lnTo>
                  <a:lnTo>
                    <a:pt x="1511" y="57"/>
                  </a:lnTo>
                  <a:lnTo>
                    <a:pt x="1536" y="30"/>
                  </a:lnTo>
                  <a:lnTo>
                    <a:pt x="1566" y="11"/>
                  </a:lnTo>
                  <a:lnTo>
                    <a:pt x="1601" y="2"/>
                  </a:lnTo>
                  <a:lnTo>
                    <a:pt x="163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35" name="Group 983">
            <a:extLst>
              <a:ext uri="{FF2B5EF4-FFF2-40B4-BE49-F238E27FC236}">
                <a16:creationId xmlns:a16="http://schemas.microsoft.com/office/drawing/2014/main" id="{D9075970-64E3-7EB4-22D7-E03D3A870A1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295751" y="5006768"/>
            <a:ext cx="212485" cy="222621"/>
            <a:chOff x="-2695" y="580"/>
            <a:chExt cx="2138" cy="2240"/>
          </a:xfrm>
          <a:solidFill>
            <a:schemeClr val="bg1"/>
          </a:solidFill>
        </p:grpSpPr>
        <p:sp>
          <p:nvSpPr>
            <p:cNvPr id="36" name="Freeform 985">
              <a:extLst>
                <a:ext uri="{FF2B5EF4-FFF2-40B4-BE49-F238E27FC236}">
                  <a16:creationId xmlns:a16="http://schemas.microsoft.com/office/drawing/2014/main" id="{1E46FEB2-6065-3E4C-C912-AAD8273457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252" y="580"/>
              <a:ext cx="1034" cy="1263"/>
            </a:xfrm>
            <a:custGeom>
              <a:avLst/>
              <a:gdLst>
                <a:gd name="T0" fmla="*/ 528 w 2068"/>
                <a:gd name="T1" fmla="*/ 773 h 2527"/>
                <a:gd name="T2" fmla="*/ 339 w 2068"/>
                <a:gd name="T3" fmla="*/ 850 h 2527"/>
                <a:gd name="T4" fmla="*/ 214 w 2068"/>
                <a:gd name="T5" fmla="*/ 961 h 2527"/>
                <a:gd name="T6" fmla="*/ 151 w 2068"/>
                <a:gd name="T7" fmla="*/ 1158 h 2527"/>
                <a:gd name="T8" fmla="*/ 172 w 2068"/>
                <a:gd name="T9" fmla="*/ 1506 h 2527"/>
                <a:gd name="T10" fmla="*/ 253 w 2068"/>
                <a:gd name="T11" fmla="*/ 1770 h 2527"/>
                <a:gd name="T12" fmla="*/ 372 w 2068"/>
                <a:gd name="T13" fmla="*/ 1972 h 2527"/>
                <a:gd name="T14" fmla="*/ 504 w 2068"/>
                <a:gd name="T15" fmla="*/ 2119 h 2527"/>
                <a:gd name="T16" fmla="*/ 727 w 2068"/>
                <a:gd name="T17" fmla="*/ 2280 h 2527"/>
                <a:gd name="T18" fmla="*/ 926 w 2068"/>
                <a:gd name="T19" fmla="*/ 2359 h 2527"/>
                <a:gd name="T20" fmla="*/ 1065 w 2068"/>
                <a:gd name="T21" fmla="*/ 2374 h 2527"/>
                <a:gd name="T22" fmla="*/ 1235 w 2068"/>
                <a:gd name="T23" fmla="*/ 2329 h 2527"/>
                <a:gd name="T24" fmla="*/ 1451 w 2068"/>
                <a:gd name="T25" fmla="*/ 2211 h 2527"/>
                <a:gd name="T26" fmla="*/ 1630 w 2068"/>
                <a:gd name="T27" fmla="*/ 2052 h 2527"/>
                <a:gd name="T28" fmla="*/ 1758 w 2068"/>
                <a:gd name="T29" fmla="*/ 1879 h 2527"/>
                <a:gd name="T30" fmla="*/ 1861 w 2068"/>
                <a:gd name="T31" fmla="*/ 1646 h 2527"/>
                <a:gd name="T32" fmla="*/ 1914 w 2068"/>
                <a:gd name="T33" fmla="*/ 1349 h 2527"/>
                <a:gd name="T34" fmla="*/ 1812 w 2068"/>
                <a:gd name="T35" fmla="*/ 1046 h 2527"/>
                <a:gd name="T36" fmla="*/ 1468 w 2068"/>
                <a:gd name="T37" fmla="*/ 1083 h 2527"/>
                <a:gd name="T38" fmla="*/ 1201 w 2068"/>
                <a:gd name="T39" fmla="*/ 1061 h 2527"/>
                <a:gd name="T40" fmla="*/ 1003 w 2068"/>
                <a:gd name="T41" fmla="*/ 1002 h 2527"/>
                <a:gd name="T42" fmla="*/ 867 w 2068"/>
                <a:gd name="T43" fmla="*/ 923 h 2527"/>
                <a:gd name="T44" fmla="*/ 780 w 2068"/>
                <a:gd name="T45" fmla="*/ 843 h 2527"/>
                <a:gd name="T46" fmla="*/ 735 w 2068"/>
                <a:gd name="T47" fmla="*/ 781 h 2527"/>
                <a:gd name="T48" fmla="*/ 722 w 2068"/>
                <a:gd name="T49" fmla="*/ 757 h 2527"/>
                <a:gd name="T50" fmla="*/ 1307 w 2068"/>
                <a:gd name="T51" fmla="*/ 19 h 2527"/>
                <a:gd name="T52" fmla="*/ 1592 w 2068"/>
                <a:gd name="T53" fmla="*/ 100 h 2527"/>
                <a:gd name="T54" fmla="*/ 1796 w 2068"/>
                <a:gd name="T55" fmla="*/ 236 h 2527"/>
                <a:gd name="T56" fmla="*/ 1932 w 2068"/>
                <a:gd name="T57" fmla="*/ 420 h 2527"/>
                <a:gd name="T58" fmla="*/ 2014 w 2068"/>
                <a:gd name="T59" fmla="*/ 646 h 2527"/>
                <a:gd name="T60" fmla="*/ 2054 w 2068"/>
                <a:gd name="T61" fmla="*/ 904 h 2527"/>
                <a:gd name="T62" fmla="*/ 2067 w 2068"/>
                <a:gd name="T63" fmla="*/ 1189 h 2527"/>
                <a:gd name="T64" fmla="*/ 2042 w 2068"/>
                <a:gd name="T65" fmla="*/ 1541 h 2527"/>
                <a:gd name="T66" fmla="*/ 1941 w 2068"/>
                <a:gd name="T67" fmla="*/ 1855 h 2527"/>
                <a:gd name="T68" fmla="*/ 1784 w 2068"/>
                <a:gd name="T69" fmla="*/ 2104 h 2527"/>
                <a:gd name="T70" fmla="*/ 1592 w 2068"/>
                <a:gd name="T71" fmla="*/ 2294 h 2527"/>
                <a:gd name="T72" fmla="*/ 1387 w 2068"/>
                <a:gd name="T73" fmla="*/ 2425 h 2527"/>
                <a:gd name="T74" fmla="*/ 1194 w 2068"/>
                <a:gd name="T75" fmla="*/ 2502 h 2527"/>
                <a:gd name="T76" fmla="*/ 1033 w 2068"/>
                <a:gd name="T77" fmla="*/ 2527 h 2527"/>
                <a:gd name="T78" fmla="*/ 873 w 2068"/>
                <a:gd name="T79" fmla="*/ 2502 h 2527"/>
                <a:gd name="T80" fmla="*/ 679 w 2068"/>
                <a:gd name="T81" fmla="*/ 2425 h 2527"/>
                <a:gd name="T82" fmla="*/ 475 w 2068"/>
                <a:gd name="T83" fmla="*/ 2294 h 2527"/>
                <a:gd name="T84" fmla="*/ 283 w 2068"/>
                <a:gd name="T85" fmla="*/ 2104 h 2527"/>
                <a:gd name="T86" fmla="*/ 125 w 2068"/>
                <a:gd name="T87" fmla="*/ 1855 h 2527"/>
                <a:gd name="T88" fmla="*/ 25 w 2068"/>
                <a:gd name="T89" fmla="*/ 1541 h 2527"/>
                <a:gd name="T90" fmla="*/ 0 w 2068"/>
                <a:gd name="T91" fmla="*/ 1189 h 2527"/>
                <a:gd name="T92" fmla="*/ 12 w 2068"/>
                <a:gd name="T93" fmla="*/ 904 h 2527"/>
                <a:gd name="T94" fmla="*/ 53 w 2068"/>
                <a:gd name="T95" fmla="*/ 646 h 2527"/>
                <a:gd name="T96" fmla="*/ 136 w 2068"/>
                <a:gd name="T97" fmla="*/ 420 h 2527"/>
                <a:gd name="T98" fmla="*/ 272 w 2068"/>
                <a:gd name="T99" fmla="*/ 236 h 2527"/>
                <a:gd name="T100" fmla="*/ 475 w 2068"/>
                <a:gd name="T101" fmla="*/ 100 h 2527"/>
                <a:gd name="T102" fmla="*/ 760 w 2068"/>
                <a:gd name="T103" fmla="*/ 19 h 2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068" h="2527">
                  <a:moveTo>
                    <a:pt x="722" y="757"/>
                  </a:moveTo>
                  <a:lnTo>
                    <a:pt x="652" y="757"/>
                  </a:lnTo>
                  <a:lnTo>
                    <a:pt x="588" y="764"/>
                  </a:lnTo>
                  <a:lnTo>
                    <a:pt x="528" y="773"/>
                  </a:lnTo>
                  <a:lnTo>
                    <a:pt x="474" y="787"/>
                  </a:lnTo>
                  <a:lnTo>
                    <a:pt x="425" y="805"/>
                  </a:lnTo>
                  <a:lnTo>
                    <a:pt x="380" y="825"/>
                  </a:lnTo>
                  <a:lnTo>
                    <a:pt x="339" y="850"/>
                  </a:lnTo>
                  <a:lnTo>
                    <a:pt x="301" y="874"/>
                  </a:lnTo>
                  <a:lnTo>
                    <a:pt x="268" y="903"/>
                  </a:lnTo>
                  <a:lnTo>
                    <a:pt x="240" y="931"/>
                  </a:lnTo>
                  <a:lnTo>
                    <a:pt x="214" y="961"/>
                  </a:lnTo>
                  <a:lnTo>
                    <a:pt x="191" y="991"/>
                  </a:lnTo>
                  <a:lnTo>
                    <a:pt x="172" y="1023"/>
                  </a:lnTo>
                  <a:lnTo>
                    <a:pt x="154" y="1053"/>
                  </a:lnTo>
                  <a:lnTo>
                    <a:pt x="151" y="1158"/>
                  </a:lnTo>
                  <a:lnTo>
                    <a:pt x="150" y="1263"/>
                  </a:lnTo>
                  <a:lnTo>
                    <a:pt x="153" y="1349"/>
                  </a:lnTo>
                  <a:lnTo>
                    <a:pt x="159" y="1429"/>
                  </a:lnTo>
                  <a:lnTo>
                    <a:pt x="172" y="1506"/>
                  </a:lnTo>
                  <a:lnTo>
                    <a:pt x="187" y="1578"/>
                  </a:lnTo>
                  <a:lnTo>
                    <a:pt x="206" y="1646"/>
                  </a:lnTo>
                  <a:lnTo>
                    <a:pt x="228" y="1710"/>
                  </a:lnTo>
                  <a:lnTo>
                    <a:pt x="253" y="1770"/>
                  </a:lnTo>
                  <a:lnTo>
                    <a:pt x="281" y="1826"/>
                  </a:lnTo>
                  <a:lnTo>
                    <a:pt x="309" y="1879"/>
                  </a:lnTo>
                  <a:lnTo>
                    <a:pt x="341" y="1927"/>
                  </a:lnTo>
                  <a:lnTo>
                    <a:pt x="372" y="1972"/>
                  </a:lnTo>
                  <a:lnTo>
                    <a:pt x="405" y="2014"/>
                  </a:lnTo>
                  <a:lnTo>
                    <a:pt x="437" y="2052"/>
                  </a:lnTo>
                  <a:lnTo>
                    <a:pt x="471" y="2088"/>
                  </a:lnTo>
                  <a:lnTo>
                    <a:pt x="504" y="2119"/>
                  </a:lnTo>
                  <a:lnTo>
                    <a:pt x="560" y="2167"/>
                  </a:lnTo>
                  <a:lnTo>
                    <a:pt x="616" y="2211"/>
                  </a:lnTo>
                  <a:lnTo>
                    <a:pt x="671" y="2247"/>
                  </a:lnTo>
                  <a:lnTo>
                    <a:pt x="727" y="2280"/>
                  </a:lnTo>
                  <a:lnTo>
                    <a:pt x="780" y="2306"/>
                  </a:lnTo>
                  <a:lnTo>
                    <a:pt x="832" y="2329"/>
                  </a:lnTo>
                  <a:lnTo>
                    <a:pt x="881" y="2347"/>
                  </a:lnTo>
                  <a:lnTo>
                    <a:pt x="926" y="2359"/>
                  </a:lnTo>
                  <a:lnTo>
                    <a:pt x="967" y="2369"/>
                  </a:lnTo>
                  <a:lnTo>
                    <a:pt x="1003" y="2374"/>
                  </a:lnTo>
                  <a:lnTo>
                    <a:pt x="1033" y="2376"/>
                  </a:lnTo>
                  <a:lnTo>
                    <a:pt x="1065" y="2374"/>
                  </a:lnTo>
                  <a:lnTo>
                    <a:pt x="1100" y="2369"/>
                  </a:lnTo>
                  <a:lnTo>
                    <a:pt x="1141" y="2359"/>
                  </a:lnTo>
                  <a:lnTo>
                    <a:pt x="1187" y="2347"/>
                  </a:lnTo>
                  <a:lnTo>
                    <a:pt x="1235" y="2329"/>
                  </a:lnTo>
                  <a:lnTo>
                    <a:pt x="1287" y="2306"/>
                  </a:lnTo>
                  <a:lnTo>
                    <a:pt x="1341" y="2280"/>
                  </a:lnTo>
                  <a:lnTo>
                    <a:pt x="1396" y="2247"/>
                  </a:lnTo>
                  <a:lnTo>
                    <a:pt x="1451" y="2211"/>
                  </a:lnTo>
                  <a:lnTo>
                    <a:pt x="1509" y="2167"/>
                  </a:lnTo>
                  <a:lnTo>
                    <a:pt x="1564" y="2119"/>
                  </a:lnTo>
                  <a:lnTo>
                    <a:pt x="1597" y="2088"/>
                  </a:lnTo>
                  <a:lnTo>
                    <a:pt x="1630" y="2052"/>
                  </a:lnTo>
                  <a:lnTo>
                    <a:pt x="1662" y="2014"/>
                  </a:lnTo>
                  <a:lnTo>
                    <a:pt x="1695" y="1972"/>
                  </a:lnTo>
                  <a:lnTo>
                    <a:pt x="1728" y="1927"/>
                  </a:lnTo>
                  <a:lnTo>
                    <a:pt x="1758" y="1879"/>
                  </a:lnTo>
                  <a:lnTo>
                    <a:pt x="1788" y="1826"/>
                  </a:lnTo>
                  <a:lnTo>
                    <a:pt x="1815" y="1770"/>
                  </a:lnTo>
                  <a:lnTo>
                    <a:pt x="1839" y="1710"/>
                  </a:lnTo>
                  <a:lnTo>
                    <a:pt x="1861" y="1646"/>
                  </a:lnTo>
                  <a:lnTo>
                    <a:pt x="1880" y="1578"/>
                  </a:lnTo>
                  <a:lnTo>
                    <a:pt x="1896" y="1506"/>
                  </a:lnTo>
                  <a:lnTo>
                    <a:pt x="1907" y="1429"/>
                  </a:lnTo>
                  <a:lnTo>
                    <a:pt x="1914" y="1349"/>
                  </a:lnTo>
                  <a:lnTo>
                    <a:pt x="1917" y="1263"/>
                  </a:lnTo>
                  <a:lnTo>
                    <a:pt x="1916" y="1144"/>
                  </a:lnTo>
                  <a:lnTo>
                    <a:pt x="1911" y="1026"/>
                  </a:lnTo>
                  <a:lnTo>
                    <a:pt x="1812" y="1046"/>
                  </a:lnTo>
                  <a:lnTo>
                    <a:pt x="1718" y="1062"/>
                  </a:lnTo>
                  <a:lnTo>
                    <a:pt x="1630" y="1073"/>
                  </a:lnTo>
                  <a:lnTo>
                    <a:pt x="1547" y="1080"/>
                  </a:lnTo>
                  <a:lnTo>
                    <a:pt x="1468" y="1083"/>
                  </a:lnTo>
                  <a:lnTo>
                    <a:pt x="1394" y="1081"/>
                  </a:lnTo>
                  <a:lnTo>
                    <a:pt x="1325" y="1079"/>
                  </a:lnTo>
                  <a:lnTo>
                    <a:pt x="1261" y="1072"/>
                  </a:lnTo>
                  <a:lnTo>
                    <a:pt x="1201" y="1061"/>
                  </a:lnTo>
                  <a:lnTo>
                    <a:pt x="1146" y="1050"/>
                  </a:lnTo>
                  <a:lnTo>
                    <a:pt x="1095" y="1035"/>
                  </a:lnTo>
                  <a:lnTo>
                    <a:pt x="1047" y="1020"/>
                  </a:lnTo>
                  <a:lnTo>
                    <a:pt x="1003" y="1002"/>
                  </a:lnTo>
                  <a:lnTo>
                    <a:pt x="964" y="983"/>
                  </a:lnTo>
                  <a:lnTo>
                    <a:pt x="929" y="964"/>
                  </a:lnTo>
                  <a:lnTo>
                    <a:pt x="896" y="944"/>
                  </a:lnTo>
                  <a:lnTo>
                    <a:pt x="867" y="923"/>
                  </a:lnTo>
                  <a:lnTo>
                    <a:pt x="840" y="903"/>
                  </a:lnTo>
                  <a:lnTo>
                    <a:pt x="817" y="882"/>
                  </a:lnTo>
                  <a:lnTo>
                    <a:pt x="798" y="862"/>
                  </a:lnTo>
                  <a:lnTo>
                    <a:pt x="780" y="843"/>
                  </a:lnTo>
                  <a:lnTo>
                    <a:pt x="765" y="825"/>
                  </a:lnTo>
                  <a:lnTo>
                    <a:pt x="753" y="809"/>
                  </a:lnTo>
                  <a:lnTo>
                    <a:pt x="742" y="794"/>
                  </a:lnTo>
                  <a:lnTo>
                    <a:pt x="735" y="781"/>
                  </a:lnTo>
                  <a:lnTo>
                    <a:pt x="728" y="771"/>
                  </a:lnTo>
                  <a:lnTo>
                    <a:pt x="724" y="764"/>
                  </a:lnTo>
                  <a:lnTo>
                    <a:pt x="723" y="758"/>
                  </a:lnTo>
                  <a:lnTo>
                    <a:pt x="722" y="757"/>
                  </a:lnTo>
                  <a:close/>
                  <a:moveTo>
                    <a:pt x="1033" y="0"/>
                  </a:moveTo>
                  <a:lnTo>
                    <a:pt x="1131" y="3"/>
                  </a:lnTo>
                  <a:lnTo>
                    <a:pt x="1223" y="8"/>
                  </a:lnTo>
                  <a:lnTo>
                    <a:pt x="1307" y="19"/>
                  </a:lnTo>
                  <a:lnTo>
                    <a:pt x="1387" y="34"/>
                  </a:lnTo>
                  <a:lnTo>
                    <a:pt x="1461" y="52"/>
                  </a:lnTo>
                  <a:lnTo>
                    <a:pt x="1529" y="74"/>
                  </a:lnTo>
                  <a:lnTo>
                    <a:pt x="1592" y="100"/>
                  </a:lnTo>
                  <a:lnTo>
                    <a:pt x="1650" y="128"/>
                  </a:lnTo>
                  <a:lnTo>
                    <a:pt x="1703" y="161"/>
                  </a:lnTo>
                  <a:lnTo>
                    <a:pt x="1751" y="196"/>
                  </a:lnTo>
                  <a:lnTo>
                    <a:pt x="1796" y="236"/>
                  </a:lnTo>
                  <a:lnTo>
                    <a:pt x="1835" y="278"/>
                  </a:lnTo>
                  <a:lnTo>
                    <a:pt x="1871" y="323"/>
                  </a:lnTo>
                  <a:lnTo>
                    <a:pt x="1903" y="370"/>
                  </a:lnTo>
                  <a:lnTo>
                    <a:pt x="1932" y="420"/>
                  </a:lnTo>
                  <a:lnTo>
                    <a:pt x="1956" y="473"/>
                  </a:lnTo>
                  <a:lnTo>
                    <a:pt x="1978" y="529"/>
                  </a:lnTo>
                  <a:lnTo>
                    <a:pt x="1997" y="586"/>
                  </a:lnTo>
                  <a:lnTo>
                    <a:pt x="2014" y="646"/>
                  </a:lnTo>
                  <a:lnTo>
                    <a:pt x="2027" y="708"/>
                  </a:lnTo>
                  <a:lnTo>
                    <a:pt x="2038" y="772"/>
                  </a:lnTo>
                  <a:lnTo>
                    <a:pt x="2048" y="837"/>
                  </a:lnTo>
                  <a:lnTo>
                    <a:pt x="2054" y="904"/>
                  </a:lnTo>
                  <a:lnTo>
                    <a:pt x="2060" y="974"/>
                  </a:lnTo>
                  <a:lnTo>
                    <a:pt x="2064" y="1045"/>
                  </a:lnTo>
                  <a:lnTo>
                    <a:pt x="2065" y="1116"/>
                  </a:lnTo>
                  <a:lnTo>
                    <a:pt x="2067" y="1189"/>
                  </a:lnTo>
                  <a:lnTo>
                    <a:pt x="2068" y="1263"/>
                  </a:lnTo>
                  <a:lnTo>
                    <a:pt x="2065" y="1361"/>
                  </a:lnTo>
                  <a:lnTo>
                    <a:pt x="2056" y="1454"/>
                  </a:lnTo>
                  <a:lnTo>
                    <a:pt x="2042" y="1541"/>
                  </a:lnTo>
                  <a:lnTo>
                    <a:pt x="2023" y="1626"/>
                  </a:lnTo>
                  <a:lnTo>
                    <a:pt x="2000" y="1706"/>
                  </a:lnTo>
                  <a:lnTo>
                    <a:pt x="1973" y="1782"/>
                  </a:lnTo>
                  <a:lnTo>
                    <a:pt x="1941" y="1855"/>
                  </a:lnTo>
                  <a:lnTo>
                    <a:pt x="1906" y="1923"/>
                  </a:lnTo>
                  <a:lnTo>
                    <a:pt x="1868" y="1987"/>
                  </a:lnTo>
                  <a:lnTo>
                    <a:pt x="1827" y="2047"/>
                  </a:lnTo>
                  <a:lnTo>
                    <a:pt x="1784" y="2104"/>
                  </a:lnTo>
                  <a:lnTo>
                    <a:pt x="1739" y="2157"/>
                  </a:lnTo>
                  <a:lnTo>
                    <a:pt x="1691" y="2206"/>
                  </a:lnTo>
                  <a:lnTo>
                    <a:pt x="1642" y="2251"/>
                  </a:lnTo>
                  <a:lnTo>
                    <a:pt x="1592" y="2294"/>
                  </a:lnTo>
                  <a:lnTo>
                    <a:pt x="1541" y="2332"/>
                  </a:lnTo>
                  <a:lnTo>
                    <a:pt x="1489" y="2366"/>
                  </a:lnTo>
                  <a:lnTo>
                    <a:pt x="1439" y="2397"/>
                  </a:lnTo>
                  <a:lnTo>
                    <a:pt x="1387" y="2425"/>
                  </a:lnTo>
                  <a:lnTo>
                    <a:pt x="1338" y="2449"/>
                  </a:lnTo>
                  <a:lnTo>
                    <a:pt x="1288" y="2470"/>
                  </a:lnTo>
                  <a:lnTo>
                    <a:pt x="1240" y="2487"/>
                  </a:lnTo>
                  <a:lnTo>
                    <a:pt x="1194" y="2502"/>
                  </a:lnTo>
                  <a:lnTo>
                    <a:pt x="1150" y="2513"/>
                  </a:lnTo>
                  <a:lnTo>
                    <a:pt x="1108" y="2520"/>
                  </a:lnTo>
                  <a:lnTo>
                    <a:pt x="1070" y="2526"/>
                  </a:lnTo>
                  <a:lnTo>
                    <a:pt x="1033" y="2527"/>
                  </a:lnTo>
                  <a:lnTo>
                    <a:pt x="998" y="2526"/>
                  </a:lnTo>
                  <a:lnTo>
                    <a:pt x="959" y="2520"/>
                  </a:lnTo>
                  <a:lnTo>
                    <a:pt x="916" y="2513"/>
                  </a:lnTo>
                  <a:lnTo>
                    <a:pt x="873" y="2502"/>
                  </a:lnTo>
                  <a:lnTo>
                    <a:pt x="827" y="2487"/>
                  </a:lnTo>
                  <a:lnTo>
                    <a:pt x="779" y="2470"/>
                  </a:lnTo>
                  <a:lnTo>
                    <a:pt x="730" y="2449"/>
                  </a:lnTo>
                  <a:lnTo>
                    <a:pt x="679" y="2425"/>
                  </a:lnTo>
                  <a:lnTo>
                    <a:pt x="628" y="2397"/>
                  </a:lnTo>
                  <a:lnTo>
                    <a:pt x="577" y="2366"/>
                  </a:lnTo>
                  <a:lnTo>
                    <a:pt x="526" y="2332"/>
                  </a:lnTo>
                  <a:lnTo>
                    <a:pt x="475" y="2294"/>
                  </a:lnTo>
                  <a:lnTo>
                    <a:pt x="425" y="2251"/>
                  </a:lnTo>
                  <a:lnTo>
                    <a:pt x="377" y="2206"/>
                  </a:lnTo>
                  <a:lnTo>
                    <a:pt x="330" y="2157"/>
                  </a:lnTo>
                  <a:lnTo>
                    <a:pt x="283" y="2104"/>
                  </a:lnTo>
                  <a:lnTo>
                    <a:pt x="240" y="2047"/>
                  </a:lnTo>
                  <a:lnTo>
                    <a:pt x="199" y="1987"/>
                  </a:lnTo>
                  <a:lnTo>
                    <a:pt x="161" y="1923"/>
                  </a:lnTo>
                  <a:lnTo>
                    <a:pt x="125" y="1855"/>
                  </a:lnTo>
                  <a:lnTo>
                    <a:pt x="94" y="1782"/>
                  </a:lnTo>
                  <a:lnTo>
                    <a:pt x="67" y="1706"/>
                  </a:lnTo>
                  <a:lnTo>
                    <a:pt x="44" y="1626"/>
                  </a:lnTo>
                  <a:lnTo>
                    <a:pt x="25" y="1541"/>
                  </a:lnTo>
                  <a:lnTo>
                    <a:pt x="11" y="1454"/>
                  </a:lnTo>
                  <a:lnTo>
                    <a:pt x="3" y="1361"/>
                  </a:lnTo>
                  <a:lnTo>
                    <a:pt x="0" y="1263"/>
                  </a:lnTo>
                  <a:lnTo>
                    <a:pt x="0" y="1189"/>
                  </a:lnTo>
                  <a:lnTo>
                    <a:pt x="2" y="1116"/>
                  </a:lnTo>
                  <a:lnTo>
                    <a:pt x="4" y="1045"/>
                  </a:lnTo>
                  <a:lnTo>
                    <a:pt x="7" y="974"/>
                  </a:lnTo>
                  <a:lnTo>
                    <a:pt x="12" y="904"/>
                  </a:lnTo>
                  <a:lnTo>
                    <a:pt x="21" y="837"/>
                  </a:lnTo>
                  <a:lnTo>
                    <a:pt x="29" y="772"/>
                  </a:lnTo>
                  <a:lnTo>
                    <a:pt x="40" y="708"/>
                  </a:lnTo>
                  <a:lnTo>
                    <a:pt x="53" y="646"/>
                  </a:lnTo>
                  <a:lnTo>
                    <a:pt x="70" y="586"/>
                  </a:lnTo>
                  <a:lnTo>
                    <a:pt x="89" y="529"/>
                  </a:lnTo>
                  <a:lnTo>
                    <a:pt x="110" y="473"/>
                  </a:lnTo>
                  <a:lnTo>
                    <a:pt x="136" y="420"/>
                  </a:lnTo>
                  <a:lnTo>
                    <a:pt x="164" y="370"/>
                  </a:lnTo>
                  <a:lnTo>
                    <a:pt x="196" y="323"/>
                  </a:lnTo>
                  <a:lnTo>
                    <a:pt x="232" y="278"/>
                  </a:lnTo>
                  <a:lnTo>
                    <a:pt x="272" y="236"/>
                  </a:lnTo>
                  <a:lnTo>
                    <a:pt x="316" y="196"/>
                  </a:lnTo>
                  <a:lnTo>
                    <a:pt x="365" y="161"/>
                  </a:lnTo>
                  <a:lnTo>
                    <a:pt x="418" y="128"/>
                  </a:lnTo>
                  <a:lnTo>
                    <a:pt x="475" y="100"/>
                  </a:lnTo>
                  <a:lnTo>
                    <a:pt x="538" y="74"/>
                  </a:lnTo>
                  <a:lnTo>
                    <a:pt x="607" y="52"/>
                  </a:lnTo>
                  <a:lnTo>
                    <a:pt x="681" y="34"/>
                  </a:lnTo>
                  <a:lnTo>
                    <a:pt x="760" y="19"/>
                  </a:lnTo>
                  <a:lnTo>
                    <a:pt x="844" y="8"/>
                  </a:lnTo>
                  <a:lnTo>
                    <a:pt x="937" y="3"/>
                  </a:lnTo>
                  <a:lnTo>
                    <a:pt x="103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7" name="Freeform 986">
              <a:extLst>
                <a:ext uri="{FF2B5EF4-FFF2-40B4-BE49-F238E27FC236}">
                  <a16:creationId xmlns:a16="http://schemas.microsoft.com/office/drawing/2014/main" id="{335E6EA8-7FD9-D5F9-26A4-67734BD5C5E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132" y="1143"/>
              <a:ext cx="794" cy="269"/>
            </a:xfrm>
            <a:custGeom>
              <a:avLst/>
              <a:gdLst>
                <a:gd name="T0" fmla="*/ 1078 w 1587"/>
                <a:gd name="T1" fmla="*/ 96 h 538"/>
                <a:gd name="T2" fmla="*/ 955 w 1587"/>
                <a:gd name="T3" fmla="*/ 129 h 538"/>
                <a:gd name="T4" fmla="*/ 930 w 1587"/>
                <a:gd name="T5" fmla="*/ 150 h 538"/>
                <a:gd name="T6" fmla="*/ 925 w 1587"/>
                <a:gd name="T7" fmla="*/ 206 h 538"/>
                <a:gd name="T8" fmla="*/ 983 w 1587"/>
                <a:gd name="T9" fmla="*/ 363 h 538"/>
                <a:gd name="T10" fmla="*/ 1130 w 1587"/>
                <a:gd name="T11" fmla="*/ 455 h 538"/>
                <a:gd name="T12" fmla="*/ 1342 w 1587"/>
                <a:gd name="T13" fmla="*/ 445 h 538"/>
                <a:gd name="T14" fmla="*/ 1447 w 1587"/>
                <a:gd name="T15" fmla="*/ 351 h 538"/>
                <a:gd name="T16" fmla="*/ 1467 w 1587"/>
                <a:gd name="T17" fmla="*/ 227 h 538"/>
                <a:gd name="T18" fmla="*/ 1436 w 1587"/>
                <a:gd name="T19" fmla="*/ 126 h 538"/>
                <a:gd name="T20" fmla="*/ 1342 w 1587"/>
                <a:gd name="T21" fmla="*/ 88 h 538"/>
                <a:gd name="T22" fmla="*/ 245 w 1587"/>
                <a:gd name="T23" fmla="*/ 88 h 538"/>
                <a:gd name="T24" fmla="*/ 151 w 1587"/>
                <a:gd name="T25" fmla="*/ 126 h 538"/>
                <a:gd name="T26" fmla="*/ 120 w 1587"/>
                <a:gd name="T27" fmla="*/ 227 h 538"/>
                <a:gd name="T28" fmla="*/ 140 w 1587"/>
                <a:gd name="T29" fmla="*/ 351 h 538"/>
                <a:gd name="T30" fmla="*/ 245 w 1587"/>
                <a:gd name="T31" fmla="*/ 445 h 538"/>
                <a:gd name="T32" fmla="*/ 457 w 1587"/>
                <a:gd name="T33" fmla="*/ 455 h 538"/>
                <a:gd name="T34" fmla="*/ 606 w 1587"/>
                <a:gd name="T35" fmla="*/ 363 h 538"/>
                <a:gd name="T36" fmla="*/ 661 w 1587"/>
                <a:gd name="T37" fmla="*/ 208 h 538"/>
                <a:gd name="T38" fmla="*/ 659 w 1587"/>
                <a:gd name="T39" fmla="*/ 152 h 538"/>
                <a:gd name="T40" fmla="*/ 623 w 1587"/>
                <a:gd name="T41" fmla="*/ 125 h 538"/>
                <a:gd name="T42" fmla="*/ 469 w 1587"/>
                <a:gd name="T43" fmla="*/ 92 h 538"/>
                <a:gd name="T44" fmla="*/ 390 w 1587"/>
                <a:gd name="T45" fmla="*/ 2 h 538"/>
                <a:gd name="T46" fmla="*/ 587 w 1587"/>
                <a:gd name="T47" fmla="*/ 20 h 538"/>
                <a:gd name="T48" fmla="*/ 712 w 1587"/>
                <a:gd name="T49" fmla="*/ 69 h 538"/>
                <a:gd name="T50" fmla="*/ 804 w 1587"/>
                <a:gd name="T51" fmla="*/ 89 h 538"/>
                <a:gd name="T52" fmla="*/ 893 w 1587"/>
                <a:gd name="T53" fmla="*/ 60 h 538"/>
                <a:gd name="T54" fmla="*/ 1037 w 1587"/>
                <a:gd name="T55" fmla="*/ 13 h 538"/>
                <a:gd name="T56" fmla="*/ 1260 w 1587"/>
                <a:gd name="T57" fmla="*/ 0 h 538"/>
                <a:gd name="T58" fmla="*/ 1533 w 1587"/>
                <a:gd name="T59" fmla="*/ 28 h 538"/>
                <a:gd name="T60" fmla="*/ 1584 w 1587"/>
                <a:gd name="T61" fmla="*/ 75 h 538"/>
                <a:gd name="T62" fmla="*/ 1587 w 1587"/>
                <a:gd name="T63" fmla="*/ 141 h 538"/>
                <a:gd name="T64" fmla="*/ 1578 w 1587"/>
                <a:gd name="T65" fmla="*/ 193 h 538"/>
                <a:gd name="T66" fmla="*/ 1560 w 1587"/>
                <a:gd name="T67" fmla="*/ 217 h 538"/>
                <a:gd name="T68" fmla="*/ 1534 w 1587"/>
                <a:gd name="T69" fmla="*/ 355 h 538"/>
                <a:gd name="T70" fmla="*/ 1485 w 1587"/>
                <a:gd name="T71" fmla="*/ 464 h 538"/>
                <a:gd name="T72" fmla="*/ 1376 w 1587"/>
                <a:gd name="T73" fmla="*/ 520 h 538"/>
                <a:gd name="T74" fmla="*/ 1191 w 1587"/>
                <a:gd name="T75" fmla="*/ 536 h 538"/>
                <a:gd name="T76" fmla="*/ 992 w 1587"/>
                <a:gd name="T77" fmla="*/ 489 h 538"/>
                <a:gd name="T78" fmla="*/ 885 w 1587"/>
                <a:gd name="T79" fmla="*/ 365 h 538"/>
                <a:gd name="T80" fmla="*/ 838 w 1587"/>
                <a:gd name="T81" fmla="*/ 238 h 538"/>
                <a:gd name="T82" fmla="*/ 814 w 1587"/>
                <a:gd name="T83" fmla="*/ 204 h 538"/>
                <a:gd name="T84" fmla="*/ 759 w 1587"/>
                <a:gd name="T85" fmla="*/ 209 h 538"/>
                <a:gd name="T86" fmla="*/ 749 w 1587"/>
                <a:gd name="T87" fmla="*/ 235 h 538"/>
                <a:gd name="T88" fmla="*/ 704 w 1587"/>
                <a:gd name="T89" fmla="*/ 363 h 538"/>
                <a:gd name="T90" fmla="*/ 595 w 1587"/>
                <a:gd name="T91" fmla="*/ 489 h 538"/>
                <a:gd name="T92" fmla="*/ 396 w 1587"/>
                <a:gd name="T93" fmla="*/ 536 h 538"/>
                <a:gd name="T94" fmla="*/ 211 w 1587"/>
                <a:gd name="T95" fmla="*/ 520 h 538"/>
                <a:gd name="T96" fmla="*/ 102 w 1587"/>
                <a:gd name="T97" fmla="*/ 464 h 538"/>
                <a:gd name="T98" fmla="*/ 54 w 1587"/>
                <a:gd name="T99" fmla="*/ 355 h 538"/>
                <a:gd name="T100" fmla="*/ 27 w 1587"/>
                <a:gd name="T101" fmla="*/ 217 h 538"/>
                <a:gd name="T102" fmla="*/ 9 w 1587"/>
                <a:gd name="T103" fmla="*/ 193 h 538"/>
                <a:gd name="T104" fmla="*/ 0 w 1587"/>
                <a:gd name="T105" fmla="*/ 142 h 538"/>
                <a:gd name="T106" fmla="*/ 0 w 1587"/>
                <a:gd name="T107" fmla="*/ 95 h 538"/>
                <a:gd name="T108" fmla="*/ 43 w 1587"/>
                <a:gd name="T109" fmla="*/ 32 h 538"/>
                <a:gd name="T110" fmla="*/ 257 w 1587"/>
                <a:gd name="T111" fmla="*/ 2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587" h="538">
                  <a:moveTo>
                    <a:pt x="1267" y="84"/>
                  </a:moveTo>
                  <a:lnTo>
                    <a:pt x="1222" y="85"/>
                  </a:lnTo>
                  <a:lnTo>
                    <a:pt x="1171" y="88"/>
                  </a:lnTo>
                  <a:lnTo>
                    <a:pt x="1122" y="90"/>
                  </a:lnTo>
                  <a:lnTo>
                    <a:pt x="1078" y="96"/>
                  </a:lnTo>
                  <a:lnTo>
                    <a:pt x="1043" y="101"/>
                  </a:lnTo>
                  <a:lnTo>
                    <a:pt x="1013" y="108"/>
                  </a:lnTo>
                  <a:lnTo>
                    <a:pt x="989" y="115"/>
                  </a:lnTo>
                  <a:lnTo>
                    <a:pt x="970" y="122"/>
                  </a:lnTo>
                  <a:lnTo>
                    <a:pt x="955" y="129"/>
                  </a:lnTo>
                  <a:lnTo>
                    <a:pt x="945" y="134"/>
                  </a:lnTo>
                  <a:lnTo>
                    <a:pt x="938" y="140"/>
                  </a:lnTo>
                  <a:lnTo>
                    <a:pt x="932" y="145"/>
                  </a:lnTo>
                  <a:lnTo>
                    <a:pt x="930" y="148"/>
                  </a:lnTo>
                  <a:lnTo>
                    <a:pt x="930" y="150"/>
                  </a:lnTo>
                  <a:lnTo>
                    <a:pt x="928" y="153"/>
                  </a:lnTo>
                  <a:lnTo>
                    <a:pt x="927" y="160"/>
                  </a:lnTo>
                  <a:lnTo>
                    <a:pt x="925" y="171"/>
                  </a:lnTo>
                  <a:lnTo>
                    <a:pt x="924" y="187"/>
                  </a:lnTo>
                  <a:lnTo>
                    <a:pt x="925" y="206"/>
                  </a:lnTo>
                  <a:lnTo>
                    <a:pt x="928" y="231"/>
                  </a:lnTo>
                  <a:lnTo>
                    <a:pt x="935" y="258"/>
                  </a:lnTo>
                  <a:lnTo>
                    <a:pt x="946" y="290"/>
                  </a:lnTo>
                  <a:lnTo>
                    <a:pt x="961" y="325"/>
                  </a:lnTo>
                  <a:lnTo>
                    <a:pt x="983" y="363"/>
                  </a:lnTo>
                  <a:lnTo>
                    <a:pt x="1000" y="389"/>
                  </a:lnTo>
                  <a:lnTo>
                    <a:pt x="1026" y="411"/>
                  </a:lnTo>
                  <a:lnTo>
                    <a:pt x="1056" y="429"/>
                  </a:lnTo>
                  <a:lnTo>
                    <a:pt x="1090" y="444"/>
                  </a:lnTo>
                  <a:lnTo>
                    <a:pt x="1130" y="455"/>
                  </a:lnTo>
                  <a:lnTo>
                    <a:pt x="1173" y="460"/>
                  </a:lnTo>
                  <a:lnTo>
                    <a:pt x="1220" y="463"/>
                  </a:lnTo>
                  <a:lnTo>
                    <a:pt x="1263" y="461"/>
                  </a:lnTo>
                  <a:lnTo>
                    <a:pt x="1305" y="455"/>
                  </a:lnTo>
                  <a:lnTo>
                    <a:pt x="1342" y="445"/>
                  </a:lnTo>
                  <a:lnTo>
                    <a:pt x="1375" y="433"/>
                  </a:lnTo>
                  <a:lnTo>
                    <a:pt x="1399" y="418"/>
                  </a:lnTo>
                  <a:lnTo>
                    <a:pt x="1420" y="399"/>
                  </a:lnTo>
                  <a:lnTo>
                    <a:pt x="1435" y="375"/>
                  </a:lnTo>
                  <a:lnTo>
                    <a:pt x="1447" y="351"/>
                  </a:lnTo>
                  <a:lnTo>
                    <a:pt x="1455" y="325"/>
                  </a:lnTo>
                  <a:lnTo>
                    <a:pt x="1462" y="298"/>
                  </a:lnTo>
                  <a:lnTo>
                    <a:pt x="1465" y="272"/>
                  </a:lnTo>
                  <a:lnTo>
                    <a:pt x="1467" y="249"/>
                  </a:lnTo>
                  <a:lnTo>
                    <a:pt x="1467" y="227"/>
                  </a:lnTo>
                  <a:lnTo>
                    <a:pt x="1466" y="204"/>
                  </a:lnTo>
                  <a:lnTo>
                    <a:pt x="1462" y="179"/>
                  </a:lnTo>
                  <a:lnTo>
                    <a:pt x="1454" y="156"/>
                  </a:lnTo>
                  <a:lnTo>
                    <a:pt x="1445" y="137"/>
                  </a:lnTo>
                  <a:lnTo>
                    <a:pt x="1436" y="126"/>
                  </a:lnTo>
                  <a:lnTo>
                    <a:pt x="1425" y="115"/>
                  </a:lnTo>
                  <a:lnTo>
                    <a:pt x="1411" y="105"/>
                  </a:lnTo>
                  <a:lnTo>
                    <a:pt x="1392" y="99"/>
                  </a:lnTo>
                  <a:lnTo>
                    <a:pt x="1371" y="92"/>
                  </a:lnTo>
                  <a:lnTo>
                    <a:pt x="1342" y="88"/>
                  </a:lnTo>
                  <a:lnTo>
                    <a:pt x="1308" y="85"/>
                  </a:lnTo>
                  <a:lnTo>
                    <a:pt x="1267" y="84"/>
                  </a:lnTo>
                  <a:close/>
                  <a:moveTo>
                    <a:pt x="320" y="84"/>
                  </a:moveTo>
                  <a:lnTo>
                    <a:pt x="279" y="85"/>
                  </a:lnTo>
                  <a:lnTo>
                    <a:pt x="245" y="88"/>
                  </a:lnTo>
                  <a:lnTo>
                    <a:pt x="216" y="92"/>
                  </a:lnTo>
                  <a:lnTo>
                    <a:pt x="194" y="99"/>
                  </a:lnTo>
                  <a:lnTo>
                    <a:pt x="175" y="105"/>
                  </a:lnTo>
                  <a:lnTo>
                    <a:pt x="162" y="115"/>
                  </a:lnTo>
                  <a:lnTo>
                    <a:pt x="151" y="126"/>
                  </a:lnTo>
                  <a:lnTo>
                    <a:pt x="141" y="137"/>
                  </a:lnTo>
                  <a:lnTo>
                    <a:pt x="133" y="156"/>
                  </a:lnTo>
                  <a:lnTo>
                    <a:pt x="126" y="179"/>
                  </a:lnTo>
                  <a:lnTo>
                    <a:pt x="121" y="204"/>
                  </a:lnTo>
                  <a:lnTo>
                    <a:pt x="120" y="227"/>
                  </a:lnTo>
                  <a:lnTo>
                    <a:pt x="120" y="249"/>
                  </a:lnTo>
                  <a:lnTo>
                    <a:pt x="122" y="273"/>
                  </a:lnTo>
                  <a:lnTo>
                    <a:pt x="125" y="298"/>
                  </a:lnTo>
                  <a:lnTo>
                    <a:pt x="132" y="325"/>
                  </a:lnTo>
                  <a:lnTo>
                    <a:pt x="140" y="351"/>
                  </a:lnTo>
                  <a:lnTo>
                    <a:pt x="152" y="375"/>
                  </a:lnTo>
                  <a:lnTo>
                    <a:pt x="169" y="399"/>
                  </a:lnTo>
                  <a:lnTo>
                    <a:pt x="188" y="418"/>
                  </a:lnTo>
                  <a:lnTo>
                    <a:pt x="212" y="433"/>
                  </a:lnTo>
                  <a:lnTo>
                    <a:pt x="245" y="445"/>
                  </a:lnTo>
                  <a:lnTo>
                    <a:pt x="283" y="455"/>
                  </a:lnTo>
                  <a:lnTo>
                    <a:pt x="324" y="461"/>
                  </a:lnTo>
                  <a:lnTo>
                    <a:pt x="367" y="463"/>
                  </a:lnTo>
                  <a:lnTo>
                    <a:pt x="414" y="460"/>
                  </a:lnTo>
                  <a:lnTo>
                    <a:pt x="457" y="455"/>
                  </a:lnTo>
                  <a:lnTo>
                    <a:pt x="497" y="444"/>
                  </a:lnTo>
                  <a:lnTo>
                    <a:pt x="531" y="429"/>
                  </a:lnTo>
                  <a:lnTo>
                    <a:pt x="562" y="411"/>
                  </a:lnTo>
                  <a:lnTo>
                    <a:pt x="587" y="389"/>
                  </a:lnTo>
                  <a:lnTo>
                    <a:pt x="606" y="363"/>
                  </a:lnTo>
                  <a:lnTo>
                    <a:pt x="626" y="325"/>
                  </a:lnTo>
                  <a:lnTo>
                    <a:pt x="641" y="291"/>
                  </a:lnTo>
                  <a:lnTo>
                    <a:pt x="652" y="260"/>
                  </a:lnTo>
                  <a:lnTo>
                    <a:pt x="659" y="232"/>
                  </a:lnTo>
                  <a:lnTo>
                    <a:pt x="661" y="208"/>
                  </a:lnTo>
                  <a:lnTo>
                    <a:pt x="663" y="189"/>
                  </a:lnTo>
                  <a:lnTo>
                    <a:pt x="661" y="172"/>
                  </a:lnTo>
                  <a:lnTo>
                    <a:pt x="660" y="161"/>
                  </a:lnTo>
                  <a:lnTo>
                    <a:pt x="659" y="155"/>
                  </a:lnTo>
                  <a:lnTo>
                    <a:pt x="659" y="152"/>
                  </a:lnTo>
                  <a:lnTo>
                    <a:pt x="657" y="148"/>
                  </a:lnTo>
                  <a:lnTo>
                    <a:pt x="653" y="144"/>
                  </a:lnTo>
                  <a:lnTo>
                    <a:pt x="648" y="138"/>
                  </a:lnTo>
                  <a:lnTo>
                    <a:pt x="637" y="131"/>
                  </a:lnTo>
                  <a:lnTo>
                    <a:pt x="623" y="125"/>
                  </a:lnTo>
                  <a:lnTo>
                    <a:pt x="606" y="118"/>
                  </a:lnTo>
                  <a:lnTo>
                    <a:pt x="581" y="110"/>
                  </a:lnTo>
                  <a:lnTo>
                    <a:pt x="551" y="103"/>
                  </a:lnTo>
                  <a:lnTo>
                    <a:pt x="514" y="97"/>
                  </a:lnTo>
                  <a:lnTo>
                    <a:pt x="469" y="92"/>
                  </a:lnTo>
                  <a:lnTo>
                    <a:pt x="416" y="88"/>
                  </a:lnTo>
                  <a:lnTo>
                    <a:pt x="365" y="85"/>
                  </a:lnTo>
                  <a:lnTo>
                    <a:pt x="320" y="84"/>
                  </a:lnTo>
                  <a:close/>
                  <a:moveTo>
                    <a:pt x="327" y="0"/>
                  </a:moveTo>
                  <a:lnTo>
                    <a:pt x="390" y="2"/>
                  </a:lnTo>
                  <a:lnTo>
                    <a:pt x="454" y="5"/>
                  </a:lnTo>
                  <a:lnTo>
                    <a:pt x="461" y="6"/>
                  </a:lnTo>
                  <a:lnTo>
                    <a:pt x="509" y="9"/>
                  </a:lnTo>
                  <a:lnTo>
                    <a:pt x="551" y="13"/>
                  </a:lnTo>
                  <a:lnTo>
                    <a:pt x="587" y="20"/>
                  </a:lnTo>
                  <a:lnTo>
                    <a:pt x="622" y="28"/>
                  </a:lnTo>
                  <a:lnTo>
                    <a:pt x="656" y="41"/>
                  </a:lnTo>
                  <a:lnTo>
                    <a:pt x="675" y="50"/>
                  </a:lnTo>
                  <a:lnTo>
                    <a:pt x="695" y="60"/>
                  </a:lnTo>
                  <a:lnTo>
                    <a:pt x="712" y="69"/>
                  </a:lnTo>
                  <a:lnTo>
                    <a:pt x="729" y="75"/>
                  </a:lnTo>
                  <a:lnTo>
                    <a:pt x="746" y="82"/>
                  </a:lnTo>
                  <a:lnTo>
                    <a:pt x="761" y="86"/>
                  </a:lnTo>
                  <a:lnTo>
                    <a:pt x="784" y="89"/>
                  </a:lnTo>
                  <a:lnTo>
                    <a:pt x="804" y="89"/>
                  </a:lnTo>
                  <a:lnTo>
                    <a:pt x="827" y="86"/>
                  </a:lnTo>
                  <a:lnTo>
                    <a:pt x="841" y="82"/>
                  </a:lnTo>
                  <a:lnTo>
                    <a:pt x="857" y="75"/>
                  </a:lnTo>
                  <a:lnTo>
                    <a:pt x="876" y="69"/>
                  </a:lnTo>
                  <a:lnTo>
                    <a:pt x="893" y="60"/>
                  </a:lnTo>
                  <a:lnTo>
                    <a:pt x="913" y="50"/>
                  </a:lnTo>
                  <a:lnTo>
                    <a:pt x="931" y="41"/>
                  </a:lnTo>
                  <a:lnTo>
                    <a:pt x="966" y="28"/>
                  </a:lnTo>
                  <a:lnTo>
                    <a:pt x="1000" y="20"/>
                  </a:lnTo>
                  <a:lnTo>
                    <a:pt x="1037" y="13"/>
                  </a:lnTo>
                  <a:lnTo>
                    <a:pt x="1078" y="9"/>
                  </a:lnTo>
                  <a:lnTo>
                    <a:pt x="1126" y="6"/>
                  </a:lnTo>
                  <a:lnTo>
                    <a:pt x="1134" y="5"/>
                  </a:lnTo>
                  <a:lnTo>
                    <a:pt x="1198" y="2"/>
                  </a:lnTo>
                  <a:lnTo>
                    <a:pt x="1260" y="0"/>
                  </a:lnTo>
                  <a:lnTo>
                    <a:pt x="1331" y="2"/>
                  </a:lnTo>
                  <a:lnTo>
                    <a:pt x="1398" y="6"/>
                  </a:lnTo>
                  <a:lnTo>
                    <a:pt x="1462" y="14"/>
                  </a:lnTo>
                  <a:lnTo>
                    <a:pt x="1523" y="25"/>
                  </a:lnTo>
                  <a:lnTo>
                    <a:pt x="1533" y="28"/>
                  </a:lnTo>
                  <a:lnTo>
                    <a:pt x="1545" y="32"/>
                  </a:lnTo>
                  <a:lnTo>
                    <a:pt x="1556" y="39"/>
                  </a:lnTo>
                  <a:lnTo>
                    <a:pt x="1568" y="48"/>
                  </a:lnTo>
                  <a:lnTo>
                    <a:pt x="1578" y="60"/>
                  </a:lnTo>
                  <a:lnTo>
                    <a:pt x="1584" y="75"/>
                  </a:lnTo>
                  <a:lnTo>
                    <a:pt x="1587" y="95"/>
                  </a:lnTo>
                  <a:lnTo>
                    <a:pt x="1587" y="111"/>
                  </a:lnTo>
                  <a:lnTo>
                    <a:pt x="1587" y="131"/>
                  </a:lnTo>
                  <a:lnTo>
                    <a:pt x="1587" y="133"/>
                  </a:lnTo>
                  <a:lnTo>
                    <a:pt x="1587" y="141"/>
                  </a:lnTo>
                  <a:lnTo>
                    <a:pt x="1587" y="146"/>
                  </a:lnTo>
                  <a:lnTo>
                    <a:pt x="1587" y="152"/>
                  </a:lnTo>
                  <a:lnTo>
                    <a:pt x="1586" y="168"/>
                  </a:lnTo>
                  <a:lnTo>
                    <a:pt x="1583" y="182"/>
                  </a:lnTo>
                  <a:lnTo>
                    <a:pt x="1578" y="193"/>
                  </a:lnTo>
                  <a:lnTo>
                    <a:pt x="1572" y="200"/>
                  </a:lnTo>
                  <a:lnTo>
                    <a:pt x="1567" y="206"/>
                  </a:lnTo>
                  <a:lnTo>
                    <a:pt x="1564" y="209"/>
                  </a:lnTo>
                  <a:lnTo>
                    <a:pt x="1563" y="212"/>
                  </a:lnTo>
                  <a:lnTo>
                    <a:pt x="1560" y="217"/>
                  </a:lnTo>
                  <a:lnTo>
                    <a:pt x="1557" y="223"/>
                  </a:lnTo>
                  <a:lnTo>
                    <a:pt x="1556" y="230"/>
                  </a:lnTo>
                  <a:lnTo>
                    <a:pt x="1548" y="279"/>
                  </a:lnTo>
                  <a:lnTo>
                    <a:pt x="1541" y="320"/>
                  </a:lnTo>
                  <a:lnTo>
                    <a:pt x="1534" y="355"/>
                  </a:lnTo>
                  <a:lnTo>
                    <a:pt x="1526" y="385"/>
                  </a:lnTo>
                  <a:lnTo>
                    <a:pt x="1518" y="410"/>
                  </a:lnTo>
                  <a:lnTo>
                    <a:pt x="1509" y="431"/>
                  </a:lnTo>
                  <a:lnTo>
                    <a:pt x="1499" y="449"/>
                  </a:lnTo>
                  <a:lnTo>
                    <a:pt x="1485" y="464"/>
                  </a:lnTo>
                  <a:lnTo>
                    <a:pt x="1470" y="478"/>
                  </a:lnTo>
                  <a:lnTo>
                    <a:pt x="1451" y="490"/>
                  </a:lnTo>
                  <a:lnTo>
                    <a:pt x="1429" y="502"/>
                  </a:lnTo>
                  <a:lnTo>
                    <a:pt x="1406" y="512"/>
                  </a:lnTo>
                  <a:lnTo>
                    <a:pt x="1376" y="520"/>
                  </a:lnTo>
                  <a:lnTo>
                    <a:pt x="1343" y="528"/>
                  </a:lnTo>
                  <a:lnTo>
                    <a:pt x="1305" y="534"/>
                  </a:lnTo>
                  <a:lnTo>
                    <a:pt x="1266" y="536"/>
                  </a:lnTo>
                  <a:lnTo>
                    <a:pt x="1225" y="538"/>
                  </a:lnTo>
                  <a:lnTo>
                    <a:pt x="1191" y="536"/>
                  </a:lnTo>
                  <a:lnTo>
                    <a:pt x="1154" y="534"/>
                  </a:lnTo>
                  <a:lnTo>
                    <a:pt x="1113" y="528"/>
                  </a:lnTo>
                  <a:lnTo>
                    <a:pt x="1072" y="520"/>
                  </a:lnTo>
                  <a:lnTo>
                    <a:pt x="1032" y="506"/>
                  </a:lnTo>
                  <a:lnTo>
                    <a:pt x="992" y="489"/>
                  </a:lnTo>
                  <a:lnTo>
                    <a:pt x="965" y="471"/>
                  </a:lnTo>
                  <a:lnTo>
                    <a:pt x="942" y="449"/>
                  </a:lnTo>
                  <a:lnTo>
                    <a:pt x="920" y="423"/>
                  </a:lnTo>
                  <a:lnTo>
                    <a:pt x="901" y="395"/>
                  </a:lnTo>
                  <a:lnTo>
                    <a:pt x="885" y="365"/>
                  </a:lnTo>
                  <a:lnTo>
                    <a:pt x="871" y="335"/>
                  </a:lnTo>
                  <a:lnTo>
                    <a:pt x="860" y="306"/>
                  </a:lnTo>
                  <a:lnTo>
                    <a:pt x="851" y="279"/>
                  </a:lnTo>
                  <a:lnTo>
                    <a:pt x="844" y="255"/>
                  </a:lnTo>
                  <a:lnTo>
                    <a:pt x="838" y="238"/>
                  </a:lnTo>
                  <a:lnTo>
                    <a:pt x="836" y="224"/>
                  </a:lnTo>
                  <a:lnTo>
                    <a:pt x="834" y="219"/>
                  </a:lnTo>
                  <a:lnTo>
                    <a:pt x="833" y="213"/>
                  </a:lnTo>
                  <a:lnTo>
                    <a:pt x="826" y="208"/>
                  </a:lnTo>
                  <a:lnTo>
                    <a:pt x="814" y="204"/>
                  </a:lnTo>
                  <a:lnTo>
                    <a:pt x="796" y="202"/>
                  </a:lnTo>
                  <a:lnTo>
                    <a:pt x="793" y="202"/>
                  </a:lnTo>
                  <a:lnTo>
                    <a:pt x="777" y="204"/>
                  </a:lnTo>
                  <a:lnTo>
                    <a:pt x="766" y="206"/>
                  </a:lnTo>
                  <a:lnTo>
                    <a:pt x="759" y="209"/>
                  </a:lnTo>
                  <a:lnTo>
                    <a:pt x="755" y="213"/>
                  </a:lnTo>
                  <a:lnTo>
                    <a:pt x="754" y="215"/>
                  </a:lnTo>
                  <a:lnTo>
                    <a:pt x="753" y="216"/>
                  </a:lnTo>
                  <a:lnTo>
                    <a:pt x="751" y="223"/>
                  </a:lnTo>
                  <a:lnTo>
                    <a:pt x="749" y="235"/>
                  </a:lnTo>
                  <a:lnTo>
                    <a:pt x="744" y="254"/>
                  </a:lnTo>
                  <a:lnTo>
                    <a:pt x="738" y="277"/>
                  </a:lnTo>
                  <a:lnTo>
                    <a:pt x="728" y="305"/>
                  </a:lnTo>
                  <a:lnTo>
                    <a:pt x="717" y="333"/>
                  </a:lnTo>
                  <a:lnTo>
                    <a:pt x="704" y="363"/>
                  </a:lnTo>
                  <a:lnTo>
                    <a:pt x="687" y="393"/>
                  </a:lnTo>
                  <a:lnTo>
                    <a:pt x="668" y="422"/>
                  </a:lnTo>
                  <a:lnTo>
                    <a:pt x="646" y="448"/>
                  </a:lnTo>
                  <a:lnTo>
                    <a:pt x="622" y="471"/>
                  </a:lnTo>
                  <a:lnTo>
                    <a:pt x="595" y="489"/>
                  </a:lnTo>
                  <a:lnTo>
                    <a:pt x="555" y="506"/>
                  </a:lnTo>
                  <a:lnTo>
                    <a:pt x="514" y="520"/>
                  </a:lnTo>
                  <a:lnTo>
                    <a:pt x="474" y="528"/>
                  </a:lnTo>
                  <a:lnTo>
                    <a:pt x="434" y="534"/>
                  </a:lnTo>
                  <a:lnTo>
                    <a:pt x="396" y="536"/>
                  </a:lnTo>
                  <a:lnTo>
                    <a:pt x="362" y="538"/>
                  </a:lnTo>
                  <a:lnTo>
                    <a:pt x="321" y="536"/>
                  </a:lnTo>
                  <a:lnTo>
                    <a:pt x="282" y="534"/>
                  </a:lnTo>
                  <a:lnTo>
                    <a:pt x="245" y="528"/>
                  </a:lnTo>
                  <a:lnTo>
                    <a:pt x="211" y="520"/>
                  </a:lnTo>
                  <a:lnTo>
                    <a:pt x="181" y="512"/>
                  </a:lnTo>
                  <a:lnTo>
                    <a:pt x="158" y="502"/>
                  </a:lnTo>
                  <a:lnTo>
                    <a:pt x="136" y="490"/>
                  </a:lnTo>
                  <a:lnTo>
                    <a:pt x="117" y="478"/>
                  </a:lnTo>
                  <a:lnTo>
                    <a:pt x="102" y="464"/>
                  </a:lnTo>
                  <a:lnTo>
                    <a:pt x="90" y="449"/>
                  </a:lnTo>
                  <a:lnTo>
                    <a:pt x="79" y="431"/>
                  </a:lnTo>
                  <a:lnTo>
                    <a:pt x="69" y="410"/>
                  </a:lnTo>
                  <a:lnTo>
                    <a:pt x="61" y="385"/>
                  </a:lnTo>
                  <a:lnTo>
                    <a:pt x="54" y="355"/>
                  </a:lnTo>
                  <a:lnTo>
                    <a:pt x="46" y="321"/>
                  </a:lnTo>
                  <a:lnTo>
                    <a:pt x="39" y="279"/>
                  </a:lnTo>
                  <a:lnTo>
                    <a:pt x="31" y="230"/>
                  </a:lnTo>
                  <a:lnTo>
                    <a:pt x="30" y="223"/>
                  </a:lnTo>
                  <a:lnTo>
                    <a:pt x="27" y="217"/>
                  </a:lnTo>
                  <a:lnTo>
                    <a:pt x="26" y="212"/>
                  </a:lnTo>
                  <a:lnTo>
                    <a:pt x="23" y="209"/>
                  </a:lnTo>
                  <a:lnTo>
                    <a:pt x="20" y="206"/>
                  </a:lnTo>
                  <a:lnTo>
                    <a:pt x="15" y="200"/>
                  </a:lnTo>
                  <a:lnTo>
                    <a:pt x="9" y="193"/>
                  </a:lnTo>
                  <a:lnTo>
                    <a:pt x="5" y="182"/>
                  </a:lnTo>
                  <a:lnTo>
                    <a:pt x="1" y="168"/>
                  </a:lnTo>
                  <a:lnTo>
                    <a:pt x="0" y="152"/>
                  </a:lnTo>
                  <a:lnTo>
                    <a:pt x="0" y="148"/>
                  </a:lnTo>
                  <a:lnTo>
                    <a:pt x="0" y="142"/>
                  </a:lnTo>
                  <a:lnTo>
                    <a:pt x="0" y="137"/>
                  </a:lnTo>
                  <a:lnTo>
                    <a:pt x="0" y="131"/>
                  </a:lnTo>
                  <a:lnTo>
                    <a:pt x="0" y="118"/>
                  </a:lnTo>
                  <a:lnTo>
                    <a:pt x="0" y="105"/>
                  </a:lnTo>
                  <a:lnTo>
                    <a:pt x="0" y="95"/>
                  </a:lnTo>
                  <a:lnTo>
                    <a:pt x="4" y="75"/>
                  </a:lnTo>
                  <a:lnTo>
                    <a:pt x="11" y="60"/>
                  </a:lnTo>
                  <a:lnTo>
                    <a:pt x="20" y="48"/>
                  </a:lnTo>
                  <a:lnTo>
                    <a:pt x="31" y="39"/>
                  </a:lnTo>
                  <a:lnTo>
                    <a:pt x="43" y="32"/>
                  </a:lnTo>
                  <a:lnTo>
                    <a:pt x="56" y="26"/>
                  </a:lnTo>
                  <a:lnTo>
                    <a:pt x="65" y="25"/>
                  </a:lnTo>
                  <a:lnTo>
                    <a:pt x="125" y="14"/>
                  </a:lnTo>
                  <a:lnTo>
                    <a:pt x="189" y="6"/>
                  </a:lnTo>
                  <a:lnTo>
                    <a:pt x="257" y="2"/>
                  </a:lnTo>
                  <a:lnTo>
                    <a:pt x="3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8" name="Freeform 987">
              <a:extLst>
                <a:ext uri="{FF2B5EF4-FFF2-40B4-BE49-F238E27FC236}">
                  <a16:creationId xmlns:a16="http://schemas.microsoft.com/office/drawing/2014/main" id="{7AC3C8B3-4E9E-87AE-CDCD-8F69CE296C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366" y="1785"/>
              <a:ext cx="809" cy="999"/>
            </a:xfrm>
            <a:custGeom>
              <a:avLst/>
              <a:gdLst>
                <a:gd name="T0" fmla="*/ 737 w 1617"/>
                <a:gd name="T1" fmla="*/ 1508 h 1997"/>
                <a:gd name="T2" fmla="*/ 710 w 1617"/>
                <a:gd name="T3" fmla="*/ 1535 h 1997"/>
                <a:gd name="T4" fmla="*/ 710 w 1617"/>
                <a:gd name="T5" fmla="*/ 1575 h 1997"/>
                <a:gd name="T6" fmla="*/ 737 w 1617"/>
                <a:gd name="T7" fmla="*/ 1602 h 1997"/>
                <a:gd name="T8" fmla="*/ 777 w 1617"/>
                <a:gd name="T9" fmla="*/ 1602 h 1997"/>
                <a:gd name="T10" fmla="*/ 804 w 1617"/>
                <a:gd name="T11" fmla="*/ 1575 h 1997"/>
                <a:gd name="T12" fmla="*/ 804 w 1617"/>
                <a:gd name="T13" fmla="*/ 1535 h 1997"/>
                <a:gd name="T14" fmla="*/ 777 w 1617"/>
                <a:gd name="T15" fmla="*/ 1508 h 1997"/>
                <a:gd name="T16" fmla="*/ 1087 w 1617"/>
                <a:gd name="T17" fmla="*/ 1403 h 1997"/>
                <a:gd name="T18" fmla="*/ 1041 w 1617"/>
                <a:gd name="T19" fmla="*/ 1415 h 1997"/>
                <a:gd name="T20" fmla="*/ 1008 w 1617"/>
                <a:gd name="T21" fmla="*/ 1448 h 1997"/>
                <a:gd name="T22" fmla="*/ 996 w 1617"/>
                <a:gd name="T23" fmla="*/ 1494 h 1997"/>
                <a:gd name="T24" fmla="*/ 1008 w 1617"/>
                <a:gd name="T25" fmla="*/ 1539 h 1997"/>
                <a:gd name="T26" fmla="*/ 1041 w 1617"/>
                <a:gd name="T27" fmla="*/ 1573 h 1997"/>
                <a:gd name="T28" fmla="*/ 1087 w 1617"/>
                <a:gd name="T29" fmla="*/ 1586 h 1997"/>
                <a:gd name="T30" fmla="*/ 1134 w 1617"/>
                <a:gd name="T31" fmla="*/ 1573 h 1997"/>
                <a:gd name="T32" fmla="*/ 1166 w 1617"/>
                <a:gd name="T33" fmla="*/ 1539 h 1997"/>
                <a:gd name="T34" fmla="*/ 1178 w 1617"/>
                <a:gd name="T35" fmla="*/ 1494 h 1997"/>
                <a:gd name="T36" fmla="*/ 1166 w 1617"/>
                <a:gd name="T37" fmla="*/ 1448 h 1997"/>
                <a:gd name="T38" fmla="*/ 1134 w 1617"/>
                <a:gd name="T39" fmla="*/ 1415 h 1997"/>
                <a:gd name="T40" fmla="*/ 1087 w 1617"/>
                <a:gd name="T41" fmla="*/ 1403 h 1997"/>
                <a:gd name="T42" fmla="*/ 735 w 1617"/>
                <a:gd name="T43" fmla="*/ 1208 h 1997"/>
                <a:gd name="T44" fmla="*/ 701 w 1617"/>
                <a:gd name="T45" fmla="*/ 1232 h 1997"/>
                <a:gd name="T46" fmla="*/ 686 w 1617"/>
                <a:gd name="T47" fmla="*/ 1275 h 1997"/>
                <a:gd name="T48" fmla="*/ 701 w 1617"/>
                <a:gd name="T49" fmla="*/ 1317 h 1997"/>
                <a:gd name="T50" fmla="*/ 735 w 1617"/>
                <a:gd name="T51" fmla="*/ 1343 h 1997"/>
                <a:gd name="T52" fmla="*/ 780 w 1617"/>
                <a:gd name="T53" fmla="*/ 1343 h 1997"/>
                <a:gd name="T54" fmla="*/ 815 w 1617"/>
                <a:gd name="T55" fmla="*/ 1317 h 1997"/>
                <a:gd name="T56" fmla="*/ 829 w 1617"/>
                <a:gd name="T57" fmla="*/ 1275 h 1997"/>
                <a:gd name="T58" fmla="*/ 815 w 1617"/>
                <a:gd name="T59" fmla="*/ 1232 h 1997"/>
                <a:gd name="T60" fmla="*/ 780 w 1617"/>
                <a:gd name="T61" fmla="*/ 1208 h 1997"/>
                <a:gd name="T62" fmla="*/ 644 w 1617"/>
                <a:gd name="T63" fmla="*/ 364 h 1997"/>
                <a:gd name="T64" fmla="*/ 642 w 1617"/>
                <a:gd name="T65" fmla="*/ 950 h 1997"/>
                <a:gd name="T66" fmla="*/ 601 w 1617"/>
                <a:gd name="T67" fmla="*/ 1040 h 1997"/>
                <a:gd name="T68" fmla="*/ 981 w 1617"/>
                <a:gd name="T69" fmla="*/ 968 h 1997"/>
                <a:gd name="T70" fmla="*/ 972 w 1617"/>
                <a:gd name="T71" fmla="*/ 931 h 1997"/>
                <a:gd name="T72" fmla="*/ 644 w 1617"/>
                <a:gd name="T73" fmla="*/ 364 h 1997"/>
                <a:gd name="T74" fmla="*/ 1164 w 1617"/>
                <a:gd name="T75" fmla="*/ 0 h 1997"/>
                <a:gd name="T76" fmla="*/ 1208 w 1617"/>
                <a:gd name="T77" fmla="*/ 15 h 1997"/>
                <a:gd name="T78" fmla="*/ 1236 w 1617"/>
                <a:gd name="T79" fmla="*/ 51 h 1997"/>
                <a:gd name="T80" fmla="*/ 1238 w 1617"/>
                <a:gd name="T81" fmla="*/ 289 h 1997"/>
                <a:gd name="T82" fmla="*/ 1225 w 1617"/>
                <a:gd name="T83" fmla="*/ 334 h 1997"/>
                <a:gd name="T84" fmla="*/ 1187 w 1617"/>
                <a:gd name="T85" fmla="*/ 361 h 1997"/>
                <a:gd name="T86" fmla="*/ 1144 w 1617"/>
                <a:gd name="T87" fmla="*/ 364 h 1997"/>
                <a:gd name="T88" fmla="*/ 1609 w 1617"/>
                <a:gd name="T89" fmla="*/ 1873 h 1997"/>
                <a:gd name="T90" fmla="*/ 1617 w 1617"/>
                <a:gd name="T91" fmla="*/ 1916 h 1997"/>
                <a:gd name="T92" fmla="*/ 1603 w 1617"/>
                <a:gd name="T93" fmla="*/ 1956 h 1997"/>
                <a:gd name="T94" fmla="*/ 1572 w 1617"/>
                <a:gd name="T95" fmla="*/ 1986 h 1997"/>
                <a:gd name="T96" fmla="*/ 1531 w 1617"/>
                <a:gd name="T97" fmla="*/ 1997 h 1997"/>
                <a:gd name="T98" fmla="*/ 64 w 1617"/>
                <a:gd name="T99" fmla="*/ 1995 h 1997"/>
                <a:gd name="T100" fmla="*/ 27 w 1617"/>
                <a:gd name="T101" fmla="*/ 1973 h 1997"/>
                <a:gd name="T102" fmla="*/ 4 w 1617"/>
                <a:gd name="T103" fmla="*/ 1936 h 1997"/>
                <a:gd name="T104" fmla="*/ 1 w 1617"/>
                <a:gd name="T105" fmla="*/ 1894 h 1997"/>
                <a:gd name="T106" fmla="*/ 472 w 1617"/>
                <a:gd name="T107" fmla="*/ 911 h 1997"/>
                <a:gd name="T108" fmla="*/ 453 w 1617"/>
                <a:gd name="T109" fmla="*/ 364 h 1997"/>
                <a:gd name="T110" fmla="*/ 408 w 1617"/>
                <a:gd name="T111" fmla="*/ 350 h 1997"/>
                <a:gd name="T112" fmla="*/ 381 w 1617"/>
                <a:gd name="T113" fmla="*/ 313 h 1997"/>
                <a:gd name="T114" fmla="*/ 378 w 1617"/>
                <a:gd name="T115" fmla="*/ 75 h 1997"/>
                <a:gd name="T116" fmla="*/ 392 w 1617"/>
                <a:gd name="T117" fmla="*/ 31 h 1997"/>
                <a:gd name="T118" fmla="*/ 428 w 1617"/>
                <a:gd name="T119" fmla="*/ 4 h 19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17" h="1997">
                  <a:moveTo>
                    <a:pt x="758" y="1504"/>
                  </a:moveTo>
                  <a:lnTo>
                    <a:pt x="737" y="1508"/>
                  </a:lnTo>
                  <a:lnTo>
                    <a:pt x="721" y="1519"/>
                  </a:lnTo>
                  <a:lnTo>
                    <a:pt x="710" y="1535"/>
                  </a:lnTo>
                  <a:lnTo>
                    <a:pt x="706" y="1554"/>
                  </a:lnTo>
                  <a:lnTo>
                    <a:pt x="710" y="1575"/>
                  </a:lnTo>
                  <a:lnTo>
                    <a:pt x="721" y="1591"/>
                  </a:lnTo>
                  <a:lnTo>
                    <a:pt x="737" y="1602"/>
                  </a:lnTo>
                  <a:lnTo>
                    <a:pt x="758" y="1606"/>
                  </a:lnTo>
                  <a:lnTo>
                    <a:pt x="777" y="1602"/>
                  </a:lnTo>
                  <a:lnTo>
                    <a:pt x="793" y="1591"/>
                  </a:lnTo>
                  <a:lnTo>
                    <a:pt x="804" y="1575"/>
                  </a:lnTo>
                  <a:lnTo>
                    <a:pt x="808" y="1554"/>
                  </a:lnTo>
                  <a:lnTo>
                    <a:pt x="804" y="1535"/>
                  </a:lnTo>
                  <a:lnTo>
                    <a:pt x="793" y="1519"/>
                  </a:lnTo>
                  <a:lnTo>
                    <a:pt x="777" y="1508"/>
                  </a:lnTo>
                  <a:lnTo>
                    <a:pt x="758" y="1504"/>
                  </a:lnTo>
                  <a:close/>
                  <a:moveTo>
                    <a:pt x="1087" y="1403"/>
                  </a:moveTo>
                  <a:lnTo>
                    <a:pt x="1063" y="1406"/>
                  </a:lnTo>
                  <a:lnTo>
                    <a:pt x="1041" y="1415"/>
                  </a:lnTo>
                  <a:lnTo>
                    <a:pt x="1023" y="1429"/>
                  </a:lnTo>
                  <a:lnTo>
                    <a:pt x="1008" y="1448"/>
                  </a:lnTo>
                  <a:lnTo>
                    <a:pt x="999" y="1470"/>
                  </a:lnTo>
                  <a:lnTo>
                    <a:pt x="996" y="1494"/>
                  </a:lnTo>
                  <a:lnTo>
                    <a:pt x="999" y="1517"/>
                  </a:lnTo>
                  <a:lnTo>
                    <a:pt x="1008" y="1539"/>
                  </a:lnTo>
                  <a:lnTo>
                    <a:pt x="1023" y="1558"/>
                  </a:lnTo>
                  <a:lnTo>
                    <a:pt x="1041" y="1573"/>
                  </a:lnTo>
                  <a:lnTo>
                    <a:pt x="1063" y="1581"/>
                  </a:lnTo>
                  <a:lnTo>
                    <a:pt x="1087" y="1586"/>
                  </a:lnTo>
                  <a:lnTo>
                    <a:pt x="1112" y="1581"/>
                  </a:lnTo>
                  <a:lnTo>
                    <a:pt x="1134" y="1573"/>
                  </a:lnTo>
                  <a:lnTo>
                    <a:pt x="1151" y="1558"/>
                  </a:lnTo>
                  <a:lnTo>
                    <a:pt x="1166" y="1539"/>
                  </a:lnTo>
                  <a:lnTo>
                    <a:pt x="1176" y="1517"/>
                  </a:lnTo>
                  <a:lnTo>
                    <a:pt x="1178" y="1494"/>
                  </a:lnTo>
                  <a:lnTo>
                    <a:pt x="1176" y="1470"/>
                  </a:lnTo>
                  <a:lnTo>
                    <a:pt x="1166" y="1448"/>
                  </a:lnTo>
                  <a:lnTo>
                    <a:pt x="1151" y="1429"/>
                  </a:lnTo>
                  <a:lnTo>
                    <a:pt x="1134" y="1415"/>
                  </a:lnTo>
                  <a:lnTo>
                    <a:pt x="1112" y="1406"/>
                  </a:lnTo>
                  <a:lnTo>
                    <a:pt x="1087" y="1403"/>
                  </a:lnTo>
                  <a:close/>
                  <a:moveTo>
                    <a:pt x="758" y="1204"/>
                  </a:moveTo>
                  <a:lnTo>
                    <a:pt x="735" y="1208"/>
                  </a:lnTo>
                  <a:lnTo>
                    <a:pt x="716" y="1217"/>
                  </a:lnTo>
                  <a:lnTo>
                    <a:pt x="701" y="1232"/>
                  </a:lnTo>
                  <a:lnTo>
                    <a:pt x="690" y="1253"/>
                  </a:lnTo>
                  <a:lnTo>
                    <a:pt x="686" y="1275"/>
                  </a:lnTo>
                  <a:lnTo>
                    <a:pt x="690" y="1298"/>
                  </a:lnTo>
                  <a:lnTo>
                    <a:pt x="701" y="1317"/>
                  </a:lnTo>
                  <a:lnTo>
                    <a:pt x="716" y="1332"/>
                  </a:lnTo>
                  <a:lnTo>
                    <a:pt x="735" y="1343"/>
                  </a:lnTo>
                  <a:lnTo>
                    <a:pt x="758" y="1346"/>
                  </a:lnTo>
                  <a:lnTo>
                    <a:pt x="780" y="1343"/>
                  </a:lnTo>
                  <a:lnTo>
                    <a:pt x="799" y="1332"/>
                  </a:lnTo>
                  <a:lnTo>
                    <a:pt x="815" y="1317"/>
                  </a:lnTo>
                  <a:lnTo>
                    <a:pt x="825" y="1298"/>
                  </a:lnTo>
                  <a:lnTo>
                    <a:pt x="829" y="1275"/>
                  </a:lnTo>
                  <a:lnTo>
                    <a:pt x="825" y="1253"/>
                  </a:lnTo>
                  <a:lnTo>
                    <a:pt x="815" y="1232"/>
                  </a:lnTo>
                  <a:lnTo>
                    <a:pt x="799" y="1217"/>
                  </a:lnTo>
                  <a:lnTo>
                    <a:pt x="780" y="1208"/>
                  </a:lnTo>
                  <a:lnTo>
                    <a:pt x="758" y="1204"/>
                  </a:lnTo>
                  <a:close/>
                  <a:moveTo>
                    <a:pt x="644" y="364"/>
                  </a:moveTo>
                  <a:lnTo>
                    <a:pt x="644" y="931"/>
                  </a:lnTo>
                  <a:lnTo>
                    <a:pt x="642" y="950"/>
                  </a:lnTo>
                  <a:lnTo>
                    <a:pt x="635" y="968"/>
                  </a:lnTo>
                  <a:lnTo>
                    <a:pt x="601" y="1040"/>
                  </a:lnTo>
                  <a:lnTo>
                    <a:pt x="1015" y="1040"/>
                  </a:lnTo>
                  <a:lnTo>
                    <a:pt x="981" y="968"/>
                  </a:lnTo>
                  <a:lnTo>
                    <a:pt x="974" y="950"/>
                  </a:lnTo>
                  <a:lnTo>
                    <a:pt x="972" y="931"/>
                  </a:lnTo>
                  <a:lnTo>
                    <a:pt x="972" y="364"/>
                  </a:lnTo>
                  <a:lnTo>
                    <a:pt x="644" y="364"/>
                  </a:lnTo>
                  <a:close/>
                  <a:moveTo>
                    <a:pt x="453" y="0"/>
                  </a:moveTo>
                  <a:lnTo>
                    <a:pt x="1164" y="0"/>
                  </a:lnTo>
                  <a:lnTo>
                    <a:pt x="1187" y="4"/>
                  </a:lnTo>
                  <a:lnTo>
                    <a:pt x="1208" y="15"/>
                  </a:lnTo>
                  <a:lnTo>
                    <a:pt x="1225" y="31"/>
                  </a:lnTo>
                  <a:lnTo>
                    <a:pt x="1236" y="51"/>
                  </a:lnTo>
                  <a:lnTo>
                    <a:pt x="1238" y="75"/>
                  </a:lnTo>
                  <a:lnTo>
                    <a:pt x="1238" y="289"/>
                  </a:lnTo>
                  <a:lnTo>
                    <a:pt x="1236" y="313"/>
                  </a:lnTo>
                  <a:lnTo>
                    <a:pt x="1225" y="334"/>
                  </a:lnTo>
                  <a:lnTo>
                    <a:pt x="1208" y="350"/>
                  </a:lnTo>
                  <a:lnTo>
                    <a:pt x="1187" y="361"/>
                  </a:lnTo>
                  <a:lnTo>
                    <a:pt x="1164" y="364"/>
                  </a:lnTo>
                  <a:lnTo>
                    <a:pt x="1144" y="364"/>
                  </a:lnTo>
                  <a:lnTo>
                    <a:pt x="1144" y="911"/>
                  </a:lnTo>
                  <a:lnTo>
                    <a:pt x="1609" y="1873"/>
                  </a:lnTo>
                  <a:lnTo>
                    <a:pt x="1615" y="1894"/>
                  </a:lnTo>
                  <a:lnTo>
                    <a:pt x="1617" y="1916"/>
                  </a:lnTo>
                  <a:lnTo>
                    <a:pt x="1613" y="1936"/>
                  </a:lnTo>
                  <a:lnTo>
                    <a:pt x="1603" y="1956"/>
                  </a:lnTo>
                  <a:lnTo>
                    <a:pt x="1590" y="1973"/>
                  </a:lnTo>
                  <a:lnTo>
                    <a:pt x="1572" y="1986"/>
                  </a:lnTo>
                  <a:lnTo>
                    <a:pt x="1553" y="1995"/>
                  </a:lnTo>
                  <a:lnTo>
                    <a:pt x="1531" y="1997"/>
                  </a:lnTo>
                  <a:lnTo>
                    <a:pt x="85" y="1997"/>
                  </a:lnTo>
                  <a:lnTo>
                    <a:pt x="64" y="1995"/>
                  </a:lnTo>
                  <a:lnTo>
                    <a:pt x="45" y="1986"/>
                  </a:lnTo>
                  <a:lnTo>
                    <a:pt x="27" y="1973"/>
                  </a:lnTo>
                  <a:lnTo>
                    <a:pt x="13" y="1956"/>
                  </a:lnTo>
                  <a:lnTo>
                    <a:pt x="4" y="1936"/>
                  </a:lnTo>
                  <a:lnTo>
                    <a:pt x="0" y="1916"/>
                  </a:lnTo>
                  <a:lnTo>
                    <a:pt x="1" y="1894"/>
                  </a:lnTo>
                  <a:lnTo>
                    <a:pt x="8" y="1873"/>
                  </a:lnTo>
                  <a:lnTo>
                    <a:pt x="472" y="911"/>
                  </a:lnTo>
                  <a:lnTo>
                    <a:pt x="472" y="364"/>
                  </a:lnTo>
                  <a:lnTo>
                    <a:pt x="453" y="364"/>
                  </a:lnTo>
                  <a:lnTo>
                    <a:pt x="428" y="361"/>
                  </a:lnTo>
                  <a:lnTo>
                    <a:pt x="408" y="350"/>
                  </a:lnTo>
                  <a:lnTo>
                    <a:pt x="392" y="334"/>
                  </a:lnTo>
                  <a:lnTo>
                    <a:pt x="381" y="313"/>
                  </a:lnTo>
                  <a:lnTo>
                    <a:pt x="378" y="289"/>
                  </a:lnTo>
                  <a:lnTo>
                    <a:pt x="378" y="75"/>
                  </a:lnTo>
                  <a:lnTo>
                    <a:pt x="381" y="51"/>
                  </a:lnTo>
                  <a:lnTo>
                    <a:pt x="392" y="31"/>
                  </a:lnTo>
                  <a:lnTo>
                    <a:pt x="408" y="15"/>
                  </a:lnTo>
                  <a:lnTo>
                    <a:pt x="428" y="4"/>
                  </a:lnTo>
                  <a:lnTo>
                    <a:pt x="4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9" name="Freeform 988">
              <a:extLst>
                <a:ext uri="{FF2B5EF4-FFF2-40B4-BE49-F238E27FC236}">
                  <a16:creationId xmlns:a16="http://schemas.microsoft.com/office/drawing/2014/main" id="{1DCFA1DE-06AE-75CB-42F3-B95D52A6B1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695" y="1785"/>
              <a:ext cx="1495" cy="1035"/>
            </a:xfrm>
            <a:custGeom>
              <a:avLst/>
              <a:gdLst>
                <a:gd name="T0" fmla="*/ 1105 w 2989"/>
                <a:gd name="T1" fmla="*/ 808 h 2070"/>
                <a:gd name="T2" fmla="*/ 1093 w 2989"/>
                <a:gd name="T3" fmla="*/ 851 h 2070"/>
                <a:gd name="T4" fmla="*/ 655 w 2989"/>
                <a:gd name="T5" fmla="*/ 983 h 2070"/>
                <a:gd name="T6" fmla="*/ 1311 w 2989"/>
                <a:gd name="T7" fmla="*/ 983 h 2070"/>
                <a:gd name="T8" fmla="*/ 1252 w 2989"/>
                <a:gd name="T9" fmla="*/ 897 h 2070"/>
                <a:gd name="T10" fmla="*/ 1218 w 2989"/>
                <a:gd name="T11" fmla="*/ 863 h 2070"/>
                <a:gd name="T12" fmla="*/ 1197 w 2989"/>
                <a:gd name="T13" fmla="*/ 851 h 2070"/>
                <a:gd name="T14" fmla="*/ 1176 w 2989"/>
                <a:gd name="T15" fmla="*/ 823 h 2070"/>
                <a:gd name="T16" fmla="*/ 1137 w 2989"/>
                <a:gd name="T17" fmla="*/ 796 h 2070"/>
                <a:gd name="T18" fmla="*/ 1352 w 2989"/>
                <a:gd name="T19" fmla="*/ 15 h 2070"/>
                <a:gd name="T20" fmla="*/ 1572 w 2989"/>
                <a:gd name="T21" fmla="*/ 147 h 2070"/>
                <a:gd name="T22" fmla="*/ 1752 w 2989"/>
                <a:gd name="T23" fmla="*/ 207 h 2070"/>
                <a:gd name="T24" fmla="*/ 1919 w 2989"/>
                <a:gd name="T25" fmla="*/ 576 h 2070"/>
                <a:gd name="T26" fmla="*/ 2087 w 2989"/>
                <a:gd name="T27" fmla="*/ 207 h 2070"/>
                <a:gd name="T28" fmla="*/ 2267 w 2989"/>
                <a:gd name="T29" fmla="*/ 147 h 2070"/>
                <a:gd name="T30" fmla="*/ 2487 w 2989"/>
                <a:gd name="T31" fmla="*/ 15 h 2070"/>
                <a:gd name="T32" fmla="*/ 2546 w 2989"/>
                <a:gd name="T33" fmla="*/ 1 h 2070"/>
                <a:gd name="T34" fmla="*/ 2614 w 2989"/>
                <a:gd name="T35" fmla="*/ 34 h 2070"/>
                <a:gd name="T36" fmla="*/ 2773 w 2989"/>
                <a:gd name="T37" fmla="*/ 120 h 2070"/>
                <a:gd name="T38" fmla="*/ 2895 w 2989"/>
                <a:gd name="T39" fmla="*/ 289 h 2070"/>
                <a:gd name="T40" fmla="*/ 2921 w 2989"/>
                <a:gd name="T41" fmla="*/ 391 h 2070"/>
                <a:gd name="T42" fmla="*/ 2989 w 2989"/>
                <a:gd name="T43" fmla="*/ 467 h 2070"/>
                <a:gd name="T44" fmla="*/ 2527 w 2989"/>
                <a:gd name="T45" fmla="*/ 1847 h 2070"/>
                <a:gd name="T46" fmla="*/ 2522 w 2989"/>
                <a:gd name="T47" fmla="*/ 1961 h 2070"/>
                <a:gd name="T48" fmla="*/ 2557 w 2989"/>
                <a:gd name="T49" fmla="*/ 2037 h 2070"/>
                <a:gd name="T50" fmla="*/ 2194 w 2989"/>
                <a:gd name="T51" fmla="*/ 2064 h 2070"/>
                <a:gd name="T52" fmla="*/ 1775 w 2989"/>
                <a:gd name="T53" fmla="*/ 2068 h 2070"/>
                <a:gd name="T54" fmla="*/ 1386 w 2989"/>
                <a:gd name="T55" fmla="*/ 2046 h 2070"/>
                <a:gd name="T56" fmla="*/ 1058 w 2989"/>
                <a:gd name="T57" fmla="*/ 2004 h 2070"/>
                <a:gd name="T58" fmla="*/ 784 w 2989"/>
                <a:gd name="T59" fmla="*/ 1946 h 2070"/>
                <a:gd name="T60" fmla="*/ 562 w 2989"/>
                <a:gd name="T61" fmla="*/ 1873 h 2070"/>
                <a:gd name="T62" fmla="*/ 385 w 2989"/>
                <a:gd name="T63" fmla="*/ 1796 h 2070"/>
                <a:gd name="T64" fmla="*/ 249 w 2989"/>
                <a:gd name="T65" fmla="*/ 1715 h 2070"/>
                <a:gd name="T66" fmla="*/ 150 w 2989"/>
                <a:gd name="T67" fmla="*/ 1637 h 2070"/>
                <a:gd name="T68" fmla="*/ 79 w 2989"/>
                <a:gd name="T69" fmla="*/ 1566 h 2070"/>
                <a:gd name="T70" fmla="*/ 35 w 2989"/>
                <a:gd name="T71" fmla="*/ 1508 h 2070"/>
                <a:gd name="T72" fmla="*/ 12 w 2989"/>
                <a:gd name="T73" fmla="*/ 1467 h 2070"/>
                <a:gd name="T74" fmla="*/ 3 w 2989"/>
                <a:gd name="T75" fmla="*/ 1448 h 2070"/>
                <a:gd name="T76" fmla="*/ 4 w 2989"/>
                <a:gd name="T77" fmla="*/ 1388 h 2070"/>
                <a:gd name="T78" fmla="*/ 27 w 2989"/>
                <a:gd name="T79" fmla="*/ 1269 h 2070"/>
                <a:gd name="T80" fmla="*/ 67 w 2989"/>
                <a:gd name="T81" fmla="*/ 1103 h 2070"/>
                <a:gd name="T82" fmla="*/ 125 w 2989"/>
                <a:gd name="T83" fmla="*/ 916 h 2070"/>
                <a:gd name="T84" fmla="*/ 203 w 2989"/>
                <a:gd name="T85" fmla="*/ 733 h 2070"/>
                <a:gd name="T86" fmla="*/ 302 w 2989"/>
                <a:gd name="T87" fmla="*/ 581 h 2070"/>
                <a:gd name="T88" fmla="*/ 408 w 2989"/>
                <a:gd name="T89" fmla="*/ 491 h 2070"/>
                <a:gd name="T90" fmla="*/ 527 w 2989"/>
                <a:gd name="T91" fmla="*/ 418 h 2070"/>
                <a:gd name="T92" fmla="*/ 683 w 2989"/>
                <a:gd name="T93" fmla="*/ 330 h 2070"/>
                <a:gd name="T94" fmla="*/ 859 w 2989"/>
                <a:gd name="T95" fmla="*/ 233 h 2070"/>
                <a:gd name="T96" fmla="*/ 1035 w 2989"/>
                <a:gd name="T97" fmla="*/ 137 h 2070"/>
                <a:gd name="T98" fmla="*/ 1190 w 2989"/>
                <a:gd name="T99" fmla="*/ 53 h 2070"/>
                <a:gd name="T100" fmla="*/ 1293 w 2989"/>
                <a:gd name="T101" fmla="*/ 1 h 20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989" h="2070">
                  <a:moveTo>
                    <a:pt x="1137" y="796"/>
                  </a:moveTo>
                  <a:lnTo>
                    <a:pt x="1119" y="800"/>
                  </a:lnTo>
                  <a:lnTo>
                    <a:pt x="1105" y="808"/>
                  </a:lnTo>
                  <a:lnTo>
                    <a:pt x="1096" y="823"/>
                  </a:lnTo>
                  <a:lnTo>
                    <a:pt x="1093" y="840"/>
                  </a:lnTo>
                  <a:lnTo>
                    <a:pt x="1093" y="851"/>
                  </a:lnTo>
                  <a:lnTo>
                    <a:pt x="1075" y="851"/>
                  </a:lnTo>
                  <a:lnTo>
                    <a:pt x="1075" y="983"/>
                  </a:lnTo>
                  <a:lnTo>
                    <a:pt x="655" y="983"/>
                  </a:lnTo>
                  <a:lnTo>
                    <a:pt x="655" y="1122"/>
                  </a:lnTo>
                  <a:lnTo>
                    <a:pt x="1311" y="1122"/>
                  </a:lnTo>
                  <a:lnTo>
                    <a:pt x="1311" y="983"/>
                  </a:lnTo>
                  <a:lnTo>
                    <a:pt x="1255" y="983"/>
                  </a:lnTo>
                  <a:lnTo>
                    <a:pt x="1255" y="913"/>
                  </a:lnTo>
                  <a:lnTo>
                    <a:pt x="1252" y="897"/>
                  </a:lnTo>
                  <a:lnTo>
                    <a:pt x="1244" y="882"/>
                  </a:lnTo>
                  <a:lnTo>
                    <a:pt x="1233" y="871"/>
                  </a:lnTo>
                  <a:lnTo>
                    <a:pt x="1218" y="863"/>
                  </a:lnTo>
                  <a:lnTo>
                    <a:pt x="1202" y="860"/>
                  </a:lnTo>
                  <a:lnTo>
                    <a:pt x="1197" y="860"/>
                  </a:lnTo>
                  <a:lnTo>
                    <a:pt x="1197" y="851"/>
                  </a:lnTo>
                  <a:lnTo>
                    <a:pt x="1180" y="851"/>
                  </a:lnTo>
                  <a:lnTo>
                    <a:pt x="1180" y="840"/>
                  </a:lnTo>
                  <a:lnTo>
                    <a:pt x="1176" y="823"/>
                  </a:lnTo>
                  <a:lnTo>
                    <a:pt x="1167" y="808"/>
                  </a:lnTo>
                  <a:lnTo>
                    <a:pt x="1153" y="800"/>
                  </a:lnTo>
                  <a:lnTo>
                    <a:pt x="1137" y="796"/>
                  </a:lnTo>
                  <a:close/>
                  <a:moveTo>
                    <a:pt x="1314" y="0"/>
                  </a:moveTo>
                  <a:lnTo>
                    <a:pt x="1334" y="4"/>
                  </a:lnTo>
                  <a:lnTo>
                    <a:pt x="1352" y="15"/>
                  </a:lnTo>
                  <a:lnTo>
                    <a:pt x="1423" y="66"/>
                  </a:lnTo>
                  <a:lnTo>
                    <a:pt x="1496" y="110"/>
                  </a:lnTo>
                  <a:lnTo>
                    <a:pt x="1572" y="147"/>
                  </a:lnTo>
                  <a:lnTo>
                    <a:pt x="1650" y="176"/>
                  </a:lnTo>
                  <a:lnTo>
                    <a:pt x="1730" y="197"/>
                  </a:lnTo>
                  <a:lnTo>
                    <a:pt x="1752" y="207"/>
                  </a:lnTo>
                  <a:lnTo>
                    <a:pt x="1770" y="222"/>
                  </a:lnTo>
                  <a:lnTo>
                    <a:pt x="1782" y="241"/>
                  </a:lnTo>
                  <a:lnTo>
                    <a:pt x="1919" y="576"/>
                  </a:lnTo>
                  <a:lnTo>
                    <a:pt x="2058" y="241"/>
                  </a:lnTo>
                  <a:lnTo>
                    <a:pt x="2069" y="222"/>
                  </a:lnTo>
                  <a:lnTo>
                    <a:pt x="2087" y="207"/>
                  </a:lnTo>
                  <a:lnTo>
                    <a:pt x="2109" y="197"/>
                  </a:lnTo>
                  <a:lnTo>
                    <a:pt x="2189" y="176"/>
                  </a:lnTo>
                  <a:lnTo>
                    <a:pt x="2267" y="147"/>
                  </a:lnTo>
                  <a:lnTo>
                    <a:pt x="2343" y="110"/>
                  </a:lnTo>
                  <a:lnTo>
                    <a:pt x="2416" y="66"/>
                  </a:lnTo>
                  <a:lnTo>
                    <a:pt x="2487" y="15"/>
                  </a:lnTo>
                  <a:lnTo>
                    <a:pt x="2505" y="4"/>
                  </a:lnTo>
                  <a:lnTo>
                    <a:pt x="2525" y="0"/>
                  </a:lnTo>
                  <a:lnTo>
                    <a:pt x="2546" y="1"/>
                  </a:lnTo>
                  <a:lnTo>
                    <a:pt x="2566" y="8"/>
                  </a:lnTo>
                  <a:lnTo>
                    <a:pt x="2570" y="11"/>
                  </a:lnTo>
                  <a:lnTo>
                    <a:pt x="2614" y="34"/>
                  </a:lnTo>
                  <a:lnTo>
                    <a:pt x="2661" y="60"/>
                  </a:lnTo>
                  <a:lnTo>
                    <a:pt x="2716" y="88"/>
                  </a:lnTo>
                  <a:lnTo>
                    <a:pt x="2773" y="120"/>
                  </a:lnTo>
                  <a:lnTo>
                    <a:pt x="2833" y="151"/>
                  </a:lnTo>
                  <a:lnTo>
                    <a:pt x="2895" y="185"/>
                  </a:lnTo>
                  <a:lnTo>
                    <a:pt x="2895" y="289"/>
                  </a:lnTo>
                  <a:lnTo>
                    <a:pt x="2898" y="326"/>
                  </a:lnTo>
                  <a:lnTo>
                    <a:pt x="2908" y="360"/>
                  </a:lnTo>
                  <a:lnTo>
                    <a:pt x="2921" y="391"/>
                  </a:lnTo>
                  <a:lnTo>
                    <a:pt x="2940" y="420"/>
                  </a:lnTo>
                  <a:lnTo>
                    <a:pt x="2964" y="446"/>
                  </a:lnTo>
                  <a:lnTo>
                    <a:pt x="2989" y="467"/>
                  </a:lnTo>
                  <a:lnTo>
                    <a:pt x="2989" y="879"/>
                  </a:lnTo>
                  <a:lnTo>
                    <a:pt x="2540" y="1812"/>
                  </a:lnTo>
                  <a:lnTo>
                    <a:pt x="2527" y="1847"/>
                  </a:lnTo>
                  <a:lnTo>
                    <a:pt x="2518" y="1886"/>
                  </a:lnTo>
                  <a:lnTo>
                    <a:pt x="2518" y="1924"/>
                  </a:lnTo>
                  <a:lnTo>
                    <a:pt x="2522" y="1961"/>
                  </a:lnTo>
                  <a:lnTo>
                    <a:pt x="2535" y="1997"/>
                  </a:lnTo>
                  <a:lnTo>
                    <a:pt x="2552" y="2031"/>
                  </a:lnTo>
                  <a:lnTo>
                    <a:pt x="2557" y="2037"/>
                  </a:lnTo>
                  <a:lnTo>
                    <a:pt x="2442" y="2048"/>
                  </a:lnTo>
                  <a:lnTo>
                    <a:pt x="2321" y="2057"/>
                  </a:lnTo>
                  <a:lnTo>
                    <a:pt x="2194" y="2064"/>
                  </a:lnTo>
                  <a:lnTo>
                    <a:pt x="2061" y="2068"/>
                  </a:lnTo>
                  <a:lnTo>
                    <a:pt x="1919" y="2070"/>
                  </a:lnTo>
                  <a:lnTo>
                    <a:pt x="1775" y="2068"/>
                  </a:lnTo>
                  <a:lnTo>
                    <a:pt x="1639" y="2064"/>
                  </a:lnTo>
                  <a:lnTo>
                    <a:pt x="1508" y="2057"/>
                  </a:lnTo>
                  <a:lnTo>
                    <a:pt x="1386" y="2046"/>
                  </a:lnTo>
                  <a:lnTo>
                    <a:pt x="1270" y="2036"/>
                  </a:lnTo>
                  <a:lnTo>
                    <a:pt x="1160" y="2021"/>
                  </a:lnTo>
                  <a:lnTo>
                    <a:pt x="1058" y="2004"/>
                  </a:lnTo>
                  <a:lnTo>
                    <a:pt x="960" y="1986"/>
                  </a:lnTo>
                  <a:lnTo>
                    <a:pt x="870" y="1966"/>
                  </a:lnTo>
                  <a:lnTo>
                    <a:pt x="784" y="1946"/>
                  </a:lnTo>
                  <a:lnTo>
                    <a:pt x="705" y="1922"/>
                  </a:lnTo>
                  <a:lnTo>
                    <a:pt x="630" y="1898"/>
                  </a:lnTo>
                  <a:lnTo>
                    <a:pt x="562" y="1873"/>
                  </a:lnTo>
                  <a:lnTo>
                    <a:pt x="498" y="1849"/>
                  </a:lnTo>
                  <a:lnTo>
                    <a:pt x="440" y="1821"/>
                  </a:lnTo>
                  <a:lnTo>
                    <a:pt x="385" y="1796"/>
                  </a:lnTo>
                  <a:lnTo>
                    <a:pt x="336" y="1768"/>
                  </a:lnTo>
                  <a:lnTo>
                    <a:pt x="291" y="1741"/>
                  </a:lnTo>
                  <a:lnTo>
                    <a:pt x="249" y="1715"/>
                  </a:lnTo>
                  <a:lnTo>
                    <a:pt x="212" y="1688"/>
                  </a:lnTo>
                  <a:lnTo>
                    <a:pt x="180" y="1662"/>
                  </a:lnTo>
                  <a:lnTo>
                    <a:pt x="150" y="1637"/>
                  </a:lnTo>
                  <a:lnTo>
                    <a:pt x="123" y="1613"/>
                  </a:lnTo>
                  <a:lnTo>
                    <a:pt x="99" y="1588"/>
                  </a:lnTo>
                  <a:lnTo>
                    <a:pt x="79" y="1566"/>
                  </a:lnTo>
                  <a:lnTo>
                    <a:pt x="63" y="1546"/>
                  </a:lnTo>
                  <a:lnTo>
                    <a:pt x="48" y="1526"/>
                  </a:lnTo>
                  <a:lnTo>
                    <a:pt x="35" y="1508"/>
                  </a:lnTo>
                  <a:lnTo>
                    <a:pt x="26" y="1493"/>
                  </a:lnTo>
                  <a:lnTo>
                    <a:pt x="18" y="1479"/>
                  </a:lnTo>
                  <a:lnTo>
                    <a:pt x="12" y="1467"/>
                  </a:lnTo>
                  <a:lnTo>
                    <a:pt x="7" y="1459"/>
                  </a:lnTo>
                  <a:lnTo>
                    <a:pt x="4" y="1452"/>
                  </a:lnTo>
                  <a:lnTo>
                    <a:pt x="3" y="1448"/>
                  </a:lnTo>
                  <a:lnTo>
                    <a:pt x="0" y="1430"/>
                  </a:lnTo>
                  <a:lnTo>
                    <a:pt x="0" y="1412"/>
                  </a:lnTo>
                  <a:lnTo>
                    <a:pt x="4" y="1388"/>
                  </a:lnTo>
                  <a:lnTo>
                    <a:pt x="10" y="1355"/>
                  </a:lnTo>
                  <a:lnTo>
                    <a:pt x="18" y="1316"/>
                  </a:lnTo>
                  <a:lnTo>
                    <a:pt x="27" y="1269"/>
                  </a:lnTo>
                  <a:lnTo>
                    <a:pt x="38" y="1217"/>
                  </a:lnTo>
                  <a:lnTo>
                    <a:pt x="52" y="1161"/>
                  </a:lnTo>
                  <a:lnTo>
                    <a:pt x="67" y="1103"/>
                  </a:lnTo>
                  <a:lnTo>
                    <a:pt x="84" y="1041"/>
                  </a:lnTo>
                  <a:lnTo>
                    <a:pt x="103" y="979"/>
                  </a:lnTo>
                  <a:lnTo>
                    <a:pt x="125" y="916"/>
                  </a:lnTo>
                  <a:lnTo>
                    <a:pt x="148" y="853"/>
                  </a:lnTo>
                  <a:lnTo>
                    <a:pt x="174" y="792"/>
                  </a:lnTo>
                  <a:lnTo>
                    <a:pt x="203" y="733"/>
                  </a:lnTo>
                  <a:lnTo>
                    <a:pt x="233" y="677"/>
                  </a:lnTo>
                  <a:lnTo>
                    <a:pt x="267" y="627"/>
                  </a:lnTo>
                  <a:lnTo>
                    <a:pt x="302" y="581"/>
                  </a:lnTo>
                  <a:lnTo>
                    <a:pt x="339" y="541"/>
                  </a:lnTo>
                  <a:lnTo>
                    <a:pt x="380" y="510"/>
                  </a:lnTo>
                  <a:lnTo>
                    <a:pt x="408" y="491"/>
                  </a:lnTo>
                  <a:lnTo>
                    <a:pt x="442" y="469"/>
                  </a:lnTo>
                  <a:lnTo>
                    <a:pt x="482" y="446"/>
                  </a:lnTo>
                  <a:lnTo>
                    <a:pt x="527" y="418"/>
                  </a:lnTo>
                  <a:lnTo>
                    <a:pt x="576" y="391"/>
                  </a:lnTo>
                  <a:lnTo>
                    <a:pt x="629" y="361"/>
                  </a:lnTo>
                  <a:lnTo>
                    <a:pt x="683" y="330"/>
                  </a:lnTo>
                  <a:lnTo>
                    <a:pt x="742" y="297"/>
                  </a:lnTo>
                  <a:lnTo>
                    <a:pt x="800" y="266"/>
                  </a:lnTo>
                  <a:lnTo>
                    <a:pt x="859" y="233"/>
                  </a:lnTo>
                  <a:lnTo>
                    <a:pt x="919" y="200"/>
                  </a:lnTo>
                  <a:lnTo>
                    <a:pt x="977" y="167"/>
                  </a:lnTo>
                  <a:lnTo>
                    <a:pt x="1035" y="137"/>
                  </a:lnTo>
                  <a:lnTo>
                    <a:pt x="1089" y="107"/>
                  </a:lnTo>
                  <a:lnTo>
                    <a:pt x="1141" y="79"/>
                  </a:lnTo>
                  <a:lnTo>
                    <a:pt x="1190" y="53"/>
                  </a:lnTo>
                  <a:lnTo>
                    <a:pt x="1233" y="30"/>
                  </a:lnTo>
                  <a:lnTo>
                    <a:pt x="1273" y="8"/>
                  </a:lnTo>
                  <a:lnTo>
                    <a:pt x="1293" y="1"/>
                  </a:lnTo>
                  <a:lnTo>
                    <a:pt x="131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0" name="Freeform 989">
              <a:extLst>
                <a:ext uri="{FF2B5EF4-FFF2-40B4-BE49-F238E27FC236}">
                  <a16:creationId xmlns:a16="http://schemas.microsoft.com/office/drawing/2014/main" id="{E5457471-3E86-B65C-C184-8091560A0366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97" y="2231"/>
              <a:ext cx="13" cy="45"/>
            </a:xfrm>
            <a:custGeom>
              <a:avLst/>
              <a:gdLst>
                <a:gd name="T0" fmla="*/ 5 w 25"/>
                <a:gd name="T1" fmla="*/ 0 h 90"/>
                <a:gd name="T2" fmla="*/ 10 w 25"/>
                <a:gd name="T3" fmla="*/ 1 h 90"/>
                <a:gd name="T4" fmla="*/ 16 w 25"/>
                <a:gd name="T5" fmla="*/ 4 h 90"/>
                <a:gd name="T6" fmla="*/ 21 w 25"/>
                <a:gd name="T7" fmla="*/ 9 h 90"/>
                <a:gd name="T8" fmla="*/ 24 w 25"/>
                <a:gd name="T9" fmla="*/ 15 h 90"/>
                <a:gd name="T10" fmla="*/ 25 w 25"/>
                <a:gd name="T11" fmla="*/ 20 h 90"/>
                <a:gd name="T12" fmla="*/ 25 w 25"/>
                <a:gd name="T13" fmla="*/ 90 h 90"/>
                <a:gd name="T14" fmla="*/ 0 w 25"/>
                <a:gd name="T15" fmla="*/ 90 h 90"/>
                <a:gd name="T16" fmla="*/ 0 w 25"/>
                <a:gd name="T17" fmla="*/ 1 h 90"/>
                <a:gd name="T18" fmla="*/ 5 w 25"/>
                <a:gd name="T19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90">
                  <a:moveTo>
                    <a:pt x="5" y="0"/>
                  </a:moveTo>
                  <a:lnTo>
                    <a:pt x="10" y="1"/>
                  </a:lnTo>
                  <a:lnTo>
                    <a:pt x="16" y="4"/>
                  </a:lnTo>
                  <a:lnTo>
                    <a:pt x="21" y="9"/>
                  </a:lnTo>
                  <a:lnTo>
                    <a:pt x="24" y="15"/>
                  </a:lnTo>
                  <a:lnTo>
                    <a:pt x="25" y="20"/>
                  </a:lnTo>
                  <a:lnTo>
                    <a:pt x="25" y="90"/>
                  </a:lnTo>
                  <a:lnTo>
                    <a:pt x="0" y="90"/>
                  </a:lnTo>
                  <a:lnTo>
                    <a:pt x="0" y="1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sp>
        <p:nvSpPr>
          <p:cNvPr id="41" name="Freeform 1099">
            <a:extLst>
              <a:ext uri="{FF2B5EF4-FFF2-40B4-BE49-F238E27FC236}">
                <a16:creationId xmlns:a16="http://schemas.microsoft.com/office/drawing/2014/main" id="{C8405B67-9D9E-E192-A848-47D095269543}"/>
              </a:ext>
            </a:extLst>
          </p:cNvPr>
          <p:cNvSpPr>
            <a:spLocks noEditPoints="1"/>
          </p:cNvSpPr>
          <p:nvPr/>
        </p:nvSpPr>
        <p:spPr bwMode="auto">
          <a:xfrm>
            <a:off x="6670298" y="5081892"/>
            <a:ext cx="258173" cy="259944"/>
          </a:xfrm>
          <a:custGeom>
            <a:avLst/>
            <a:gdLst>
              <a:gd name="T0" fmla="*/ 2770 w 3499"/>
              <a:gd name="T1" fmla="*/ 2789 h 3524"/>
              <a:gd name="T2" fmla="*/ 2920 w 3499"/>
              <a:gd name="T3" fmla="*/ 2433 h 3524"/>
              <a:gd name="T4" fmla="*/ 2450 w 3499"/>
              <a:gd name="T5" fmla="*/ 1771 h 3524"/>
              <a:gd name="T6" fmla="*/ 2073 w 3499"/>
              <a:gd name="T7" fmla="*/ 1912 h 3524"/>
              <a:gd name="T8" fmla="*/ 1656 w 3499"/>
              <a:gd name="T9" fmla="*/ 2015 h 3524"/>
              <a:gd name="T10" fmla="*/ 1310 w 3499"/>
              <a:gd name="T11" fmla="*/ 2173 h 3524"/>
              <a:gd name="T12" fmla="*/ 1157 w 3499"/>
              <a:gd name="T13" fmla="*/ 2448 h 3524"/>
              <a:gd name="T14" fmla="*/ 1137 w 3499"/>
              <a:gd name="T15" fmla="*/ 2777 h 3524"/>
              <a:gd name="T16" fmla="*/ 1366 w 3499"/>
              <a:gd name="T17" fmla="*/ 3134 h 3524"/>
              <a:gd name="T18" fmla="*/ 1656 w 3499"/>
              <a:gd name="T19" fmla="*/ 3353 h 3524"/>
              <a:gd name="T20" fmla="*/ 1976 w 3499"/>
              <a:gd name="T21" fmla="*/ 3399 h 3524"/>
              <a:gd name="T22" fmla="*/ 2301 w 3499"/>
              <a:gd name="T23" fmla="*/ 3224 h 3524"/>
              <a:gd name="T24" fmla="*/ 2110 w 3499"/>
              <a:gd name="T25" fmla="*/ 3291 h 3524"/>
              <a:gd name="T26" fmla="*/ 1678 w 3499"/>
              <a:gd name="T27" fmla="*/ 3323 h 3524"/>
              <a:gd name="T28" fmla="*/ 1521 w 3499"/>
              <a:gd name="T29" fmla="*/ 3137 h 3524"/>
              <a:gd name="T30" fmla="*/ 1614 w 3499"/>
              <a:gd name="T31" fmla="*/ 2909 h 3524"/>
              <a:gd name="T32" fmla="*/ 2048 w 3499"/>
              <a:gd name="T33" fmla="*/ 2875 h 3524"/>
              <a:gd name="T34" fmla="*/ 2280 w 3499"/>
              <a:gd name="T35" fmla="*/ 3017 h 3524"/>
              <a:gd name="T36" fmla="*/ 2615 w 3499"/>
              <a:gd name="T37" fmla="*/ 2840 h 3524"/>
              <a:gd name="T38" fmla="*/ 2786 w 3499"/>
              <a:gd name="T39" fmla="*/ 2353 h 3524"/>
              <a:gd name="T40" fmla="*/ 2709 w 3499"/>
              <a:gd name="T41" fmla="*/ 2333 h 3524"/>
              <a:gd name="T42" fmla="*/ 2715 w 3499"/>
              <a:gd name="T43" fmla="*/ 2239 h 3524"/>
              <a:gd name="T44" fmla="*/ 2741 w 3499"/>
              <a:gd name="T45" fmla="*/ 2005 h 3524"/>
              <a:gd name="T46" fmla="*/ 2678 w 3499"/>
              <a:gd name="T47" fmla="*/ 1715 h 3524"/>
              <a:gd name="T48" fmla="*/ 1492 w 3499"/>
              <a:gd name="T49" fmla="*/ 192 h 3524"/>
              <a:gd name="T50" fmla="*/ 974 w 3499"/>
              <a:gd name="T51" fmla="*/ 444 h 3524"/>
              <a:gd name="T52" fmla="*/ 631 w 3499"/>
              <a:gd name="T53" fmla="*/ 902 h 3524"/>
              <a:gd name="T54" fmla="*/ 998 w 3499"/>
              <a:gd name="T55" fmla="*/ 571 h 3524"/>
              <a:gd name="T56" fmla="*/ 1416 w 3499"/>
              <a:gd name="T57" fmla="*/ 397 h 3524"/>
              <a:gd name="T58" fmla="*/ 1997 w 3499"/>
              <a:gd name="T59" fmla="*/ 363 h 3524"/>
              <a:gd name="T60" fmla="*/ 2358 w 3499"/>
              <a:gd name="T61" fmla="*/ 498 h 3524"/>
              <a:gd name="T62" fmla="*/ 2553 w 3499"/>
              <a:gd name="T63" fmla="*/ 657 h 3524"/>
              <a:gd name="T64" fmla="*/ 2622 w 3499"/>
              <a:gd name="T65" fmla="*/ 741 h 3524"/>
              <a:gd name="T66" fmla="*/ 2757 w 3499"/>
              <a:gd name="T67" fmla="*/ 938 h 3524"/>
              <a:gd name="T68" fmla="*/ 2818 w 3499"/>
              <a:gd name="T69" fmla="*/ 799 h 3524"/>
              <a:gd name="T70" fmla="*/ 2414 w 3499"/>
              <a:gd name="T71" fmla="*/ 362 h 3524"/>
              <a:gd name="T72" fmla="*/ 1841 w 3499"/>
              <a:gd name="T73" fmla="*/ 168 h 3524"/>
              <a:gd name="T74" fmla="*/ 2117 w 3499"/>
              <a:gd name="T75" fmla="*/ 50 h 3524"/>
              <a:gd name="T76" fmla="*/ 2661 w 3499"/>
              <a:gd name="T77" fmla="*/ 346 h 3524"/>
              <a:gd name="T78" fmla="*/ 3022 w 3499"/>
              <a:gd name="T79" fmla="*/ 847 h 3524"/>
              <a:gd name="T80" fmla="*/ 3131 w 3499"/>
              <a:gd name="T81" fmla="*/ 1436 h 3524"/>
              <a:gd name="T82" fmla="*/ 3406 w 3499"/>
              <a:gd name="T83" fmla="*/ 1530 h 3524"/>
              <a:gd name="T84" fmla="*/ 3499 w 3499"/>
              <a:gd name="T85" fmla="*/ 2220 h 3524"/>
              <a:gd name="T86" fmla="*/ 3376 w 3499"/>
              <a:gd name="T87" fmla="*/ 2473 h 3524"/>
              <a:gd name="T88" fmla="*/ 3051 w 3499"/>
              <a:gd name="T89" fmla="*/ 2606 h 3524"/>
              <a:gd name="T90" fmla="*/ 2791 w 3499"/>
              <a:gd name="T91" fmla="*/ 2997 h 3524"/>
              <a:gd name="T92" fmla="*/ 2400 w 3499"/>
              <a:gd name="T93" fmla="*/ 3292 h 3524"/>
              <a:gd name="T94" fmla="*/ 2054 w 3499"/>
              <a:gd name="T95" fmla="*/ 3500 h 3524"/>
              <a:gd name="T96" fmla="*/ 1656 w 3499"/>
              <a:gd name="T97" fmla="*/ 3480 h 3524"/>
              <a:gd name="T98" fmla="*/ 1299 w 3499"/>
              <a:gd name="T99" fmla="*/ 3231 h 3524"/>
              <a:gd name="T100" fmla="*/ 1199 w 3499"/>
              <a:gd name="T101" fmla="*/ 3177 h 3524"/>
              <a:gd name="T102" fmla="*/ 1117 w 3499"/>
              <a:gd name="T103" fmla="*/ 3210 h 3524"/>
              <a:gd name="T104" fmla="*/ 1021 w 3499"/>
              <a:gd name="T105" fmla="*/ 3118 h 3524"/>
              <a:gd name="T106" fmla="*/ 809 w 3499"/>
              <a:gd name="T107" fmla="*/ 2871 h 3524"/>
              <a:gd name="T108" fmla="*/ 570 w 3499"/>
              <a:gd name="T109" fmla="*/ 2489 h 3524"/>
              <a:gd name="T110" fmla="*/ 275 w 3499"/>
              <a:gd name="T111" fmla="*/ 2535 h 3524"/>
              <a:gd name="T112" fmla="*/ 43 w 3499"/>
              <a:gd name="T113" fmla="*/ 2381 h 3524"/>
              <a:gd name="T114" fmla="*/ 12 w 3499"/>
              <a:gd name="T115" fmla="*/ 1670 h 3524"/>
              <a:gd name="T116" fmla="*/ 194 w 3499"/>
              <a:gd name="T117" fmla="*/ 1461 h 3524"/>
              <a:gd name="T118" fmla="*/ 380 w 3499"/>
              <a:gd name="T119" fmla="*/ 1197 h 3524"/>
              <a:gd name="T120" fmla="*/ 604 w 3499"/>
              <a:gd name="T121" fmla="*/ 612 h 3524"/>
              <a:gd name="T122" fmla="*/ 1053 w 3499"/>
              <a:gd name="T123" fmla="*/ 189 h 3524"/>
              <a:gd name="T124" fmla="*/ 1655 w 3499"/>
              <a:gd name="T125" fmla="*/ 4 h 35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499" h="3524">
                <a:moveTo>
                  <a:pt x="2922" y="2276"/>
                </a:moveTo>
                <a:lnTo>
                  <a:pt x="2906" y="2362"/>
                </a:lnTo>
                <a:lnTo>
                  <a:pt x="2885" y="2449"/>
                </a:lnTo>
                <a:lnTo>
                  <a:pt x="2863" y="2536"/>
                </a:lnTo>
                <a:lnTo>
                  <a:pt x="2836" y="2622"/>
                </a:lnTo>
                <a:lnTo>
                  <a:pt x="2806" y="2706"/>
                </a:lnTo>
                <a:lnTo>
                  <a:pt x="2770" y="2789"/>
                </a:lnTo>
                <a:lnTo>
                  <a:pt x="2805" y="2745"/>
                </a:lnTo>
                <a:lnTo>
                  <a:pt x="2834" y="2699"/>
                </a:lnTo>
                <a:lnTo>
                  <a:pt x="2861" y="2650"/>
                </a:lnTo>
                <a:lnTo>
                  <a:pt x="2882" y="2599"/>
                </a:lnTo>
                <a:lnTo>
                  <a:pt x="2899" y="2545"/>
                </a:lnTo>
                <a:lnTo>
                  <a:pt x="2912" y="2490"/>
                </a:lnTo>
                <a:lnTo>
                  <a:pt x="2920" y="2433"/>
                </a:lnTo>
                <a:lnTo>
                  <a:pt x="2922" y="2373"/>
                </a:lnTo>
                <a:lnTo>
                  <a:pt x="2922" y="2276"/>
                </a:lnTo>
                <a:close/>
                <a:moveTo>
                  <a:pt x="2613" y="1637"/>
                </a:moveTo>
                <a:lnTo>
                  <a:pt x="2577" y="1674"/>
                </a:lnTo>
                <a:lnTo>
                  <a:pt x="2538" y="1710"/>
                </a:lnTo>
                <a:lnTo>
                  <a:pt x="2495" y="1741"/>
                </a:lnTo>
                <a:lnTo>
                  <a:pt x="2450" y="1771"/>
                </a:lnTo>
                <a:lnTo>
                  <a:pt x="2403" y="1796"/>
                </a:lnTo>
                <a:lnTo>
                  <a:pt x="2352" y="1820"/>
                </a:lnTo>
                <a:lnTo>
                  <a:pt x="2299" y="1842"/>
                </a:lnTo>
                <a:lnTo>
                  <a:pt x="2244" y="1861"/>
                </a:lnTo>
                <a:lnTo>
                  <a:pt x="2188" y="1880"/>
                </a:lnTo>
                <a:lnTo>
                  <a:pt x="2131" y="1897"/>
                </a:lnTo>
                <a:lnTo>
                  <a:pt x="2073" y="1912"/>
                </a:lnTo>
                <a:lnTo>
                  <a:pt x="2013" y="1927"/>
                </a:lnTo>
                <a:lnTo>
                  <a:pt x="1954" y="1941"/>
                </a:lnTo>
                <a:lnTo>
                  <a:pt x="1895" y="1955"/>
                </a:lnTo>
                <a:lnTo>
                  <a:pt x="1835" y="1969"/>
                </a:lnTo>
                <a:lnTo>
                  <a:pt x="1774" y="1983"/>
                </a:lnTo>
                <a:lnTo>
                  <a:pt x="1715" y="1998"/>
                </a:lnTo>
                <a:lnTo>
                  <a:pt x="1656" y="2015"/>
                </a:lnTo>
                <a:lnTo>
                  <a:pt x="1598" y="2032"/>
                </a:lnTo>
                <a:lnTo>
                  <a:pt x="1542" y="2050"/>
                </a:lnTo>
                <a:lnTo>
                  <a:pt x="1490" y="2071"/>
                </a:lnTo>
                <a:lnTo>
                  <a:pt x="1439" y="2092"/>
                </a:lnTo>
                <a:lnTo>
                  <a:pt x="1393" y="2117"/>
                </a:lnTo>
                <a:lnTo>
                  <a:pt x="1348" y="2144"/>
                </a:lnTo>
                <a:lnTo>
                  <a:pt x="1310" y="2173"/>
                </a:lnTo>
                <a:lnTo>
                  <a:pt x="1276" y="2205"/>
                </a:lnTo>
                <a:lnTo>
                  <a:pt x="1248" y="2239"/>
                </a:lnTo>
                <a:lnTo>
                  <a:pt x="1222" y="2276"/>
                </a:lnTo>
                <a:lnTo>
                  <a:pt x="1201" y="2316"/>
                </a:lnTo>
                <a:lnTo>
                  <a:pt x="1183" y="2358"/>
                </a:lnTo>
                <a:lnTo>
                  <a:pt x="1168" y="2402"/>
                </a:lnTo>
                <a:lnTo>
                  <a:pt x="1157" y="2448"/>
                </a:lnTo>
                <a:lnTo>
                  <a:pt x="1147" y="2494"/>
                </a:lnTo>
                <a:lnTo>
                  <a:pt x="1140" y="2541"/>
                </a:lnTo>
                <a:lnTo>
                  <a:pt x="1136" y="2589"/>
                </a:lnTo>
                <a:lnTo>
                  <a:pt x="1134" y="2637"/>
                </a:lnTo>
                <a:lnTo>
                  <a:pt x="1133" y="2684"/>
                </a:lnTo>
                <a:lnTo>
                  <a:pt x="1134" y="2732"/>
                </a:lnTo>
                <a:lnTo>
                  <a:pt x="1137" y="2777"/>
                </a:lnTo>
                <a:lnTo>
                  <a:pt x="1140" y="2822"/>
                </a:lnTo>
                <a:lnTo>
                  <a:pt x="1150" y="2840"/>
                </a:lnTo>
                <a:lnTo>
                  <a:pt x="1191" y="2909"/>
                </a:lnTo>
                <a:lnTo>
                  <a:pt x="1233" y="2973"/>
                </a:lnTo>
                <a:lnTo>
                  <a:pt x="1276" y="3031"/>
                </a:lnTo>
                <a:lnTo>
                  <a:pt x="1320" y="3085"/>
                </a:lnTo>
                <a:lnTo>
                  <a:pt x="1366" y="3134"/>
                </a:lnTo>
                <a:lnTo>
                  <a:pt x="1410" y="3177"/>
                </a:lnTo>
                <a:lnTo>
                  <a:pt x="1454" y="3216"/>
                </a:lnTo>
                <a:lnTo>
                  <a:pt x="1497" y="3251"/>
                </a:lnTo>
                <a:lnTo>
                  <a:pt x="1539" y="3281"/>
                </a:lnTo>
                <a:lnTo>
                  <a:pt x="1580" y="3310"/>
                </a:lnTo>
                <a:lnTo>
                  <a:pt x="1619" y="3332"/>
                </a:lnTo>
                <a:lnTo>
                  <a:pt x="1656" y="3353"/>
                </a:lnTo>
                <a:lnTo>
                  <a:pt x="1699" y="3372"/>
                </a:lnTo>
                <a:lnTo>
                  <a:pt x="1743" y="3388"/>
                </a:lnTo>
                <a:lnTo>
                  <a:pt x="1789" y="3399"/>
                </a:lnTo>
                <a:lnTo>
                  <a:pt x="1836" y="3406"/>
                </a:lnTo>
                <a:lnTo>
                  <a:pt x="1883" y="3409"/>
                </a:lnTo>
                <a:lnTo>
                  <a:pt x="1929" y="3406"/>
                </a:lnTo>
                <a:lnTo>
                  <a:pt x="1976" y="3399"/>
                </a:lnTo>
                <a:lnTo>
                  <a:pt x="2022" y="3388"/>
                </a:lnTo>
                <a:lnTo>
                  <a:pt x="2066" y="3372"/>
                </a:lnTo>
                <a:lnTo>
                  <a:pt x="2109" y="3353"/>
                </a:lnTo>
                <a:lnTo>
                  <a:pt x="2154" y="3328"/>
                </a:lnTo>
                <a:lnTo>
                  <a:pt x="2200" y="3299"/>
                </a:lnTo>
                <a:lnTo>
                  <a:pt x="2250" y="3264"/>
                </a:lnTo>
                <a:lnTo>
                  <a:pt x="2301" y="3224"/>
                </a:lnTo>
                <a:lnTo>
                  <a:pt x="2354" y="3178"/>
                </a:lnTo>
                <a:lnTo>
                  <a:pt x="2280" y="3181"/>
                </a:lnTo>
                <a:lnTo>
                  <a:pt x="2196" y="3181"/>
                </a:lnTo>
                <a:lnTo>
                  <a:pt x="2181" y="3213"/>
                </a:lnTo>
                <a:lnTo>
                  <a:pt x="2161" y="3243"/>
                </a:lnTo>
                <a:lnTo>
                  <a:pt x="2137" y="3269"/>
                </a:lnTo>
                <a:lnTo>
                  <a:pt x="2110" y="3291"/>
                </a:lnTo>
                <a:lnTo>
                  <a:pt x="2080" y="3310"/>
                </a:lnTo>
                <a:lnTo>
                  <a:pt x="2048" y="3323"/>
                </a:lnTo>
                <a:lnTo>
                  <a:pt x="2012" y="3331"/>
                </a:lnTo>
                <a:lnTo>
                  <a:pt x="1976" y="3334"/>
                </a:lnTo>
                <a:lnTo>
                  <a:pt x="1753" y="3334"/>
                </a:lnTo>
                <a:lnTo>
                  <a:pt x="1714" y="3331"/>
                </a:lnTo>
                <a:lnTo>
                  <a:pt x="1678" y="3323"/>
                </a:lnTo>
                <a:lnTo>
                  <a:pt x="1645" y="3308"/>
                </a:lnTo>
                <a:lnTo>
                  <a:pt x="1614" y="3289"/>
                </a:lnTo>
                <a:lnTo>
                  <a:pt x="1587" y="3265"/>
                </a:lnTo>
                <a:lnTo>
                  <a:pt x="1563" y="3238"/>
                </a:lnTo>
                <a:lnTo>
                  <a:pt x="1544" y="3207"/>
                </a:lnTo>
                <a:lnTo>
                  <a:pt x="1529" y="3173"/>
                </a:lnTo>
                <a:lnTo>
                  <a:pt x="1521" y="3137"/>
                </a:lnTo>
                <a:lnTo>
                  <a:pt x="1518" y="3099"/>
                </a:lnTo>
                <a:lnTo>
                  <a:pt x="1521" y="3061"/>
                </a:lnTo>
                <a:lnTo>
                  <a:pt x="1529" y="3024"/>
                </a:lnTo>
                <a:lnTo>
                  <a:pt x="1544" y="2991"/>
                </a:lnTo>
                <a:lnTo>
                  <a:pt x="1563" y="2961"/>
                </a:lnTo>
                <a:lnTo>
                  <a:pt x="1587" y="2933"/>
                </a:lnTo>
                <a:lnTo>
                  <a:pt x="1614" y="2909"/>
                </a:lnTo>
                <a:lnTo>
                  <a:pt x="1645" y="2891"/>
                </a:lnTo>
                <a:lnTo>
                  <a:pt x="1678" y="2876"/>
                </a:lnTo>
                <a:lnTo>
                  <a:pt x="1714" y="2867"/>
                </a:lnTo>
                <a:lnTo>
                  <a:pt x="1753" y="2864"/>
                </a:lnTo>
                <a:lnTo>
                  <a:pt x="1976" y="2864"/>
                </a:lnTo>
                <a:lnTo>
                  <a:pt x="2012" y="2867"/>
                </a:lnTo>
                <a:lnTo>
                  <a:pt x="2048" y="2875"/>
                </a:lnTo>
                <a:lnTo>
                  <a:pt x="2080" y="2888"/>
                </a:lnTo>
                <a:lnTo>
                  <a:pt x="2110" y="2907"/>
                </a:lnTo>
                <a:lnTo>
                  <a:pt x="2137" y="2929"/>
                </a:lnTo>
                <a:lnTo>
                  <a:pt x="2161" y="2955"/>
                </a:lnTo>
                <a:lnTo>
                  <a:pt x="2181" y="2984"/>
                </a:lnTo>
                <a:lnTo>
                  <a:pt x="2196" y="3017"/>
                </a:lnTo>
                <a:lnTo>
                  <a:pt x="2280" y="3017"/>
                </a:lnTo>
                <a:lnTo>
                  <a:pt x="2335" y="3015"/>
                </a:lnTo>
                <a:lnTo>
                  <a:pt x="2389" y="3008"/>
                </a:lnTo>
                <a:lnTo>
                  <a:pt x="2440" y="2997"/>
                </a:lnTo>
                <a:lnTo>
                  <a:pt x="2490" y="2981"/>
                </a:lnTo>
                <a:lnTo>
                  <a:pt x="2538" y="2963"/>
                </a:lnTo>
                <a:lnTo>
                  <a:pt x="2577" y="2903"/>
                </a:lnTo>
                <a:lnTo>
                  <a:pt x="2615" y="2840"/>
                </a:lnTo>
                <a:lnTo>
                  <a:pt x="2655" y="2764"/>
                </a:lnTo>
                <a:lnTo>
                  <a:pt x="2689" y="2685"/>
                </a:lnTo>
                <a:lnTo>
                  <a:pt x="2719" y="2604"/>
                </a:lnTo>
                <a:lnTo>
                  <a:pt x="2746" y="2521"/>
                </a:lnTo>
                <a:lnTo>
                  <a:pt x="2769" y="2436"/>
                </a:lnTo>
                <a:lnTo>
                  <a:pt x="2788" y="2352"/>
                </a:lnTo>
                <a:lnTo>
                  <a:pt x="2786" y="2353"/>
                </a:lnTo>
                <a:lnTo>
                  <a:pt x="2785" y="2354"/>
                </a:lnTo>
                <a:lnTo>
                  <a:pt x="2771" y="2359"/>
                </a:lnTo>
                <a:lnTo>
                  <a:pt x="2757" y="2360"/>
                </a:lnTo>
                <a:lnTo>
                  <a:pt x="2744" y="2359"/>
                </a:lnTo>
                <a:lnTo>
                  <a:pt x="2731" y="2354"/>
                </a:lnTo>
                <a:lnTo>
                  <a:pt x="2719" y="2346"/>
                </a:lnTo>
                <a:lnTo>
                  <a:pt x="2709" y="2333"/>
                </a:lnTo>
                <a:lnTo>
                  <a:pt x="2702" y="2317"/>
                </a:lnTo>
                <a:lnTo>
                  <a:pt x="2700" y="2301"/>
                </a:lnTo>
                <a:lnTo>
                  <a:pt x="2703" y="2284"/>
                </a:lnTo>
                <a:lnTo>
                  <a:pt x="2704" y="2280"/>
                </a:lnTo>
                <a:lnTo>
                  <a:pt x="2707" y="2272"/>
                </a:lnTo>
                <a:lnTo>
                  <a:pt x="2711" y="2258"/>
                </a:lnTo>
                <a:lnTo>
                  <a:pt x="2715" y="2239"/>
                </a:lnTo>
                <a:lnTo>
                  <a:pt x="2721" y="2217"/>
                </a:lnTo>
                <a:lnTo>
                  <a:pt x="2726" y="2190"/>
                </a:lnTo>
                <a:lnTo>
                  <a:pt x="2730" y="2158"/>
                </a:lnTo>
                <a:lnTo>
                  <a:pt x="2735" y="2125"/>
                </a:lnTo>
                <a:lnTo>
                  <a:pt x="2739" y="2087"/>
                </a:lnTo>
                <a:lnTo>
                  <a:pt x="2741" y="2047"/>
                </a:lnTo>
                <a:lnTo>
                  <a:pt x="2741" y="2005"/>
                </a:lnTo>
                <a:lnTo>
                  <a:pt x="2740" y="1960"/>
                </a:lnTo>
                <a:lnTo>
                  <a:pt x="2736" y="1913"/>
                </a:lnTo>
                <a:lnTo>
                  <a:pt x="2729" y="1865"/>
                </a:lnTo>
                <a:lnTo>
                  <a:pt x="2719" y="1815"/>
                </a:lnTo>
                <a:lnTo>
                  <a:pt x="2710" y="1779"/>
                </a:lnTo>
                <a:lnTo>
                  <a:pt x="2696" y="1747"/>
                </a:lnTo>
                <a:lnTo>
                  <a:pt x="2678" y="1715"/>
                </a:lnTo>
                <a:lnTo>
                  <a:pt x="2659" y="1687"/>
                </a:lnTo>
                <a:lnTo>
                  <a:pt x="2636" y="1660"/>
                </a:lnTo>
                <a:lnTo>
                  <a:pt x="2613" y="1637"/>
                </a:lnTo>
                <a:close/>
                <a:moveTo>
                  <a:pt x="1749" y="165"/>
                </a:moveTo>
                <a:lnTo>
                  <a:pt x="1662" y="168"/>
                </a:lnTo>
                <a:lnTo>
                  <a:pt x="1576" y="176"/>
                </a:lnTo>
                <a:lnTo>
                  <a:pt x="1492" y="192"/>
                </a:lnTo>
                <a:lnTo>
                  <a:pt x="1410" y="212"/>
                </a:lnTo>
                <a:lnTo>
                  <a:pt x="1330" y="239"/>
                </a:lnTo>
                <a:lnTo>
                  <a:pt x="1254" y="270"/>
                </a:lnTo>
                <a:lnTo>
                  <a:pt x="1179" y="307"/>
                </a:lnTo>
                <a:lnTo>
                  <a:pt x="1107" y="348"/>
                </a:lnTo>
                <a:lnTo>
                  <a:pt x="1039" y="395"/>
                </a:lnTo>
                <a:lnTo>
                  <a:pt x="974" y="444"/>
                </a:lnTo>
                <a:lnTo>
                  <a:pt x="913" y="499"/>
                </a:lnTo>
                <a:lnTo>
                  <a:pt x="855" y="558"/>
                </a:lnTo>
                <a:lnTo>
                  <a:pt x="801" y="619"/>
                </a:lnTo>
                <a:lnTo>
                  <a:pt x="752" y="685"/>
                </a:lnTo>
                <a:lnTo>
                  <a:pt x="707" y="754"/>
                </a:lnTo>
                <a:lnTo>
                  <a:pt x="666" y="827"/>
                </a:lnTo>
                <a:lnTo>
                  <a:pt x="631" y="902"/>
                </a:lnTo>
                <a:lnTo>
                  <a:pt x="680" y="840"/>
                </a:lnTo>
                <a:lnTo>
                  <a:pt x="732" y="783"/>
                </a:lnTo>
                <a:lnTo>
                  <a:pt x="785" y="732"/>
                </a:lnTo>
                <a:lnTo>
                  <a:pt x="839" y="684"/>
                </a:lnTo>
                <a:lnTo>
                  <a:pt x="892" y="642"/>
                </a:lnTo>
                <a:lnTo>
                  <a:pt x="945" y="604"/>
                </a:lnTo>
                <a:lnTo>
                  <a:pt x="998" y="571"/>
                </a:lnTo>
                <a:lnTo>
                  <a:pt x="1049" y="542"/>
                </a:lnTo>
                <a:lnTo>
                  <a:pt x="1096" y="516"/>
                </a:lnTo>
                <a:lnTo>
                  <a:pt x="1141" y="494"/>
                </a:lnTo>
                <a:lnTo>
                  <a:pt x="1183" y="476"/>
                </a:lnTo>
                <a:lnTo>
                  <a:pt x="1221" y="461"/>
                </a:lnTo>
                <a:lnTo>
                  <a:pt x="1319" y="425"/>
                </a:lnTo>
                <a:lnTo>
                  <a:pt x="1416" y="397"/>
                </a:lnTo>
                <a:lnTo>
                  <a:pt x="1512" y="374"/>
                </a:lnTo>
                <a:lnTo>
                  <a:pt x="1607" y="358"/>
                </a:lnTo>
                <a:lnTo>
                  <a:pt x="1699" y="348"/>
                </a:lnTo>
                <a:lnTo>
                  <a:pt x="1789" y="345"/>
                </a:lnTo>
                <a:lnTo>
                  <a:pt x="1863" y="347"/>
                </a:lnTo>
                <a:lnTo>
                  <a:pt x="1932" y="354"/>
                </a:lnTo>
                <a:lnTo>
                  <a:pt x="1997" y="363"/>
                </a:lnTo>
                <a:lnTo>
                  <a:pt x="2059" y="376"/>
                </a:lnTo>
                <a:lnTo>
                  <a:pt x="2118" y="391"/>
                </a:lnTo>
                <a:lnTo>
                  <a:pt x="2173" y="410"/>
                </a:lnTo>
                <a:lnTo>
                  <a:pt x="2224" y="430"/>
                </a:lnTo>
                <a:lnTo>
                  <a:pt x="2272" y="452"/>
                </a:lnTo>
                <a:lnTo>
                  <a:pt x="2316" y="475"/>
                </a:lnTo>
                <a:lnTo>
                  <a:pt x="2358" y="498"/>
                </a:lnTo>
                <a:lnTo>
                  <a:pt x="2396" y="523"/>
                </a:lnTo>
                <a:lnTo>
                  <a:pt x="2431" y="548"/>
                </a:lnTo>
                <a:lnTo>
                  <a:pt x="2462" y="572"/>
                </a:lnTo>
                <a:lnTo>
                  <a:pt x="2490" y="596"/>
                </a:lnTo>
                <a:lnTo>
                  <a:pt x="2514" y="617"/>
                </a:lnTo>
                <a:lnTo>
                  <a:pt x="2535" y="638"/>
                </a:lnTo>
                <a:lnTo>
                  <a:pt x="2553" y="657"/>
                </a:lnTo>
                <a:lnTo>
                  <a:pt x="2569" y="673"/>
                </a:lnTo>
                <a:lnTo>
                  <a:pt x="2580" y="687"/>
                </a:lnTo>
                <a:lnTo>
                  <a:pt x="2589" y="698"/>
                </a:lnTo>
                <a:lnTo>
                  <a:pt x="2594" y="705"/>
                </a:lnTo>
                <a:lnTo>
                  <a:pt x="2601" y="712"/>
                </a:lnTo>
                <a:lnTo>
                  <a:pt x="2611" y="725"/>
                </a:lnTo>
                <a:lnTo>
                  <a:pt x="2622" y="741"/>
                </a:lnTo>
                <a:lnTo>
                  <a:pt x="2638" y="763"/>
                </a:lnTo>
                <a:lnTo>
                  <a:pt x="2653" y="788"/>
                </a:lnTo>
                <a:lnTo>
                  <a:pt x="2670" y="817"/>
                </a:lnTo>
                <a:lnTo>
                  <a:pt x="2686" y="849"/>
                </a:lnTo>
                <a:lnTo>
                  <a:pt x="2703" y="886"/>
                </a:lnTo>
                <a:lnTo>
                  <a:pt x="2718" y="927"/>
                </a:lnTo>
                <a:lnTo>
                  <a:pt x="2757" y="938"/>
                </a:lnTo>
                <a:lnTo>
                  <a:pt x="2797" y="954"/>
                </a:lnTo>
                <a:lnTo>
                  <a:pt x="2837" y="976"/>
                </a:lnTo>
                <a:lnTo>
                  <a:pt x="2878" y="1004"/>
                </a:lnTo>
                <a:lnTo>
                  <a:pt x="2918" y="1038"/>
                </a:lnTo>
                <a:lnTo>
                  <a:pt x="2890" y="956"/>
                </a:lnTo>
                <a:lnTo>
                  <a:pt x="2856" y="875"/>
                </a:lnTo>
                <a:lnTo>
                  <a:pt x="2818" y="799"/>
                </a:lnTo>
                <a:lnTo>
                  <a:pt x="2773" y="725"/>
                </a:lnTo>
                <a:lnTo>
                  <a:pt x="2725" y="654"/>
                </a:lnTo>
                <a:lnTo>
                  <a:pt x="2671" y="588"/>
                </a:lnTo>
                <a:lnTo>
                  <a:pt x="2613" y="525"/>
                </a:lnTo>
                <a:lnTo>
                  <a:pt x="2550" y="466"/>
                </a:lnTo>
                <a:lnTo>
                  <a:pt x="2484" y="412"/>
                </a:lnTo>
                <a:lnTo>
                  <a:pt x="2414" y="362"/>
                </a:lnTo>
                <a:lnTo>
                  <a:pt x="2341" y="318"/>
                </a:lnTo>
                <a:lnTo>
                  <a:pt x="2265" y="279"/>
                </a:lnTo>
                <a:lnTo>
                  <a:pt x="2185" y="245"/>
                </a:lnTo>
                <a:lnTo>
                  <a:pt x="2102" y="216"/>
                </a:lnTo>
                <a:lnTo>
                  <a:pt x="2018" y="194"/>
                </a:lnTo>
                <a:lnTo>
                  <a:pt x="1930" y="178"/>
                </a:lnTo>
                <a:lnTo>
                  <a:pt x="1841" y="168"/>
                </a:lnTo>
                <a:lnTo>
                  <a:pt x="1749" y="165"/>
                </a:lnTo>
                <a:close/>
                <a:moveTo>
                  <a:pt x="1749" y="0"/>
                </a:moveTo>
                <a:lnTo>
                  <a:pt x="1749" y="0"/>
                </a:lnTo>
                <a:lnTo>
                  <a:pt x="1844" y="4"/>
                </a:lnTo>
                <a:lnTo>
                  <a:pt x="1937" y="13"/>
                </a:lnTo>
                <a:lnTo>
                  <a:pt x="2027" y="29"/>
                </a:lnTo>
                <a:lnTo>
                  <a:pt x="2117" y="50"/>
                </a:lnTo>
                <a:lnTo>
                  <a:pt x="2203" y="77"/>
                </a:lnTo>
                <a:lnTo>
                  <a:pt x="2287" y="110"/>
                </a:lnTo>
                <a:lnTo>
                  <a:pt x="2368" y="147"/>
                </a:lnTo>
                <a:lnTo>
                  <a:pt x="2447" y="189"/>
                </a:lnTo>
                <a:lnTo>
                  <a:pt x="2522" y="237"/>
                </a:lnTo>
                <a:lnTo>
                  <a:pt x="2593" y="290"/>
                </a:lnTo>
                <a:lnTo>
                  <a:pt x="2661" y="346"/>
                </a:lnTo>
                <a:lnTo>
                  <a:pt x="2726" y="407"/>
                </a:lnTo>
                <a:lnTo>
                  <a:pt x="2787" y="471"/>
                </a:lnTo>
                <a:lnTo>
                  <a:pt x="2843" y="539"/>
                </a:lnTo>
                <a:lnTo>
                  <a:pt x="2895" y="612"/>
                </a:lnTo>
                <a:lnTo>
                  <a:pt x="2943" y="687"/>
                </a:lnTo>
                <a:lnTo>
                  <a:pt x="2986" y="765"/>
                </a:lnTo>
                <a:lnTo>
                  <a:pt x="3022" y="847"/>
                </a:lnTo>
                <a:lnTo>
                  <a:pt x="3055" y="931"/>
                </a:lnTo>
                <a:lnTo>
                  <a:pt x="3082" y="1018"/>
                </a:lnTo>
                <a:lnTo>
                  <a:pt x="3103" y="1106"/>
                </a:lnTo>
                <a:lnTo>
                  <a:pt x="3119" y="1197"/>
                </a:lnTo>
                <a:lnTo>
                  <a:pt x="3128" y="1291"/>
                </a:lnTo>
                <a:lnTo>
                  <a:pt x="3131" y="1385"/>
                </a:lnTo>
                <a:lnTo>
                  <a:pt x="3131" y="1436"/>
                </a:lnTo>
                <a:lnTo>
                  <a:pt x="3182" y="1436"/>
                </a:lnTo>
                <a:lnTo>
                  <a:pt x="3224" y="1439"/>
                </a:lnTo>
                <a:lnTo>
                  <a:pt x="3266" y="1448"/>
                </a:lnTo>
                <a:lnTo>
                  <a:pt x="3305" y="1461"/>
                </a:lnTo>
                <a:lnTo>
                  <a:pt x="3341" y="1480"/>
                </a:lnTo>
                <a:lnTo>
                  <a:pt x="3376" y="1503"/>
                </a:lnTo>
                <a:lnTo>
                  <a:pt x="3406" y="1530"/>
                </a:lnTo>
                <a:lnTo>
                  <a:pt x="3433" y="1560"/>
                </a:lnTo>
                <a:lnTo>
                  <a:pt x="3456" y="1593"/>
                </a:lnTo>
                <a:lnTo>
                  <a:pt x="3474" y="1630"/>
                </a:lnTo>
                <a:lnTo>
                  <a:pt x="3488" y="1670"/>
                </a:lnTo>
                <a:lnTo>
                  <a:pt x="3497" y="1711"/>
                </a:lnTo>
                <a:lnTo>
                  <a:pt x="3499" y="1754"/>
                </a:lnTo>
                <a:lnTo>
                  <a:pt x="3499" y="2220"/>
                </a:lnTo>
                <a:lnTo>
                  <a:pt x="3497" y="2263"/>
                </a:lnTo>
                <a:lnTo>
                  <a:pt x="3488" y="2305"/>
                </a:lnTo>
                <a:lnTo>
                  <a:pt x="3474" y="2344"/>
                </a:lnTo>
                <a:lnTo>
                  <a:pt x="3456" y="2381"/>
                </a:lnTo>
                <a:lnTo>
                  <a:pt x="3433" y="2414"/>
                </a:lnTo>
                <a:lnTo>
                  <a:pt x="3406" y="2446"/>
                </a:lnTo>
                <a:lnTo>
                  <a:pt x="3376" y="2473"/>
                </a:lnTo>
                <a:lnTo>
                  <a:pt x="3341" y="2495"/>
                </a:lnTo>
                <a:lnTo>
                  <a:pt x="3305" y="2514"/>
                </a:lnTo>
                <a:lnTo>
                  <a:pt x="3266" y="2527"/>
                </a:lnTo>
                <a:lnTo>
                  <a:pt x="3224" y="2535"/>
                </a:lnTo>
                <a:lnTo>
                  <a:pt x="3182" y="2538"/>
                </a:lnTo>
                <a:lnTo>
                  <a:pt x="3069" y="2538"/>
                </a:lnTo>
                <a:lnTo>
                  <a:pt x="3051" y="2606"/>
                </a:lnTo>
                <a:lnTo>
                  <a:pt x="3029" y="2671"/>
                </a:lnTo>
                <a:lnTo>
                  <a:pt x="3001" y="2734"/>
                </a:lnTo>
                <a:lnTo>
                  <a:pt x="2968" y="2793"/>
                </a:lnTo>
                <a:lnTo>
                  <a:pt x="2930" y="2851"/>
                </a:lnTo>
                <a:lnTo>
                  <a:pt x="2888" y="2903"/>
                </a:lnTo>
                <a:lnTo>
                  <a:pt x="2841" y="2952"/>
                </a:lnTo>
                <a:lnTo>
                  <a:pt x="2791" y="2997"/>
                </a:lnTo>
                <a:lnTo>
                  <a:pt x="2737" y="3038"/>
                </a:lnTo>
                <a:lnTo>
                  <a:pt x="2680" y="3075"/>
                </a:lnTo>
                <a:lnTo>
                  <a:pt x="2619" y="3107"/>
                </a:lnTo>
                <a:lnTo>
                  <a:pt x="2556" y="3132"/>
                </a:lnTo>
                <a:lnTo>
                  <a:pt x="2504" y="3192"/>
                </a:lnTo>
                <a:lnTo>
                  <a:pt x="2452" y="3245"/>
                </a:lnTo>
                <a:lnTo>
                  <a:pt x="2400" y="3292"/>
                </a:lnTo>
                <a:lnTo>
                  <a:pt x="2349" y="3334"/>
                </a:lnTo>
                <a:lnTo>
                  <a:pt x="2299" y="3371"/>
                </a:lnTo>
                <a:lnTo>
                  <a:pt x="2252" y="3404"/>
                </a:lnTo>
                <a:lnTo>
                  <a:pt x="2205" y="3432"/>
                </a:lnTo>
                <a:lnTo>
                  <a:pt x="2162" y="3455"/>
                </a:lnTo>
                <a:lnTo>
                  <a:pt x="2109" y="3480"/>
                </a:lnTo>
                <a:lnTo>
                  <a:pt x="2054" y="3500"/>
                </a:lnTo>
                <a:lnTo>
                  <a:pt x="1998" y="3514"/>
                </a:lnTo>
                <a:lnTo>
                  <a:pt x="1941" y="3521"/>
                </a:lnTo>
                <a:lnTo>
                  <a:pt x="1883" y="3524"/>
                </a:lnTo>
                <a:lnTo>
                  <a:pt x="1824" y="3521"/>
                </a:lnTo>
                <a:lnTo>
                  <a:pt x="1767" y="3514"/>
                </a:lnTo>
                <a:lnTo>
                  <a:pt x="1711" y="3500"/>
                </a:lnTo>
                <a:lnTo>
                  <a:pt x="1656" y="3480"/>
                </a:lnTo>
                <a:lnTo>
                  <a:pt x="1603" y="3455"/>
                </a:lnTo>
                <a:lnTo>
                  <a:pt x="1558" y="3431"/>
                </a:lnTo>
                <a:lnTo>
                  <a:pt x="1509" y="3401"/>
                </a:lnTo>
                <a:lnTo>
                  <a:pt x="1458" y="3367"/>
                </a:lnTo>
                <a:lnTo>
                  <a:pt x="1407" y="3327"/>
                </a:lnTo>
                <a:lnTo>
                  <a:pt x="1353" y="3281"/>
                </a:lnTo>
                <a:lnTo>
                  <a:pt x="1299" y="3231"/>
                </a:lnTo>
                <a:lnTo>
                  <a:pt x="1244" y="3173"/>
                </a:lnTo>
                <a:lnTo>
                  <a:pt x="1190" y="3109"/>
                </a:lnTo>
                <a:lnTo>
                  <a:pt x="1194" y="3126"/>
                </a:lnTo>
                <a:lnTo>
                  <a:pt x="1198" y="3137"/>
                </a:lnTo>
                <a:lnTo>
                  <a:pt x="1201" y="3148"/>
                </a:lnTo>
                <a:lnTo>
                  <a:pt x="1202" y="3158"/>
                </a:lnTo>
                <a:lnTo>
                  <a:pt x="1199" y="3177"/>
                </a:lnTo>
                <a:lnTo>
                  <a:pt x="1191" y="3193"/>
                </a:lnTo>
                <a:lnTo>
                  <a:pt x="1178" y="3205"/>
                </a:lnTo>
                <a:lnTo>
                  <a:pt x="1162" y="3213"/>
                </a:lnTo>
                <a:lnTo>
                  <a:pt x="1144" y="3217"/>
                </a:lnTo>
                <a:lnTo>
                  <a:pt x="1144" y="3217"/>
                </a:lnTo>
                <a:lnTo>
                  <a:pt x="1130" y="3215"/>
                </a:lnTo>
                <a:lnTo>
                  <a:pt x="1117" y="3210"/>
                </a:lnTo>
                <a:lnTo>
                  <a:pt x="1105" y="3202"/>
                </a:lnTo>
                <a:lnTo>
                  <a:pt x="1101" y="3197"/>
                </a:lnTo>
                <a:lnTo>
                  <a:pt x="1091" y="3189"/>
                </a:lnTo>
                <a:lnTo>
                  <a:pt x="1078" y="3177"/>
                </a:lnTo>
                <a:lnTo>
                  <a:pt x="1062" y="3161"/>
                </a:lnTo>
                <a:lnTo>
                  <a:pt x="1042" y="3141"/>
                </a:lnTo>
                <a:lnTo>
                  <a:pt x="1021" y="3118"/>
                </a:lnTo>
                <a:lnTo>
                  <a:pt x="996" y="3092"/>
                </a:lnTo>
                <a:lnTo>
                  <a:pt x="968" y="3063"/>
                </a:lnTo>
                <a:lnTo>
                  <a:pt x="940" y="3031"/>
                </a:lnTo>
                <a:lnTo>
                  <a:pt x="909" y="2995"/>
                </a:lnTo>
                <a:lnTo>
                  <a:pt x="876" y="2956"/>
                </a:lnTo>
                <a:lnTo>
                  <a:pt x="843" y="2915"/>
                </a:lnTo>
                <a:lnTo>
                  <a:pt x="809" y="2871"/>
                </a:lnTo>
                <a:lnTo>
                  <a:pt x="774" y="2824"/>
                </a:lnTo>
                <a:lnTo>
                  <a:pt x="739" y="2774"/>
                </a:lnTo>
                <a:lnTo>
                  <a:pt x="704" y="2722"/>
                </a:lnTo>
                <a:lnTo>
                  <a:pt x="669" y="2667"/>
                </a:lnTo>
                <a:lnTo>
                  <a:pt x="635" y="2610"/>
                </a:lnTo>
                <a:lnTo>
                  <a:pt x="603" y="2550"/>
                </a:lnTo>
                <a:lnTo>
                  <a:pt x="570" y="2489"/>
                </a:lnTo>
                <a:lnTo>
                  <a:pt x="560" y="2505"/>
                </a:lnTo>
                <a:lnTo>
                  <a:pt x="548" y="2519"/>
                </a:lnTo>
                <a:lnTo>
                  <a:pt x="532" y="2530"/>
                </a:lnTo>
                <a:lnTo>
                  <a:pt x="514" y="2536"/>
                </a:lnTo>
                <a:lnTo>
                  <a:pt x="495" y="2538"/>
                </a:lnTo>
                <a:lnTo>
                  <a:pt x="318" y="2538"/>
                </a:lnTo>
                <a:lnTo>
                  <a:pt x="275" y="2535"/>
                </a:lnTo>
                <a:lnTo>
                  <a:pt x="233" y="2527"/>
                </a:lnTo>
                <a:lnTo>
                  <a:pt x="194" y="2514"/>
                </a:lnTo>
                <a:lnTo>
                  <a:pt x="157" y="2495"/>
                </a:lnTo>
                <a:lnTo>
                  <a:pt x="124" y="2473"/>
                </a:lnTo>
                <a:lnTo>
                  <a:pt x="93" y="2446"/>
                </a:lnTo>
                <a:lnTo>
                  <a:pt x="66" y="2414"/>
                </a:lnTo>
                <a:lnTo>
                  <a:pt x="43" y="2381"/>
                </a:lnTo>
                <a:lnTo>
                  <a:pt x="25" y="2344"/>
                </a:lnTo>
                <a:lnTo>
                  <a:pt x="12" y="2305"/>
                </a:lnTo>
                <a:lnTo>
                  <a:pt x="3" y="2263"/>
                </a:lnTo>
                <a:lnTo>
                  <a:pt x="0" y="2220"/>
                </a:lnTo>
                <a:lnTo>
                  <a:pt x="0" y="1754"/>
                </a:lnTo>
                <a:lnTo>
                  <a:pt x="3" y="1711"/>
                </a:lnTo>
                <a:lnTo>
                  <a:pt x="12" y="1670"/>
                </a:lnTo>
                <a:lnTo>
                  <a:pt x="25" y="1630"/>
                </a:lnTo>
                <a:lnTo>
                  <a:pt x="43" y="1593"/>
                </a:lnTo>
                <a:lnTo>
                  <a:pt x="66" y="1560"/>
                </a:lnTo>
                <a:lnTo>
                  <a:pt x="93" y="1530"/>
                </a:lnTo>
                <a:lnTo>
                  <a:pt x="124" y="1503"/>
                </a:lnTo>
                <a:lnTo>
                  <a:pt x="157" y="1480"/>
                </a:lnTo>
                <a:lnTo>
                  <a:pt x="194" y="1461"/>
                </a:lnTo>
                <a:lnTo>
                  <a:pt x="233" y="1448"/>
                </a:lnTo>
                <a:lnTo>
                  <a:pt x="275" y="1439"/>
                </a:lnTo>
                <a:lnTo>
                  <a:pt x="318" y="1436"/>
                </a:lnTo>
                <a:lnTo>
                  <a:pt x="368" y="1436"/>
                </a:lnTo>
                <a:lnTo>
                  <a:pt x="368" y="1385"/>
                </a:lnTo>
                <a:lnTo>
                  <a:pt x="371" y="1291"/>
                </a:lnTo>
                <a:lnTo>
                  <a:pt x="380" y="1197"/>
                </a:lnTo>
                <a:lnTo>
                  <a:pt x="396" y="1106"/>
                </a:lnTo>
                <a:lnTo>
                  <a:pt x="417" y="1018"/>
                </a:lnTo>
                <a:lnTo>
                  <a:pt x="444" y="931"/>
                </a:lnTo>
                <a:lnTo>
                  <a:pt x="476" y="847"/>
                </a:lnTo>
                <a:lnTo>
                  <a:pt x="514" y="765"/>
                </a:lnTo>
                <a:lnTo>
                  <a:pt x="556" y="687"/>
                </a:lnTo>
                <a:lnTo>
                  <a:pt x="604" y="612"/>
                </a:lnTo>
                <a:lnTo>
                  <a:pt x="655" y="539"/>
                </a:lnTo>
                <a:lnTo>
                  <a:pt x="712" y="471"/>
                </a:lnTo>
                <a:lnTo>
                  <a:pt x="773" y="407"/>
                </a:lnTo>
                <a:lnTo>
                  <a:pt x="838" y="346"/>
                </a:lnTo>
                <a:lnTo>
                  <a:pt x="905" y="290"/>
                </a:lnTo>
                <a:lnTo>
                  <a:pt x="978" y="237"/>
                </a:lnTo>
                <a:lnTo>
                  <a:pt x="1053" y="189"/>
                </a:lnTo>
                <a:lnTo>
                  <a:pt x="1131" y="147"/>
                </a:lnTo>
                <a:lnTo>
                  <a:pt x="1213" y="110"/>
                </a:lnTo>
                <a:lnTo>
                  <a:pt x="1296" y="77"/>
                </a:lnTo>
                <a:lnTo>
                  <a:pt x="1383" y="50"/>
                </a:lnTo>
                <a:lnTo>
                  <a:pt x="1471" y="29"/>
                </a:lnTo>
                <a:lnTo>
                  <a:pt x="1562" y="13"/>
                </a:lnTo>
                <a:lnTo>
                  <a:pt x="1655" y="4"/>
                </a:lnTo>
                <a:lnTo>
                  <a:pt x="1749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grpSp>
        <p:nvGrpSpPr>
          <p:cNvPr id="42" name="Group 1036">
            <a:extLst>
              <a:ext uri="{FF2B5EF4-FFF2-40B4-BE49-F238E27FC236}">
                <a16:creationId xmlns:a16="http://schemas.microsoft.com/office/drawing/2014/main" id="{5A1761F5-FA7A-369C-089B-70FC21350CD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547052" y="4009512"/>
            <a:ext cx="230301" cy="228901"/>
            <a:chOff x="9876" y="-1946"/>
            <a:chExt cx="822" cy="817"/>
          </a:xfrm>
          <a:solidFill>
            <a:schemeClr val="bg1"/>
          </a:solidFill>
        </p:grpSpPr>
        <p:sp>
          <p:nvSpPr>
            <p:cNvPr id="43" name="Freeform 1038">
              <a:extLst>
                <a:ext uri="{FF2B5EF4-FFF2-40B4-BE49-F238E27FC236}">
                  <a16:creationId xmlns:a16="http://schemas.microsoft.com/office/drawing/2014/main" id="{7A065202-EF54-A3DE-D9C6-2A61A83C528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16" y="-1801"/>
              <a:ext cx="356" cy="75"/>
            </a:xfrm>
            <a:custGeom>
              <a:avLst/>
              <a:gdLst>
                <a:gd name="T0" fmla="*/ 149 w 1421"/>
                <a:gd name="T1" fmla="*/ 0 h 298"/>
                <a:gd name="T2" fmla="*/ 1272 w 1421"/>
                <a:gd name="T3" fmla="*/ 0 h 298"/>
                <a:gd name="T4" fmla="*/ 1302 w 1421"/>
                <a:gd name="T5" fmla="*/ 3 h 298"/>
                <a:gd name="T6" fmla="*/ 1330 w 1421"/>
                <a:gd name="T7" fmla="*/ 12 h 298"/>
                <a:gd name="T8" fmla="*/ 1356 w 1421"/>
                <a:gd name="T9" fmla="*/ 25 h 298"/>
                <a:gd name="T10" fmla="*/ 1378 w 1421"/>
                <a:gd name="T11" fmla="*/ 44 h 298"/>
                <a:gd name="T12" fmla="*/ 1396 w 1421"/>
                <a:gd name="T13" fmla="*/ 66 h 298"/>
                <a:gd name="T14" fmla="*/ 1410 w 1421"/>
                <a:gd name="T15" fmla="*/ 91 h 298"/>
                <a:gd name="T16" fmla="*/ 1418 w 1421"/>
                <a:gd name="T17" fmla="*/ 119 h 298"/>
                <a:gd name="T18" fmla="*/ 1421 w 1421"/>
                <a:gd name="T19" fmla="*/ 149 h 298"/>
                <a:gd name="T20" fmla="*/ 1418 w 1421"/>
                <a:gd name="T21" fmla="*/ 179 h 298"/>
                <a:gd name="T22" fmla="*/ 1410 w 1421"/>
                <a:gd name="T23" fmla="*/ 206 h 298"/>
                <a:gd name="T24" fmla="*/ 1396 w 1421"/>
                <a:gd name="T25" fmla="*/ 232 h 298"/>
                <a:gd name="T26" fmla="*/ 1378 w 1421"/>
                <a:gd name="T27" fmla="*/ 254 h 298"/>
                <a:gd name="T28" fmla="*/ 1356 w 1421"/>
                <a:gd name="T29" fmla="*/ 272 h 298"/>
                <a:gd name="T30" fmla="*/ 1330 w 1421"/>
                <a:gd name="T31" fmla="*/ 285 h 298"/>
                <a:gd name="T32" fmla="*/ 1302 w 1421"/>
                <a:gd name="T33" fmla="*/ 295 h 298"/>
                <a:gd name="T34" fmla="*/ 1272 w 1421"/>
                <a:gd name="T35" fmla="*/ 298 h 298"/>
                <a:gd name="T36" fmla="*/ 149 w 1421"/>
                <a:gd name="T37" fmla="*/ 298 h 298"/>
                <a:gd name="T38" fmla="*/ 119 w 1421"/>
                <a:gd name="T39" fmla="*/ 295 h 298"/>
                <a:gd name="T40" fmla="*/ 91 w 1421"/>
                <a:gd name="T41" fmla="*/ 285 h 298"/>
                <a:gd name="T42" fmla="*/ 65 w 1421"/>
                <a:gd name="T43" fmla="*/ 272 h 298"/>
                <a:gd name="T44" fmla="*/ 44 w 1421"/>
                <a:gd name="T45" fmla="*/ 254 h 298"/>
                <a:gd name="T46" fmla="*/ 25 w 1421"/>
                <a:gd name="T47" fmla="*/ 232 h 298"/>
                <a:gd name="T48" fmla="*/ 11 w 1421"/>
                <a:gd name="T49" fmla="*/ 206 h 298"/>
                <a:gd name="T50" fmla="*/ 3 w 1421"/>
                <a:gd name="T51" fmla="*/ 179 h 298"/>
                <a:gd name="T52" fmla="*/ 0 w 1421"/>
                <a:gd name="T53" fmla="*/ 149 h 298"/>
                <a:gd name="T54" fmla="*/ 3 w 1421"/>
                <a:gd name="T55" fmla="*/ 119 h 298"/>
                <a:gd name="T56" fmla="*/ 11 w 1421"/>
                <a:gd name="T57" fmla="*/ 91 h 298"/>
                <a:gd name="T58" fmla="*/ 25 w 1421"/>
                <a:gd name="T59" fmla="*/ 66 h 298"/>
                <a:gd name="T60" fmla="*/ 44 w 1421"/>
                <a:gd name="T61" fmla="*/ 44 h 298"/>
                <a:gd name="T62" fmla="*/ 65 w 1421"/>
                <a:gd name="T63" fmla="*/ 25 h 298"/>
                <a:gd name="T64" fmla="*/ 91 w 1421"/>
                <a:gd name="T65" fmla="*/ 12 h 298"/>
                <a:gd name="T66" fmla="*/ 119 w 1421"/>
                <a:gd name="T67" fmla="*/ 3 h 298"/>
                <a:gd name="T68" fmla="*/ 149 w 1421"/>
                <a:gd name="T69" fmla="*/ 0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421" h="298">
                  <a:moveTo>
                    <a:pt x="149" y="0"/>
                  </a:moveTo>
                  <a:lnTo>
                    <a:pt x="1272" y="0"/>
                  </a:lnTo>
                  <a:lnTo>
                    <a:pt x="1302" y="3"/>
                  </a:lnTo>
                  <a:lnTo>
                    <a:pt x="1330" y="12"/>
                  </a:lnTo>
                  <a:lnTo>
                    <a:pt x="1356" y="25"/>
                  </a:lnTo>
                  <a:lnTo>
                    <a:pt x="1378" y="44"/>
                  </a:lnTo>
                  <a:lnTo>
                    <a:pt x="1396" y="66"/>
                  </a:lnTo>
                  <a:lnTo>
                    <a:pt x="1410" y="91"/>
                  </a:lnTo>
                  <a:lnTo>
                    <a:pt x="1418" y="119"/>
                  </a:lnTo>
                  <a:lnTo>
                    <a:pt x="1421" y="149"/>
                  </a:lnTo>
                  <a:lnTo>
                    <a:pt x="1418" y="179"/>
                  </a:lnTo>
                  <a:lnTo>
                    <a:pt x="1410" y="206"/>
                  </a:lnTo>
                  <a:lnTo>
                    <a:pt x="1396" y="232"/>
                  </a:lnTo>
                  <a:lnTo>
                    <a:pt x="1378" y="254"/>
                  </a:lnTo>
                  <a:lnTo>
                    <a:pt x="1356" y="272"/>
                  </a:lnTo>
                  <a:lnTo>
                    <a:pt x="1330" y="285"/>
                  </a:lnTo>
                  <a:lnTo>
                    <a:pt x="1302" y="295"/>
                  </a:lnTo>
                  <a:lnTo>
                    <a:pt x="1272" y="298"/>
                  </a:lnTo>
                  <a:lnTo>
                    <a:pt x="149" y="298"/>
                  </a:lnTo>
                  <a:lnTo>
                    <a:pt x="119" y="295"/>
                  </a:lnTo>
                  <a:lnTo>
                    <a:pt x="91" y="285"/>
                  </a:lnTo>
                  <a:lnTo>
                    <a:pt x="65" y="272"/>
                  </a:lnTo>
                  <a:lnTo>
                    <a:pt x="44" y="254"/>
                  </a:lnTo>
                  <a:lnTo>
                    <a:pt x="25" y="232"/>
                  </a:lnTo>
                  <a:lnTo>
                    <a:pt x="11" y="206"/>
                  </a:lnTo>
                  <a:lnTo>
                    <a:pt x="3" y="179"/>
                  </a:lnTo>
                  <a:lnTo>
                    <a:pt x="0" y="149"/>
                  </a:lnTo>
                  <a:lnTo>
                    <a:pt x="3" y="119"/>
                  </a:lnTo>
                  <a:lnTo>
                    <a:pt x="11" y="91"/>
                  </a:lnTo>
                  <a:lnTo>
                    <a:pt x="25" y="66"/>
                  </a:lnTo>
                  <a:lnTo>
                    <a:pt x="44" y="44"/>
                  </a:lnTo>
                  <a:lnTo>
                    <a:pt x="65" y="25"/>
                  </a:lnTo>
                  <a:lnTo>
                    <a:pt x="91" y="12"/>
                  </a:lnTo>
                  <a:lnTo>
                    <a:pt x="119" y="3"/>
                  </a:lnTo>
                  <a:lnTo>
                    <a:pt x="1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4" name="Freeform 1039">
              <a:extLst>
                <a:ext uri="{FF2B5EF4-FFF2-40B4-BE49-F238E27FC236}">
                  <a16:creationId xmlns:a16="http://schemas.microsoft.com/office/drawing/2014/main" id="{2F8FAC54-6F5F-A0C0-5AFF-5AFB228F72D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16" y="-1662"/>
              <a:ext cx="356" cy="75"/>
            </a:xfrm>
            <a:custGeom>
              <a:avLst/>
              <a:gdLst>
                <a:gd name="T0" fmla="*/ 149 w 1421"/>
                <a:gd name="T1" fmla="*/ 0 h 298"/>
                <a:gd name="T2" fmla="*/ 1272 w 1421"/>
                <a:gd name="T3" fmla="*/ 0 h 298"/>
                <a:gd name="T4" fmla="*/ 1302 w 1421"/>
                <a:gd name="T5" fmla="*/ 3 h 298"/>
                <a:gd name="T6" fmla="*/ 1330 w 1421"/>
                <a:gd name="T7" fmla="*/ 12 h 298"/>
                <a:gd name="T8" fmla="*/ 1356 w 1421"/>
                <a:gd name="T9" fmla="*/ 26 h 298"/>
                <a:gd name="T10" fmla="*/ 1378 w 1421"/>
                <a:gd name="T11" fmla="*/ 44 h 298"/>
                <a:gd name="T12" fmla="*/ 1396 w 1421"/>
                <a:gd name="T13" fmla="*/ 66 h 298"/>
                <a:gd name="T14" fmla="*/ 1410 w 1421"/>
                <a:gd name="T15" fmla="*/ 91 h 298"/>
                <a:gd name="T16" fmla="*/ 1418 w 1421"/>
                <a:gd name="T17" fmla="*/ 119 h 298"/>
                <a:gd name="T18" fmla="*/ 1421 w 1421"/>
                <a:gd name="T19" fmla="*/ 149 h 298"/>
                <a:gd name="T20" fmla="*/ 1418 w 1421"/>
                <a:gd name="T21" fmla="*/ 179 h 298"/>
                <a:gd name="T22" fmla="*/ 1410 w 1421"/>
                <a:gd name="T23" fmla="*/ 207 h 298"/>
                <a:gd name="T24" fmla="*/ 1396 w 1421"/>
                <a:gd name="T25" fmla="*/ 232 h 298"/>
                <a:gd name="T26" fmla="*/ 1378 w 1421"/>
                <a:gd name="T27" fmla="*/ 255 h 298"/>
                <a:gd name="T28" fmla="*/ 1356 w 1421"/>
                <a:gd name="T29" fmla="*/ 272 h 298"/>
                <a:gd name="T30" fmla="*/ 1330 w 1421"/>
                <a:gd name="T31" fmla="*/ 287 h 298"/>
                <a:gd name="T32" fmla="*/ 1302 w 1421"/>
                <a:gd name="T33" fmla="*/ 295 h 298"/>
                <a:gd name="T34" fmla="*/ 1272 w 1421"/>
                <a:gd name="T35" fmla="*/ 298 h 298"/>
                <a:gd name="T36" fmla="*/ 149 w 1421"/>
                <a:gd name="T37" fmla="*/ 298 h 298"/>
                <a:gd name="T38" fmla="*/ 119 w 1421"/>
                <a:gd name="T39" fmla="*/ 295 h 298"/>
                <a:gd name="T40" fmla="*/ 91 w 1421"/>
                <a:gd name="T41" fmla="*/ 287 h 298"/>
                <a:gd name="T42" fmla="*/ 65 w 1421"/>
                <a:gd name="T43" fmla="*/ 272 h 298"/>
                <a:gd name="T44" fmla="*/ 44 w 1421"/>
                <a:gd name="T45" fmla="*/ 255 h 298"/>
                <a:gd name="T46" fmla="*/ 25 w 1421"/>
                <a:gd name="T47" fmla="*/ 232 h 298"/>
                <a:gd name="T48" fmla="*/ 11 w 1421"/>
                <a:gd name="T49" fmla="*/ 207 h 298"/>
                <a:gd name="T50" fmla="*/ 3 w 1421"/>
                <a:gd name="T51" fmla="*/ 179 h 298"/>
                <a:gd name="T52" fmla="*/ 0 w 1421"/>
                <a:gd name="T53" fmla="*/ 149 h 298"/>
                <a:gd name="T54" fmla="*/ 3 w 1421"/>
                <a:gd name="T55" fmla="*/ 119 h 298"/>
                <a:gd name="T56" fmla="*/ 11 w 1421"/>
                <a:gd name="T57" fmla="*/ 91 h 298"/>
                <a:gd name="T58" fmla="*/ 25 w 1421"/>
                <a:gd name="T59" fmla="*/ 66 h 298"/>
                <a:gd name="T60" fmla="*/ 44 w 1421"/>
                <a:gd name="T61" fmla="*/ 44 h 298"/>
                <a:gd name="T62" fmla="*/ 65 w 1421"/>
                <a:gd name="T63" fmla="*/ 26 h 298"/>
                <a:gd name="T64" fmla="*/ 91 w 1421"/>
                <a:gd name="T65" fmla="*/ 12 h 298"/>
                <a:gd name="T66" fmla="*/ 119 w 1421"/>
                <a:gd name="T67" fmla="*/ 3 h 298"/>
                <a:gd name="T68" fmla="*/ 149 w 1421"/>
                <a:gd name="T69" fmla="*/ 0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421" h="298">
                  <a:moveTo>
                    <a:pt x="149" y="0"/>
                  </a:moveTo>
                  <a:lnTo>
                    <a:pt x="1272" y="0"/>
                  </a:lnTo>
                  <a:lnTo>
                    <a:pt x="1302" y="3"/>
                  </a:lnTo>
                  <a:lnTo>
                    <a:pt x="1330" y="12"/>
                  </a:lnTo>
                  <a:lnTo>
                    <a:pt x="1356" y="26"/>
                  </a:lnTo>
                  <a:lnTo>
                    <a:pt x="1378" y="44"/>
                  </a:lnTo>
                  <a:lnTo>
                    <a:pt x="1396" y="66"/>
                  </a:lnTo>
                  <a:lnTo>
                    <a:pt x="1410" y="91"/>
                  </a:lnTo>
                  <a:lnTo>
                    <a:pt x="1418" y="119"/>
                  </a:lnTo>
                  <a:lnTo>
                    <a:pt x="1421" y="149"/>
                  </a:lnTo>
                  <a:lnTo>
                    <a:pt x="1418" y="179"/>
                  </a:lnTo>
                  <a:lnTo>
                    <a:pt x="1410" y="207"/>
                  </a:lnTo>
                  <a:lnTo>
                    <a:pt x="1396" y="232"/>
                  </a:lnTo>
                  <a:lnTo>
                    <a:pt x="1378" y="255"/>
                  </a:lnTo>
                  <a:lnTo>
                    <a:pt x="1356" y="272"/>
                  </a:lnTo>
                  <a:lnTo>
                    <a:pt x="1330" y="287"/>
                  </a:lnTo>
                  <a:lnTo>
                    <a:pt x="1302" y="295"/>
                  </a:lnTo>
                  <a:lnTo>
                    <a:pt x="1272" y="298"/>
                  </a:lnTo>
                  <a:lnTo>
                    <a:pt x="149" y="298"/>
                  </a:lnTo>
                  <a:lnTo>
                    <a:pt x="119" y="295"/>
                  </a:lnTo>
                  <a:lnTo>
                    <a:pt x="91" y="287"/>
                  </a:lnTo>
                  <a:lnTo>
                    <a:pt x="65" y="272"/>
                  </a:lnTo>
                  <a:lnTo>
                    <a:pt x="44" y="255"/>
                  </a:lnTo>
                  <a:lnTo>
                    <a:pt x="25" y="232"/>
                  </a:lnTo>
                  <a:lnTo>
                    <a:pt x="11" y="207"/>
                  </a:lnTo>
                  <a:lnTo>
                    <a:pt x="3" y="179"/>
                  </a:lnTo>
                  <a:lnTo>
                    <a:pt x="0" y="149"/>
                  </a:lnTo>
                  <a:lnTo>
                    <a:pt x="3" y="119"/>
                  </a:lnTo>
                  <a:lnTo>
                    <a:pt x="11" y="91"/>
                  </a:lnTo>
                  <a:lnTo>
                    <a:pt x="25" y="66"/>
                  </a:lnTo>
                  <a:lnTo>
                    <a:pt x="44" y="44"/>
                  </a:lnTo>
                  <a:lnTo>
                    <a:pt x="65" y="26"/>
                  </a:lnTo>
                  <a:lnTo>
                    <a:pt x="91" y="12"/>
                  </a:lnTo>
                  <a:lnTo>
                    <a:pt x="119" y="3"/>
                  </a:lnTo>
                  <a:lnTo>
                    <a:pt x="1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5" name="Freeform 1040">
              <a:extLst>
                <a:ext uri="{FF2B5EF4-FFF2-40B4-BE49-F238E27FC236}">
                  <a16:creationId xmlns:a16="http://schemas.microsoft.com/office/drawing/2014/main" id="{9E9E4235-5519-DB17-682A-DEABFAE6C92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16" y="-1522"/>
              <a:ext cx="215" cy="74"/>
            </a:xfrm>
            <a:custGeom>
              <a:avLst/>
              <a:gdLst>
                <a:gd name="T0" fmla="*/ 149 w 860"/>
                <a:gd name="T1" fmla="*/ 0 h 297"/>
                <a:gd name="T2" fmla="*/ 711 w 860"/>
                <a:gd name="T3" fmla="*/ 0 h 297"/>
                <a:gd name="T4" fmla="*/ 741 w 860"/>
                <a:gd name="T5" fmla="*/ 3 h 297"/>
                <a:gd name="T6" fmla="*/ 769 w 860"/>
                <a:gd name="T7" fmla="*/ 11 h 297"/>
                <a:gd name="T8" fmla="*/ 795 w 860"/>
                <a:gd name="T9" fmla="*/ 26 h 297"/>
                <a:gd name="T10" fmla="*/ 817 w 860"/>
                <a:gd name="T11" fmla="*/ 43 h 297"/>
                <a:gd name="T12" fmla="*/ 835 w 860"/>
                <a:gd name="T13" fmla="*/ 66 h 297"/>
                <a:gd name="T14" fmla="*/ 849 w 860"/>
                <a:gd name="T15" fmla="*/ 90 h 297"/>
                <a:gd name="T16" fmla="*/ 857 w 860"/>
                <a:gd name="T17" fmla="*/ 118 h 297"/>
                <a:gd name="T18" fmla="*/ 860 w 860"/>
                <a:gd name="T19" fmla="*/ 149 h 297"/>
                <a:gd name="T20" fmla="*/ 857 w 860"/>
                <a:gd name="T21" fmla="*/ 179 h 297"/>
                <a:gd name="T22" fmla="*/ 849 w 860"/>
                <a:gd name="T23" fmla="*/ 207 h 297"/>
                <a:gd name="T24" fmla="*/ 835 w 860"/>
                <a:gd name="T25" fmla="*/ 231 h 297"/>
                <a:gd name="T26" fmla="*/ 817 w 860"/>
                <a:gd name="T27" fmla="*/ 254 h 297"/>
                <a:gd name="T28" fmla="*/ 795 w 860"/>
                <a:gd name="T29" fmla="*/ 271 h 297"/>
                <a:gd name="T30" fmla="*/ 769 w 860"/>
                <a:gd name="T31" fmla="*/ 286 h 297"/>
                <a:gd name="T32" fmla="*/ 741 w 860"/>
                <a:gd name="T33" fmla="*/ 294 h 297"/>
                <a:gd name="T34" fmla="*/ 711 w 860"/>
                <a:gd name="T35" fmla="*/ 297 h 297"/>
                <a:gd name="T36" fmla="*/ 149 w 860"/>
                <a:gd name="T37" fmla="*/ 297 h 297"/>
                <a:gd name="T38" fmla="*/ 119 w 860"/>
                <a:gd name="T39" fmla="*/ 294 h 297"/>
                <a:gd name="T40" fmla="*/ 91 w 860"/>
                <a:gd name="T41" fmla="*/ 286 h 297"/>
                <a:gd name="T42" fmla="*/ 65 w 860"/>
                <a:gd name="T43" fmla="*/ 271 h 297"/>
                <a:gd name="T44" fmla="*/ 44 w 860"/>
                <a:gd name="T45" fmla="*/ 254 h 297"/>
                <a:gd name="T46" fmla="*/ 25 w 860"/>
                <a:gd name="T47" fmla="*/ 231 h 297"/>
                <a:gd name="T48" fmla="*/ 11 w 860"/>
                <a:gd name="T49" fmla="*/ 207 h 297"/>
                <a:gd name="T50" fmla="*/ 3 w 860"/>
                <a:gd name="T51" fmla="*/ 179 h 297"/>
                <a:gd name="T52" fmla="*/ 0 w 860"/>
                <a:gd name="T53" fmla="*/ 149 h 297"/>
                <a:gd name="T54" fmla="*/ 3 w 860"/>
                <a:gd name="T55" fmla="*/ 118 h 297"/>
                <a:gd name="T56" fmla="*/ 11 w 860"/>
                <a:gd name="T57" fmla="*/ 90 h 297"/>
                <a:gd name="T58" fmla="*/ 25 w 860"/>
                <a:gd name="T59" fmla="*/ 66 h 297"/>
                <a:gd name="T60" fmla="*/ 44 w 860"/>
                <a:gd name="T61" fmla="*/ 43 h 297"/>
                <a:gd name="T62" fmla="*/ 65 w 860"/>
                <a:gd name="T63" fmla="*/ 26 h 297"/>
                <a:gd name="T64" fmla="*/ 91 w 860"/>
                <a:gd name="T65" fmla="*/ 11 h 297"/>
                <a:gd name="T66" fmla="*/ 119 w 860"/>
                <a:gd name="T67" fmla="*/ 3 h 297"/>
                <a:gd name="T68" fmla="*/ 149 w 860"/>
                <a:gd name="T69" fmla="*/ 0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60" h="297">
                  <a:moveTo>
                    <a:pt x="149" y="0"/>
                  </a:moveTo>
                  <a:lnTo>
                    <a:pt x="711" y="0"/>
                  </a:lnTo>
                  <a:lnTo>
                    <a:pt x="741" y="3"/>
                  </a:lnTo>
                  <a:lnTo>
                    <a:pt x="769" y="11"/>
                  </a:lnTo>
                  <a:lnTo>
                    <a:pt x="795" y="26"/>
                  </a:lnTo>
                  <a:lnTo>
                    <a:pt x="817" y="43"/>
                  </a:lnTo>
                  <a:lnTo>
                    <a:pt x="835" y="66"/>
                  </a:lnTo>
                  <a:lnTo>
                    <a:pt x="849" y="90"/>
                  </a:lnTo>
                  <a:lnTo>
                    <a:pt x="857" y="118"/>
                  </a:lnTo>
                  <a:lnTo>
                    <a:pt x="860" y="149"/>
                  </a:lnTo>
                  <a:lnTo>
                    <a:pt x="857" y="179"/>
                  </a:lnTo>
                  <a:lnTo>
                    <a:pt x="849" y="207"/>
                  </a:lnTo>
                  <a:lnTo>
                    <a:pt x="835" y="231"/>
                  </a:lnTo>
                  <a:lnTo>
                    <a:pt x="817" y="254"/>
                  </a:lnTo>
                  <a:lnTo>
                    <a:pt x="795" y="271"/>
                  </a:lnTo>
                  <a:lnTo>
                    <a:pt x="769" y="286"/>
                  </a:lnTo>
                  <a:lnTo>
                    <a:pt x="741" y="294"/>
                  </a:lnTo>
                  <a:lnTo>
                    <a:pt x="711" y="297"/>
                  </a:lnTo>
                  <a:lnTo>
                    <a:pt x="149" y="297"/>
                  </a:lnTo>
                  <a:lnTo>
                    <a:pt x="119" y="294"/>
                  </a:lnTo>
                  <a:lnTo>
                    <a:pt x="91" y="286"/>
                  </a:lnTo>
                  <a:lnTo>
                    <a:pt x="65" y="271"/>
                  </a:lnTo>
                  <a:lnTo>
                    <a:pt x="44" y="254"/>
                  </a:lnTo>
                  <a:lnTo>
                    <a:pt x="25" y="231"/>
                  </a:lnTo>
                  <a:lnTo>
                    <a:pt x="11" y="207"/>
                  </a:lnTo>
                  <a:lnTo>
                    <a:pt x="3" y="179"/>
                  </a:lnTo>
                  <a:lnTo>
                    <a:pt x="0" y="149"/>
                  </a:lnTo>
                  <a:lnTo>
                    <a:pt x="3" y="118"/>
                  </a:lnTo>
                  <a:lnTo>
                    <a:pt x="11" y="90"/>
                  </a:lnTo>
                  <a:lnTo>
                    <a:pt x="25" y="66"/>
                  </a:lnTo>
                  <a:lnTo>
                    <a:pt x="44" y="43"/>
                  </a:lnTo>
                  <a:lnTo>
                    <a:pt x="65" y="26"/>
                  </a:lnTo>
                  <a:lnTo>
                    <a:pt x="91" y="11"/>
                  </a:lnTo>
                  <a:lnTo>
                    <a:pt x="119" y="3"/>
                  </a:lnTo>
                  <a:lnTo>
                    <a:pt x="1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6" name="Freeform 1041">
              <a:extLst>
                <a:ext uri="{FF2B5EF4-FFF2-40B4-BE49-F238E27FC236}">
                  <a16:creationId xmlns:a16="http://schemas.microsoft.com/office/drawing/2014/main" id="{4C0D88CA-54A9-14E7-13A3-B313426352CB}"/>
                </a:ext>
              </a:extLst>
            </p:cNvPr>
            <p:cNvSpPr>
              <a:spLocks/>
            </p:cNvSpPr>
            <p:nvPr/>
          </p:nvSpPr>
          <p:spPr bwMode="auto">
            <a:xfrm>
              <a:off x="9876" y="-1946"/>
              <a:ext cx="636" cy="817"/>
            </a:xfrm>
            <a:custGeom>
              <a:avLst/>
              <a:gdLst>
                <a:gd name="T0" fmla="*/ 150 w 2545"/>
                <a:gd name="T1" fmla="*/ 0 h 3271"/>
                <a:gd name="T2" fmla="*/ 2395 w 2545"/>
                <a:gd name="T3" fmla="*/ 0 h 3271"/>
                <a:gd name="T4" fmla="*/ 2425 w 2545"/>
                <a:gd name="T5" fmla="*/ 3 h 3271"/>
                <a:gd name="T6" fmla="*/ 2453 w 2545"/>
                <a:gd name="T7" fmla="*/ 11 h 3271"/>
                <a:gd name="T8" fmla="*/ 2479 w 2545"/>
                <a:gd name="T9" fmla="*/ 26 h 3271"/>
                <a:gd name="T10" fmla="*/ 2501 w 2545"/>
                <a:gd name="T11" fmla="*/ 43 h 3271"/>
                <a:gd name="T12" fmla="*/ 2520 w 2545"/>
                <a:gd name="T13" fmla="*/ 66 h 3271"/>
                <a:gd name="T14" fmla="*/ 2533 w 2545"/>
                <a:gd name="T15" fmla="*/ 90 h 3271"/>
                <a:gd name="T16" fmla="*/ 2542 w 2545"/>
                <a:gd name="T17" fmla="*/ 118 h 3271"/>
                <a:gd name="T18" fmla="*/ 2545 w 2545"/>
                <a:gd name="T19" fmla="*/ 148 h 3271"/>
                <a:gd name="T20" fmla="*/ 2545 w 2545"/>
                <a:gd name="T21" fmla="*/ 369 h 3271"/>
                <a:gd name="T22" fmla="*/ 2246 w 2545"/>
                <a:gd name="T23" fmla="*/ 885 h 3271"/>
                <a:gd name="T24" fmla="*/ 2246 w 2545"/>
                <a:gd name="T25" fmla="*/ 297 h 3271"/>
                <a:gd name="T26" fmla="*/ 300 w 2545"/>
                <a:gd name="T27" fmla="*/ 297 h 3271"/>
                <a:gd name="T28" fmla="*/ 300 w 2545"/>
                <a:gd name="T29" fmla="*/ 2973 h 3271"/>
                <a:gd name="T30" fmla="*/ 2246 w 2545"/>
                <a:gd name="T31" fmla="*/ 2973 h 3271"/>
                <a:gd name="T32" fmla="*/ 2246 w 2545"/>
                <a:gd name="T33" fmla="*/ 2603 h 3271"/>
                <a:gd name="T34" fmla="*/ 2403 w 2545"/>
                <a:gd name="T35" fmla="*/ 2500 h 3271"/>
                <a:gd name="T36" fmla="*/ 2430 w 2545"/>
                <a:gd name="T37" fmla="*/ 2478 h 3271"/>
                <a:gd name="T38" fmla="*/ 2454 w 2545"/>
                <a:gd name="T39" fmla="*/ 2453 h 3271"/>
                <a:gd name="T40" fmla="*/ 2474 w 2545"/>
                <a:gd name="T41" fmla="*/ 2425 h 3271"/>
                <a:gd name="T42" fmla="*/ 2545 w 2545"/>
                <a:gd name="T43" fmla="*/ 2302 h 3271"/>
                <a:gd name="T44" fmla="*/ 2545 w 2545"/>
                <a:gd name="T45" fmla="*/ 3122 h 3271"/>
                <a:gd name="T46" fmla="*/ 2542 w 2545"/>
                <a:gd name="T47" fmla="*/ 3151 h 3271"/>
                <a:gd name="T48" fmla="*/ 2533 w 2545"/>
                <a:gd name="T49" fmla="*/ 3179 h 3271"/>
                <a:gd name="T50" fmla="*/ 2520 w 2545"/>
                <a:gd name="T51" fmla="*/ 3205 h 3271"/>
                <a:gd name="T52" fmla="*/ 2501 w 2545"/>
                <a:gd name="T53" fmla="*/ 3226 h 3271"/>
                <a:gd name="T54" fmla="*/ 2479 w 2545"/>
                <a:gd name="T55" fmla="*/ 3245 h 3271"/>
                <a:gd name="T56" fmla="*/ 2453 w 2545"/>
                <a:gd name="T57" fmla="*/ 3258 h 3271"/>
                <a:gd name="T58" fmla="*/ 2425 w 2545"/>
                <a:gd name="T59" fmla="*/ 3268 h 3271"/>
                <a:gd name="T60" fmla="*/ 2395 w 2545"/>
                <a:gd name="T61" fmla="*/ 3271 h 3271"/>
                <a:gd name="T62" fmla="*/ 150 w 2545"/>
                <a:gd name="T63" fmla="*/ 3271 h 3271"/>
                <a:gd name="T64" fmla="*/ 120 w 2545"/>
                <a:gd name="T65" fmla="*/ 3268 h 3271"/>
                <a:gd name="T66" fmla="*/ 92 w 2545"/>
                <a:gd name="T67" fmla="*/ 3258 h 3271"/>
                <a:gd name="T68" fmla="*/ 66 w 2545"/>
                <a:gd name="T69" fmla="*/ 3245 h 3271"/>
                <a:gd name="T70" fmla="*/ 44 w 2545"/>
                <a:gd name="T71" fmla="*/ 3226 h 3271"/>
                <a:gd name="T72" fmla="*/ 26 w 2545"/>
                <a:gd name="T73" fmla="*/ 3205 h 3271"/>
                <a:gd name="T74" fmla="*/ 12 w 2545"/>
                <a:gd name="T75" fmla="*/ 3179 h 3271"/>
                <a:gd name="T76" fmla="*/ 3 w 2545"/>
                <a:gd name="T77" fmla="*/ 3151 h 3271"/>
                <a:gd name="T78" fmla="*/ 0 w 2545"/>
                <a:gd name="T79" fmla="*/ 3122 h 3271"/>
                <a:gd name="T80" fmla="*/ 0 w 2545"/>
                <a:gd name="T81" fmla="*/ 148 h 3271"/>
                <a:gd name="T82" fmla="*/ 3 w 2545"/>
                <a:gd name="T83" fmla="*/ 118 h 3271"/>
                <a:gd name="T84" fmla="*/ 12 w 2545"/>
                <a:gd name="T85" fmla="*/ 90 h 3271"/>
                <a:gd name="T86" fmla="*/ 26 w 2545"/>
                <a:gd name="T87" fmla="*/ 66 h 3271"/>
                <a:gd name="T88" fmla="*/ 44 w 2545"/>
                <a:gd name="T89" fmla="*/ 43 h 3271"/>
                <a:gd name="T90" fmla="*/ 66 w 2545"/>
                <a:gd name="T91" fmla="*/ 26 h 3271"/>
                <a:gd name="T92" fmla="*/ 92 w 2545"/>
                <a:gd name="T93" fmla="*/ 11 h 3271"/>
                <a:gd name="T94" fmla="*/ 120 w 2545"/>
                <a:gd name="T95" fmla="*/ 3 h 3271"/>
                <a:gd name="T96" fmla="*/ 150 w 2545"/>
                <a:gd name="T97" fmla="*/ 0 h 3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545" h="3271">
                  <a:moveTo>
                    <a:pt x="150" y="0"/>
                  </a:moveTo>
                  <a:lnTo>
                    <a:pt x="2395" y="0"/>
                  </a:lnTo>
                  <a:lnTo>
                    <a:pt x="2425" y="3"/>
                  </a:lnTo>
                  <a:lnTo>
                    <a:pt x="2453" y="11"/>
                  </a:lnTo>
                  <a:lnTo>
                    <a:pt x="2479" y="26"/>
                  </a:lnTo>
                  <a:lnTo>
                    <a:pt x="2501" y="43"/>
                  </a:lnTo>
                  <a:lnTo>
                    <a:pt x="2520" y="66"/>
                  </a:lnTo>
                  <a:lnTo>
                    <a:pt x="2533" y="90"/>
                  </a:lnTo>
                  <a:lnTo>
                    <a:pt x="2542" y="118"/>
                  </a:lnTo>
                  <a:lnTo>
                    <a:pt x="2545" y="148"/>
                  </a:lnTo>
                  <a:lnTo>
                    <a:pt x="2545" y="369"/>
                  </a:lnTo>
                  <a:lnTo>
                    <a:pt x="2246" y="885"/>
                  </a:lnTo>
                  <a:lnTo>
                    <a:pt x="2246" y="297"/>
                  </a:lnTo>
                  <a:lnTo>
                    <a:pt x="300" y="297"/>
                  </a:lnTo>
                  <a:lnTo>
                    <a:pt x="300" y="2973"/>
                  </a:lnTo>
                  <a:lnTo>
                    <a:pt x="2246" y="2973"/>
                  </a:lnTo>
                  <a:lnTo>
                    <a:pt x="2246" y="2603"/>
                  </a:lnTo>
                  <a:lnTo>
                    <a:pt x="2403" y="2500"/>
                  </a:lnTo>
                  <a:lnTo>
                    <a:pt x="2430" y="2478"/>
                  </a:lnTo>
                  <a:lnTo>
                    <a:pt x="2454" y="2453"/>
                  </a:lnTo>
                  <a:lnTo>
                    <a:pt x="2474" y="2425"/>
                  </a:lnTo>
                  <a:lnTo>
                    <a:pt x="2545" y="2302"/>
                  </a:lnTo>
                  <a:lnTo>
                    <a:pt x="2545" y="3122"/>
                  </a:lnTo>
                  <a:lnTo>
                    <a:pt x="2542" y="3151"/>
                  </a:lnTo>
                  <a:lnTo>
                    <a:pt x="2533" y="3179"/>
                  </a:lnTo>
                  <a:lnTo>
                    <a:pt x="2520" y="3205"/>
                  </a:lnTo>
                  <a:lnTo>
                    <a:pt x="2501" y="3226"/>
                  </a:lnTo>
                  <a:lnTo>
                    <a:pt x="2479" y="3245"/>
                  </a:lnTo>
                  <a:lnTo>
                    <a:pt x="2453" y="3258"/>
                  </a:lnTo>
                  <a:lnTo>
                    <a:pt x="2425" y="3268"/>
                  </a:lnTo>
                  <a:lnTo>
                    <a:pt x="2395" y="3271"/>
                  </a:lnTo>
                  <a:lnTo>
                    <a:pt x="150" y="3271"/>
                  </a:lnTo>
                  <a:lnTo>
                    <a:pt x="120" y="3268"/>
                  </a:lnTo>
                  <a:lnTo>
                    <a:pt x="92" y="3258"/>
                  </a:lnTo>
                  <a:lnTo>
                    <a:pt x="66" y="3245"/>
                  </a:lnTo>
                  <a:lnTo>
                    <a:pt x="44" y="3226"/>
                  </a:lnTo>
                  <a:lnTo>
                    <a:pt x="26" y="3205"/>
                  </a:lnTo>
                  <a:lnTo>
                    <a:pt x="12" y="3179"/>
                  </a:lnTo>
                  <a:lnTo>
                    <a:pt x="3" y="3151"/>
                  </a:lnTo>
                  <a:lnTo>
                    <a:pt x="0" y="3122"/>
                  </a:lnTo>
                  <a:lnTo>
                    <a:pt x="0" y="148"/>
                  </a:lnTo>
                  <a:lnTo>
                    <a:pt x="3" y="118"/>
                  </a:lnTo>
                  <a:lnTo>
                    <a:pt x="12" y="90"/>
                  </a:lnTo>
                  <a:lnTo>
                    <a:pt x="26" y="66"/>
                  </a:lnTo>
                  <a:lnTo>
                    <a:pt x="44" y="43"/>
                  </a:lnTo>
                  <a:lnTo>
                    <a:pt x="66" y="26"/>
                  </a:lnTo>
                  <a:lnTo>
                    <a:pt x="92" y="11"/>
                  </a:lnTo>
                  <a:lnTo>
                    <a:pt x="120" y="3"/>
                  </a:lnTo>
                  <a:lnTo>
                    <a:pt x="15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47" name="Freeform 1042">
              <a:extLst>
                <a:ext uri="{FF2B5EF4-FFF2-40B4-BE49-F238E27FC236}">
                  <a16:creationId xmlns:a16="http://schemas.microsoft.com/office/drawing/2014/main" id="{6C8F8AB7-9D94-BF20-0C22-9306BA9E4B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05" y="-1855"/>
              <a:ext cx="393" cy="586"/>
            </a:xfrm>
            <a:custGeom>
              <a:avLst/>
              <a:gdLst>
                <a:gd name="T0" fmla="*/ 130 w 1574"/>
                <a:gd name="T1" fmla="*/ 1973 h 2342"/>
                <a:gd name="T2" fmla="*/ 221 w 1574"/>
                <a:gd name="T3" fmla="*/ 2017 h 2342"/>
                <a:gd name="T4" fmla="*/ 305 w 1574"/>
                <a:gd name="T5" fmla="*/ 2073 h 2342"/>
                <a:gd name="T6" fmla="*/ 434 w 1574"/>
                <a:gd name="T7" fmla="*/ 1957 h 2342"/>
                <a:gd name="T8" fmla="*/ 385 w 1574"/>
                <a:gd name="T9" fmla="*/ 1912 h 2342"/>
                <a:gd name="T10" fmla="*/ 311 w 1574"/>
                <a:gd name="T11" fmla="*/ 1861 h 2342"/>
                <a:gd name="T12" fmla="*/ 242 w 1574"/>
                <a:gd name="T13" fmla="*/ 1827 h 2342"/>
                <a:gd name="T14" fmla="*/ 186 w 1574"/>
                <a:gd name="T15" fmla="*/ 1808 h 2342"/>
                <a:gd name="T16" fmla="*/ 140 w 1574"/>
                <a:gd name="T17" fmla="*/ 1799 h 2342"/>
                <a:gd name="T18" fmla="*/ 1106 w 1574"/>
                <a:gd name="T19" fmla="*/ 0 h 2342"/>
                <a:gd name="T20" fmla="*/ 1161 w 1574"/>
                <a:gd name="T21" fmla="*/ 7 h 2342"/>
                <a:gd name="T22" fmla="*/ 1227 w 1574"/>
                <a:gd name="T23" fmla="*/ 25 h 2342"/>
                <a:gd name="T24" fmla="*/ 1305 w 1574"/>
                <a:gd name="T25" fmla="*/ 56 h 2342"/>
                <a:gd name="T26" fmla="*/ 1391 w 1574"/>
                <a:gd name="T27" fmla="*/ 107 h 2342"/>
                <a:gd name="T28" fmla="*/ 1462 w 1574"/>
                <a:gd name="T29" fmla="*/ 161 h 2342"/>
                <a:gd name="T30" fmla="*/ 1512 w 1574"/>
                <a:gd name="T31" fmla="*/ 213 h 2342"/>
                <a:gd name="T32" fmla="*/ 1544 w 1574"/>
                <a:gd name="T33" fmla="*/ 258 h 2342"/>
                <a:gd name="T34" fmla="*/ 1562 w 1574"/>
                <a:gd name="T35" fmla="*/ 294 h 2342"/>
                <a:gd name="T36" fmla="*/ 1571 w 1574"/>
                <a:gd name="T37" fmla="*/ 316 h 2342"/>
                <a:gd name="T38" fmla="*/ 1574 w 1574"/>
                <a:gd name="T39" fmla="*/ 340 h 2342"/>
                <a:gd name="T40" fmla="*/ 1563 w 1574"/>
                <a:gd name="T41" fmla="*/ 375 h 2342"/>
                <a:gd name="T42" fmla="*/ 618 w 1574"/>
                <a:gd name="T43" fmla="*/ 1998 h 2342"/>
                <a:gd name="T44" fmla="*/ 115 w 1574"/>
                <a:gd name="T45" fmla="*/ 2330 h 2342"/>
                <a:gd name="T46" fmla="*/ 77 w 1574"/>
                <a:gd name="T47" fmla="*/ 2342 h 2342"/>
                <a:gd name="T48" fmla="*/ 36 w 1574"/>
                <a:gd name="T49" fmla="*/ 2332 h 2342"/>
                <a:gd name="T50" fmla="*/ 13 w 1574"/>
                <a:gd name="T51" fmla="*/ 2311 h 2342"/>
                <a:gd name="T52" fmla="*/ 0 w 1574"/>
                <a:gd name="T53" fmla="*/ 2280 h 2342"/>
                <a:gd name="T54" fmla="*/ 34 w 1574"/>
                <a:gd name="T55" fmla="*/ 1683 h 2342"/>
                <a:gd name="T56" fmla="*/ 45 w 1574"/>
                <a:gd name="T57" fmla="*/ 1651 h 2342"/>
                <a:gd name="T58" fmla="*/ 991 w 1574"/>
                <a:gd name="T59" fmla="*/ 27 h 2342"/>
                <a:gd name="T60" fmla="*/ 1023 w 1574"/>
                <a:gd name="T61" fmla="*/ 7 h 2342"/>
                <a:gd name="T62" fmla="*/ 1036 w 1574"/>
                <a:gd name="T63" fmla="*/ 4 h 2342"/>
                <a:gd name="T64" fmla="*/ 1064 w 1574"/>
                <a:gd name="T65" fmla="*/ 0 h 2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574" h="2342">
                  <a:moveTo>
                    <a:pt x="140" y="1799"/>
                  </a:moveTo>
                  <a:lnTo>
                    <a:pt x="130" y="1973"/>
                  </a:lnTo>
                  <a:lnTo>
                    <a:pt x="175" y="1993"/>
                  </a:lnTo>
                  <a:lnTo>
                    <a:pt x="221" y="2017"/>
                  </a:lnTo>
                  <a:lnTo>
                    <a:pt x="264" y="2043"/>
                  </a:lnTo>
                  <a:lnTo>
                    <a:pt x="305" y="2073"/>
                  </a:lnTo>
                  <a:lnTo>
                    <a:pt x="451" y="1976"/>
                  </a:lnTo>
                  <a:lnTo>
                    <a:pt x="434" y="1957"/>
                  </a:lnTo>
                  <a:lnTo>
                    <a:pt x="412" y="1935"/>
                  </a:lnTo>
                  <a:lnTo>
                    <a:pt x="385" y="1912"/>
                  </a:lnTo>
                  <a:lnTo>
                    <a:pt x="351" y="1887"/>
                  </a:lnTo>
                  <a:lnTo>
                    <a:pt x="311" y="1861"/>
                  </a:lnTo>
                  <a:lnTo>
                    <a:pt x="276" y="1843"/>
                  </a:lnTo>
                  <a:lnTo>
                    <a:pt x="242" y="1827"/>
                  </a:lnTo>
                  <a:lnTo>
                    <a:pt x="212" y="1816"/>
                  </a:lnTo>
                  <a:lnTo>
                    <a:pt x="186" y="1808"/>
                  </a:lnTo>
                  <a:lnTo>
                    <a:pt x="162" y="1803"/>
                  </a:lnTo>
                  <a:lnTo>
                    <a:pt x="140" y="1799"/>
                  </a:lnTo>
                  <a:close/>
                  <a:moveTo>
                    <a:pt x="1083" y="0"/>
                  </a:moveTo>
                  <a:lnTo>
                    <a:pt x="1106" y="0"/>
                  </a:lnTo>
                  <a:lnTo>
                    <a:pt x="1132" y="2"/>
                  </a:lnTo>
                  <a:lnTo>
                    <a:pt x="1161" y="7"/>
                  </a:lnTo>
                  <a:lnTo>
                    <a:pt x="1192" y="14"/>
                  </a:lnTo>
                  <a:lnTo>
                    <a:pt x="1227" y="25"/>
                  </a:lnTo>
                  <a:lnTo>
                    <a:pt x="1264" y="39"/>
                  </a:lnTo>
                  <a:lnTo>
                    <a:pt x="1305" y="56"/>
                  </a:lnTo>
                  <a:lnTo>
                    <a:pt x="1347" y="80"/>
                  </a:lnTo>
                  <a:lnTo>
                    <a:pt x="1391" y="107"/>
                  </a:lnTo>
                  <a:lnTo>
                    <a:pt x="1430" y="135"/>
                  </a:lnTo>
                  <a:lnTo>
                    <a:pt x="1462" y="161"/>
                  </a:lnTo>
                  <a:lnTo>
                    <a:pt x="1489" y="188"/>
                  </a:lnTo>
                  <a:lnTo>
                    <a:pt x="1512" y="213"/>
                  </a:lnTo>
                  <a:lnTo>
                    <a:pt x="1529" y="236"/>
                  </a:lnTo>
                  <a:lnTo>
                    <a:pt x="1544" y="258"/>
                  </a:lnTo>
                  <a:lnTo>
                    <a:pt x="1554" y="277"/>
                  </a:lnTo>
                  <a:lnTo>
                    <a:pt x="1562" y="294"/>
                  </a:lnTo>
                  <a:lnTo>
                    <a:pt x="1567" y="307"/>
                  </a:lnTo>
                  <a:lnTo>
                    <a:pt x="1571" y="316"/>
                  </a:lnTo>
                  <a:lnTo>
                    <a:pt x="1572" y="322"/>
                  </a:lnTo>
                  <a:lnTo>
                    <a:pt x="1574" y="340"/>
                  </a:lnTo>
                  <a:lnTo>
                    <a:pt x="1571" y="359"/>
                  </a:lnTo>
                  <a:lnTo>
                    <a:pt x="1563" y="375"/>
                  </a:lnTo>
                  <a:lnTo>
                    <a:pt x="628" y="1985"/>
                  </a:lnTo>
                  <a:lnTo>
                    <a:pt x="618" y="1998"/>
                  </a:lnTo>
                  <a:lnTo>
                    <a:pt x="605" y="2009"/>
                  </a:lnTo>
                  <a:lnTo>
                    <a:pt x="115" y="2330"/>
                  </a:lnTo>
                  <a:lnTo>
                    <a:pt x="97" y="2339"/>
                  </a:lnTo>
                  <a:lnTo>
                    <a:pt x="77" y="2342"/>
                  </a:lnTo>
                  <a:lnTo>
                    <a:pt x="56" y="2340"/>
                  </a:lnTo>
                  <a:lnTo>
                    <a:pt x="36" y="2332"/>
                  </a:lnTo>
                  <a:lnTo>
                    <a:pt x="23" y="2323"/>
                  </a:lnTo>
                  <a:lnTo>
                    <a:pt x="13" y="2311"/>
                  </a:lnTo>
                  <a:lnTo>
                    <a:pt x="5" y="2296"/>
                  </a:lnTo>
                  <a:lnTo>
                    <a:pt x="0" y="2280"/>
                  </a:lnTo>
                  <a:lnTo>
                    <a:pt x="0" y="2263"/>
                  </a:lnTo>
                  <a:lnTo>
                    <a:pt x="34" y="1683"/>
                  </a:lnTo>
                  <a:lnTo>
                    <a:pt x="38" y="1666"/>
                  </a:lnTo>
                  <a:lnTo>
                    <a:pt x="45" y="1651"/>
                  </a:lnTo>
                  <a:lnTo>
                    <a:pt x="981" y="41"/>
                  </a:lnTo>
                  <a:lnTo>
                    <a:pt x="991" y="27"/>
                  </a:lnTo>
                  <a:lnTo>
                    <a:pt x="1005" y="15"/>
                  </a:lnTo>
                  <a:lnTo>
                    <a:pt x="1023" y="7"/>
                  </a:lnTo>
                  <a:lnTo>
                    <a:pt x="1027" y="6"/>
                  </a:lnTo>
                  <a:lnTo>
                    <a:pt x="1036" y="4"/>
                  </a:lnTo>
                  <a:lnTo>
                    <a:pt x="1049" y="2"/>
                  </a:lnTo>
                  <a:lnTo>
                    <a:pt x="1064" y="0"/>
                  </a:lnTo>
                  <a:lnTo>
                    <a:pt x="108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8" name="Freeform 1043">
              <a:extLst>
                <a:ext uri="{FF2B5EF4-FFF2-40B4-BE49-F238E27FC236}">
                  <a16:creationId xmlns:a16="http://schemas.microsoft.com/office/drawing/2014/main" id="{5184237D-EE39-A5B7-A920-99764879173D}"/>
                </a:ext>
              </a:extLst>
            </p:cNvPr>
            <p:cNvSpPr>
              <a:spLocks/>
            </p:cNvSpPr>
            <p:nvPr/>
          </p:nvSpPr>
          <p:spPr bwMode="auto">
            <a:xfrm>
              <a:off x="9995" y="-1385"/>
              <a:ext cx="286" cy="146"/>
            </a:xfrm>
            <a:custGeom>
              <a:avLst/>
              <a:gdLst>
                <a:gd name="T0" fmla="*/ 551 w 1143"/>
                <a:gd name="T1" fmla="*/ 5 h 585"/>
                <a:gd name="T2" fmla="*/ 577 w 1143"/>
                <a:gd name="T3" fmla="*/ 28 h 585"/>
                <a:gd name="T4" fmla="*/ 585 w 1143"/>
                <a:gd name="T5" fmla="*/ 110 h 585"/>
                <a:gd name="T6" fmla="*/ 554 w 1143"/>
                <a:gd name="T7" fmla="*/ 197 h 585"/>
                <a:gd name="T8" fmla="*/ 563 w 1143"/>
                <a:gd name="T9" fmla="*/ 239 h 585"/>
                <a:gd name="T10" fmla="*/ 581 w 1143"/>
                <a:gd name="T11" fmla="*/ 267 h 585"/>
                <a:gd name="T12" fmla="*/ 631 w 1143"/>
                <a:gd name="T13" fmla="*/ 275 h 585"/>
                <a:gd name="T14" fmla="*/ 674 w 1143"/>
                <a:gd name="T15" fmla="*/ 319 h 585"/>
                <a:gd name="T16" fmla="*/ 685 w 1143"/>
                <a:gd name="T17" fmla="*/ 353 h 585"/>
                <a:gd name="T18" fmla="*/ 838 w 1143"/>
                <a:gd name="T19" fmla="*/ 347 h 585"/>
                <a:gd name="T20" fmla="*/ 986 w 1143"/>
                <a:gd name="T21" fmla="*/ 362 h 585"/>
                <a:gd name="T22" fmla="*/ 1106 w 1143"/>
                <a:gd name="T23" fmla="*/ 369 h 585"/>
                <a:gd name="T24" fmla="*/ 1137 w 1143"/>
                <a:gd name="T25" fmla="*/ 396 h 585"/>
                <a:gd name="T26" fmla="*/ 1142 w 1143"/>
                <a:gd name="T27" fmla="*/ 436 h 585"/>
                <a:gd name="T28" fmla="*/ 1119 w 1143"/>
                <a:gd name="T29" fmla="*/ 470 h 585"/>
                <a:gd name="T30" fmla="*/ 1055 w 1143"/>
                <a:gd name="T31" fmla="*/ 477 h 585"/>
                <a:gd name="T32" fmla="*/ 946 w 1143"/>
                <a:gd name="T33" fmla="*/ 461 h 585"/>
                <a:gd name="T34" fmla="*/ 834 w 1143"/>
                <a:gd name="T35" fmla="*/ 447 h 585"/>
                <a:gd name="T36" fmla="*/ 730 w 1143"/>
                <a:gd name="T37" fmla="*/ 456 h 585"/>
                <a:gd name="T38" fmla="*/ 672 w 1143"/>
                <a:gd name="T39" fmla="*/ 481 h 585"/>
                <a:gd name="T40" fmla="*/ 630 w 1143"/>
                <a:gd name="T41" fmla="*/ 486 h 585"/>
                <a:gd name="T42" fmla="*/ 596 w 1143"/>
                <a:gd name="T43" fmla="*/ 472 h 585"/>
                <a:gd name="T44" fmla="*/ 571 w 1143"/>
                <a:gd name="T45" fmla="*/ 449 h 585"/>
                <a:gd name="T46" fmla="*/ 565 w 1143"/>
                <a:gd name="T47" fmla="*/ 403 h 585"/>
                <a:gd name="T48" fmla="*/ 531 w 1143"/>
                <a:gd name="T49" fmla="*/ 452 h 585"/>
                <a:gd name="T50" fmla="*/ 490 w 1143"/>
                <a:gd name="T51" fmla="*/ 465 h 585"/>
                <a:gd name="T52" fmla="*/ 450 w 1143"/>
                <a:gd name="T53" fmla="*/ 451 h 585"/>
                <a:gd name="T54" fmla="*/ 435 w 1143"/>
                <a:gd name="T55" fmla="*/ 414 h 585"/>
                <a:gd name="T56" fmla="*/ 445 w 1143"/>
                <a:gd name="T57" fmla="*/ 385 h 585"/>
                <a:gd name="T58" fmla="*/ 454 w 1143"/>
                <a:gd name="T59" fmla="*/ 365 h 585"/>
                <a:gd name="T60" fmla="*/ 417 w 1143"/>
                <a:gd name="T61" fmla="*/ 400 h 585"/>
                <a:gd name="T62" fmla="*/ 375 w 1143"/>
                <a:gd name="T63" fmla="*/ 423 h 585"/>
                <a:gd name="T64" fmla="*/ 331 w 1143"/>
                <a:gd name="T65" fmla="*/ 412 h 585"/>
                <a:gd name="T66" fmla="*/ 311 w 1143"/>
                <a:gd name="T67" fmla="*/ 375 h 585"/>
                <a:gd name="T68" fmla="*/ 360 w 1143"/>
                <a:gd name="T69" fmla="*/ 285 h 585"/>
                <a:gd name="T70" fmla="*/ 250 w 1143"/>
                <a:gd name="T71" fmla="*/ 388 h 585"/>
                <a:gd name="T72" fmla="*/ 95 w 1143"/>
                <a:gd name="T73" fmla="*/ 574 h 585"/>
                <a:gd name="T74" fmla="*/ 49 w 1143"/>
                <a:gd name="T75" fmla="*/ 584 h 585"/>
                <a:gd name="T76" fmla="*/ 9 w 1143"/>
                <a:gd name="T77" fmla="*/ 562 h 585"/>
                <a:gd name="T78" fmla="*/ 2 w 1143"/>
                <a:gd name="T79" fmla="*/ 521 h 585"/>
                <a:gd name="T80" fmla="*/ 137 w 1143"/>
                <a:gd name="T81" fmla="*/ 347 h 585"/>
                <a:gd name="T82" fmla="*/ 341 w 1143"/>
                <a:gd name="T83" fmla="*/ 122 h 585"/>
                <a:gd name="T84" fmla="*/ 395 w 1143"/>
                <a:gd name="T85" fmla="*/ 70 h 585"/>
                <a:gd name="T86" fmla="*/ 458 w 1143"/>
                <a:gd name="T87" fmla="*/ 20 h 585"/>
                <a:gd name="T88" fmla="*/ 528 w 1143"/>
                <a:gd name="T89" fmla="*/ 0 h 5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43" h="585">
                  <a:moveTo>
                    <a:pt x="528" y="0"/>
                  </a:moveTo>
                  <a:lnTo>
                    <a:pt x="539" y="2"/>
                  </a:lnTo>
                  <a:lnTo>
                    <a:pt x="551" y="5"/>
                  </a:lnTo>
                  <a:lnTo>
                    <a:pt x="561" y="10"/>
                  </a:lnTo>
                  <a:lnTo>
                    <a:pt x="571" y="18"/>
                  </a:lnTo>
                  <a:lnTo>
                    <a:pt x="577" y="28"/>
                  </a:lnTo>
                  <a:lnTo>
                    <a:pt x="585" y="53"/>
                  </a:lnTo>
                  <a:lnTo>
                    <a:pt x="587" y="81"/>
                  </a:lnTo>
                  <a:lnTo>
                    <a:pt x="585" y="110"/>
                  </a:lnTo>
                  <a:lnTo>
                    <a:pt x="578" y="139"/>
                  </a:lnTo>
                  <a:lnTo>
                    <a:pt x="567" y="168"/>
                  </a:lnTo>
                  <a:lnTo>
                    <a:pt x="554" y="197"/>
                  </a:lnTo>
                  <a:lnTo>
                    <a:pt x="537" y="227"/>
                  </a:lnTo>
                  <a:lnTo>
                    <a:pt x="551" y="232"/>
                  </a:lnTo>
                  <a:lnTo>
                    <a:pt x="563" y="239"/>
                  </a:lnTo>
                  <a:lnTo>
                    <a:pt x="573" y="252"/>
                  </a:lnTo>
                  <a:lnTo>
                    <a:pt x="577" y="260"/>
                  </a:lnTo>
                  <a:lnTo>
                    <a:pt x="581" y="267"/>
                  </a:lnTo>
                  <a:lnTo>
                    <a:pt x="597" y="266"/>
                  </a:lnTo>
                  <a:lnTo>
                    <a:pt x="614" y="269"/>
                  </a:lnTo>
                  <a:lnTo>
                    <a:pt x="631" y="275"/>
                  </a:lnTo>
                  <a:lnTo>
                    <a:pt x="646" y="286"/>
                  </a:lnTo>
                  <a:lnTo>
                    <a:pt x="661" y="300"/>
                  </a:lnTo>
                  <a:lnTo>
                    <a:pt x="674" y="319"/>
                  </a:lnTo>
                  <a:lnTo>
                    <a:pt x="681" y="334"/>
                  </a:lnTo>
                  <a:lnTo>
                    <a:pt x="684" y="345"/>
                  </a:lnTo>
                  <a:lnTo>
                    <a:pt x="685" y="353"/>
                  </a:lnTo>
                  <a:lnTo>
                    <a:pt x="738" y="347"/>
                  </a:lnTo>
                  <a:lnTo>
                    <a:pt x="789" y="346"/>
                  </a:lnTo>
                  <a:lnTo>
                    <a:pt x="838" y="347"/>
                  </a:lnTo>
                  <a:lnTo>
                    <a:pt x="887" y="351"/>
                  </a:lnTo>
                  <a:lnTo>
                    <a:pt x="936" y="356"/>
                  </a:lnTo>
                  <a:lnTo>
                    <a:pt x="986" y="362"/>
                  </a:lnTo>
                  <a:lnTo>
                    <a:pt x="1036" y="365"/>
                  </a:lnTo>
                  <a:lnTo>
                    <a:pt x="1089" y="367"/>
                  </a:lnTo>
                  <a:lnTo>
                    <a:pt x="1106" y="369"/>
                  </a:lnTo>
                  <a:lnTo>
                    <a:pt x="1119" y="375"/>
                  </a:lnTo>
                  <a:lnTo>
                    <a:pt x="1130" y="384"/>
                  </a:lnTo>
                  <a:lnTo>
                    <a:pt x="1137" y="396"/>
                  </a:lnTo>
                  <a:lnTo>
                    <a:pt x="1142" y="408"/>
                  </a:lnTo>
                  <a:lnTo>
                    <a:pt x="1143" y="422"/>
                  </a:lnTo>
                  <a:lnTo>
                    <a:pt x="1142" y="436"/>
                  </a:lnTo>
                  <a:lnTo>
                    <a:pt x="1137" y="449"/>
                  </a:lnTo>
                  <a:lnTo>
                    <a:pt x="1130" y="460"/>
                  </a:lnTo>
                  <a:lnTo>
                    <a:pt x="1119" y="470"/>
                  </a:lnTo>
                  <a:lnTo>
                    <a:pt x="1106" y="476"/>
                  </a:lnTo>
                  <a:lnTo>
                    <a:pt x="1089" y="478"/>
                  </a:lnTo>
                  <a:lnTo>
                    <a:pt x="1055" y="477"/>
                  </a:lnTo>
                  <a:lnTo>
                    <a:pt x="1020" y="473"/>
                  </a:lnTo>
                  <a:lnTo>
                    <a:pt x="983" y="467"/>
                  </a:lnTo>
                  <a:lnTo>
                    <a:pt x="946" y="461"/>
                  </a:lnTo>
                  <a:lnTo>
                    <a:pt x="909" y="455"/>
                  </a:lnTo>
                  <a:lnTo>
                    <a:pt x="872" y="450"/>
                  </a:lnTo>
                  <a:lnTo>
                    <a:pt x="834" y="447"/>
                  </a:lnTo>
                  <a:lnTo>
                    <a:pt x="798" y="446"/>
                  </a:lnTo>
                  <a:lnTo>
                    <a:pt x="763" y="449"/>
                  </a:lnTo>
                  <a:lnTo>
                    <a:pt x="730" y="456"/>
                  </a:lnTo>
                  <a:lnTo>
                    <a:pt x="698" y="469"/>
                  </a:lnTo>
                  <a:lnTo>
                    <a:pt x="685" y="475"/>
                  </a:lnTo>
                  <a:lnTo>
                    <a:pt x="672" y="481"/>
                  </a:lnTo>
                  <a:lnTo>
                    <a:pt x="657" y="486"/>
                  </a:lnTo>
                  <a:lnTo>
                    <a:pt x="644" y="488"/>
                  </a:lnTo>
                  <a:lnTo>
                    <a:pt x="630" y="486"/>
                  </a:lnTo>
                  <a:lnTo>
                    <a:pt x="619" y="482"/>
                  </a:lnTo>
                  <a:lnTo>
                    <a:pt x="608" y="477"/>
                  </a:lnTo>
                  <a:lnTo>
                    <a:pt x="596" y="472"/>
                  </a:lnTo>
                  <a:lnTo>
                    <a:pt x="586" y="465"/>
                  </a:lnTo>
                  <a:lnTo>
                    <a:pt x="578" y="458"/>
                  </a:lnTo>
                  <a:lnTo>
                    <a:pt x="571" y="449"/>
                  </a:lnTo>
                  <a:lnTo>
                    <a:pt x="566" y="437"/>
                  </a:lnTo>
                  <a:lnTo>
                    <a:pt x="565" y="418"/>
                  </a:lnTo>
                  <a:lnTo>
                    <a:pt x="565" y="403"/>
                  </a:lnTo>
                  <a:lnTo>
                    <a:pt x="554" y="422"/>
                  </a:lnTo>
                  <a:lnTo>
                    <a:pt x="542" y="441"/>
                  </a:lnTo>
                  <a:lnTo>
                    <a:pt x="531" y="452"/>
                  </a:lnTo>
                  <a:lnTo>
                    <a:pt x="519" y="460"/>
                  </a:lnTo>
                  <a:lnTo>
                    <a:pt x="504" y="464"/>
                  </a:lnTo>
                  <a:lnTo>
                    <a:pt x="490" y="465"/>
                  </a:lnTo>
                  <a:lnTo>
                    <a:pt x="475" y="463"/>
                  </a:lnTo>
                  <a:lnTo>
                    <a:pt x="462" y="458"/>
                  </a:lnTo>
                  <a:lnTo>
                    <a:pt x="450" y="451"/>
                  </a:lnTo>
                  <a:lnTo>
                    <a:pt x="441" y="441"/>
                  </a:lnTo>
                  <a:lnTo>
                    <a:pt x="436" y="428"/>
                  </a:lnTo>
                  <a:lnTo>
                    <a:pt x="435" y="414"/>
                  </a:lnTo>
                  <a:lnTo>
                    <a:pt x="439" y="398"/>
                  </a:lnTo>
                  <a:lnTo>
                    <a:pt x="442" y="391"/>
                  </a:lnTo>
                  <a:lnTo>
                    <a:pt x="445" y="385"/>
                  </a:lnTo>
                  <a:lnTo>
                    <a:pt x="445" y="385"/>
                  </a:lnTo>
                  <a:lnTo>
                    <a:pt x="444" y="385"/>
                  </a:lnTo>
                  <a:lnTo>
                    <a:pt x="454" y="365"/>
                  </a:lnTo>
                  <a:lnTo>
                    <a:pt x="440" y="374"/>
                  </a:lnTo>
                  <a:lnTo>
                    <a:pt x="428" y="385"/>
                  </a:lnTo>
                  <a:lnTo>
                    <a:pt x="417" y="400"/>
                  </a:lnTo>
                  <a:lnTo>
                    <a:pt x="405" y="412"/>
                  </a:lnTo>
                  <a:lnTo>
                    <a:pt x="390" y="420"/>
                  </a:lnTo>
                  <a:lnTo>
                    <a:pt x="375" y="423"/>
                  </a:lnTo>
                  <a:lnTo>
                    <a:pt x="359" y="423"/>
                  </a:lnTo>
                  <a:lnTo>
                    <a:pt x="345" y="419"/>
                  </a:lnTo>
                  <a:lnTo>
                    <a:pt x="331" y="412"/>
                  </a:lnTo>
                  <a:lnTo>
                    <a:pt x="321" y="402"/>
                  </a:lnTo>
                  <a:lnTo>
                    <a:pt x="314" y="389"/>
                  </a:lnTo>
                  <a:lnTo>
                    <a:pt x="311" y="375"/>
                  </a:lnTo>
                  <a:lnTo>
                    <a:pt x="313" y="360"/>
                  </a:lnTo>
                  <a:lnTo>
                    <a:pt x="320" y="343"/>
                  </a:lnTo>
                  <a:lnTo>
                    <a:pt x="360" y="285"/>
                  </a:lnTo>
                  <a:lnTo>
                    <a:pt x="400" y="224"/>
                  </a:lnTo>
                  <a:lnTo>
                    <a:pt x="323" y="305"/>
                  </a:lnTo>
                  <a:lnTo>
                    <a:pt x="250" y="388"/>
                  </a:lnTo>
                  <a:lnTo>
                    <a:pt x="177" y="475"/>
                  </a:lnTo>
                  <a:lnTo>
                    <a:pt x="108" y="562"/>
                  </a:lnTo>
                  <a:lnTo>
                    <a:pt x="95" y="574"/>
                  </a:lnTo>
                  <a:lnTo>
                    <a:pt x="80" y="582"/>
                  </a:lnTo>
                  <a:lnTo>
                    <a:pt x="64" y="585"/>
                  </a:lnTo>
                  <a:lnTo>
                    <a:pt x="49" y="584"/>
                  </a:lnTo>
                  <a:lnTo>
                    <a:pt x="33" y="580"/>
                  </a:lnTo>
                  <a:lnTo>
                    <a:pt x="21" y="572"/>
                  </a:lnTo>
                  <a:lnTo>
                    <a:pt x="9" y="562"/>
                  </a:lnTo>
                  <a:lnTo>
                    <a:pt x="2" y="550"/>
                  </a:lnTo>
                  <a:lnTo>
                    <a:pt x="0" y="535"/>
                  </a:lnTo>
                  <a:lnTo>
                    <a:pt x="2" y="521"/>
                  </a:lnTo>
                  <a:lnTo>
                    <a:pt x="12" y="506"/>
                  </a:lnTo>
                  <a:lnTo>
                    <a:pt x="74" y="426"/>
                  </a:lnTo>
                  <a:lnTo>
                    <a:pt x="137" y="347"/>
                  </a:lnTo>
                  <a:lnTo>
                    <a:pt x="202" y="270"/>
                  </a:lnTo>
                  <a:lnTo>
                    <a:pt x="270" y="194"/>
                  </a:lnTo>
                  <a:lnTo>
                    <a:pt x="341" y="122"/>
                  </a:lnTo>
                  <a:lnTo>
                    <a:pt x="357" y="106"/>
                  </a:lnTo>
                  <a:lnTo>
                    <a:pt x="376" y="88"/>
                  </a:lnTo>
                  <a:lnTo>
                    <a:pt x="395" y="70"/>
                  </a:lnTo>
                  <a:lnTo>
                    <a:pt x="414" y="51"/>
                  </a:lnTo>
                  <a:lnTo>
                    <a:pt x="435" y="35"/>
                  </a:lnTo>
                  <a:lnTo>
                    <a:pt x="458" y="20"/>
                  </a:lnTo>
                  <a:lnTo>
                    <a:pt x="480" y="9"/>
                  </a:lnTo>
                  <a:lnTo>
                    <a:pt x="504" y="2"/>
                  </a:lnTo>
                  <a:lnTo>
                    <a:pt x="52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49" name="Group 1139">
            <a:extLst>
              <a:ext uri="{FF2B5EF4-FFF2-40B4-BE49-F238E27FC236}">
                <a16:creationId xmlns:a16="http://schemas.microsoft.com/office/drawing/2014/main" id="{E34E689E-5969-E925-CAA6-A238933127C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710345" y="2650705"/>
            <a:ext cx="314152" cy="226760"/>
            <a:chOff x="449" y="-2288"/>
            <a:chExt cx="2466" cy="1780"/>
          </a:xfrm>
          <a:solidFill>
            <a:schemeClr val="bg1"/>
          </a:solidFill>
        </p:grpSpPr>
        <p:sp>
          <p:nvSpPr>
            <p:cNvPr id="50" name="Freeform 1141">
              <a:extLst>
                <a:ext uri="{FF2B5EF4-FFF2-40B4-BE49-F238E27FC236}">
                  <a16:creationId xmlns:a16="http://schemas.microsoft.com/office/drawing/2014/main" id="{82BD51EE-983F-166A-9924-1BC23473E229}"/>
                </a:ext>
              </a:extLst>
            </p:cNvPr>
            <p:cNvSpPr>
              <a:spLocks/>
            </p:cNvSpPr>
            <p:nvPr/>
          </p:nvSpPr>
          <p:spPr bwMode="auto">
            <a:xfrm>
              <a:off x="1868" y="-1171"/>
              <a:ext cx="1047" cy="645"/>
            </a:xfrm>
            <a:custGeom>
              <a:avLst/>
              <a:gdLst>
                <a:gd name="T0" fmla="*/ 1398 w 2094"/>
                <a:gd name="T1" fmla="*/ 4 h 1290"/>
                <a:gd name="T2" fmla="*/ 1436 w 2094"/>
                <a:gd name="T3" fmla="*/ 25 h 1290"/>
                <a:gd name="T4" fmla="*/ 1494 w 2094"/>
                <a:gd name="T5" fmla="*/ 57 h 1290"/>
                <a:gd name="T6" fmla="*/ 1564 w 2094"/>
                <a:gd name="T7" fmla="*/ 99 h 1290"/>
                <a:gd name="T8" fmla="*/ 1639 w 2094"/>
                <a:gd name="T9" fmla="*/ 145 h 1290"/>
                <a:gd name="T10" fmla="*/ 1711 w 2094"/>
                <a:gd name="T11" fmla="*/ 195 h 1290"/>
                <a:gd name="T12" fmla="*/ 1773 w 2094"/>
                <a:gd name="T13" fmla="*/ 243 h 1290"/>
                <a:gd name="T14" fmla="*/ 1816 w 2094"/>
                <a:gd name="T15" fmla="*/ 286 h 1290"/>
                <a:gd name="T16" fmla="*/ 1870 w 2094"/>
                <a:gd name="T17" fmla="*/ 378 h 1290"/>
                <a:gd name="T18" fmla="*/ 1920 w 2094"/>
                <a:gd name="T19" fmla="*/ 498 h 1290"/>
                <a:gd name="T20" fmla="*/ 1963 w 2094"/>
                <a:gd name="T21" fmla="*/ 637 h 1290"/>
                <a:gd name="T22" fmla="*/ 2002 w 2094"/>
                <a:gd name="T23" fmla="*/ 786 h 1290"/>
                <a:gd name="T24" fmla="*/ 2037 w 2094"/>
                <a:gd name="T25" fmla="*/ 936 h 1290"/>
                <a:gd name="T26" fmla="*/ 2064 w 2094"/>
                <a:gd name="T27" fmla="*/ 1075 h 1290"/>
                <a:gd name="T28" fmla="*/ 2085 w 2094"/>
                <a:gd name="T29" fmla="*/ 1195 h 1290"/>
                <a:gd name="T30" fmla="*/ 2092 w 2094"/>
                <a:gd name="T31" fmla="*/ 1261 h 1290"/>
                <a:gd name="T32" fmla="*/ 2071 w 2094"/>
                <a:gd name="T33" fmla="*/ 1287 h 1290"/>
                <a:gd name="T34" fmla="*/ 39 w 2094"/>
                <a:gd name="T35" fmla="*/ 1290 h 1290"/>
                <a:gd name="T36" fmla="*/ 9 w 2094"/>
                <a:gd name="T37" fmla="*/ 1276 h 1290"/>
                <a:gd name="T38" fmla="*/ 0 w 2094"/>
                <a:gd name="T39" fmla="*/ 1245 h 1290"/>
                <a:gd name="T40" fmla="*/ 18 w 2094"/>
                <a:gd name="T41" fmla="*/ 1138 h 1290"/>
                <a:gd name="T42" fmla="*/ 42 w 2094"/>
                <a:gd name="T43" fmla="*/ 1008 h 1290"/>
                <a:gd name="T44" fmla="*/ 73 w 2094"/>
                <a:gd name="T45" fmla="*/ 861 h 1290"/>
                <a:gd name="T46" fmla="*/ 109 w 2094"/>
                <a:gd name="T47" fmla="*/ 711 h 1290"/>
                <a:gd name="T48" fmla="*/ 151 w 2094"/>
                <a:gd name="T49" fmla="*/ 565 h 1290"/>
                <a:gd name="T50" fmla="*/ 198 w 2094"/>
                <a:gd name="T51" fmla="*/ 435 h 1290"/>
                <a:gd name="T52" fmla="*/ 249 w 2094"/>
                <a:gd name="T53" fmla="*/ 327 h 1290"/>
                <a:gd name="T54" fmla="*/ 295 w 2094"/>
                <a:gd name="T55" fmla="*/ 265 h 1290"/>
                <a:gd name="T56" fmla="*/ 349 w 2094"/>
                <a:gd name="T57" fmla="*/ 219 h 1290"/>
                <a:gd name="T58" fmla="*/ 417 w 2094"/>
                <a:gd name="T59" fmla="*/ 169 h 1290"/>
                <a:gd name="T60" fmla="*/ 491 w 2094"/>
                <a:gd name="T61" fmla="*/ 121 h 1290"/>
                <a:gd name="T62" fmla="*/ 565 w 2094"/>
                <a:gd name="T63" fmla="*/ 76 h 1290"/>
                <a:gd name="T64" fmla="*/ 629 w 2094"/>
                <a:gd name="T65" fmla="*/ 40 h 1290"/>
                <a:gd name="T66" fmla="*/ 679 w 2094"/>
                <a:gd name="T67" fmla="*/ 13 h 1290"/>
                <a:gd name="T68" fmla="*/ 709 w 2094"/>
                <a:gd name="T69" fmla="*/ 0 h 1290"/>
                <a:gd name="T70" fmla="*/ 737 w 2094"/>
                <a:gd name="T71" fmla="*/ 9 h 1290"/>
                <a:gd name="T72" fmla="*/ 836 w 2094"/>
                <a:gd name="T73" fmla="*/ 70 h 1290"/>
                <a:gd name="T74" fmla="*/ 943 w 2094"/>
                <a:gd name="T75" fmla="*/ 108 h 1290"/>
                <a:gd name="T76" fmla="*/ 965 w 2094"/>
                <a:gd name="T77" fmla="*/ 121 h 1290"/>
                <a:gd name="T78" fmla="*/ 1046 w 2094"/>
                <a:gd name="T79" fmla="*/ 330 h 1290"/>
                <a:gd name="T80" fmla="*/ 1128 w 2094"/>
                <a:gd name="T81" fmla="*/ 121 h 1290"/>
                <a:gd name="T82" fmla="*/ 1149 w 2094"/>
                <a:gd name="T83" fmla="*/ 108 h 1290"/>
                <a:gd name="T84" fmla="*/ 1256 w 2094"/>
                <a:gd name="T85" fmla="*/ 70 h 1290"/>
                <a:gd name="T86" fmla="*/ 1356 w 2094"/>
                <a:gd name="T87" fmla="*/ 9 h 1290"/>
                <a:gd name="T88" fmla="*/ 1385 w 2094"/>
                <a:gd name="T89" fmla="*/ 0 h 1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94" h="1290">
                  <a:moveTo>
                    <a:pt x="1385" y="0"/>
                  </a:moveTo>
                  <a:lnTo>
                    <a:pt x="1398" y="4"/>
                  </a:lnTo>
                  <a:lnTo>
                    <a:pt x="1415" y="13"/>
                  </a:lnTo>
                  <a:lnTo>
                    <a:pt x="1436" y="25"/>
                  </a:lnTo>
                  <a:lnTo>
                    <a:pt x="1463" y="40"/>
                  </a:lnTo>
                  <a:lnTo>
                    <a:pt x="1494" y="57"/>
                  </a:lnTo>
                  <a:lnTo>
                    <a:pt x="1527" y="76"/>
                  </a:lnTo>
                  <a:lnTo>
                    <a:pt x="1564" y="99"/>
                  </a:lnTo>
                  <a:lnTo>
                    <a:pt x="1602" y="121"/>
                  </a:lnTo>
                  <a:lnTo>
                    <a:pt x="1639" y="145"/>
                  </a:lnTo>
                  <a:lnTo>
                    <a:pt x="1675" y="169"/>
                  </a:lnTo>
                  <a:lnTo>
                    <a:pt x="1711" y="195"/>
                  </a:lnTo>
                  <a:lnTo>
                    <a:pt x="1744" y="219"/>
                  </a:lnTo>
                  <a:lnTo>
                    <a:pt x="1773" y="243"/>
                  </a:lnTo>
                  <a:lnTo>
                    <a:pt x="1797" y="265"/>
                  </a:lnTo>
                  <a:lnTo>
                    <a:pt x="1816" y="286"/>
                  </a:lnTo>
                  <a:lnTo>
                    <a:pt x="1843" y="327"/>
                  </a:lnTo>
                  <a:lnTo>
                    <a:pt x="1870" y="378"/>
                  </a:lnTo>
                  <a:lnTo>
                    <a:pt x="1896" y="435"/>
                  </a:lnTo>
                  <a:lnTo>
                    <a:pt x="1920" y="498"/>
                  </a:lnTo>
                  <a:lnTo>
                    <a:pt x="1942" y="565"/>
                  </a:lnTo>
                  <a:lnTo>
                    <a:pt x="1963" y="637"/>
                  </a:lnTo>
                  <a:lnTo>
                    <a:pt x="1984" y="711"/>
                  </a:lnTo>
                  <a:lnTo>
                    <a:pt x="2002" y="786"/>
                  </a:lnTo>
                  <a:lnTo>
                    <a:pt x="2020" y="861"/>
                  </a:lnTo>
                  <a:lnTo>
                    <a:pt x="2037" y="936"/>
                  </a:lnTo>
                  <a:lnTo>
                    <a:pt x="2050" y="1008"/>
                  </a:lnTo>
                  <a:lnTo>
                    <a:pt x="2064" y="1075"/>
                  </a:lnTo>
                  <a:lnTo>
                    <a:pt x="2076" y="1138"/>
                  </a:lnTo>
                  <a:lnTo>
                    <a:pt x="2085" y="1195"/>
                  </a:lnTo>
                  <a:lnTo>
                    <a:pt x="2094" y="1245"/>
                  </a:lnTo>
                  <a:lnTo>
                    <a:pt x="2092" y="1261"/>
                  </a:lnTo>
                  <a:lnTo>
                    <a:pt x="2085" y="1276"/>
                  </a:lnTo>
                  <a:lnTo>
                    <a:pt x="2071" y="1287"/>
                  </a:lnTo>
                  <a:lnTo>
                    <a:pt x="2055" y="1290"/>
                  </a:lnTo>
                  <a:lnTo>
                    <a:pt x="39" y="1290"/>
                  </a:lnTo>
                  <a:lnTo>
                    <a:pt x="22" y="1287"/>
                  </a:lnTo>
                  <a:lnTo>
                    <a:pt x="9" y="1276"/>
                  </a:lnTo>
                  <a:lnTo>
                    <a:pt x="1" y="1261"/>
                  </a:lnTo>
                  <a:lnTo>
                    <a:pt x="0" y="1245"/>
                  </a:lnTo>
                  <a:lnTo>
                    <a:pt x="7" y="1195"/>
                  </a:lnTo>
                  <a:lnTo>
                    <a:pt x="18" y="1138"/>
                  </a:lnTo>
                  <a:lnTo>
                    <a:pt x="28" y="1075"/>
                  </a:lnTo>
                  <a:lnTo>
                    <a:pt x="42" y="1008"/>
                  </a:lnTo>
                  <a:lnTo>
                    <a:pt x="57" y="936"/>
                  </a:lnTo>
                  <a:lnTo>
                    <a:pt x="73" y="861"/>
                  </a:lnTo>
                  <a:lnTo>
                    <a:pt x="90" y="786"/>
                  </a:lnTo>
                  <a:lnTo>
                    <a:pt x="109" y="711"/>
                  </a:lnTo>
                  <a:lnTo>
                    <a:pt x="129" y="637"/>
                  </a:lnTo>
                  <a:lnTo>
                    <a:pt x="151" y="565"/>
                  </a:lnTo>
                  <a:lnTo>
                    <a:pt x="174" y="498"/>
                  </a:lnTo>
                  <a:lnTo>
                    <a:pt x="198" y="435"/>
                  </a:lnTo>
                  <a:lnTo>
                    <a:pt x="223" y="378"/>
                  </a:lnTo>
                  <a:lnTo>
                    <a:pt x="249" y="327"/>
                  </a:lnTo>
                  <a:lnTo>
                    <a:pt x="277" y="286"/>
                  </a:lnTo>
                  <a:lnTo>
                    <a:pt x="295" y="265"/>
                  </a:lnTo>
                  <a:lnTo>
                    <a:pt x="319" y="243"/>
                  </a:lnTo>
                  <a:lnTo>
                    <a:pt x="349" y="219"/>
                  </a:lnTo>
                  <a:lnTo>
                    <a:pt x="382" y="195"/>
                  </a:lnTo>
                  <a:lnTo>
                    <a:pt x="417" y="169"/>
                  </a:lnTo>
                  <a:lnTo>
                    <a:pt x="454" y="145"/>
                  </a:lnTo>
                  <a:lnTo>
                    <a:pt x="491" y="121"/>
                  </a:lnTo>
                  <a:lnTo>
                    <a:pt x="529" y="99"/>
                  </a:lnTo>
                  <a:lnTo>
                    <a:pt x="565" y="76"/>
                  </a:lnTo>
                  <a:lnTo>
                    <a:pt x="599" y="57"/>
                  </a:lnTo>
                  <a:lnTo>
                    <a:pt x="629" y="40"/>
                  </a:lnTo>
                  <a:lnTo>
                    <a:pt x="656" y="25"/>
                  </a:lnTo>
                  <a:lnTo>
                    <a:pt x="679" y="13"/>
                  </a:lnTo>
                  <a:lnTo>
                    <a:pt x="694" y="4"/>
                  </a:lnTo>
                  <a:lnTo>
                    <a:pt x="709" y="0"/>
                  </a:lnTo>
                  <a:lnTo>
                    <a:pt x="724" y="1"/>
                  </a:lnTo>
                  <a:lnTo>
                    <a:pt x="737" y="9"/>
                  </a:lnTo>
                  <a:lnTo>
                    <a:pt x="785" y="43"/>
                  </a:lnTo>
                  <a:lnTo>
                    <a:pt x="836" y="70"/>
                  </a:lnTo>
                  <a:lnTo>
                    <a:pt x="889" y="93"/>
                  </a:lnTo>
                  <a:lnTo>
                    <a:pt x="943" y="108"/>
                  </a:lnTo>
                  <a:lnTo>
                    <a:pt x="955" y="114"/>
                  </a:lnTo>
                  <a:lnTo>
                    <a:pt x="965" y="121"/>
                  </a:lnTo>
                  <a:lnTo>
                    <a:pt x="971" y="133"/>
                  </a:lnTo>
                  <a:lnTo>
                    <a:pt x="1046" y="330"/>
                  </a:lnTo>
                  <a:lnTo>
                    <a:pt x="1121" y="133"/>
                  </a:lnTo>
                  <a:lnTo>
                    <a:pt x="1128" y="121"/>
                  </a:lnTo>
                  <a:lnTo>
                    <a:pt x="1137" y="114"/>
                  </a:lnTo>
                  <a:lnTo>
                    <a:pt x="1149" y="108"/>
                  </a:lnTo>
                  <a:lnTo>
                    <a:pt x="1203" y="93"/>
                  </a:lnTo>
                  <a:lnTo>
                    <a:pt x="1256" y="70"/>
                  </a:lnTo>
                  <a:lnTo>
                    <a:pt x="1307" y="43"/>
                  </a:lnTo>
                  <a:lnTo>
                    <a:pt x="1356" y="9"/>
                  </a:lnTo>
                  <a:lnTo>
                    <a:pt x="1370" y="1"/>
                  </a:lnTo>
                  <a:lnTo>
                    <a:pt x="138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1" name="Freeform 1142">
              <a:extLst>
                <a:ext uri="{FF2B5EF4-FFF2-40B4-BE49-F238E27FC236}">
                  <a16:creationId xmlns:a16="http://schemas.microsoft.com/office/drawing/2014/main" id="{4A9C7DC8-9222-AB3C-5D16-4E8E25B496FA}"/>
                </a:ext>
              </a:extLst>
            </p:cNvPr>
            <p:cNvSpPr>
              <a:spLocks/>
            </p:cNvSpPr>
            <p:nvPr/>
          </p:nvSpPr>
          <p:spPr bwMode="auto">
            <a:xfrm>
              <a:off x="2020" y="-1788"/>
              <a:ext cx="654" cy="637"/>
            </a:xfrm>
            <a:custGeom>
              <a:avLst/>
              <a:gdLst>
                <a:gd name="T0" fmla="*/ 816 w 1308"/>
                <a:gd name="T1" fmla="*/ 3 h 1273"/>
                <a:gd name="T2" fmla="*/ 945 w 1308"/>
                <a:gd name="T3" fmla="*/ 18 h 1273"/>
                <a:gd name="T4" fmla="*/ 1049 w 1308"/>
                <a:gd name="T5" fmla="*/ 49 h 1273"/>
                <a:gd name="T6" fmla="*/ 1131 w 1308"/>
                <a:gd name="T7" fmla="*/ 96 h 1273"/>
                <a:gd name="T8" fmla="*/ 1194 w 1308"/>
                <a:gd name="T9" fmla="*/ 153 h 1273"/>
                <a:gd name="T10" fmla="*/ 1241 w 1308"/>
                <a:gd name="T11" fmla="*/ 222 h 1273"/>
                <a:gd name="T12" fmla="*/ 1272 w 1308"/>
                <a:gd name="T13" fmla="*/ 301 h 1273"/>
                <a:gd name="T14" fmla="*/ 1293 w 1308"/>
                <a:gd name="T15" fmla="*/ 388 h 1273"/>
                <a:gd name="T16" fmla="*/ 1303 w 1308"/>
                <a:gd name="T17" fmla="*/ 484 h 1273"/>
                <a:gd name="T18" fmla="*/ 1308 w 1308"/>
                <a:gd name="T19" fmla="*/ 585 h 1273"/>
                <a:gd name="T20" fmla="*/ 1305 w 1308"/>
                <a:gd name="T21" fmla="*/ 711 h 1273"/>
                <a:gd name="T22" fmla="*/ 1275 w 1308"/>
                <a:gd name="T23" fmla="*/ 852 h 1273"/>
                <a:gd name="T24" fmla="*/ 1221 w 1308"/>
                <a:gd name="T25" fmla="*/ 978 h 1273"/>
                <a:gd name="T26" fmla="*/ 1143 w 1308"/>
                <a:gd name="T27" fmla="*/ 1087 h 1273"/>
                <a:gd name="T28" fmla="*/ 1046 w 1308"/>
                <a:gd name="T29" fmla="*/ 1174 h 1273"/>
                <a:gd name="T30" fmla="*/ 933 w 1308"/>
                <a:gd name="T31" fmla="*/ 1236 h 1273"/>
                <a:gd name="T32" fmla="*/ 809 w 1308"/>
                <a:gd name="T33" fmla="*/ 1269 h 1273"/>
                <a:gd name="T34" fmla="*/ 677 w 1308"/>
                <a:gd name="T35" fmla="*/ 1269 h 1273"/>
                <a:gd name="T36" fmla="*/ 553 w 1308"/>
                <a:gd name="T37" fmla="*/ 1236 h 1273"/>
                <a:gd name="T38" fmla="*/ 440 w 1308"/>
                <a:gd name="T39" fmla="*/ 1174 h 1273"/>
                <a:gd name="T40" fmla="*/ 344 w 1308"/>
                <a:gd name="T41" fmla="*/ 1087 h 1273"/>
                <a:gd name="T42" fmla="*/ 266 w 1308"/>
                <a:gd name="T43" fmla="*/ 978 h 1273"/>
                <a:gd name="T44" fmla="*/ 211 w 1308"/>
                <a:gd name="T45" fmla="*/ 852 h 1273"/>
                <a:gd name="T46" fmla="*/ 182 w 1308"/>
                <a:gd name="T47" fmla="*/ 711 h 1273"/>
                <a:gd name="T48" fmla="*/ 179 w 1308"/>
                <a:gd name="T49" fmla="*/ 576 h 1273"/>
                <a:gd name="T50" fmla="*/ 136 w 1308"/>
                <a:gd name="T51" fmla="*/ 615 h 1273"/>
                <a:gd name="T52" fmla="*/ 106 w 1308"/>
                <a:gd name="T53" fmla="*/ 666 h 1273"/>
                <a:gd name="T54" fmla="*/ 97 w 1308"/>
                <a:gd name="T55" fmla="*/ 735 h 1273"/>
                <a:gd name="T56" fmla="*/ 117 w 1308"/>
                <a:gd name="T57" fmla="*/ 813 h 1273"/>
                <a:gd name="T58" fmla="*/ 158 w 1308"/>
                <a:gd name="T59" fmla="*/ 864 h 1273"/>
                <a:gd name="T60" fmla="*/ 199 w 1308"/>
                <a:gd name="T61" fmla="*/ 913 h 1273"/>
                <a:gd name="T62" fmla="*/ 211 w 1308"/>
                <a:gd name="T63" fmla="*/ 946 h 1273"/>
                <a:gd name="T64" fmla="*/ 205 w 1308"/>
                <a:gd name="T65" fmla="*/ 981 h 1273"/>
                <a:gd name="T66" fmla="*/ 182 w 1308"/>
                <a:gd name="T67" fmla="*/ 1006 h 1273"/>
                <a:gd name="T68" fmla="*/ 145 w 1308"/>
                <a:gd name="T69" fmla="*/ 1018 h 1273"/>
                <a:gd name="T70" fmla="*/ 105 w 1308"/>
                <a:gd name="T71" fmla="*/ 1005 h 1273"/>
                <a:gd name="T72" fmla="*/ 66 w 1308"/>
                <a:gd name="T73" fmla="*/ 957 h 1273"/>
                <a:gd name="T74" fmla="*/ 55 w 1308"/>
                <a:gd name="T75" fmla="*/ 921 h 1273"/>
                <a:gd name="T76" fmla="*/ 31 w 1308"/>
                <a:gd name="T77" fmla="*/ 855 h 1273"/>
                <a:gd name="T78" fmla="*/ 3 w 1308"/>
                <a:gd name="T79" fmla="*/ 762 h 1273"/>
                <a:gd name="T80" fmla="*/ 4 w 1308"/>
                <a:gd name="T81" fmla="*/ 673 h 1273"/>
                <a:gd name="T82" fmla="*/ 36 w 1308"/>
                <a:gd name="T83" fmla="*/ 591 h 1273"/>
                <a:gd name="T84" fmla="*/ 90 w 1308"/>
                <a:gd name="T85" fmla="*/ 525 h 1273"/>
                <a:gd name="T86" fmla="*/ 154 w 1308"/>
                <a:gd name="T87" fmla="*/ 477 h 1273"/>
                <a:gd name="T88" fmla="*/ 191 w 1308"/>
                <a:gd name="T89" fmla="*/ 409 h 1273"/>
                <a:gd name="T90" fmla="*/ 211 w 1308"/>
                <a:gd name="T91" fmla="*/ 318 h 1273"/>
                <a:gd name="T92" fmla="*/ 241 w 1308"/>
                <a:gd name="T93" fmla="*/ 234 h 1273"/>
                <a:gd name="T94" fmla="*/ 286 w 1308"/>
                <a:gd name="T95" fmla="*/ 162 h 1273"/>
                <a:gd name="T96" fmla="*/ 349 w 1308"/>
                <a:gd name="T97" fmla="*/ 100 h 1273"/>
                <a:gd name="T98" fmla="*/ 431 w 1308"/>
                <a:gd name="T99" fmla="*/ 52 h 1273"/>
                <a:gd name="T100" fmla="*/ 538 w 1308"/>
                <a:gd name="T101" fmla="*/ 19 h 1273"/>
                <a:gd name="T102" fmla="*/ 668 w 1308"/>
                <a:gd name="T103" fmla="*/ 3 h 1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8" h="1273">
                  <a:moveTo>
                    <a:pt x="743" y="0"/>
                  </a:moveTo>
                  <a:lnTo>
                    <a:pt x="816" y="3"/>
                  </a:lnTo>
                  <a:lnTo>
                    <a:pt x="884" y="9"/>
                  </a:lnTo>
                  <a:lnTo>
                    <a:pt x="945" y="18"/>
                  </a:lnTo>
                  <a:lnTo>
                    <a:pt x="999" y="33"/>
                  </a:lnTo>
                  <a:lnTo>
                    <a:pt x="1049" y="49"/>
                  </a:lnTo>
                  <a:lnTo>
                    <a:pt x="1092" y="72"/>
                  </a:lnTo>
                  <a:lnTo>
                    <a:pt x="1131" y="96"/>
                  </a:lnTo>
                  <a:lnTo>
                    <a:pt x="1164" y="123"/>
                  </a:lnTo>
                  <a:lnTo>
                    <a:pt x="1194" y="153"/>
                  </a:lnTo>
                  <a:lnTo>
                    <a:pt x="1218" y="186"/>
                  </a:lnTo>
                  <a:lnTo>
                    <a:pt x="1241" y="222"/>
                  </a:lnTo>
                  <a:lnTo>
                    <a:pt x="1257" y="261"/>
                  </a:lnTo>
                  <a:lnTo>
                    <a:pt x="1272" y="301"/>
                  </a:lnTo>
                  <a:lnTo>
                    <a:pt x="1284" y="345"/>
                  </a:lnTo>
                  <a:lnTo>
                    <a:pt x="1293" y="388"/>
                  </a:lnTo>
                  <a:lnTo>
                    <a:pt x="1299" y="435"/>
                  </a:lnTo>
                  <a:lnTo>
                    <a:pt x="1303" y="484"/>
                  </a:lnTo>
                  <a:lnTo>
                    <a:pt x="1306" y="534"/>
                  </a:lnTo>
                  <a:lnTo>
                    <a:pt x="1308" y="585"/>
                  </a:lnTo>
                  <a:lnTo>
                    <a:pt x="1308" y="637"/>
                  </a:lnTo>
                  <a:lnTo>
                    <a:pt x="1305" y="711"/>
                  </a:lnTo>
                  <a:lnTo>
                    <a:pt x="1293" y="783"/>
                  </a:lnTo>
                  <a:lnTo>
                    <a:pt x="1275" y="852"/>
                  </a:lnTo>
                  <a:lnTo>
                    <a:pt x="1251" y="916"/>
                  </a:lnTo>
                  <a:lnTo>
                    <a:pt x="1221" y="978"/>
                  </a:lnTo>
                  <a:lnTo>
                    <a:pt x="1184" y="1035"/>
                  </a:lnTo>
                  <a:lnTo>
                    <a:pt x="1143" y="1087"/>
                  </a:lnTo>
                  <a:lnTo>
                    <a:pt x="1097" y="1134"/>
                  </a:lnTo>
                  <a:lnTo>
                    <a:pt x="1046" y="1174"/>
                  </a:lnTo>
                  <a:lnTo>
                    <a:pt x="992" y="1209"/>
                  </a:lnTo>
                  <a:lnTo>
                    <a:pt x="933" y="1236"/>
                  </a:lnTo>
                  <a:lnTo>
                    <a:pt x="873" y="1257"/>
                  </a:lnTo>
                  <a:lnTo>
                    <a:pt x="809" y="1269"/>
                  </a:lnTo>
                  <a:lnTo>
                    <a:pt x="743" y="1273"/>
                  </a:lnTo>
                  <a:lnTo>
                    <a:pt x="677" y="1269"/>
                  </a:lnTo>
                  <a:lnTo>
                    <a:pt x="614" y="1257"/>
                  </a:lnTo>
                  <a:lnTo>
                    <a:pt x="553" y="1236"/>
                  </a:lnTo>
                  <a:lnTo>
                    <a:pt x="494" y="1209"/>
                  </a:lnTo>
                  <a:lnTo>
                    <a:pt x="440" y="1174"/>
                  </a:lnTo>
                  <a:lnTo>
                    <a:pt x="389" y="1134"/>
                  </a:lnTo>
                  <a:lnTo>
                    <a:pt x="344" y="1087"/>
                  </a:lnTo>
                  <a:lnTo>
                    <a:pt x="302" y="1035"/>
                  </a:lnTo>
                  <a:lnTo>
                    <a:pt x="266" y="978"/>
                  </a:lnTo>
                  <a:lnTo>
                    <a:pt x="236" y="916"/>
                  </a:lnTo>
                  <a:lnTo>
                    <a:pt x="211" y="852"/>
                  </a:lnTo>
                  <a:lnTo>
                    <a:pt x="193" y="783"/>
                  </a:lnTo>
                  <a:lnTo>
                    <a:pt x="182" y="711"/>
                  </a:lnTo>
                  <a:lnTo>
                    <a:pt x="178" y="637"/>
                  </a:lnTo>
                  <a:lnTo>
                    <a:pt x="179" y="576"/>
                  </a:lnTo>
                  <a:lnTo>
                    <a:pt x="157" y="594"/>
                  </a:lnTo>
                  <a:lnTo>
                    <a:pt x="136" y="615"/>
                  </a:lnTo>
                  <a:lnTo>
                    <a:pt x="120" y="639"/>
                  </a:lnTo>
                  <a:lnTo>
                    <a:pt x="106" y="666"/>
                  </a:lnTo>
                  <a:lnTo>
                    <a:pt x="97" y="699"/>
                  </a:lnTo>
                  <a:lnTo>
                    <a:pt x="97" y="735"/>
                  </a:lnTo>
                  <a:lnTo>
                    <a:pt x="103" y="772"/>
                  </a:lnTo>
                  <a:lnTo>
                    <a:pt x="117" y="813"/>
                  </a:lnTo>
                  <a:lnTo>
                    <a:pt x="139" y="855"/>
                  </a:lnTo>
                  <a:lnTo>
                    <a:pt x="158" y="864"/>
                  </a:lnTo>
                  <a:lnTo>
                    <a:pt x="175" y="880"/>
                  </a:lnTo>
                  <a:lnTo>
                    <a:pt x="199" y="913"/>
                  </a:lnTo>
                  <a:lnTo>
                    <a:pt x="206" y="930"/>
                  </a:lnTo>
                  <a:lnTo>
                    <a:pt x="211" y="946"/>
                  </a:lnTo>
                  <a:lnTo>
                    <a:pt x="209" y="964"/>
                  </a:lnTo>
                  <a:lnTo>
                    <a:pt x="205" y="981"/>
                  </a:lnTo>
                  <a:lnTo>
                    <a:pt x="196" y="994"/>
                  </a:lnTo>
                  <a:lnTo>
                    <a:pt x="182" y="1006"/>
                  </a:lnTo>
                  <a:lnTo>
                    <a:pt x="164" y="1015"/>
                  </a:lnTo>
                  <a:lnTo>
                    <a:pt x="145" y="1018"/>
                  </a:lnTo>
                  <a:lnTo>
                    <a:pt x="123" y="1015"/>
                  </a:lnTo>
                  <a:lnTo>
                    <a:pt x="105" y="1005"/>
                  </a:lnTo>
                  <a:lnTo>
                    <a:pt x="90" y="990"/>
                  </a:lnTo>
                  <a:lnTo>
                    <a:pt x="66" y="957"/>
                  </a:lnTo>
                  <a:lnTo>
                    <a:pt x="58" y="939"/>
                  </a:lnTo>
                  <a:lnTo>
                    <a:pt x="55" y="921"/>
                  </a:lnTo>
                  <a:lnTo>
                    <a:pt x="57" y="903"/>
                  </a:lnTo>
                  <a:lnTo>
                    <a:pt x="31" y="855"/>
                  </a:lnTo>
                  <a:lnTo>
                    <a:pt x="13" y="807"/>
                  </a:lnTo>
                  <a:lnTo>
                    <a:pt x="3" y="762"/>
                  </a:lnTo>
                  <a:lnTo>
                    <a:pt x="0" y="717"/>
                  </a:lnTo>
                  <a:lnTo>
                    <a:pt x="4" y="673"/>
                  </a:lnTo>
                  <a:lnTo>
                    <a:pt x="16" y="631"/>
                  </a:lnTo>
                  <a:lnTo>
                    <a:pt x="36" y="591"/>
                  </a:lnTo>
                  <a:lnTo>
                    <a:pt x="61" y="556"/>
                  </a:lnTo>
                  <a:lnTo>
                    <a:pt x="90" y="525"/>
                  </a:lnTo>
                  <a:lnTo>
                    <a:pt x="121" y="498"/>
                  </a:lnTo>
                  <a:lnTo>
                    <a:pt x="154" y="477"/>
                  </a:lnTo>
                  <a:lnTo>
                    <a:pt x="185" y="457"/>
                  </a:lnTo>
                  <a:lnTo>
                    <a:pt x="191" y="409"/>
                  </a:lnTo>
                  <a:lnTo>
                    <a:pt x="199" y="363"/>
                  </a:lnTo>
                  <a:lnTo>
                    <a:pt x="211" y="318"/>
                  </a:lnTo>
                  <a:lnTo>
                    <a:pt x="224" y="274"/>
                  </a:lnTo>
                  <a:lnTo>
                    <a:pt x="241" y="234"/>
                  </a:lnTo>
                  <a:lnTo>
                    <a:pt x="262" y="196"/>
                  </a:lnTo>
                  <a:lnTo>
                    <a:pt x="286" y="162"/>
                  </a:lnTo>
                  <a:lnTo>
                    <a:pt x="316" y="130"/>
                  </a:lnTo>
                  <a:lnTo>
                    <a:pt x="349" y="100"/>
                  </a:lnTo>
                  <a:lnTo>
                    <a:pt x="388" y="75"/>
                  </a:lnTo>
                  <a:lnTo>
                    <a:pt x="431" y="52"/>
                  </a:lnTo>
                  <a:lnTo>
                    <a:pt x="481" y="34"/>
                  </a:lnTo>
                  <a:lnTo>
                    <a:pt x="538" y="19"/>
                  </a:lnTo>
                  <a:lnTo>
                    <a:pt x="599" y="9"/>
                  </a:lnTo>
                  <a:lnTo>
                    <a:pt x="668" y="3"/>
                  </a:lnTo>
                  <a:lnTo>
                    <a:pt x="74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2" name="Freeform 1143">
              <a:extLst>
                <a:ext uri="{FF2B5EF4-FFF2-40B4-BE49-F238E27FC236}">
                  <a16:creationId xmlns:a16="http://schemas.microsoft.com/office/drawing/2014/main" id="{EAD7D9B6-2EF0-1394-A32E-0FC6E2A69723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" y="-2288"/>
              <a:ext cx="2064" cy="1780"/>
            </a:xfrm>
            <a:custGeom>
              <a:avLst/>
              <a:gdLst>
                <a:gd name="T0" fmla="*/ 4016 w 4127"/>
                <a:gd name="T1" fmla="*/ 0 h 3560"/>
                <a:gd name="T2" fmla="*/ 4071 w 4127"/>
                <a:gd name="T3" fmla="*/ 15 h 3560"/>
                <a:gd name="T4" fmla="*/ 4112 w 4127"/>
                <a:gd name="T5" fmla="*/ 56 h 3560"/>
                <a:gd name="T6" fmla="*/ 4127 w 4127"/>
                <a:gd name="T7" fmla="*/ 111 h 3560"/>
                <a:gd name="T8" fmla="*/ 4065 w 4127"/>
                <a:gd name="T9" fmla="*/ 839 h 3560"/>
                <a:gd name="T10" fmla="*/ 3935 w 4127"/>
                <a:gd name="T11" fmla="*/ 824 h 3560"/>
                <a:gd name="T12" fmla="*/ 3814 w 4127"/>
                <a:gd name="T13" fmla="*/ 822 h 3560"/>
                <a:gd name="T14" fmla="*/ 3766 w 4127"/>
                <a:gd name="T15" fmla="*/ 309 h 3560"/>
                <a:gd name="T16" fmla="*/ 361 w 4127"/>
                <a:gd name="T17" fmla="*/ 2423 h 3560"/>
                <a:gd name="T18" fmla="*/ 2908 w 4127"/>
                <a:gd name="T19" fmla="*/ 2471 h 3560"/>
                <a:gd name="T20" fmla="*/ 2850 w 4127"/>
                <a:gd name="T21" fmla="*/ 2589 h 3560"/>
                <a:gd name="T22" fmla="*/ 2797 w 4127"/>
                <a:gd name="T23" fmla="*/ 2730 h 3560"/>
                <a:gd name="T24" fmla="*/ 2645 w 4127"/>
                <a:gd name="T25" fmla="*/ 2783 h 3560"/>
                <a:gd name="T26" fmla="*/ 2672 w 4127"/>
                <a:gd name="T27" fmla="*/ 2909 h 3560"/>
                <a:gd name="T28" fmla="*/ 2709 w 4127"/>
                <a:gd name="T29" fmla="*/ 3057 h 3560"/>
                <a:gd name="T30" fmla="*/ 2667 w 4127"/>
                <a:gd name="T31" fmla="*/ 3260 h 3560"/>
                <a:gd name="T32" fmla="*/ 2634 w 4127"/>
                <a:gd name="T33" fmla="*/ 3456 h 3560"/>
                <a:gd name="T34" fmla="*/ 2634 w 4127"/>
                <a:gd name="T35" fmla="*/ 3527 h 3560"/>
                <a:gd name="T36" fmla="*/ 1390 w 4127"/>
                <a:gd name="T37" fmla="*/ 3560 h 3560"/>
                <a:gd name="T38" fmla="*/ 1338 w 4127"/>
                <a:gd name="T39" fmla="*/ 3546 h 3560"/>
                <a:gd name="T40" fmla="*/ 1297 w 4127"/>
                <a:gd name="T41" fmla="*/ 3509 h 3560"/>
                <a:gd name="T42" fmla="*/ 1279 w 4127"/>
                <a:gd name="T43" fmla="*/ 3456 h 3560"/>
                <a:gd name="T44" fmla="*/ 1290 w 4127"/>
                <a:gd name="T45" fmla="*/ 3402 h 3560"/>
                <a:gd name="T46" fmla="*/ 1360 w 4127"/>
                <a:gd name="T47" fmla="*/ 3230 h 3560"/>
                <a:gd name="T48" fmla="*/ 1414 w 4127"/>
                <a:gd name="T49" fmla="*/ 3065 h 3560"/>
                <a:gd name="T50" fmla="*/ 1453 w 4127"/>
                <a:gd name="T51" fmla="*/ 2913 h 3560"/>
                <a:gd name="T52" fmla="*/ 1480 w 4127"/>
                <a:gd name="T53" fmla="*/ 2784 h 3560"/>
                <a:gd name="T54" fmla="*/ 110 w 4127"/>
                <a:gd name="T55" fmla="*/ 2730 h 3560"/>
                <a:gd name="T56" fmla="*/ 55 w 4127"/>
                <a:gd name="T57" fmla="*/ 2715 h 3560"/>
                <a:gd name="T58" fmla="*/ 14 w 4127"/>
                <a:gd name="T59" fmla="*/ 2676 h 3560"/>
                <a:gd name="T60" fmla="*/ 0 w 4127"/>
                <a:gd name="T61" fmla="*/ 2619 h 3560"/>
                <a:gd name="T62" fmla="*/ 4 w 4127"/>
                <a:gd name="T63" fmla="*/ 83 h 3560"/>
                <a:gd name="T64" fmla="*/ 32 w 4127"/>
                <a:gd name="T65" fmla="*/ 33 h 3560"/>
                <a:gd name="T66" fmla="*/ 80 w 4127"/>
                <a:gd name="T67" fmla="*/ 5 h 3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127" h="3560">
                  <a:moveTo>
                    <a:pt x="110" y="0"/>
                  </a:moveTo>
                  <a:lnTo>
                    <a:pt x="4016" y="0"/>
                  </a:lnTo>
                  <a:lnTo>
                    <a:pt x="4044" y="5"/>
                  </a:lnTo>
                  <a:lnTo>
                    <a:pt x="4071" y="15"/>
                  </a:lnTo>
                  <a:lnTo>
                    <a:pt x="4094" y="33"/>
                  </a:lnTo>
                  <a:lnTo>
                    <a:pt x="4112" y="56"/>
                  </a:lnTo>
                  <a:lnTo>
                    <a:pt x="4122" y="83"/>
                  </a:lnTo>
                  <a:lnTo>
                    <a:pt x="4127" y="111"/>
                  </a:lnTo>
                  <a:lnTo>
                    <a:pt x="4127" y="851"/>
                  </a:lnTo>
                  <a:lnTo>
                    <a:pt x="4065" y="839"/>
                  </a:lnTo>
                  <a:lnTo>
                    <a:pt x="4002" y="830"/>
                  </a:lnTo>
                  <a:lnTo>
                    <a:pt x="3935" y="824"/>
                  </a:lnTo>
                  <a:lnTo>
                    <a:pt x="3863" y="822"/>
                  </a:lnTo>
                  <a:lnTo>
                    <a:pt x="3814" y="822"/>
                  </a:lnTo>
                  <a:lnTo>
                    <a:pt x="3766" y="825"/>
                  </a:lnTo>
                  <a:lnTo>
                    <a:pt x="3766" y="309"/>
                  </a:lnTo>
                  <a:lnTo>
                    <a:pt x="361" y="309"/>
                  </a:lnTo>
                  <a:lnTo>
                    <a:pt x="361" y="2423"/>
                  </a:lnTo>
                  <a:lnTo>
                    <a:pt x="2941" y="2423"/>
                  </a:lnTo>
                  <a:lnTo>
                    <a:pt x="2908" y="2471"/>
                  </a:lnTo>
                  <a:lnTo>
                    <a:pt x="2878" y="2526"/>
                  </a:lnTo>
                  <a:lnTo>
                    <a:pt x="2850" y="2589"/>
                  </a:lnTo>
                  <a:lnTo>
                    <a:pt x="2823" y="2657"/>
                  </a:lnTo>
                  <a:lnTo>
                    <a:pt x="2797" y="2730"/>
                  </a:lnTo>
                  <a:lnTo>
                    <a:pt x="2636" y="2730"/>
                  </a:lnTo>
                  <a:lnTo>
                    <a:pt x="2645" y="2783"/>
                  </a:lnTo>
                  <a:lnTo>
                    <a:pt x="2657" y="2843"/>
                  </a:lnTo>
                  <a:lnTo>
                    <a:pt x="2672" y="2909"/>
                  </a:lnTo>
                  <a:lnTo>
                    <a:pt x="2688" y="2981"/>
                  </a:lnTo>
                  <a:lnTo>
                    <a:pt x="2709" y="3057"/>
                  </a:lnTo>
                  <a:lnTo>
                    <a:pt x="2688" y="3159"/>
                  </a:lnTo>
                  <a:lnTo>
                    <a:pt x="2667" y="3260"/>
                  </a:lnTo>
                  <a:lnTo>
                    <a:pt x="2649" y="3360"/>
                  </a:lnTo>
                  <a:lnTo>
                    <a:pt x="2634" y="3456"/>
                  </a:lnTo>
                  <a:lnTo>
                    <a:pt x="2631" y="3491"/>
                  </a:lnTo>
                  <a:lnTo>
                    <a:pt x="2634" y="3527"/>
                  </a:lnTo>
                  <a:lnTo>
                    <a:pt x="2642" y="3560"/>
                  </a:lnTo>
                  <a:lnTo>
                    <a:pt x="1390" y="3560"/>
                  </a:lnTo>
                  <a:lnTo>
                    <a:pt x="1363" y="3557"/>
                  </a:lnTo>
                  <a:lnTo>
                    <a:pt x="1338" y="3546"/>
                  </a:lnTo>
                  <a:lnTo>
                    <a:pt x="1315" y="3531"/>
                  </a:lnTo>
                  <a:lnTo>
                    <a:pt x="1297" y="3509"/>
                  </a:lnTo>
                  <a:lnTo>
                    <a:pt x="1285" y="3483"/>
                  </a:lnTo>
                  <a:lnTo>
                    <a:pt x="1279" y="3456"/>
                  </a:lnTo>
                  <a:lnTo>
                    <a:pt x="1281" y="3429"/>
                  </a:lnTo>
                  <a:lnTo>
                    <a:pt x="1290" y="3402"/>
                  </a:lnTo>
                  <a:lnTo>
                    <a:pt x="1327" y="3317"/>
                  </a:lnTo>
                  <a:lnTo>
                    <a:pt x="1360" y="3230"/>
                  </a:lnTo>
                  <a:lnTo>
                    <a:pt x="1389" y="3146"/>
                  </a:lnTo>
                  <a:lnTo>
                    <a:pt x="1414" y="3065"/>
                  </a:lnTo>
                  <a:lnTo>
                    <a:pt x="1435" y="2987"/>
                  </a:lnTo>
                  <a:lnTo>
                    <a:pt x="1453" y="2913"/>
                  </a:lnTo>
                  <a:lnTo>
                    <a:pt x="1468" y="2846"/>
                  </a:lnTo>
                  <a:lnTo>
                    <a:pt x="1480" y="2784"/>
                  </a:lnTo>
                  <a:lnTo>
                    <a:pt x="1491" y="2730"/>
                  </a:lnTo>
                  <a:lnTo>
                    <a:pt x="110" y="2730"/>
                  </a:lnTo>
                  <a:lnTo>
                    <a:pt x="80" y="2727"/>
                  </a:lnTo>
                  <a:lnTo>
                    <a:pt x="55" y="2715"/>
                  </a:lnTo>
                  <a:lnTo>
                    <a:pt x="32" y="2699"/>
                  </a:lnTo>
                  <a:lnTo>
                    <a:pt x="14" y="2676"/>
                  </a:lnTo>
                  <a:lnTo>
                    <a:pt x="4" y="2649"/>
                  </a:lnTo>
                  <a:lnTo>
                    <a:pt x="0" y="2619"/>
                  </a:lnTo>
                  <a:lnTo>
                    <a:pt x="0" y="111"/>
                  </a:lnTo>
                  <a:lnTo>
                    <a:pt x="4" y="83"/>
                  </a:lnTo>
                  <a:lnTo>
                    <a:pt x="14" y="56"/>
                  </a:lnTo>
                  <a:lnTo>
                    <a:pt x="32" y="33"/>
                  </a:lnTo>
                  <a:lnTo>
                    <a:pt x="55" y="15"/>
                  </a:lnTo>
                  <a:lnTo>
                    <a:pt x="80" y="5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3" name="Freeform 1144">
              <a:extLst>
                <a:ext uri="{FF2B5EF4-FFF2-40B4-BE49-F238E27FC236}">
                  <a16:creationId xmlns:a16="http://schemas.microsoft.com/office/drawing/2014/main" id="{29B5B25F-5019-D981-34AD-475AE6A7C02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" y="-1933"/>
              <a:ext cx="1291" cy="541"/>
            </a:xfrm>
            <a:custGeom>
              <a:avLst/>
              <a:gdLst>
                <a:gd name="T0" fmla="*/ 1506 w 2580"/>
                <a:gd name="T1" fmla="*/ 0 h 1083"/>
                <a:gd name="T2" fmla="*/ 1528 w 2580"/>
                <a:gd name="T3" fmla="*/ 1 h 1083"/>
                <a:gd name="T4" fmla="*/ 1549 w 2580"/>
                <a:gd name="T5" fmla="*/ 10 h 1083"/>
                <a:gd name="T6" fmla="*/ 1566 w 2580"/>
                <a:gd name="T7" fmla="*/ 22 h 1083"/>
                <a:gd name="T8" fmla="*/ 1579 w 2580"/>
                <a:gd name="T9" fmla="*/ 40 h 1083"/>
                <a:gd name="T10" fmla="*/ 1859 w 2580"/>
                <a:gd name="T11" fmla="*/ 514 h 1083"/>
                <a:gd name="T12" fmla="*/ 1859 w 2580"/>
                <a:gd name="T13" fmla="*/ 514 h 1083"/>
                <a:gd name="T14" fmla="*/ 2496 w 2580"/>
                <a:gd name="T15" fmla="*/ 514 h 1083"/>
                <a:gd name="T16" fmla="*/ 2523 w 2580"/>
                <a:gd name="T17" fmla="*/ 519 h 1083"/>
                <a:gd name="T18" fmla="*/ 2546 w 2580"/>
                <a:gd name="T19" fmla="*/ 531 h 1083"/>
                <a:gd name="T20" fmla="*/ 2564 w 2580"/>
                <a:gd name="T21" fmla="*/ 549 h 1083"/>
                <a:gd name="T22" fmla="*/ 2576 w 2580"/>
                <a:gd name="T23" fmla="*/ 571 h 1083"/>
                <a:gd name="T24" fmla="*/ 2580 w 2580"/>
                <a:gd name="T25" fmla="*/ 598 h 1083"/>
                <a:gd name="T26" fmla="*/ 2576 w 2580"/>
                <a:gd name="T27" fmla="*/ 624 h 1083"/>
                <a:gd name="T28" fmla="*/ 2564 w 2580"/>
                <a:gd name="T29" fmla="*/ 646 h 1083"/>
                <a:gd name="T30" fmla="*/ 2546 w 2580"/>
                <a:gd name="T31" fmla="*/ 664 h 1083"/>
                <a:gd name="T32" fmla="*/ 2523 w 2580"/>
                <a:gd name="T33" fmla="*/ 676 h 1083"/>
                <a:gd name="T34" fmla="*/ 2496 w 2580"/>
                <a:gd name="T35" fmla="*/ 681 h 1083"/>
                <a:gd name="T36" fmla="*/ 1811 w 2580"/>
                <a:gd name="T37" fmla="*/ 681 h 1083"/>
                <a:gd name="T38" fmla="*/ 1789 w 2580"/>
                <a:gd name="T39" fmla="*/ 678 h 1083"/>
                <a:gd name="T40" fmla="*/ 1769 w 2580"/>
                <a:gd name="T41" fmla="*/ 670 h 1083"/>
                <a:gd name="T42" fmla="*/ 1753 w 2580"/>
                <a:gd name="T43" fmla="*/ 657 h 1083"/>
                <a:gd name="T44" fmla="*/ 1739 w 2580"/>
                <a:gd name="T45" fmla="*/ 640 h 1083"/>
                <a:gd name="T46" fmla="*/ 1513 w 2580"/>
                <a:gd name="T47" fmla="*/ 255 h 1083"/>
                <a:gd name="T48" fmla="*/ 1104 w 2580"/>
                <a:gd name="T49" fmla="*/ 1038 h 1083"/>
                <a:gd name="T50" fmla="*/ 1092 w 2580"/>
                <a:gd name="T51" fmla="*/ 1054 h 1083"/>
                <a:gd name="T52" fmla="*/ 1077 w 2580"/>
                <a:gd name="T53" fmla="*/ 1068 h 1083"/>
                <a:gd name="T54" fmla="*/ 1059 w 2580"/>
                <a:gd name="T55" fmla="*/ 1078 h 1083"/>
                <a:gd name="T56" fmla="*/ 1038 w 2580"/>
                <a:gd name="T57" fmla="*/ 1083 h 1083"/>
                <a:gd name="T58" fmla="*/ 1031 w 2580"/>
                <a:gd name="T59" fmla="*/ 1083 h 1083"/>
                <a:gd name="T60" fmla="*/ 1005 w 2580"/>
                <a:gd name="T61" fmla="*/ 1078 h 1083"/>
                <a:gd name="T62" fmla="*/ 984 w 2580"/>
                <a:gd name="T63" fmla="*/ 1068 h 1083"/>
                <a:gd name="T64" fmla="*/ 965 w 2580"/>
                <a:gd name="T65" fmla="*/ 1051 h 1083"/>
                <a:gd name="T66" fmla="*/ 669 w 2580"/>
                <a:gd name="T67" fmla="*/ 681 h 1083"/>
                <a:gd name="T68" fmla="*/ 82 w 2580"/>
                <a:gd name="T69" fmla="*/ 681 h 1083"/>
                <a:gd name="T70" fmla="*/ 56 w 2580"/>
                <a:gd name="T71" fmla="*/ 676 h 1083"/>
                <a:gd name="T72" fmla="*/ 34 w 2580"/>
                <a:gd name="T73" fmla="*/ 664 h 1083"/>
                <a:gd name="T74" fmla="*/ 16 w 2580"/>
                <a:gd name="T75" fmla="*/ 646 h 1083"/>
                <a:gd name="T76" fmla="*/ 4 w 2580"/>
                <a:gd name="T77" fmla="*/ 624 h 1083"/>
                <a:gd name="T78" fmla="*/ 0 w 2580"/>
                <a:gd name="T79" fmla="*/ 598 h 1083"/>
                <a:gd name="T80" fmla="*/ 4 w 2580"/>
                <a:gd name="T81" fmla="*/ 571 h 1083"/>
                <a:gd name="T82" fmla="*/ 16 w 2580"/>
                <a:gd name="T83" fmla="*/ 549 h 1083"/>
                <a:gd name="T84" fmla="*/ 34 w 2580"/>
                <a:gd name="T85" fmla="*/ 531 h 1083"/>
                <a:gd name="T86" fmla="*/ 56 w 2580"/>
                <a:gd name="T87" fmla="*/ 519 h 1083"/>
                <a:gd name="T88" fmla="*/ 82 w 2580"/>
                <a:gd name="T89" fmla="*/ 514 h 1083"/>
                <a:gd name="T90" fmla="*/ 710 w 2580"/>
                <a:gd name="T91" fmla="*/ 514 h 1083"/>
                <a:gd name="T92" fmla="*/ 735 w 2580"/>
                <a:gd name="T93" fmla="*/ 519 h 1083"/>
                <a:gd name="T94" fmla="*/ 756 w 2580"/>
                <a:gd name="T95" fmla="*/ 529 h 1083"/>
                <a:gd name="T96" fmla="*/ 776 w 2580"/>
                <a:gd name="T97" fmla="*/ 546 h 1083"/>
                <a:gd name="T98" fmla="*/ 1016 w 2580"/>
                <a:gd name="T99" fmla="*/ 847 h 1083"/>
                <a:gd name="T100" fmla="*/ 1434 w 2580"/>
                <a:gd name="T101" fmla="*/ 45 h 1083"/>
                <a:gd name="T102" fmla="*/ 1447 w 2580"/>
                <a:gd name="T103" fmla="*/ 27 h 1083"/>
                <a:gd name="T104" fmla="*/ 1464 w 2580"/>
                <a:gd name="T105" fmla="*/ 12 h 1083"/>
                <a:gd name="T106" fmla="*/ 1485 w 2580"/>
                <a:gd name="T107" fmla="*/ 3 h 1083"/>
                <a:gd name="T108" fmla="*/ 1506 w 2580"/>
                <a:gd name="T109" fmla="*/ 0 h 10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580" h="1083">
                  <a:moveTo>
                    <a:pt x="1506" y="0"/>
                  </a:moveTo>
                  <a:lnTo>
                    <a:pt x="1528" y="1"/>
                  </a:lnTo>
                  <a:lnTo>
                    <a:pt x="1549" y="10"/>
                  </a:lnTo>
                  <a:lnTo>
                    <a:pt x="1566" y="22"/>
                  </a:lnTo>
                  <a:lnTo>
                    <a:pt x="1579" y="40"/>
                  </a:lnTo>
                  <a:lnTo>
                    <a:pt x="1859" y="514"/>
                  </a:lnTo>
                  <a:lnTo>
                    <a:pt x="1859" y="514"/>
                  </a:lnTo>
                  <a:lnTo>
                    <a:pt x="2496" y="514"/>
                  </a:lnTo>
                  <a:lnTo>
                    <a:pt x="2523" y="519"/>
                  </a:lnTo>
                  <a:lnTo>
                    <a:pt x="2546" y="531"/>
                  </a:lnTo>
                  <a:lnTo>
                    <a:pt x="2564" y="549"/>
                  </a:lnTo>
                  <a:lnTo>
                    <a:pt x="2576" y="571"/>
                  </a:lnTo>
                  <a:lnTo>
                    <a:pt x="2580" y="598"/>
                  </a:lnTo>
                  <a:lnTo>
                    <a:pt x="2576" y="624"/>
                  </a:lnTo>
                  <a:lnTo>
                    <a:pt x="2564" y="646"/>
                  </a:lnTo>
                  <a:lnTo>
                    <a:pt x="2546" y="664"/>
                  </a:lnTo>
                  <a:lnTo>
                    <a:pt x="2523" y="676"/>
                  </a:lnTo>
                  <a:lnTo>
                    <a:pt x="2496" y="681"/>
                  </a:lnTo>
                  <a:lnTo>
                    <a:pt x="1811" y="681"/>
                  </a:lnTo>
                  <a:lnTo>
                    <a:pt x="1789" y="678"/>
                  </a:lnTo>
                  <a:lnTo>
                    <a:pt x="1769" y="670"/>
                  </a:lnTo>
                  <a:lnTo>
                    <a:pt x="1753" y="657"/>
                  </a:lnTo>
                  <a:lnTo>
                    <a:pt x="1739" y="640"/>
                  </a:lnTo>
                  <a:lnTo>
                    <a:pt x="1513" y="255"/>
                  </a:lnTo>
                  <a:lnTo>
                    <a:pt x="1104" y="1038"/>
                  </a:lnTo>
                  <a:lnTo>
                    <a:pt x="1092" y="1054"/>
                  </a:lnTo>
                  <a:lnTo>
                    <a:pt x="1077" y="1068"/>
                  </a:lnTo>
                  <a:lnTo>
                    <a:pt x="1059" y="1078"/>
                  </a:lnTo>
                  <a:lnTo>
                    <a:pt x="1038" y="1083"/>
                  </a:lnTo>
                  <a:lnTo>
                    <a:pt x="1031" y="1083"/>
                  </a:lnTo>
                  <a:lnTo>
                    <a:pt x="1005" y="1078"/>
                  </a:lnTo>
                  <a:lnTo>
                    <a:pt x="984" y="1068"/>
                  </a:lnTo>
                  <a:lnTo>
                    <a:pt x="965" y="1051"/>
                  </a:lnTo>
                  <a:lnTo>
                    <a:pt x="669" y="681"/>
                  </a:lnTo>
                  <a:lnTo>
                    <a:pt x="82" y="681"/>
                  </a:lnTo>
                  <a:lnTo>
                    <a:pt x="56" y="676"/>
                  </a:lnTo>
                  <a:lnTo>
                    <a:pt x="34" y="664"/>
                  </a:lnTo>
                  <a:lnTo>
                    <a:pt x="16" y="646"/>
                  </a:lnTo>
                  <a:lnTo>
                    <a:pt x="4" y="624"/>
                  </a:lnTo>
                  <a:lnTo>
                    <a:pt x="0" y="598"/>
                  </a:lnTo>
                  <a:lnTo>
                    <a:pt x="4" y="571"/>
                  </a:lnTo>
                  <a:lnTo>
                    <a:pt x="16" y="549"/>
                  </a:lnTo>
                  <a:lnTo>
                    <a:pt x="34" y="531"/>
                  </a:lnTo>
                  <a:lnTo>
                    <a:pt x="56" y="519"/>
                  </a:lnTo>
                  <a:lnTo>
                    <a:pt x="82" y="514"/>
                  </a:lnTo>
                  <a:lnTo>
                    <a:pt x="710" y="514"/>
                  </a:lnTo>
                  <a:lnTo>
                    <a:pt x="735" y="519"/>
                  </a:lnTo>
                  <a:lnTo>
                    <a:pt x="756" y="529"/>
                  </a:lnTo>
                  <a:lnTo>
                    <a:pt x="776" y="546"/>
                  </a:lnTo>
                  <a:lnTo>
                    <a:pt x="1016" y="847"/>
                  </a:lnTo>
                  <a:lnTo>
                    <a:pt x="1434" y="45"/>
                  </a:lnTo>
                  <a:lnTo>
                    <a:pt x="1447" y="27"/>
                  </a:lnTo>
                  <a:lnTo>
                    <a:pt x="1464" y="12"/>
                  </a:lnTo>
                  <a:lnTo>
                    <a:pt x="1485" y="3"/>
                  </a:lnTo>
                  <a:lnTo>
                    <a:pt x="150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54" name="Group 1209">
            <a:extLst>
              <a:ext uri="{FF2B5EF4-FFF2-40B4-BE49-F238E27FC236}">
                <a16:creationId xmlns:a16="http://schemas.microsoft.com/office/drawing/2014/main" id="{1FD4BE46-BF6B-6B11-62E1-7AFBFA278D2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471832" y="3962147"/>
            <a:ext cx="190957" cy="229845"/>
            <a:chOff x="1311" y="3377"/>
            <a:chExt cx="1920" cy="2311"/>
          </a:xfrm>
          <a:solidFill>
            <a:schemeClr val="bg1"/>
          </a:solidFill>
        </p:grpSpPr>
        <p:sp>
          <p:nvSpPr>
            <p:cNvPr id="55" name="Freeform 1211">
              <a:extLst>
                <a:ext uri="{FF2B5EF4-FFF2-40B4-BE49-F238E27FC236}">
                  <a16:creationId xmlns:a16="http://schemas.microsoft.com/office/drawing/2014/main" id="{08453739-F9AE-B7F9-BB0E-F1161528A8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54" y="3377"/>
              <a:ext cx="1034" cy="1263"/>
            </a:xfrm>
            <a:custGeom>
              <a:avLst/>
              <a:gdLst>
                <a:gd name="T0" fmla="*/ 832 w 2068"/>
                <a:gd name="T1" fmla="*/ 905 h 2526"/>
                <a:gd name="T2" fmla="*/ 626 w 2068"/>
                <a:gd name="T3" fmla="*/ 978 h 2526"/>
                <a:gd name="T4" fmla="*/ 479 w 2068"/>
                <a:gd name="T5" fmla="*/ 1073 h 2526"/>
                <a:gd name="T6" fmla="*/ 378 w 2068"/>
                <a:gd name="T7" fmla="*/ 1159 h 2526"/>
                <a:gd name="T8" fmla="*/ 309 w 2068"/>
                <a:gd name="T9" fmla="*/ 1204 h 2526"/>
                <a:gd name="T10" fmla="*/ 220 w 2068"/>
                <a:gd name="T11" fmla="*/ 1165 h 2526"/>
                <a:gd name="T12" fmla="*/ 161 w 2068"/>
                <a:gd name="T13" fmla="*/ 1082 h 2526"/>
                <a:gd name="T14" fmla="*/ 154 w 2068"/>
                <a:gd name="T15" fmla="*/ 1353 h 2526"/>
                <a:gd name="T16" fmla="*/ 214 w 2068"/>
                <a:gd name="T17" fmla="*/ 1667 h 2526"/>
                <a:gd name="T18" fmla="*/ 329 w 2068"/>
                <a:gd name="T19" fmla="*/ 1909 h 2526"/>
                <a:gd name="T20" fmla="*/ 468 w 2068"/>
                <a:gd name="T21" fmla="*/ 2084 h 2526"/>
                <a:gd name="T22" fmla="*/ 672 w 2068"/>
                <a:gd name="T23" fmla="*/ 2246 h 2526"/>
                <a:gd name="T24" fmla="*/ 881 w 2068"/>
                <a:gd name="T25" fmla="*/ 2346 h 2526"/>
                <a:gd name="T26" fmla="*/ 1034 w 2068"/>
                <a:gd name="T27" fmla="*/ 2375 h 2526"/>
                <a:gd name="T28" fmla="*/ 1188 w 2068"/>
                <a:gd name="T29" fmla="*/ 2346 h 2526"/>
                <a:gd name="T30" fmla="*/ 1397 w 2068"/>
                <a:gd name="T31" fmla="*/ 2246 h 2526"/>
                <a:gd name="T32" fmla="*/ 1599 w 2068"/>
                <a:gd name="T33" fmla="*/ 2084 h 2526"/>
                <a:gd name="T34" fmla="*/ 1738 w 2068"/>
                <a:gd name="T35" fmla="*/ 1909 h 2526"/>
                <a:gd name="T36" fmla="*/ 1855 w 2068"/>
                <a:gd name="T37" fmla="*/ 1667 h 2526"/>
                <a:gd name="T38" fmla="*/ 1915 w 2068"/>
                <a:gd name="T39" fmla="*/ 1353 h 2526"/>
                <a:gd name="T40" fmla="*/ 1908 w 2068"/>
                <a:gd name="T41" fmla="*/ 1082 h 2526"/>
                <a:gd name="T42" fmla="*/ 1849 w 2068"/>
                <a:gd name="T43" fmla="*/ 1165 h 2526"/>
                <a:gd name="T44" fmla="*/ 1759 w 2068"/>
                <a:gd name="T45" fmla="*/ 1204 h 2526"/>
                <a:gd name="T46" fmla="*/ 1690 w 2068"/>
                <a:gd name="T47" fmla="*/ 1159 h 2526"/>
                <a:gd name="T48" fmla="*/ 1589 w 2068"/>
                <a:gd name="T49" fmla="*/ 1073 h 2526"/>
                <a:gd name="T50" fmla="*/ 1443 w 2068"/>
                <a:gd name="T51" fmla="*/ 978 h 2526"/>
                <a:gd name="T52" fmla="*/ 1237 w 2068"/>
                <a:gd name="T53" fmla="*/ 905 h 2526"/>
                <a:gd name="T54" fmla="*/ 998 w 2068"/>
                <a:gd name="T55" fmla="*/ 408 h 2526"/>
                <a:gd name="T56" fmla="*/ 697 w 2068"/>
                <a:gd name="T57" fmla="*/ 461 h 2526"/>
                <a:gd name="T58" fmla="*/ 746 w 2068"/>
                <a:gd name="T59" fmla="*/ 586 h 2526"/>
                <a:gd name="T60" fmla="*/ 908 w 2068"/>
                <a:gd name="T61" fmla="*/ 622 h 2526"/>
                <a:gd name="T62" fmla="*/ 1159 w 2068"/>
                <a:gd name="T63" fmla="*/ 622 h 2526"/>
                <a:gd name="T64" fmla="*/ 1322 w 2068"/>
                <a:gd name="T65" fmla="*/ 586 h 2526"/>
                <a:gd name="T66" fmla="*/ 1372 w 2068"/>
                <a:gd name="T67" fmla="*/ 461 h 2526"/>
                <a:gd name="T68" fmla="*/ 1070 w 2068"/>
                <a:gd name="T69" fmla="*/ 408 h 2526"/>
                <a:gd name="T70" fmla="*/ 1225 w 2068"/>
                <a:gd name="T71" fmla="*/ 8 h 2526"/>
                <a:gd name="T72" fmla="*/ 1536 w 2068"/>
                <a:gd name="T73" fmla="*/ 76 h 2526"/>
                <a:gd name="T74" fmla="*/ 1759 w 2068"/>
                <a:gd name="T75" fmla="*/ 202 h 2526"/>
                <a:gd name="T76" fmla="*/ 1918 w 2068"/>
                <a:gd name="T77" fmla="*/ 391 h 2526"/>
                <a:gd name="T78" fmla="*/ 2022 w 2068"/>
                <a:gd name="T79" fmla="*/ 665 h 2526"/>
                <a:gd name="T80" fmla="*/ 2063 w 2068"/>
                <a:gd name="T81" fmla="*/ 1020 h 2526"/>
                <a:gd name="T82" fmla="*/ 2056 w 2068"/>
                <a:gd name="T83" fmla="*/ 1459 h 2526"/>
                <a:gd name="T84" fmla="*/ 1966 w 2068"/>
                <a:gd name="T85" fmla="*/ 1798 h 2526"/>
                <a:gd name="T86" fmla="*/ 1811 w 2068"/>
                <a:gd name="T87" fmla="*/ 2068 h 2526"/>
                <a:gd name="T88" fmla="*/ 1616 w 2068"/>
                <a:gd name="T89" fmla="*/ 2274 h 2526"/>
                <a:gd name="T90" fmla="*/ 1404 w 2068"/>
                <a:gd name="T91" fmla="*/ 2416 h 2526"/>
                <a:gd name="T92" fmla="*/ 1202 w 2068"/>
                <a:gd name="T93" fmla="*/ 2499 h 2526"/>
                <a:gd name="T94" fmla="*/ 1034 w 2068"/>
                <a:gd name="T95" fmla="*/ 2526 h 2526"/>
                <a:gd name="T96" fmla="*/ 866 w 2068"/>
                <a:gd name="T97" fmla="*/ 2499 h 2526"/>
                <a:gd name="T98" fmla="*/ 664 w 2068"/>
                <a:gd name="T99" fmla="*/ 2416 h 2526"/>
                <a:gd name="T100" fmla="*/ 453 w 2068"/>
                <a:gd name="T101" fmla="*/ 2274 h 2526"/>
                <a:gd name="T102" fmla="*/ 258 w 2068"/>
                <a:gd name="T103" fmla="*/ 2068 h 2526"/>
                <a:gd name="T104" fmla="*/ 102 w 2068"/>
                <a:gd name="T105" fmla="*/ 1798 h 2526"/>
                <a:gd name="T106" fmla="*/ 13 w 2068"/>
                <a:gd name="T107" fmla="*/ 1459 h 2526"/>
                <a:gd name="T108" fmla="*/ 6 w 2068"/>
                <a:gd name="T109" fmla="*/ 1020 h 2526"/>
                <a:gd name="T110" fmla="*/ 47 w 2068"/>
                <a:gd name="T111" fmla="*/ 665 h 2526"/>
                <a:gd name="T112" fmla="*/ 151 w 2068"/>
                <a:gd name="T113" fmla="*/ 391 h 2526"/>
                <a:gd name="T114" fmla="*/ 309 w 2068"/>
                <a:gd name="T115" fmla="*/ 202 h 2526"/>
                <a:gd name="T116" fmla="*/ 533 w 2068"/>
                <a:gd name="T117" fmla="*/ 76 h 2526"/>
                <a:gd name="T118" fmla="*/ 842 w 2068"/>
                <a:gd name="T119" fmla="*/ 8 h 25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068" h="2526">
                  <a:moveTo>
                    <a:pt x="1034" y="885"/>
                  </a:moveTo>
                  <a:lnTo>
                    <a:pt x="961" y="888"/>
                  </a:lnTo>
                  <a:lnTo>
                    <a:pt x="894" y="895"/>
                  </a:lnTo>
                  <a:lnTo>
                    <a:pt x="832" y="905"/>
                  </a:lnTo>
                  <a:lnTo>
                    <a:pt x="774" y="919"/>
                  </a:lnTo>
                  <a:lnTo>
                    <a:pt x="721" y="937"/>
                  </a:lnTo>
                  <a:lnTo>
                    <a:pt x="671" y="957"/>
                  </a:lnTo>
                  <a:lnTo>
                    <a:pt x="626" y="978"/>
                  </a:lnTo>
                  <a:lnTo>
                    <a:pt x="583" y="1000"/>
                  </a:lnTo>
                  <a:lnTo>
                    <a:pt x="546" y="1024"/>
                  </a:lnTo>
                  <a:lnTo>
                    <a:pt x="510" y="1049"/>
                  </a:lnTo>
                  <a:lnTo>
                    <a:pt x="479" y="1073"/>
                  </a:lnTo>
                  <a:lnTo>
                    <a:pt x="450" y="1097"/>
                  </a:lnTo>
                  <a:lnTo>
                    <a:pt x="423" y="1120"/>
                  </a:lnTo>
                  <a:lnTo>
                    <a:pt x="399" y="1141"/>
                  </a:lnTo>
                  <a:lnTo>
                    <a:pt x="378" y="1159"/>
                  </a:lnTo>
                  <a:lnTo>
                    <a:pt x="359" y="1176"/>
                  </a:lnTo>
                  <a:lnTo>
                    <a:pt x="340" y="1189"/>
                  </a:lnTo>
                  <a:lnTo>
                    <a:pt x="324" y="1199"/>
                  </a:lnTo>
                  <a:lnTo>
                    <a:pt x="309" y="1204"/>
                  </a:lnTo>
                  <a:lnTo>
                    <a:pt x="295" y="1204"/>
                  </a:lnTo>
                  <a:lnTo>
                    <a:pt x="267" y="1197"/>
                  </a:lnTo>
                  <a:lnTo>
                    <a:pt x="242" y="1183"/>
                  </a:lnTo>
                  <a:lnTo>
                    <a:pt x="220" y="1165"/>
                  </a:lnTo>
                  <a:lnTo>
                    <a:pt x="200" y="1144"/>
                  </a:lnTo>
                  <a:lnTo>
                    <a:pt x="183" y="1121"/>
                  </a:lnTo>
                  <a:lnTo>
                    <a:pt x="170" y="1100"/>
                  </a:lnTo>
                  <a:lnTo>
                    <a:pt x="161" y="1082"/>
                  </a:lnTo>
                  <a:lnTo>
                    <a:pt x="154" y="1069"/>
                  </a:lnTo>
                  <a:lnTo>
                    <a:pt x="152" y="1165"/>
                  </a:lnTo>
                  <a:lnTo>
                    <a:pt x="151" y="1262"/>
                  </a:lnTo>
                  <a:lnTo>
                    <a:pt x="154" y="1353"/>
                  </a:lnTo>
                  <a:lnTo>
                    <a:pt x="162" y="1439"/>
                  </a:lnTo>
                  <a:lnTo>
                    <a:pt x="175" y="1519"/>
                  </a:lnTo>
                  <a:lnTo>
                    <a:pt x="193" y="1595"/>
                  </a:lnTo>
                  <a:lnTo>
                    <a:pt x="214" y="1667"/>
                  </a:lnTo>
                  <a:lnTo>
                    <a:pt x="239" y="1735"/>
                  </a:lnTo>
                  <a:lnTo>
                    <a:pt x="267" y="1797"/>
                  </a:lnTo>
                  <a:lnTo>
                    <a:pt x="297" y="1856"/>
                  </a:lnTo>
                  <a:lnTo>
                    <a:pt x="329" y="1909"/>
                  </a:lnTo>
                  <a:lnTo>
                    <a:pt x="363" y="1959"/>
                  </a:lnTo>
                  <a:lnTo>
                    <a:pt x="398" y="2005"/>
                  </a:lnTo>
                  <a:lnTo>
                    <a:pt x="433" y="2046"/>
                  </a:lnTo>
                  <a:lnTo>
                    <a:pt x="468" y="2084"/>
                  </a:lnTo>
                  <a:lnTo>
                    <a:pt x="503" y="2118"/>
                  </a:lnTo>
                  <a:lnTo>
                    <a:pt x="560" y="2165"/>
                  </a:lnTo>
                  <a:lnTo>
                    <a:pt x="616" y="2209"/>
                  </a:lnTo>
                  <a:lnTo>
                    <a:pt x="672" y="2246"/>
                  </a:lnTo>
                  <a:lnTo>
                    <a:pt x="727" y="2278"/>
                  </a:lnTo>
                  <a:lnTo>
                    <a:pt x="780" y="2305"/>
                  </a:lnTo>
                  <a:lnTo>
                    <a:pt x="832" y="2327"/>
                  </a:lnTo>
                  <a:lnTo>
                    <a:pt x="881" y="2346"/>
                  </a:lnTo>
                  <a:lnTo>
                    <a:pt x="926" y="2358"/>
                  </a:lnTo>
                  <a:lnTo>
                    <a:pt x="967" y="2368"/>
                  </a:lnTo>
                  <a:lnTo>
                    <a:pt x="1003" y="2372"/>
                  </a:lnTo>
                  <a:lnTo>
                    <a:pt x="1034" y="2375"/>
                  </a:lnTo>
                  <a:lnTo>
                    <a:pt x="1065" y="2372"/>
                  </a:lnTo>
                  <a:lnTo>
                    <a:pt x="1100" y="2368"/>
                  </a:lnTo>
                  <a:lnTo>
                    <a:pt x="1143" y="2358"/>
                  </a:lnTo>
                  <a:lnTo>
                    <a:pt x="1188" y="2346"/>
                  </a:lnTo>
                  <a:lnTo>
                    <a:pt x="1235" y="2327"/>
                  </a:lnTo>
                  <a:lnTo>
                    <a:pt x="1287" y="2305"/>
                  </a:lnTo>
                  <a:lnTo>
                    <a:pt x="1341" y="2278"/>
                  </a:lnTo>
                  <a:lnTo>
                    <a:pt x="1397" y="2246"/>
                  </a:lnTo>
                  <a:lnTo>
                    <a:pt x="1453" y="2209"/>
                  </a:lnTo>
                  <a:lnTo>
                    <a:pt x="1509" y="2165"/>
                  </a:lnTo>
                  <a:lnTo>
                    <a:pt x="1564" y="2118"/>
                  </a:lnTo>
                  <a:lnTo>
                    <a:pt x="1599" y="2084"/>
                  </a:lnTo>
                  <a:lnTo>
                    <a:pt x="1634" y="2046"/>
                  </a:lnTo>
                  <a:lnTo>
                    <a:pt x="1669" y="2005"/>
                  </a:lnTo>
                  <a:lnTo>
                    <a:pt x="1704" y="1959"/>
                  </a:lnTo>
                  <a:lnTo>
                    <a:pt x="1738" y="1909"/>
                  </a:lnTo>
                  <a:lnTo>
                    <a:pt x="1771" y="1856"/>
                  </a:lnTo>
                  <a:lnTo>
                    <a:pt x="1801" y="1797"/>
                  </a:lnTo>
                  <a:lnTo>
                    <a:pt x="1830" y="1735"/>
                  </a:lnTo>
                  <a:lnTo>
                    <a:pt x="1855" y="1667"/>
                  </a:lnTo>
                  <a:lnTo>
                    <a:pt x="1876" y="1595"/>
                  </a:lnTo>
                  <a:lnTo>
                    <a:pt x="1893" y="1519"/>
                  </a:lnTo>
                  <a:lnTo>
                    <a:pt x="1907" y="1439"/>
                  </a:lnTo>
                  <a:lnTo>
                    <a:pt x="1915" y="1353"/>
                  </a:lnTo>
                  <a:lnTo>
                    <a:pt x="1918" y="1262"/>
                  </a:lnTo>
                  <a:lnTo>
                    <a:pt x="1917" y="1165"/>
                  </a:lnTo>
                  <a:lnTo>
                    <a:pt x="1914" y="1069"/>
                  </a:lnTo>
                  <a:lnTo>
                    <a:pt x="1908" y="1082"/>
                  </a:lnTo>
                  <a:lnTo>
                    <a:pt x="1898" y="1100"/>
                  </a:lnTo>
                  <a:lnTo>
                    <a:pt x="1886" y="1121"/>
                  </a:lnTo>
                  <a:lnTo>
                    <a:pt x="1869" y="1144"/>
                  </a:lnTo>
                  <a:lnTo>
                    <a:pt x="1849" y="1165"/>
                  </a:lnTo>
                  <a:lnTo>
                    <a:pt x="1827" y="1183"/>
                  </a:lnTo>
                  <a:lnTo>
                    <a:pt x="1801" y="1197"/>
                  </a:lnTo>
                  <a:lnTo>
                    <a:pt x="1773" y="1204"/>
                  </a:lnTo>
                  <a:lnTo>
                    <a:pt x="1759" y="1204"/>
                  </a:lnTo>
                  <a:lnTo>
                    <a:pt x="1744" y="1199"/>
                  </a:lnTo>
                  <a:lnTo>
                    <a:pt x="1728" y="1189"/>
                  </a:lnTo>
                  <a:lnTo>
                    <a:pt x="1710" y="1176"/>
                  </a:lnTo>
                  <a:lnTo>
                    <a:pt x="1690" y="1159"/>
                  </a:lnTo>
                  <a:lnTo>
                    <a:pt x="1668" y="1141"/>
                  </a:lnTo>
                  <a:lnTo>
                    <a:pt x="1644" y="1120"/>
                  </a:lnTo>
                  <a:lnTo>
                    <a:pt x="1619" y="1097"/>
                  </a:lnTo>
                  <a:lnTo>
                    <a:pt x="1589" y="1073"/>
                  </a:lnTo>
                  <a:lnTo>
                    <a:pt x="1557" y="1049"/>
                  </a:lnTo>
                  <a:lnTo>
                    <a:pt x="1522" y="1024"/>
                  </a:lnTo>
                  <a:lnTo>
                    <a:pt x="1484" y="1000"/>
                  </a:lnTo>
                  <a:lnTo>
                    <a:pt x="1443" y="978"/>
                  </a:lnTo>
                  <a:lnTo>
                    <a:pt x="1397" y="957"/>
                  </a:lnTo>
                  <a:lnTo>
                    <a:pt x="1348" y="937"/>
                  </a:lnTo>
                  <a:lnTo>
                    <a:pt x="1294" y="919"/>
                  </a:lnTo>
                  <a:lnTo>
                    <a:pt x="1237" y="905"/>
                  </a:lnTo>
                  <a:lnTo>
                    <a:pt x="1173" y="895"/>
                  </a:lnTo>
                  <a:lnTo>
                    <a:pt x="1106" y="888"/>
                  </a:lnTo>
                  <a:lnTo>
                    <a:pt x="1034" y="885"/>
                  </a:lnTo>
                  <a:close/>
                  <a:moveTo>
                    <a:pt x="998" y="408"/>
                  </a:moveTo>
                  <a:lnTo>
                    <a:pt x="926" y="413"/>
                  </a:lnTo>
                  <a:lnTo>
                    <a:pt x="852" y="423"/>
                  </a:lnTo>
                  <a:lnTo>
                    <a:pt x="776" y="440"/>
                  </a:lnTo>
                  <a:lnTo>
                    <a:pt x="697" y="461"/>
                  </a:lnTo>
                  <a:lnTo>
                    <a:pt x="710" y="498"/>
                  </a:lnTo>
                  <a:lnTo>
                    <a:pt x="723" y="529"/>
                  </a:lnTo>
                  <a:lnTo>
                    <a:pt x="734" y="557"/>
                  </a:lnTo>
                  <a:lnTo>
                    <a:pt x="746" y="586"/>
                  </a:lnTo>
                  <a:lnTo>
                    <a:pt x="758" y="617"/>
                  </a:lnTo>
                  <a:lnTo>
                    <a:pt x="772" y="653"/>
                  </a:lnTo>
                  <a:lnTo>
                    <a:pt x="842" y="634"/>
                  </a:lnTo>
                  <a:lnTo>
                    <a:pt x="908" y="622"/>
                  </a:lnTo>
                  <a:lnTo>
                    <a:pt x="973" y="613"/>
                  </a:lnTo>
                  <a:lnTo>
                    <a:pt x="1034" y="612"/>
                  </a:lnTo>
                  <a:lnTo>
                    <a:pt x="1096" y="613"/>
                  </a:lnTo>
                  <a:lnTo>
                    <a:pt x="1159" y="622"/>
                  </a:lnTo>
                  <a:lnTo>
                    <a:pt x="1225" y="634"/>
                  </a:lnTo>
                  <a:lnTo>
                    <a:pt x="1296" y="653"/>
                  </a:lnTo>
                  <a:lnTo>
                    <a:pt x="1310" y="617"/>
                  </a:lnTo>
                  <a:lnTo>
                    <a:pt x="1322" y="586"/>
                  </a:lnTo>
                  <a:lnTo>
                    <a:pt x="1334" y="557"/>
                  </a:lnTo>
                  <a:lnTo>
                    <a:pt x="1345" y="529"/>
                  </a:lnTo>
                  <a:lnTo>
                    <a:pt x="1357" y="498"/>
                  </a:lnTo>
                  <a:lnTo>
                    <a:pt x="1372" y="461"/>
                  </a:lnTo>
                  <a:lnTo>
                    <a:pt x="1293" y="440"/>
                  </a:lnTo>
                  <a:lnTo>
                    <a:pt x="1217" y="423"/>
                  </a:lnTo>
                  <a:lnTo>
                    <a:pt x="1143" y="413"/>
                  </a:lnTo>
                  <a:lnTo>
                    <a:pt x="1070" y="408"/>
                  </a:lnTo>
                  <a:lnTo>
                    <a:pt x="998" y="408"/>
                  </a:lnTo>
                  <a:close/>
                  <a:moveTo>
                    <a:pt x="1034" y="0"/>
                  </a:moveTo>
                  <a:lnTo>
                    <a:pt x="1133" y="1"/>
                  </a:lnTo>
                  <a:lnTo>
                    <a:pt x="1225" y="8"/>
                  </a:lnTo>
                  <a:lnTo>
                    <a:pt x="1313" y="19"/>
                  </a:lnTo>
                  <a:lnTo>
                    <a:pt x="1393" y="33"/>
                  </a:lnTo>
                  <a:lnTo>
                    <a:pt x="1467" y="53"/>
                  </a:lnTo>
                  <a:lnTo>
                    <a:pt x="1536" y="76"/>
                  </a:lnTo>
                  <a:lnTo>
                    <a:pt x="1599" y="101"/>
                  </a:lnTo>
                  <a:lnTo>
                    <a:pt x="1657" y="132"/>
                  </a:lnTo>
                  <a:lnTo>
                    <a:pt x="1710" y="166"/>
                  </a:lnTo>
                  <a:lnTo>
                    <a:pt x="1759" y="202"/>
                  </a:lnTo>
                  <a:lnTo>
                    <a:pt x="1803" y="242"/>
                  </a:lnTo>
                  <a:lnTo>
                    <a:pt x="1844" y="285"/>
                  </a:lnTo>
                  <a:lnTo>
                    <a:pt x="1879" y="332"/>
                  </a:lnTo>
                  <a:lnTo>
                    <a:pt x="1918" y="391"/>
                  </a:lnTo>
                  <a:lnTo>
                    <a:pt x="1952" y="454"/>
                  </a:lnTo>
                  <a:lnTo>
                    <a:pt x="1980" y="520"/>
                  </a:lnTo>
                  <a:lnTo>
                    <a:pt x="2004" y="591"/>
                  </a:lnTo>
                  <a:lnTo>
                    <a:pt x="2022" y="665"/>
                  </a:lnTo>
                  <a:lnTo>
                    <a:pt x="2036" y="743"/>
                  </a:lnTo>
                  <a:lnTo>
                    <a:pt x="2047" y="821"/>
                  </a:lnTo>
                  <a:lnTo>
                    <a:pt x="2054" y="905"/>
                  </a:lnTo>
                  <a:lnTo>
                    <a:pt x="2063" y="1020"/>
                  </a:lnTo>
                  <a:lnTo>
                    <a:pt x="2067" y="1140"/>
                  </a:lnTo>
                  <a:lnTo>
                    <a:pt x="2068" y="1262"/>
                  </a:lnTo>
                  <a:lnTo>
                    <a:pt x="2066" y="1363"/>
                  </a:lnTo>
                  <a:lnTo>
                    <a:pt x="2056" y="1459"/>
                  </a:lnTo>
                  <a:lnTo>
                    <a:pt x="2040" y="1550"/>
                  </a:lnTo>
                  <a:lnTo>
                    <a:pt x="2021" y="1638"/>
                  </a:lnTo>
                  <a:lnTo>
                    <a:pt x="1995" y="1719"/>
                  </a:lnTo>
                  <a:lnTo>
                    <a:pt x="1966" y="1798"/>
                  </a:lnTo>
                  <a:lnTo>
                    <a:pt x="1932" y="1873"/>
                  </a:lnTo>
                  <a:lnTo>
                    <a:pt x="1896" y="1942"/>
                  </a:lnTo>
                  <a:lnTo>
                    <a:pt x="1855" y="2008"/>
                  </a:lnTo>
                  <a:lnTo>
                    <a:pt x="1811" y="2068"/>
                  </a:lnTo>
                  <a:lnTo>
                    <a:pt x="1765" y="2126"/>
                  </a:lnTo>
                  <a:lnTo>
                    <a:pt x="1717" y="2179"/>
                  </a:lnTo>
                  <a:lnTo>
                    <a:pt x="1667" y="2229"/>
                  </a:lnTo>
                  <a:lnTo>
                    <a:pt x="1616" y="2274"/>
                  </a:lnTo>
                  <a:lnTo>
                    <a:pt x="1563" y="2315"/>
                  </a:lnTo>
                  <a:lnTo>
                    <a:pt x="1511" y="2353"/>
                  </a:lnTo>
                  <a:lnTo>
                    <a:pt x="1457" y="2385"/>
                  </a:lnTo>
                  <a:lnTo>
                    <a:pt x="1404" y="2416"/>
                  </a:lnTo>
                  <a:lnTo>
                    <a:pt x="1352" y="2441"/>
                  </a:lnTo>
                  <a:lnTo>
                    <a:pt x="1300" y="2464"/>
                  </a:lnTo>
                  <a:lnTo>
                    <a:pt x="1251" y="2483"/>
                  </a:lnTo>
                  <a:lnTo>
                    <a:pt x="1202" y="2499"/>
                  </a:lnTo>
                  <a:lnTo>
                    <a:pt x="1155" y="2510"/>
                  </a:lnTo>
                  <a:lnTo>
                    <a:pt x="1112" y="2519"/>
                  </a:lnTo>
                  <a:lnTo>
                    <a:pt x="1071" y="2524"/>
                  </a:lnTo>
                  <a:lnTo>
                    <a:pt x="1034" y="2526"/>
                  </a:lnTo>
                  <a:lnTo>
                    <a:pt x="996" y="2524"/>
                  </a:lnTo>
                  <a:lnTo>
                    <a:pt x="956" y="2519"/>
                  </a:lnTo>
                  <a:lnTo>
                    <a:pt x="912" y="2510"/>
                  </a:lnTo>
                  <a:lnTo>
                    <a:pt x="866" y="2499"/>
                  </a:lnTo>
                  <a:lnTo>
                    <a:pt x="818" y="2483"/>
                  </a:lnTo>
                  <a:lnTo>
                    <a:pt x="767" y="2464"/>
                  </a:lnTo>
                  <a:lnTo>
                    <a:pt x="717" y="2441"/>
                  </a:lnTo>
                  <a:lnTo>
                    <a:pt x="664" y="2416"/>
                  </a:lnTo>
                  <a:lnTo>
                    <a:pt x="612" y="2385"/>
                  </a:lnTo>
                  <a:lnTo>
                    <a:pt x="558" y="2353"/>
                  </a:lnTo>
                  <a:lnTo>
                    <a:pt x="505" y="2315"/>
                  </a:lnTo>
                  <a:lnTo>
                    <a:pt x="453" y="2274"/>
                  </a:lnTo>
                  <a:lnTo>
                    <a:pt x="401" y="2229"/>
                  </a:lnTo>
                  <a:lnTo>
                    <a:pt x="352" y="2179"/>
                  </a:lnTo>
                  <a:lnTo>
                    <a:pt x="304" y="2126"/>
                  </a:lnTo>
                  <a:lnTo>
                    <a:pt x="258" y="2068"/>
                  </a:lnTo>
                  <a:lnTo>
                    <a:pt x="214" y="2008"/>
                  </a:lnTo>
                  <a:lnTo>
                    <a:pt x="173" y="1942"/>
                  </a:lnTo>
                  <a:lnTo>
                    <a:pt x="135" y="1873"/>
                  </a:lnTo>
                  <a:lnTo>
                    <a:pt x="102" y="1798"/>
                  </a:lnTo>
                  <a:lnTo>
                    <a:pt x="72" y="1719"/>
                  </a:lnTo>
                  <a:lnTo>
                    <a:pt x="48" y="1638"/>
                  </a:lnTo>
                  <a:lnTo>
                    <a:pt x="27" y="1550"/>
                  </a:lnTo>
                  <a:lnTo>
                    <a:pt x="13" y="1459"/>
                  </a:lnTo>
                  <a:lnTo>
                    <a:pt x="3" y="1363"/>
                  </a:lnTo>
                  <a:lnTo>
                    <a:pt x="0" y="1262"/>
                  </a:lnTo>
                  <a:lnTo>
                    <a:pt x="2" y="1140"/>
                  </a:lnTo>
                  <a:lnTo>
                    <a:pt x="6" y="1020"/>
                  </a:lnTo>
                  <a:lnTo>
                    <a:pt x="13" y="905"/>
                  </a:lnTo>
                  <a:lnTo>
                    <a:pt x="22" y="821"/>
                  </a:lnTo>
                  <a:lnTo>
                    <a:pt x="31" y="743"/>
                  </a:lnTo>
                  <a:lnTo>
                    <a:pt x="47" y="665"/>
                  </a:lnTo>
                  <a:lnTo>
                    <a:pt x="65" y="591"/>
                  </a:lnTo>
                  <a:lnTo>
                    <a:pt x="89" y="520"/>
                  </a:lnTo>
                  <a:lnTo>
                    <a:pt x="117" y="454"/>
                  </a:lnTo>
                  <a:lnTo>
                    <a:pt x="151" y="391"/>
                  </a:lnTo>
                  <a:lnTo>
                    <a:pt x="190" y="332"/>
                  </a:lnTo>
                  <a:lnTo>
                    <a:pt x="225" y="285"/>
                  </a:lnTo>
                  <a:lnTo>
                    <a:pt x="265" y="242"/>
                  </a:lnTo>
                  <a:lnTo>
                    <a:pt x="309" y="202"/>
                  </a:lnTo>
                  <a:lnTo>
                    <a:pt x="357" y="166"/>
                  </a:lnTo>
                  <a:lnTo>
                    <a:pt x="411" y="132"/>
                  </a:lnTo>
                  <a:lnTo>
                    <a:pt x="470" y="101"/>
                  </a:lnTo>
                  <a:lnTo>
                    <a:pt x="533" y="76"/>
                  </a:lnTo>
                  <a:lnTo>
                    <a:pt x="602" y="52"/>
                  </a:lnTo>
                  <a:lnTo>
                    <a:pt x="676" y="33"/>
                  </a:lnTo>
                  <a:lnTo>
                    <a:pt x="756" y="19"/>
                  </a:lnTo>
                  <a:lnTo>
                    <a:pt x="842" y="8"/>
                  </a:lnTo>
                  <a:lnTo>
                    <a:pt x="935" y="1"/>
                  </a:lnTo>
                  <a:lnTo>
                    <a:pt x="103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6" name="Freeform 1212">
              <a:extLst>
                <a:ext uri="{FF2B5EF4-FFF2-40B4-BE49-F238E27FC236}">
                  <a16:creationId xmlns:a16="http://schemas.microsoft.com/office/drawing/2014/main" id="{C9037895-65DB-BD23-1ECE-E584732FBFE8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1" y="4581"/>
              <a:ext cx="1920" cy="926"/>
            </a:xfrm>
            <a:custGeom>
              <a:avLst/>
              <a:gdLst>
                <a:gd name="T0" fmla="*/ 1423 w 3841"/>
                <a:gd name="T1" fmla="*/ 66 h 1852"/>
                <a:gd name="T2" fmla="*/ 1731 w 3841"/>
                <a:gd name="T3" fmla="*/ 198 h 1852"/>
                <a:gd name="T4" fmla="*/ 1920 w 3841"/>
                <a:gd name="T5" fmla="*/ 605 h 1852"/>
                <a:gd name="T6" fmla="*/ 2110 w 3841"/>
                <a:gd name="T7" fmla="*/ 198 h 1852"/>
                <a:gd name="T8" fmla="*/ 2416 w 3841"/>
                <a:gd name="T9" fmla="*/ 66 h 1852"/>
                <a:gd name="T10" fmla="*/ 2547 w 3841"/>
                <a:gd name="T11" fmla="*/ 0 h 1852"/>
                <a:gd name="T12" fmla="*/ 2654 w 3841"/>
                <a:gd name="T13" fmla="*/ 55 h 1852"/>
                <a:gd name="T14" fmla="*/ 2866 w 3841"/>
                <a:gd name="T15" fmla="*/ 169 h 1852"/>
                <a:gd name="T16" fmla="*/ 3100 w 3841"/>
                <a:gd name="T17" fmla="*/ 298 h 1852"/>
                <a:gd name="T18" fmla="*/ 3314 w 3841"/>
                <a:gd name="T19" fmla="*/ 418 h 1852"/>
                <a:gd name="T20" fmla="*/ 3460 w 3841"/>
                <a:gd name="T21" fmla="*/ 509 h 1852"/>
                <a:gd name="T22" fmla="*/ 3612 w 3841"/>
                <a:gd name="T23" fmla="*/ 681 h 1852"/>
                <a:gd name="T24" fmla="*/ 3724 w 3841"/>
                <a:gd name="T25" fmla="*/ 927 h 1852"/>
                <a:gd name="T26" fmla="*/ 3801 w 3841"/>
                <a:gd name="T27" fmla="*/ 1206 h 1852"/>
                <a:gd name="T28" fmla="*/ 3841 w 3841"/>
                <a:gd name="T29" fmla="*/ 1430 h 1852"/>
                <a:gd name="T30" fmla="*/ 3822 w 3841"/>
                <a:gd name="T31" fmla="*/ 1479 h 1852"/>
                <a:gd name="T32" fmla="*/ 3752 w 3841"/>
                <a:gd name="T33" fmla="*/ 1575 h 1852"/>
                <a:gd name="T34" fmla="*/ 3599 w 3841"/>
                <a:gd name="T35" fmla="*/ 1708 h 1852"/>
                <a:gd name="T36" fmla="*/ 3334 w 3841"/>
                <a:gd name="T37" fmla="*/ 1850 h 1852"/>
                <a:gd name="T38" fmla="*/ 3273 w 3841"/>
                <a:gd name="T39" fmla="*/ 1769 h 1852"/>
                <a:gd name="T40" fmla="*/ 3365 w 3841"/>
                <a:gd name="T41" fmla="*/ 1663 h 1852"/>
                <a:gd name="T42" fmla="*/ 3366 w 3841"/>
                <a:gd name="T43" fmla="*/ 1524 h 1852"/>
                <a:gd name="T44" fmla="*/ 3232 w 3841"/>
                <a:gd name="T45" fmla="*/ 1338 h 1852"/>
                <a:gd name="T46" fmla="*/ 3012 w 3841"/>
                <a:gd name="T47" fmla="*/ 1209 h 1852"/>
                <a:gd name="T48" fmla="*/ 2819 w 3841"/>
                <a:gd name="T49" fmla="*/ 1176 h 1852"/>
                <a:gd name="T50" fmla="*/ 2557 w 3841"/>
                <a:gd name="T51" fmla="*/ 1237 h 1852"/>
                <a:gd name="T52" fmla="*/ 2350 w 3841"/>
                <a:gd name="T53" fmla="*/ 1399 h 1852"/>
                <a:gd name="T54" fmla="*/ 1439 w 3841"/>
                <a:gd name="T55" fmla="*/ 1345 h 1852"/>
                <a:gd name="T56" fmla="*/ 1217 w 3841"/>
                <a:gd name="T57" fmla="*/ 1210 h 1852"/>
                <a:gd name="T58" fmla="*/ 954 w 3841"/>
                <a:gd name="T59" fmla="*/ 1181 h 1852"/>
                <a:gd name="T60" fmla="*/ 709 w 3841"/>
                <a:gd name="T61" fmla="*/ 1262 h 1852"/>
                <a:gd name="T62" fmla="*/ 523 w 3841"/>
                <a:gd name="T63" fmla="*/ 1437 h 1852"/>
                <a:gd name="T64" fmla="*/ 462 w 3841"/>
                <a:gd name="T65" fmla="*/ 1596 h 1852"/>
                <a:gd name="T66" fmla="*/ 511 w 3841"/>
                <a:gd name="T67" fmla="*/ 1725 h 1852"/>
                <a:gd name="T68" fmla="*/ 565 w 3841"/>
                <a:gd name="T69" fmla="*/ 1801 h 1852"/>
                <a:gd name="T70" fmla="*/ 358 w 3841"/>
                <a:gd name="T71" fmla="*/ 1780 h 1852"/>
                <a:gd name="T72" fmla="*/ 152 w 3841"/>
                <a:gd name="T73" fmla="*/ 1639 h 1852"/>
                <a:gd name="T74" fmla="*/ 45 w 3841"/>
                <a:gd name="T75" fmla="*/ 1521 h 1852"/>
                <a:gd name="T76" fmla="*/ 6 w 3841"/>
                <a:gd name="T77" fmla="*/ 1454 h 1852"/>
                <a:gd name="T78" fmla="*/ 4 w 3841"/>
                <a:gd name="T79" fmla="*/ 1387 h 1852"/>
                <a:gd name="T80" fmla="*/ 39 w 3841"/>
                <a:gd name="T81" fmla="*/ 1217 h 1852"/>
                <a:gd name="T82" fmla="*/ 104 w 3841"/>
                <a:gd name="T83" fmla="*/ 978 h 1852"/>
                <a:gd name="T84" fmla="*/ 204 w 3841"/>
                <a:gd name="T85" fmla="*/ 733 h 1852"/>
                <a:gd name="T86" fmla="*/ 340 w 3841"/>
                <a:gd name="T87" fmla="*/ 540 h 1852"/>
                <a:gd name="T88" fmla="*/ 483 w 3841"/>
                <a:gd name="T89" fmla="*/ 445 h 1852"/>
                <a:gd name="T90" fmla="*/ 684 w 3841"/>
                <a:gd name="T91" fmla="*/ 329 h 1852"/>
                <a:gd name="T92" fmla="*/ 919 w 3841"/>
                <a:gd name="T93" fmla="*/ 200 h 1852"/>
                <a:gd name="T94" fmla="*/ 1142 w 3841"/>
                <a:gd name="T95" fmla="*/ 79 h 1852"/>
                <a:gd name="T96" fmla="*/ 1294 w 3841"/>
                <a:gd name="T97" fmla="*/ 0 h 18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841" h="1852">
                  <a:moveTo>
                    <a:pt x="1314" y="0"/>
                  </a:moveTo>
                  <a:lnTo>
                    <a:pt x="1335" y="4"/>
                  </a:lnTo>
                  <a:lnTo>
                    <a:pt x="1353" y="14"/>
                  </a:lnTo>
                  <a:lnTo>
                    <a:pt x="1423" y="66"/>
                  </a:lnTo>
                  <a:lnTo>
                    <a:pt x="1498" y="110"/>
                  </a:lnTo>
                  <a:lnTo>
                    <a:pt x="1573" y="146"/>
                  </a:lnTo>
                  <a:lnTo>
                    <a:pt x="1651" y="176"/>
                  </a:lnTo>
                  <a:lnTo>
                    <a:pt x="1731" y="198"/>
                  </a:lnTo>
                  <a:lnTo>
                    <a:pt x="1753" y="207"/>
                  </a:lnTo>
                  <a:lnTo>
                    <a:pt x="1771" y="222"/>
                  </a:lnTo>
                  <a:lnTo>
                    <a:pt x="1783" y="243"/>
                  </a:lnTo>
                  <a:lnTo>
                    <a:pt x="1920" y="605"/>
                  </a:lnTo>
                  <a:lnTo>
                    <a:pt x="2058" y="243"/>
                  </a:lnTo>
                  <a:lnTo>
                    <a:pt x="2069" y="222"/>
                  </a:lnTo>
                  <a:lnTo>
                    <a:pt x="2088" y="207"/>
                  </a:lnTo>
                  <a:lnTo>
                    <a:pt x="2110" y="198"/>
                  </a:lnTo>
                  <a:lnTo>
                    <a:pt x="2189" y="176"/>
                  </a:lnTo>
                  <a:lnTo>
                    <a:pt x="2267" y="146"/>
                  </a:lnTo>
                  <a:lnTo>
                    <a:pt x="2343" y="110"/>
                  </a:lnTo>
                  <a:lnTo>
                    <a:pt x="2416" y="66"/>
                  </a:lnTo>
                  <a:lnTo>
                    <a:pt x="2488" y="14"/>
                  </a:lnTo>
                  <a:lnTo>
                    <a:pt x="2506" y="4"/>
                  </a:lnTo>
                  <a:lnTo>
                    <a:pt x="2526" y="0"/>
                  </a:lnTo>
                  <a:lnTo>
                    <a:pt x="2547" y="0"/>
                  </a:lnTo>
                  <a:lnTo>
                    <a:pt x="2567" y="8"/>
                  </a:lnTo>
                  <a:lnTo>
                    <a:pt x="2571" y="10"/>
                  </a:lnTo>
                  <a:lnTo>
                    <a:pt x="2610" y="31"/>
                  </a:lnTo>
                  <a:lnTo>
                    <a:pt x="2654" y="55"/>
                  </a:lnTo>
                  <a:lnTo>
                    <a:pt x="2703" y="80"/>
                  </a:lnTo>
                  <a:lnTo>
                    <a:pt x="2755" y="108"/>
                  </a:lnTo>
                  <a:lnTo>
                    <a:pt x="2810" y="138"/>
                  </a:lnTo>
                  <a:lnTo>
                    <a:pt x="2866" y="169"/>
                  </a:lnTo>
                  <a:lnTo>
                    <a:pt x="2925" y="201"/>
                  </a:lnTo>
                  <a:lnTo>
                    <a:pt x="2984" y="233"/>
                  </a:lnTo>
                  <a:lnTo>
                    <a:pt x="3043" y="266"/>
                  </a:lnTo>
                  <a:lnTo>
                    <a:pt x="3100" y="298"/>
                  </a:lnTo>
                  <a:lnTo>
                    <a:pt x="3158" y="329"/>
                  </a:lnTo>
                  <a:lnTo>
                    <a:pt x="3213" y="360"/>
                  </a:lnTo>
                  <a:lnTo>
                    <a:pt x="3265" y="390"/>
                  </a:lnTo>
                  <a:lnTo>
                    <a:pt x="3314" y="418"/>
                  </a:lnTo>
                  <a:lnTo>
                    <a:pt x="3358" y="445"/>
                  </a:lnTo>
                  <a:lnTo>
                    <a:pt x="3398" y="469"/>
                  </a:lnTo>
                  <a:lnTo>
                    <a:pt x="3432" y="491"/>
                  </a:lnTo>
                  <a:lnTo>
                    <a:pt x="3460" y="509"/>
                  </a:lnTo>
                  <a:lnTo>
                    <a:pt x="3502" y="543"/>
                  </a:lnTo>
                  <a:lnTo>
                    <a:pt x="3542" y="582"/>
                  </a:lnTo>
                  <a:lnTo>
                    <a:pt x="3578" y="629"/>
                  </a:lnTo>
                  <a:lnTo>
                    <a:pt x="3612" y="681"/>
                  </a:lnTo>
                  <a:lnTo>
                    <a:pt x="3644" y="737"/>
                  </a:lnTo>
                  <a:lnTo>
                    <a:pt x="3672" y="798"/>
                  </a:lnTo>
                  <a:lnTo>
                    <a:pt x="3699" y="861"/>
                  </a:lnTo>
                  <a:lnTo>
                    <a:pt x="3724" y="927"/>
                  </a:lnTo>
                  <a:lnTo>
                    <a:pt x="3747" y="995"/>
                  </a:lnTo>
                  <a:lnTo>
                    <a:pt x="3766" y="1065"/>
                  </a:lnTo>
                  <a:lnTo>
                    <a:pt x="3785" y="1136"/>
                  </a:lnTo>
                  <a:lnTo>
                    <a:pt x="3801" y="1206"/>
                  </a:lnTo>
                  <a:lnTo>
                    <a:pt x="3815" y="1276"/>
                  </a:lnTo>
                  <a:lnTo>
                    <a:pt x="3828" y="1345"/>
                  </a:lnTo>
                  <a:lnTo>
                    <a:pt x="3839" y="1411"/>
                  </a:lnTo>
                  <a:lnTo>
                    <a:pt x="3841" y="1430"/>
                  </a:lnTo>
                  <a:lnTo>
                    <a:pt x="3837" y="1448"/>
                  </a:lnTo>
                  <a:lnTo>
                    <a:pt x="3834" y="1454"/>
                  </a:lnTo>
                  <a:lnTo>
                    <a:pt x="3830" y="1463"/>
                  </a:lnTo>
                  <a:lnTo>
                    <a:pt x="3822" y="1479"/>
                  </a:lnTo>
                  <a:lnTo>
                    <a:pt x="3811" y="1497"/>
                  </a:lnTo>
                  <a:lnTo>
                    <a:pt x="3796" y="1521"/>
                  </a:lnTo>
                  <a:lnTo>
                    <a:pt x="3776" y="1546"/>
                  </a:lnTo>
                  <a:lnTo>
                    <a:pt x="3752" y="1575"/>
                  </a:lnTo>
                  <a:lnTo>
                    <a:pt x="3723" y="1606"/>
                  </a:lnTo>
                  <a:lnTo>
                    <a:pt x="3688" y="1638"/>
                  </a:lnTo>
                  <a:lnTo>
                    <a:pt x="3647" y="1673"/>
                  </a:lnTo>
                  <a:lnTo>
                    <a:pt x="3599" y="1708"/>
                  </a:lnTo>
                  <a:lnTo>
                    <a:pt x="3544" y="1743"/>
                  </a:lnTo>
                  <a:lnTo>
                    <a:pt x="3483" y="1780"/>
                  </a:lnTo>
                  <a:lnTo>
                    <a:pt x="3412" y="1815"/>
                  </a:lnTo>
                  <a:lnTo>
                    <a:pt x="3334" y="1850"/>
                  </a:lnTo>
                  <a:lnTo>
                    <a:pt x="3307" y="1822"/>
                  </a:lnTo>
                  <a:lnTo>
                    <a:pt x="3276" y="1800"/>
                  </a:lnTo>
                  <a:lnTo>
                    <a:pt x="3241" y="1784"/>
                  </a:lnTo>
                  <a:lnTo>
                    <a:pt x="3273" y="1769"/>
                  </a:lnTo>
                  <a:lnTo>
                    <a:pt x="3303" y="1749"/>
                  </a:lnTo>
                  <a:lnTo>
                    <a:pt x="3328" y="1724"/>
                  </a:lnTo>
                  <a:lnTo>
                    <a:pt x="3349" y="1696"/>
                  </a:lnTo>
                  <a:lnTo>
                    <a:pt x="3365" y="1663"/>
                  </a:lnTo>
                  <a:lnTo>
                    <a:pt x="3374" y="1628"/>
                  </a:lnTo>
                  <a:lnTo>
                    <a:pt x="3377" y="1594"/>
                  </a:lnTo>
                  <a:lnTo>
                    <a:pt x="3374" y="1559"/>
                  </a:lnTo>
                  <a:lnTo>
                    <a:pt x="3366" y="1524"/>
                  </a:lnTo>
                  <a:lnTo>
                    <a:pt x="3352" y="1492"/>
                  </a:lnTo>
                  <a:lnTo>
                    <a:pt x="3317" y="1435"/>
                  </a:lnTo>
                  <a:lnTo>
                    <a:pt x="3277" y="1385"/>
                  </a:lnTo>
                  <a:lnTo>
                    <a:pt x="3232" y="1338"/>
                  </a:lnTo>
                  <a:lnTo>
                    <a:pt x="3182" y="1297"/>
                  </a:lnTo>
                  <a:lnTo>
                    <a:pt x="3129" y="1261"/>
                  </a:lnTo>
                  <a:lnTo>
                    <a:pt x="3072" y="1231"/>
                  </a:lnTo>
                  <a:lnTo>
                    <a:pt x="3012" y="1209"/>
                  </a:lnTo>
                  <a:lnTo>
                    <a:pt x="2950" y="1190"/>
                  </a:lnTo>
                  <a:lnTo>
                    <a:pt x="2885" y="1181"/>
                  </a:lnTo>
                  <a:lnTo>
                    <a:pt x="2819" y="1176"/>
                  </a:lnTo>
                  <a:lnTo>
                    <a:pt x="2819" y="1176"/>
                  </a:lnTo>
                  <a:lnTo>
                    <a:pt x="2751" y="1181"/>
                  </a:lnTo>
                  <a:lnTo>
                    <a:pt x="2683" y="1192"/>
                  </a:lnTo>
                  <a:lnTo>
                    <a:pt x="2619" y="1212"/>
                  </a:lnTo>
                  <a:lnTo>
                    <a:pt x="2557" y="1237"/>
                  </a:lnTo>
                  <a:lnTo>
                    <a:pt x="2498" y="1269"/>
                  </a:lnTo>
                  <a:lnTo>
                    <a:pt x="2442" y="1309"/>
                  </a:lnTo>
                  <a:lnTo>
                    <a:pt x="2391" y="1355"/>
                  </a:lnTo>
                  <a:lnTo>
                    <a:pt x="2350" y="1399"/>
                  </a:lnTo>
                  <a:lnTo>
                    <a:pt x="2317" y="1447"/>
                  </a:lnTo>
                  <a:lnTo>
                    <a:pt x="1524" y="1447"/>
                  </a:lnTo>
                  <a:lnTo>
                    <a:pt x="1483" y="1393"/>
                  </a:lnTo>
                  <a:lnTo>
                    <a:pt x="1439" y="1345"/>
                  </a:lnTo>
                  <a:lnTo>
                    <a:pt x="1389" y="1303"/>
                  </a:lnTo>
                  <a:lnTo>
                    <a:pt x="1336" y="1265"/>
                  </a:lnTo>
                  <a:lnTo>
                    <a:pt x="1278" y="1234"/>
                  </a:lnTo>
                  <a:lnTo>
                    <a:pt x="1217" y="1210"/>
                  </a:lnTo>
                  <a:lnTo>
                    <a:pt x="1153" y="1192"/>
                  </a:lnTo>
                  <a:lnTo>
                    <a:pt x="1087" y="1181"/>
                  </a:lnTo>
                  <a:lnTo>
                    <a:pt x="1020" y="1176"/>
                  </a:lnTo>
                  <a:lnTo>
                    <a:pt x="954" y="1181"/>
                  </a:lnTo>
                  <a:lnTo>
                    <a:pt x="889" y="1190"/>
                  </a:lnTo>
                  <a:lnTo>
                    <a:pt x="826" y="1209"/>
                  </a:lnTo>
                  <a:lnTo>
                    <a:pt x="767" y="1233"/>
                  </a:lnTo>
                  <a:lnTo>
                    <a:pt x="709" y="1262"/>
                  </a:lnTo>
                  <a:lnTo>
                    <a:pt x="656" y="1297"/>
                  </a:lnTo>
                  <a:lnTo>
                    <a:pt x="607" y="1340"/>
                  </a:lnTo>
                  <a:lnTo>
                    <a:pt x="562" y="1386"/>
                  </a:lnTo>
                  <a:lnTo>
                    <a:pt x="523" y="1437"/>
                  </a:lnTo>
                  <a:lnTo>
                    <a:pt x="487" y="1493"/>
                  </a:lnTo>
                  <a:lnTo>
                    <a:pt x="473" y="1527"/>
                  </a:lnTo>
                  <a:lnTo>
                    <a:pt x="465" y="1561"/>
                  </a:lnTo>
                  <a:lnTo>
                    <a:pt x="462" y="1596"/>
                  </a:lnTo>
                  <a:lnTo>
                    <a:pt x="466" y="1631"/>
                  </a:lnTo>
                  <a:lnTo>
                    <a:pt x="475" y="1665"/>
                  </a:lnTo>
                  <a:lnTo>
                    <a:pt x="490" y="1697"/>
                  </a:lnTo>
                  <a:lnTo>
                    <a:pt x="511" y="1725"/>
                  </a:lnTo>
                  <a:lnTo>
                    <a:pt x="538" y="1751"/>
                  </a:lnTo>
                  <a:lnTo>
                    <a:pt x="566" y="1770"/>
                  </a:lnTo>
                  <a:lnTo>
                    <a:pt x="598" y="1786"/>
                  </a:lnTo>
                  <a:lnTo>
                    <a:pt x="565" y="1801"/>
                  </a:lnTo>
                  <a:lnTo>
                    <a:pt x="534" y="1824"/>
                  </a:lnTo>
                  <a:lnTo>
                    <a:pt x="507" y="1852"/>
                  </a:lnTo>
                  <a:lnTo>
                    <a:pt x="428" y="1817"/>
                  </a:lnTo>
                  <a:lnTo>
                    <a:pt x="358" y="1780"/>
                  </a:lnTo>
                  <a:lnTo>
                    <a:pt x="296" y="1745"/>
                  </a:lnTo>
                  <a:lnTo>
                    <a:pt x="242" y="1708"/>
                  </a:lnTo>
                  <a:lnTo>
                    <a:pt x="194" y="1673"/>
                  </a:lnTo>
                  <a:lnTo>
                    <a:pt x="152" y="1639"/>
                  </a:lnTo>
                  <a:lnTo>
                    <a:pt x="117" y="1606"/>
                  </a:lnTo>
                  <a:lnTo>
                    <a:pt x="89" y="1575"/>
                  </a:lnTo>
                  <a:lnTo>
                    <a:pt x="63" y="1546"/>
                  </a:lnTo>
                  <a:lnTo>
                    <a:pt x="45" y="1521"/>
                  </a:lnTo>
                  <a:lnTo>
                    <a:pt x="30" y="1497"/>
                  </a:lnTo>
                  <a:lnTo>
                    <a:pt x="18" y="1479"/>
                  </a:lnTo>
                  <a:lnTo>
                    <a:pt x="11" y="1463"/>
                  </a:lnTo>
                  <a:lnTo>
                    <a:pt x="6" y="1454"/>
                  </a:lnTo>
                  <a:lnTo>
                    <a:pt x="4" y="1448"/>
                  </a:lnTo>
                  <a:lnTo>
                    <a:pt x="0" y="1430"/>
                  </a:lnTo>
                  <a:lnTo>
                    <a:pt x="0" y="1411"/>
                  </a:lnTo>
                  <a:lnTo>
                    <a:pt x="4" y="1387"/>
                  </a:lnTo>
                  <a:lnTo>
                    <a:pt x="11" y="1355"/>
                  </a:lnTo>
                  <a:lnTo>
                    <a:pt x="18" y="1314"/>
                  </a:lnTo>
                  <a:lnTo>
                    <a:pt x="28" y="1269"/>
                  </a:lnTo>
                  <a:lnTo>
                    <a:pt x="39" y="1217"/>
                  </a:lnTo>
                  <a:lnTo>
                    <a:pt x="52" y="1161"/>
                  </a:lnTo>
                  <a:lnTo>
                    <a:pt x="67" y="1103"/>
                  </a:lnTo>
                  <a:lnTo>
                    <a:pt x="84" y="1041"/>
                  </a:lnTo>
                  <a:lnTo>
                    <a:pt x="104" y="978"/>
                  </a:lnTo>
                  <a:lnTo>
                    <a:pt x="125" y="915"/>
                  </a:lnTo>
                  <a:lnTo>
                    <a:pt x="149" y="853"/>
                  </a:lnTo>
                  <a:lnTo>
                    <a:pt x="176" y="791"/>
                  </a:lnTo>
                  <a:lnTo>
                    <a:pt x="204" y="733"/>
                  </a:lnTo>
                  <a:lnTo>
                    <a:pt x="233" y="677"/>
                  </a:lnTo>
                  <a:lnTo>
                    <a:pt x="267" y="626"/>
                  </a:lnTo>
                  <a:lnTo>
                    <a:pt x="302" y="580"/>
                  </a:lnTo>
                  <a:lnTo>
                    <a:pt x="340" y="540"/>
                  </a:lnTo>
                  <a:lnTo>
                    <a:pt x="381" y="509"/>
                  </a:lnTo>
                  <a:lnTo>
                    <a:pt x="409" y="491"/>
                  </a:lnTo>
                  <a:lnTo>
                    <a:pt x="443" y="469"/>
                  </a:lnTo>
                  <a:lnTo>
                    <a:pt x="483" y="445"/>
                  </a:lnTo>
                  <a:lnTo>
                    <a:pt x="528" y="419"/>
                  </a:lnTo>
                  <a:lnTo>
                    <a:pt x="577" y="390"/>
                  </a:lnTo>
                  <a:lnTo>
                    <a:pt x="629" y="360"/>
                  </a:lnTo>
                  <a:lnTo>
                    <a:pt x="684" y="329"/>
                  </a:lnTo>
                  <a:lnTo>
                    <a:pt x="742" y="297"/>
                  </a:lnTo>
                  <a:lnTo>
                    <a:pt x="801" y="264"/>
                  </a:lnTo>
                  <a:lnTo>
                    <a:pt x="860" y="232"/>
                  </a:lnTo>
                  <a:lnTo>
                    <a:pt x="919" y="200"/>
                  </a:lnTo>
                  <a:lnTo>
                    <a:pt x="978" y="167"/>
                  </a:lnTo>
                  <a:lnTo>
                    <a:pt x="1035" y="136"/>
                  </a:lnTo>
                  <a:lnTo>
                    <a:pt x="1090" y="107"/>
                  </a:lnTo>
                  <a:lnTo>
                    <a:pt x="1142" y="79"/>
                  </a:lnTo>
                  <a:lnTo>
                    <a:pt x="1190" y="52"/>
                  </a:lnTo>
                  <a:lnTo>
                    <a:pt x="1235" y="29"/>
                  </a:lnTo>
                  <a:lnTo>
                    <a:pt x="1274" y="8"/>
                  </a:lnTo>
                  <a:lnTo>
                    <a:pt x="1294" y="0"/>
                  </a:lnTo>
                  <a:lnTo>
                    <a:pt x="131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7" name="Freeform 1213">
              <a:extLst>
                <a:ext uri="{FF2B5EF4-FFF2-40B4-BE49-F238E27FC236}">
                  <a16:creationId xmlns:a16="http://schemas.microsoft.com/office/drawing/2014/main" id="{47611D1A-4917-DA7A-7041-D8338C4FCF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1" y="5260"/>
              <a:ext cx="1279" cy="428"/>
            </a:xfrm>
            <a:custGeom>
              <a:avLst/>
              <a:gdLst>
                <a:gd name="T0" fmla="*/ 2281 w 2558"/>
                <a:gd name="T1" fmla="*/ 12 h 858"/>
                <a:gd name="T2" fmla="*/ 2419 w 2558"/>
                <a:gd name="T3" fmla="*/ 74 h 858"/>
                <a:gd name="T4" fmla="*/ 2527 w 2558"/>
                <a:gd name="T5" fmla="*/ 178 h 858"/>
                <a:gd name="T6" fmla="*/ 2554 w 2558"/>
                <a:gd name="T7" fmla="*/ 248 h 858"/>
                <a:gd name="T8" fmla="*/ 2538 w 2558"/>
                <a:gd name="T9" fmla="*/ 259 h 858"/>
                <a:gd name="T10" fmla="*/ 2148 w 2558"/>
                <a:gd name="T11" fmla="*/ 269 h 858"/>
                <a:gd name="T12" fmla="*/ 2136 w 2558"/>
                <a:gd name="T13" fmla="*/ 323 h 858"/>
                <a:gd name="T14" fmla="*/ 2131 w 2558"/>
                <a:gd name="T15" fmla="*/ 428 h 858"/>
                <a:gd name="T16" fmla="*/ 2136 w 2558"/>
                <a:gd name="T17" fmla="*/ 534 h 858"/>
                <a:gd name="T18" fmla="*/ 2148 w 2558"/>
                <a:gd name="T19" fmla="*/ 587 h 858"/>
                <a:gd name="T20" fmla="*/ 2532 w 2558"/>
                <a:gd name="T21" fmla="*/ 596 h 858"/>
                <a:gd name="T22" fmla="*/ 2551 w 2558"/>
                <a:gd name="T23" fmla="*/ 603 h 858"/>
                <a:gd name="T24" fmla="*/ 2555 w 2558"/>
                <a:gd name="T25" fmla="*/ 634 h 858"/>
                <a:gd name="T26" fmla="*/ 2459 w 2558"/>
                <a:gd name="T27" fmla="*/ 752 h 858"/>
                <a:gd name="T28" fmla="*/ 2330 w 2558"/>
                <a:gd name="T29" fmla="*/ 829 h 858"/>
                <a:gd name="T30" fmla="*/ 2180 w 2558"/>
                <a:gd name="T31" fmla="*/ 858 h 858"/>
                <a:gd name="T32" fmla="*/ 2063 w 2558"/>
                <a:gd name="T33" fmla="*/ 841 h 858"/>
                <a:gd name="T34" fmla="*/ 1914 w 2558"/>
                <a:gd name="T35" fmla="*/ 765 h 858"/>
                <a:gd name="T36" fmla="*/ 1806 w 2558"/>
                <a:gd name="T37" fmla="*/ 638 h 858"/>
                <a:gd name="T38" fmla="*/ 758 w 2558"/>
                <a:gd name="T39" fmla="*/ 627 h 858"/>
                <a:gd name="T40" fmla="*/ 682 w 2558"/>
                <a:gd name="T41" fmla="*/ 731 h 858"/>
                <a:gd name="T42" fmla="*/ 543 w 2558"/>
                <a:gd name="T43" fmla="*/ 824 h 858"/>
                <a:gd name="T44" fmla="*/ 380 w 2558"/>
                <a:gd name="T45" fmla="*/ 858 h 858"/>
                <a:gd name="T46" fmla="*/ 278 w 2558"/>
                <a:gd name="T47" fmla="*/ 845 h 858"/>
                <a:gd name="T48" fmla="*/ 140 w 2558"/>
                <a:gd name="T49" fmla="*/ 784 h 858"/>
                <a:gd name="T50" fmla="*/ 32 w 2558"/>
                <a:gd name="T51" fmla="*/ 679 h 858"/>
                <a:gd name="T52" fmla="*/ 4 w 2558"/>
                <a:gd name="T53" fmla="*/ 610 h 858"/>
                <a:gd name="T54" fmla="*/ 19 w 2558"/>
                <a:gd name="T55" fmla="*/ 597 h 858"/>
                <a:gd name="T56" fmla="*/ 411 w 2558"/>
                <a:gd name="T57" fmla="*/ 587 h 858"/>
                <a:gd name="T58" fmla="*/ 422 w 2558"/>
                <a:gd name="T59" fmla="*/ 534 h 858"/>
                <a:gd name="T60" fmla="*/ 428 w 2558"/>
                <a:gd name="T61" fmla="*/ 428 h 858"/>
                <a:gd name="T62" fmla="*/ 421 w 2558"/>
                <a:gd name="T63" fmla="*/ 323 h 858"/>
                <a:gd name="T64" fmla="*/ 411 w 2558"/>
                <a:gd name="T65" fmla="*/ 269 h 858"/>
                <a:gd name="T66" fmla="*/ 19 w 2558"/>
                <a:gd name="T67" fmla="*/ 261 h 858"/>
                <a:gd name="T68" fmla="*/ 4 w 2558"/>
                <a:gd name="T69" fmla="*/ 250 h 858"/>
                <a:gd name="T70" fmla="*/ 31 w 2558"/>
                <a:gd name="T71" fmla="*/ 179 h 858"/>
                <a:gd name="T72" fmla="*/ 139 w 2558"/>
                <a:gd name="T73" fmla="*/ 74 h 858"/>
                <a:gd name="T74" fmla="*/ 276 w 2558"/>
                <a:gd name="T75" fmla="*/ 13 h 858"/>
                <a:gd name="T76" fmla="*/ 438 w 2558"/>
                <a:gd name="T77" fmla="*/ 5 h 858"/>
                <a:gd name="T78" fmla="*/ 598 w 2558"/>
                <a:gd name="T79" fmla="*/ 61 h 858"/>
                <a:gd name="T80" fmla="*/ 720 w 2558"/>
                <a:gd name="T81" fmla="*/ 172 h 858"/>
                <a:gd name="T82" fmla="*/ 1782 w 2558"/>
                <a:gd name="T83" fmla="*/ 269 h 858"/>
                <a:gd name="T84" fmla="*/ 1847 w 2558"/>
                <a:gd name="T85" fmla="*/ 158 h 858"/>
                <a:gd name="T86" fmla="*/ 1965 w 2558"/>
                <a:gd name="T87" fmla="*/ 57 h 858"/>
                <a:gd name="T88" fmla="*/ 2122 w 2558"/>
                <a:gd name="T89" fmla="*/ 3 h 8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558" h="858">
                  <a:moveTo>
                    <a:pt x="2178" y="0"/>
                  </a:moveTo>
                  <a:lnTo>
                    <a:pt x="2230" y="3"/>
                  </a:lnTo>
                  <a:lnTo>
                    <a:pt x="2281" y="12"/>
                  </a:lnTo>
                  <a:lnTo>
                    <a:pt x="2329" y="27"/>
                  </a:lnTo>
                  <a:lnTo>
                    <a:pt x="2375" y="47"/>
                  </a:lnTo>
                  <a:lnTo>
                    <a:pt x="2419" y="74"/>
                  </a:lnTo>
                  <a:lnTo>
                    <a:pt x="2458" y="103"/>
                  </a:lnTo>
                  <a:lnTo>
                    <a:pt x="2495" y="138"/>
                  </a:lnTo>
                  <a:lnTo>
                    <a:pt x="2527" y="178"/>
                  </a:lnTo>
                  <a:lnTo>
                    <a:pt x="2554" y="223"/>
                  </a:lnTo>
                  <a:lnTo>
                    <a:pt x="2558" y="236"/>
                  </a:lnTo>
                  <a:lnTo>
                    <a:pt x="2554" y="248"/>
                  </a:lnTo>
                  <a:lnTo>
                    <a:pt x="2549" y="252"/>
                  </a:lnTo>
                  <a:lnTo>
                    <a:pt x="2544" y="257"/>
                  </a:lnTo>
                  <a:lnTo>
                    <a:pt x="2538" y="259"/>
                  </a:lnTo>
                  <a:lnTo>
                    <a:pt x="2531" y="261"/>
                  </a:lnTo>
                  <a:lnTo>
                    <a:pt x="2150" y="261"/>
                  </a:lnTo>
                  <a:lnTo>
                    <a:pt x="2148" y="269"/>
                  </a:lnTo>
                  <a:lnTo>
                    <a:pt x="2143" y="283"/>
                  </a:lnTo>
                  <a:lnTo>
                    <a:pt x="2139" y="300"/>
                  </a:lnTo>
                  <a:lnTo>
                    <a:pt x="2136" y="323"/>
                  </a:lnTo>
                  <a:lnTo>
                    <a:pt x="2134" y="351"/>
                  </a:lnTo>
                  <a:lnTo>
                    <a:pt x="2131" y="386"/>
                  </a:lnTo>
                  <a:lnTo>
                    <a:pt x="2131" y="428"/>
                  </a:lnTo>
                  <a:lnTo>
                    <a:pt x="2132" y="471"/>
                  </a:lnTo>
                  <a:lnTo>
                    <a:pt x="2134" y="506"/>
                  </a:lnTo>
                  <a:lnTo>
                    <a:pt x="2136" y="534"/>
                  </a:lnTo>
                  <a:lnTo>
                    <a:pt x="2141" y="556"/>
                  </a:lnTo>
                  <a:lnTo>
                    <a:pt x="2143" y="575"/>
                  </a:lnTo>
                  <a:lnTo>
                    <a:pt x="2148" y="587"/>
                  </a:lnTo>
                  <a:lnTo>
                    <a:pt x="2150" y="596"/>
                  </a:lnTo>
                  <a:lnTo>
                    <a:pt x="2532" y="596"/>
                  </a:lnTo>
                  <a:lnTo>
                    <a:pt x="2532" y="596"/>
                  </a:lnTo>
                  <a:lnTo>
                    <a:pt x="2539" y="596"/>
                  </a:lnTo>
                  <a:lnTo>
                    <a:pt x="2545" y="599"/>
                  </a:lnTo>
                  <a:lnTo>
                    <a:pt x="2551" y="603"/>
                  </a:lnTo>
                  <a:lnTo>
                    <a:pt x="2555" y="608"/>
                  </a:lnTo>
                  <a:lnTo>
                    <a:pt x="2558" y="621"/>
                  </a:lnTo>
                  <a:lnTo>
                    <a:pt x="2555" y="634"/>
                  </a:lnTo>
                  <a:lnTo>
                    <a:pt x="2527" y="677"/>
                  </a:lnTo>
                  <a:lnTo>
                    <a:pt x="2495" y="717"/>
                  </a:lnTo>
                  <a:lnTo>
                    <a:pt x="2459" y="752"/>
                  </a:lnTo>
                  <a:lnTo>
                    <a:pt x="2419" y="783"/>
                  </a:lnTo>
                  <a:lnTo>
                    <a:pt x="2375" y="810"/>
                  </a:lnTo>
                  <a:lnTo>
                    <a:pt x="2330" y="829"/>
                  </a:lnTo>
                  <a:lnTo>
                    <a:pt x="2281" y="845"/>
                  </a:lnTo>
                  <a:lnTo>
                    <a:pt x="2232" y="853"/>
                  </a:lnTo>
                  <a:lnTo>
                    <a:pt x="2180" y="858"/>
                  </a:lnTo>
                  <a:lnTo>
                    <a:pt x="2180" y="858"/>
                  </a:lnTo>
                  <a:lnTo>
                    <a:pt x="2121" y="853"/>
                  </a:lnTo>
                  <a:lnTo>
                    <a:pt x="2063" y="841"/>
                  </a:lnTo>
                  <a:lnTo>
                    <a:pt x="2010" y="822"/>
                  </a:lnTo>
                  <a:lnTo>
                    <a:pt x="1961" y="797"/>
                  </a:lnTo>
                  <a:lnTo>
                    <a:pt x="1914" y="765"/>
                  </a:lnTo>
                  <a:lnTo>
                    <a:pt x="1874" y="727"/>
                  </a:lnTo>
                  <a:lnTo>
                    <a:pt x="1837" y="684"/>
                  </a:lnTo>
                  <a:lnTo>
                    <a:pt x="1806" y="638"/>
                  </a:lnTo>
                  <a:lnTo>
                    <a:pt x="1782" y="587"/>
                  </a:lnTo>
                  <a:lnTo>
                    <a:pt x="776" y="587"/>
                  </a:lnTo>
                  <a:lnTo>
                    <a:pt x="758" y="627"/>
                  </a:lnTo>
                  <a:lnTo>
                    <a:pt x="737" y="663"/>
                  </a:lnTo>
                  <a:lnTo>
                    <a:pt x="712" y="698"/>
                  </a:lnTo>
                  <a:lnTo>
                    <a:pt x="682" y="731"/>
                  </a:lnTo>
                  <a:lnTo>
                    <a:pt x="639" y="769"/>
                  </a:lnTo>
                  <a:lnTo>
                    <a:pt x="592" y="800"/>
                  </a:lnTo>
                  <a:lnTo>
                    <a:pt x="543" y="824"/>
                  </a:lnTo>
                  <a:lnTo>
                    <a:pt x="491" y="842"/>
                  </a:lnTo>
                  <a:lnTo>
                    <a:pt x="436" y="853"/>
                  </a:lnTo>
                  <a:lnTo>
                    <a:pt x="380" y="858"/>
                  </a:lnTo>
                  <a:lnTo>
                    <a:pt x="379" y="858"/>
                  </a:lnTo>
                  <a:lnTo>
                    <a:pt x="327" y="853"/>
                  </a:lnTo>
                  <a:lnTo>
                    <a:pt x="278" y="845"/>
                  </a:lnTo>
                  <a:lnTo>
                    <a:pt x="229" y="829"/>
                  </a:lnTo>
                  <a:lnTo>
                    <a:pt x="184" y="810"/>
                  </a:lnTo>
                  <a:lnTo>
                    <a:pt x="140" y="784"/>
                  </a:lnTo>
                  <a:lnTo>
                    <a:pt x="99" y="753"/>
                  </a:lnTo>
                  <a:lnTo>
                    <a:pt x="64" y="718"/>
                  </a:lnTo>
                  <a:lnTo>
                    <a:pt x="32" y="679"/>
                  </a:lnTo>
                  <a:lnTo>
                    <a:pt x="4" y="635"/>
                  </a:lnTo>
                  <a:lnTo>
                    <a:pt x="1" y="623"/>
                  </a:lnTo>
                  <a:lnTo>
                    <a:pt x="4" y="610"/>
                  </a:lnTo>
                  <a:lnTo>
                    <a:pt x="8" y="604"/>
                  </a:lnTo>
                  <a:lnTo>
                    <a:pt x="14" y="600"/>
                  </a:lnTo>
                  <a:lnTo>
                    <a:pt x="19" y="597"/>
                  </a:lnTo>
                  <a:lnTo>
                    <a:pt x="26" y="597"/>
                  </a:lnTo>
                  <a:lnTo>
                    <a:pt x="408" y="596"/>
                  </a:lnTo>
                  <a:lnTo>
                    <a:pt x="411" y="587"/>
                  </a:lnTo>
                  <a:lnTo>
                    <a:pt x="415" y="575"/>
                  </a:lnTo>
                  <a:lnTo>
                    <a:pt x="418" y="556"/>
                  </a:lnTo>
                  <a:lnTo>
                    <a:pt x="422" y="534"/>
                  </a:lnTo>
                  <a:lnTo>
                    <a:pt x="425" y="506"/>
                  </a:lnTo>
                  <a:lnTo>
                    <a:pt x="427" y="471"/>
                  </a:lnTo>
                  <a:lnTo>
                    <a:pt x="428" y="428"/>
                  </a:lnTo>
                  <a:lnTo>
                    <a:pt x="427" y="386"/>
                  </a:lnTo>
                  <a:lnTo>
                    <a:pt x="425" y="351"/>
                  </a:lnTo>
                  <a:lnTo>
                    <a:pt x="421" y="323"/>
                  </a:lnTo>
                  <a:lnTo>
                    <a:pt x="418" y="300"/>
                  </a:lnTo>
                  <a:lnTo>
                    <a:pt x="414" y="282"/>
                  </a:lnTo>
                  <a:lnTo>
                    <a:pt x="411" y="269"/>
                  </a:lnTo>
                  <a:lnTo>
                    <a:pt x="407" y="261"/>
                  </a:lnTo>
                  <a:lnTo>
                    <a:pt x="26" y="262"/>
                  </a:lnTo>
                  <a:lnTo>
                    <a:pt x="19" y="261"/>
                  </a:lnTo>
                  <a:lnTo>
                    <a:pt x="14" y="258"/>
                  </a:lnTo>
                  <a:lnTo>
                    <a:pt x="8" y="254"/>
                  </a:lnTo>
                  <a:lnTo>
                    <a:pt x="4" y="250"/>
                  </a:lnTo>
                  <a:lnTo>
                    <a:pt x="0" y="237"/>
                  </a:lnTo>
                  <a:lnTo>
                    <a:pt x="4" y="223"/>
                  </a:lnTo>
                  <a:lnTo>
                    <a:pt x="31" y="179"/>
                  </a:lnTo>
                  <a:lnTo>
                    <a:pt x="63" y="140"/>
                  </a:lnTo>
                  <a:lnTo>
                    <a:pt x="99" y="105"/>
                  </a:lnTo>
                  <a:lnTo>
                    <a:pt x="139" y="74"/>
                  </a:lnTo>
                  <a:lnTo>
                    <a:pt x="182" y="48"/>
                  </a:lnTo>
                  <a:lnTo>
                    <a:pt x="229" y="27"/>
                  </a:lnTo>
                  <a:lnTo>
                    <a:pt x="276" y="13"/>
                  </a:lnTo>
                  <a:lnTo>
                    <a:pt x="327" y="3"/>
                  </a:lnTo>
                  <a:lnTo>
                    <a:pt x="379" y="0"/>
                  </a:lnTo>
                  <a:lnTo>
                    <a:pt x="438" y="5"/>
                  </a:lnTo>
                  <a:lnTo>
                    <a:pt x="494" y="16"/>
                  </a:lnTo>
                  <a:lnTo>
                    <a:pt x="547" y="34"/>
                  </a:lnTo>
                  <a:lnTo>
                    <a:pt x="598" y="61"/>
                  </a:lnTo>
                  <a:lnTo>
                    <a:pt x="643" y="92"/>
                  </a:lnTo>
                  <a:lnTo>
                    <a:pt x="685" y="130"/>
                  </a:lnTo>
                  <a:lnTo>
                    <a:pt x="720" y="172"/>
                  </a:lnTo>
                  <a:lnTo>
                    <a:pt x="751" y="219"/>
                  </a:lnTo>
                  <a:lnTo>
                    <a:pt x="776" y="269"/>
                  </a:lnTo>
                  <a:lnTo>
                    <a:pt x="1782" y="269"/>
                  </a:lnTo>
                  <a:lnTo>
                    <a:pt x="1799" y="231"/>
                  </a:lnTo>
                  <a:lnTo>
                    <a:pt x="1822" y="193"/>
                  </a:lnTo>
                  <a:lnTo>
                    <a:pt x="1847" y="158"/>
                  </a:lnTo>
                  <a:lnTo>
                    <a:pt x="1876" y="126"/>
                  </a:lnTo>
                  <a:lnTo>
                    <a:pt x="1919" y="89"/>
                  </a:lnTo>
                  <a:lnTo>
                    <a:pt x="1965" y="57"/>
                  </a:lnTo>
                  <a:lnTo>
                    <a:pt x="2016" y="33"/>
                  </a:lnTo>
                  <a:lnTo>
                    <a:pt x="2067" y="15"/>
                  </a:lnTo>
                  <a:lnTo>
                    <a:pt x="2122" y="3"/>
                  </a:lnTo>
                  <a:lnTo>
                    <a:pt x="217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sp>
        <p:nvSpPr>
          <p:cNvPr id="58" name="Freeform 1489">
            <a:extLst>
              <a:ext uri="{FF2B5EF4-FFF2-40B4-BE49-F238E27FC236}">
                <a16:creationId xmlns:a16="http://schemas.microsoft.com/office/drawing/2014/main" id="{8DB275B9-D927-1355-3CC7-0C4AAA322D9D}"/>
              </a:ext>
            </a:extLst>
          </p:cNvPr>
          <p:cNvSpPr>
            <a:spLocks noEditPoints="1"/>
          </p:cNvSpPr>
          <p:nvPr/>
        </p:nvSpPr>
        <p:spPr bwMode="auto">
          <a:xfrm>
            <a:off x="7160400" y="2615548"/>
            <a:ext cx="272088" cy="240805"/>
          </a:xfrm>
          <a:custGeom>
            <a:avLst/>
            <a:gdLst>
              <a:gd name="T0" fmla="*/ 1724 w 3366"/>
              <a:gd name="T1" fmla="*/ 1859 h 2980"/>
              <a:gd name="T2" fmla="*/ 2365 w 3366"/>
              <a:gd name="T3" fmla="*/ 2383 h 2980"/>
              <a:gd name="T4" fmla="*/ 2690 w 3366"/>
              <a:gd name="T5" fmla="*/ 2208 h 2980"/>
              <a:gd name="T6" fmla="*/ 2690 w 3366"/>
              <a:gd name="T7" fmla="*/ 2389 h 2980"/>
              <a:gd name="T8" fmla="*/ 1724 w 3366"/>
              <a:gd name="T9" fmla="*/ 2980 h 2980"/>
              <a:gd name="T10" fmla="*/ 1724 w 3366"/>
              <a:gd name="T11" fmla="*/ 2980 h 2980"/>
              <a:gd name="T12" fmla="*/ 1724 w 3366"/>
              <a:gd name="T13" fmla="*/ 1859 h 2980"/>
              <a:gd name="T14" fmla="*/ 1642 w 3366"/>
              <a:gd name="T15" fmla="*/ 1859 h 2980"/>
              <a:gd name="T16" fmla="*/ 1642 w 3366"/>
              <a:gd name="T17" fmla="*/ 2980 h 2980"/>
              <a:gd name="T18" fmla="*/ 1642 w 3366"/>
              <a:gd name="T19" fmla="*/ 2980 h 2980"/>
              <a:gd name="T20" fmla="*/ 676 w 3366"/>
              <a:gd name="T21" fmla="*/ 2389 h 2980"/>
              <a:gd name="T22" fmla="*/ 676 w 3366"/>
              <a:gd name="T23" fmla="*/ 2208 h 2980"/>
              <a:gd name="T24" fmla="*/ 1001 w 3366"/>
              <a:gd name="T25" fmla="*/ 2383 h 2980"/>
              <a:gd name="T26" fmla="*/ 1642 w 3366"/>
              <a:gd name="T27" fmla="*/ 1859 h 2980"/>
              <a:gd name="T28" fmla="*/ 2738 w 3366"/>
              <a:gd name="T29" fmla="*/ 1235 h 2980"/>
              <a:gd name="T30" fmla="*/ 3319 w 3366"/>
              <a:gd name="T31" fmla="*/ 1725 h 2980"/>
              <a:gd name="T32" fmla="*/ 2352 w 3366"/>
              <a:gd name="T33" fmla="*/ 2288 h 2980"/>
              <a:gd name="T34" fmla="*/ 1790 w 3366"/>
              <a:gd name="T35" fmla="*/ 1805 h 2980"/>
              <a:gd name="T36" fmla="*/ 2738 w 3366"/>
              <a:gd name="T37" fmla="*/ 1235 h 2980"/>
              <a:gd name="T38" fmla="*/ 629 w 3366"/>
              <a:gd name="T39" fmla="*/ 1235 h 2980"/>
              <a:gd name="T40" fmla="*/ 1576 w 3366"/>
              <a:gd name="T41" fmla="*/ 1805 h 2980"/>
              <a:gd name="T42" fmla="*/ 1015 w 3366"/>
              <a:gd name="T43" fmla="*/ 2288 h 2980"/>
              <a:gd name="T44" fmla="*/ 48 w 3366"/>
              <a:gd name="T45" fmla="*/ 1725 h 2980"/>
              <a:gd name="T46" fmla="*/ 629 w 3366"/>
              <a:gd name="T47" fmla="*/ 1235 h 2980"/>
              <a:gd name="T48" fmla="*/ 2358 w 3366"/>
              <a:gd name="T49" fmla="*/ 0 h 2980"/>
              <a:gd name="T50" fmla="*/ 3366 w 3366"/>
              <a:gd name="T51" fmla="*/ 618 h 2980"/>
              <a:gd name="T52" fmla="*/ 2731 w 3366"/>
              <a:gd name="T53" fmla="*/ 1135 h 2980"/>
              <a:gd name="T54" fmla="*/ 1724 w 3366"/>
              <a:gd name="T55" fmla="*/ 524 h 2980"/>
              <a:gd name="T56" fmla="*/ 2358 w 3366"/>
              <a:gd name="T57" fmla="*/ 0 h 2980"/>
              <a:gd name="T58" fmla="*/ 1008 w 3366"/>
              <a:gd name="T59" fmla="*/ 0 h 2980"/>
              <a:gd name="T60" fmla="*/ 1642 w 3366"/>
              <a:gd name="T61" fmla="*/ 524 h 2980"/>
              <a:gd name="T62" fmla="*/ 635 w 3366"/>
              <a:gd name="T63" fmla="*/ 1135 h 2980"/>
              <a:gd name="T64" fmla="*/ 0 w 3366"/>
              <a:gd name="T65" fmla="*/ 618 h 2980"/>
              <a:gd name="T66" fmla="*/ 1008 w 3366"/>
              <a:gd name="T67" fmla="*/ 0 h 29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3366" h="2980">
                <a:moveTo>
                  <a:pt x="1724" y="1859"/>
                </a:moveTo>
                <a:lnTo>
                  <a:pt x="2365" y="2383"/>
                </a:lnTo>
                <a:lnTo>
                  <a:pt x="2690" y="2208"/>
                </a:lnTo>
                <a:lnTo>
                  <a:pt x="2690" y="2389"/>
                </a:lnTo>
                <a:lnTo>
                  <a:pt x="1724" y="2980"/>
                </a:lnTo>
                <a:lnTo>
                  <a:pt x="1724" y="2980"/>
                </a:lnTo>
                <a:lnTo>
                  <a:pt x="1724" y="1859"/>
                </a:lnTo>
                <a:close/>
                <a:moveTo>
                  <a:pt x="1642" y="1859"/>
                </a:moveTo>
                <a:lnTo>
                  <a:pt x="1642" y="2980"/>
                </a:lnTo>
                <a:lnTo>
                  <a:pt x="1642" y="2980"/>
                </a:lnTo>
                <a:lnTo>
                  <a:pt x="676" y="2389"/>
                </a:lnTo>
                <a:lnTo>
                  <a:pt x="676" y="2208"/>
                </a:lnTo>
                <a:lnTo>
                  <a:pt x="1001" y="2383"/>
                </a:lnTo>
                <a:lnTo>
                  <a:pt x="1642" y="1859"/>
                </a:lnTo>
                <a:close/>
                <a:moveTo>
                  <a:pt x="2738" y="1235"/>
                </a:moveTo>
                <a:lnTo>
                  <a:pt x="3319" y="1725"/>
                </a:lnTo>
                <a:lnTo>
                  <a:pt x="2352" y="2288"/>
                </a:lnTo>
                <a:lnTo>
                  <a:pt x="1790" y="1805"/>
                </a:lnTo>
                <a:lnTo>
                  <a:pt x="2738" y="1235"/>
                </a:lnTo>
                <a:close/>
                <a:moveTo>
                  <a:pt x="629" y="1235"/>
                </a:moveTo>
                <a:lnTo>
                  <a:pt x="1576" y="1805"/>
                </a:lnTo>
                <a:lnTo>
                  <a:pt x="1015" y="2288"/>
                </a:lnTo>
                <a:lnTo>
                  <a:pt x="48" y="1725"/>
                </a:lnTo>
                <a:lnTo>
                  <a:pt x="629" y="1235"/>
                </a:lnTo>
                <a:close/>
                <a:moveTo>
                  <a:pt x="2358" y="0"/>
                </a:moveTo>
                <a:lnTo>
                  <a:pt x="3366" y="618"/>
                </a:lnTo>
                <a:lnTo>
                  <a:pt x="2731" y="1135"/>
                </a:lnTo>
                <a:lnTo>
                  <a:pt x="1724" y="524"/>
                </a:lnTo>
                <a:lnTo>
                  <a:pt x="2358" y="0"/>
                </a:lnTo>
                <a:close/>
                <a:moveTo>
                  <a:pt x="1008" y="0"/>
                </a:moveTo>
                <a:lnTo>
                  <a:pt x="1642" y="524"/>
                </a:lnTo>
                <a:lnTo>
                  <a:pt x="635" y="1135"/>
                </a:lnTo>
                <a:lnTo>
                  <a:pt x="0" y="618"/>
                </a:lnTo>
                <a:lnTo>
                  <a:pt x="1008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1524928434"/>
      </p:ext>
    </p:extLst>
  </p:cSld>
  <p:clrMapOvr>
    <a:masterClrMapping/>
  </p:clrMapOvr>
</p:sld>
</file>

<file path=ppt/slides/slide1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663068-7084-CA56-6620-4D10576B31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1" name="think-cell data - do not delete" hidden="1">
            <a:extLst>
              <a:ext uri="{FF2B5EF4-FFF2-40B4-BE49-F238E27FC236}">
                <a16:creationId xmlns:a16="http://schemas.microsoft.com/office/drawing/2014/main" id="{AF1AFD8B-428A-8CDE-7604-9BE26444301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2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F1AFD8B-428A-8CDE-7604-9BE2644430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00EE0F0-0D27-EC49-E5B1-EBD774779D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ircular layou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5609FB4-23E0-DDF0-D809-E1B881EC15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38</a:t>
            </a:fld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13CD3B9-D9C5-A8F8-6481-F678D6A1589B}"/>
              </a:ext>
            </a:extLst>
          </p:cNvPr>
          <p:cNvGrpSpPr/>
          <p:nvPr/>
        </p:nvGrpSpPr>
        <p:grpSpPr>
          <a:xfrm>
            <a:off x="3917818" y="1590822"/>
            <a:ext cx="4187259" cy="4187259"/>
            <a:chOff x="3001778" y="1230630"/>
            <a:chExt cx="3140444" cy="3140444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37C34EF5-D1C0-B469-6817-435F67CB6118}"/>
                </a:ext>
              </a:extLst>
            </p:cNvPr>
            <p:cNvGrpSpPr/>
            <p:nvPr/>
          </p:nvGrpSpPr>
          <p:grpSpPr>
            <a:xfrm>
              <a:off x="3001778" y="1230630"/>
              <a:ext cx="3140444" cy="3140444"/>
              <a:chOff x="17496931" y="2026624"/>
              <a:chExt cx="4187258" cy="4187258"/>
            </a:xfrm>
          </p:grpSpPr>
          <p:sp>
            <p:nvSpPr>
              <p:cNvPr id="15" name="Freeform 15">
                <a:extLst>
                  <a:ext uri="{FF2B5EF4-FFF2-40B4-BE49-F238E27FC236}">
                    <a16:creationId xmlns:a16="http://schemas.microsoft.com/office/drawing/2014/main" id="{48AB17EF-FCF0-CCB0-2163-248DED7518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719236" y="2026624"/>
                <a:ext cx="1739923" cy="1027542"/>
              </a:xfrm>
              <a:custGeom>
                <a:avLst/>
                <a:gdLst>
                  <a:gd name="T0" fmla="*/ 623 w 811"/>
                  <a:gd name="T1" fmla="*/ 479 h 479"/>
                  <a:gd name="T2" fmla="*/ 811 w 811"/>
                  <a:gd name="T3" fmla="*/ 89 h 479"/>
                  <a:gd name="T4" fmla="*/ 406 w 811"/>
                  <a:gd name="T5" fmla="*/ 0 h 479"/>
                  <a:gd name="T6" fmla="*/ 0 w 811"/>
                  <a:gd name="T7" fmla="*/ 89 h 479"/>
                  <a:gd name="T8" fmla="*/ 189 w 811"/>
                  <a:gd name="T9" fmla="*/ 479 h 479"/>
                  <a:gd name="T10" fmla="*/ 406 w 811"/>
                  <a:gd name="T11" fmla="*/ 434 h 479"/>
                  <a:gd name="T12" fmla="*/ 623 w 811"/>
                  <a:gd name="T13" fmla="*/ 479 h 4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11" h="479">
                    <a:moveTo>
                      <a:pt x="623" y="479"/>
                    </a:moveTo>
                    <a:cubicBezTo>
                      <a:pt x="811" y="89"/>
                      <a:pt x="811" y="89"/>
                      <a:pt x="811" y="89"/>
                    </a:cubicBezTo>
                    <a:cubicBezTo>
                      <a:pt x="688" y="32"/>
                      <a:pt x="550" y="0"/>
                      <a:pt x="406" y="0"/>
                    </a:cubicBezTo>
                    <a:cubicBezTo>
                      <a:pt x="261" y="0"/>
                      <a:pt x="124" y="32"/>
                      <a:pt x="0" y="89"/>
                    </a:cubicBezTo>
                    <a:cubicBezTo>
                      <a:pt x="0" y="89"/>
                      <a:pt x="83" y="261"/>
                      <a:pt x="189" y="479"/>
                    </a:cubicBezTo>
                    <a:cubicBezTo>
                      <a:pt x="255" y="450"/>
                      <a:pt x="329" y="434"/>
                      <a:pt x="406" y="434"/>
                    </a:cubicBezTo>
                    <a:cubicBezTo>
                      <a:pt x="483" y="434"/>
                      <a:pt x="557" y="450"/>
                      <a:pt x="623" y="479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Freeform 16">
                <a:extLst>
                  <a:ext uri="{FF2B5EF4-FFF2-40B4-BE49-F238E27FC236}">
                    <a16:creationId xmlns:a16="http://schemas.microsoft.com/office/drawing/2014/main" id="{85AFA889-48EB-ED9C-CE8E-288F12B39E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980949" y="4879800"/>
                <a:ext cx="1566476" cy="1334082"/>
              </a:xfrm>
              <a:custGeom>
                <a:avLst/>
                <a:gdLst>
                  <a:gd name="T0" fmla="*/ 339 w 730"/>
                  <a:gd name="T1" fmla="*/ 0 h 622"/>
                  <a:gd name="T2" fmla="*/ 0 w 730"/>
                  <a:gd name="T3" fmla="*/ 270 h 622"/>
                  <a:gd name="T4" fmla="*/ 730 w 730"/>
                  <a:gd name="T5" fmla="*/ 622 h 622"/>
                  <a:gd name="T6" fmla="*/ 730 w 730"/>
                  <a:gd name="T7" fmla="*/ 188 h 622"/>
                  <a:gd name="T8" fmla="*/ 339 w 730"/>
                  <a:gd name="T9" fmla="*/ 0 h 6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0" h="622">
                    <a:moveTo>
                      <a:pt x="339" y="0"/>
                    </a:moveTo>
                    <a:cubicBezTo>
                      <a:pt x="0" y="270"/>
                      <a:pt x="0" y="270"/>
                      <a:pt x="0" y="270"/>
                    </a:cubicBezTo>
                    <a:cubicBezTo>
                      <a:pt x="175" y="480"/>
                      <a:pt x="437" y="616"/>
                      <a:pt x="730" y="622"/>
                    </a:cubicBezTo>
                    <a:cubicBezTo>
                      <a:pt x="730" y="622"/>
                      <a:pt x="730" y="430"/>
                      <a:pt x="730" y="188"/>
                    </a:cubicBezTo>
                    <a:cubicBezTo>
                      <a:pt x="574" y="182"/>
                      <a:pt x="434" y="110"/>
                      <a:pt x="339" y="0"/>
                    </a:cubicBez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Freeform 17">
                <a:extLst>
                  <a:ext uri="{FF2B5EF4-FFF2-40B4-BE49-F238E27FC236}">
                    <a16:creationId xmlns:a16="http://schemas.microsoft.com/office/drawing/2014/main" id="{7FDB8394-A625-8CFF-8180-2D2910111F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58682" y="2254262"/>
                <a:ext cx="1489287" cy="1565347"/>
              </a:xfrm>
              <a:custGeom>
                <a:avLst/>
                <a:gdLst>
                  <a:gd name="T0" fmla="*/ 694 w 694"/>
                  <a:gd name="T1" fmla="*/ 391 h 730"/>
                  <a:gd name="T2" fmla="*/ 505 w 694"/>
                  <a:gd name="T3" fmla="*/ 0 h 730"/>
                  <a:gd name="T4" fmla="*/ 0 w 694"/>
                  <a:gd name="T5" fmla="*/ 634 h 730"/>
                  <a:gd name="T6" fmla="*/ 423 w 694"/>
                  <a:gd name="T7" fmla="*/ 730 h 730"/>
                  <a:gd name="T8" fmla="*/ 694 w 694"/>
                  <a:gd name="T9" fmla="*/ 391 h 7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94" h="730">
                    <a:moveTo>
                      <a:pt x="694" y="391"/>
                    </a:moveTo>
                    <a:cubicBezTo>
                      <a:pt x="505" y="0"/>
                      <a:pt x="505" y="0"/>
                      <a:pt x="505" y="0"/>
                    </a:cubicBezTo>
                    <a:cubicBezTo>
                      <a:pt x="257" y="127"/>
                      <a:pt x="69" y="357"/>
                      <a:pt x="0" y="634"/>
                    </a:cubicBezTo>
                    <a:cubicBezTo>
                      <a:pt x="0" y="634"/>
                      <a:pt x="187" y="676"/>
                      <a:pt x="423" y="730"/>
                    </a:cubicBezTo>
                    <a:cubicBezTo>
                      <a:pt x="462" y="583"/>
                      <a:pt x="562" y="460"/>
                      <a:pt x="694" y="391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Freeform 18">
                <a:extLst>
                  <a:ext uri="{FF2B5EF4-FFF2-40B4-BE49-F238E27FC236}">
                    <a16:creationId xmlns:a16="http://schemas.microsoft.com/office/drawing/2014/main" id="{75131409-8608-9491-204C-9EB3F17BEE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133151" y="2254262"/>
                <a:ext cx="1489287" cy="1565347"/>
              </a:xfrm>
              <a:custGeom>
                <a:avLst/>
                <a:gdLst>
                  <a:gd name="T0" fmla="*/ 271 w 694"/>
                  <a:gd name="T1" fmla="*/ 730 h 730"/>
                  <a:gd name="T2" fmla="*/ 694 w 694"/>
                  <a:gd name="T3" fmla="*/ 634 h 730"/>
                  <a:gd name="T4" fmla="*/ 188 w 694"/>
                  <a:gd name="T5" fmla="*/ 0 h 730"/>
                  <a:gd name="T6" fmla="*/ 0 w 694"/>
                  <a:gd name="T7" fmla="*/ 391 h 730"/>
                  <a:gd name="T8" fmla="*/ 271 w 694"/>
                  <a:gd name="T9" fmla="*/ 730 h 7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94" h="730">
                    <a:moveTo>
                      <a:pt x="271" y="730"/>
                    </a:moveTo>
                    <a:cubicBezTo>
                      <a:pt x="694" y="634"/>
                      <a:pt x="694" y="634"/>
                      <a:pt x="694" y="634"/>
                    </a:cubicBezTo>
                    <a:cubicBezTo>
                      <a:pt x="624" y="357"/>
                      <a:pt x="437" y="127"/>
                      <a:pt x="188" y="0"/>
                    </a:cubicBezTo>
                    <a:cubicBezTo>
                      <a:pt x="188" y="0"/>
                      <a:pt x="105" y="172"/>
                      <a:pt x="0" y="391"/>
                    </a:cubicBezTo>
                    <a:cubicBezTo>
                      <a:pt x="132" y="460"/>
                      <a:pt x="232" y="583"/>
                      <a:pt x="271" y="73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19">
                <a:extLst>
                  <a:ext uri="{FF2B5EF4-FFF2-40B4-BE49-F238E27FC236}">
                    <a16:creationId xmlns:a16="http://schemas.microsoft.com/office/drawing/2014/main" id="{D3DD4F73-9C7F-1F75-3249-91A8647D4E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525451" y="3697174"/>
                <a:ext cx="1158738" cy="1695037"/>
              </a:xfrm>
              <a:custGeom>
                <a:avLst/>
                <a:gdLst>
                  <a:gd name="T0" fmla="*/ 0 w 540"/>
                  <a:gd name="T1" fmla="*/ 519 h 790"/>
                  <a:gd name="T2" fmla="*/ 339 w 540"/>
                  <a:gd name="T3" fmla="*/ 790 h 790"/>
                  <a:gd name="T4" fmla="*/ 540 w 540"/>
                  <a:gd name="T5" fmla="*/ 197 h 790"/>
                  <a:gd name="T6" fmla="*/ 519 w 540"/>
                  <a:gd name="T7" fmla="*/ 0 h 790"/>
                  <a:gd name="T8" fmla="*/ 97 w 540"/>
                  <a:gd name="T9" fmla="*/ 96 h 790"/>
                  <a:gd name="T10" fmla="*/ 106 w 540"/>
                  <a:gd name="T11" fmla="*/ 197 h 790"/>
                  <a:gd name="T12" fmla="*/ 0 w 540"/>
                  <a:gd name="T13" fmla="*/ 519 h 7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40" h="790">
                    <a:moveTo>
                      <a:pt x="0" y="519"/>
                    </a:moveTo>
                    <a:cubicBezTo>
                      <a:pt x="339" y="790"/>
                      <a:pt x="339" y="790"/>
                      <a:pt x="339" y="790"/>
                    </a:cubicBezTo>
                    <a:cubicBezTo>
                      <a:pt x="465" y="625"/>
                      <a:pt x="540" y="420"/>
                      <a:pt x="540" y="197"/>
                    </a:cubicBezTo>
                    <a:cubicBezTo>
                      <a:pt x="540" y="129"/>
                      <a:pt x="533" y="63"/>
                      <a:pt x="519" y="0"/>
                    </a:cubicBezTo>
                    <a:cubicBezTo>
                      <a:pt x="519" y="0"/>
                      <a:pt x="333" y="42"/>
                      <a:pt x="97" y="96"/>
                    </a:cubicBezTo>
                    <a:cubicBezTo>
                      <a:pt x="103" y="129"/>
                      <a:pt x="106" y="163"/>
                      <a:pt x="106" y="197"/>
                    </a:cubicBezTo>
                    <a:cubicBezTo>
                      <a:pt x="106" y="318"/>
                      <a:pt x="67" y="429"/>
                      <a:pt x="0" y="519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20">
                <a:extLst>
                  <a:ext uri="{FF2B5EF4-FFF2-40B4-BE49-F238E27FC236}">
                    <a16:creationId xmlns:a16="http://schemas.microsoft.com/office/drawing/2014/main" id="{730166C5-C921-C0F2-EF90-EDAFC3AB62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633695" y="4879800"/>
                <a:ext cx="1565568" cy="1334082"/>
              </a:xfrm>
              <a:custGeom>
                <a:avLst/>
                <a:gdLst>
                  <a:gd name="T0" fmla="*/ 0 w 730"/>
                  <a:gd name="T1" fmla="*/ 188 h 622"/>
                  <a:gd name="T2" fmla="*/ 0 w 730"/>
                  <a:gd name="T3" fmla="*/ 622 h 622"/>
                  <a:gd name="T4" fmla="*/ 730 w 730"/>
                  <a:gd name="T5" fmla="*/ 270 h 622"/>
                  <a:gd name="T6" fmla="*/ 391 w 730"/>
                  <a:gd name="T7" fmla="*/ 0 h 622"/>
                  <a:gd name="T8" fmla="*/ 0 w 730"/>
                  <a:gd name="T9" fmla="*/ 188 h 6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0" h="622">
                    <a:moveTo>
                      <a:pt x="0" y="188"/>
                    </a:moveTo>
                    <a:cubicBezTo>
                      <a:pt x="0" y="622"/>
                      <a:pt x="0" y="622"/>
                      <a:pt x="0" y="622"/>
                    </a:cubicBezTo>
                    <a:cubicBezTo>
                      <a:pt x="293" y="616"/>
                      <a:pt x="555" y="480"/>
                      <a:pt x="730" y="270"/>
                    </a:cubicBezTo>
                    <a:cubicBezTo>
                      <a:pt x="730" y="270"/>
                      <a:pt x="580" y="151"/>
                      <a:pt x="391" y="0"/>
                    </a:cubicBezTo>
                    <a:cubicBezTo>
                      <a:pt x="296" y="110"/>
                      <a:pt x="156" y="182"/>
                      <a:pt x="0" y="188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Freeform 21">
                <a:extLst>
                  <a:ext uri="{FF2B5EF4-FFF2-40B4-BE49-F238E27FC236}">
                    <a16:creationId xmlns:a16="http://schemas.microsoft.com/office/drawing/2014/main" id="{BAA1F15F-B419-8B45-E0E5-8C195EF4EB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96931" y="3697174"/>
                <a:ext cx="1157830" cy="1695037"/>
              </a:xfrm>
              <a:custGeom>
                <a:avLst/>
                <a:gdLst>
                  <a:gd name="T0" fmla="*/ 443 w 540"/>
                  <a:gd name="T1" fmla="*/ 96 h 790"/>
                  <a:gd name="T2" fmla="*/ 20 w 540"/>
                  <a:gd name="T3" fmla="*/ 0 h 790"/>
                  <a:gd name="T4" fmla="*/ 0 w 540"/>
                  <a:gd name="T5" fmla="*/ 197 h 790"/>
                  <a:gd name="T6" fmla="*/ 201 w 540"/>
                  <a:gd name="T7" fmla="*/ 790 h 790"/>
                  <a:gd name="T8" fmla="*/ 540 w 540"/>
                  <a:gd name="T9" fmla="*/ 519 h 790"/>
                  <a:gd name="T10" fmla="*/ 434 w 540"/>
                  <a:gd name="T11" fmla="*/ 197 h 790"/>
                  <a:gd name="T12" fmla="*/ 443 w 540"/>
                  <a:gd name="T13" fmla="*/ 96 h 7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40" h="790">
                    <a:moveTo>
                      <a:pt x="443" y="96"/>
                    </a:moveTo>
                    <a:cubicBezTo>
                      <a:pt x="20" y="0"/>
                      <a:pt x="20" y="0"/>
                      <a:pt x="20" y="0"/>
                    </a:cubicBezTo>
                    <a:cubicBezTo>
                      <a:pt x="7" y="63"/>
                      <a:pt x="0" y="129"/>
                      <a:pt x="0" y="197"/>
                    </a:cubicBezTo>
                    <a:cubicBezTo>
                      <a:pt x="0" y="420"/>
                      <a:pt x="75" y="625"/>
                      <a:pt x="201" y="790"/>
                    </a:cubicBezTo>
                    <a:cubicBezTo>
                      <a:pt x="201" y="790"/>
                      <a:pt x="351" y="670"/>
                      <a:pt x="540" y="519"/>
                    </a:cubicBezTo>
                    <a:cubicBezTo>
                      <a:pt x="473" y="429"/>
                      <a:pt x="434" y="318"/>
                      <a:pt x="434" y="197"/>
                    </a:cubicBezTo>
                    <a:cubicBezTo>
                      <a:pt x="434" y="163"/>
                      <a:pt x="437" y="129"/>
                      <a:pt x="443" y="96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Freeform 35">
                <a:extLst>
                  <a:ext uri="{FF2B5EF4-FFF2-40B4-BE49-F238E27FC236}">
                    <a16:creationId xmlns:a16="http://schemas.microsoft.com/office/drawing/2014/main" id="{7EC5DDB4-05ED-85C3-7746-DB0B06C44D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125158" y="2957126"/>
                <a:ext cx="930805" cy="661146"/>
              </a:xfrm>
              <a:custGeom>
                <a:avLst/>
                <a:gdLst>
                  <a:gd name="T0" fmla="*/ 420 w 434"/>
                  <a:gd name="T1" fmla="*/ 75 h 308"/>
                  <a:gd name="T2" fmla="*/ 434 w 434"/>
                  <a:gd name="T3" fmla="*/ 45 h 308"/>
                  <a:gd name="T4" fmla="*/ 217 w 434"/>
                  <a:gd name="T5" fmla="*/ 0 h 308"/>
                  <a:gd name="T6" fmla="*/ 0 w 434"/>
                  <a:gd name="T7" fmla="*/ 45 h 308"/>
                  <a:gd name="T8" fmla="*/ 14 w 434"/>
                  <a:gd name="T9" fmla="*/ 75 h 308"/>
                  <a:gd name="T10" fmla="*/ 420 w 434"/>
                  <a:gd name="T11" fmla="*/ 75 h 3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34" h="308">
                    <a:moveTo>
                      <a:pt x="420" y="75"/>
                    </a:moveTo>
                    <a:cubicBezTo>
                      <a:pt x="434" y="45"/>
                      <a:pt x="434" y="45"/>
                      <a:pt x="434" y="45"/>
                    </a:cubicBezTo>
                    <a:cubicBezTo>
                      <a:pt x="368" y="16"/>
                      <a:pt x="294" y="0"/>
                      <a:pt x="217" y="0"/>
                    </a:cubicBezTo>
                    <a:cubicBezTo>
                      <a:pt x="140" y="0"/>
                      <a:pt x="66" y="16"/>
                      <a:pt x="0" y="45"/>
                    </a:cubicBezTo>
                    <a:cubicBezTo>
                      <a:pt x="4" y="55"/>
                      <a:pt x="9" y="65"/>
                      <a:pt x="14" y="75"/>
                    </a:cubicBezTo>
                    <a:cubicBezTo>
                      <a:pt x="126" y="308"/>
                      <a:pt x="308" y="308"/>
                      <a:pt x="420" y="75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Freeform 36">
                <a:extLst>
                  <a:ext uri="{FF2B5EF4-FFF2-40B4-BE49-F238E27FC236}">
                    <a16:creationId xmlns:a16="http://schemas.microsoft.com/office/drawing/2014/main" id="{360EC4B4-4229-8BE5-1328-CB777C2609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708339" y="4488916"/>
                <a:ext cx="839086" cy="793557"/>
              </a:xfrm>
              <a:custGeom>
                <a:avLst/>
                <a:gdLst>
                  <a:gd name="T0" fmla="*/ 26 w 391"/>
                  <a:gd name="T1" fmla="*/ 161 h 370"/>
                  <a:gd name="T2" fmla="*/ 0 w 391"/>
                  <a:gd name="T3" fmla="*/ 182 h 370"/>
                  <a:gd name="T4" fmla="*/ 391 w 391"/>
                  <a:gd name="T5" fmla="*/ 370 h 370"/>
                  <a:gd name="T6" fmla="*/ 391 w 391"/>
                  <a:gd name="T7" fmla="*/ 337 h 370"/>
                  <a:gd name="T8" fmla="*/ 26 w 391"/>
                  <a:gd name="T9" fmla="*/ 161 h 3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1" h="370">
                    <a:moveTo>
                      <a:pt x="26" y="161"/>
                    </a:moveTo>
                    <a:cubicBezTo>
                      <a:pt x="0" y="182"/>
                      <a:pt x="0" y="182"/>
                      <a:pt x="0" y="182"/>
                    </a:cubicBezTo>
                    <a:cubicBezTo>
                      <a:pt x="95" y="292"/>
                      <a:pt x="235" y="364"/>
                      <a:pt x="391" y="370"/>
                    </a:cubicBezTo>
                    <a:cubicBezTo>
                      <a:pt x="391" y="359"/>
                      <a:pt x="391" y="348"/>
                      <a:pt x="391" y="337"/>
                    </a:cubicBezTo>
                    <a:cubicBezTo>
                      <a:pt x="391" y="79"/>
                      <a:pt x="228" y="0"/>
                      <a:pt x="26" y="161"/>
                    </a:cubicBez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Freeform 37">
                <a:extLst>
                  <a:ext uri="{FF2B5EF4-FFF2-40B4-BE49-F238E27FC236}">
                    <a16:creationId xmlns:a16="http://schemas.microsoft.com/office/drawing/2014/main" id="{C39771B9-CA60-5433-715C-0CF2A2020F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465876" y="3092257"/>
                <a:ext cx="851800" cy="867017"/>
              </a:xfrm>
              <a:custGeom>
                <a:avLst/>
                <a:gdLst>
                  <a:gd name="T0" fmla="*/ 285 w 397"/>
                  <a:gd name="T1" fmla="*/ 30 h 404"/>
                  <a:gd name="T2" fmla="*/ 271 w 397"/>
                  <a:gd name="T3" fmla="*/ 0 h 404"/>
                  <a:gd name="T4" fmla="*/ 0 w 397"/>
                  <a:gd name="T5" fmla="*/ 339 h 404"/>
                  <a:gd name="T6" fmla="*/ 33 w 397"/>
                  <a:gd name="T7" fmla="*/ 346 h 404"/>
                  <a:gd name="T8" fmla="*/ 285 w 397"/>
                  <a:gd name="T9" fmla="*/ 30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7" h="404">
                    <a:moveTo>
                      <a:pt x="285" y="30"/>
                    </a:moveTo>
                    <a:cubicBezTo>
                      <a:pt x="271" y="0"/>
                      <a:pt x="271" y="0"/>
                      <a:pt x="271" y="0"/>
                    </a:cubicBezTo>
                    <a:cubicBezTo>
                      <a:pt x="139" y="69"/>
                      <a:pt x="39" y="192"/>
                      <a:pt x="0" y="339"/>
                    </a:cubicBezTo>
                    <a:cubicBezTo>
                      <a:pt x="11" y="342"/>
                      <a:pt x="22" y="344"/>
                      <a:pt x="33" y="346"/>
                    </a:cubicBezTo>
                    <a:cubicBezTo>
                      <a:pt x="284" y="404"/>
                      <a:pt x="397" y="262"/>
                      <a:pt x="285" y="3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Freeform 38">
                <a:extLst>
                  <a:ext uri="{FF2B5EF4-FFF2-40B4-BE49-F238E27FC236}">
                    <a16:creationId xmlns:a16="http://schemas.microsoft.com/office/drawing/2014/main" id="{39955C77-632F-0313-D614-16E045CF00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862536" y="3092257"/>
                <a:ext cx="851800" cy="867017"/>
              </a:xfrm>
              <a:custGeom>
                <a:avLst/>
                <a:gdLst>
                  <a:gd name="T0" fmla="*/ 364 w 397"/>
                  <a:gd name="T1" fmla="*/ 346 h 404"/>
                  <a:gd name="T2" fmla="*/ 397 w 397"/>
                  <a:gd name="T3" fmla="*/ 339 h 404"/>
                  <a:gd name="T4" fmla="*/ 126 w 397"/>
                  <a:gd name="T5" fmla="*/ 0 h 404"/>
                  <a:gd name="T6" fmla="*/ 112 w 397"/>
                  <a:gd name="T7" fmla="*/ 30 h 404"/>
                  <a:gd name="T8" fmla="*/ 364 w 397"/>
                  <a:gd name="T9" fmla="*/ 346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7" h="404">
                    <a:moveTo>
                      <a:pt x="364" y="346"/>
                    </a:moveTo>
                    <a:cubicBezTo>
                      <a:pt x="397" y="339"/>
                      <a:pt x="397" y="339"/>
                      <a:pt x="397" y="339"/>
                    </a:cubicBezTo>
                    <a:cubicBezTo>
                      <a:pt x="358" y="192"/>
                      <a:pt x="258" y="69"/>
                      <a:pt x="126" y="0"/>
                    </a:cubicBezTo>
                    <a:cubicBezTo>
                      <a:pt x="121" y="10"/>
                      <a:pt x="117" y="20"/>
                      <a:pt x="112" y="30"/>
                    </a:cubicBezTo>
                    <a:cubicBezTo>
                      <a:pt x="0" y="262"/>
                      <a:pt x="113" y="404"/>
                      <a:pt x="364" y="346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39">
                <a:extLst>
                  <a:ext uri="{FF2B5EF4-FFF2-40B4-BE49-F238E27FC236}">
                    <a16:creationId xmlns:a16="http://schemas.microsoft.com/office/drawing/2014/main" id="{8972C83F-E731-AC00-9D8E-CE363D9376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036892" y="3903045"/>
                <a:ext cx="716493" cy="907829"/>
              </a:xfrm>
              <a:custGeom>
                <a:avLst/>
                <a:gdLst>
                  <a:gd name="T0" fmla="*/ 202 w 334"/>
                  <a:gd name="T1" fmla="*/ 403 h 423"/>
                  <a:gd name="T2" fmla="*/ 228 w 334"/>
                  <a:gd name="T3" fmla="*/ 423 h 423"/>
                  <a:gd name="T4" fmla="*/ 334 w 334"/>
                  <a:gd name="T5" fmla="*/ 101 h 423"/>
                  <a:gd name="T6" fmla="*/ 325 w 334"/>
                  <a:gd name="T7" fmla="*/ 0 h 423"/>
                  <a:gd name="T8" fmla="*/ 292 w 334"/>
                  <a:gd name="T9" fmla="*/ 7 h 423"/>
                  <a:gd name="T10" fmla="*/ 202 w 334"/>
                  <a:gd name="T11" fmla="*/ 403 h 4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34" h="423">
                    <a:moveTo>
                      <a:pt x="202" y="403"/>
                    </a:moveTo>
                    <a:cubicBezTo>
                      <a:pt x="228" y="423"/>
                      <a:pt x="228" y="423"/>
                      <a:pt x="228" y="423"/>
                    </a:cubicBezTo>
                    <a:cubicBezTo>
                      <a:pt x="295" y="333"/>
                      <a:pt x="334" y="222"/>
                      <a:pt x="334" y="101"/>
                    </a:cubicBezTo>
                    <a:cubicBezTo>
                      <a:pt x="334" y="67"/>
                      <a:pt x="331" y="33"/>
                      <a:pt x="325" y="0"/>
                    </a:cubicBezTo>
                    <a:cubicBezTo>
                      <a:pt x="314" y="3"/>
                      <a:pt x="303" y="5"/>
                      <a:pt x="292" y="7"/>
                    </a:cubicBezTo>
                    <a:cubicBezTo>
                      <a:pt x="41" y="65"/>
                      <a:pt x="0" y="242"/>
                      <a:pt x="202" y="403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40">
                <a:extLst>
                  <a:ext uri="{FF2B5EF4-FFF2-40B4-BE49-F238E27FC236}">
                    <a16:creationId xmlns:a16="http://schemas.microsoft.com/office/drawing/2014/main" id="{6B65C49B-AEB5-A759-E4BB-33903FFA7D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633695" y="4488916"/>
                <a:ext cx="838178" cy="793557"/>
              </a:xfrm>
              <a:custGeom>
                <a:avLst/>
                <a:gdLst>
                  <a:gd name="T0" fmla="*/ 0 w 391"/>
                  <a:gd name="T1" fmla="*/ 337 h 370"/>
                  <a:gd name="T2" fmla="*/ 0 w 391"/>
                  <a:gd name="T3" fmla="*/ 370 h 370"/>
                  <a:gd name="T4" fmla="*/ 391 w 391"/>
                  <a:gd name="T5" fmla="*/ 182 h 370"/>
                  <a:gd name="T6" fmla="*/ 365 w 391"/>
                  <a:gd name="T7" fmla="*/ 161 h 370"/>
                  <a:gd name="T8" fmla="*/ 0 w 391"/>
                  <a:gd name="T9" fmla="*/ 337 h 3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1" h="370">
                    <a:moveTo>
                      <a:pt x="0" y="337"/>
                    </a:moveTo>
                    <a:cubicBezTo>
                      <a:pt x="0" y="370"/>
                      <a:pt x="0" y="370"/>
                      <a:pt x="0" y="370"/>
                    </a:cubicBezTo>
                    <a:cubicBezTo>
                      <a:pt x="156" y="364"/>
                      <a:pt x="296" y="292"/>
                      <a:pt x="391" y="182"/>
                    </a:cubicBezTo>
                    <a:cubicBezTo>
                      <a:pt x="382" y="175"/>
                      <a:pt x="374" y="168"/>
                      <a:pt x="365" y="161"/>
                    </a:cubicBezTo>
                    <a:cubicBezTo>
                      <a:pt x="163" y="0"/>
                      <a:pt x="0" y="79"/>
                      <a:pt x="0" y="33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41">
                <a:extLst>
                  <a:ext uri="{FF2B5EF4-FFF2-40B4-BE49-F238E27FC236}">
                    <a16:creationId xmlns:a16="http://schemas.microsoft.com/office/drawing/2014/main" id="{99C0E2FA-EA59-6285-DB7B-36F9DEF466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427735" y="3903045"/>
                <a:ext cx="716493" cy="907829"/>
              </a:xfrm>
              <a:custGeom>
                <a:avLst/>
                <a:gdLst>
                  <a:gd name="T0" fmla="*/ 42 w 334"/>
                  <a:gd name="T1" fmla="*/ 7 h 423"/>
                  <a:gd name="T2" fmla="*/ 9 w 334"/>
                  <a:gd name="T3" fmla="*/ 0 h 423"/>
                  <a:gd name="T4" fmla="*/ 0 w 334"/>
                  <a:gd name="T5" fmla="*/ 101 h 423"/>
                  <a:gd name="T6" fmla="*/ 106 w 334"/>
                  <a:gd name="T7" fmla="*/ 423 h 423"/>
                  <a:gd name="T8" fmla="*/ 132 w 334"/>
                  <a:gd name="T9" fmla="*/ 403 h 423"/>
                  <a:gd name="T10" fmla="*/ 42 w 334"/>
                  <a:gd name="T11" fmla="*/ 7 h 4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34" h="423">
                    <a:moveTo>
                      <a:pt x="42" y="7"/>
                    </a:moveTo>
                    <a:cubicBezTo>
                      <a:pt x="9" y="0"/>
                      <a:pt x="9" y="0"/>
                      <a:pt x="9" y="0"/>
                    </a:cubicBezTo>
                    <a:cubicBezTo>
                      <a:pt x="3" y="33"/>
                      <a:pt x="0" y="67"/>
                      <a:pt x="0" y="101"/>
                    </a:cubicBezTo>
                    <a:cubicBezTo>
                      <a:pt x="0" y="222"/>
                      <a:pt x="39" y="333"/>
                      <a:pt x="106" y="423"/>
                    </a:cubicBezTo>
                    <a:cubicBezTo>
                      <a:pt x="115" y="416"/>
                      <a:pt x="123" y="410"/>
                      <a:pt x="132" y="403"/>
                    </a:cubicBezTo>
                    <a:cubicBezTo>
                      <a:pt x="334" y="242"/>
                      <a:pt x="293" y="65"/>
                      <a:pt x="42" y="7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2260431C-5856-0DFB-C002-AA88829590BA}"/>
                </a:ext>
              </a:extLst>
            </p:cNvPr>
            <p:cNvGrpSpPr/>
            <p:nvPr/>
          </p:nvGrpSpPr>
          <p:grpSpPr>
            <a:xfrm>
              <a:off x="3699881" y="1928847"/>
              <a:ext cx="1744238" cy="1744010"/>
              <a:chOff x="3852281" y="2080907"/>
              <a:chExt cx="1744238" cy="1744010"/>
            </a:xfrm>
            <a:solidFill>
              <a:schemeClr val="tx2">
                <a:alpha val="40000"/>
              </a:schemeClr>
            </a:solidFill>
          </p:grpSpPr>
          <p:sp>
            <p:nvSpPr>
              <p:cNvPr id="8" name="Freeform 23">
                <a:extLst>
                  <a:ext uri="{FF2B5EF4-FFF2-40B4-BE49-F238E27FC236}">
                    <a16:creationId xmlns:a16="http://schemas.microsoft.com/office/drawing/2014/main" id="{0D93E91A-F791-D451-046C-69D00FA93D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75348" y="2080907"/>
                <a:ext cx="698104" cy="495860"/>
              </a:xfrm>
              <a:custGeom>
                <a:avLst/>
                <a:gdLst>
                  <a:gd name="T0" fmla="*/ 420 w 434"/>
                  <a:gd name="T1" fmla="*/ 75 h 308"/>
                  <a:gd name="T2" fmla="*/ 434 w 434"/>
                  <a:gd name="T3" fmla="*/ 45 h 308"/>
                  <a:gd name="T4" fmla="*/ 217 w 434"/>
                  <a:gd name="T5" fmla="*/ 0 h 308"/>
                  <a:gd name="T6" fmla="*/ 0 w 434"/>
                  <a:gd name="T7" fmla="*/ 45 h 308"/>
                  <a:gd name="T8" fmla="*/ 14 w 434"/>
                  <a:gd name="T9" fmla="*/ 75 h 308"/>
                  <a:gd name="T10" fmla="*/ 420 w 434"/>
                  <a:gd name="T11" fmla="*/ 75 h 3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34" h="308">
                    <a:moveTo>
                      <a:pt x="420" y="75"/>
                    </a:moveTo>
                    <a:cubicBezTo>
                      <a:pt x="434" y="45"/>
                      <a:pt x="434" y="45"/>
                      <a:pt x="434" y="45"/>
                    </a:cubicBezTo>
                    <a:cubicBezTo>
                      <a:pt x="368" y="16"/>
                      <a:pt x="294" y="0"/>
                      <a:pt x="217" y="0"/>
                    </a:cubicBezTo>
                    <a:cubicBezTo>
                      <a:pt x="140" y="0"/>
                      <a:pt x="66" y="16"/>
                      <a:pt x="0" y="45"/>
                    </a:cubicBezTo>
                    <a:cubicBezTo>
                      <a:pt x="4" y="55"/>
                      <a:pt x="9" y="65"/>
                      <a:pt x="14" y="75"/>
                    </a:cubicBezTo>
                    <a:cubicBezTo>
                      <a:pt x="126" y="308"/>
                      <a:pt x="308" y="308"/>
                      <a:pt x="420" y="7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" name="Freeform 24">
                <a:extLst>
                  <a:ext uri="{FF2B5EF4-FFF2-40B4-BE49-F238E27FC236}">
                    <a16:creationId xmlns:a16="http://schemas.microsoft.com/office/drawing/2014/main" id="{D542F2B5-D33B-0D68-3ED6-C07C45B656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62734" y="3229749"/>
                <a:ext cx="629315" cy="595168"/>
              </a:xfrm>
              <a:custGeom>
                <a:avLst/>
                <a:gdLst>
                  <a:gd name="T0" fmla="*/ 26 w 391"/>
                  <a:gd name="T1" fmla="*/ 161 h 370"/>
                  <a:gd name="T2" fmla="*/ 0 w 391"/>
                  <a:gd name="T3" fmla="*/ 182 h 370"/>
                  <a:gd name="T4" fmla="*/ 391 w 391"/>
                  <a:gd name="T5" fmla="*/ 370 h 370"/>
                  <a:gd name="T6" fmla="*/ 391 w 391"/>
                  <a:gd name="T7" fmla="*/ 337 h 370"/>
                  <a:gd name="T8" fmla="*/ 26 w 391"/>
                  <a:gd name="T9" fmla="*/ 161 h 3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1" h="370">
                    <a:moveTo>
                      <a:pt x="26" y="161"/>
                    </a:moveTo>
                    <a:cubicBezTo>
                      <a:pt x="0" y="182"/>
                      <a:pt x="0" y="182"/>
                      <a:pt x="0" y="182"/>
                    </a:cubicBezTo>
                    <a:cubicBezTo>
                      <a:pt x="95" y="292"/>
                      <a:pt x="235" y="364"/>
                      <a:pt x="391" y="370"/>
                    </a:cubicBezTo>
                    <a:cubicBezTo>
                      <a:pt x="391" y="359"/>
                      <a:pt x="391" y="348"/>
                      <a:pt x="391" y="337"/>
                    </a:cubicBezTo>
                    <a:cubicBezTo>
                      <a:pt x="391" y="79"/>
                      <a:pt x="228" y="0"/>
                      <a:pt x="26" y="16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" name="Freeform 25">
                <a:extLst>
                  <a:ext uri="{FF2B5EF4-FFF2-40B4-BE49-F238E27FC236}">
                    <a16:creationId xmlns:a16="http://schemas.microsoft.com/office/drawing/2014/main" id="{61F6A7B4-6CF2-217B-C5FF-EC027CF5A7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80887" y="2182255"/>
                <a:ext cx="638850" cy="650263"/>
              </a:xfrm>
              <a:custGeom>
                <a:avLst/>
                <a:gdLst>
                  <a:gd name="T0" fmla="*/ 285 w 397"/>
                  <a:gd name="T1" fmla="*/ 30 h 404"/>
                  <a:gd name="T2" fmla="*/ 271 w 397"/>
                  <a:gd name="T3" fmla="*/ 0 h 404"/>
                  <a:gd name="T4" fmla="*/ 0 w 397"/>
                  <a:gd name="T5" fmla="*/ 339 h 404"/>
                  <a:gd name="T6" fmla="*/ 33 w 397"/>
                  <a:gd name="T7" fmla="*/ 346 h 404"/>
                  <a:gd name="T8" fmla="*/ 285 w 397"/>
                  <a:gd name="T9" fmla="*/ 30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7" h="404">
                    <a:moveTo>
                      <a:pt x="285" y="30"/>
                    </a:moveTo>
                    <a:cubicBezTo>
                      <a:pt x="271" y="0"/>
                      <a:pt x="271" y="0"/>
                      <a:pt x="271" y="0"/>
                    </a:cubicBezTo>
                    <a:cubicBezTo>
                      <a:pt x="139" y="69"/>
                      <a:pt x="39" y="192"/>
                      <a:pt x="0" y="339"/>
                    </a:cubicBezTo>
                    <a:cubicBezTo>
                      <a:pt x="11" y="342"/>
                      <a:pt x="22" y="344"/>
                      <a:pt x="33" y="346"/>
                    </a:cubicBezTo>
                    <a:cubicBezTo>
                      <a:pt x="284" y="404"/>
                      <a:pt x="397" y="262"/>
                      <a:pt x="285" y="3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" name="Freeform 26">
                <a:extLst>
                  <a:ext uri="{FF2B5EF4-FFF2-40B4-BE49-F238E27FC236}">
                    <a16:creationId xmlns:a16="http://schemas.microsoft.com/office/drawing/2014/main" id="{2FCD5227-3C80-2472-061A-B759422717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28382" y="2182255"/>
                <a:ext cx="638850" cy="650263"/>
              </a:xfrm>
              <a:custGeom>
                <a:avLst/>
                <a:gdLst>
                  <a:gd name="T0" fmla="*/ 364 w 397"/>
                  <a:gd name="T1" fmla="*/ 346 h 404"/>
                  <a:gd name="T2" fmla="*/ 397 w 397"/>
                  <a:gd name="T3" fmla="*/ 339 h 404"/>
                  <a:gd name="T4" fmla="*/ 126 w 397"/>
                  <a:gd name="T5" fmla="*/ 0 h 404"/>
                  <a:gd name="T6" fmla="*/ 112 w 397"/>
                  <a:gd name="T7" fmla="*/ 30 h 404"/>
                  <a:gd name="T8" fmla="*/ 364 w 397"/>
                  <a:gd name="T9" fmla="*/ 346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7" h="404">
                    <a:moveTo>
                      <a:pt x="364" y="346"/>
                    </a:moveTo>
                    <a:cubicBezTo>
                      <a:pt x="397" y="339"/>
                      <a:pt x="397" y="339"/>
                      <a:pt x="397" y="339"/>
                    </a:cubicBezTo>
                    <a:cubicBezTo>
                      <a:pt x="358" y="192"/>
                      <a:pt x="258" y="69"/>
                      <a:pt x="126" y="0"/>
                    </a:cubicBezTo>
                    <a:cubicBezTo>
                      <a:pt x="121" y="10"/>
                      <a:pt x="117" y="20"/>
                      <a:pt x="112" y="30"/>
                    </a:cubicBezTo>
                    <a:cubicBezTo>
                      <a:pt x="0" y="262"/>
                      <a:pt x="113" y="404"/>
                      <a:pt x="364" y="34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" name="Freeform 27">
                <a:extLst>
                  <a:ext uri="{FF2B5EF4-FFF2-40B4-BE49-F238E27FC236}">
                    <a16:creationId xmlns:a16="http://schemas.microsoft.com/office/drawing/2014/main" id="{111A0F39-298A-9935-0ED5-D5A533993F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9149" y="2790346"/>
                <a:ext cx="537370" cy="680872"/>
              </a:xfrm>
              <a:custGeom>
                <a:avLst/>
                <a:gdLst>
                  <a:gd name="T0" fmla="*/ 202 w 334"/>
                  <a:gd name="T1" fmla="*/ 403 h 423"/>
                  <a:gd name="T2" fmla="*/ 228 w 334"/>
                  <a:gd name="T3" fmla="*/ 423 h 423"/>
                  <a:gd name="T4" fmla="*/ 334 w 334"/>
                  <a:gd name="T5" fmla="*/ 101 h 423"/>
                  <a:gd name="T6" fmla="*/ 325 w 334"/>
                  <a:gd name="T7" fmla="*/ 0 h 423"/>
                  <a:gd name="T8" fmla="*/ 292 w 334"/>
                  <a:gd name="T9" fmla="*/ 7 h 423"/>
                  <a:gd name="T10" fmla="*/ 202 w 334"/>
                  <a:gd name="T11" fmla="*/ 403 h 4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34" h="423">
                    <a:moveTo>
                      <a:pt x="202" y="403"/>
                    </a:moveTo>
                    <a:cubicBezTo>
                      <a:pt x="228" y="423"/>
                      <a:pt x="228" y="423"/>
                      <a:pt x="228" y="423"/>
                    </a:cubicBezTo>
                    <a:cubicBezTo>
                      <a:pt x="295" y="333"/>
                      <a:pt x="334" y="222"/>
                      <a:pt x="334" y="101"/>
                    </a:cubicBezTo>
                    <a:cubicBezTo>
                      <a:pt x="334" y="67"/>
                      <a:pt x="331" y="33"/>
                      <a:pt x="325" y="0"/>
                    </a:cubicBezTo>
                    <a:cubicBezTo>
                      <a:pt x="314" y="3"/>
                      <a:pt x="303" y="5"/>
                      <a:pt x="292" y="7"/>
                    </a:cubicBezTo>
                    <a:cubicBezTo>
                      <a:pt x="41" y="65"/>
                      <a:pt x="0" y="242"/>
                      <a:pt x="202" y="40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" name="Freeform 28">
                <a:extLst>
                  <a:ext uri="{FF2B5EF4-FFF2-40B4-BE49-F238E27FC236}">
                    <a16:creationId xmlns:a16="http://schemas.microsoft.com/office/drawing/2014/main" id="{CA63D9E3-E8AE-54C6-17DF-A51229EEA4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56751" y="3229749"/>
                <a:ext cx="628634" cy="595168"/>
              </a:xfrm>
              <a:custGeom>
                <a:avLst/>
                <a:gdLst>
                  <a:gd name="T0" fmla="*/ 0 w 391"/>
                  <a:gd name="T1" fmla="*/ 337 h 370"/>
                  <a:gd name="T2" fmla="*/ 0 w 391"/>
                  <a:gd name="T3" fmla="*/ 370 h 370"/>
                  <a:gd name="T4" fmla="*/ 391 w 391"/>
                  <a:gd name="T5" fmla="*/ 182 h 370"/>
                  <a:gd name="T6" fmla="*/ 365 w 391"/>
                  <a:gd name="T7" fmla="*/ 161 h 370"/>
                  <a:gd name="T8" fmla="*/ 0 w 391"/>
                  <a:gd name="T9" fmla="*/ 337 h 3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1" h="370">
                    <a:moveTo>
                      <a:pt x="0" y="337"/>
                    </a:moveTo>
                    <a:cubicBezTo>
                      <a:pt x="0" y="370"/>
                      <a:pt x="0" y="370"/>
                      <a:pt x="0" y="370"/>
                    </a:cubicBezTo>
                    <a:cubicBezTo>
                      <a:pt x="156" y="364"/>
                      <a:pt x="296" y="292"/>
                      <a:pt x="391" y="182"/>
                    </a:cubicBezTo>
                    <a:cubicBezTo>
                      <a:pt x="382" y="175"/>
                      <a:pt x="374" y="168"/>
                      <a:pt x="365" y="161"/>
                    </a:cubicBezTo>
                    <a:cubicBezTo>
                      <a:pt x="163" y="0"/>
                      <a:pt x="0" y="79"/>
                      <a:pt x="0" y="33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" name="Freeform 29">
                <a:extLst>
                  <a:ext uri="{FF2B5EF4-FFF2-40B4-BE49-F238E27FC236}">
                    <a16:creationId xmlns:a16="http://schemas.microsoft.com/office/drawing/2014/main" id="{15FD11B5-510F-C198-96DD-1F9FA4AF74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52281" y="2790346"/>
                <a:ext cx="537370" cy="680872"/>
              </a:xfrm>
              <a:custGeom>
                <a:avLst/>
                <a:gdLst>
                  <a:gd name="T0" fmla="*/ 42 w 334"/>
                  <a:gd name="T1" fmla="*/ 7 h 423"/>
                  <a:gd name="T2" fmla="*/ 9 w 334"/>
                  <a:gd name="T3" fmla="*/ 0 h 423"/>
                  <a:gd name="T4" fmla="*/ 0 w 334"/>
                  <a:gd name="T5" fmla="*/ 101 h 423"/>
                  <a:gd name="T6" fmla="*/ 106 w 334"/>
                  <a:gd name="T7" fmla="*/ 423 h 423"/>
                  <a:gd name="T8" fmla="*/ 132 w 334"/>
                  <a:gd name="T9" fmla="*/ 403 h 423"/>
                  <a:gd name="T10" fmla="*/ 42 w 334"/>
                  <a:gd name="T11" fmla="*/ 7 h 4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34" h="423">
                    <a:moveTo>
                      <a:pt x="42" y="7"/>
                    </a:moveTo>
                    <a:cubicBezTo>
                      <a:pt x="9" y="0"/>
                      <a:pt x="9" y="0"/>
                      <a:pt x="9" y="0"/>
                    </a:cubicBezTo>
                    <a:cubicBezTo>
                      <a:pt x="3" y="33"/>
                      <a:pt x="0" y="67"/>
                      <a:pt x="0" y="101"/>
                    </a:cubicBezTo>
                    <a:cubicBezTo>
                      <a:pt x="0" y="222"/>
                      <a:pt x="39" y="333"/>
                      <a:pt x="106" y="423"/>
                    </a:cubicBezTo>
                    <a:cubicBezTo>
                      <a:pt x="115" y="416"/>
                      <a:pt x="123" y="410"/>
                      <a:pt x="132" y="403"/>
                    </a:cubicBezTo>
                    <a:cubicBezTo>
                      <a:pt x="334" y="242"/>
                      <a:pt x="293" y="65"/>
                      <a:pt x="42" y="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id="{62DF413A-A65E-D20C-4EF9-C013F59FA37E}"/>
              </a:ext>
            </a:extLst>
          </p:cNvPr>
          <p:cNvSpPr/>
          <p:nvPr/>
        </p:nvSpPr>
        <p:spPr>
          <a:xfrm>
            <a:off x="433014" y="1565302"/>
            <a:ext cx="3003923" cy="89255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>
              <a:lnSpc>
                <a:spcPct val="150000"/>
              </a:lnSpc>
            </a:pPr>
            <a:r>
              <a:rPr lang="en-US" sz="1600" b="1" dirty="0">
                <a:solidFill>
                  <a:schemeClr val="accent1"/>
                </a:solidFill>
              </a:rPr>
              <a:t>Enter Your Title</a:t>
            </a:r>
            <a:endParaRPr lang="en-US" sz="1600" dirty="0">
              <a:solidFill>
                <a:schemeClr val="accent1"/>
              </a:solidFill>
            </a:endParaRPr>
          </a:p>
          <a:p>
            <a:pPr algn="r">
              <a:lnSpc>
                <a:spcPct val="150000"/>
              </a:lnSpc>
            </a:pPr>
            <a:r>
              <a:rPr lang="en-US" sz="1200" dirty="0"/>
              <a:t>This is a sample text. You simply add your own text and description here. 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4A1C7ED-C1A2-05A2-4981-1BB95DE8F168}"/>
              </a:ext>
            </a:extLst>
          </p:cNvPr>
          <p:cNvSpPr/>
          <p:nvPr/>
        </p:nvSpPr>
        <p:spPr>
          <a:xfrm>
            <a:off x="433014" y="3263746"/>
            <a:ext cx="3003923" cy="89255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>
              <a:lnSpc>
                <a:spcPct val="150000"/>
              </a:lnSpc>
            </a:pPr>
            <a:r>
              <a:rPr lang="en-US" sz="1600" b="1" dirty="0">
                <a:solidFill>
                  <a:schemeClr val="accent3"/>
                </a:solidFill>
              </a:rPr>
              <a:t>Enter Your Title</a:t>
            </a:r>
            <a:endParaRPr lang="en-US" sz="1600" dirty="0">
              <a:solidFill>
                <a:schemeClr val="accent3"/>
              </a:solidFill>
            </a:endParaRPr>
          </a:p>
          <a:p>
            <a:pPr algn="r">
              <a:lnSpc>
                <a:spcPct val="150000"/>
              </a:lnSpc>
            </a:pPr>
            <a:r>
              <a:rPr lang="en-US" sz="1200" dirty="0"/>
              <a:t>This is a sample text. You simply add your own text and description here. 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AD7D4076-DDB3-2253-A472-940917340773}"/>
              </a:ext>
            </a:extLst>
          </p:cNvPr>
          <p:cNvSpPr/>
          <p:nvPr/>
        </p:nvSpPr>
        <p:spPr>
          <a:xfrm>
            <a:off x="433014" y="4962191"/>
            <a:ext cx="3003923" cy="89255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>
              <a:lnSpc>
                <a:spcPct val="150000"/>
              </a:lnSpc>
            </a:pPr>
            <a:r>
              <a:rPr lang="en-US" sz="1600" b="1" dirty="0">
                <a:solidFill>
                  <a:schemeClr val="accent6"/>
                </a:solidFill>
              </a:rPr>
              <a:t>Enter Your Title</a:t>
            </a:r>
            <a:endParaRPr lang="en-US" sz="1600" dirty="0">
              <a:solidFill>
                <a:schemeClr val="accent6"/>
              </a:solidFill>
            </a:endParaRPr>
          </a:p>
          <a:p>
            <a:pPr algn="r">
              <a:lnSpc>
                <a:spcPct val="150000"/>
              </a:lnSpc>
            </a:pPr>
            <a:r>
              <a:rPr lang="en-US" sz="1200" dirty="0"/>
              <a:t>This is a sample text. You simply add your own text and description here. 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C2AB1E0-2CB9-CC35-99CB-8B44E1C095A8}"/>
              </a:ext>
            </a:extLst>
          </p:cNvPr>
          <p:cNvSpPr/>
          <p:nvPr/>
        </p:nvSpPr>
        <p:spPr>
          <a:xfrm>
            <a:off x="8585958" y="1565302"/>
            <a:ext cx="3003923" cy="89255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600" b="1" dirty="0">
                <a:solidFill>
                  <a:schemeClr val="accent2"/>
                </a:solidFill>
              </a:rPr>
              <a:t>Enter Your Title</a:t>
            </a:r>
            <a:endParaRPr lang="en-US" sz="1600" dirty="0">
              <a:solidFill>
                <a:schemeClr val="accent2"/>
              </a:solidFill>
            </a:endParaRPr>
          </a:p>
          <a:p>
            <a:pPr>
              <a:lnSpc>
                <a:spcPct val="150000"/>
              </a:lnSpc>
            </a:pPr>
            <a:r>
              <a:rPr lang="en-US" sz="1200" dirty="0"/>
              <a:t>This is a sample text. You simply add your own text and description here. 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52AA7B0B-45CB-DBF8-FCAA-EE1F42641DAF}"/>
              </a:ext>
            </a:extLst>
          </p:cNvPr>
          <p:cNvSpPr/>
          <p:nvPr/>
        </p:nvSpPr>
        <p:spPr>
          <a:xfrm>
            <a:off x="8585958" y="2697598"/>
            <a:ext cx="3003923" cy="89255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600" b="1" dirty="0">
                <a:solidFill>
                  <a:schemeClr val="accent3"/>
                </a:solidFill>
              </a:rPr>
              <a:t>Enter Your Title</a:t>
            </a:r>
            <a:endParaRPr lang="en-US" sz="1600" dirty="0">
              <a:solidFill>
                <a:schemeClr val="accent3"/>
              </a:solidFill>
            </a:endParaRPr>
          </a:p>
          <a:p>
            <a:pPr>
              <a:lnSpc>
                <a:spcPct val="150000"/>
              </a:lnSpc>
            </a:pPr>
            <a:r>
              <a:rPr lang="en-US" sz="1200" dirty="0"/>
              <a:t>This is a sample text. You simply add your own text and description here. 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F413ABB-5600-B394-267C-D18AE1E95B22}"/>
              </a:ext>
            </a:extLst>
          </p:cNvPr>
          <p:cNvSpPr/>
          <p:nvPr/>
        </p:nvSpPr>
        <p:spPr>
          <a:xfrm>
            <a:off x="8585958" y="3831593"/>
            <a:ext cx="3003923" cy="88915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600" b="1" dirty="0">
                <a:solidFill>
                  <a:schemeClr val="accent4"/>
                </a:solidFill>
              </a:rPr>
              <a:t>Enter Your Title</a:t>
            </a:r>
            <a:endParaRPr lang="en-US" sz="1600" dirty="0">
              <a:solidFill>
                <a:schemeClr val="accent4"/>
              </a:solidFill>
            </a:endParaRPr>
          </a:p>
          <a:p>
            <a:pPr>
              <a:lnSpc>
                <a:spcPct val="150000"/>
              </a:lnSpc>
            </a:pPr>
            <a:r>
              <a:rPr lang="en-US" sz="1200" dirty="0"/>
              <a:t>This is a sample text. You simply add your own text and description here. </a:t>
            </a:r>
            <a:r>
              <a:rPr lang="en-US" sz="1200" dirty="0">
                <a:solidFill>
                  <a:schemeClr val="bg1">
                    <a:lumMod val="65000"/>
                  </a:schemeClr>
                </a:solidFill>
              </a:rPr>
              <a:t>. 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9886D099-7BD4-A8B3-3DB2-5ECB683EF689}"/>
              </a:ext>
            </a:extLst>
          </p:cNvPr>
          <p:cNvSpPr/>
          <p:nvPr/>
        </p:nvSpPr>
        <p:spPr>
          <a:xfrm>
            <a:off x="8585958" y="4963890"/>
            <a:ext cx="3003923" cy="88915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600" b="1" dirty="0">
                <a:solidFill>
                  <a:schemeClr val="accent5"/>
                </a:solidFill>
              </a:rPr>
              <a:t>Enter Your Title</a:t>
            </a:r>
            <a:endParaRPr lang="en-US" sz="1600" dirty="0">
              <a:solidFill>
                <a:schemeClr val="accent5"/>
              </a:solidFill>
            </a:endParaRPr>
          </a:p>
          <a:p>
            <a:pPr>
              <a:lnSpc>
                <a:spcPct val="150000"/>
              </a:lnSpc>
            </a:pPr>
            <a:r>
              <a:rPr lang="en-US" sz="1200" dirty="0"/>
              <a:t>This is a sample text. You simply add your own text and description here. </a:t>
            </a:r>
            <a:r>
              <a:rPr lang="en-US" sz="1200" dirty="0">
                <a:solidFill>
                  <a:schemeClr val="bg1">
                    <a:lumMod val="65000"/>
                  </a:schemeClr>
                </a:solidFill>
              </a:rPr>
              <a:t>. 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732C3A46-BA81-9904-71CC-F3303ECE8E39}"/>
              </a:ext>
            </a:extLst>
          </p:cNvPr>
          <p:cNvGrpSpPr/>
          <p:nvPr/>
        </p:nvGrpSpPr>
        <p:grpSpPr>
          <a:xfrm>
            <a:off x="5009943" y="4900565"/>
            <a:ext cx="531221" cy="531936"/>
            <a:chOff x="2897188" y="4360862"/>
            <a:chExt cx="1173162" cy="1174751"/>
          </a:xfrm>
          <a:solidFill>
            <a:schemeClr val="bg1"/>
          </a:solidFill>
        </p:grpSpPr>
        <p:sp>
          <p:nvSpPr>
            <p:cNvPr id="37" name="Freeform 202">
              <a:extLst>
                <a:ext uri="{FF2B5EF4-FFF2-40B4-BE49-F238E27FC236}">
                  <a16:creationId xmlns:a16="http://schemas.microsoft.com/office/drawing/2014/main" id="{0DFEF7B6-B3D8-0D68-CB33-2B8C9F0805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52775" y="4635500"/>
              <a:ext cx="625475" cy="625475"/>
            </a:xfrm>
            <a:custGeom>
              <a:avLst/>
              <a:gdLst>
                <a:gd name="T0" fmla="*/ 1024 w 1024"/>
                <a:gd name="T1" fmla="*/ 512 h 1024"/>
                <a:gd name="T2" fmla="*/ 0 w 1024"/>
                <a:gd name="T3" fmla="*/ 512 h 1024"/>
                <a:gd name="T4" fmla="*/ 958 w 1024"/>
                <a:gd name="T5" fmla="*/ 480 h 1024"/>
                <a:gd name="T6" fmla="*/ 750 w 1024"/>
                <a:gd name="T7" fmla="*/ 288 h 1024"/>
                <a:gd name="T8" fmla="*/ 958 w 1024"/>
                <a:gd name="T9" fmla="*/ 480 h 1024"/>
                <a:gd name="T10" fmla="*/ 480 w 1024"/>
                <a:gd name="T11" fmla="*/ 953 h 1024"/>
                <a:gd name="T12" fmla="*/ 480 w 1024"/>
                <a:gd name="T13" fmla="*/ 800 h 1024"/>
                <a:gd name="T14" fmla="*/ 313 w 1024"/>
                <a:gd name="T15" fmla="*/ 544 h 1024"/>
                <a:gd name="T16" fmla="*/ 480 w 1024"/>
                <a:gd name="T17" fmla="*/ 736 h 1024"/>
                <a:gd name="T18" fmla="*/ 544 w 1024"/>
                <a:gd name="T19" fmla="*/ 953 h 1024"/>
                <a:gd name="T20" fmla="*/ 664 w 1024"/>
                <a:gd name="T21" fmla="*/ 800 h 1024"/>
                <a:gd name="T22" fmla="*/ 544 w 1024"/>
                <a:gd name="T23" fmla="*/ 736 h 1024"/>
                <a:gd name="T24" fmla="*/ 711 w 1024"/>
                <a:gd name="T25" fmla="*/ 544 h 1024"/>
                <a:gd name="T26" fmla="*/ 544 w 1024"/>
                <a:gd name="T27" fmla="*/ 736 h 1024"/>
                <a:gd name="T28" fmla="*/ 958 w 1024"/>
                <a:gd name="T29" fmla="*/ 544 h 1024"/>
                <a:gd name="T30" fmla="*/ 750 w 1024"/>
                <a:gd name="T31" fmla="*/ 736 h 1024"/>
                <a:gd name="T32" fmla="*/ 711 w 1024"/>
                <a:gd name="T33" fmla="*/ 480 h 1024"/>
                <a:gd name="T34" fmla="*/ 544 w 1024"/>
                <a:gd name="T35" fmla="*/ 288 h 1024"/>
                <a:gd name="T36" fmla="*/ 711 w 1024"/>
                <a:gd name="T37" fmla="*/ 480 h 1024"/>
                <a:gd name="T38" fmla="*/ 544 w 1024"/>
                <a:gd name="T39" fmla="*/ 70 h 1024"/>
                <a:gd name="T40" fmla="*/ 544 w 1024"/>
                <a:gd name="T41" fmla="*/ 224 h 1024"/>
                <a:gd name="T42" fmla="*/ 480 w 1024"/>
                <a:gd name="T43" fmla="*/ 224 h 1024"/>
                <a:gd name="T44" fmla="*/ 480 w 1024"/>
                <a:gd name="T45" fmla="*/ 70 h 1024"/>
                <a:gd name="T46" fmla="*/ 480 w 1024"/>
                <a:gd name="T47" fmla="*/ 480 h 1024"/>
                <a:gd name="T48" fmla="*/ 339 w 1024"/>
                <a:gd name="T49" fmla="*/ 288 h 1024"/>
                <a:gd name="T50" fmla="*/ 249 w 1024"/>
                <a:gd name="T51" fmla="*/ 480 h 1024"/>
                <a:gd name="T52" fmla="*/ 125 w 1024"/>
                <a:gd name="T53" fmla="*/ 288 h 1024"/>
                <a:gd name="T54" fmla="*/ 249 w 1024"/>
                <a:gd name="T55" fmla="*/ 480 h 1024"/>
                <a:gd name="T56" fmla="*/ 274 w 1024"/>
                <a:gd name="T57" fmla="*/ 736 h 1024"/>
                <a:gd name="T58" fmla="*/ 66 w 1024"/>
                <a:gd name="T59" fmla="*/ 544 h 1024"/>
                <a:gd name="T60" fmla="*/ 169 w 1024"/>
                <a:gd name="T61" fmla="*/ 800 h 1024"/>
                <a:gd name="T62" fmla="*/ 360 w 1024"/>
                <a:gd name="T63" fmla="*/ 933 h 1024"/>
                <a:gd name="T64" fmla="*/ 664 w 1024"/>
                <a:gd name="T65" fmla="*/ 933 h 1024"/>
                <a:gd name="T66" fmla="*/ 855 w 1024"/>
                <a:gd name="T67" fmla="*/ 800 h 1024"/>
                <a:gd name="T68" fmla="*/ 855 w 1024"/>
                <a:gd name="T69" fmla="*/ 224 h 1024"/>
                <a:gd name="T70" fmla="*/ 664 w 1024"/>
                <a:gd name="T71" fmla="*/ 91 h 1024"/>
                <a:gd name="T72" fmla="*/ 360 w 1024"/>
                <a:gd name="T73" fmla="*/ 91 h 1024"/>
                <a:gd name="T74" fmla="*/ 169 w 1024"/>
                <a:gd name="T75" fmla="*/ 224 h 10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024" h="1024">
                  <a:moveTo>
                    <a:pt x="512" y="1024"/>
                  </a:moveTo>
                  <a:cubicBezTo>
                    <a:pt x="795" y="1024"/>
                    <a:pt x="1024" y="794"/>
                    <a:pt x="1024" y="512"/>
                  </a:cubicBezTo>
                  <a:cubicBezTo>
                    <a:pt x="1024" y="229"/>
                    <a:pt x="795" y="0"/>
                    <a:pt x="512" y="0"/>
                  </a:cubicBezTo>
                  <a:cubicBezTo>
                    <a:pt x="229" y="0"/>
                    <a:pt x="0" y="229"/>
                    <a:pt x="0" y="512"/>
                  </a:cubicBezTo>
                  <a:cubicBezTo>
                    <a:pt x="0" y="794"/>
                    <a:pt x="229" y="1023"/>
                    <a:pt x="512" y="1024"/>
                  </a:cubicBezTo>
                  <a:moveTo>
                    <a:pt x="958" y="480"/>
                  </a:moveTo>
                  <a:cubicBezTo>
                    <a:pt x="775" y="480"/>
                    <a:pt x="775" y="480"/>
                    <a:pt x="775" y="480"/>
                  </a:cubicBezTo>
                  <a:cubicBezTo>
                    <a:pt x="773" y="415"/>
                    <a:pt x="765" y="351"/>
                    <a:pt x="750" y="288"/>
                  </a:cubicBezTo>
                  <a:cubicBezTo>
                    <a:pt x="899" y="288"/>
                    <a:pt x="899" y="288"/>
                    <a:pt x="899" y="288"/>
                  </a:cubicBezTo>
                  <a:cubicBezTo>
                    <a:pt x="933" y="346"/>
                    <a:pt x="954" y="412"/>
                    <a:pt x="958" y="480"/>
                  </a:cubicBezTo>
                  <a:moveTo>
                    <a:pt x="480" y="800"/>
                  </a:moveTo>
                  <a:cubicBezTo>
                    <a:pt x="480" y="953"/>
                    <a:pt x="480" y="953"/>
                    <a:pt x="480" y="953"/>
                  </a:cubicBezTo>
                  <a:cubicBezTo>
                    <a:pt x="435" y="935"/>
                    <a:pt x="392" y="881"/>
                    <a:pt x="360" y="800"/>
                  </a:cubicBezTo>
                  <a:lnTo>
                    <a:pt x="480" y="800"/>
                  </a:lnTo>
                  <a:close/>
                  <a:moveTo>
                    <a:pt x="339" y="736"/>
                  </a:moveTo>
                  <a:cubicBezTo>
                    <a:pt x="323" y="673"/>
                    <a:pt x="314" y="608"/>
                    <a:pt x="313" y="544"/>
                  </a:cubicBezTo>
                  <a:cubicBezTo>
                    <a:pt x="480" y="544"/>
                    <a:pt x="480" y="544"/>
                    <a:pt x="480" y="544"/>
                  </a:cubicBezTo>
                  <a:cubicBezTo>
                    <a:pt x="480" y="736"/>
                    <a:pt x="480" y="736"/>
                    <a:pt x="480" y="736"/>
                  </a:cubicBezTo>
                  <a:lnTo>
                    <a:pt x="339" y="736"/>
                  </a:lnTo>
                  <a:close/>
                  <a:moveTo>
                    <a:pt x="544" y="953"/>
                  </a:moveTo>
                  <a:cubicBezTo>
                    <a:pt x="544" y="800"/>
                    <a:pt x="544" y="800"/>
                    <a:pt x="544" y="800"/>
                  </a:cubicBezTo>
                  <a:cubicBezTo>
                    <a:pt x="664" y="800"/>
                    <a:pt x="664" y="800"/>
                    <a:pt x="664" y="800"/>
                  </a:cubicBezTo>
                  <a:cubicBezTo>
                    <a:pt x="632" y="881"/>
                    <a:pt x="589" y="935"/>
                    <a:pt x="544" y="953"/>
                  </a:cubicBezTo>
                  <a:moveTo>
                    <a:pt x="544" y="736"/>
                  </a:moveTo>
                  <a:cubicBezTo>
                    <a:pt x="544" y="544"/>
                    <a:pt x="544" y="544"/>
                    <a:pt x="544" y="544"/>
                  </a:cubicBezTo>
                  <a:cubicBezTo>
                    <a:pt x="711" y="544"/>
                    <a:pt x="711" y="544"/>
                    <a:pt x="711" y="544"/>
                  </a:cubicBezTo>
                  <a:cubicBezTo>
                    <a:pt x="710" y="608"/>
                    <a:pt x="701" y="673"/>
                    <a:pt x="685" y="736"/>
                  </a:cubicBezTo>
                  <a:lnTo>
                    <a:pt x="544" y="736"/>
                  </a:lnTo>
                  <a:close/>
                  <a:moveTo>
                    <a:pt x="775" y="544"/>
                  </a:moveTo>
                  <a:cubicBezTo>
                    <a:pt x="958" y="544"/>
                    <a:pt x="958" y="544"/>
                    <a:pt x="958" y="544"/>
                  </a:cubicBezTo>
                  <a:cubicBezTo>
                    <a:pt x="954" y="611"/>
                    <a:pt x="933" y="677"/>
                    <a:pt x="899" y="736"/>
                  </a:cubicBezTo>
                  <a:cubicBezTo>
                    <a:pt x="750" y="736"/>
                    <a:pt x="750" y="736"/>
                    <a:pt x="750" y="736"/>
                  </a:cubicBezTo>
                  <a:cubicBezTo>
                    <a:pt x="765" y="673"/>
                    <a:pt x="773" y="608"/>
                    <a:pt x="775" y="544"/>
                  </a:cubicBezTo>
                  <a:moveTo>
                    <a:pt x="711" y="480"/>
                  </a:moveTo>
                  <a:cubicBezTo>
                    <a:pt x="544" y="480"/>
                    <a:pt x="544" y="480"/>
                    <a:pt x="544" y="480"/>
                  </a:cubicBezTo>
                  <a:cubicBezTo>
                    <a:pt x="544" y="288"/>
                    <a:pt x="544" y="288"/>
                    <a:pt x="544" y="288"/>
                  </a:cubicBezTo>
                  <a:cubicBezTo>
                    <a:pt x="685" y="288"/>
                    <a:pt x="685" y="288"/>
                    <a:pt x="685" y="288"/>
                  </a:cubicBezTo>
                  <a:cubicBezTo>
                    <a:pt x="701" y="350"/>
                    <a:pt x="710" y="415"/>
                    <a:pt x="711" y="480"/>
                  </a:cubicBezTo>
                  <a:moveTo>
                    <a:pt x="544" y="224"/>
                  </a:moveTo>
                  <a:cubicBezTo>
                    <a:pt x="544" y="70"/>
                    <a:pt x="544" y="70"/>
                    <a:pt x="544" y="70"/>
                  </a:cubicBezTo>
                  <a:cubicBezTo>
                    <a:pt x="589" y="88"/>
                    <a:pt x="632" y="142"/>
                    <a:pt x="664" y="224"/>
                  </a:cubicBezTo>
                  <a:lnTo>
                    <a:pt x="544" y="224"/>
                  </a:lnTo>
                  <a:close/>
                  <a:moveTo>
                    <a:pt x="480" y="70"/>
                  </a:moveTo>
                  <a:cubicBezTo>
                    <a:pt x="480" y="224"/>
                    <a:pt x="480" y="224"/>
                    <a:pt x="480" y="224"/>
                  </a:cubicBezTo>
                  <a:cubicBezTo>
                    <a:pt x="360" y="224"/>
                    <a:pt x="360" y="224"/>
                    <a:pt x="360" y="224"/>
                  </a:cubicBezTo>
                  <a:cubicBezTo>
                    <a:pt x="392" y="142"/>
                    <a:pt x="435" y="88"/>
                    <a:pt x="480" y="70"/>
                  </a:cubicBezTo>
                  <a:moveTo>
                    <a:pt x="480" y="288"/>
                  </a:moveTo>
                  <a:cubicBezTo>
                    <a:pt x="480" y="480"/>
                    <a:pt x="480" y="480"/>
                    <a:pt x="480" y="480"/>
                  </a:cubicBezTo>
                  <a:cubicBezTo>
                    <a:pt x="313" y="480"/>
                    <a:pt x="313" y="480"/>
                    <a:pt x="313" y="480"/>
                  </a:cubicBezTo>
                  <a:cubicBezTo>
                    <a:pt x="314" y="415"/>
                    <a:pt x="323" y="350"/>
                    <a:pt x="339" y="288"/>
                  </a:cubicBezTo>
                  <a:lnTo>
                    <a:pt x="480" y="288"/>
                  </a:lnTo>
                  <a:close/>
                  <a:moveTo>
                    <a:pt x="249" y="480"/>
                  </a:moveTo>
                  <a:cubicBezTo>
                    <a:pt x="66" y="480"/>
                    <a:pt x="66" y="480"/>
                    <a:pt x="66" y="480"/>
                  </a:cubicBezTo>
                  <a:cubicBezTo>
                    <a:pt x="70" y="412"/>
                    <a:pt x="91" y="346"/>
                    <a:pt x="125" y="288"/>
                  </a:cubicBezTo>
                  <a:cubicBezTo>
                    <a:pt x="274" y="288"/>
                    <a:pt x="274" y="288"/>
                    <a:pt x="274" y="288"/>
                  </a:cubicBezTo>
                  <a:cubicBezTo>
                    <a:pt x="259" y="351"/>
                    <a:pt x="251" y="415"/>
                    <a:pt x="249" y="480"/>
                  </a:cubicBezTo>
                  <a:moveTo>
                    <a:pt x="249" y="544"/>
                  </a:moveTo>
                  <a:cubicBezTo>
                    <a:pt x="251" y="608"/>
                    <a:pt x="259" y="673"/>
                    <a:pt x="274" y="736"/>
                  </a:cubicBezTo>
                  <a:cubicBezTo>
                    <a:pt x="125" y="736"/>
                    <a:pt x="125" y="736"/>
                    <a:pt x="125" y="736"/>
                  </a:cubicBezTo>
                  <a:cubicBezTo>
                    <a:pt x="91" y="677"/>
                    <a:pt x="70" y="611"/>
                    <a:pt x="66" y="544"/>
                  </a:cubicBezTo>
                  <a:lnTo>
                    <a:pt x="249" y="544"/>
                  </a:lnTo>
                  <a:close/>
                  <a:moveTo>
                    <a:pt x="169" y="800"/>
                  </a:moveTo>
                  <a:cubicBezTo>
                    <a:pt x="293" y="800"/>
                    <a:pt x="293" y="800"/>
                    <a:pt x="293" y="800"/>
                  </a:cubicBezTo>
                  <a:cubicBezTo>
                    <a:pt x="308" y="847"/>
                    <a:pt x="331" y="892"/>
                    <a:pt x="360" y="933"/>
                  </a:cubicBezTo>
                  <a:cubicBezTo>
                    <a:pt x="286" y="906"/>
                    <a:pt x="220" y="860"/>
                    <a:pt x="169" y="800"/>
                  </a:cubicBezTo>
                  <a:moveTo>
                    <a:pt x="664" y="933"/>
                  </a:moveTo>
                  <a:cubicBezTo>
                    <a:pt x="693" y="892"/>
                    <a:pt x="716" y="847"/>
                    <a:pt x="731" y="800"/>
                  </a:cubicBezTo>
                  <a:cubicBezTo>
                    <a:pt x="855" y="800"/>
                    <a:pt x="855" y="800"/>
                    <a:pt x="855" y="800"/>
                  </a:cubicBezTo>
                  <a:cubicBezTo>
                    <a:pt x="804" y="860"/>
                    <a:pt x="738" y="906"/>
                    <a:pt x="664" y="933"/>
                  </a:cubicBezTo>
                  <a:moveTo>
                    <a:pt x="855" y="224"/>
                  </a:moveTo>
                  <a:cubicBezTo>
                    <a:pt x="731" y="224"/>
                    <a:pt x="731" y="224"/>
                    <a:pt x="731" y="224"/>
                  </a:cubicBezTo>
                  <a:cubicBezTo>
                    <a:pt x="716" y="176"/>
                    <a:pt x="693" y="131"/>
                    <a:pt x="664" y="91"/>
                  </a:cubicBezTo>
                  <a:cubicBezTo>
                    <a:pt x="738" y="117"/>
                    <a:pt x="804" y="163"/>
                    <a:pt x="855" y="224"/>
                  </a:cubicBezTo>
                  <a:moveTo>
                    <a:pt x="360" y="91"/>
                  </a:moveTo>
                  <a:cubicBezTo>
                    <a:pt x="331" y="131"/>
                    <a:pt x="308" y="176"/>
                    <a:pt x="293" y="224"/>
                  </a:cubicBezTo>
                  <a:cubicBezTo>
                    <a:pt x="169" y="224"/>
                    <a:pt x="169" y="224"/>
                    <a:pt x="169" y="224"/>
                  </a:cubicBezTo>
                  <a:cubicBezTo>
                    <a:pt x="220" y="163"/>
                    <a:pt x="286" y="117"/>
                    <a:pt x="360" y="9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8" name="Freeform 203">
              <a:extLst>
                <a:ext uri="{FF2B5EF4-FFF2-40B4-BE49-F238E27FC236}">
                  <a16:creationId xmlns:a16="http://schemas.microsoft.com/office/drawing/2014/main" id="{EC5A57B3-9C0E-A56E-43E0-D6AB98ECC50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90875" y="5280025"/>
              <a:ext cx="590550" cy="255588"/>
            </a:xfrm>
            <a:custGeom>
              <a:avLst/>
              <a:gdLst>
                <a:gd name="T0" fmla="*/ 32 w 966"/>
                <a:gd name="T1" fmla="*/ 320 h 416"/>
                <a:gd name="T2" fmla="*/ 160 w 966"/>
                <a:gd name="T3" fmla="*/ 320 h 416"/>
                <a:gd name="T4" fmla="*/ 192 w 966"/>
                <a:gd name="T5" fmla="*/ 288 h 416"/>
                <a:gd name="T6" fmla="*/ 192 w 966"/>
                <a:gd name="T7" fmla="*/ 288 h 416"/>
                <a:gd name="T8" fmla="*/ 216 w 966"/>
                <a:gd name="T9" fmla="*/ 288 h 416"/>
                <a:gd name="T10" fmla="*/ 463 w 966"/>
                <a:gd name="T11" fmla="*/ 412 h 416"/>
                <a:gd name="T12" fmla="*/ 478 w 966"/>
                <a:gd name="T13" fmla="*/ 416 h 416"/>
                <a:gd name="T14" fmla="*/ 494 w 966"/>
                <a:gd name="T15" fmla="*/ 411 h 416"/>
                <a:gd name="T16" fmla="*/ 926 w 966"/>
                <a:gd name="T17" fmla="*/ 144 h 416"/>
                <a:gd name="T18" fmla="*/ 958 w 966"/>
                <a:gd name="T19" fmla="*/ 71 h 416"/>
                <a:gd name="T20" fmla="*/ 891 w 966"/>
                <a:gd name="T21" fmla="*/ 22 h 416"/>
                <a:gd name="T22" fmla="*/ 890 w 966"/>
                <a:gd name="T23" fmla="*/ 22 h 416"/>
                <a:gd name="T24" fmla="*/ 414 w 966"/>
                <a:gd name="T25" fmla="*/ 64 h 416"/>
                <a:gd name="T26" fmla="*/ 368 w 966"/>
                <a:gd name="T27" fmla="*/ 36 h 416"/>
                <a:gd name="T28" fmla="*/ 352 w 966"/>
                <a:gd name="T29" fmla="*/ 32 h 416"/>
                <a:gd name="T30" fmla="*/ 192 w 966"/>
                <a:gd name="T31" fmla="*/ 32 h 416"/>
                <a:gd name="T32" fmla="*/ 160 w 966"/>
                <a:gd name="T33" fmla="*/ 0 h 416"/>
                <a:gd name="T34" fmla="*/ 160 w 966"/>
                <a:gd name="T35" fmla="*/ 0 h 416"/>
                <a:gd name="T36" fmla="*/ 32 w 966"/>
                <a:gd name="T37" fmla="*/ 0 h 416"/>
                <a:gd name="T38" fmla="*/ 0 w 966"/>
                <a:gd name="T39" fmla="*/ 32 h 416"/>
                <a:gd name="T40" fmla="*/ 0 w 966"/>
                <a:gd name="T41" fmla="*/ 32 h 416"/>
                <a:gd name="T42" fmla="*/ 0 w 966"/>
                <a:gd name="T43" fmla="*/ 288 h 416"/>
                <a:gd name="T44" fmla="*/ 32 w 966"/>
                <a:gd name="T45" fmla="*/ 320 h 416"/>
                <a:gd name="T46" fmla="*/ 343 w 966"/>
                <a:gd name="T47" fmla="*/ 96 h 416"/>
                <a:gd name="T48" fmla="*/ 445 w 966"/>
                <a:gd name="T49" fmla="*/ 157 h 416"/>
                <a:gd name="T50" fmla="*/ 453 w 966"/>
                <a:gd name="T51" fmla="*/ 190 h 416"/>
                <a:gd name="T52" fmla="*/ 453 w 966"/>
                <a:gd name="T53" fmla="*/ 191 h 416"/>
                <a:gd name="T54" fmla="*/ 419 w 966"/>
                <a:gd name="T55" fmla="*/ 198 h 416"/>
                <a:gd name="T56" fmla="*/ 370 w 966"/>
                <a:gd name="T57" fmla="*/ 165 h 416"/>
                <a:gd name="T58" fmla="*/ 334 w 966"/>
                <a:gd name="T59" fmla="*/ 218 h 416"/>
                <a:gd name="T60" fmla="*/ 383 w 966"/>
                <a:gd name="T61" fmla="*/ 251 h 416"/>
                <a:gd name="T62" fmla="*/ 432 w 966"/>
                <a:gd name="T63" fmla="*/ 266 h 416"/>
                <a:gd name="T64" fmla="*/ 450 w 966"/>
                <a:gd name="T65" fmla="*/ 264 h 416"/>
                <a:gd name="T66" fmla="*/ 506 w 966"/>
                <a:gd name="T67" fmla="*/ 226 h 416"/>
                <a:gd name="T68" fmla="*/ 519 w 966"/>
                <a:gd name="T69" fmla="*/ 158 h 416"/>
                <a:gd name="T70" fmla="*/ 499 w 966"/>
                <a:gd name="T71" fmla="*/ 120 h 416"/>
                <a:gd name="T72" fmla="*/ 895 w 966"/>
                <a:gd name="T73" fmla="*/ 86 h 416"/>
                <a:gd name="T74" fmla="*/ 894 w 966"/>
                <a:gd name="T75" fmla="*/ 89 h 416"/>
                <a:gd name="T76" fmla="*/ 476 w 966"/>
                <a:gd name="T77" fmla="*/ 347 h 416"/>
                <a:gd name="T78" fmla="*/ 238 w 966"/>
                <a:gd name="T79" fmla="*/ 227 h 416"/>
                <a:gd name="T80" fmla="*/ 224 w 966"/>
                <a:gd name="T81" fmla="*/ 224 h 416"/>
                <a:gd name="T82" fmla="*/ 192 w 966"/>
                <a:gd name="T83" fmla="*/ 224 h 416"/>
                <a:gd name="T84" fmla="*/ 192 w 966"/>
                <a:gd name="T85" fmla="*/ 96 h 416"/>
                <a:gd name="T86" fmla="*/ 343 w 966"/>
                <a:gd name="T87" fmla="*/ 96 h 416"/>
                <a:gd name="T88" fmla="*/ 64 w 966"/>
                <a:gd name="T89" fmla="*/ 64 h 416"/>
                <a:gd name="T90" fmla="*/ 128 w 966"/>
                <a:gd name="T91" fmla="*/ 64 h 416"/>
                <a:gd name="T92" fmla="*/ 128 w 966"/>
                <a:gd name="T93" fmla="*/ 256 h 416"/>
                <a:gd name="T94" fmla="*/ 64 w 966"/>
                <a:gd name="T95" fmla="*/ 256 h 416"/>
                <a:gd name="T96" fmla="*/ 64 w 966"/>
                <a:gd name="T97" fmla="*/ 64 h 4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966" h="416">
                  <a:moveTo>
                    <a:pt x="32" y="320"/>
                  </a:moveTo>
                  <a:cubicBezTo>
                    <a:pt x="160" y="320"/>
                    <a:pt x="160" y="320"/>
                    <a:pt x="160" y="320"/>
                  </a:cubicBezTo>
                  <a:cubicBezTo>
                    <a:pt x="178" y="320"/>
                    <a:pt x="192" y="305"/>
                    <a:pt x="192" y="288"/>
                  </a:cubicBezTo>
                  <a:cubicBezTo>
                    <a:pt x="192" y="288"/>
                    <a:pt x="192" y="288"/>
                    <a:pt x="192" y="288"/>
                  </a:cubicBezTo>
                  <a:cubicBezTo>
                    <a:pt x="216" y="288"/>
                    <a:pt x="216" y="288"/>
                    <a:pt x="216" y="288"/>
                  </a:cubicBezTo>
                  <a:cubicBezTo>
                    <a:pt x="463" y="412"/>
                    <a:pt x="463" y="412"/>
                    <a:pt x="463" y="412"/>
                  </a:cubicBezTo>
                  <a:cubicBezTo>
                    <a:pt x="468" y="414"/>
                    <a:pt x="473" y="416"/>
                    <a:pt x="478" y="416"/>
                  </a:cubicBezTo>
                  <a:cubicBezTo>
                    <a:pt x="484" y="416"/>
                    <a:pt x="489" y="414"/>
                    <a:pt x="494" y="411"/>
                  </a:cubicBezTo>
                  <a:cubicBezTo>
                    <a:pt x="926" y="144"/>
                    <a:pt x="926" y="144"/>
                    <a:pt x="926" y="144"/>
                  </a:cubicBezTo>
                  <a:cubicBezTo>
                    <a:pt x="953" y="130"/>
                    <a:pt x="966" y="100"/>
                    <a:pt x="958" y="71"/>
                  </a:cubicBezTo>
                  <a:cubicBezTo>
                    <a:pt x="950" y="41"/>
                    <a:pt x="922" y="20"/>
                    <a:pt x="891" y="22"/>
                  </a:cubicBezTo>
                  <a:cubicBezTo>
                    <a:pt x="890" y="22"/>
                    <a:pt x="890" y="22"/>
                    <a:pt x="890" y="22"/>
                  </a:cubicBezTo>
                  <a:cubicBezTo>
                    <a:pt x="414" y="64"/>
                    <a:pt x="414" y="64"/>
                    <a:pt x="414" y="64"/>
                  </a:cubicBezTo>
                  <a:cubicBezTo>
                    <a:pt x="368" y="36"/>
                    <a:pt x="368" y="36"/>
                    <a:pt x="368" y="36"/>
                  </a:cubicBezTo>
                  <a:cubicBezTo>
                    <a:pt x="364" y="33"/>
                    <a:pt x="358" y="32"/>
                    <a:pt x="352" y="32"/>
                  </a:cubicBezTo>
                  <a:cubicBezTo>
                    <a:pt x="192" y="32"/>
                    <a:pt x="192" y="32"/>
                    <a:pt x="192" y="32"/>
                  </a:cubicBezTo>
                  <a:cubicBezTo>
                    <a:pt x="192" y="14"/>
                    <a:pt x="178" y="0"/>
                    <a:pt x="160" y="0"/>
                  </a:cubicBezTo>
                  <a:cubicBezTo>
                    <a:pt x="160" y="0"/>
                    <a:pt x="160" y="0"/>
                    <a:pt x="160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14" y="0"/>
                    <a:pt x="0" y="14"/>
                    <a:pt x="0" y="32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288"/>
                    <a:pt x="0" y="288"/>
                    <a:pt x="0" y="288"/>
                  </a:cubicBezTo>
                  <a:cubicBezTo>
                    <a:pt x="0" y="305"/>
                    <a:pt x="14" y="320"/>
                    <a:pt x="32" y="320"/>
                  </a:cubicBezTo>
                  <a:close/>
                  <a:moveTo>
                    <a:pt x="343" y="96"/>
                  </a:moveTo>
                  <a:cubicBezTo>
                    <a:pt x="445" y="157"/>
                    <a:pt x="445" y="157"/>
                    <a:pt x="445" y="157"/>
                  </a:cubicBezTo>
                  <a:cubicBezTo>
                    <a:pt x="456" y="164"/>
                    <a:pt x="460" y="179"/>
                    <a:pt x="453" y="190"/>
                  </a:cubicBezTo>
                  <a:cubicBezTo>
                    <a:pt x="453" y="190"/>
                    <a:pt x="453" y="191"/>
                    <a:pt x="453" y="191"/>
                  </a:cubicBezTo>
                  <a:cubicBezTo>
                    <a:pt x="445" y="202"/>
                    <a:pt x="430" y="205"/>
                    <a:pt x="419" y="198"/>
                  </a:cubicBezTo>
                  <a:cubicBezTo>
                    <a:pt x="370" y="165"/>
                    <a:pt x="370" y="165"/>
                    <a:pt x="370" y="165"/>
                  </a:cubicBezTo>
                  <a:cubicBezTo>
                    <a:pt x="334" y="218"/>
                    <a:pt x="334" y="218"/>
                    <a:pt x="334" y="218"/>
                  </a:cubicBezTo>
                  <a:cubicBezTo>
                    <a:pt x="383" y="251"/>
                    <a:pt x="383" y="251"/>
                    <a:pt x="383" y="251"/>
                  </a:cubicBezTo>
                  <a:cubicBezTo>
                    <a:pt x="398" y="261"/>
                    <a:pt x="415" y="266"/>
                    <a:pt x="432" y="266"/>
                  </a:cubicBezTo>
                  <a:cubicBezTo>
                    <a:pt x="438" y="266"/>
                    <a:pt x="444" y="265"/>
                    <a:pt x="450" y="264"/>
                  </a:cubicBezTo>
                  <a:cubicBezTo>
                    <a:pt x="473" y="260"/>
                    <a:pt x="493" y="246"/>
                    <a:pt x="506" y="226"/>
                  </a:cubicBezTo>
                  <a:cubicBezTo>
                    <a:pt x="519" y="206"/>
                    <a:pt x="524" y="182"/>
                    <a:pt x="519" y="158"/>
                  </a:cubicBezTo>
                  <a:cubicBezTo>
                    <a:pt x="515" y="144"/>
                    <a:pt x="509" y="131"/>
                    <a:pt x="499" y="120"/>
                  </a:cubicBezTo>
                  <a:cubicBezTo>
                    <a:pt x="895" y="86"/>
                    <a:pt x="895" y="86"/>
                    <a:pt x="895" y="86"/>
                  </a:cubicBezTo>
                  <a:cubicBezTo>
                    <a:pt x="894" y="89"/>
                    <a:pt x="894" y="89"/>
                    <a:pt x="894" y="89"/>
                  </a:cubicBezTo>
                  <a:cubicBezTo>
                    <a:pt x="476" y="347"/>
                    <a:pt x="476" y="347"/>
                    <a:pt x="476" y="347"/>
                  </a:cubicBezTo>
                  <a:cubicBezTo>
                    <a:pt x="238" y="227"/>
                    <a:pt x="238" y="227"/>
                    <a:pt x="238" y="227"/>
                  </a:cubicBezTo>
                  <a:cubicBezTo>
                    <a:pt x="234" y="225"/>
                    <a:pt x="229" y="224"/>
                    <a:pt x="224" y="224"/>
                  </a:cubicBezTo>
                  <a:cubicBezTo>
                    <a:pt x="192" y="224"/>
                    <a:pt x="192" y="224"/>
                    <a:pt x="192" y="224"/>
                  </a:cubicBezTo>
                  <a:cubicBezTo>
                    <a:pt x="192" y="96"/>
                    <a:pt x="192" y="96"/>
                    <a:pt x="192" y="96"/>
                  </a:cubicBezTo>
                  <a:lnTo>
                    <a:pt x="343" y="96"/>
                  </a:lnTo>
                  <a:close/>
                  <a:moveTo>
                    <a:pt x="64" y="64"/>
                  </a:moveTo>
                  <a:cubicBezTo>
                    <a:pt x="128" y="64"/>
                    <a:pt x="128" y="64"/>
                    <a:pt x="128" y="64"/>
                  </a:cubicBezTo>
                  <a:cubicBezTo>
                    <a:pt x="128" y="256"/>
                    <a:pt x="128" y="256"/>
                    <a:pt x="128" y="256"/>
                  </a:cubicBezTo>
                  <a:cubicBezTo>
                    <a:pt x="64" y="256"/>
                    <a:pt x="64" y="256"/>
                    <a:pt x="64" y="256"/>
                  </a:cubicBezTo>
                  <a:lnTo>
                    <a:pt x="64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9" name="Freeform 204">
              <a:extLst>
                <a:ext uri="{FF2B5EF4-FFF2-40B4-BE49-F238E27FC236}">
                  <a16:creationId xmlns:a16="http://schemas.microsoft.com/office/drawing/2014/main" id="{FA89AACC-C1EA-5BD0-04F0-1648E06704A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87700" y="4360862"/>
              <a:ext cx="590550" cy="255588"/>
            </a:xfrm>
            <a:custGeom>
              <a:avLst/>
              <a:gdLst>
                <a:gd name="T0" fmla="*/ 774 w 966"/>
                <a:gd name="T1" fmla="*/ 130 h 418"/>
                <a:gd name="T2" fmla="*/ 750 w 966"/>
                <a:gd name="T3" fmla="*/ 130 h 418"/>
                <a:gd name="T4" fmla="*/ 503 w 966"/>
                <a:gd name="T5" fmla="*/ 5 h 418"/>
                <a:gd name="T6" fmla="*/ 472 w 966"/>
                <a:gd name="T7" fmla="*/ 6 h 418"/>
                <a:gd name="T8" fmla="*/ 40 w 966"/>
                <a:gd name="T9" fmla="*/ 273 h 418"/>
                <a:gd name="T10" fmla="*/ 8 w 966"/>
                <a:gd name="T11" fmla="*/ 346 h 418"/>
                <a:gd name="T12" fmla="*/ 75 w 966"/>
                <a:gd name="T13" fmla="*/ 395 h 418"/>
                <a:gd name="T14" fmla="*/ 76 w 966"/>
                <a:gd name="T15" fmla="*/ 395 h 418"/>
                <a:gd name="T16" fmla="*/ 552 w 966"/>
                <a:gd name="T17" fmla="*/ 354 h 418"/>
                <a:gd name="T18" fmla="*/ 598 w 966"/>
                <a:gd name="T19" fmla="*/ 381 h 418"/>
                <a:gd name="T20" fmla="*/ 614 w 966"/>
                <a:gd name="T21" fmla="*/ 386 h 418"/>
                <a:gd name="T22" fmla="*/ 774 w 966"/>
                <a:gd name="T23" fmla="*/ 386 h 418"/>
                <a:gd name="T24" fmla="*/ 806 w 966"/>
                <a:gd name="T25" fmla="*/ 418 h 418"/>
                <a:gd name="T26" fmla="*/ 806 w 966"/>
                <a:gd name="T27" fmla="*/ 418 h 418"/>
                <a:gd name="T28" fmla="*/ 934 w 966"/>
                <a:gd name="T29" fmla="*/ 418 h 418"/>
                <a:gd name="T30" fmla="*/ 966 w 966"/>
                <a:gd name="T31" fmla="*/ 386 h 418"/>
                <a:gd name="T32" fmla="*/ 966 w 966"/>
                <a:gd name="T33" fmla="*/ 386 h 418"/>
                <a:gd name="T34" fmla="*/ 966 w 966"/>
                <a:gd name="T35" fmla="*/ 130 h 418"/>
                <a:gd name="T36" fmla="*/ 934 w 966"/>
                <a:gd name="T37" fmla="*/ 98 h 418"/>
                <a:gd name="T38" fmla="*/ 934 w 966"/>
                <a:gd name="T39" fmla="*/ 98 h 418"/>
                <a:gd name="T40" fmla="*/ 806 w 966"/>
                <a:gd name="T41" fmla="*/ 98 h 418"/>
                <a:gd name="T42" fmla="*/ 774 w 966"/>
                <a:gd name="T43" fmla="*/ 130 h 418"/>
                <a:gd name="T44" fmla="*/ 623 w 966"/>
                <a:gd name="T45" fmla="*/ 322 h 418"/>
                <a:gd name="T46" fmla="*/ 521 w 966"/>
                <a:gd name="T47" fmla="*/ 260 h 418"/>
                <a:gd name="T48" fmla="*/ 513 w 966"/>
                <a:gd name="T49" fmla="*/ 227 h 418"/>
                <a:gd name="T50" fmla="*/ 513 w 966"/>
                <a:gd name="T51" fmla="*/ 226 h 418"/>
                <a:gd name="T52" fmla="*/ 547 w 966"/>
                <a:gd name="T53" fmla="*/ 219 h 418"/>
                <a:gd name="T54" fmla="*/ 596 w 966"/>
                <a:gd name="T55" fmla="*/ 252 h 418"/>
                <a:gd name="T56" fmla="*/ 632 w 966"/>
                <a:gd name="T57" fmla="*/ 199 h 418"/>
                <a:gd name="T58" fmla="*/ 583 w 966"/>
                <a:gd name="T59" fmla="*/ 166 h 418"/>
                <a:gd name="T60" fmla="*/ 460 w 966"/>
                <a:gd name="T61" fmla="*/ 191 h 418"/>
                <a:gd name="T62" fmla="*/ 447 w 966"/>
                <a:gd name="T63" fmla="*/ 259 h 418"/>
                <a:gd name="T64" fmla="*/ 467 w 966"/>
                <a:gd name="T65" fmla="*/ 297 h 418"/>
                <a:gd name="T66" fmla="*/ 71 w 966"/>
                <a:gd name="T67" fmla="*/ 331 h 418"/>
                <a:gd name="T68" fmla="*/ 72 w 966"/>
                <a:gd name="T69" fmla="*/ 328 h 418"/>
                <a:gd name="T70" fmla="*/ 490 w 966"/>
                <a:gd name="T71" fmla="*/ 70 h 418"/>
                <a:gd name="T72" fmla="*/ 728 w 966"/>
                <a:gd name="T73" fmla="*/ 190 h 418"/>
                <a:gd name="T74" fmla="*/ 742 w 966"/>
                <a:gd name="T75" fmla="*/ 194 h 418"/>
                <a:gd name="T76" fmla="*/ 774 w 966"/>
                <a:gd name="T77" fmla="*/ 194 h 418"/>
                <a:gd name="T78" fmla="*/ 774 w 966"/>
                <a:gd name="T79" fmla="*/ 322 h 418"/>
                <a:gd name="T80" fmla="*/ 623 w 966"/>
                <a:gd name="T81" fmla="*/ 322 h 418"/>
                <a:gd name="T82" fmla="*/ 838 w 966"/>
                <a:gd name="T83" fmla="*/ 162 h 418"/>
                <a:gd name="T84" fmla="*/ 902 w 966"/>
                <a:gd name="T85" fmla="*/ 162 h 418"/>
                <a:gd name="T86" fmla="*/ 902 w 966"/>
                <a:gd name="T87" fmla="*/ 354 h 418"/>
                <a:gd name="T88" fmla="*/ 838 w 966"/>
                <a:gd name="T89" fmla="*/ 354 h 418"/>
                <a:gd name="T90" fmla="*/ 838 w 966"/>
                <a:gd name="T91" fmla="*/ 162 h 4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966" h="418">
                  <a:moveTo>
                    <a:pt x="774" y="130"/>
                  </a:moveTo>
                  <a:cubicBezTo>
                    <a:pt x="750" y="130"/>
                    <a:pt x="750" y="130"/>
                    <a:pt x="750" y="130"/>
                  </a:cubicBezTo>
                  <a:cubicBezTo>
                    <a:pt x="503" y="5"/>
                    <a:pt x="503" y="5"/>
                    <a:pt x="503" y="5"/>
                  </a:cubicBezTo>
                  <a:cubicBezTo>
                    <a:pt x="493" y="0"/>
                    <a:pt x="481" y="0"/>
                    <a:pt x="472" y="6"/>
                  </a:cubicBezTo>
                  <a:cubicBezTo>
                    <a:pt x="40" y="273"/>
                    <a:pt x="40" y="273"/>
                    <a:pt x="40" y="273"/>
                  </a:cubicBezTo>
                  <a:cubicBezTo>
                    <a:pt x="13" y="287"/>
                    <a:pt x="0" y="317"/>
                    <a:pt x="8" y="346"/>
                  </a:cubicBezTo>
                  <a:cubicBezTo>
                    <a:pt x="16" y="376"/>
                    <a:pt x="44" y="397"/>
                    <a:pt x="75" y="395"/>
                  </a:cubicBezTo>
                  <a:cubicBezTo>
                    <a:pt x="76" y="395"/>
                    <a:pt x="76" y="395"/>
                    <a:pt x="76" y="395"/>
                  </a:cubicBezTo>
                  <a:cubicBezTo>
                    <a:pt x="552" y="354"/>
                    <a:pt x="552" y="354"/>
                    <a:pt x="552" y="354"/>
                  </a:cubicBezTo>
                  <a:cubicBezTo>
                    <a:pt x="598" y="381"/>
                    <a:pt x="598" y="381"/>
                    <a:pt x="598" y="381"/>
                  </a:cubicBezTo>
                  <a:cubicBezTo>
                    <a:pt x="603" y="384"/>
                    <a:pt x="608" y="386"/>
                    <a:pt x="614" y="386"/>
                  </a:cubicBezTo>
                  <a:cubicBezTo>
                    <a:pt x="774" y="386"/>
                    <a:pt x="774" y="386"/>
                    <a:pt x="774" y="386"/>
                  </a:cubicBezTo>
                  <a:cubicBezTo>
                    <a:pt x="774" y="403"/>
                    <a:pt x="788" y="418"/>
                    <a:pt x="806" y="418"/>
                  </a:cubicBezTo>
                  <a:cubicBezTo>
                    <a:pt x="806" y="418"/>
                    <a:pt x="806" y="418"/>
                    <a:pt x="806" y="418"/>
                  </a:cubicBezTo>
                  <a:cubicBezTo>
                    <a:pt x="934" y="418"/>
                    <a:pt x="934" y="418"/>
                    <a:pt x="934" y="418"/>
                  </a:cubicBezTo>
                  <a:cubicBezTo>
                    <a:pt x="952" y="418"/>
                    <a:pt x="966" y="403"/>
                    <a:pt x="966" y="386"/>
                  </a:cubicBezTo>
                  <a:cubicBezTo>
                    <a:pt x="966" y="386"/>
                    <a:pt x="966" y="386"/>
                    <a:pt x="966" y="386"/>
                  </a:cubicBezTo>
                  <a:cubicBezTo>
                    <a:pt x="966" y="130"/>
                    <a:pt x="966" y="130"/>
                    <a:pt x="966" y="130"/>
                  </a:cubicBezTo>
                  <a:cubicBezTo>
                    <a:pt x="966" y="112"/>
                    <a:pt x="952" y="98"/>
                    <a:pt x="934" y="98"/>
                  </a:cubicBezTo>
                  <a:cubicBezTo>
                    <a:pt x="934" y="98"/>
                    <a:pt x="934" y="98"/>
                    <a:pt x="934" y="98"/>
                  </a:cubicBezTo>
                  <a:cubicBezTo>
                    <a:pt x="806" y="98"/>
                    <a:pt x="806" y="98"/>
                    <a:pt x="806" y="98"/>
                  </a:cubicBezTo>
                  <a:cubicBezTo>
                    <a:pt x="788" y="98"/>
                    <a:pt x="774" y="112"/>
                    <a:pt x="774" y="130"/>
                  </a:cubicBezTo>
                  <a:close/>
                  <a:moveTo>
                    <a:pt x="623" y="322"/>
                  </a:moveTo>
                  <a:cubicBezTo>
                    <a:pt x="521" y="260"/>
                    <a:pt x="521" y="260"/>
                    <a:pt x="521" y="260"/>
                  </a:cubicBezTo>
                  <a:cubicBezTo>
                    <a:pt x="510" y="254"/>
                    <a:pt x="506" y="239"/>
                    <a:pt x="513" y="227"/>
                  </a:cubicBezTo>
                  <a:cubicBezTo>
                    <a:pt x="513" y="227"/>
                    <a:pt x="513" y="226"/>
                    <a:pt x="513" y="226"/>
                  </a:cubicBezTo>
                  <a:cubicBezTo>
                    <a:pt x="521" y="215"/>
                    <a:pt x="536" y="212"/>
                    <a:pt x="547" y="219"/>
                  </a:cubicBezTo>
                  <a:cubicBezTo>
                    <a:pt x="596" y="252"/>
                    <a:pt x="596" y="252"/>
                    <a:pt x="596" y="252"/>
                  </a:cubicBezTo>
                  <a:cubicBezTo>
                    <a:pt x="632" y="199"/>
                    <a:pt x="632" y="199"/>
                    <a:pt x="632" y="199"/>
                  </a:cubicBezTo>
                  <a:cubicBezTo>
                    <a:pt x="583" y="166"/>
                    <a:pt x="583" y="166"/>
                    <a:pt x="583" y="166"/>
                  </a:cubicBezTo>
                  <a:cubicBezTo>
                    <a:pt x="542" y="139"/>
                    <a:pt x="487" y="150"/>
                    <a:pt x="460" y="191"/>
                  </a:cubicBezTo>
                  <a:cubicBezTo>
                    <a:pt x="447" y="211"/>
                    <a:pt x="442" y="236"/>
                    <a:pt x="447" y="259"/>
                  </a:cubicBezTo>
                  <a:cubicBezTo>
                    <a:pt x="451" y="273"/>
                    <a:pt x="457" y="286"/>
                    <a:pt x="467" y="297"/>
                  </a:cubicBezTo>
                  <a:cubicBezTo>
                    <a:pt x="71" y="331"/>
                    <a:pt x="71" y="331"/>
                    <a:pt x="71" y="331"/>
                  </a:cubicBezTo>
                  <a:cubicBezTo>
                    <a:pt x="72" y="328"/>
                    <a:pt x="72" y="328"/>
                    <a:pt x="72" y="328"/>
                  </a:cubicBezTo>
                  <a:cubicBezTo>
                    <a:pt x="490" y="70"/>
                    <a:pt x="490" y="70"/>
                    <a:pt x="490" y="70"/>
                  </a:cubicBezTo>
                  <a:cubicBezTo>
                    <a:pt x="728" y="190"/>
                    <a:pt x="728" y="190"/>
                    <a:pt x="728" y="190"/>
                  </a:cubicBezTo>
                  <a:cubicBezTo>
                    <a:pt x="732" y="192"/>
                    <a:pt x="737" y="194"/>
                    <a:pt x="742" y="194"/>
                  </a:cubicBezTo>
                  <a:cubicBezTo>
                    <a:pt x="774" y="194"/>
                    <a:pt x="774" y="194"/>
                    <a:pt x="774" y="194"/>
                  </a:cubicBezTo>
                  <a:cubicBezTo>
                    <a:pt x="774" y="322"/>
                    <a:pt x="774" y="322"/>
                    <a:pt x="774" y="322"/>
                  </a:cubicBezTo>
                  <a:lnTo>
                    <a:pt x="623" y="322"/>
                  </a:lnTo>
                  <a:close/>
                  <a:moveTo>
                    <a:pt x="838" y="162"/>
                  </a:moveTo>
                  <a:cubicBezTo>
                    <a:pt x="902" y="162"/>
                    <a:pt x="902" y="162"/>
                    <a:pt x="902" y="162"/>
                  </a:cubicBezTo>
                  <a:cubicBezTo>
                    <a:pt x="902" y="354"/>
                    <a:pt x="902" y="354"/>
                    <a:pt x="902" y="354"/>
                  </a:cubicBezTo>
                  <a:cubicBezTo>
                    <a:pt x="838" y="354"/>
                    <a:pt x="838" y="354"/>
                    <a:pt x="838" y="354"/>
                  </a:cubicBezTo>
                  <a:lnTo>
                    <a:pt x="838" y="1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0" name="Rectangle 205">
              <a:extLst>
                <a:ext uri="{FF2B5EF4-FFF2-40B4-BE49-F238E27FC236}">
                  <a16:creationId xmlns:a16="http://schemas.microsoft.com/office/drawing/2014/main" id="{7731033F-AA98-A2C0-A53D-7E9580C05A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36875" y="4362450"/>
              <a:ext cx="39687" cy="381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1" name="Rectangle 206">
              <a:extLst>
                <a:ext uri="{FF2B5EF4-FFF2-40B4-BE49-F238E27FC236}">
                  <a16:creationId xmlns:a16="http://schemas.microsoft.com/office/drawing/2014/main" id="{68F8D4B3-922B-4EAE-FF16-AC2A1DA39B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36875" y="4440238"/>
              <a:ext cx="39687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2" name="Rectangle 207">
              <a:extLst>
                <a:ext uri="{FF2B5EF4-FFF2-40B4-BE49-F238E27FC236}">
                  <a16:creationId xmlns:a16="http://schemas.microsoft.com/office/drawing/2014/main" id="{74326044-54B5-9F21-11D2-FFE5ED2275E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76563" y="4400550"/>
              <a:ext cx="38100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3" name="Rectangle 208">
              <a:extLst>
                <a:ext uri="{FF2B5EF4-FFF2-40B4-BE49-F238E27FC236}">
                  <a16:creationId xmlns:a16="http://schemas.microsoft.com/office/drawing/2014/main" id="{B61EF474-8C26-C33F-EB8A-4B22363E60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97188" y="4400550"/>
              <a:ext cx="39687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4" name="Rectangle 209">
              <a:extLst>
                <a:ext uri="{FF2B5EF4-FFF2-40B4-BE49-F238E27FC236}">
                  <a16:creationId xmlns:a16="http://schemas.microsoft.com/office/drawing/2014/main" id="{DBCF3BE2-E9CA-F604-036B-D34B25DF2C8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92563" y="4362450"/>
              <a:ext cx="39687" cy="381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5" name="Rectangle 210">
              <a:extLst>
                <a:ext uri="{FF2B5EF4-FFF2-40B4-BE49-F238E27FC236}">
                  <a16:creationId xmlns:a16="http://schemas.microsoft.com/office/drawing/2014/main" id="{0A29EF7B-1AF0-A696-FF05-0DE76E7AF9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92563" y="4440238"/>
              <a:ext cx="39687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6" name="Rectangle 211">
              <a:extLst>
                <a:ext uri="{FF2B5EF4-FFF2-40B4-BE49-F238E27FC236}">
                  <a16:creationId xmlns:a16="http://schemas.microsoft.com/office/drawing/2014/main" id="{587D9406-029F-B2E7-94C2-C0F9EEACCF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32250" y="4400550"/>
              <a:ext cx="38100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7" name="Rectangle 212">
              <a:extLst>
                <a:ext uri="{FF2B5EF4-FFF2-40B4-BE49-F238E27FC236}">
                  <a16:creationId xmlns:a16="http://schemas.microsoft.com/office/drawing/2014/main" id="{4F56AC28-DB54-BA1C-004B-F31F562D21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54463" y="4400550"/>
              <a:ext cx="38100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8" name="Rectangle 213">
              <a:extLst>
                <a:ext uri="{FF2B5EF4-FFF2-40B4-BE49-F238E27FC236}">
                  <a16:creationId xmlns:a16="http://schemas.microsoft.com/office/drawing/2014/main" id="{38B1E2F4-7371-EA1B-07E5-011601A396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92563" y="5418138"/>
              <a:ext cx="39687" cy="381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9" name="Rectangle 214">
              <a:extLst>
                <a:ext uri="{FF2B5EF4-FFF2-40B4-BE49-F238E27FC236}">
                  <a16:creationId xmlns:a16="http://schemas.microsoft.com/office/drawing/2014/main" id="{D90FA4D7-5D17-1CE0-4365-977A289B49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92563" y="5495925"/>
              <a:ext cx="39687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0" name="Rectangle 215">
              <a:extLst>
                <a:ext uri="{FF2B5EF4-FFF2-40B4-BE49-F238E27FC236}">
                  <a16:creationId xmlns:a16="http://schemas.microsoft.com/office/drawing/2014/main" id="{A97B38EB-79D9-0227-C726-EDC98309D6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32250" y="5456238"/>
              <a:ext cx="38100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1" name="Rectangle 216">
              <a:extLst>
                <a:ext uri="{FF2B5EF4-FFF2-40B4-BE49-F238E27FC236}">
                  <a16:creationId xmlns:a16="http://schemas.microsoft.com/office/drawing/2014/main" id="{86BD9EFC-EC2B-3D02-7E45-AD41968B7B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54463" y="5456238"/>
              <a:ext cx="38100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2" name="Rectangle 217">
              <a:extLst>
                <a:ext uri="{FF2B5EF4-FFF2-40B4-BE49-F238E27FC236}">
                  <a16:creationId xmlns:a16="http://schemas.microsoft.com/office/drawing/2014/main" id="{105522E3-AF27-8B0F-2195-0438B7323A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36875" y="5418138"/>
              <a:ext cx="39687" cy="381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3" name="Rectangle 218">
              <a:extLst>
                <a:ext uri="{FF2B5EF4-FFF2-40B4-BE49-F238E27FC236}">
                  <a16:creationId xmlns:a16="http://schemas.microsoft.com/office/drawing/2014/main" id="{6D8EB332-6604-09DE-D2A8-14F0868EF2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36875" y="5495925"/>
              <a:ext cx="39687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4" name="Rectangle 219">
              <a:extLst>
                <a:ext uri="{FF2B5EF4-FFF2-40B4-BE49-F238E27FC236}">
                  <a16:creationId xmlns:a16="http://schemas.microsoft.com/office/drawing/2014/main" id="{2E991700-CF6B-D690-70FB-BF830B2949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76563" y="5456238"/>
              <a:ext cx="38100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5" name="Rectangle 220">
              <a:extLst>
                <a:ext uri="{FF2B5EF4-FFF2-40B4-BE49-F238E27FC236}">
                  <a16:creationId xmlns:a16="http://schemas.microsoft.com/office/drawing/2014/main" id="{3D76396F-61EA-CF6D-80C5-ED6AB2D59A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97188" y="5456238"/>
              <a:ext cx="39687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6" name="Freeform 221">
              <a:extLst>
                <a:ext uri="{FF2B5EF4-FFF2-40B4-BE49-F238E27FC236}">
                  <a16:creationId xmlns:a16="http://schemas.microsoft.com/office/drawing/2014/main" id="{4F277AD9-9D93-2F8E-DF52-DD14FF915CA0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3488" y="4632325"/>
              <a:ext cx="204787" cy="642938"/>
            </a:xfrm>
            <a:custGeom>
              <a:avLst/>
              <a:gdLst>
                <a:gd name="T0" fmla="*/ 14 w 335"/>
                <a:gd name="T1" fmla="*/ 43 h 1052"/>
                <a:gd name="T2" fmla="*/ 0 w 335"/>
                <a:gd name="T3" fmla="*/ 1007 h 1052"/>
                <a:gd name="T4" fmla="*/ 46 w 335"/>
                <a:gd name="T5" fmla="*/ 1052 h 1052"/>
                <a:gd name="T6" fmla="*/ 62 w 335"/>
                <a:gd name="T7" fmla="*/ 0 h 1052"/>
                <a:gd name="T8" fmla="*/ 14 w 335"/>
                <a:gd name="T9" fmla="*/ 43 h 10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5" h="1052">
                  <a:moveTo>
                    <a:pt x="14" y="43"/>
                  </a:moveTo>
                  <a:cubicBezTo>
                    <a:pt x="265" y="318"/>
                    <a:pt x="258" y="740"/>
                    <a:pt x="0" y="1007"/>
                  </a:cubicBezTo>
                  <a:cubicBezTo>
                    <a:pt x="46" y="1052"/>
                    <a:pt x="46" y="1052"/>
                    <a:pt x="46" y="1052"/>
                  </a:cubicBezTo>
                  <a:cubicBezTo>
                    <a:pt x="328" y="760"/>
                    <a:pt x="335" y="300"/>
                    <a:pt x="62" y="0"/>
                  </a:cubicBezTo>
                  <a:lnTo>
                    <a:pt x="14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7" name="Freeform 222">
              <a:extLst>
                <a:ext uri="{FF2B5EF4-FFF2-40B4-BE49-F238E27FC236}">
                  <a16:creationId xmlns:a16="http://schemas.microsoft.com/office/drawing/2014/main" id="{66BA58DB-F9BE-00A7-3747-E7E3BC1BAAF4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1163" y="4621213"/>
              <a:ext cx="204787" cy="654050"/>
            </a:xfrm>
            <a:custGeom>
              <a:avLst/>
              <a:gdLst>
                <a:gd name="T0" fmla="*/ 334 w 334"/>
                <a:gd name="T1" fmla="*/ 45 h 1069"/>
                <a:gd name="T2" fmla="*/ 288 w 334"/>
                <a:gd name="T3" fmla="*/ 0 h 1069"/>
                <a:gd name="T4" fmla="*/ 288 w 334"/>
                <a:gd name="T5" fmla="*/ 1069 h 1069"/>
                <a:gd name="T6" fmla="*/ 334 w 334"/>
                <a:gd name="T7" fmla="*/ 1024 h 1069"/>
                <a:gd name="T8" fmla="*/ 334 w 334"/>
                <a:gd name="T9" fmla="*/ 45 h 10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4" h="1069">
                  <a:moveTo>
                    <a:pt x="334" y="45"/>
                  </a:moveTo>
                  <a:cubicBezTo>
                    <a:pt x="288" y="0"/>
                    <a:pt x="288" y="0"/>
                    <a:pt x="288" y="0"/>
                  </a:cubicBezTo>
                  <a:cubicBezTo>
                    <a:pt x="0" y="298"/>
                    <a:pt x="0" y="771"/>
                    <a:pt x="288" y="1069"/>
                  </a:cubicBezTo>
                  <a:cubicBezTo>
                    <a:pt x="334" y="1024"/>
                    <a:pt x="334" y="1024"/>
                    <a:pt x="334" y="1024"/>
                  </a:cubicBezTo>
                  <a:cubicBezTo>
                    <a:pt x="70" y="751"/>
                    <a:pt x="70" y="318"/>
                    <a:pt x="334" y="4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B470A693-9685-85A6-F814-FBD71E45C978}"/>
              </a:ext>
            </a:extLst>
          </p:cNvPr>
          <p:cNvGrpSpPr/>
          <p:nvPr/>
        </p:nvGrpSpPr>
        <p:grpSpPr>
          <a:xfrm>
            <a:off x="5716383" y="1828228"/>
            <a:ext cx="487064" cy="472181"/>
            <a:chOff x="10982325" y="6362701"/>
            <a:chExt cx="779463" cy="755649"/>
          </a:xfrm>
          <a:solidFill>
            <a:schemeClr val="bg1"/>
          </a:solidFill>
        </p:grpSpPr>
        <p:sp>
          <p:nvSpPr>
            <p:cNvPr id="59" name="Freeform 289">
              <a:extLst>
                <a:ext uri="{FF2B5EF4-FFF2-40B4-BE49-F238E27FC236}">
                  <a16:creationId xmlns:a16="http://schemas.microsoft.com/office/drawing/2014/main" id="{82C583F9-267A-27F6-E88C-72052A79B6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96650" y="6653213"/>
              <a:ext cx="465138" cy="465137"/>
            </a:xfrm>
            <a:custGeom>
              <a:avLst/>
              <a:gdLst>
                <a:gd name="T0" fmla="*/ 579 w 1230"/>
                <a:gd name="T1" fmla="*/ 2 h 1229"/>
                <a:gd name="T2" fmla="*/ 3 w 1230"/>
                <a:gd name="T3" fmla="*/ 578 h 1229"/>
                <a:gd name="T4" fmla="*/ 40 w 1230"/>
                <a:gd name="T5" fmla="*/ 781 h 1229"/>
                <a:gd name="T6" fmla="*/ 100 w 1230"/>
                <a:gd name="T7" fmla="*/ 758 h 1229"/>
                <a:gd name="T8" fmla="*/ 398 w 1230"/>
                <a:gd name="T9" fmla="*/ 99 h 1229"/>
                <a:gd name="T10" fmla="*/ 1057 w 1230"/>
                <a:gd name="T11" fmla="*/ 398 h 1229"/>
                <a:gd name="T12" fmla="*/ 759 w 1230"/>
                <a:gd name="T13" fmla="*/ 1057 h 1229"/>
                <a:gd name="T14" fmla="*/ 398 w 1230"/>
                <a:gd name="T15" fmla="*/ 1057 h 1229"/>
                <a:gd name="T16" fmla="*/ 376 w 1230"/>
                <a:gd name="T17" fmla="*/ 1117 h 1229"/>
                <a:gd name="T18" fmla="*/ 1118 w 1230"/>
                <a:gd name="T19" fmla="*/ 780 h 1229"/>
                <a:gd name="T20" fmla="*/ 782 w 1230"/>
                <a:gd name="T21" fmla="*/ 38 h 1229"/>
                <a:gd name="T22" fmla="*/ 579 w 1230"/>
                <a:gd name="T23" fmla="*/ 2 h 1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30" h="1229">
                  <a:moveTo>
                    <a:pt x="579" y="2"/>
                  </a:moveTo>
                  <a:cubicBezTo>
                    <a:pt x="261" y="2"/>
                    <a:pt x="3" y="260"/>
                    <a:pt x="3" y="578"/>
                  </a:cubicBezTo>
                  <a:cubicBezTo>
                    <a:pt x="3" y="647"/>
                    <a:pt x="16" y="716"/>
                    <a:pt x="40" y="781"/>
                  </a:cubicBezTo>
                  <a:cubicBezTo>
                    <a:pt x="100" y="758"/>
                    <a:pt x="100" y="758"/>
                    <a:pt x="100" y="758"/>
                  </a:cubicBezTo>
                  <a:cubicBezTo>
                    <a:pt x="0" y="494"/>
                    <a:pt x="134" y="199"/>
                    <a:pt x="398" y="99"/>
                  </a:cubicBezTo>
                  <a:cubicBezTo>
                    <a:pt x="663" y="0"/>
                    <a:pt x="958" y="133"/>
                    <a:pt x="1057" y="398"/>
                  </a:cubicBezTo>
                  <a:cubicBezTo>
                    <a:pt x="1157" y="662"/>
                    <a:pt x="1023" y="957"/>
                    <a:pt x="759" y="1057"/>
                  </a:cubicBezTo>
                  <a:cubicBezTo>
                    <a:pt x="643" y="1101"/>
                    <a:pt x="515" y="1101"/>
                    <a:pt x="398" y="1057"/>
                  </a:cubicBezTo>
                  <a:cubicBezTo>
                    <a:pt x="376" y="1117"/>
                    <a:pt x="376" y="1117"/>
                    <a:pt x="376" y="1117"/>
                  </a:cubicBezTo>
                  <a:cubicBezTo>
                    <a:pt x="674" y="1229"/>
                    <a:pt x="1006" y="1078"/>
                    <a:pt x="1118" y="780"/>
                  </a:cubicBezTo>
                  <a:cubicBezTo>
                    <a:pt x="1230" y="483"/>
                    <a:pt x="1079" y="151"/>
                    <a:pt x="782" y="38"/>
                  </a:cubicBezTo>
                  <a:cubicBezTo>
                    <a:pt x="717" y="14"/>
                    <a:pt x="648" y="2"/>
                    <a:pt x="579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0" name="Freeform 290">
              <a:extLst>
                <a:ext uri="{FF2B5EF4-FFF2-40B4-BE49-F238E27FC236}">
                  <a16:creationId xmlns:a16="http://schemas.microsoft.com/office/drawing/2014/main" id="{0F6AAC5E-A499-E500-3035-19DEAEB36F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01425" y="6748463"/>
              <a:ext cx="238125" cy="247650"/>
            </a:xfrm>
            <a:custGeom>
              <a:avLst/>
              <a:gdLst>
                <a:gd name="T0" fmla="*/ 301 w 630"/>
                <a:gd name="T1" fmla="*/ 553 h 657"/>
                <a:gd name="T2" fmla="*/ 189 w 630"/>
                <a:gd name="T3" fmla="*/ 523 h 657"/>
                <a:gd name="T4" fmla="*/ 157 w 630"/>
                <a:gd name="T5" fmla="*/ 578 h 657"/>
                <a:gd name="T6" fmla="*/ 550 w 630"/>
                <a:gd name="T7" fmla="*/ 472 h 657"/>
                <a:gd name="T8" fmla="*/ 445 w 630"/>
                <a:gd name="T9" fmla="*/ 79 h 657"/>
                <a:gd name="T10" fmla="*/ 52 w 630"/>
                <a:gd name="T11" fmla="*/ 185 h 657"/>
                <a:gd name="T12" fmla="*/ 52 w 630"/>
                <a:gd name="T13" fmla="*/ 472 h 657"/>
                <a:gd name="T14" fmla="*/ 107 w 630"/>
                <a:gd name="T15" fmla="*/ 440 h 657"/>
                <a:gd name="T16" fmla="*/ 189 w 630"/>
                <a:gd name="T17" fmla="*/ 134 h 657"/>
                <a:gd name="T18" fmla="*/ 495 w 630"/>
                <a:gd name="T19" fmla="*/ 217 h 657"/>
                <a:gd name="T20" fmla="*/ 413 w 630"/>
                <a:gd name="T21" fmla="*/ 523 h 657"/>
                <a:gd name="T22" fmla="*/ 301 w 630"/>
                <a:gd name="T23" fmla="*/ 553 h 6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30" h="657">
                  <a:moveTo>
                    <a:pt x="301" y="553"/>
                  </a:moveTo>
                  <a:cubicBezTo>
                    <a:pt x="262" y="553"/>
                    <a:pt x="223" y="542"/>
                    <a:pt x="189" y="523"/>
                  </a:cubicBezTo>
                  <a:cubicBezTo>
                    <a:pt x="157" y="578"/>
                    <a:pt x="157" y="578"/>
                    <a:pt x="157" y="578"/>
                  </a:cubicBezTo>
                  <a:cubicBezTo>
                    <a:pt x="295" y="657"/>
                    <a:pt x="471" y="610"/>
                    <a:pt x="550" y="472"/>
                  </a:cubicBezTo>
                  <a:cubicBezTo>
                    <a:pt x="630" y="335"/>
                    <a:pt x="583" y="159"/>
                    <a:pt x="445" y="79"/>
                  </a:cubicBezTo>
                  <a:cubicBezTo>
                    <a:pt x="307" y="0"/>
                    <a:pt x="131" y="47"/>
                    <a:pt x="52" y="185"/>
                  </a:cubicBezTo>
                  <a:cubicBezTo>
                    <a:pt x="0" y="274"/>
                    <a:pt x="0" y="383"/>
                    <a:pt x="52" y="472"/>
                  </a:cubicBezTo>
                  <a:cubicBezTo>
                    <a:pt x="107" y="440"/>
                    <a:pt x="107" y="440"/>
                    <a:pt x="107" y="440"/>
                  </a:cubicBezTo>
                  <a:cubicBezTo>
                    <a:pt x="45" y="333"/>
                    <a:pt x="82" y="196"/>
                    <a:pt x="189" y="134"/>
                  </a:cubicBezTo>
                  <a:cubicBezTo>
                    <a:pt x="296" y="73"/>
                    <a:pt x="433" y="110"/>
                    <a:pt x="495" y="217"/>
                  </a:cubicBezTo>
                  <a:cubicBezTo>
                    <a:pt x="557" y="324"/>
                    <a:pt x="520" y="461"/>
                    <a:pt x="413" y="523"/>
                  </a:cubicBezTo>
                  <a:cubicBezTo>
                    <a:pt x="379" y="542"/>
                    <a:pt x="340" y="553"/>
                    <a:pt x="301" y="55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1" name="Freeform 291">
              <a:extLst>
                <a:ext uri="{FF2B5EF4-FFF2-40B4-BE49-F238E27FC236}">
                  <a16:creationId xmlns:a16="http://schemas.microsoft.com/office/drawing/2014/main" id="{0ADBCBE0-7FF0-4A1A-C7EB-AB385844844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42688" y="6680200"/>
              <a:ext cx="365125" cy="384175"/>
            </a:xfrm>
            <a:custGeom>
              <a:avLst/>
              <a:gdLst>
                <a:gd name="T0" fmla="*/ 287 w 967"/>
                <a:gd name="T1" fmla="*/ 921 h 1016"/>
                <a:gd name="T2" fmla="*/ 872 w 967"/>
                <a:gd name="T3" fmla="*/ 680 h 1016"/>
                <a:gd name="T4" fmla="*/ 630 w 967"/>
                <a:gd name="T5" fmla="*/ 95 h 1016"/>
                <a:gd name="T6" fmla="*/ 45 w 967"/>
                <a:gd name="T7" fmla="*/ 336 h 1016"/>
                <a:gd name="T8" fmla="*/ 46 w 967"/>
                <a:gd name="T9" fmla="*/ 680 h 1016"/>
                <a:gd name="T10" fmla="*/ 105 w 967"/>
                <a:gd name="T11" fmla="*/ 656 h 1016"/>
                <a:gd name="T12" fmla="*/ 311 w 967"/>
                <a:gd name="T13" fmla="*/ 154 h 1016"/>
                <a:gd name="T14" fmla="*/ 813 w 967"/>
                <a:gd name="T15" fmla="*/ 361 h 1016"/>
                <a:gd name="T16" fmla="*/ 606 w 967"/>
                <a:gd name="T17" fmla="*/ 862 h 1016"/>
                <a:gd name="T18" fmla="*/ 311 w 967"/>
                <a:gd name="T19" fmla="*/ 862 h 1016"/>
                <a:gd name="T20" fmla="*/ 287 w 967"/>
                <a:gd name="T21" fmla="*/ 921 h 10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67" h="1016">
                  <a:moveTo>
                    <a:pt x="287" y="921"/>
                  </a:moveTo>
                  <a:cubicBezTo>
                    <a:pt x="515" y="1016"/>
                    <a:pt x="777" y="908"/>
                    <a:pt x="872" y="680"/>
                  </a:cubicBezTo>
                  <a:cubicBezTo>
                    <a:pt x="967" y="451"/>
                    <a:pt x="859" y="190"/>
                    <a:pt x="630" y="95"/>
                  </a:cubicBezTo>
                  <a:cubicBezTo>
                    <a:pt x="402" y="0"/>
                    <a:pt x="140" y="108"/>
                    <a:pt x="45" y="336"/>
                  </a:cubicBezTo>
                  <a:cubicBezTo>
                    <a:pt x="0" y="446"/>
                    <a:pt x="0" y="570"/>
                    <a:pt x="46" y="680"/>
                  </a:cubicBezTo>
                  <a:cubicBezTo>
                    <a:pt x="105" y="656"/>
                    <a:pt x="105" y="656"/>
                    <a:pt x="105" y="656"/>
                  </a:cubicBezTo>
                  <a:cubicBezTo>
                    <a:pt x="23" y="460"/>
                    <a:pt x="116" y="236"/>
                    <a:pt x="311" y="154"/>
                  </a:cubicBezTo>
                  <a:cubicBezTo>
                    <a:pt x="507" y="73"/>
                    <a:pt x="731" y="165"/>
                    <a:pt x="813" y="361"/>
                  </a:cubicBezTo>
                  <a:cubicBezTo>
                    <a:pt x="894" y="556"/>
                    <a:pt x="802" y="781"/>
                    <a:pt x="606" y="862"/>
                  </a:cubicBezTo>
                  <a:cubicBezTo>
                    <a:pt x="512" y="902"/>
                    <a:pt x="406" y="902"/>
                    <a:pt x="311" y="862"/>
                  </a:cubicBezTo>
                  <a:lnTo>
                    <a:pt x="287" y="9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2" name="Freeform 292">
              <a:extLst>
                <a:ext uri="{FF2B5EF4-FFF2-40B4-BE49-F238E27FC236}">
                  <a16:creationId xmlns:a16="http://schemas.microsoft.com/office/drawing/2014/main" id="{F0A44DDB-D5D9-CD69-01AF-1C9BC6E0F35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982325" y="6362701"/>
              <a:ext cx="582613" cy="752474"/>
            </a:xfrm>
            <a:custGeom>
              <a:avLst/>
              <a:gdLst>
                <a:gd name="T0" fmla="*/ 66 w 1538"/>
                <a:gd name="T1" fmla="*/ 1891 h 1987"/>
                <a:gd name="T2" fmla="*/ 880 w 1538"/>
                <a:gd name="T3" fmla="*/ 1905 h 1987"/>
                <a:gd name="T4" fmla="*/ 949 w 1538"/>
                <a:gd name="T5" fmla="*/ 1981 h 1987"/>
                <a:gd name="T6" fmla="*/ 1157 w 1538"/>
                <a:gd name="T7" fmla="*/ 1645 h 1987"/>
                <a:gd name="T8" fmla="*/ 1538 w 1538"/>
                <a:gd name="T9" fmla="*/ 1347 h 1987"/>
                <a:gd name="T10" fmla="*/ 1300 w 1538"/>
                <a:gd name="T11" fmla="*/ 1411 h 1987"/>
                <a:gd name="T12" fmla="*/ 936 w 1538"/>
                <a:gd name="T13" fmla="*/ 1584 h 1987"/>
                <a:gd name="T14" fmla="*/ 792 w 1538"/>
                <a:gd name="T15" fmla="*/ 1857 h 1987"/>
                <a:gd name="T16" fmla="*/ 162 w 1538"/>
                <a:gd name="T17" fmla="*/ 1923 h 1987"/>
                <a:gd name="T18" fmla="*/ 610 w 1538"/>
                <a:gd name="T19" fmla="*/ 1859 h 1987"/>
                <a:gd name="T20" fmla="*/ 162 w 1538"/>
                <a:gd name="T21" fmla="*/ 1667 h 1987"/>
                <a:gd name="T22" fmla="*/ 386 w 1538"/>
                <a:gd name="T23" fmla="*/ 1603 h 1987"/>
                <a:gd name="T24" fmla="*/ 642 w 1538"/>
                <a:gd name="T25" fmla="*/ 1315 h 1987"/>
                <a:gd name="T26" fmla="*/ 986 w 1538"/>
                <a:gd name="T27" fmla="*/ 354 h 1987"/>
                <a:gd name="T28" fmla="*/ 354 w 1538"/>
                <a:gd name="T29" fmla="*/ 986 h 1987"/>
                <a:gd name="T30" fmla="*/ 450 w 1538"/>
                <a:gd name="T31" fmla="*/ 1347 h 1987"/>
                <a:gd name="T32" fmla="*/ 162 w 1538"/>
                <a:gd name="T33" fmla="*/ 1539 h 1987"/>
                <a:gd name="T34" fmla="*/ 610 w 1538"/>
                <a:gd name="T35" fmla="*/ 1731 h 1987"/>
                <a:gd name="T36" fmla="*/ 1119 w 1538"/>
                <a:gd name="T37" fmla="*/ 1781 h 1987"/>
                <a:gd name="T38" fmla="*/ 1102 w 1538"/>
                <a:gd name="T39" fmla="*/ 1700 h 1987"/>
                <a:gd name="T40" fmla="*/ 1410 w 1538"/>
                <a:gd name="T41" fmla="*/ 1283 h 1987"/>
                <a:gd name="T42" fmla="*/ 1394 w 1538"/>
                <a:gd name="T43" fmla="*/ 1408 h 1987"/>
                <a:gd name="T44" fmla="*/ 1349 w 1538"/>
                <a:gd name="T45" fmla="*/ 1363 h 1987"/>
                <a:gd name="T46" fmla="*/ 1057 w 1538"/>
                <a:gd name="T47" fmla="*/ 1654 h 1987"/>
                <a:gd name="T48" fmla="*/ 976 w 1538"/>
                <a:gd name="T49" fmla="*/ 1638 h 1987"/>
                <a:gd name="T50" fmla="*/ 674 w 1538"/>
                <a:gd name="T51" fmla="*/ 1155 h 1987"/>
                <a:gd name="T52" fmla="*/ 130 w 1538"/>
                <a:gd name="T53" fmla="*/ 547 h 1987"/>
                <a:gd name="T54" fmla="*/ 613 w 1538"/>
                <a:gd name="T55" fmla="*/ 957 h 1987"/>
                <a:gd name="T56" fmla="*/ 834 w 1538"/>
                <a:gd name="T57" fmla="*/ 611 h 1987"/>
                <a:gd name="T58" fmla="*/ 573 w 1538"/>
                <a:gd name="T59" fmla="*/ 675 h 1987"/>
                <a:gd name="T60" fmla="*/ 386 w 1538"/>
                <a:gd name="T61" fmla="*/ 483 h 1987"/>
                <a:gd name="T62" fmla="*/ 461 w 1538"/>
                <a:gd name="T63" fmla="*/ 739 h 1987"/>
                <a:gd name="T64" fmla="*/ 544 w 1538"/>
                <a:gd name="T65" fmla="*/ 963 h 1987"/>
                <a:gd name="T66" fmla="*/ 549 w 1538"/>
                <a:gd name="T67" fmla="*/ 963 h 1987"/>
                <a:gd name="T68" fmla="*/ 637 w 1538"/>
                <a:gd name="T69" fmla="*/ 675 h 1987"/>
                <a:gd name="T70" fmla="*/ 770 w 1538"/>
                <a:gd name="T71" fmla="*/ 611 h 1987"/>
                <a:gd name="T72" fmla="*/ 455 w 1538"/>
                <a:gd name="T73" fmla="*/ 675 h 1987"/>
                <a:gd name="T74" fmla="*/ 386 w 1538"/>
                <a:gd name="T75" fmla="*/ 547 h 1987"/>
                <a:gd name="T76" fmla="*/ 455 w 1538"/>
                <a:gd name="T77" fmla="*/ 675 h 1987"/>
                <a:gd name="T78" fmla="*/ 674 w 1538"/>
                <a:gd name="T79" fmla="*/ 1059 h 1987"/>
                <a:gd name="T80" fmla="*/ 546 w 1538"/>
                <a:gd name="T81" fmla="*/ 1027 h 1987"/>
                <a:gd name="T82" fmla="*/ 642 w 1538"/>
                <a:gd name="T83" fmla="*/ 1251 h 1987"/>
                <a:gd name="T84" fmla="*/ 578 w 1538"/>
                <a:gd name="T85" fmla="*/ 1315 h 1987"/>
                <a:gd name="T86" fmla="*/ 514 w 1538"/>
                <a:gd name="T87" fmla="*/ 1347 h 19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538" h="1987">
                  <a:moveTo>
                    <a:pt x="610" y="1795"/>
                  </a:moveTo>
                  <a:cubicBezTo>
                    <a:pt x="162" y="1795"/>
                    <a:pt x="162" y="1795"/>
                    <a:pt x="162" y="1795"/>
                  </a:cubicBezTo>
                  <a:cubicBezTo>
                    <a:pt x="109" y="1795"/>
                    <a:pt x="66" y="1838"/>
                    <a:pt x="66" y="1891"/>
                  </a:cubicBezTo>
                  <a:cubicBezTo>
                    <a:pt x="66" y="1944"/>
                    <a:pt x="109" y="1987"/>
                    <a:pt x="162" y="1987"/>
                  </a:cubicBezTo>
                  <a:cubicBezTo>
                    <a:pt x="552" y="1987"/>
                    <a:pt x="552" y="1987"/>
                    <a:pt x="552" y="1987"/>
                  </a:cubicBezTo>
                  <a:cubicBezTo>
                    <a:pt x="666" y="1986"/>
                    <a:pt x="779" y="1959"/>
                    <a:pt x="880" y="1905"/>
                  </a:cubicBezTo>
                  <a:cubicBezTo>
                    <a:pt x="900" y="1965"/>
                    <a:pt x="900" y="1965"/>
                    <a:pt x="900" y="1965"/>
                  </a:cubicBezTo>
                  <a:cubicBezTo>
                    <a:pt x="904" y="1978"/>
                    <a:pt x="916" y="1987"/>
                    <a:pt x="930" y="1987"/>
                  </a:cubicBezTo>
                  <a:cubicBezTo>
                    <a:pt x="937" y="1987"/>
                    <a:pt x="943" y="1984"/>
                    <a:pt x="949" y="1981"/>
                  </a:cubicBezTo>
                  <a:cubicBezTo>
                    <a:pt x="1173" y="1821"/>
                    <a:pt x="1173" y="1821"/>
                    <a:pt x="1173" y="1821"/>
                  </a:cubicBezTo>
                  <a:cubicBezTo>
                    <a:pt x="1183" y="1813"/>
                    <a:pt x="1188" y="1801"/>
                    <a:pt x="1186" y="1788"/>
                  </a:cubicBezTo>
                  <a:cubicBezTo>
                    <a:pt x="1157" y="1645"/>
                    <a:pt x="1157" y="1645"/>
                    <a:pt x="1157" y="1645"/>
                  </a:cubicBezTo>
                  <a:cubicBezTo>
                    <a:pt x="1346" y="1456"/>
                    <a:pt x="1346" y="1456"/>
                    <a:pt x="1346" y="1456"/>
                  </a:cubicBezTo>
                  <a:cubicBezTo>
                    <a:pt x="1365" y="1468"/>
                    <a:pt x="1387" y="1474"/>
                    <a:pt x="1410" y="1475"/>
                  </a:cubicBezTo>
                  <a:cubicBezTo>
                    <a:pt x="1481" y="1475"/>
                    <a:pt x="1538" y="1417"/>
                    <a:pt x="1538" y="1347"/>
                  </a:cubicBezTo>
                  <a:cubicBezTo>
                    <a:pt x="1538" y="1276"/>
                    <a:pt x="1481" y="1219"/>
                    <a:pt x="1410" y="1219"/>
                  </a:cubicBezTo>
                  <a:cubicBezTo>
                    <a:pt x="1339" y="1219"/>
                    <a:pt x="1282" y="1276"/>
                    <a:pt x="1282" y="1347"/>
                  </a:cubicBezTo>
                  <a:cubicBezTo>
                    <a:pt x="1282" y="1369"/>
                    <a:pt x="1289" y="1392"/>
                    <a:pt x="1300" y="1411"/>
                  </a:cubicBezTo>
                  <a:cubicBezTo>
                    <a:pt x="1111" y="1600"/>
                    <a:pt x="1111" y="1600"/>
                    <a:pt x="1111" y="1600"/>
                  </a:cubicBezTo>
                  <a:cubicBezTo>
                    <a:pt x="969" y="1571"/>
                    <a:pt x="969" y="1571"/>
                    <a:pt x="969" y="1571"/>
                  </a:cubicBezTo>
                  <a:cubicBezTo>
                    <a:pt x="956" y="1569"/>
                    <a:pt x="944" y="1574"/>
                    <a:pt x="936" y="1584"/>
                  </a:cubicBezTo>
                  <a:cubicBezTo>
                    <a:pt x="776" y="1808"/>
                    <a:pt x="776" y="1808"/>
                    <a:pt x="776" y="1808"/>
                  </a:cubicBezTo>
                  <a:cubicBezTo>
                    <a:pt x="766" y="1822"/>
                    <a:pt x="769" y="1842"/>
                    <a:pt x="784" y="1853"/>
                  </a:cubicBezTo>
                  <a:cubicBezTo>
                    <a:pt x="786" y="1855"/>
                    <a:pt x="789" y="1856"/>
                    <a:pt x="792" y="1857"/>
                  </a:cubicBezTo>
                  <a:cubicBezTo>
                    <a:pt x="817" y="1865"/>
                    <a:pt x="817" y="1865"/>
                    <a:pt x="817" y="1865"/>
                  </a:cubicBezTo>
                  <a:cubicBezTo>
                    <a:pt x="733" y="1903"/>
                    <a:pt x="643" y="1922"/>
                    <a:pt x="552" y="1923"/>
                  </a:cubicBezTo>
                  <a:cubicBezTo>
                    <a:pt x="162" y="1923"/>
                    <a:pt x="162" y="1923"/>
                    <a:pt x="162" y="1923"/>
                  </a:cubicBezTo>
                  <a:cubicBezTo>
                    <a:pt x="144" y="1923"/>
                    <a:pt x="130" y="1908"/>
                    <a:pt x="130" y="1891"/>
                  </a:cubicBezTo>
                  <a:cubicBezTo>
                    <a:pt x="130" y="1873"/>
                    <a:pt x="144" y="1859"/>
                    <a:pt x="162" y="1859"/>
                  </a:cubicBezTo>
                  <a:cubicBezTo>
                    <a:pt x="610" y="1859"/>
                    <a:pt x="610" y="1859"/>
                    <a:pt x="610" y="1859"/>
                  </a:cubicBezTo>
                  <a:cubicBezTo>
                    <a:pt x="663" y="1859"/>
                    <a:pt x="706" y="1816"/>
                    <a:pt x="706" y="1763"/>
                  </a:cubicBezTo>
                  <a:cubicBezTo>
                    <a:pt x="706" y="1710"/>
                    <a:pt x="663" y="1667"/>
                    <a:pt x="610" y="1667"/>
                  </a:cubicBezTo>
                  <a:cubicBezTo>
                    <a:pt x="162" y="1667"/>
                    <a:pt x="162" y="1667"/>
                    <a:pt x="162" y="1667"/>
                  </a:cubicBezTo>
                  <a:cubicBezTo>
                    <a:pt x="144" y="1667"/>
                    <a:pt x="130" y="1652"/>
                    <a:pt x="130" y="1635"/>
                  </a:cubicBezTo>
                  <a:cubicBezTo>
                    <a:pt x="130" y="1617"/>
                    <a:pt x="144" y="1603"/>
                    <a:pt x="162" y="1603"/>
                  </a:cubicBezTo>
                  <a:cubicBezTo>
                    <a:pt x="386" y="1603"/>
                    <a:pt x="386" y="1603"/>
                    <a:pt x="386" y="1603"/>
                  </a:cubicBezTo>
                  <a:cubicBezTo>
                    <a:pt x="482" y="1602"/>
                    <a:pt x="563" y="1532"/>
                    <a:pt x="576" y="1437"/>
                  </a:cubicBezTo>
                  <a:cubicBezTo>
                    <a:pt x="615" y="1425"/>
                    <a:pt x="642" y="1388"/>
                    <a:pt x="642" y="1347"/>
                  </a:cubicBezTo>
                  <a:cubicBezTo>
                    <a:pt x="642" y="1315"/>
                    <a:pt x="642" y="1315"/>
                    <a:pt x="642" y="1315"/>
                  </a:cubicBezTo>
                  <a:cubicBezTo>
                    <a:pt x="695" y="1315"/>
                    <a:pt x="738" y="1272"/>
                    <a:pt x="738" y="1219"/>
                  </a:cubicBezTo>
                  <a:cubicBezTo>
                    <a:pt x="738" y="986"/>
                    <a:pt x="738" y="986"/>
                    <a:pt x="738" y="986"/>
                  </a:cubicBezTo>
                  <a:cubicBezTo>
                    <a:pt x="981" y="880"/>
                    <a:pt x="1092" y="597"/>
                    <a:pt x="986" y="354"/>
                  </a:cubicBezTo>
                  <a:cubicBezTo>
                    <a:pt x="880" y="111"/>
                    <a:pt x="597" y="0"/>
                    <a:pt x="354" y="106"/>
                  </a:cubicBezTo>
                  <a:cubicBezTo>
                    <a:pt x="111" y="212"/>
                    <a:pt x="0" y="495"/>
                    <a:pt x="106" y="738"/>
                  </a:cubicBezTo>
                  <a:cubicBezTo>
                    <a:pt x="155" y="849"/>
                    <a:pt x="243" y="938"/>
                    <a:pt x="354" y="986"/>
                  </a:cubicBezTo>
                  <a:cubicBezTo>
                    <a:pt x="354" y="1219"/>
                    <a:pt x="354" y="1219"/>
                    <a:pt x="354" y="1219"/>
                  </a:cubicBezTo>
                  <a:cubicBezTo>
                    <a:pt x="354" y="1272"/>
                    <a:pt x="397" y="1315"/>
                    <a:pt x="450" y="1315"/>
                  </a:cubicBezTo>
                  <a:cubicBezTo>
                    <a:pt x="450" y="1347"/>
                    <a:pt x="450" y="1347"/>
                    <a:pt x="450" y="1347"/>
                  </a:cubicBezTo>
                  <a:cubicBezTo>
                    <a:pt x="450" y="1386"/>
                    <a:pt x="475" y="1422"/>
                    <a:pt x="512" y="1436"/>
                  </a:cubicBezTo>
                  <a:cubicBezTo>
                    <a:pt x="499" y="1496"/>
                    <a:pt x="447" y="1538"/>
                    <a:pt x="386" y="1539"/>
                  </a:cubicBezTo>
                  <a:cubicBezTo>
                    <a:pt x="162" y="1539"/>
                    <a:pt x="162" y="1539"/>
                    <a:pt x="162" y="1539"/>
                  </a:cubicBezTo>
                  <a:cubicBezTo>
                    <a:pt x="109" y="1539"/>
                    <a:pt x="66" y="1582"/>
                    <a:pt x="66" y="1635"/>
                  </a:cubicBezTo>
                  <a:cubicBezTo>
                    <a:pt x="66" y="1688"/>
                    <a:pt x="109" y="1731"/>
                    <a:pt x="162" y="1731"/>
                  </a:cubicBezTo>
                  <a:cubicBezTo>
                    <a:pt x="610" y="1731"/>
                    <a:pt x="610" y="1731"/>
                    <a:pt x="610" y="1731"/>
                  </a:cubicBezTo>
                  <a:cubicBezTo>
                    <a:pt x="628" y="1731"/>
                    <a:pt x="642" y="1745"/>
                    <a:pt x="642" y="1763"/>
                  </a:cubicBezTo>
                  <a:cubicBezTo>
                    <a:pt x="642" y="1780"/>
                    <a:pt x="628" y="1795"/>
                    <a:pt x="610" y="1795"/>
                  </a:cubicBezTo>
                  <a:moveTo>
                    <a:pt x="1119" y="1781"/>
                  </a:moveTo>
                  <a:cubicBezTo>
                    <a:pt x="947" y="1903"/>
                    <a:pt x="947" y="1903"/>
                    <a:pt x="947" y="1903"/>
                  </a:cubicBezTo>
                  <a:cubicBezTo>
                    <a:pt x="935" y="1867"/>
                    <a:pt x="935" y="1867"/>
                    <a:pt x="935" y="1867"/>
                  </a:cubicBezTo>
                  <a:cubicBezTo>
                    <a:pt x="1102" y="1700"/>
                    <a:pt x="1102" y="1700"/>
                    <a:pt x="1102" y="1700"/>
                  </a:cubicBezTo>
                  <a:lnTo>
                    <a:pt x="1119" y="1781"/>
                  </a:lnTo>
                  <a:close/>
                  <a:moveTo>
                    <a:pt x="1346" y="1347"/>
                  </a:moveTo>
                  <a:cubicBezTo>
                    <a:pt x="1346" y="1311"/>
                    <a:pt x="1375" y="1283"/>
                    <a:pt x="1410" y="1283"/>
                  </a:cubicBezTo>
                  <a:cubicBezTo>
                    <a:pt x="1445" y="1283"/>
                    <a:pt x="1474" y="1311"/>
                    <a:pt x="1474" y="1347"/>
                  </a:cubicBezTo>
                  <a:cubicBezTo>
                    <a:pt x="1474" y="1382"/>
                    <a:pt x="1445" y="1411"/>
                    <a:pt x="1410" y="1411"/>
                  </a:cubicBezTo>
                  <a:cubicBezTo>
                    <a:pt x="1405" y="1410"/>
                    <a:pt x="1399" y="1410"/>
                    <a:pt x="1394" y="1408"/>
                  </a:cubicBezTo>
                  <a:cubicBezTo>
                    <a:pt x="1433" y="1369"/>
                    <a:pt x="1433" y="1369"/>
                    <a:pt x="1433" y="1369"/>
                  </a:cubicBezTo>
                  <a:cubicBezTo>
                    <a:pt x="1387" y="1324"/>
                    <a:pt x="1387" y="1324"/>
                    <a:pt x="1387" y="1324"/>
                  </a:cubicBezTo>
                  <a:cubicBezTo>
                    <a:pt x="1349" y="1363"/>
                    <a:pt x="1349" y="1363"/>
                    <a:pt x="1349" y="1363"/>
                  </a:cubicBezTo>
                  <a:cubicBezTo>
                    <a:pt x="1347" y="1358"/>
                    <a:pt x="1346" y="1352"/>
                    <a:pt x="1346" y="1347"/>
                  </a:cubicBezTo>
                  <a:moveTo>
                    <a:pt x="976" y="1638"/>
                  </a:moveTo>
                  <a:cubicBezTo>
                    <a:pt x="1057" y="1654"/>
                    <a:pt x="1057" y="1654"/>
                    <a:pt x="1057" y="1654"/>
                  </a:cubicBezTo>
                  <a:cubicBezTo>
                    <a:pt x="889" y="1822"/>
                    <a:pt x="889" y="1822"/>
                    <a:pt x="889" y="1822"/>
                  </a:cubicBezTo>
                  <a:cubicBezTo>
                    <a:pt x="853" y="1810"/>
                    <a:pt x="853" y="1810"/>
                    <a:pt x="853" y="1810"/>
                  </a:cubicBezTo>
                  <a:lnTo>
                    <a:pt x="976" y="1638"/>
                  </a:lnTo>
                  <a:close/>
                  <a:moveTo>
                    <a:pt x="418" y="1123"/>
                  </a:moveTo>
                  <a:cubicBezTo>
                    <a:pt x="674" y="1123"/>
                    <a:pt x="674" y="1123"/>
                    <a:pt x="674" y="1123"/>
                  </a:cubicBezTo>
                  <a:cubicBezTo>
                    <a:pt x="674" y="1155"/>
                    <a:pt x="674" y="1155"/>
                    <a:pt x="674" y="1155"/>
                  </a:cubicBezTo>
                  <a:cubicBezTo>
                    <a:pt x="418" y="1155"/>
                    <a:pt x="418" y="1155"/>
                    <a:pt x="418" y="1155"/>
                  </a:cubicBezTo>
                  <a:lnTo>
                    <a:pt x="418" y="1123"/>
                  </a:lnTo>
                  <a:close/>
                  <a:moveTo>
                    <a:pt x="130" y="547"/>
                  </a:moveTo>
                  <a:cubicBezTo>
                    <a:pt x="130" y="317"/>
                    <a:pt x="316" y="130"/>
                    <a:pt x="546" y="130"/>
                  </a:cubicBezTo>
                  <a:cubicBezTo>
                    <a:pt x="775" y="130"/>
                    <a:pt x="962" y="316"/>
                    <a:pt x="962" y="546"/>
                  </a:cubicBezTo>
                  <a:cubicBezTo>
                    <a:pt x="962" y="750"/>
                    <a:pt x="815" y="924"/>
                    <a:pt x="613" y="957"/>
                  </a:cubicBezTo>
                  <a:cubicBezTo>
                    <a:pt x="631" y="739"/>
                    <a:pt x="631" y="739"/>
                    <a:pt x="631" y="739"/>
                  </a:cubicBezTo>
                  <a:cubicBezTo>
                    <a:pt x="706" y="739"/>
                    <a:pt x="706" y="739"/>
                    <a:pt x="706" y="739"/>
                  </a:cubicBezTo>
                  <a:cubicBezTo>
                    <a:pt x="777" y="739"/>
                    <a:pt x="834" y="681"/>
                    <a:pt x="834" y="611"/>
                  </a:cubicBezTo>
                  <a:cubicBezTo>
                    <a:pt x="834" y="540"/>
                    <a:pt x="777" y="483"/>
                    <a:pt x="706" y="483"/>
                  </a:cubicBezTo>
                  <a:cubicBezTo>
                    <a:pt x="636" y="483"/>
                    <a:pt x="580" y="538"/>
                    <a:pt x="578" y="608"/>
                  </a:cubicBezTo>
                  <a:cubicBezTo>
                    <a:pt x="573" y="675"/>
                    <a:pt x="573" y="675"/>
                    <a:pt x="573" y="675"/>
                  </a:cubicBezTo>
                  <a:cubicBezTo>
                    <a:pt x="519" y="675"/>
                    <a:pt x="519" y="675"/>
                    <a:pt x="519" y="675"/>
                  </a:cubicBezTo>
                  <a:cubicBezTo>
                    <a:pt x="514" y="611"/>
                    <a:pt x="514" y="611"/>
                    <a:pt x="514" y="611"/>
                  </a:cubicBezTo>
                  <a:cubicBezTo>
                    <a:pt x="514" y="540"/>
                    <a:pt x="457" y="483"/>
                    <a:pt x="386" y="483"/>
                  </a:cubicBezTo>
                  <a:cubicBezTo>
                    <a:pt x="315" y="483"/>
                    <a:pt x="258" y="540"/>
                    <a:pt x="258" y="611"/>
                  </a:cubicBezTo>
                  <a:cubicBezTo>
                    <a:pt x="258" y="681"/>
                    <a:pt x="315" y="739"/>
                    <a:pt x="386" y="739"/>
                  </a:cubicBezTo>
                  <a:cubicBezTo>
                    <a:pt x="461" y="739"/>
                    <a:pt x="461" y="739"/>
                    <a:pt x="461" y="739"/>
                  </a:cubicBezTo>
                  <a:cubicBezTo>
                    <a:pt x="479" y="957"/>
                    <a:pt x="479" y="957"/>
                    <a:pt x="479" y="957"/>
                  </a:cubicBezTo>
                  <a:cubicBezTo>
                    <a:pt x="278" y="924"/>
                    <a:pt x="130" y="750"/>
                    <a:pt x="130" y="547"/>
                  </a:cubicBezTo>
                  <a:moveTo>
                    <a:pt x="544" y="963"/>
                  </a:moveTo>
                  <a:cubicBezTo>
                    <a:pt x="525" y="739"/>
                    <a:pt x="525" y="739"/>
                    <a:pt x="525" y="739"/>
                  </a:cubicBezTo>
                  <a:cubicBezTo>
                    <a:pt x="567" y="739"/>
                    <a:pt x="567" y="739"/>
                    <a:pt x="567" y="739"/>
                  </a:cubicBezTo>
                  <a:cubicBezTo>
                    <a:pt x="549" y="963"/>
                    <a:pt x="549" y="963"/>
                    <a:pt x="549" y="963"/>
                  </a:cubicBezTo>
                  <a:cubicBezTo>
                    <a:pt x="546" y="963"/>
                    <a:pt x="546" y="963"/>
                    <a:pt x="546" y="963"/>
                  </a:cubicBezTo>
                  <a:lnTo>
                    <a:pt x="544" y="963"/>
                  </a:lnTo>
                  <a:close/>
                  <a:moveTo>
                    <a:pt x="637" y="675"/>
                  </a:moveTo>
                  <a:cubicBezTo>
                    <a:pt x="642" y="611"/>
                    <a:pt x="642" y="611"/>
                    <a:pt x="642" y="611"/>
                  </a:cubicBezTo>
                  <a:cubicBezTo>
                    <a:pt x="642" y="575"/>
                    <a:pt x="671" y="547"/>
                    <a:pt x="706" y="547"/>
                  </a:cubicBezTo>
                  <a:cubicBezTo>
                    <a:pt x="741" y="547"/>
                    <a:pt x="770" y="575"/>
                    <a:pt x="770" y="611"/>
                  </a:cubicBezTo>
                  <a:cubicBezTo>
                    <a:pt x="770" y="646"/>
                    <a:pt x="741" y="675"/>
                    <a:pt x="706" y="675"/>
                  </a:cubicBezTo>
                  <a:lnTo>
                    <a:pt x="637" y="675"/>
                  </a:lnTo>
                  <a:close/>
                  <a:moveTo>
                    <a:pt x="455" y="675"/>
                  </a:moveTo>
                  <a:cubicBezTo>
                    <a:pt x="386" y="675"/>
                    <a:pt x="386" y="675"/>
                    <a:pt x="386" y="675"/>
                  </a:cubicBezTo>
                  <a:cubicBezTo>
                    <a:pt x="351" y="675"/>
                    <a:pt x="322" y="646"/>
                    <a:pt x="322" y="611"/>
                  </a:cubicBezTo>
                  <a:cubicBezTo>
                    <a:pt x="322" y="575"/>
                    <a:pt x="351" y="547"/>
                    <a:pt x="386" y="547"/>
                  </a:cubicBezTo>
                  <a:cubicBezTo>
                    <a:pt x="422" y="547"/>
                    <a:pt x="451" y="576"/>
                    <a:pt x="450" y="612"/>
                  </a:cubicBezTo>
                  <a:cubicBezTo>
                    <a:pt x="450" y="613"/>
                    <a:pt x="450" y="613"/>
                    <a:pt x="450" y="613"/>
                  </a:cubicBezTo>
                  <a:lnTo>
                    <a:pt x="455" y="675"/>
                  </a:lnTo>
                  <a:close/>
                  <a:moveTo>
                    <a:pt x="546" y="1027"/>
                  </a:moveTo>
                  <a:cubicBezTo>
                    <a:pt x="589" y="1026"/>
                    <a:pt x="632" y="1020"/>
                    <a:pt x="674" y="1009"/>
                  </a:cubicBezTo>
                  <a:cubicBezTo>
                    <a:pt x="674" y="1059"/>
                    <a:pt x="674" y="1059"/>
                    <a:pt x="674" y="1059"/>
                  </a:cubicBezTo>
                  <a:cubicBezTo>
                    <a:pt x="418" y="1059"/>
                    <a:pt x="418" y="1059"/>
                    <a:pt x="418" y="1059"/>
                  </a:cubicBezTo>
                  <a:cubicBezTo>
                    <a:pt x="418" y="1009"/>
                    <a:pt x="418" y="1009"/>
                    <a:pt x="418" y="1009"/>
                  </a:cubicBezTo>
                  <a:cubicBezTo>
                    <a:pt x="460" y="1020"/>
                    <a:pt x="503" y="1026"/>
                    <a:pt x="546" y="1027"/>
                  </a:cubicBezTo>
                  <a:moveTo>
                    <a:pt x="418" y="1219"/>
                  </a:moveTo>
                  <a:cubicBezTo>
                    <a:pt x="674" y="1219"/>
                    <a:pt x="674" y="1219"/>
                    <a:pt x="674" y="1219"/>
                  </a:cubicBezTo>
                  <a:cubicBezTo>
                    <a:pt x="674" y="1236"/>
                    <a:pt x="660" y="1251"/>
                    <a:pt x="642" y="1251"/>
                  </a:cubicBezTo>
                  <a:cubicBezTo>
                    <a:pt x="450" y="1251"/>
                    <a:pt x="450" y="1251"/>
                    <a:pt x="450" y="1251"/>
                  </a:cubicBezTo>
                  <a:cubicBezTo>
                    <a:pt x="432" y="1251"/>
                    <a:pt x="418" y="1236"/>
                    <a:pt x="418" y="1219"/>
                  </a:cubicBezTo>
                  <a:moveTo>
                    <a:pt x="578" y="1315"/>
                  </a:moveTo>
                  <a:cubicBezTo>
                    <a:pt x="578" y="1347"/>
                    <a:pt x="578" y="1347"/>
                    <a:pt x="578" y="1347"/>
                  </a:cubicBezTo>
                  <a:cubicBezTo>
                    <a:pt x="578" y="1364"/>
                    <a:pt x="564" y="1379"/>
                    <a:pt x="546" y="1379"/>
                  </a:cubicBezTo>
                  <a:cubicBezTo>
                    <a:pt x="528" y="1379"/>
                    <a:pt x="514" y="1364"/>
                    <a:pt x="514" y="1347"/>
                  </a:cubicBezTo>
                  <a:cubicBezTo>
                    <a:pt x="514" y="1315"/>
                    <a:pt x="514" y="1315"/>
                    <a:pt x="514" y="1315"/>
                  </a:cubicBezTo>
                  <a:lnTo>
                    <a:pt x="578" y="13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3" name="Freeform 293">
              <a:extLst>
                <a:ext uri="{FF2B5EF4-FFF2-40B4-BE49-F238E27FC236}">
                  <a16:creationId xmlns:a16="http://schemas.microsoft.com/office/drawing/2014/main" id="{0A4702C6-58E6-3F7F-E45F-C22400AE8E7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87138" y="6403975"/>
              <a:ext cx="279400" cy="227012"/>
            </a:xfrm>
            <a:custGeom>
              <a:avLst/>
              <a:gdLst>
                <a:gd name="T0" fmla="*/ 119 w 739"/>
                <a:gd name="T1" fmla="*/ 517 h 597"/>
                <a:gd name="T2" fmla="*/ 149 w 739"/>
                <a:gd name="T3" fmla="*/ 524 h 597"/>
                <a:gd name="T4" fmla="*/ 707 w 739"/>
                <a:gd name="T5" fmla="*/ 597 h 597"/>
                <a:gd name="T6" fmla="*/ 739 w 739"/>
                <a:gd name="T7" fmla="*/ 542 h 597"/>
                <a:gd name="T8" fmla="*/ 177 w 739"/>
                <a:gd name="T9" fmla="*/ 451 h 597"/>
                <a:gd name="T10" fmla="*/ 179 w 739"/>
                <a:gd name="T11" fmla="*/ 403 h 597"/>
                <a:gd name="T12" fmla="*/ 53 w 739"/>
                <a:gd name="T13" fmla="*/ 0 h 597"/>
                <a:gd name="T14" fmla="*/ 0 w 739"/>
                <a:gd name="T15" fmla="*/ 37 h 597"/>
                <a:gd name="T16" fmla="*/ 109 w 739"/>
                <a:gd name="T17" fmla="*/ 488 h 597"/>
                <a:gd name="T18" fmla="*/ 119 w 739"/>
                <a:gd name="T19" fmla="*/ 517 h 5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39" h="597">
                  <a:moveTo>
                    <a:pt x="119" y="517"/>
                  </a:moveTo>
                  <a:cubicBezTo>
                    <a:pt x="127" y="524"/>
                    <a:pt x="138" y="526"/>
                    <a:pt x="149" y="524"/>
                  </a:cubicBezTo>
                  <a:cubicBezTo>
                    <a:pt x="337" y="474"/>
                    <a:pt x="538" y="500"/>
                    <a:pt x="707" y="597"/>
                  </a:cubicBezTo>
                  <a:cubicBezTo>
                    <a:pt x="739" y="542"/>
                    <a:pt x="739" y="542"/>
                    <a:pt x="739" y="542"/>
                  </a:cubicBezTo>
                  <a:cubicBezTo>
                    <a:pt x="569" y="444"/>
                    <a:pt x="369" y="412"/>
                    <a:pt x="177" y="451"/>
                  </a:cubicBezTo>
                  <a:cubicBezTo>
                    <a:pt x="178" y="434"/>
                    <a:pt x="179" y="418"/>
                    <a:pt x="179" y="403"/>
                  </a:cubicBezTo>
                  <a:cubicBezTo>
                    <a:pt x="179" y="259"/>
                    <a:pt x="135" y="118"/>
                    <a:pt x="53" y="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93" y="168"/>
                    <a:pt x="132" y="330"/>
                    <a:pt x="109" y="488"/>
                  </a:cubicBezTo>
                  <a:cubicBezTo>
                    <a:pt x="107" y="499"/>
                    <a:pt x="111" y="510"/>
                    <a:pt x="119" y="51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4" name="Freeform 294">
              <a:extLst>
                <a:ext uri="{FF2B5EF4-FFF2-40B4-BE49-F238E27FC236}">
                  <a16:creationId xmlns:a16="http://schemas.microsoft.com/office/drawing/2014/main" id="{5CF19790-4DB9-3999-EF60-71B3DA13AD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99875" y="6645275"/>
              <a:ext cx="42863" cy="42862"/>
            </a:xfrm>
            <a:custGeom>
              <a:avLst/>
              <a:gdLst>
                <a:gd name="T0" fmla="*/ 42 w 113"/>
                <a:gd name="T1" fmla="*/ 0 h 113"/>
                <a:gd name="T2" fmla="*/ 0 w 113"/>
                <a:gd name="T3" fmla="*/ 48 h 113"/>
                <a:gd name="T4" fmla="*/ 65 w 113"/>
                <a:gd name="T5" fmla="*/ 113 h 113"/>
                <a:gd name="T6" fmla="*/ 113 w 113"/>
                <a:gd name="T7" fmla="*/ 70 h 113"/>
                <a:gd name="T8" fmla="*/ 42 w 113"/>
                <a:gd name="T9" fmla="*/ 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3" h="113">
                  <a:moveTo>
                    <a:pt x="42" y="0"/>
                  </a:moveTo>
                  <a:cubicBezTo>
                    <a:pt x="0" y="48"/>
                    <a:pt x="0" y="48"/>
                    <a:pt x="0" y="48"/>
                  </a:cubicBezTo>
                  <a:cubicBezTo>
                    <a:pt x="23" y="68"/>
                    <a:pt x="45" y="90"/>
                    <a:pt x="65" y="113"/>
                  </a:cubicBezTo>
                  <a:cubicBezTo>
                    <a:pt x="113" y="70"/>
                    <a:pt x="113" y="70"/>
                    <a:pt x="113" y="70"/>
                  </a:cubicBezTo>
                  <a:cubicBezTo>
                    <a:pt x="91" y="45"/>
                    <a:pt x="67" y="22"/>
                    <a:pt x="4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9CA57913-8622-4253-5CC2-5EDAF17CD3DB}"/>
              </a:ext>
            </a:extLst>
          </p:cNvPr>
          <p:cNvGrpSpPr/>
          <p:nvPr/>
        </p:nvGrpSpPr>
        <p:grpSpPr>
          <a:xfrm>
            <a:off x="7024510" y="2416812"/>
            <a:ext cx="453901" cy="462264"/>
            <a:chOff x="9164638" y="5856288"/>
            <a:chExt cx="1292226" cy="1316037"/>
          </a:xfrm>
          <a:solidFill>
            <a:schemeClr val="bg1"/>
          </a:solidFill>
        </p:grpSpPr>
        <p:sp>
          <p:nvSpPr>
            <p:cNvPr id="66" name="Freeform 298">
              <a:extLst>
                <a:ext uri="{FF2B5EF4-FFF2-40B4-BE49-F238E27FC236}">
                  <a16:creationId xmlns:a16="http://schemas.microsoft.com/office/drawing/2014/main" id="{9EEFBF59-CA1B-84E0-D651-13B0E21332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725026" y="6311900"/>
              <a:ext cx="731838" cy="731837"/>
            </a:xfrm>
            <a:custGeom>
              <a:avLst/>
              <a:gdLst>
                <a:gd name="T0" fmla="*/ 544 w 1088"/>
                <a:gd name="T1" fmla="*/ 0 h 1088"/>
                <a:gd name="T2" fmla="*/ 512 w 1088"/>
                <a:gd name="T3" fmla="*/ 160 h 1088"/>
                <a:gd name="T4" fmla="*/ 640 w 1088"/>
                <a:gd name="T5" fmla="*/ 192 h 1088"/>
                <a:gd name="T6" fmla="*/ 640 w 1088"/>
                <a:gd name="T7" fmla="*/ 320 h 1088"/>
                <a:gd name="T8" fmla="*/ 512 w 1088"/>
                <a:gd name="T9" fmla="*/ 352 h 1088"/>
                <a:gd name="T10" fmla="*/ 32 w 1088"/>
                <a:gd name="T11" fmla="*/ 512 h 1088"/>
                <a:gd name="T12" fmla="*/ 0 w 1088"/>
                <a:gd name="T13" fmla="*/ 960 h 1088"/>
                <a:gd name="T14" fmla="*/ 960 w 1088"/>
                <a:gd name="T15" fmla="*/ 1088 h 1088"/>
                <a:gd name="T16" fmla="*/ 1088 w 1088"/>
                <a:gd name="T17" fmla="*/ 128 h 1088"/>
                <a:gd name="T18" fmla="*/ 640 w 1088"/>
                <a:gd name="T19" fmla="*/ 384 h 1088"/>
                <a:gd name="T20" fmla="*/ 640 w 1088"/>
                <a:gd name="T21" fmla="*/ 128 h 1088"/>
                <a:gd name="T22" fmla="*/ 576 w 1088"/>
                <a:gd name="T23" fmla="*/ 64 h 1088"/>
                <a:gd name="T24" fmla="*/ 1024 w 1088"/>
                <a:gd name="T25" fmla="*/ 128 h 1088"/>
                <a:gd name="T26" fmla="*/ 896 w 1088"/>
                <a:gd name="T27" fmla="*/ 512 h 1088"/>
                <a:gd name="T28" fmla="*/ 864 w 1088"/>
                <a:gd name="T29" fmla="*/ 640 h 1088"/>
                <a:gd name="T30" fmla="*/ 736 w 1088"/>
                <a:gd name="T31" fmla="*/ 640 h 1088"/>
                <a:gd name="T32" fmla="*/ 704 w 1088"/>
                <a:gd name="T33" fmla="*/ 512 h 1088"/>
                <a:gd name="T34" fmla="*/ 576 w 1088"/>
                <a:gd name="T35" fmla="*/ 384 h 1088"/>
                <a:gd name="T36" fmla="*/ 512 w 1088"/>
                <a:gd name="T37" fmla="*/ 1024 h 1088"/>
                <a:gd name="T38" fmla="*/ 64 w 1088"/>
                <a:gd name="T39" fmla="*/ 960 h 1088"/>
                <a:gd name="T40" fmla="*/ 512 w 1088"/>
                <a:gd name="T41" fmla="*/ 576 h 1088"/>
                <a:gd name="T42" fmla="*/ 448 w 1088"/>
                <a:gd name="T43" fmla="*/ 640 h 1088"/>
                <a:gd name="T44" fmla="*/ 448 w 1088"/>
                <a:gd name="T45" fmla="*/ 896 h 1088"/>
                <a:gd name="T46" fmla="*/ 512 w 1088"/>
                <a:gd name="T47" fmla="*/ 1024 h 1088"/>
                <a:gd name="T48" fmla="*/ 960 w 1088"/>
                <a:gd name="T49" fmla="*/ 1024 h 1088"/>
                <a:gd name="T50" fmla="*/ 576 w 1088"/>
                <a:gd name="T51" fmla="*/ 864 h 1088"/>
                <a:gd name="T52" fmla="*/ 448 w 1088"/>
                <a:gd name="T53" fmla="*/ 832 h 1088"/>
                <a:gd name="T54" fmla="*/ 448 w 1088"/>
                <a:gd name="T55" fmla="*/ 704 h 1088"/>
                <a:gd name="T56" fmla="*/ 576 w 1088"/>
                <a:gd name="T57" fmla="*/ 672 h 1088"/>
                <a:gd name="T58" fmla="*/ 672 w 1088"/>
                <a:gd name="T59" fmla="*/ 576 h 1088"/>
                <a:gd name="T60" fmla="*/ 800 w 1088"/>
                <a:gd name="T61" fmla="*/ 768 h 1088"/>
                <a:gd name="T62" fmla="*/ 928 w 1088"/>
                <a:gd name="T63" fmla="*/ 576 h 1088"/>
                <a:gd name="T64" fmla="*/ 1024 w 1088"/>
                <a:gd name="T65" fmla="*/ 960 h 10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88" h="1088">
                  <a:moveTo>
                    <a:pt x="960" y="0"/>
                  </a:moveTo>
                  <a:cubicBezTo>
                    <a:pt x="544" y="0"/>
                    <a:pt x="544" y="0"/>
                    <a:pt x="544" y="0"/>
                  </a:cubicBezTo>
                  <a:cubicBezTo>
                    <a:pt x="526" y="0"/>
                    <a:pt x="512" y="14"/>
                    <a:pt x="512" y="32"/>
                  </a:cubicBezTo>
                  <a:cubicBezTo>
                    <a:pt x="512" y="160"/>
                    <a:pt x="512" y="160"/>
                    <a:pt x="512" y="160"/>
                  </a:cubicBezTo>
                  <a:cubicBezTo>
                    <a:pt x="512" y="177"/>
                    <a:pt x="526" y="192"/>
                    <a:pt x="544" y="192"/>
                  </a:cubicBezTo>
                  <a:cubicBezTo>
                    <a:pt x="640" y="192"/>
                    <a:pt x="640" y="192"/>
                    <a:pt x="640" y="192"/>
                  </a:cubicBezTo>
                  <a:cubicBezTo>
                    <a:pt x="675" y="192"/>
                    <a:pt x="704" y="220"/>
                    <a:pt x="704" y="256"/>
                  </a:cubicBezTo>
                  <a:cubicBezTo>
                    <a:pt x="704" y="291"/>
                    <a:pt x="675" y="320"/>
                    <a:pt x="640" y="320"/>
                  </a:cubicBezTo>
                  <a:cubicBezTo>
                    <a:pt x="544" y="320"/>
                    <a:pt x="544" y="320"/>
                    <a:pt x="544" y="320"/>
                  </a:cubicBezTo>
                  <a:cubicBezTo>
                    <a:pt x="526" y="320"/>
                    <a:pt x="512" y="334"/>
                    <a:pt x="512" y="352"/>
                  </a:cubicBezTo>
                  <a:cubicBezTo>
                    <a:pt x="512" y="512"/>
                    <a:pt x="512" y="512"/>
                    <a:pt x="512" y="512"/>
                  </a:cubicBezTo>
                  <a:cubicBezTo>
                    <a:pt x="32" y="512"/>
                    <a:pt x="32" y="512"/>
                    <a:pt x="32" y="512"/>
                  </a:cubicBezTo>
                  <a:cubicBezTo>
                    <a:pt x="14" y="512"/>
                    <a:pt x="0" y="526"/>
                    <a:pt x="0" y="544"/>
                  </a:cubicBezTo>
                  <a:cubicBezTo>
                    <a:pt x="0" y="960"/>
                    <a:pt x="0" y="960"/>
                    <a:pt x="0" y="960"/>
                  </a:cubicBezTo>
                  <a:cubicBezTo>
                    <a:pt x="0" y="1030"/>
                    <a:pt x="57" y="1088"/>
                    <a:pt x="128" y="1088"/>
                  </a:cubicBezTo>
                  <a:cubicBezTo>
                    <a:pt x="960" y="1088"/>
                    <a:pt x="960" y="1088"/>
                    <a:pt x="960" y="1088"/>
                  </a:cubicBezTo>
                  <a:cubicBezTo>
                    <a:pt x="1030" y="1088"/>
                    <a:pt x="1088" y="1030"/>
                    <a:pt x="1088" y="960"/>
                  </a:cubicBezTo>
                  <a:cubicBezTo>
                    <a:pt x="1088" y="128"/>
                    <a:pt x="1088" y="128"/>
                    <a:pt x="1088" y="128"/>
                  </a:cubicBezTo>
                  <a:cubicBezTo>
                    <a:pt x="1088" y="57"/>
                    <a:pt x="1030" y="0"/>
                    <a:pt x="960" y="0"/>
                  </a:cubicBezTo>
                  <a:moveTo>
                    <a:pt x="640" y="384"/>
                  </a:moveTo>
                  <a:cubicBezTo>
                    <a:pt x="710" y="384"/>
                    <a:pt x="768" y="326"/>
                    <a:pt x="768" y="256"/>
                  </a:cubicBezTo>
                  <a:cubicBezTo>
                    <a:pt x="768" y="185"/>
                    <a:pt x="710" y="128"/>
                    <a:pt x="640" y="128"/>
                  </a:cubicBezTo>
                  <a:cubicBezTo>
                    <a:pt x="576" y="128"/>
                    <a:pt x="576" y="128"/>
                    <a:pt x="576" y="128"/>
                  </a:cubicBezTo>
                  <a:cubicBezTo>
                    <a:pt x="576" y="64"/>
                    <a:pt x="576" y="64"/>
                    <a:pt x="576" y="64"/>
                  </a:cubicBezTo>
                  <a:cubicBezTo>
                    <a:pt x="960" y="64"/>
                    <a:pt x="960" y="64"/>
                    <a:pt x="960" y="64"/>
                  </a:cubicBezTo>
                  <a:cubicBezTo>
                    <a:pt x="995" y="64"/>
                    <a:pt x="1024" y="92"/>
                    <a:pt x="1024" y="128"/>
                  </a:cubicBezTo>
                  <a:cubicBezTo>
                    <a:pt x="1024" y="512"/>
                    <a:pt x="1024" y="512"/>
                    <a:pt x="1024" y="512"/>
                  </a:cubicBezTo>
                  <a:cubicBezTo>
                    <a:pt x="896" y="512"/>
                    <a:pt x="896" y="512"/>
                    <a:pt x="896" y="512"/>
                  </a:cubicBezTo>
                  <a:cubicBezTo>
                    <a:pt x="878" y="512"/>
                    <a:pt x="864" y="526"/>
                    <a:pt x="864" y="544"/>
                  </a:cubicBezTo>
                  <a:cubicBezTo>
                    <a:pt x="864" y="640"/>
                    <a:pt x="864" y="640"/>
                    <a:pt x="864" y="640"/>
                  </a:cubicBezTo>
                  <a:cubicBezTo>
                    <a:pt x="864" y="675"/>
                    <a:pt x="835" y="704"/>
                    <a:pt x="800" y="704"/>
                  </a:cubicBezTo>
                  <a:cubicBezTo>
                    <a:pt x="764" y="704"/>
                    <a:pt x="736" y="675"/>
                    <a:pt x="736" y="640"/>
                  </a:cubicBezTo>
                  <a:cubicBezTo>
                    <a:pt x="736" y="544"/>
                    <a:pt x="736" y="544"/>
                    <a:pt x="736" y="544"/>
                  </a:cubicBezTo>
                  <a:cubicBezTo>
                    <a:pt x="736" y="526"/>
                    <a:pt x="721" y="512"/>
                    <a:pt x="704" y="512"/>
                  </a:cubicBezTo>
                  <a:cubicBezTo>
                    <a:pt x="576" y="512"/>
                    <a:pt x="576" y="512"/>
                    <a:pt x="576" y="512"/>
                  </a:cubicBezTo>
                  <a:cubicBezTo>
                    <a:pt x="576" y="384"/>
                    <a:pt x="576" y="384"/>
                    <a:pt x="576" y="384"/>
                  </a:cubicBezTo>
                  <a:lnTo>
                    <a:pt x="640" y="384"/>
                  </a:lnTo>
                  <a:close/>
                  <a:moveTo>
                    <a:pt x="512" y="1024"/>
                  </a:moveTo>
                  <a:cubicBezTo>
                    <a:pt x="128" y="1024"/>
                    <a:pt x="128" y="1024"/>
                    <a:pt x="128" y="1024"/>
                  </a:cubicBezTo>
                  <a:cubicBezTo>
                    <a:pt x="92" y="1024"/>
                    <a:pt x="64" y="995"/>
                    <a:pt x="64" y="960"/>
                  </a:cubicBezTo>
                  <a:cubicBezTo>
                    <a:pt x="64" y="576"/>
                    <a:pt x="64" y="576"/>
                    <a:pt x="64" y="576"/>
                  </a:cubicBezTo>
                  <a:cubicBezTo>
                    <a:pt x="512" y="576"/>
                    <a:pt x="512" y="576"/>
                    <a:pt x="512" y="576"/>
                  </a:cubicBezTo>
                  <a:cubicBezTo>
                    <a:pt x="512" y="640"/>
                    <a:pt x="512" y="640"/>
                    <a:pt x="512" y="640"/>
                  </a:cubicBezTo>
                  <a:cubicBezTo>
                    <a:pt x="448" y="640"/>
                    <a:pt x="448" y="640"/>
                    <a:pt x="448" y="640"/>
                  </a:cubicBezTo>
                  <a:cubicBezTo>
                    <a:pt x="377" y="640"/>
                    <a:pt x="320" y="697"/>
                    <a:pt x="320" y="768"/>
                  </a:cubicBezTo>
                  <a:cubicBezTo>
                    <a:pt x="320" y="838"/>
                    <a:pt x="377" y="896"/>
                    <a:pt x="448" y="896"/>
                  </a:cubicBezTo>
                  <a:cubicBezTo>
                    <a:pt x="512" y="896"/>
                    <a:pt x="512" y="896"/>
                    <a:pt x="512" y="896"/>
                  </a:cubicBezTo>
                  <a:lnTo>
                    <a:pt x="512" y="1024"/>
                  </a:lnTo>
                  <a:close/>
                  <a:moveTo>
                    <a:pt x="1024" y="960"/>
                  </a:moveTo>
                  <a:cubicBezTo>
                    <a:pt x="1024" y="995"/>
                    <a:pt x="995" y="1024"/>
                    <a:pt x="960" y="1024"/>
                  </a:cubicBezTo>
                  <a:cubicBezTo>
                    <a:pt x="576" y="1024"/>
                    <a:pt x="576" y="1024"/>
                    <a:pt x="576" y="1024"/>
                  </a:cubicBezTo>
                  <a:cubicBezTo>
                    <a:pt x="576" y="864"/>
                    <a:pt x="576" y="864"/>
                    <a:pt x="576" y="864"/>
                  </a:cubicBezTo>
                  <a:cubicBezTo>
                    <a:pt x="576" y="846"/>
                    <a:pt x="561" y="832"/>
                    <a:pt x="544" y="832"/>
                  </a:cubicBezTo>
                  <a:cubicBezTo>
                    <a:pt x="448" y="832"/>
                    <a:pt x="448" y="832"/>
                    <a:pt x="448" y="832"/>
                  </a:cubicBezTo>
                  <a:cubicBezTo>
                    <a:pt x="412" y="832"/>
                    <a:pt x="384" y="803"/>
                    <a:pt x="384" y="768"/>
                  </a:cubicBezTo>
                  <a:cubicBezTo>
                    <a:pt x="384" y="732"/>
                    <a:pt x="412" y="704"/>
                    <a:pt x="448" y="704"/>
                  </a:cubicBezTo>
                  <a:cubicBezTo>
                    <a:pt x="544" y="704"/>
                    <a:pt x="544" y="704"/>
                    <a:pt x="544" y="704"/>
                  </a:cubicBezTo>
                  <a:cubicBezTo>
                    <a:pt x="561" y="704"/>
                    <a:pt x="576" y="689"/>
                    <a:pt x="576" y="672"/>
                  </a:cubicBezTo>
                  <a:cubicBezTo>
                    <a:pt x="576" y="576"/>
                    <a:pt x="576" y="576"/>
                    <a:pt x="576" y="576"/>
                  </a:cubicBezTo>
                  <a:cubicBezTo>
                    <a:pt x="672" y="576"/>
                    <a:pt x="672" y="576"/>
                    <a:pt x="672" y="576"/>
                  </a:cubicBezTo>
                  <a:cubicBezTo>
                    <a:pt x="672" y="640"/>
                    <a:pt x="672" y="640"/>
                    <a:pt x="672" y="640"/>
                  </a:cubicBezTo>
                  <a:cubicBezTo>
                    <a:pt x="672" y="710"/>
                    <a:pt x="729" y="768"/>
                    <a:pt x="800" y="768"/>
                  </a:cubicBezTo>
                  <a:cubicBezTo>
                    <a:pt x="870" y="768"/>
                    <a:pt x="928" y="710"/>
                    <a:pt x="928" y="640"/>
                  </a:cubicBezTo>
                  <a:cubicBezTo>
                    <a:pt x="928" y="576"/>
                    <a:pt x="928" y="576"/>
                    <a:pt x="928" y="576"/>
                  </a:cubicBezTo>
                  <a:cubicBezTo>
                    <a:pt x="1024" y="576"/>
                    <a:pt x="1024" y="576"/>
                    <a:pt x="1024" y="576"/>
                  </a:cubicBezTo>
                  <a:lnTo>
                    <a:pt x="1024" y="9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7" name="Freeform 299">
              <a:extLst>
                <a:ext uri="{FF2B5EF4-FFF2-40B4-BE49-F238E27FC236}">
                  <a16:creationId xmlns:a16="http://schemas.microsoft.com/office/drawing/2014/main" id="{7E216D45-DEEB-17B2-DF41-2EBF008D60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164638" y="5856288"/>
              <a:ext cx="1033463" cy="1316037"/>
            </a:xfrm>
            <a:custGeom>
              <a:avLst/>
              <a:gdLst>
                <a:gd name="T0" fmla="*/ 389 w 1541"/>
                <a:gd name="T1" fmla="*/ 1957 h 1957"/>
                <a:gd name="T2" fmla="*/ 335 w 1541"/>
                <a:gd name="T3" fmla="*/ 1783 h 1957"/>
                <a:gd name="T4" fmla="*/ 393 w 1541"/>
                <a:gd name="T5" fmla="*/ 1452 h 1957"/>
                <a:gd name="T6" fmla="*/ 395 w 1541"/>
                <a:gd name="T7" fmla="*/ 1285 h 1957"/>
                <a:gd name="T8" fmla="*/ 431 w 1541"/>
                <a:gd name="T9" fmla="*/ 1310 h 1957"/>
                <a:gd name="T10" fmla="*/ 485 w 1541"/>
                <a:gd name="T11" fmla="*/ 1667 h 1957"/>
                <a:gd name="T12" fmla="*/ 517 w 1541"/>
                <a:gd name="T13" fmla="*/ 1957 h 1957"/>
                <a:gd name="T14" fmla="*/ 901 w 1541"/>
                <a:gd name="T15" fmla="*/ 1925 h 1957"/>
                <a:gd name="T16" fmla="*/ 821 w 1541"/>
                <a:gd name="T17" fmla="*/ 1795 h 1957"/>
                <a:gd name="T18" fmla="*/ 727 w 1541"/>
                <a:gd name="T19" fmla="*/ 1678 h 1957"/>
                <a:gd name="T20" fmla="*/ 741 w 1541"/>
                <a:gd name="T21" fmla="*/ 1250 h 1957"/>
                <a:gd name="T22" fmla="*/ 925 w 1541"/>
                <a:gd name="T23" fmla="*/ 715 h 1957"/>
                <a:gd name="T24" fmla="*/ 1317 w 1541"/>
                <a:gd name="T25" fmla="*/ 613 h 1957"/>
                <a:gd name="T26" fmla="*/ 1349 w 1541"/>
                <a:gd name="T27" fmla="*/ 421 h 1957"/>
                <a:gd name="T28" fmla="*/ 1541 w 1541"/>
                <a:gd name="T29" fmla="*/ 293 h 1957"/>
                <a:gd name="T30" fmla="*/ 1349 w 1541"/>
                <a:gd name="T31" fmla="*/ 165 h 1957"/>
                <a:gd name="T32" fmla="*/ 1317 w 1541"/>
                <a:gd name="T33" fmla="*/ 37 h 1957"/>
                <a:gd name="T34" fmla="*/ 773 w 1541"/>
                <a:gd name="T35" fmla="*/ 165 h 1957"/>
                <a:gd name="T36" fmla="*/ 640 w 1541"/>
                <a:gd name="T37" fmla="*/ 587 h 1957"/>
                <a:gd name="T38" fmla="*/ 682 w 1541"/>
                <a:gd name="T39" fmla="*/ 178 h 1957"/>
                <a:gd name="T40" fmla="*/ 224 w 1541"/>
                <a:gd name="T41" fmla="*/ 407 h 1957"/>
                <a:gd name="T42" fmla="*/ 186 w 1541"/>
                <a:gd name="T43" fmla="*/ 677 h 1957"/>
                <a:gd name="T44" fmla="*/ 79 w 1541"/>
                <a:gd name="T45" fmla="*/ 1423 h 1957"/>
                <a:gd name="T46" fmla="*/ 8 w 1541"/>
                <a:gd name="T47" fmla="*/ 1910 h 1957"/>
                <a:gd name="T48" fmla="*/ 37 w 1541"/>
                <a:gd name="T49" fmla="*/ 1957 h 1957"/>
                <a:gd name="T50" fmla="*/ 898 w 1541"/>
                <a:gd name="T51" fmla="*/ 657 h 1957"/>
                <a:gd name="T52" fmla="*/ 394 w 1541"/>
                <a:gd name="T53" fmla="*/ 837 h 1957"/>
                <a:gd name="T54" fmla="*/ 420 w 1541"/>
                <a:gd name="T55" fmla="*/ 764 h 1957"/>
                <a:gd name="T56" fmla="*/ 907 w 1541"/>
                <a:gd name="T57" fmla="*/ 559 h 1957"/>
                <a:gd name="T58" fmla="*/ 899 w 1541"/>
                <a:gd name="T59" fmla="*/ 657 h 1957"/>
                <a:gd name="T60" fmla="*/ 1285 w 1541"/>
                <a:gd name="T61" fmla="*/ 101 h 1957"/>
                <a:gd name="T62" fmla="*/ 1317 w 1541"/>
                <a:gd name="T63" fmla="*/ 229 h 1957"/>
                <a:gd name="T64" fmla="*/ 1477 w 1541"/>
                <a:gd name="T65" fmla="*/ 293 h 1957"/>
                <a:gd name="T66" fmla="*/ 1317 w 1541"/>
                <a:gd name="T67" fmla="*/ 357 h 1957"/>
                <a:gd name="T68" fmla="*/ 1285 w 1541"/>
                <a:gd name="T69" fmla="*/ 549 h 1957"/>
                <a:gd name="T70" fmla="*/ 837 w 1541"/>
                <a:gd name="T71" fmla="*/ 493 h 1957"/>
                <a:gd name="T72" fmla="*/ 901 w 1541"/>
                <a:gd name="T73" fmla="*/ 101 h 1957"/>
                <a:gd name="T74" fmla="*/ 453 w 1541"/>
                <a:gd name="T75" fmla="*/ 101 h 1957"/>
                <a:gd name="T76" fmla="*/ 453 w 1541"/>
                <a:gd name="T77" fmla="*/ 485 h 1957"/>
                <a:gd name="T78" fmla="*/ 129 w 1541"/>
                <a:gd name="T79" fmla="*/ 1810 h 1957"/>
                <a:gd name="T80" fmla="*/ 119 w 1541"/>
                <a:gd name="T81" fmla="*/ 1098 h 1957"/>
                <a:gd name="T82" fmla="*/ 474 w 1541"/>
                <a:gd name="T83" fmla="*/ 552 h 1957"/>
                <a:gd name="T84" fmla="*/ 392 w 1541"/>
                <a:gd name="T85" fmla="*/ 707 h 1957"/>
                <a:gd name="T86" fmla="*/ 443 w 1541"/>
                <a:gd name="T87" fmla="*/ 933 h 1957"/>
                <a:gd name="T88" fmla="*/ 642 w 1541"/>
                <a:gd name="T89" fmla="*/ 851 h 1957"/>
                <a:gd name="T90" fmla="*/ 677 w 1541"/>
                <a:gd name="T91" fmla="*/ 1536 h 1957"/>
                <a:gd name="T92" fmla="*/ 630 w 1541"/>
                <a:gd name="T93" fmla="*/ 1836 h 1957"/>
                <a:gd name="T94" fmla="*/ 677 w 1541"/>
                <a:gd name="T95" fmla="*/ 1870 h 1957"/>
                <a:gd name="T96" fmla="*/ 792 w 1541"/>
                <a:gd name="T97" fmla="*/ 1852 h 1957"/>
                <a:gd name="T98" fmla="*/ 549 w 1541"/>
                <a:gd name="T99" fmla="*/ 1893 h 1957"/>
                <a:gd name="T100" fmla="*/ 537 w 1541"/>
                <a:gd name="T101" fmla="*/ 1538 h 1957"/>
                <a:gd name="T102" fmla="*/ 384 w 1541"/>
                <a:gd name="T103" fmla="*/ 1221 h 1957"/>
                <a:gd name="T104" fmla="*/ 307 w 1541"/>
                <a:gd name="T105" fmla="*/ 1333 h 1957"/>
                <a:gd name="T106" fmla="*/ 293 w 1541"/>
                <a:gd name="T107" fmla="*/ 1724 h 1957"/>
                <a:gd name="T108" fmla="*/ 276 w 1541"/>
                <a:gd name="T109" fmla="*/ 1829 h 1957"/>
                <a:gd name="T110" fmla="*/ 351 w 1541"/>
                <a:gd name="T111" fmla="*/ 1893 h 1957"/>
                <a:gd name="T112" fmla="*/ 129 w 1541"/>
                <a:gd name="T113" fmla="*/ 1810 h 19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41" h="1957">
                  <a:moveTo>
                    <a:pt x="37" y="1957"/>
                  </a:moveTo>
                  <a:cubicBezTo>
                    <a:pt x="389" y="1957"/>
                    <a:pt x="389" y="1957"/>
                    <a:pt x="389" y="1957"/>
                  </a:cubicBezTo>
                  <a:cubicBezTo>
                    <a:pt x="406" y="1957"/>
                    <a:pt x="421" y="1942"/>
                    <a:pt x="421" y="1925"/>
                  </a:cubicBezTo>
                  <a:cubicBezTo>
                    <a:pt x="421" y="1865"/>
                    <a:pt x="388" y="1811"/>
                    <a:pt x="335" y="1783"/>
                  </a:cubicBezTo>
                  <a:cubicBezTo>
                    <a:pt x="350" y="1753"/>
                    <a:pt x="350" y="1753"/>
                    <a:pt x="350" y="1753"/>
                  </a:cubicBezTo>
                  <a:cubicBezTo>
                    <a:pt x="397" y="1660"/>
                    <a:pt x="412" y="1554"/>
                    <a:pt x="393" y="1452"/>
                  </a:cubicBezTo>
                  <a:cubicBezTo>
                    <a:pt x="370" y="1321"/>
                    <a:pt x="370" y="1321"/>
                    <a:pt x="370" y="1321"/>
                  </a:cubicBezTo>
                  <a:cubicBezTo>
                    <a:pt x="367" y="1304"/>
                    <a:pt x="378" y="1288"/>
                    <a:pt x="395" y="1285"/>
                  </a:cubicBezTo>
                  <a:cubicBezTo>
                    <a:pt x="396" y="1285"/>
                    <a:pt x="398" y="1285"/>
                    <a:pt x="400" y="1285"/>
                  </a:cubicBezTo>
                  <a:cubicBezTo>
                    <a:pt x="415" y="1285"/>
                    <a:pt x="428" y="1295"/>
                    <a:pt x="431" y="1310"/>
                  </a:cubicBezTo>
                  <a:cubicBezTo>
                    <a:pt x="474" y="1549"/>
                    <a:pt x="474" y="1549"/>
                    <a:pt x="474" y="1549"/>
                  </a:cubicBezTo>
                  <a:cubicBezTo>
                    <a:pt x="481" y="1588"/>
                    <a:pt x="485" y="1627"/>
                    <a:pt x="485" y="1667"/>
                  </a:cubicBezTo>
                  <a:cubicBezTo>
                    <a:pt x="485" y="1925"/>
                    <a:pt x="485" y="1925"/>
                    <a:pt x="485" y="1925"/>
                  </a:cubicBezTo>
                  <a:cubicBezTo>
                    <a:pt x="485" y="1942"/>
                    <a:pt x="499" y="1957"/>
                    <a:pt x="517" y="1957"/>
                  </a:cubicBezTo>
                  <a:cubicBezTo>
                    <a:pt x="869" y="1957"/>
                    <a:pt x="869" y="1957"/>
                    <a:pt x="869" y="1957"/>
                  </a:cubicBezTo>
                  <a:cubicBezTo>
                    <a:pt x="886" y="1957"/>
                    <a:pt x="901" y="1942"/>
                    <a:pt x="901" y="1925"/>
                  </a:cubicBezTo>
                  <a:cubicBezTo>
                    <a:pt x="901" y="1918"/>
                    <a:pt x="900" y="1912"/>
                    <a:pt x="900" y="1906"/>
                  </a:cubicBezTo>
                  <a:cubicBezTo>
                    <a:pt x="894" y="1858"/>
                    <a:pt x="864" y="1816"/>
                    <a:pt x="821" y="1795"/>
                  </a:cubicBezTo>
                  <a:cubicBezTo>
                    <a:pt x="785" y="1776"/>
                    <a:pt x="744" y="1773"/>
                    <a:pt x="705" y="1784"/>
                  </a:cubicBezTo>
                  <a:cubicBezTo>
                    <a:pt x="727" y="1678"/>
                    <a:pt x="727" y="1678"/>
                    <a:pt x="727" y="1678"/>
                  </a:cubicBezTo>
                  <a:cubicBezTo>
                    <a:pt x="736" y="1631"/>
                    <a:pt x="741" y="1584"/>
                    <a:pt x="741" y="1536"/>
                  </a:cubicBezTo>
                  <a:cubicBezTo>
                    <a:pt x="741" y="1250"/>
                    <a:pt x="741" y="1250"/>
                    <a:pt x="741" y="1250"/>
                  </a:cubicBezTo>
                  <a:cubicBezTo>
                    <a:pt x="703" y="821"/>
                    <a:pt x="703" y="821"/>
                    <a:pt x="703" y="821"/>
                  </a:cubicBezTo>
                  <a:cubicBezTo>
                    <a:pt x="925" y="715"/>
                    <a:pt x="925" y="715"/>
                    <a:pt x="925" y="715"/>
                  </a:cubicBezTo>
                  <a:cubicBezTo>
                    <a:pt x="966" y="697"/>
                    <a:pt x="994" y="657"/>
                    <a:pt x="996" y="613"/>
                  </a:cubicBezTo>
                  <a:cubicBezTo>
                    <a:pt x="1317" y="613"/>
                    <a:pt x="1317" y="613"/>
                    <a:pt x="1317" y="613"/>
                  </a:cubicBezTo>
                  <a:cubicBezTo>
                    <a:pt x="1334" y="613"/>
                    <a:pt x="1349" y="598"/>
                    <a:pt x="1349" y="581"/>
                  </a:cubicBezTo>
                  <a:cubicBezTo>
                    <a:pt x="1349" y="421"/>
                    <a:pt x="1349" y="421"/>
                    <a:pt x="1349" y="421"/>
                  </a:cubicBezTo>
                  <a:cubicBezTo>
                    <a:pt x="1413" y="421"/>
                    <a:pt x="1413" y="421"/>
                    <a:pt x="1413" y="421"/>
                  </a:cubicBezTo>
                  <a:cubicBezTo>
                    <a:pt x="1483" y="421"/>
                    <a:pt x="1541" y="363"/>
                    <a:pt x="1541" y="293"/>
                  </a:cubicBezTo>
                  <a:cubicBezTo>
                    <a:pt x="1541" y="222"/>
                    <a:pt x="1483" y="165"/>
                    <a:pt x="1413" y="165"/>
                  </a:cubicBezTo>
                  <a:cubicBezTo>
                    <a:pt x="1349" y="165"/>
                    <a:pt x="1349" y="165"/>
                    <a:pt x="1349" y="165"/>
                  </a:cubicBezTo>
                  <a:cubicBezTo>
                    <a:pt x="1349" y="69"/>
                    <a:pt x="1349" y="69"/>
                    <a:pt x="1349" y="69"/>
                  </a:cubicBezTo>
                  <a:cubicBezTo>
                    <a:pt x="1349" y="51"/>
                    <a:pt x="1334" y="37"/>
                    <a:pt x="1317" y="37"/>
                  </a:cubicBezTo>
                  <a:cubicBezTo>
                    <a:pt x="901" y="37"/>
                    <a:pt x="901" y="37"/>
                    <a:pt x="901" y="37"/>
                  </a:cubicBezTo>
                  <a:cubicBezTo>
                    <a:pt x="830" y="37"/>
                    <a:pt x="773" y="94"/>
                    <a:pt x="773" y="165"/>
                  </a:cubicBezTo>
                  <a:cubicBezTo>
                    <a:pt x="773" y="523"/>
                    <a:pt x="773" y="523"/>
                    <a:pt x="773" y="523"/>
                  </a:cubicBezTo>
                  <a:cubicBezTo>
                    <a:pt x="640" y="587"/>
                    <a:pt x="640" y="587"/>
                    <a:pt x="640" y="587"/>
                  </a:cubicBezTo>
                  <a:cubicBezTo>
                    <a:pt x="620" y="561"/>
                    <a:pt x="596" y="538"/>
                    <a:pt x="567" y="521"/>
                  </a:cubicBezTo>
                  <a:cubicBezTo>
                    <a:pt x="694" y="458"/>
                    <a:pt x="745" y="304"/>
                    <a:pt x="682" y="178"/>
                  </a:cubicBezTo>
                  <a:cubicBezTo>
                    <a:pt x="618" y="51"/>
                    <a:pt x="464" y="0"/>
                    <a:pt x="338" y="64"/>
                  </a:cubicBezTo>
                  <a:cubicBezTo>
                    <a:pt x="212" y="127"/>
                    <a:pt x="161" y="281"/>
                    <a:pt x="224" y="407"/>
                  </a:cubicBezTo>
                  <a:cubicBezTo>
                    <a:pt x="246" y="451"/>
                    <a:pt x="280" y="487"/>
                    <a:pt x="321" y="512"/>
                  </a:cubicBezTo>
                  <a:cubicBezTo>
                    <a:pt x="254" y="545"/>
                    <a:pt x="205" y="605"/>
                    <a:pt x="186" y="677"/>
                  </a:cubicBezTo>
                  <a:cubicBezTo>
                    <a:pt x="58" y="1078"/>
                    <a:pt x="58" y="1078"/>
                    <a:pt x="58" y="1078"/>
                  </a:cubicBezTo>
                  <a:cubicBezTo>
                    <a:pt x="22" y="1192"/>
                    <a:pt x="30" y="1315"/>
                    <a:pt x="79" y="1423"/>
                  </a:cubicBezTo>
                  <a:cubicBezTo>
                    <a:pt x="131" y="1537"/>
                    <a:pt x="129" y="1669"/>
                    <a:pt x="72" y="1782"/>
                  </a:cubicBezTo>
                  <a:cubicBezTo>
                    <a:pt x="8" y="1910"/>
                    <a:pt x="8" y="1910"/>
                    <a:pt x="8" y="1910"/>
                  </a:cubicBezTo>
                  <a:cubicBezTo>
                    <a:pt x="0" y="1926"/>
                    <a:pt x="7" y="1945"/>
                    <a:pt x="22" y="1953"/>
                  </a:cubicBezTo>
                  <a:cubicBezTo>
                    <a:pt x="27" y="1955"/>
                    <a:pt x="32" y="1957"/>
                    <a:pt x="37" y="1957"/>
                  </a:cubicBezTo>
                  <a:moveTo>
                    <a:pt x="899" y="657"/>
                  </a:moveTo>
                  <a:cubicBezTo>
                    <a:pt x="898" y="657"/>
                    <a:pt x="898" y="657"/>
                    <a:pt x="898" y="657"/>
                  </a:cubicBezTo>
                  <a:cubicBezTo>
                    <a:pt x="467" y="863"/>
                    <a:pt x="467" y="863"/>
                    <a:pt x="467" y="863"/>
                  </a:cubicBezTo>
                  <a:cubicBezTo>
                    <a:pt x="440" y="876"/>
                    <a:pt x="407" y="865"/>
                    <a:pt x="394" y="837"/>
                  </a:cubicBezTo>
                  <a:cubicBezTo>
                    <a:pt x="390" y="830"/>
                    <a:pt x="389" y="822"/>
                    <a:pt x="389" y="814"/>
                  </a:cubicBezTo>
                  <a:cubicBezTo>
                    <a:pt x="389" y="793"/>
                    <a:pt x="401" y="774"/>
                    <a:pt x="420" y="764"/>
                  </a:cubicBezTo>
                  <a:cubicBezTo>
                    <a:pt x="854" y="554"/>
                    <a:pt x="854" y="554"/>
                    <a:pt x="854" y="554"/>
                  </a:cubicBezTo>
                  <a:cubicBezTo>
                    <a:pt x="872" y="547"/>
                    <a:pt x="892" y="548"/>
                    <a:pt x="907" y="559"/>
                  </a:cubicBezTo>
                  <a:cubicBezTo>
                    <a:pt x="923" y="569"/>
                    <a:pt x="933" y="587"/>
                    <a:pt x="933" y="606"/>
                  </a:cubicBezTo>
                  <a:cubicBezTo>
                    <a:pt x="933" y="628"/>
                    <a:pt x="919" y="648"/>
                    <a:pt x="899" y="657"/>
                  </a:cubicBezTo>
                  <a:moveTo>
                    <a:pt x="901" y="101"/>
                  </a:moveTo>
                  <a:cubicBezTo>
                    <a:pt x="1285" y="101"/>
                    <a:pt x="1285" y="101"/>
                    <a:pt x="1285" y="101"/>
                  </a:cubicBezTo>
                  <a:cubicBezTo>
                    <a:pt x="1285" y="197"/>
                    <a:pt x="1285" y="197"/>
                    <a:pt x="1285" y="197"/>
                  </a:cubicBezTo>
                  <a:cubicBezTo>
                    <a:pt x="1285" y="214"/>
                    <a:pt x="1299" y="229"/>
                    <a:pt x="1317" y="229"/>
                  </a:cubicBezTo>
                  <a:cubicBezTo>
                    <a:pt x="1413" y="229"/>
                    <a:pt x="1413" y="229"/>
                    <a:pt x="1413" y="229"/>
                  </a:cubicBezTo>
                  <a:cubicBezTo>
                    <a:pt x="1448" y="229"/>
                    <a:pt x="1477" y="257"/>
                    <a:pt x="1477" y="293"/>
                  </a:cubicBezTo>
                  <a:cubicBezTo>
                    <a:pt x="1477" y="328"/>
                    <a:pt x="1448" y="357"/>
                    <a:pt x="1413" y="357"/>
                  </a:cubicBezTo>
                  <a:cubicBezTo>
                    <a:pt x="1317" y="357"/>
                    <a:pt x="1317" y="357"/>
                    <a:pt x="1317" y="357"/>
                  </a:cubicBezTo>
                  <a:cubicBezTo>
                    <a:pt x="1299" y="357"/>
                    <a:pt x="1285" y="371"/>
                    <a:pt x="1285" y="389"/>
                  </a:cubicBezTo>
                  <a:cubicBezTo>
                    <a:pt x="1285" y="549"/>
                    <a:pt x="1285" y="549"/>
                    <a:pt x="1285" y="549"/>
                  </a:cubicBezTo>
                  <a:cubicBezTo>
                    <a:pt x="982" y="549"/>
                    <a:pt x="982" y="549"/>
                    <a:pt x="982" y="549"/>
                  </a:cubicBezTo>
                  <a:cubicBezTo>
                    <a:pt x="954" y="497"/>
                    <a:pt x="892" y="473"/>
                    <a:pt x="837" y="493"/>
                  </a:cubicBezTo>
                  <a:cubicBezTo>
                    <a:pt x="837" y="165"/>
                    <a:pt x="837" y="165"/>
                    <a:pt x="837" y="165"/>
                  </a:cubicBezTo>
                  <a:cubicBezTo>
                    <a:pt x="837" y="129"/>
                    <a:pt x="865" y="101"/>
                    <a:pt x="901" y="101"/>
                  </a:cubicBezTo>
                  <a:moveTo>
                    <a:pt x="261" y="293"/>
                  </a:moveTo>
                  <a:cubicBezTo>
                    <a:pt x="261" y="187"/>
                    <a:pt x="347" y="101"/>
                    <a:pt x="453" y="101"/>
                  </a:cubicBezTo>
                  <a:cubicBezTo>
                    <a:pt x="559" y="101"/>
                    <a:pt x="645" y="187"/>
                    <a:pt x="645" y="293"/>
                  </a:cubicBezTo>
                  <a:cubicBezTo>
                    <a:pt x="645" y="399"/>
                    <a:pt x="559" y="485"/>
                    <a:pt x="453" y="485"/>
                  </a:cubicBezTo>
                  <a:cubicBezTo>
                    <a:pt x="347" y="484"/>
                    <a:pt x="261" y="399"/>
                    <a:pt x="261" y="293"/>
                  </a:cubicBezTo>
                  <a:moveTo>
                    <a:pt x="129" y="1810"/>
                  </a:moveTo>
                  <a:cubicBezTo>
                    <a:pt x="195" y="1681"/>
                    <a:pt x="197" y="1528"/>
                    <a:pt x="137" y="1396"/>
                  </a:cubicBezTo>
                  <a:cubicBezTo>
                    <a:pt x="94" y="1303"/>
                    <a:pt x="88" y="1196"/>
                    <a:pt x="119" y="1098"/>
                  </a:cubicBezTo>
                  <a:cubicBezTo>
                    <a:pt x="247" y="695"/>
                    <a:pt x="247" y="695"/>
                    <a:pt x="247" y="695"/>
                  </a:cubicBezTo>
                  <a:cubicBezTo>
                    <a:pt x="274" y="595"/>
                    <a:pt x="373" y="533"/>
                    <a:pt x="474" y="552"/>
                  </a:cubicBezTo>
                  <a:cubicBezTo>
                    <a:pt x="516" y="561"/>
                    <a:pt x="553" y="583"/>
                    <a:pt x="581" y="615"/>
                  </a:cubicBezTo>
                  <a:cubicBezTo>
                    <a:pt x="392" y="707"/>
                    <a:pt x="392" y="707"/>
                    <a:pt x="392" y="707"/>
                  </a:cubicBezTo>
                  <a:cubicBezTo>
                    <a:pt x="351" y="727"/>
                    <a:pt x="325" y="768"/>
                    <a:pt x="325" y="814"/>
                  </a:cubicBezTo>
                  <a:cubicBezTo>
                    <a:pt x="324" y="879"/>
                    <a:pt x="377" y="932"/>
                    <a:pt x="443" y="933"/>
                  </a:cubicBezTo>
                  <a:cubicBezTo>
                    <a:pt x="461" y="933"/>
                    <a:pt x="478" y="929"/>
                    <a:pt x="495" y="921"/>
                  </a:cubicBezTo>
                  <a:cubicBezTo>
                    <a:pt x="642" y="851"/>
                    <a:pt x="642" y="851"/>
                    <a:pt x="642" y="851"/>
                  </a:cubicBezTo>
                  <a:cubicBezTo>
                    <a:pt x="677" y="1253"/>
                    <a:pt x="677" y="1253"/>
                    <a:pt x="677" y="1253"/>
                  </a:cubicBezTo>
                  <a:cubicBezTo>
                    <a:pt x="677" y="1536"/>
                    <a:pt x="677" y="1536"/>
                    <a:pt x="677" y="1536"/>
                  </a:cubicBezTo>
                  <a:cubicBezTo>
                    <a:pt x="677" y="1580"/>
                    <a:pt x="672" y="1623"/>
                    <a:pt x="664" y="1665"/>
                  </a:cubicBezTo>
                  <a:cubicBezTo>
                    <a:pt x="630" y="1836"/>
                    <a:pt x="630" y="1836"/>
                    <a:pt x="630" y="1836"/>
                  </a:cubicBezTo>
                  <a:cubicBezTo>
                    <a:pt x="626" y="1853"/>
                    <a:pt x="637" y="1870"/>
                    <a:pt x="655" y="1873"/>
                  </a:cubicBezTo>
                  <a:cubicBezTo>
                    <a:pt x="662" y="1875"/>
                    <a:pt x="670" y="1874"/>
                    <a:pt x="677" y="1870"/>
                  </a:cubicBezTo>
                  <a:cubicBezTo>
                    <a:pt x="705" y="1854"/>
                    <a:pt x="705" y="1854"/>
                    <a:pt x="705" y="1854"/>
                  </a:cubicBezTo>
                  <a:cubicBezTo>
                    <a:pt x="732" y="1838"/>
                    <a:pt x="764" y="1838"/>
                    <a:pt x="792" y="1852"/>
                  </a:cubicBezTo>
                  <a:cubicBezTo>
                    <a:pt x="809" y="1860"/>
                    <a:pt x="823" y="1875"/>
                    <a:pt x="831" y="1893"/>
                  </a:cubicBezTo>
                  <a:cubicBezTo>
                    <a:pt x="549" y="1893"/>
                    <a:pt x="549" y="1893"/>
                    <a:pt x="549" y="1893"/>
                  </a:cubicBezTo>
                  <a:cubicBezTo>
                    <a:pt x="549" y="1667"/>
                    <a:pt x="549" y="1667"/>
                    <a:pt x="549" y="1667"/>
                  </a:cubicBezTo>
                  <a:cubicBezTo>
                    <a:pt x="549" y="1623"/>
                    <a:pt x="545" y="1580"/>
                    <a:pt x="537" y="1538"/>
                  </a:cubicBezTo>
                  <a:cubicBezTo>
                    <a:pt x="494" y="1299"/>
                    <a:pt x="494" y="1299"/>
                    <a:pt x="494" y="1299"/>
                  </a:cubicBezTo>
                  <a:cubicBezTo>
                    <a:pt x="485" y="1247"/>
                    <a:pt x="435" y="1212"/>
                    <a:pt x="384" y="1221"/>
                  </a:cubicBezTo>
                  <a:cubicBezTo>
                    <a:pt x="332" y="1230"/>
                    <a:pt x="297" y="1279"/>
                    <a:pt x="306" y="1331"/>
                  </a:cubicBezTo>
                  <a:cubicBezTo>
                    <a:pt x="306" y="1331"/>
                    <a:pt x="307" y="1332"/>
                    <a:pt x="307" y="1333"/>
                  </a:cubicBezTo>
                  <a:cubicBezTo>
                    <a:pt x="330" y="1463"/>
                    <a:pt x="330" y="1463"/>
                    <a:pt x="330" y="1463"/>
                  </a:cubicBezTo>
                  <a:cubicBezTo>
                    <a:pt x="346" y="1552"/>
                    <a:pt x="333" y="1643"/>
                    <a:pt x="293" y="1724"/>
                  </a:cubicBezTo>
                  <a:cubicBezTo>
                    <a:pt x="262" y="1786"/>
                    <a:pt x="262" y="1786"/>
                    <a:pt x="262" y="1786"/>
                  </a:cubicBezTo>
                  <a:cubicBezTo>
                    <a:pt x="254" y="1802"/>
                    <a:pt x="260" y="1821"/>
                    <a:pt x="276" y="1829"/>
                  </a:cubicBezTo>
                  <a:cubicBezTo>
                    <a:pt x="278" y="1830"/>
                    <a:pt x="281" y="1831"/>
                    <a:pt x="283" y="1832"/>
                  </a:cubicBezTo>
                  <a:cubicBezTo>
                    <a:pt x="315" y="1839"/>
                    <a:pt x="340" y="1862"/>
                    <a:pt x="351" y="1893"/>
                  </a:cubicBezTo>
                  <a:cubicBezTo>
                    <a:pt x="88" y="1893"/>
                    <a:pt x="88" y="1893"/>
                    <a:pt x="88" y="1893"/>
                  </a:cubicBezTo>
                  <a:lnTo>
                    <a:pt x="129" y="18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8" name="Freeform 300">
              <a:extLst>
                <a:ext uri="{FF2B5EF4-FFF2-40B4-BE49-F238E27FC236}">
                  <a16:creationId xmlns:a16="http://schemas.microsoft.com/office/drawing/2014/main" id="{699FF37C-5C04-0F3A-C07D-8CFADDF2CB45}"/>
                </a:ext>
              </a:extLst>
            </p:cNvPr>
            <p:cNvSpPr>
              <a:spLocks/>
            </p:cNvSpPr>
            <p:nvPr/>
          </p:nvSpPr>
          <p:spPr bwMode="auto">
            <a:xfrm>
              <a:off x="9731376" y="6397625"/>
              <a:ext cx="331788" cy="239712"/>
            </a:xfrm>
            <a:custGeom>
              <a:avLst/>
              <a:gdLst>
                <a:gd name="T0" fmla="*/ 151 w 493"/>
                <a:gd name="T1" fmla="*/ 178 h 355"/>
                <a:gd name="T2" fmla="*/ 45 w 493"/>
                <a:gd name="T3" fmla="*/ 73 h 355"/>
                <a:gd name="T4" fmla="*/ 0 w 493"/>
                <a:gd name="T5" fmla="*/ 118 h 355"/>
                <a:gd name="T6" fmla="*/ 224 w 493"/>
                <a:gd name="T7" fmla="*/ 342 h 355"/>
                <a:gd name="T8" fmla="*/ 269 w 493"/>
                <a:gd name="T9" fmla="*/ 342 h 355"/>
                <a:gd name="T10" fmla="*/ 493 w 493"/>
                <a:gd name="T11" fmla="*/ 118 h 355"/>
                <a:gd name="T12" fmla="*/ 448 w 493"/>
                <a:gd name="T13" fmla="*/ 73 h 355"/>
                <a:gd name="T14" fmla="*/ 343 w 493"/>
                <a:gd name="T15" fmla="*/ 178 h 355"/>
                <a:gd name="T16" fmla="*/ 343 w 493"/>
                <a:gd name="T17" fmla="*/ 0 h 355"/>
                <a:gd name="T18" fmla="*/ 279 w 493"/>
                <a:gd name="T19" fmla="*/ 0 h 355"/>
                <a:gd name="T20" fmla="*/ 279 w 493"/>
                <a:gd name="T21" fmla="*/ 242 h 355"/>
                <a:gd name="T22" fmla="*/ 247 w 493"/>
                <a:gd name="T23" fmla="*/ 274 h 355"/>
                <a:gd name="T24" fmla="*/ 215 w 493"/>
                <a:gd name="T25" fmla="*/ 242 h 355"/>
                <a:gd name="T26" fmla="*/ 215 w 493"/>
                <a:gd name="T27" fmla="*/ 128 h 355"/>
                <a:gd name="T28" fmla="*/ 151 w 493"/>
                <a:gd name="T29" fmla="*/ 128 h 355"/>
                <a:gd name="T30" fmla="*/ 151 w 493"/>
                <a:gd name="T31" fmla="*/ 178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93" h="355">
                  <a:moveTo>
                    <a:pt x="151" y="178"/>
                  </a:moveTo>
                  <a:cubicBezTo>
                    <a:pt x="45" y="73"/>
                    <a:pt x="45" y="73"/>
                    <a:pt x="45" y="73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224" y="342"/>
                    <a:pt x="224" y="342"/>
                    <a:pt x="224" y="342"/>
                  </a:cubicBezTo>
                  <a:cubicBezTo>
                    <a:pt x="237" y="355"/>
                    <a:pt x="257" y="355"/>
                    <a:pt x="269" y="342"/>
                  </a:cubicBezTo>
                  <a:cubicBezTo>
                    <a:pt x="493" y="118"/>
                    <a:pt x="493" y="118"/>
                    <a:pt x="493" y="118"/>
                  </a:cubicBezTo>
                  <a:cubicBezTo>
                    <a:pt x="448" y="73"/>
                    <a:pt x="448" y="73"/>
                    <a:pt x="448" y="73"/>
                  </a:cubicBezTo>
                  <a:cubicBezTo>
                    <a:pt x="343" y="178"/>
                    <a:pt x="343" y="178"/>
                    <a:pt x="343" y="178"/>
                  </a:cubicBezTo>
                  <a:cubicBezTo>
                    <a:pt x="343" y="0"/>
                    <a:pt x="343" y="0"/>
                    <a:pt x="343" y="0"/>
                  </a:cubicBezTo>
                  <a:cubicBezTo>
                    <a:pt x="279" y="0"/>
                    <a:pt x="279" y="0"/>
                    <a:pt x="279" y="0"/>
                  </a:cubicBezTo>
                  <a:cubicBezTo>
                    <a:pt x="279" y="242"/>
                    <a:pt x="279" y="242"/>
                    <a:pt x="279" y="242"/>
                  </a:cubicBezTo>
                  <a:cubicBezTo>
                    <a:pt x="247" y="274"/>
                    <a:pt x="247" y="274"/>
                    <a:pt x="247" y="274"/>
                  </a:cubicBezTo>
                  <a:cubicBezTo>
                    <a:pt x="215" y="242"/>
                    <a:pt x="215" y="242"/>
                    <a:pt x="215" y="242"/>
                  </a:cubicBezTo>
                  <a:cubicBezTo>
                    <a:pt x="215" y="128"/>
                    <a:pt x="215" y="128"/>
                    <a:pt x="215" y="128"/>
                  </a:cubicBezTo>
                  <a:cubicBezTo>
                    <a:pt x="151" y="128"/>
                    <a:pt x="151" y="128"/>
                    <a:pt x="151" y="128"/>
                  </a:cubicBezTo>
                  <a:lnTo>
                    <a:pt x="151" y="1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9" name="Rectangle 301">
              <a:extLst>
                <a:ext uri="{FF2B5EF4-FFF2-40B4-BE49-F238E27FC236}">
                  <a16:creationId xmlns:a16="http://schemas.microsoft.com/office/drawing/2014/main" id="{3AE56C1E-D781-614C-9682-3FAAD769DD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32976" y="6397625"/>
              <a:ext cx="42863" cy="4286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0" name="Rectangle 302">
              <a:extLst>
                <a:ext uri="{FF2B5EF4-FFF2-40B4-BE49-F238E27FC236}">
                  <a16:creationId xmlns:a16="http://schemas.microsoft.com/office/drawing/2014/main" id="{480ACB98-E801-CAAB-08A6-6CCF52AEDB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32976" y="6311900"/>
              <a:ext cx="42863" cy="4286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1" name="Rectangle 303">
              <a:extLst>
                <a:ext uri="{FF2B5EF4-FFF2-40B4-BE49-F238E27FC236}">
                  <a16:creationId xmlns:a16="http://schemas.microsoft.com/office/drawing/2014/main" id="{991C03E8-1FE7-D703-6075-070286838E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918701" y="6311900"/>
              <a:ext cx="42863" cy="4286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8A4AC66E-744E-D998-7EC1-06223E67AE37}"/>
              </a:ext>
            </a:extLst>
          </p:cNvPr>
          <p:cNvGrpSpPr/>
          <p:nvPr/>
        </p:nvGrpSpPr>
        <p:grpSpPr>
          <a:xfrm>
            <a:off x="4194611" y="3899564"/>
            <a:ext cx="411523" cy="431037"/>
            <a:chOff x="836613" y="6088063"/>
            <a:chExt cx="1171575" cy="1227138"/>
          </a:xfrm>
          <a:solidFill>
            <a:schemeClr val="bg1"/>
          </a:solidFill>
        </p:grpSpPr>
        <p:sp>
          <p:nvSpPr>
            <p:cNvPr id="73" name="Freeform 348">
              <a:extLst>
                <a:ext uri="{FF2B5EF4-FFF2-40B4-BE49-F238E27FC236}">
                  <a16:creationId xmlns:a16="http://schemas.microsoft.com/office/drawing/2014/main" id="{0552447F-396D-02CA-9728-CA3461F653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71538" y="6088063"/>
              <a:ext cx="1095375" cy="1227138"/>
            </a:xfrm>
            <a:custGeom>
              <a:avLst/>
              <a:gdLst>
                <a:gd name="T0" fmla="*/ 470 w 1795"/>
                <a:gd name="T1" fmla="*/ 273 h 2008"/>
                <a:gd name="T2" fmla="*/ 52 w 1795"/>
                <a:gd name="T3" fmla="*/ 346 h 2008"/>
                <a:gd name="T4" fmla="*/ 6 w 1795"/>
                <a:gd name="T5" fmla="*/ 721 h 2008"/>
                <a:gd name="T6" fmla="*/ 1496 w 1795"/>
                <a:gd name="T7" fmla="*/ 1523 h 2008"/>
                <a:gd name="T8" fmla="*/ 1788 w 1795"/>
                <a:gd name="T9" fmla="*/ 721 h 2008"/>
                <a:gd name="T10" fmla="*/ 1756 w 1795"/>
                <a:gd name="T11" fmla="*/ 345 h 2008"/>
                <a:gd name="T12" fmla="*/ 1321 w 1795"/>
                <a:gd name="T13" fmla="*/ 280 h 2008"/>
                <a:gd name="T14" fmla="*/ 1261 w 1795"/>
                <a:gd name="T15" fmla="*/ 257 h 2008"/>
                <a:gd name="T16" fmla="*/ 871 w 1795"/>
                <a:gd name="T17" fmla="*/ 0 h 2008"/>
                <a:gd name="T18" fmla="*/ 446 w 1795"/>
                <a:gd name="T19" fmla="*/ 82 h 2008"/>
                <a:gd name="T20" fmla="*/ 506 w 1795"/>
                <a:gd name="T21" fmla="*/ 864 h 2008"/>
                <a:gd name="T22" fmla="*/ 603 w 1795"/>
                <a:gd name="T23" fmla="*/ 1618 h 2008"/>
                <a:gd name="T24" fmla="*/ 552 w 1795"/>
                <a:gd name="T25" fmla="*/ 1312 h 2008"/>
                <a:gd name="T26" fmla="*/ 871 w 1795"/>
                <a:gd name="T27" fmla="*/ 1665 h 2008"/>
                <a:gd name="T28" fmla="*/ 1111 w 1795"/>
                <a:gd name="T29" fmla="*/ 1673 h 2008"/>
                <a:gd name="T30" fmla="*/ 935 w 1795"/>
                <a:gd name="T31" fmla="*/ 1601 h 2008"/>
                <a:gd name="T32" fmla="*/ 1137 w 1795"/>
                <a:gd name="T33" fmla="*/ 1611 h 2008"/>
                <a:gd name="T34" fmla="*/ 935 w 1795"/>
                <a:gd name="T35" fmla="*/ 960 h 2008"/>
                <a:gd name="T36" fmla="*/ 935 w 1795"/>
                <a:gd name="T37" fmla="*/ 1248 h 2008"/>
                <a:gd name="T38" fmla="*/ 1111 w 1795"/>
                <a:gd name="T39" fmla="*/ 888 h 2008"/>
                <a:gd name="T40" fmla="*/ 871 w 1795"/>
                <a:gd name="T41" fmla="*/ 896 h 2008"/>
                <a:gd name="T42" fmla="*/ 871 w 1795"/>
                <a:gd name="T43" fmla="*/ 960 h 2008"/>
                <a:gd name="T44" fmla="*/ 669 w 1795"/>
                <a:gd name="T45" fmla="*/ 950 h 2008"/>
                <a:gd name="T46" fmla="*/ 871 w 1795"/>
                <a:gd name="T47" fmla="*/ 1601 h 2008"/>
                <a:gd name="T48" fmla="*/ 871 w 1795"/>
                <a:gd name="T49" fmla="*/ 1312 h 2008"/>
                <a:gd name="T50" fmla="*/ 506 w 1795"/>
                <a:gd name="T51" fmla="*/ 1697 h 2008"/>
                <a:gd name="T52" fmla="*/ 1300 w 1795"/>
                <a:gd name="T53" fmla="*/ 1697 h 2008"/>
                <a:gd name="T54" fmla="*/ 1203 w 1795"/>
                <a:gd name="T55" fmla="*/ 1618 h 2008"/>
                <a:gd name="T56" fmla="*/ 1351 w 1795"/>
                <a:gd name="T57" fmla="*/ 1641 h 2008"/>
                <a:gd name="T58" fmla="*/ 1203 w 1795"/>
                <a:gd name="T59" fmla="*/ 943 h 2008"/>
                <a:gd name="T60" fmla="*/ 1254 w 1795"/>
                <a:gd name="T61" fmla="*/ 1248 h 2008"/>
                <a:gd name="T62" fmla="*/ 1090 w 1795"/>
                <a:gd name="T63" fmla="*/ 736 h 2008"/>
                <a:gd name="T64" fmla="*/ 603 w 1795"/>
                <a:gd name="T65" fmla="*/ 943 h 2008"/>
                <a:gd name="T66" fmla="*/ 455 w 1795"/>
                <a:gd name="T67" fmla="*/ 920 h 2008"/>
                <a:gd name="T68" fmla="*/ 1468 w 1795"/>
                <a:gd name="T69" fmla="*/ 981 h 2008"/>
                <a:gd name="T70" fmla="*/ 903 w 1795"/>
                <a:gd name="T71" fmla="*/ 320 h 2008"/>
                <a:gd name="T72" fmla="*/ 1050 w 1795"/>
                <a:gd name="T73" fmla="*/ 414 h 2008"/>
                <a:gd name="T74" fmla="*/ 1173 w 1795"/>
                <a:gd name="T75" fmla="*/ 597 h 2008"/>
                <a:gd name="T76" fmla="*/ 1287 w 1795"/>
                <a:gd name="T77" fmla="*/ 770 h 2008"/>
                <a:gd name="T78" fmla="*/ 529 w 1795"/>
                <a:gd name="T79" fmla="*/ 680 h 2008"/>
                <a:gd name="T80" fmla="*/ 459 w 1795"/>
                <a:gd name="T81" fmla="*/ 821 h 2008"/>
                <a:gd name="T82" fmla="*/ 881 w 1795"/>
                <a:gd name="T83" fmla="*/ 256 h 2008"/>
                <a:gd name="T84" fmla="*/ 1127 w 1795"/>
                <a:gd name="T85" fmla="*/ 544 h 2008"/>
                <a:gd name="T86" fmla="*/ 1159 w 1795"/>
                <a:gd name="T87" fmla="*/ 512 h 20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795" h="2008">
                  <a:moveTo>
                    <a:pt x="446" y="82"/>
                  </a:moveTo>
                  <a:cubicBezTo>
                    <a:pt x="389" y="111"/>
                    <a:pt x="389" y="111"/>
                    <a:pt x="389" y="111"/>
                  </a:cubicBezTo>
                  <a:cubicBezTo>
                    <a:pt x="470" y="273"/>
                    <a:pt x="470" y="273"/>
                    <a:pt x="470" y="273"/>
                  </a:cubicBezTo>
                  <a:cubicBezTo>
                    <a:pt x="389" y="308"/>
                    <a:pt x="313" y="355"/>
                    <a:pt x="245" y="411"/>
                  </a:cubicBezTo>
                  <a:cubicBezTo>
                    <a:pt x="90" y="295"/>
                    <a:pt x="90" y="295"/>
                    <a:pt x="90" y="295"/>
                  </a:cubicBezTo>
                  <a:cubicBezTo>
                    <a:pt x="52" y="346"/>
                    <a:pt x="52" y="346"/>
                    <a:pt x="52" y="346"/>
                  </a:cubicBezTo>
                  <a:cubicBezTo>
                    <a:pt x="196" y="454"/>
                    <a:pt x="196" y="454"/>
                    <a:pt x="196" y="454"/>
                  </a:cubicBezTo>
                  <a:cubicBezTo>
                    <a:pt x="123" y="523"/>
                    <a:pt x="59" y="602"/>
                    <a:pt x="6" y="687"/>
                  </a:cubicBezTo>
                  <a:cubicBezTo>
                    <a:pt x="0" y="698"/>
                    <a:pt x="0" y="711"/>
                    <a:pt x="6" y="721"/>
                  </a:cubicBezTo>
                  <a:cubicBezTo>
                    <a:pt x="84" y="848"/>
                    <a:pt x="188" y="956"/>
                    <a:pt x="310" y="1040"/>
                  </a:cubicBezTo>
                  <a:cubicBezTo>
                    <a:pt x="177" y="1367"/>
                    <a:pt x="334" y="1740"/>
                    <a:pt x="661" y="1874"/>
                  </a:cubicBezTo>
                  <a:cubicBezTo>
                    <a:pt x="988" y="2008"/>
                    <a:pt x="1362" y="1850"/>
                    <a:pt x="1496" y="1523"/>
                  </a:cubicBezTo>
                  <a:cubicBezTo>
                    <a:pt x="1559" y="1368"/>
                    <a:pt x="1559" y="1195"/>
                    <a:pt x="1496" y="1040"/>
                  </a:cubicBezTo>
                  <a:cubicBezTo>
                    <a:pt x="1519" y="1023"/>
                    <a:pt x="1542" y="1006"/>
                    <a:pt x="1564" y="987"/>
                  </a:cubicBezTo>
                  <a:cubicBezTo>
                    <a:pt x="1652" y="910"/>
                    <a:pt x="1727" y="821"/>
                    <a:pt x="1788" y="721"/>
                  </a:cubicBezTo>
                  <a:cubicBezTo>
                    <a:pt x="1795" y="711"/>
                    <a:pt x="1795" y="698"/>
                    <a:pt x="1788" y="687"/>
                  </a:cubicBezTo>
                  <a:cubicBezTo>
                    <a:pt x="1739" y="608"/>
                    <a:pt x="1679" y="535"/>
                    <a:pt x="1611" y="471"/>
                  </a:cubicBezTo>
                  <a:cubicBezTo>
                    <a:pt x="1756" y="345"/>
                    <a:pt x="1756" y="345"/>
                    <a:pt x="1756" y="345"/>
                  </a:cubicBezTo>
                  <a:cubicBezTo>
                    <a:pt x="1714" y="296"/>
                    <a:pt x="1714" y="296"/>
                    <a:pt x="1714" y="296"/>
                  </a:cubicBezTo>
                  <a:cubicBezTo>
                    <a:pt x="1563" y="428"/>
                    <a:pt x="1563" y="428"/>
                    <a:pt x="1563" y="428"/>
                  </a:cubicBezTo>
                  <a:cubicBezTo>
                    <a:pt x="1490" y="368"/>
                    <a:pt x="1408" y="318"/>
                    <a:pt x="1321" y="280"/>
                  </a:cubicBezTo>
                  <a:cubicBezTo>
                    <a:pt x="1406" y="111"/>
                    <a:pt x="1406" y="111"/>
                    <a:pt x="1406" y="111"/>
                  </a:cubicBezTo>
                  <a:cubicBezTo>
                    <a:pt x="1349" y="82"/>
                    <a:pt x="1349" y="82"/>
                    <a:pt x="1349" y="82"/>
                  </a:cubicBezTo>
                  <a:cubicBezTo>
                    <a:pt x="1261" y="257"/>
                    <a:pt x="1261" y="257"/>
                    <a:pt x="1261" y="257"/>
                  </a:cubicBezTo>
                  <a:cubicBezTo>
                    <a:pt x="1156" y="220"/>
                    <a:pt x="1046" y="198"/>
                    <a:pt x="935" y="194"/>
                  </a:cubicBezTo>
                  <a:cubicBezTo>
                    <a:pt x="935" y="0"/>
                    <a:pt x="935" y="0"/>
                    <a:pt x="935" y="0"/>
                  </a:cubicBezTo>
                  <a:cubicBezTo>
                    <a:pt x="871" y="0"/>
                    <a:pt x="871" y="0"/>
                    <a:pt x="871" y="0"/>
                  </a:cubicBezTo>
                  <a:cubicBezTo>
                    <a:pt x="871" y="193"/>
                    <a:pt x="871" y="193"/>
                    <a:pt x="871" y="193"/>
                  </a:cubicBezTo>
                  <a:cubicBezTo>
                    <a:pt x="755" y="193"/>
                    <a:pt x="640" y="212"/>
                    <a:pt x="530" y="250"/>
                  </a:cubicBezTo>
                  <a:lnTo>
                    <a:pt x="446" y="82"/>
                  </a:lnTo>
                  <a:close/>
                  <a:moveTo>
                    <a:pt x="716" y="736"/>
                  </a:moveTo>
                  <a:cubicBezTo>
                    <a:pt x="679" y="780"/>
                    <a:pt x="648" y="829"/>
                    <a:pt x="626" y="881"/>
                  </a:cubicBezTo>
                  <a:cubicBezTo>
                    <a:pt x="585" y="877"/>
                    <a:pt x="545" y="871"/>
                    <a:pt x="506" y="864"/>
                  </a:cubicBezTo>
                  <a:cubicBezTo>
                    <a:pt x="566" y="807"/>
                    <a:pt x="638" y="763"/>
                    <a:pt x="716" y="736"/>
                  </a:cubicBezTo>
                  <a:moveTo>
                    <a:pt x="552" y="1312"/>
                  </a:moveTo>
                  <a:cubicBezTo>
                    <a:pt x="554" y="1416"/>
                    <a:pt x="571" y="1519"/>
                    <a:pt x="603" y="1618"/>
                  </a:cubicBezTo>
                  <a:cubicBezTo>
                    <a:pt x="551" y="1624"/>
                    <a:pt x="502" y="1632"/>
                    <a:pt x="455" y="1641"/>
                  </a:cubicBezTo>
                  <a:cubicBezTo>
                    <a:pt x="379" y="1548"/>
                    <a:pt x="335" y="1433"/>
                    <a:pt x="329" y="1312"/>
                  </a:cubicBezTo>
                  <a:lnTo>
                    <a:pt x="552" y="1312"/>
                  </a:lnTo>
                  <a:close/>
                  <a:moveTo>
                    <a:pt x="871" y="1852"/>
                  </a:moveTo>
                  <a:cubicBezTo>
                    <a:pt x="803" y="1836"/>
                    <a:pt x="741" y="1770"/>
                    <a:pt x="695" y="1673"/>
                  </a:cubicBezTo>
                  <a:cubicBezTo>
                    <a:pt x="752" y="1668"/>
                    <a:pt x="811" y="1666"/>
                    <a:pt x="871" y="1665"/>
                  </a:cubicBezTo>
                  <a:lnTo>
                    <a:pt x="871" y="1852"/>
                  </a:lnTo>
                  <a:close/>
                  <a:moveTo>
                    <a:pt x="935" y="1665"/>
                  </a:moveTo>
                  <a:cubicBezTo>
                    <a:pt x="995" y="1666"/>
                    <a:pt x="1054" y="1668"/>
                    <a:pt x="1111" y="1673"/>
                  </a:cubicBezTo>
                  <a:cubicBezTo>
                    <a:pt x="1065" y="1770"/>
                    <a:pt x="1003" y="1836"/>
                    <a:pt x="935" y="1852"/>
                  </a:cubicBezTo>
                  <a:lnTo>
                    <a:pt x="935" y="1665"/>
                  </a:lnTo>
                  <a:close/>
                  <a:moveTo>
                    <a:pt x="935" y="1601"/>
                  </a:moveTo>
                  <a:cubicBezTo>
                    <a:pt x="935" y="1312"/>
                    <a:pt x="935" y="1312"/>
                    <a:pt x="935" y="1312"/>
                  </a:cubicBezTo>
                  <a:cubicBezTo>
                    <a:pt x="1190" y="1312"/>
                    <a:pt x="1190" y="1312"/>
                    <a:pt x="1190" y="1312"/>
                  </a:cubicBezTo>
                  <a:cubicBezTo>
                    <a:pt x="1188" y="1414"/>
                    <a:pt x="1170" y="1515"/>
                    <a:pt x="1137" y="1611"/>
                  </a:cubicBezTo>
                  <a:cubicBezTo>
                    <a:pt x="1072" y="1605"/>
                    <a:pt x="1004" y="1602"/>
                    <a:pt x="935" y="1601"/>
                  </a:cubicBezTo>
                  <a:moveTo>
                    <a:pt x="935" y="1248"/>
                  </a:moveTo>
                  <a:cubicBezTo>
                    <a:pt x="935" y="960"/>
                    <a:pt x="935" y="960"/>
                    <a:pt x="935" y="960"/>
                  </a:cubicBezTo>
                  <a:cubicBezTo>
                    <a:pt x="1004" y="959"/>
                    <a:pt x="1072" y="956"/>
                    <a:pt x="1137" y="950"/>
                  </a:cubicBezTo>
                  <a:cubicBezTo>
                    <a:pt x="1170" y="1046"/>
                    <a:pt x="1188" y="1147"/>
                    <a:pt x="1190" y="1248"/>
                  </a:cubicBezTo>
                  <a:lnTo>
                    <a:pt x="935" y="1248"/>
                  </a:lnTo>
                  <a:close/>
                  <a:moveTo>
                    <a:pt x="935" y="896"/>
                  </a:moveTo>
                  <a:cubicBezTo>
                    <a:pt x="935" y="708"/>
                    <a:pt x="935" y="708"/>
                    <a:pt x="935" y="708"/>
                  </a:cubicBezTo>
                  <a:cubicBezTo>
                    <a:pt x="1003" y="724"/>
                    <a:pt x="1065" y="791"/>
                    <a:pt x="1111" y="888"/>
                  </a:cubicBezTo>
                  <a:cubicBezTo>
                    <a:pt x="1054" y="893"/>
                    <a:pt x="995" y="895"/>
                    <a:pt x="935" y="896"/>
                  </a:cubicBezTo>
                  <a:moveTo>
                    <a:pt x="871" y="708"/>
                  </a:moveTo>
                  <a:cubicBezTo>
                    <a:pt x="871" y="896"/>
                    <a:pt x="871" y="896"/>
                    <a:pt x="871" y="896"/>
                  </a:cubicBezTo>
                  <a:cubicBezTo>
                    <a:pt x="811" y="895"/>
                    <a:pt x="752" y="893"/>
                    <a:pt x="695" y="888"/>
                  </a:cubicBezTo>
                  <a:cubicBezTo>
                    <a:pt x="741" y="791"/>
                    <a:pt x="803" y="724"/>
                    <a:pt x="871" y="708"/>
                  </a:cubicBezTo>
                  <a:moveTo>
                    <a:pt x="871" y="960"/>
                  </a:moveTo>
                  <a:cubicBezTo>
                    <a:pt x="871" y="1248"/>
                    <a:pt x="871" y="1248"/>
                    <a:pt x="871" y="1248"/>
                  </a:cubicBezTo>
                  <a:cubicBezTo>
                    <a:pt x="616" y="1248"/>
                    <a:pt x="616" y="1248"/>
                    <a:pt x="616" y="1248"/>
                  </a:cubicBezTo>
                  <a:cubicBezTo>
                    <a:pt x="618" y="1147"/>
                    <a:pt x="636" y="1046"/>
                    <a:pt x="669" y="950"/>
                  </a:cubicBezTo>
                  <a:cubicBezTo>
                    <a:pt x="734" y="956"/>
                    <a:pt x="802" y="959"/>
                    <a:pt x="871" y="960"/>
                  </a:cubicBezTo>
                  <a:moveTo>
                    <a:pt x="871" y="1312"/>
                  </a:moveTo>
                  <a:cubicBezTo>
                    <a:pt x="871" y="1601"/>
                    <a:pt x="871" y="1601"/>
                    <a:pt x="871" y="1601"/>
                  </a:cubicBezTo>
                  <a:cubicBezTo>
                    <a:pt x="802" y="1602"/>
                    <a:pt x="734" y="1605"/>
                    <a:pt x="669" y="1611"/>
                  </a:cubicBezTo>
                  <a:cubicBezTo>
                    <a:pt x="636" y="1515"/>
                    <a:pt x="618" y="1414"/>
                    <a:pt x="616" y="1312"/>
                  </a:cubicBezTo>
                  <a:lnTo>
                    <a:pt x="871" y="1312"/>
                  </a:lnTo>
                  <a:close/>
                  <a:moveTo>
                    <a:pt x="626" y="1680"/>
                  </a:moveTo>
                  <a:cubicBezTo>
                    <a:pt x="648" y="1732"/>
                    <a:pt x="679" y="1781"/>
                    <a:pt x="716" y="1825"/>
                  </a:cubicBezTo>
                  <a:cubicBezTo>
                    <a:pt x="638" y="1798"/>
                    <a:pt x="566" y="1754"/>
                    <a:pt x="506" y="1697"/>
                  </a:cubicBezTo>
                  <a:cubicBezTo>
                    <a:pt x="545" y="1690"/>
                    <a:pt x="585" y="1684"/>
                    <a:pt x="626" y="1680"/>
                  </a:cubicBezTo>
                  <a:moveTo>
                    <a:pt x="1180" y="1680"/>
                  </a:moveTo>
                  <a:cubicBezTo>
                    <a:pt x="1221" y="1684"/>
                    <a:pt x="1261" y="1690"/>
                    <a:pt x="1300" y="1697"/>
                  </a:cubicBezTo>
                  <a:cubicBezTo>
                    <a:pt x="1240" y="1754"/>
                    <a:pt x="1168" y="1798"/>
                    <a:pt x="1090" y="1825"/>
                  </a:cubicBezTo>
                  <a:cubicBezTo>
                    <a:pt x="1127" y="1781"/>
                    <a:pt x="1158" y="1732"/>
                    <a:pt x="1180" y="1680"/>
                  </a:cubicBezTo>
                  <a:moveTo>
                    <a:pt x="1203" y="1618"/>
                  </a:moveTo>
                  <a:cubicBezTo>
                    <a:pt x="1235" y="1519"/>
                    <a:pt x="1252" y="1416"/>
                    <a:pt x="1254" y="1312"/>
                  </a:cubicBezTo>
                  <a:cubicBezTo>
                    <a:pt x="1477" y="1312"/>
                    <a:pt x="1477" y="1312"/>
                    <a:pt x="1477" y="1312"/>
                  </a:cubicBezTo>
                  <a:cubicBezTo>
                    <a:pt x="1471" y="1433"/>
                    <a:pt x="1427" y="1548"/>
                    <a:pt x="1351" y="1641"/>
                  </a:cubicBezTo>
                  <a:cubicBezTo>
                    <a:pt x="1304" y="1632"/>
                    <a:pt x="1255" y="1624"/>
                    <a:pt x="1203" y="1618"/>
                  </a:cubicBezTo>
                  <a:moveTo>
                    <a:pt x="1254" y="1248"/>
                  </a:moveTo>
                  <a:cubicBezTo>
                    <a:pt x="1252" y="1145"/>
                    <a:pt x="1235" y="1042"/>
                    <a:pt x="1203" y="943"/>
                  </a:cubicBezTo>
                  <a:cubicBezTo>
                    <a:pt x="1255" y="937"/>
                    <a:pt x="1304" y="929"/>
                    <a:pt x="1351" y="920"/>
                  </a:cubicBezTo>
                  <a:cubicBezTo>
                    <a:pt x="1427" y="1013"/>
                    <a:pt x="1471" y="1128"/>
                    <a:pt x="1477" y="1248"/>
                  </a:cubicBezTo>
                  <a:lnTo>
                    <a:pt x="1254" y="1248"/>
                  </a:lnTo>
                  <a:close/>
                  <a:moveTo>
                    <a:pt x="1300" y="864"/>
                  </a:moveTo>
                  <a:cubicBezTo>
                    <a:pt x="1261" y="871"/>
                    <a:pt x="1221" y="877"/>
                    <a:pt x="1180" y="881"/>
                  </a:cubicBezTo>
                  <a:cubicBezTo>
                    <a:pt x="1158" y="829"/>
                    <a:pt x="1127" y="780"/>
                    <a:pt x="1090" y="736"/>
                  </a:cubicBezTo>
                  <a:cubicBezTo>
                    <a:pt x="1168" y="763"/>
                    <a:pt x="1240" y="807"/>
                    <a:pt x="1300" y="864"/>
                  </a:cubicBezTo>
                  <a:moveTo>
                    <a:pt x="455" y="920"/>
                  </a:moveTo>
                  <a:cubicBezTo>
                    <a:pt x="502" y="929"/>
                    <a:pt x="551" y="937"/>
                    <a:pt x="603" y="943"/>
                  </a:cubicBezTo>
                  <a:cubicBezTo>
                    <a:pt x="571" y="1042"/>
                    <a:pt x="554" y="1145"/>
                    <a:pt x="552" y="1248"/>
                  </a:cubicBezTo>
                  <a:cubicBezTo>
                    <a:pt x="329" y="1248"/>
                    <a:pt x="329" y="1248"/>
                    <a:pt x="329" y="1248"/>
                  </a:cubicBezTo>
                  <a:cubicBezTo>
                    <a:pt x="335" y="1128"/>
                    <a:pt x="379" y="1013"/>
                    <a:pt x="455" y="920"/>
                  </a:cubicBezTo>
                  <a:moveTo>
                    <a:pt x="1723" y="704"/>
                  </a:moveTo>
                  <a:cubicBezTo>
                    <a:pt x="1668" y="792"/>
                    <a:pt x="1600" y="870"/>
                    <a:pt x="1522" y="938"/>
                  </a:cubicBezTo>
                  <a:cubicBezTo>
                    <a:pt x="1505" y="953"/>
                    <a:pt x="1487" y="967"/>
                    <a:pt x="1468" y="981"/>
                  </a:cubicBezTo>
                  <a:cubicBezTo>
                    <a:pt x="1436" y="921"/>
                    <a:pt x="1396" y="867"/>
                    <a:pt x="1347" y="821"/>
                  </a:cubicBezTo>
                  <a:cubicBezTo>
                    <a:pt x="1350" y="803"/>
                    <a:pt x="1351" y="786"/>
                    <a:pt x="1351" y="768"/>
                  </a:cubicBezTo>
                  <a:cubicBezTo>
                    <a:pt x="1351" y="521"/>
                    <a:pt x="1150" y="320"/>
                    <a:pt x="903" y="320"/>
                  </a:cubicBezTo>
                  <a:cubicBezTo>
                    <a:pt x="722" y="320"/>
                    <a:pt x="559" y="429"/>
                    <a:pt x="489" y="596"/>
                  </a:cubicBezTo>
                  <a:cubicBezTo>
                    <a:pt x="548" y="621"/>
                    <a:pt x="548" y="621"/>
                    <a:pt x="548" y="621"/>
                  </a:cubicBezTo>
                  <a:cubicBezTo>
                    <a:pt x="630" y="425"/>
                    <a:pt x="854" y="333"/>
                    <a:pt x="1050" y="414"/>
                  </a:cubicBezTo>
                  <a:cubicBezTo>
                    <a:pt x="1060" y="418"/>
                    <a:pt x="1071" y="423"/>
                    <a:pt x="1081" y="429"/>
                  </a:cubicBezTo>
                  <a:cubicBezTo>
                    <a:pt x="1035" y="454"/>
                    <a:pt x="1018" y="512"/>
                    <a:pt x="1043" y="558"/>
                  </a:cubicBezTo>
                  <a:cubicBezTo>
                    <a:pt x="1068" y="605"/>
                    <a:pt x="1126" y="622"/>
                    <a:pt x="1173" y="597"/>
                  </a:cubicBezTo>
                  <a:cubicBezTo>
                    <a:pt x="1193" y="586"/>
                    <a:pt x="1208" y="568"/>
                    <a:pt x="1216" y="547"/>
                  </a:cubicBezTo>
                  <a:cubicBezTo>
                    <a:pt x="1262" y="612"/>
                    <a:pt x="1287" y="689"/>
                    <a:pt x="1287" y="768"/>
                  </a:cubicBezTo>
                  <a:cubicBezTo>
                    <a:pt x="1287" y="770"/>
                    <a:pt x="1287" y="770"/>
                    <a:pt x="1287" y="770"/>
                  </a:cubicBezTo>
                  <a:cubicBezTo>
                    <a:pt x="1060" y="597"/>
                    <a:pt x="746" y="597"/>
                    <a:pt x="519" y="770"/>
                  </a:cubicBezTo>
                  <a:cubicBezTo>
                    <a:pt x="519" y="768"/>
                    <a:pt x="519" y="768"/>
                    <a:pt x="519" y="768"/>
                  </a:cubicBezTo>
                  <a:cubicBezTo>
                    <a:pt x="519" y="739"/>
                    <a:pt x="522" y="709"/>
                    <a:pt x="529" y="680"/>
                  </a:cubicBezTo>
                  <a:cubicBezTo>
                    <a:pt x="467" y="665"/>
                    <a:pt x="467" y="665"/>
                    <a:pt x="467" y="665"/>
                  </a:cubicBezTo>
                  <a:cubicBezTo>
                    <a:pt x="459" y="699"/>
                    <a:pt x="455" y="734"/>
                    <a:pt x="455" y="768"/>
                  </a:cubicBezTo>
                  <a:cubicBezTo>
                    <a:pt x="455" y="786"/>
                    <a:pt x="456" y="803"/>
                    <a:pt x="459" y="821"/>
                  </a:cubicBezTo>
                  <a:cubicBezTo>
                    <a:pt x="410" y="867"/>
                    <a:pt x="369" y="922"/>
                    <a:pt x="338" y="981"/>
                  </a:cubicBezTo>
                  <a:cubicBezTo>
                    <a:pt x="232" y="907"/>
                    <a:pt x="141" y="813"/>
                    <a:pt x="71" y="704"/>
                  </a:cubicBezTo>
                  <a:cubicBezTo>
                    <a:pt x="267" y="403"/>
                    <a:pt x="532" y="256"/>
                    <a:pt x="881" y="256"/>
                  </a:cubicBezTo>
                  <a:cubicBezTo>
                    <a:pt x="1236" y="256"/>
                    <a:pt x="1534" y="415"/>
                    <a:pt x="1723" y="704"/>
                  </a:cubicBezTo>
                  <a:moveTo>
                    <a:pt x="1159" y="512"/>
                  </a:moveTo>
                  <a:cubicBezTo>
                    <a:pt x="1159" y="530"/>
                    <a:pt x="1145" y="544"/>
                    <a:pt x="1127" y="544"/>
                  </a:cubicBezTo>
                  <a:cubicBezTo>
                    <a:pt x="1109" y="544"/>
                    <a:pt x="1095" y="530"/>
                    <a:pt x="1095" y="512"/>
                  </a:cubicBezTo>
                  <a:cubicBezTo>
                    <a:pt x="1095" y="495"/>
                    <a:pt x="1109" y="480"/>
                    <a:pt x="1127" y="480"/>
                  </a:cubicBezTo>
                  <a:cubicBezTo>
                    <a:pt x="1145" y="480"/>
                    <a:pt x="1159" y="495"/>
                    <a:pt x="1159" y="5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4" name="Rectangle 349">
              <a:extLst>
                <a:ext uri="{FF2B5EF4-FFF2-40B4-BE49-F238E27FC236}">
                  <a16:creationId xmlns:a16="http://schemas.microsoft.com/office/drawing/2014/main" id="{317C65ED-74DD-107D-61EF-6D3668CD4A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6301" y="7143751"/>
              <a:ext cx="39688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5" name="Rectangle 350">
              <a:extLst>
                <a:ext uri="{FF2B5EF4-FFF2-40B4-BE49-F238E27FC236}">
                  <a16:creationId xmlns:a16="http://schemas.microsoft.com/office/drawing/2014/main" id="{6864FEC4-9FD6-BA08-844F-C36143A80A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6301" y="7223126"/>
              <a:ext cx="39688" cy="381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6" name="Rectangle 351">
              <a:extLst>
                <a:ext uri="{FF2B5EF4-FFF2-40B4-BE49-F238E27FC236}">
                  <a16:creationId xmlns:a16="http://schemas.microsoft.com/office/drawing/2014/main" id="{A21D74FC-DFF9-FEB4-52B9-20956F73A1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5988" y="7183438"/>
              <a:ext cx="38100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7" name="Rectangle 352">
              <a:extLst>
                <a:ext uri="{FF2B5EF4-FFF2-40B4-BE49-F238E27FC236}">
                  <a16:creationId xmlns:a16="http://schemas.microsoft.com/office/drawing/2014/main" id="{B8ADE7FB-C256-66D7-88DF-9C973DA6E2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6613" y="7183438"/>
              <a:ext cx="39688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8" name="Rectangle 353">
              <a:extLst>
                <a:ext uri="{FF2B5EF4-FFF2-40B4-BE49-F238E27FC236}">
                  <a16:creationId xmlns:a16="http://schemas.microsoft.com/office/drawing/2014/main" id="{959471A6-6573-C9AE-95A4-ECA98B7046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0401" y="7143751"/>
              <a:ext cx="39688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9" name="Rectangle 354">
              <a:extLst>
                <a:ext uri="{FF2B5EF4-FFF2-40B4-BE49-F238E27FC236}">
                  <a16:creationId xmlns:a16="http://schemas.microsoft.com/office/drawing/2014/main" id="{DC490940-EB0E-699E-886E-7F1C7048F1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0401" y="7223126"/>
              <a:ext cx="39688" cy="381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0" name="Rectangle 355">
              <a:extLst>
                <a:ext uri="{FF2B5EF4-FFF2-40B4-BE49-F238E27FC236}">
                  <a16:creationId xmlns:a16="http://schemas.microsoft.com/office/drawing/2014/main" id="{4239B116-4D02-CF9E-22E2-5A11FC4DBB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70088" y="7183438"/>
              <a:ext cx="38100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1" name="Rectangle 356">
              <a:extLst>
                <a:ext uri="{FF2B5EF4-FFF2-40B4-BE49-F238E27FC236}">
                  <a16:creationId xmlns:a16="http://schemas.microsoft.com/office/drawing/2014/main" id="{12F9E1F7-B1B6-8E0D-5F65-55DB4AC266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92301" y="7183438"/>
              <a:ext cx="38100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82" name="Group 81">
            <a:extLst>
              <a:ext uri="{FF2B5EF4-FFF2-40B4-BE49-F238E27FC236}">
                <a16:creationId xmlns:a16="http://schemas.microsoft.com/office/drawing/2014/main" id="{1B0A328A-E0A0-1F7B-6701-18505883F9E0}"/>
              </a:ext>
            </a:extLst>
          </p:cNvPr>
          <p:cNvGrpSpPr/>
          <p:nvPr/>
        </p:nvGrpSpPr>
        <p:grpSpPr>
          <a:xfrm>
            <a:off x="6504133" y="4971945"/>
            <a:ext cx="463845" cy="417840"/>
            <a:chOff x="5070475" y="5924550"/>
            <a:chExt cx="576263" cy="519113"/>
          </a:xfrm>
          <a:solidFill>
            <a:schemeClr val="bg1"/>
          </a:solidFill>
        </p:grpSpPr>
        <p:sp>
          <p:nvSpPr>
            <p:cNvPr id="83" name="Freeform 6">
              <a:extLst>
                <a:ext uri="{FF2B5EF4-FFF2-40B4-BE49-F238E27FC236}">
                  <a16:creationId xmlns:a16="http://schemas.microsoft.com/office/drawing/2014/main" id="{5101F3CA-09A6-F017-F0AF-192E1C215D0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70475" y="6030913"/>
              <a:ext cx="538163" cy="412750"/>
            </a:xfrm>
            <a:custGeom>
              <a:avLst/>
              <a:gdLst>
                <a:gd name="T0" fmla="*/ 250 w 3498"/>
                <a:gd name="T1" fmla="*/ 2686 h 2686"/>
                <a:gd name="T2" fmla="*/ 3248 w 3498"/>
                <a:gd name="T3" fmla="*/ 2686 h 2686"/>
                <a:gd name="T4" fmla="*/ 3498 w 3498"/>
                <a:gd name="T5" fmla="*/ 2436 h 2686"/>
                <a:gd name="T6" fmla="*/ 3498 w 3498"/>
                <a:gd name="T7" fmla="*/ 2248 h 2686"/>
                <a:gd name="T8" fmla="*/ 3436 w 3498"/>
                <a:gd name="T9" fmla="*/ 2186 h 2686"/>
                <a:gd name="T10" fmla="*/ 3311 w 3498"/>
                <a:gd name="T11" fmla="*/ 2186 h 2686"/>
                <a:gd name="T12" fmla="*/ 3311 w 3498"/>
                <a:gd name="T13" fmla="*/ 1249 h 2686"/>
                <a:gd name="T14" fmla="*/ 3186 w 3498"/>
                <a:gd name="T15" fmla="*/ 1249 h 2686"/>
                <a:gd name="T16" fmla="*/ 3186 w 3498"/>
                <a:gd name="T17" fmla="*/ 2186 h 2686"/>
                <a:gd name="T18" fmla="*/ 3061 w 3498"/>
                <a:gd name="T19" fmla="*/ 2186 h 2686"/>
                <a:gd name="T20" fmla="*/ 3061 w 3498"/>
                <a:gd name="T21" fmla="*/ 1311 h 2686"/>
                <a:gd name="T22" fmla="*/ 2936 w 3498"/>
                <a:gd name="T23" fmla="*/ 1311 h 2686"/>
                <a:gd name="T24" fmla="*/ 2936 w 3498"/>
                <a:gd name="T25" fmla="*/ 2186 h 2686"/>
                <a:gd name="T26" fmla="*/ 2131 w 3498"/>
                <a:gd name="T27" fmla="*/ 2186 h 2686"/>
                <a:gd name="T28" fmla="*/ 1974 w 3498"/>
                <a:gd name="T29" fmla="*/ 2283 h 2686"/>
                <a:gd name="T30" fmla="*/ 1929 w 3498"/>
                <a:gd name="T31" fmla="*/ 2311 h 2686"/>
                <a:gd name="T32" fmla="*/ 1569 w 3498"/>
                <a:gd name="T33" fmla="*/ 2311 h 2686"/>
                <a:gd name="T34" fmla="*/ 1524 w 3498"/>
                <a:gd name="T35" fmla="*/ 2283 h 2686"/>
                <a:gd name="T36" fmla="*/ 1367 w 3498"/>
                <a:gd name="T37" fmla="*/ 2186 h 2686"/>
                <a:gd name="T38" fmla="*/ 562 w 3498"/>
                <a:gd name="T39" fmla="*/ 2186 h 2686"/>
                <a:gd name="T40" fmla="*/ 562 w 3498"/>
                <a:gd name="T41" fmla="*/ 374 h 2686"/>
                <a:gd name="T42" fmla="*/ 1749 w 3498"/>
                <a:gd name="T43" fmla="*/ 374 h 2686"/>
                <a:gd name="T44" fmla="*/ 1749 w 3498"/>
                <a:gd name="T45" fmla="*/ 249 h 2686"/>
                <a:gd name="T46" fmla="*/ 500 w 3498"/>
                <a:gd name="T47" fmla="*/ 249 h 2686"/>
                <a:gd name="T48" fmla="*/ 437 w 3498"/>
                <a:gd name="T49" fmla="*/ 312 h 2686"/>
                <a:gd name="T50" fmla="*/ 437 w 3498"/>
                <a:gd name="T51" fmla="*/ 2186 h 2686"/>
                <a:gd name="T52" fmla="*/ 312 w 3498"/>
                <a:gd name="T53" fmla="*/ 2186 h 2686"/>
                <a:gd name="T54" fmla="*/ 312 w 3498"/>
                <a:gd name="T55" fmla="*/ 312 h 2686"/>
                <a:gd name="T56" fmla="*/ 500 w 3498"/>
                <a:gd name="T57" fmla="*/ 125 h 2686"/>
                <a:gd name="T58" fmla="*/ 1749 w 3498"/>
                <a:gd name="T59" fmla="*/ 125 h 2686"/>
                <a:gd name="T60" fmla="*/ 1749 w 3498"/>
                <a:gd name="T61" fmla="*/ 0 h 2686"/>
                <a:gd name="T62" fmla="*/ 500 w 3498"/>
                <a:gd name="T63" fmla="*/ 0 h 2686"/>
                <a:gd name="T64" fmla="*/ 187 w 3498"/>
                <a:gd name="T65" fmla="*/ 312 h 2686"/>
                <a:gd name="T66" fmla="*/ 187 w 3498"/>
                <a:gd name="T67" fmla="*/ 2186 h 2686"/>
                <a:gd name="T68" fmla="*/ 62 w 3498"/>
                <a:gd name="T69" fmla="*/ 2186 h 2686"/>
                <a:gd name="T70" fmla="*/ 0 w 3498"/>
                <a:gd name="T71" fmla="*/ 2248 h 2686"/>
                <a:gd name="T72" fmla="*/ 0 w 3498"/>
                <a:gd name="T73" fmla="*/ 2436 h 2686"/>
                <a:gd name="T74" fmla="*/ 250 w 3498"/>
                <a:gd name="T75" fmla="*/ 2686 h 2686"/>
                <a:gd name="T76" fmla="*/ 125 w 3498"/>
                <a:gd name="T77" fmla="*/ 2311 h 2686"/>
                <a:gd name="T78" fmla="*/ 1367 w 3498"/>
                <a:gd name="T79" fmla="*/ 2311 h 2686"/>
                <a:gd name="T80" fmla="*/ 1412 w 3498"/>
                <a:gd name="T81" fmla="*/ 2339 h 2686"/>
                <a:gd name="T82" fmla="*/ 1569 w 3498"/>
                <a:gd name="T83" fmla="*/ 2436 h 2686"/>
                <a:gd name="T84" fmla="*/ 1929 w 3498"/>
                <a:gd name="T85" fmla="*/ 2436 h 2686"/>
                <a:gd name="T86" fmla="*/ 2086 w 3498"/>
                <a:gd name="T87" fmla="*/ 2339 h 2686"/>
                <a:gd name="T88" fmla="*/ 2131 w 3498"/>
                <a:gd name="T89" fmla="*/ 2311 h 2686"/>
                <a:gd name="T90" fmla="*/ 3373 w 3498"/>
                <a:gd name="T91" fmla="*/ 2311 h 2686"/>
                <a:gd name="T92" fmla="*/ 3373 w 3498"/>
                <a:gd name="T93" fmla="*/ 2436 h 2686"/>
                <a:gd name="T94" fmla="*/ 3248 w 3498"/>
                <a:gd name="T95" fmla="*/ 2561 h 2686"/>
                <a:gd name="T96" fmla="*/ 250 w 3498"/>
                <a:gd name="T97" fmla="*/ 2561 h 2686"/>
                <a:gd name="T98" fmla="*/ 125 w 3498"/>
                <a:gd name="T99" fmla="*/ 2436 h 2686"/>
                <a:gd name="T100" fmla="*/ 125 w 3498"/>
                <a:gd name="T101" fmla="*/ 2311 h 26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498" h="2686">
                  <a:moveTo>
                    <a:pt x="250" y="2686"/>
                  </a:moveTo>
                  <a:cubicBezTo>
                    <a:pt x="3248" y="2686"/>
                    <a:pt x="3248" y="2686"/>
                    <a:pt x="3248" y="2686"/>
                  </a:cubicBezTo>
                  <a:cubicBezTo>
                    <a:pt x="3386" y="2686"/>
                    <a:pt x="3498" y="2574"/>
                    <a:pt x="3498" y="2436"/>
                  </a:cubicBezTo>
                  <a:cubicBezTo>
                    <a:pt x="3498" y="2248"/>
                    <a:pt x="3498" y="2248"/>
                    <a:pt x="3498" y="2248"/>
                  </a:cubicBezTo>
                  <a:cubicBezTo>
                    <a:pt x="3498" y="2214"/>
                    <a:pt x="3470" y="2186"/>
                    <a:pt x="3436" y="2186"/>
                  </a:cubicBezTo>
                  <a:cubicBezTo>
                    <a:pt x="3311" y="2186"/>
                    <a:pt x="3311" y="2186"/>
                    <a:pt x="3311" y="2186"/>
                  </a:cubicBezTo>
                  <a:cubicBezTo>
                    <a:pt x="3311" y="1249"/>
                    <a:pt x="3311" y="1249"/>
                    <a:pt x="3311" y="1249"/>
                  </a:cubicBezTo>
                  <a:cubicBezTo>
                    <a:pt x="3186" y="1249"/>
                    <a:pt x="3186" y="1249"/>
                    <a:pt x="3186" y="1249"/>
                  </a:cubicBezTo>
                  <a:cubicBezTo>
                    <a:pt x="3186" y="2186"/>
                    <a:pt x="3186" y="2186"/>
                    <a:pt x="3186" y="2186"/>
                  </a:cubicBezTo>
                  <a:cubicBezTo>
                    <a:pt x="3061" y="2186"/>
                    <a:pt x="3061" y="2186"/>
                    <a:pt x="3061" y="2186"/>
                  </a:cubicBezTo>
                  <a:cubicBezTo>
                    <a:pt x="3061" y="1311"/>
                    <a:pt x="3061" y="1311"/>
                    <a:pt x="3061" y="1311"/>
                  </a:cubicBezTo>
                  <a:cubicBezTo>
                    <a:pt x="2936" y="1311"/>
                    <a:pt x="2936" y="1311"/>
                    <a:pt x="2936" y="1311"/>
                  </a:cubicBezTo>
                  <a:cubicBezTo>
                    <a:pt x="2936" y="2186"/>
                    <a:pt x="2936" y="2186"/>
                    <a:pt x="2936" y="2186"/>
                  </a:cubicBezTo>
                  <a:cubicBezTo>
                    <a:pt x="2131" y="2186"/>
                    <a:pt x="2131" y="2186"/>
                    <a:pt x="2131" y="2186"/>
                  </a:cubicBezTo>
                  <a:cubicBezTo>
                    <a:pt x="2065" y="2186"/>
                    <a:pt x="2004" y="2223"/>
                    <a:pt x="1974" y="2283"/>
                  </a:cubicBezTo>
                  <a:cubicBezTo>
                    <a:pt x="1966" y="2300"/>
                    <a:pt x="1948" y="2311"/>
                    <a:pt x="1929" y="2311"/>
                  </a:cubicBezTo>
                  <a:cubicBezTo>
                    <a:pt x="1569" y="2311"/>
                    <a:pt x="1569" y="2311"/>
                    <a:pt x="1569" y="2311"/>
                  </a:cubicBezTo>
                  <a:cubicBezTo>
                    <a:pt x="1550" y="2311"/>
                    <a:pt x="1532" y="2300"/>
                    <a:pt x="1524" y="2283"/>
                  </a:cubicBezTo>
                  <a:cubicBezTo>
                    <a:pt x="1494" y="2223"/>
                    <a:pt x="1433" y="2186"/>
                    <a:pt x="1367" y="2186"/>
                  </a:cubicBezTo>
                  <a:cubicBezTo>
                    <a:pt x="562" y="2186"/>
                    <a:pt x="562" y="2186"/>
                    <a:pt x="562" y="2186"/>
                  </a:cubicBezTo>
                  <a:cubicBezTo>
                    <a:pt x="562" y="374"/>
                    <a:pt x="562" y="374"/>
                    <a:pt x="562" y="374"/>
                  </a:cubicBezTo>
                  <a:cubicBezTo>
                    <a:pt x="1749" y="374"/>
                    <a:pt x="1749" y="374"/>
                    <a:pt x="1749" y="374"/>
                  </a:cubicBezTo>
                  <a:cubicBezTo>
                    <a:pt x="1749" y="249"/>
                    <a:pt x="1749" y="249"/>
                    <a:pt x="1749" y="249"/>
                  </a:cubicBezTo>
                  <a:cubicBezTo>
                    <a:pt x="500" y="249"/>
                    <a:pt x="500" y="249"/>
                    <a:pt x="500" y="249"/>
                  </a:cubicBezTo>
                  <a:cubicBezTo>
                    <a:pt x="465" y="249"/>
                    <a:pt x="437" y="277"/>
                    <a:pt x="437" y="312"/>
                  </a:cubicBezTo>
                  <a:cubicBezTo>
                    <a:pt x="437" y="2186"/>
                    <a:pt x="437" y="2186"/>
                    <a:pt x="437" y="2186"/>
                  </a:cubicBezTo>
                  <a:cubicBezTo>
                    <a:pt x="312" y="2186"/>
                    <a:pt x="312" y="2186"/>
                    <a:pt x="312" y="2186"/>
                  </a:cubicBezTo>
                  <a:cubicBezTo>
                    <a:pt x="312" y="312"/>
                    <a:pt x="312" y="312"/>
                    <a:pt x="312" y="312"/>
                  </a:cubicBezTo>
                  <a:cubicBezTo>
                    <a:pt x="312" y="208"/>
                    <a:pt x="396" y="125"/>
                    <a:pt x="500" y="125"/>
                  </a:cubicBezTo>
                  <a:cubicBezTo>
                    <a:pt x="1749" y="125"/>
                    <a:pt x="1749" y="125"/>
                    <a:pt x="1749" y="125"/>
                  </a:cubicBezTo>
                  <a:cubicBezTo>
                    <a:pt x="1749" y="0"/>
                    <a:pt x="1749" y="0"/>
                    <a:pt x="1749" y="0"/>
                  </a:cubicBezTo>
                  <a:cubicBezTo>
                    <a:pt x="500" y="0"/>
                    <a:pt x="500" y="0"/>
                    <a:pt x="500" y="0"/>
                  </a:cubicBezTo>
                  <a:cubicBezTo>
                    <a:pt x="327" y="0"/>
                    <a:pt x="188" y="140"/>
                    <a:pt x="187" y="312"/>
                  </a:cubicBezTo>
                  <a:cubicBezTo>
                    <a:pt x="187" y="2186"/>
                    <a:pt x="187" y="2186"/>
                    <a:pt x="187" y="2186"/>
                  </a:cubicBezTo>
                  <a:cubicBezTo>
                    <a:pt x="62" y="2186"/>
                    <a:pt x="62" y="2186"/>
                    <a:pt x="62" y="2186"/>
                  </a:cubicBezTo>
                  <a:cubicBezTo>
                    <a:pt x="28" y="2186"/>
                    <a:pt x="0" y="2214"/>
                    <a:pt x="0" y="2248"/>
                  </a:cubicBezTo>
                  <a:cubicBezTo>
                    <a:pt x="0" y="2436"/>
                    <a:pt x="0" y="2436"/>
                    <a:pt x="0" y="2436"/>
                  </a:cubicBezTo>
                  <a:cubicBezTo>
                    <a:pt x="0" y="2574"/>
                    <a:pt x="112" y="2686"/>
                    <a:pt x="250" y="2686"/>
                  </a:cubicBezTo>
                  <a:moveTo>
                    <a:pt x="125" y="2311"/>
                  </a:moveTo>
                  <a:cubicBezTo>
                    <a:pt x="1367" y="2311"/>
                    <a:pt x="1367" y="2311"/>
                    <a:pt x="1367" y="2311"/>
                  </a:cubicBezTo>
                  <a:cubicBezTo>
                    <a:pt x="1386" y="2311"/>
                    <a:pt x="1404" y="2322"/>
                    <a:pt x="1412" y="2339"/>
                  </a:cubicBezTo>
                  <a:cubicBezTo>
                    <a:pt x="1442" y="2398"/>
                    <a:pt x="1503" y="2436"/>
                    <a:pt x="1569" y="2436"/>
                  </a:cubicBezTo>
                  <a:cubicBezTo>
                    <a:pt x="1929" y="2436"/>
                    <a:pt x="1929" y="2436"/>
                    <a:pt x="1929" y="2436"/>
                  </a:cubicBezTo>
                  <a:cubicBezTo>
                    <a:pt x="1996" y="2436"/>
                    <a:pt x="2056" y="2398"/>
                    <a:pt x="2086" y="2339"/>
                  </a:cubicBezTo>
                  <a:cubicBezTo>
                    <a:pt x="2095" y="2322"/>
                    <a:pt x="2112" y="2311"/>
                    <a:pt x="2131" y="2311"/>
                  </a:cubicBezTo>
                  <a:cubicBezTo>
                    <a:pt x="3373" y="2311"/>
                    <a:pt x="3373" y="2311"/>
                    <a:pt x="3373" y="2311"/>
                  </a:cubicBezTo>
                  <a:cubicBezTo>
                    <a:pt x="3373" y="2436"/>
                    <a:pt x="3373" y="2436"/>
                    <a:pt x="3373" y="2436"/>
                  </a:cubicBezTo>
                  <a:cubicBezTo>
                    <a:pt x="3373" y="2505"/>
                    <a:pt x="3317" y="2561"/>
                    <a:pt x="3248" y="2561"/>
                  </a:cubicBezTo>
                  <a:cubicBezTo>
                    <a:pt x="250" y="2561"/>
                    <a:pt x="250" y="2561"/>
                    <a:pt x="250" y="2561"/>
                  </a:cubicBezTo>
                  <a:cubicBezTo>
                    <a:pt x="181" y="2561"/>
                    <a:pt x="125" y="2505"/>
                    <a:pt x="125" y="2436"/>
                  </a:cubicBezTo>
                  <a:lnTo>
                    <a:pt x="125" y="23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4" name="Rectangle 7">
              <a:extLst>
                <a:ext uri="{FF2B5EF4-FFF2-40B4-BE49-F238E27FC236}">
                  <a16:creationId xmlns:a16="http://schemas.microsoft.com/office/drawing/2014/main" id="{DE180350-2B38-418B-4A60-466C519584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76838" y="6107113"/>
              <a:ext cx="19050" cy="190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5" name="Rectangle 8">
              <a:extLst>
                <a:ext uri="{FF2B5EF4-FFF2-40B4-BE49-F238E27FC236}">
                  <a16:creationId xmlns:a16="http://schemas.microsoft.com/office/drawing/2014/main" id="{4B37651F-029A-F1A6-3939-2291D0554A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14938" y="6107113"/>
              <a:ext cx="19050" cy="190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6" name="Rectangle 9">
              <a:extLst>
                <a:ext uri="{FF2B5EF4-FFF2-40B4-BE49-F238E27FC236}">
                  <a16:creationId xmlns:a16="http://schemas.microsoft.com/office/drawing/2014/main" id="{778E6CE2-9AE8-EB97-324F-D3BF646E60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53038" y="6107113"/>
              <a:ext cx="19050" cy="190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7" name="Freeform 10">
              <a:extLst>
                <a:ext uri="{FF2B5EF4-FFF2-40B4-BE49-F238E27FC236}">
                  <a16:creationId xmlns:a16="http://schemas.microsoft.com/office/drawing/2014/main" id="{533A844E-DD20-1F81-52DB-9D3F307D3DF7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6838" y="6145213"/>
              <a:ext cx="239713" cy="77788"/>
            </a:xfrm>
            <a:custGeom>
              <a:avLst/>
              <a:gdLst>
                <a:gd name="T0" fmla="*/ 1187 w 1562"/>
                <a:gd name="T1" fmla="*/ 125 h 500"/>
                <a:gd name="T2" fmla="*/ 1187 w 1562"/>
                <a:gd name="T3" fmla="*/ 0 h 500"/>
                <a:gd name="T4" fmla="*/ 63 w 1562"/>
                <a:gd name="T5" fmla="*/ 0 h 500"/>
                <a:gd name="T6" fmla="*/ 0 w 1562"/>
                <a:gd name="T7" fmla="*/ 63 h 500"/>
                <a:gd name="T8" fmla="*/ 0 w 1562"/>
                <a:gd name="T9" fmla="*/ 437 h 500"/>
                <a:gd name="T10" fmla="*/ 63 w 1562"/>
                <a:gd name="T11" fmla="*/ 500 h 500"/>
                <a:gd name="T12" fmla="*/ 1562 w 1562"/>
                <a:gd name="T13" fmla="*/ 500 h 500"/>
                <a:gd name="T14" fmla="*/ 1562 w 1562"/>
                <a:gd name="T15" fmla="*/ 375 h 500"/>
                <a:gd name="T16" fmla="*/ 125 w 1562"/>
                <a:gd name="T17" fmla="*/ 375 h 500"/>
                <a:gd name="T18" fmla="*/ 125 w 1562"/>
                <a:gd name="T19" fmla="*/ 125 h 500"/>
                <a:gd name="T20" fmla="*/ 1187 w 1562"/>
                <a:gd name="T21" fmla="*/ 125 h 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62" h="500">
                  <a:moveTo>
                    <a:pt x="1187" y="125"/>
                  </a:moveTo>
                  <a:cubicBezTo>
                    <a:pt x="1187" y="0"/>
                    <a:pt x="1187" y="0"/>
                    <a:pt x="1187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28" y="0"/>
                    <a:pt x="0" y="28"/>
                    <a:pt x="0" y="63"/>
                  </a:cubicBezTo>
                  <a:cubicBezTo>
                    <a:pt x="0" y="437"/>
                    <a:pt x="0" y="437"/>
                    <a:pt x="0" y="437"/>
                  </a:cubicBezTo>
                  <a:cubicBezTo>
                    <a:pt x="0" y="472"/>
                    <a:pt x="28" y="500"/>
                    <a:pt x="63" y="500"/>
                  </a:cubicBezTo>
                  <a:cubicBezTo>
                    <a:pt x="1562" y="500"/>
                    <a:pt x="1562" y="500"/>
                    <a:pt x="1562" y="500"/>
                  </a:cubicBezTo>
                  <a:cubicBezTo>
                    <a:pt x="1562" y="375"/>
                    <a:pt x="1562" y="375"/>
                    <a:pt x="1562" y="375"/>
                  </a:cubicBezTo>
                  <a:cubicBezTo>
                    <a:pt x="125" y="375"/>
                    <a:pt x="125" y="375"/>
                    <a:pt x="125" y="375"/>
                  </a:cubicBezTo>
                  <a:cubicBezTo>
                    <a:pt x="125" y="125"/>
                    <a:pt x="125" y="125"/>
                    <a:pt x="125" y="125"/>
                  </a:cubicBezTo>
                  <a:lnTo>
                    <a:pt x="1187" y="1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8" name="Rectangle 11">
              <a:extLst>
                <a:ext uri="{FF2B5EF4-FFF2-40B4-BE49-F238E27FC236}">
                  <a16:creationId xmlns:a16="http://schemas.microsoft.com/office/drawing/2014/main" id="{E468F841-2B87-C67D-3B33-3E18266197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76838" y="6327775"/>
              <a:ext cx="66675" cy="190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9" name="Rectangle 12">
              <a:extLst>
                <a:ext uri="{FF2B5EF4-FFF2-40B4-BE49-F238E27FC236}">
                  <a16:creationId xmlns:a16="http://schemas.microsoft.com/office/drawing/2014/main" id="{290E0A01-3E2F-7D6E-251F-41FA754A00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62563" y="6327775"/>
              <a:ext cx="66675" cy="190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0" name="Rectangle 13">
              <a:extLst>
                <a:ext uri="{FF2B5EF4-FFF2-40B4-BE49-F238E27FC236}">
                  <a16:creationId xmlns:a16="http://schemas.microsoft.com/office/drawing/2014/main" id="{CB4DF327-4FF2-F030-7B1B-49C0550C4A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49875" y="6327775"/>
              <a:ext cx="66675" cy="190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1" name="Rectangle 14">
              <a:extLst>
                <a:ext uri="{FF2B5EF4-FFF2-40B4-BE49-F238E27FC236}">
                  <a16:creationId xmlns:a16="http://schemas.microsoft.com/office/drawing/2014/main" id="{D61EAD9F-3E74-DF37-0CA2-4DC7773AE8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35600" y="6327775"/>
              <a:ext cx="66675" cy="190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2" name="Freeform 15">
              <a:extLst>
                <a:ext uri="{FF2B5EF4-FFF2-40B4-BE49-F238E27FC236}">
                  <a16:creationId xmlns:a16="http://schemas.microsoft.com/office/drawing/2014/main" id="{81AF8F79-84BF-6466-208E-7B71FE4DF53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62563" y="6242050"/>
              <a:ext cx="66675" cy="66675"/>
            </a:xfrm>
            <a:custGeom>
              <a:avLst/>
              <a:gdLst>
                <a:gd name="T0" fmla="*/ 438 w 438"/>
                <a:gd name="T1" fmla="*/ 62 h 437"/>
                <a:gd name="T2" fmla="*/ 375 w 438"/>
                <a:gd name="T3" fmla="*/ 0 h 437"/>
                <a:gd name="T4" fmla="*/ 63 w 438"/>
                <a:gd name="T5" fmla="*/ 0 h 437"/>
                <a:gd name="T6" fmla="*/ 0 w 438"/>
                <a:gd name="T7" fmla="*/ 62 h 437"/>
                <a:gd name="T8" fmla="*/ 0 w 438"/>
                <a:gd name="T9" fmla="*/ 375 h 437"/>
                <a:gd name="T10" fmla="*/ 63 w 438"/>
                <a:gd name="T11" fmla="*/ 437 h 437"/>
                <a:gd name="T12" fmla="*/ 375 w 438"/>
                <a:gd name="T13" fmla="*/ 437 h 437"/>
                <a:gd name="T14" fmla="*/ 438 w 438"/>
                <a:gd name="T15" fmla="*/ 375 h 437"/>
                <a:gd name="T16" fmla="*/ 438 w 438"/>
                <a:gd name="T17" fmla="*/ 62 h 437"/>
                <a:gd name="T18" fmla="*/ 313 w 438"/>
                <a:gd name="T19" fmla="*/ 312 h 437"/>
                <a:gd name="T20" fmla="*/ 125 w 438"/>
                <a:gd name="T21" fmla="*/ 312 h 437"/>
                <a:gd name="T22" fmla="*/ 125 w 438"/>
                <a:gd name="T23" fmla="*/ 125 h 437"/>
                <a:gd name="T24" fmla="*/ 313 w 438"/>
                <a:gd name="T25" fmla="*/ 125 h 437"/>
                <a:gd name="T26" fmla="*/ 313 w 438"/>
                <a:gd name="T27" fmla="*/ 312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38" h="437">
                  <a:moveTo>
                    <a:pt x="438" y="62"/>
                  </a:moveTo>
                  <a:cubicBezTo>
                    <a:pt x="438" y="28"/>
                    <a:pt x="410" y="0"/>
                    <a:pt x="375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28" y="0"/>
                    <a:pt x="0" y="28"/>
                    <a:pt x="0" y="62"/>
                  </a:cubicBezTo>
                  <a:cubicBezTo>
                    <a:pt x="0" y="375"/>
                    <a:pt x="0" y="375"/>
                    <a:pt x="0" y="375"/>
                  </a:cubicBezTo>
                  <a:cubicBezTo>
                    <a:pt x="0" y="409"/>
                    <a:pt x="28" y="437"/>
                    <a:pt x="63" y="437"/>
                  </a:cubicBezTo>
                  <a:cubicBezTo>
                    <a:pt x="375" y="437"/>
                    <a:pt x="375" y="437"/>
                    <a:pt x="375" y="437"/>
                  </a:cubicBezTo>
                  <a:cubicBezTo>
                    <a:pt x="410" y="437"/>
                    <a:pt x="438" y="409"/>
                    <a:pt x="438" y="375"/>
                  </a:cubicBezTo>
                  <a:lnTo>
                    <a:pt x="438" y="62"/>
                  </a:lnTo>
                  <a:close/>
                  <a:moveTo>
                    <a:pt x="313" y="312"/>
                  </a:moveTo>
                  <a:cubicBezTo>
                    <a:pt x="125" y="312"/>
                    <a:pt x="125" y="312"/>
                    <a:pt x="125" y="312"/>
                  </a:cubicBezTo>
                  <a:cubicBezTo>
                    <a:pt x="125" y="125"/>
                    <a:pt x="125" y="125"/>
                    <a:pt x="125" y="125"/>
                  </a:cubicBezTo>
                  <a:cubicBezTo>
                    <a:pt x="313" y="125"/>
                    <a:pt x="313" y="125"/>
                    <a:pt x="313" y="125"/>
                  </a:cubicBezTo>
                  <a:lnTo>
                    <a:pt x="313" y="3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3" name="Freeform 16">
              <a:extLst>
                <a:ext uri="{FF2B5EF4-FFF2-40B4-BE49-F238E27FC236}">
                  <a16:creationId xmlns:a16="http://schemas.microsoft.com/office/drawing/2014/main" id="{BF6741C9-C3B1-D6C8-6A5C-CD3A957BE1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76838" y="6242050"/>
              <a:ext cx="66675" cy="66675"/>
            </a:xfrm>
            <a:custGeom>
              <a:avLst/>
              <a:gdLst>
                <a:gd name="T0" fmla="*/ 437 w 437"/>
                <a:gd name="T1" fmla="*/ 62 h 437"/>
                <a:gd name="T2" fmla="*/ 375 w 437"/>
                <a:gd name="T3" fmla="*/ 0 h 437"/>
                <a:gd name="T4" fmla="*/ 63 w 437"/>
                <a:gd name="T5" fmla="*/ 0 h 437"/>
                <a:gd name="T6" fmla="*/ 0 w 437"/>
                <a:gd name="T7" fmla="*/ 62 h 437"/>
                <a:gd name="T8" fmla="*/ 0 w 437"/>
                <a:gd name="T9" fmla="*/ 375 h 437"/>
                <a:gd name="T10" fmla="*/ 63 w 437"/>
                <a:gd name="T11" fmla="*/ 437 h 437"/>
                <a:gd name="T12" fmla="*/ 375 w 437"/>
                <a:gd name="T13" fmla="*/ 437 h 437"/>
                <a:gd name="T14" fmla="*/ 437 w 437"/>
                <a:gd name="T15" fmla="*/ 375 h 437"/>
                <a:gd name="T16" fmla="*/ 437 w 437"/>
                <a:gd name="T17" fmla="*/ 62 h 437"/>
                <a:gd name="T18" fmla="*/ 312 w 437"/>
                <a:gd name="T19" fmla="*/ 312 h 437"/>
                <a:gd name="T20" fmla="*/ 125 w 437"/>
                <a:gd name="T21" fmla="*/ 312 h 437"/>
                <a:gd name="T22" fmla="*/ 125 w 437"/>
                <a:gd name="T23" fmla="*/ 125 h 437"/>
                <a:gd name="T24" fmla="*/ 312 w 437"/>
                <a:gd name="T25" fmla="*/ 125 h 437"/>
                <a:gd name="T26" fmla="*/ 312 w 437"/>
                <a:gd name="T27" fmla="*/ 312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37" h="437">
                  <a:moveTo>
                    <a:pt x="437" y="62"/>
                  </a:moveTo>
                  <a:cubicBezTo>
                    <a:pt x="437" y="28"/>
                    <a:pt x="409" y="0"/>
                    <a:pt x="375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28" y="0"/>
                    <a:pt x="0" y="28"/>
                    <a:pt x="0" y="62"/>
                  </a:cubicBezTo>
                  <a:cubicBezTo>
                    <a:pt x="0" y="375"/>
                    <a:pt x="0" y="375"/>
                    <a:pt x="0" y="375"/>
                  </a:cubicBezTo>
                  <a:cubicBezTo>
                    <a:pt x="0" y="409"/>
                    <a:pt x="28" y="437"/>
                    <a:pt x="63" y="437"/>
                  </a:cubicBezTo>
                  <a:cubicBezTo>
                    <a:pt x="375" y="437"/>
                    <a:pt x="375" y="437"/>
                    <a:pt x="375" y="437"/>
                  </a:cubicBezTo>
                  <a:cubicBezTo>
                    <a:pt x="409" y="437"/>
                    <a:pt x="437" y="409"/>
                    <a:pt x="437" y="375"/>
                  </a:cubicBezTo>
                  <a:lnTo>
                    <a:pt x="437" y="62"/>
                  </a:lnTo>
                  <a:close/>
                  <a:moveTo>
                    <a:pt x="312" y="312"/>
                  </a:moveTo>
                  <a:cubicBezTo>
                    <a:pt x="125" y="312"/>
                    <a:pt x="125" y="312"/>
                    <a:pt x="125" y="312"/>
                  </a:cubicBezTo>
                  <a:cubicBezTo>
                    <a:pt x="125" y="125"/>
                    <a:pt x="125" y="125"/>
                    <a:pt x="125" y="125"/>
                  </a:cubicBezTo>
                  <a:cubicBezTo>
                    <a:pt x="312" y="125"/>
                    <a:pt x="312" y="125"/>
                    <a:pt x="312" y="125"/>
                  </a:cubicBezTo>
                  <a:lnTo>
                    <a:pt x="312" y="3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4" name="Freeform 17">
              <a:extLst>
                <a:ext uri="{FF2B5EF4-FFF2-40B4-BE49-F238E27FC236}">
                  <a16:creationId xmlns:a16="http://schemas.microsoft.com/office/drawing/2014/main" id="{C5134CCB-0107-EA00-D2B7-265443BDBB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35600" y="6242050"/>
              <a:ext cx="66675" cy="66675"/>
            </a:xfrm>
            <a:custGeom>
              <a:avLst/>
              <a:gdLst>
                <a:gd name="T0" fmla="*/ 375 w 437"/>
                <a:gd name="T1" fmla="*/ 437 h 437"/>
                <a:gd name="T2" fmla="*/ 437 w 437"/>
                <a:gd name="T3" fmla="*/ 375 h 437"/>
                <a:gd name="T4" fmla="*/ 437 w 437"/>
                <a:gd name="T5" fmla="*/ 62 h 437"/>
                <a:gd name="T6" fmla="*/ 375 w 437"/>
                <a:gd name="T7" fmla="*/ 0 h 437"/>
                <a:gd name="T8" fmla="*/ 62 w 437"/>
                <a:gd name="T9" fmla="*/ 0 h 437"/>
                <a:gd name="T10" fmla="*/ 0 w 437"/>
                <a:gd name="T11" fmla="*/ 62 h 437"/>
                <a:gd name="T12" fmla="*/ 0 w 437"/>
                <a:gd name="T13" fmla="*/ 375 h 437"/>
                <a:gd name="T14" fmla="*/ 62 w 437"/>
                <a:gd name="T15" fmla="*/ 437 h 437"/>
                <a:gd name="T16" fmla="*/ 375 w 437"/>
                <a:gd name="T17" fmla="*/ 437 h 437"/>
                <a:gd name="T18" fmla="*/ 125 w 437"/>
                <a:gd name="T19" fmla="*/ 125 h 437"/>
                <a:gd name="T20" fmla="*/ 312 w 437"/>
                <a:gd name="T21" fmla="*/ 125 h 437"/>
                <a:gd name="T22" fmla="*/ 312 w 437"/>
                <a:gd name="T23" fmla="*/ 312 h 437"/>
                <a:gd name="T24" fmla="*/ 125 w 437"/>
                <a:gd name="T25" fmla="*/ 312 h 437"/>
                <a:gd name="T26" fmla="*/ 125 w 437"/>
                <a:gd name="T27" fmla="*/ 125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37" h="437">
                  <a:moveTo>
                    <a:pt x="375" y="437"/>
                  </a:moveTo>
                  <a:cubicBezTo>
                    <a:pt x="409" y="437"/>
                    <a:pt x="437" y="409"/>
                    <a:pt x="437" y="375"/>
                  </a:cubicBezTo>
                  <a:cubicBezTo>
                    <a:pt x="437" y="62"/>
                    <a:pt x="437" y="62"/>
                    <a:pt x="437" y="62"/>
                  </a:cubicBezTo>
                  <a:cubicBezTo>
                    <a:pt x="437" y="28"/>
                    <a:pt x="409" y="0"/>
                    <a:pt x="375" y="0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28" y="0"/>
                    <a:pt x="0" y="28"/>
                    <a:pt x="0" y="62"/>
                  </a:cubicBezTo>
                  <a:cubicBezTo>
                    <a:pt x="0" y="375"/>
                    <a:pt x="0" y="375"/>
                    <a:pt x="0" y="375"/>
                  </a:cubicBezTo>
                  <a:cubicBezTo>
                    <a:pt x="0" y="409"/>
                    <a:pt x="28" y="437"/>
                    <a:pt x="62" y="437"/>
                  </a:cubicBezTo>
                  <a:lnTo>
                    <a:pt x="375" y="437"/>
                  </a:lnTo>
                  <a:close/>
                  <a:moveTo>
                    <a:pt x="125" y="125"/>
                  </a:moveTo>
                  <a:cubicBezTo>
                    <a:pt x="312" y="125"/>
                    <a:pt x="312" y="125"/>
                    <a:pt x="312" y="125"/>
                  </a:cubicBezTo>
                  <a:cubicBezTo>
                    <a:pt x="312" y="312"/>
                    <a:pt x="312" y="312"/>
                    <a:pt x="312" y="312"/>
                  </a:cubicBezTo>
                  <a:cubicBezTo>
                    <a:pt x="125" y="312"/>
                    <a:pt x="125" y="312"/>
                    <a:pt x="125" y="312"/>
                  </a:cubicBezTo>
                  <a:lnTo>
                    <a:pt x="125" y="1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5" name="Freeform 18">
              <a:extLst>
                <a:ext uri="{FF2B5EF4-FFF2-40B4-BE49-F238E27FC236}">
                  <a16:creationId xmlns:a16="http://schemas.microsoft.com/office/drawing/2014/main" id="{48A35034-D80A-862E-2CD5-C12C84A0158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49875" y="6242050"/>
              <a:ext cx="66675" cy="66675"/>
            </a:xfrm>
            <a:custGeom>
              <a:avLst/>
              <a:gdLst>
                <a:gd name="T0" fmla="*/ 437 w 437"/>
                <a:gd name="T1" fmla="*/ 62 h 437"/>
                <a:gd name="T2" fmla="*/ 374 w 437"/>
                <a:gd name="T3" fmla="*/ 0 h 437"/>
                <a:gd name="T4" fmla="*/ 62 w 437"/>
                <a:gd name="T5" fmla="*/ 0 h 437"/>
                <a:gd name="T6" fmla="*/ 0 w 437"/>
                <a:gd name="T7" fmla="*/ 62 h 437"/>
                <a:gd name="T8" fmla="*/ 0 w 437"/>
                <a:gd name="T9" fmla="*/ 375 h 437"/>
                <a:gd name="T10" fmla="*/ 62 w 437"/>
                <a:gd name="T11" fmla="*/ 437 h 437"/>
                <a:gd name="T12" fmla="*/ 374 w 437"/>
                <a:gd name="T13" fmla="*/ 437 h 437"/>
                <a:gd name="T14" fmla="*/ 437 w 437"/>
                <a:gd name="T15" fmla="*/ 375 h 437"/>
                <a:gd name="T16" fmla="*/ 437 w 437"/>
                <a:gd name="T17" fmla="*/ 62 h 437"/>
                <a:gd name="T18" fmla="*/ 312 w 437"/>
                <a:gd name="T19" fmla="*/ 312 h 437"/>
                <a:gd name="T20" fmla="*/ 124 w 437"/>
                <a:gd name="T21" fmla="*/ 312 h 437"/>
                <a:gd name="T22" fmla="*/ 124 w 437"/>
                <a:gd name="T23" fmla="*/ 125 h 437"/>
                <a:gd name="T24" fmla="*/ 312 w 437"/>
                <a:gd name="T25" fmla="*/ 125 h 437"/>
                <a:gd name="T26" fmla="*/ 312 w 437"/>
                <a:gd name="T27" fmla="*/ 312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37" h="437">
                  <a:moveTo>
                    <a:pt x="437" y="62"/>
                  </a:moveTo>
                  <a:cubicBezTo>
                    <a:pt x="437" y="28"/>
                    <a:pt x="409" y="0"/>
                    <a:pt x="374" y="0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27" y="0"/>
                    <a:pt x="0" y="28"/>
                    <a:pt x="0" y="62"/>
                  </a:cubicBezTo>
                  <a:cubicBezTo>
                    <a:pt x="0" y="375"/>
                    <a:pt x="0" y="375"/>
                    <a:pt x="0" y="375"/>
                  </a:cubicBezTo>
                  <a:cubicBezTo>
                    <a:pt x="0" y="409"/>
                    <a:pt x="27" y="437"/>
                    <a:pt x="62" y="437"/>
                  </a:cubicBezTo>
                  <a:cubicBezTo>
                    <a:pt x="374" y="437"/>
                    <a:pt x="374" y="437"/>
                    <a:pt x="374" y="437"/>
                  </a:cubicBezTo>
                  <a:cubicBezTo>
                    <a:pt x="409" y="437"/>
                    <a:pt x="437" y="409"/>
                    <a:pt x="437" y="375"/>
                  </a:cubicBezTo>
                  <a:lnTo>
                    <a:pt x="437" y="62"/>
                  </a:lnTo>
                  <a:close/>
                  <a:moveTo>
                    <a:pt x="312" y="312"/>
                  </a:moveTo>
                  <a:cubicBezTo>
                    <a:pt x="124" y="312"/>
                    <a:pt x="124" y="312"/>
                    <a:pt x="124" y="312"/>
                  </a:cubicBezTo>
                  <a:cubicBezTo>
                    <a:pt x="124" y="125"/>
                    <a:pt x="124" y="125"/>
                    <a:pt x="124" y="125"/>
                  </a:cubicBezTo>
                  <a:cubicBezTo>
                    <a:pt x="312" y="125"/>
                    <a:pt x="312" y="125"/>
                    <a:pt x="312" y="125"/>
                  </a:cubicBezTo>
                  <a:lnTo>
                    <a:pt x="312" y="3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6" name="Freeform 19">
              <a:extLst>
                <a:ext uri="{FF2B5EF4-FFF2-40B4-BE49-F238E27FC236}">
                  <a16:creationId xmlns:a16="http://schemas.microsoft.com/office/drawing/2014/main" id="{C862CB8A-CC4C-9C47-56A6-0985FB474E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59400" y="5924550"/>
              <a:ext cx="287338" cy="288925"/>
            </a:xfrm>
            <a:custGeom>
              <a:avLst/>
              <a:gdLst>
                <a:gd name="T0" fmla="*/ 937 w 1874"/>
                <a:gd name="T1" fmla="*/ 0 h 1874"/>
                <a:gd name="T2" fmla="*/ 0 w 1874"/>
                <a:gd name="T3" fmla="*/ 937 h 1874"/>
                <a:gd name="T4" fmla="*/ 937 w 1874"/>
                <a:gd name="T5" fmla="*/ 1874 h 1874"/>
                <a:gd name="T6" fmla="*/ 1874 w 1874"/>
                <a:gd name="T7" fmla="*/ 937 h 1874"/>
                <a:gd name="T8" fmla="*/ 937 w 1874"/>
                <a:gd name="T9" fmla="*/ 0 h 1874"/>
                <a:gd name="T10" fmla="*/ 937 w 1874"/>
                <a:gd name="T11" fmla="*/ 1750 h 1874"/>
                <a:gd name="T12" fmla="*/ 125 w 1874"/>
                <a:gd name="T13" fmla="*/ 937 h 1874"/>
                <a:gd name="T14" fmla="*/ 937 w 1874"/>
                <a:gd name="T15" fmla="*/ 125 h 1874"/>
                <a:gd name="T16" fmla="*/ 1749 w 1874"/>
                <a:gd name="T17" fmla="*/ 937 h 1874"/>
                <a:gd name="T18" fmla="*/ 937 w 1874"/>
                <a:gd name="T19" fmla="*/ 1750 h 18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74" h="1874">
                  <a:moveTo>
                    <a:pt x="937" y="0"/>
                  </a:moveTo>
                  <a:cubicBezTo>
                    <a:pt x="420" y="0"/>
                    <a:pt x="0" y="420"/>
                    <a:pt x="0" y="937"/>
                  </a:cubicBezTo>
                  <a:cubicBezTo>
                    <a:pt x="0" y="1455"/>
                    <a:pt x="420" y="1874"/>
                    <a:pt x="937" y="1874"/>
                  </a:cubicBezTo>
                  <a:cubicBezTo>
                    <a:pt x="1455" y="1874"/>
                    <a:pt x="1874" y="1455"/>
                    <a:pt x="1874" y="937"/>
                  </a:cubicBezTo>
                  <a:cubicBezTo>
                    <a:pt x="1873" y="420"/>
                    <a:pt x="1454" y="1"/>
                    <a:pt x="937" y="0"/>
                  </a:cubicBezTo>
                  <a:moveTo>
                    <a:pt x="937" y="1750"/>
                  </a:moveTo>
                  <a:cubicBezTo>
                    <a:pt x="489" y="1750"/>
                    <a:pt x="125" y="1386"/>
                    <a:pt x="125" y="937"/>
                  </a:cubicBezTo>
                  <a:cubicBezTo>
                    <a:pt x="125" y="489"/>
                    <a:pt x="489" y="125"/>
                    <a:pt x="937" y="125"/>
                  </a:cubicBezTo>
                  <a:cubicBezTo>
                    <a:pt x="1386" y="125"/>
                    <a:pt x="1749" y="489"/>
                    <a:pt x="1749" y="937"/>
                  </a:cubicBezTo>
                  <a:cubicBezTo>
                    <a:pt x="1749" y="1386"/>
                    <a:pt x="1385" y="1749"/>
                    <a:pt x="937" y="175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7" name="Freeform 20">
              <a:extLst>
                <a:ext uri="{FF2B5EF4-FFF2-40B4-BE49-F238E27FC236}">
                  <a16:creationId xmlns:a16="http://schemas.microsoft.com/office/drawing/2014/main" id="{CF6605AD-7369-AA16-FC3B-9507CEAB4F4A}"/>
                </a:ext>
              </a:extLst>
            </p:cNvPr>
            <p:cNvSpPr>
              <a:spLocks/>
            </p:cNvSpPr>
            <p:nvPr/>
          </p:nvSpPr>
          <p:spPr bwMode="auto">
            <a:xfrm>
              <a:off x="5416550" y="5961063"/>
              <a:ext cx="131763" cy="157163"/>
            </a:xfrm>
            <a:custGeom>
              <a:avLst/>
              <a:gdLst>
                <a:gd name="T0" fmla="*/ 563 w 862"/>
                <a:gd name="T1" fmla="*/ 260 h 1020"/>
                <a:gd name="T2" fmla="*/ 645 w 862"/>
                <a:gd name="T3" fmla="*/ 269 h 1020"/>
                <a:gd name="T4" fmla="*/ 553 w 862"/>
                <a:gd name="T5" fmla="*/ 327 h 1020"/>
                <a:gd name="T6" fmla="*/ 620 w 862"/>
                <a:gd name="T7" fmla="*/ 433 h 1020"/>
                <a:gd name="T8" fmla="*/ 831 w 862"/>
                <a:gd name="T9" fmla="*/ 300 h 1020"/>
                <a:gd name="T10" fmla="*/ 859 w 862"/>
                <a:gd name="T11" fmla="*/ 259 h 1020"/>
                <a:gd name="T12" fmla="*/ 848 w 862"/>
                <a:gd name="T13" fmla="*/ 210 h 1020"/>
                <a:gd name="T14" fmla="*/ 694 w 862"/>
                <a:gd name="T15" fmla="*/ 0 h 1020"/>
                <a:gd name="T16" fmla="*/ 593 w 862"/>
                <a:gd name="T17" fmla="*/ 73 h 1020"/>
                <a:gd name="T18" fmla="*/ 643 w 862"/>
                <a:gd name="T19" fmla="*/ 141 h 1020"/>
                <a:gd name="T20" fmla="*/ 194 w 862"/>
                <a:gd name="T21" fmla="*/ 272 h 1020"/>
                <a:gd name="T22" fmla="*/ 1 w 862"/>
                <a:gd name="T23" fmla="*/ 697 h 1020"/>
                <a:gd name="T24" fmla="*/ 103 w 862"/>
                <a:gd name="T25" fmla="*/ 1020 h 1020"/>
                <a:gd name="T26" fmla="*/ 205 w 862"/>
                <a:gd name="T27" fmla="*/ 948 h 1020"/>
                <a:gd name="T28" fmla="*/ 175 w 862"/>
                <a:gd name="T29" fmla="*/ 496 h 1020"/>
                <a:gd name="T30" fmla="*/ 563 w 862"/>
                <a:gd name="T31" fmla="*/ 260 h 10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62" h="1020">
                  <a:moveTo>
                    <a:pt x="563" y="260"/>
                  </a:moveTo>
                  <a:cubicBezTo>
                    <a:pt x="591" y="260"/>
                    <a:pt x="618" y="263"/>
                    <a:pt x="645" y="269"/>
                  </a:cubicBezTo>
                  <a:cubicBezTo>
                    <a:pt x="553" y="327"/>
                    <a:pt x="553" y="327"/>
                    <a:pt x="553" y="327"/>
                  </a:cubicBezTo>
                  <a:cubicBezTo>
                    <a:pt x="620" y="433"/>
                    <a:pt x="620" y="433"/>
                    <a:pt x="620" y="433"/>
                  </a:cubicBezTo>
                  <a:cubicBezTo>
                    <a:pt x="831" y="300"/>
                    <a:pt x="831" y="300"/>
                    <a:pt x="831" y="300"/>
                  </a:cubicBezTo>
                  <a:cubicBezTo>
                    <a:pt x="845" y="291"/>
                    <a:pt x="855" y="276"/>
                    <a:pt x="859" y="259"/>
                  </a:cubicBezTo>
                  <a:cubicBezTo>
                    <a:pt x="862" y="242"/>
                    <a:pt x="858" y="224"/>
                    <a:pt x="848" y="210"/>
                  </a:cubicBezTo>
                  <a:cubicBezTo>
                    <a:pt x="694" y="0"/>
                    <a:pt x="694" y="0"/>
                    <a:pt x="694" y="0"/>
                  </a:cubicBezTo>
                  <a:cubicBezTo>
                    <a:pt x="593" y="73"/>
                    <a:pt x="593" y="73"/>
                    <a:pt x="593" y="73"/>
                  </a:cubicBezTo>
                  <a:cubicBezTo>
                    <a:pt x="643" y="141"/>
                    <a:pt x="643" y="141"/>
                    <a:pt x="643" y="141"/>
                  </a:cubicBezTo>
                  <a:cubicBezTo>
                    <a:pt x="482" y="117"/>
                    <a:pt x="318" y="165"/>
                    <a:pt x="194" y="272"/>
                  </a:cubicBezTo>
                  <a:cubicBezTo>
                    <a:pt x="71" y="379"/>
                    <a:pt x="0" y="534"/>
                    <a:pt x="1" y="697"/>
                  </a:cubicBezTo>
                  <a:cubicBezTo>
                    <a:pt x="1" y="813"/>
                    <a:pt x="36" y="926"/>
                    <a:pt x="103" y="1020"/>
                  </a:cubicBezTo>
                  <a:cubicBezTo>
                    <a:pt x="205" y="948"/>
                    <a:pt x="205" y="948"/>
                    <a:pt x="205" y="948"/>
                  </a:cubicBezTo>
                  <a:cubicBezTo>
                    <a:pt x="111" y="815"/>
                    <a:pt x="100" y="640"/>
                    <a:pt x="175" y="496"/>
                  </a:cubicBezTo>
                  <a:cubicBezTo>
                    <a:pt x="250" y="351"/>
                    <a:pt x="400" y="260"/>
                    <a:pt x="563" y="26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8" name="Freeform 21">
              <a:extLst>
                <a:ext uri="{FF2B5EF4-FFF2-40B4-BE49-F238E27FC236}">
                  <a16:creationId xmlns:a16="http://schemas.microsoft.com/office/drawing/2014/main" id="{F1E3FF4B-29E3-89B7-0303-92B8EE989988}"/>
                </a:ext>
              </a:extLst>
            </p:cNvPr>
            <p:cNvSpPr>
              <a:spLocks/>
            </p:cNvSpPr>
            <p:nvPr/>
          </p:nvSpPr>
          <p:spPr bwMode="auto">
            <a:xfrm>
              <a:off x="5456238" y="6018213"/>
              <a:ext cx="138113" cy="157163"/>
            </a:xfrm>
            <a:custGeom>
              <a:avLst/>
              <a:gdLst>
                <a:gd name="T0" fmla="*/ 657 w 894"/>
                <a:gd name="T1" fmla="*/ 72 h 1021"/>
                <a:gd name="T2" fmla="*/ 686 w 894"/>
                <a:gd name="T3" fmla="*/ 525 h 1021"/>
                <a:gd name="T4" fmla="*/ 298 w 894"/>
                <a:gd name="T5" fmla="*/ 760 h 1021"/>
                <a:gd name="T6" fmla="*/ 216 w 894"/>
                <a:gd name="T7" fmla="*/ 752 h 1021"/>
                <a:gd name="T8" fmla="*/ 308 w 894"/>
                <a:gd name="T9" fmla="*/ 694 h 1021"/>
                <a:gd name="T10" fmla="*/ 242 w 894"/>
                <a:gd name="T11" fmla="*/ 588 h 1021"/>
                <a:gd name="T12" fmla="*/ 31 w 894"/>
                <a:gd name="T13" fmla="*/ 721 h 1021"/>
                <a:gd name="T14" fmla="*/ 3 w 894"/>
                <a:gd name="T15" fmla="*/ 762 h 1021"/>
                <a:gd name="T16" fmla="*/ 14 w 894"/>
                <a:gd name="T17" fmla="*/ 810 h 1021"/>
                <a:gd name="T18" fmla="*/ 167 w 894"/>
                <a:gd name="T19" fmla="*/ 1021 h 1021"/>
                <a:gd name="T20" fmla="*/ 268 w 894"/>
                <a:gd name="T21" fmla="*/ 947 h 1021"/>
                <a:gd name="T22" fmla="*/ 218 w 894"/>
                <a:gd name="T23" fmla="*/ 879 h 1021"/>
                <a:gd name="T24" fmla="*/ 777 w 894"/>
                <a:gd name="T25" fmla="*/ 617 h 1021"/>
                <a:gd name="T26" fmla="*/ 759 w 894"/>
                <a:gd name="T27" fmla="*/ 0 h 1021"/>
                <a:gd name="T28" fmla="*/ 657 w 894"/>
                <a:gd name="T29" fmla="*/ 72 h 10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94" h="1021">
                  <a:moveTo>
                    <a:pt x="657" y="72"/>
                  </a:moveTo>
                  <a:cubicBezTo>
                    <a:pt x="750" y="206"/>
                    <a:pt x="762" y="380"/>
                    <a:pt x="686" y="525"/>
                  </a:cubicBezTo>
                  <a:cubicBezTo>
                    <a:pt x="611" y="670"/>
                    <a:pt x="462" y="761"/>
                    <a:pt x="298" y="760"/>
                  </a:cubicBezTo>
                  <a:cubicBezTo>
                    <a:pt x="271" y="760"/>
                    <a:pt x="243" y="757"/>
                    <a:pt x="216" y="752"/>
                  </a:cubicBezTo>
                  <a:cubicBezTo>
                    <a:pt x="308" y="694"/>
                    <a:pt x="308" y="694"/>
                    <a:pt x="308" y="694"/>
                  </a:cubicBezTo>
                  <a:cubicBezTo>
                    <a:pt x="242" y="588"/>
                    <a:pt x="242" y="588"/>
                    <a:pt x="242" y="588"/>
                  </a:cubicBezTo>
                  <a:cubicBezTo>
                    <a:pt x="31" y="721"/>
                    <a:pt x="31" y="721"/>
                    <a:pt x="31" y="721"/>
                  </a:cubicBezTo>
                  <a:cubicBezTo>
                    <a:pt x="16" y="730"/>
                    <a:pt x="6" y="745"/>
                    <a:pt x="3" y="762"/>
                  </a:cubicBezTo>
                  <a:cubicBezTo>
                    <a:pt x="0" y="779"/>
                    <a:pt x="3" y="796"/>
                    <a:pt x="14" y="810"/>
                  </a:cubicBezTo>
                  <a:cubicBezTo>
                    <a:pt x="167" y="1021"/>
                    <a:pt x="167" y="1021"/>
                    <a:pt x="167" y="1021"/>
                  </a:cubicBezTo>
                  <a:cubicBezTo>
                    <a:pt x="268" y="947"/>
                    <a:pt x="268" y="947"/>
                    <a:pt x="268" y="947"/>
                  </a:cubicBezTo>
                  <a:cubicBezTo>
                    <a:pt x="218" y="879"/>
                    <a:pt x="218" y="879"/>
                    <a:pt x="218" y="879"/>
                  </a:cubicBezTo>
                  <a:cubicBezTo>
                    <a:pt x="440" y="911"/>
                    <a:pt x="659" y="808"/>
                    <a:pt x="777" y="617"/>
                  </a:cubicBezTo>
                  <a:cubicBezTo>
                    <a:pt x="894" y="426"/>
                    <a:pt x="887" y="184"/>
                    <a:pt x="759" y="0"/>
                  </a:cubicBezTo>
                  <a:lnTo>
                    <a:pt x="657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99" name="Group 98">
            <a:extLst>
              <a:ext uri="{FF2B5EF4-FFF2-40B4-BE49-F238E27FC236}">
                <a16:creationId xmlns:a16="http://schemas.microsoft.com/office/drawing/2014/main" id="{669D8D2A-BE2F-C5B5-D047-6B3D959BF160}"/>
              </a:ext>
            </a:extLst>
          </p:cNvPr>
          <p:cNvGrpSpPr/>
          <p:nvPr/>
        </p:nvGrpSpPr>
        <p:grpSpPr>
          <a:xfrm>
            <a:off x="4375463" y="2562889"/>
            <a:ext cx="416963" cy="417819"/>
            <a:chOff x="2174875" y="4595813"/>
            <a:chExt cx="771525" cy="773113"/>
          </a:xfrm>
          <a:solidFill>
            <a:schemeClr val="bg1"/>
          </a:solidFill>
        </p:grpSpPr>
        <p:sp>
          <p:nvSpPr>
            <p:cNvPr id="100" name="Freeform 24">
              <a:extLst>
                <a:ext uri="{FF2B5EF4-FFF2-40B4-BE49-F238E27FC236}">
                  <a16:creationId xmlns:a16="http://schemas.microsoft.com/office/drawing/2014/main" id="{2651B135-457C-C91F-3074-D08CDAD3E2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17775" y="5100638"/>
              <a:ext cx="77788" cy="77788"/>
            </a:xfrm>
            <a:custGeom>
              <a:avLst/>
              <a:gdLst>
                <a:gd name="T0" fmla="*/ 121 w 242"/>
                <a:gd name="T1" fmla="*/ 0 h 242"/>
                <a:gd name="T2" fmla="*/ 0 w 242"/>
                <a:gd name="T3" fmla="*/ 121 h 242"/>
                <a:gd name="T4" fmla="*/ 121 w 242"/>
                <a:gd name="T5" fmla="*/ 242 h 242"/>
                <a:gd name="T6" fmla="*/ 242 w 242"/>
                <a:gd name="T7" fmla="*/ 121 h 242"/>
                <a:gd name="T8" fmla="*/ 121 w 242"/>
                <a:gd name="T9" fmla="*/ 0 h 242"/>
                <a:gd name="T10" fmla="*/ 121 w 242"/>
                <a:gd name="T11" fmla="*/ 149 h 242"/>
                <a:gd name="T12" fmla="*/ 93 w 242"/>
                <a:gd name="T13" fmla="*/ 121 h 242"/>
                <a:gd name="T14" fmla="*/ 121 w 242"/>
                <a:gd name="T15" fmla="*/ 93 h 242"/>
                <a:gd name="T16" fmla="*/ 149 w 242"/>
                <a:gd name="T17" fmla="*/ 121 h 242"/>
                <a:gd name="T18" fmla="*/ 121 w 242"/>
                <a:gd name="T19" fmla="*/ 149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2" h="242">
                  <a:moveTo>
                    <a:pt x="121" y="0"/>
                  </a:moveTo>
                  <a:cubicBezTo>
                    <a:pt x="54" y="0"/>
                    <a:pt x="0" y="54"/>
                    <a:pt x="0" y="121"/>
                  </a:cubicBezTo>
                  <a:cubicBezTo>
                    <a:pt x="0" y="188"/>
                    <a:pt x="54" y="242"/>
                    <a:pt x="121" y="242"/>
                  </a:cubicBezTo>
                  <a:cubicBezTo>
                    <a:pt x="188" y="242"/>
                    <a:pt x="242" y="188"/>
                    <a:pt x="242" y="121"/>
                  </a:cubicBezTo>
                  <a:cubicBezTo>
                    <a:pt x="242" y="54"/>
                    <a:pt x="188" y="0"/>
                    <a:pt x="121" y="0"/>
                  </a:cubicBezTo>
                  <a:close/>
                  <a:moveTo>
                    <a:pt x="121" y="149"/>
                  </a:moveTo>
                  <a:cubicBezTo>
                    <a:pt x="106" y="149"/>
                    <a:pt x="93" y="137"/>
                    <a:pt x="93" y="121"/>
                  </a:cubicBezTo>
                  <a:cubicBezTo>
                    <a:pt x="93" y="106"/>
                    <a:pt x="106" y="93"/>
                    <a:pt x="121" y="93"/>
                  </a:cubicBezTo>
                  <a:cubicBezTo>
                    <a:pt x="136" y="93"/>
                    <a:pt x="149" y="106"/>
                    <a:pt x="149" y="121"/>
                  </a:cubicBezTo>
                  <a:cubicBezTo>
                    <a:pt x="149" y="137"/>
                    <a:pt x="136" y="149"/>
                    <a:pt x="121" y="1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1" name="Freeform 25">
              <a:extLst>
                <a:ext uri="{FF2B5EF4-FFF2-40B4-BE49-F238E27FC236}">
                  <a16:creationId xmlns:a16="http://schemas.microsoft.com/office/drawing/2014/main" id="{0E62B840-B4D5-AB55-C533-45DB4136E33E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2713" y="5046663"/>
              <a:ext cx="30163" cy="30163"/>
            </a:xfrm>
            <a:custGeom>
              <a:avLst/>
              <a:gdLst>
                <a:gd name="T0" fmla="*/ 79 w 93"/>
                <a:gd name="T1" fmla="*/ 14 h 93"/>
                <a:gd name="T2" fmla="*/ 46 w 93"/>
                <a:gd name="T3" fmla="*/ 0 h 93"/>
                <a:gd name="T4" fmla="*/ 13 w 93"/>
                <a:gd name="T5" fmla="*/ 14 h 93"/>
                <a:gd name="T6" fmla="*/ 0 w 93"/>
                <a:gd name="T7" fmla="*/ 47 h 93"/>
                <a:gd name="T8" fmla="*/ 13 w 93"/>
                <a:gd name="T9" fmla="*/ 80 h 93"/>
                <a:gd name="T10" fmla="*/ 46 w 93"/>
                <a:gd name="T11" fmla="*/ 93 h 93"/>
                <a:gd name="T12" fmla="*/ 79 w 93"/>
                <a:gd name="T13" fmla="*/ 80 h 93"/>
                <a:gd name="T14" fmla="*/ 93 w 93"/>
                <a:gd name="T15" fmla="*/ 47 h 93"/>
                <a:gd name="T16" fmla="*/ 79 w 93"/>
                <a:gd name="T17" fmla="*/ 14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3" h="93">
                  <a:moveTo>
                    <a:pt x="79" y="14"/>
                  </a:moveTo>
                  <a:cubicBezTo>
                    <a:pt x="71" y="5"/>
                    <a:pt x="59" y="0"/>
                    <a:pt x="46" y="0"/>
                  </a:cubicBezTo>
                  <a:cubicBezTo>
                    <a:pt x="34" y="0"/>
                    <a:pt x="22" y="5"/>
                    <a:pt x="13" y="14"/>
                  </a:cubicBezTo>
                  <a:cubicBezTo>
                    <a:pt x="5" y="23"/>
                    <a:pt x="0" y="35"/>
                    <a:pt x="0" y="47"/>
                  </a:cubicBezTo>
                  <a:cubicBezTo>
                    <a:pt x="0" y="59"/>
                    <a:pt x="5" y="71"/>
                    <a:pt x="13" y="80"/>
                  </a:cubicBezTo>
                  <a:cubicBezTo>
                    <a:pt x="22" y="89"/>
                    <a:pt x="34" y="93"/>
                    <a:pt x="46" y="93"/>
                  </a:cubicBezTo>
                  <a:cubicBezTo>
                    <a:pt x="59" y="93"/>
                    <a:pt x="71" y="89"/>
                    <a:pt x="79" y="80"/>
                  </a:cubicBezTo>
                  <a:cubicBezTo>
                    <a:pt x="88" y="71"/>
                    <a:pt x="93" y="59"/>
                    <a:pt x="93" y="47"/>
                  </a:cubicBezTo>
                  <a:cubicBezTo>
                    <a:pt x="93" y="35"/>
                    <a:pt x="88" y="23"/>
                    <a:pt x="79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2" name="Freeform 26">
              <a:extLst>
                <a:ext uri="{FF2B5EF4-FFF2-40B4-BE49-F238E27FC236}">
                  <a16:creationId xmlns:a16="http://schemas.microsoft.com/office/drawing/2014/main" id="{B995F45D-12A2-A200-FCE5-E5383D97DF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74875" y="4595813"/>
              <a:ext cx="771525" cy="773113"/>
            </a:xfrm>
            <a:custGeom>
              <a:avLst/>
              <a:gdLst>
                <a:gd name="T0" fmla="*/ 2099 w 2382"/>
                <a:gd name="T1" fmla="*/ 675 h 2387"/>
                <a:gd name="T2" fmla="*/ 1377 w 2382"/>
                <a:gd name="T3" fmla="*/ 19 h 2387"/>
                <a:gd name="T4" fmla="*/ 537 w 2382"/>
                <a:gd name="T5" fmla="*/ 7 h 2387"/>
                <a:gd name="T6" fmla="*/ 310 w 2382"/>
                <a:gd name="T7" fmla="*/ 675 h 2387"/>
                <a:gd name="T8" fmla="*/ 0 w 2382"/>
                <a:gd name="T9" fmla="*/ 870 h 2387"/>
                <a:gd name="T10" fmla="*/ 0 w 2382"/>
                <a:gd name="T11" fmla="*/ 882 h 2387"/>
                <a:gd name="T12" fmla="*/ 233 w 2382"/>
                <a:gd name="T13" fmla="*/ 2387 h 2387"/>
                <a:gd name="T14" fmla="*/ 1900 w 2382"/>
                <a:gd name="T15" fmla="*/ 2387 h 2387"/>
                <a:gd name="T16" fmla="*/ 2382 w 2382"/>
                <a:gd name="T17" fmla="*/ 2154 h 2387"/>
                <a:gd name="T18" fmla="*/ 2149 w 2382"/>
                <a:gd name="T19" fmla="*/ 675 h 2387"/>
                <a:gd name="T20" fmla="*/ 2149 w 2382"/>
                <a:gd name="T21" fmla="*/ 768 h 2387"/>
                <a:gd name="T22" fmla="*/ 2289 w 2382"/>
                <a:gd name="T23" fmla="*/ 1280 h 2387"/>
                <a:gd name="T24" fmla="*/ 2130 w 2382"/>
                <a:gd name="T25" fmla="*/ 1391 h 2387"/>
                <a:gd name="T26" fmla="*/ 1903 w 2382"/>
                <a:gd name="T27" fmla="*/ 973 h 2387"/>
                <a:gd name="T28" fmla="*/ 1256 w 2382"/>
                <a:gd name="T29" fmla="*/ 272 h 2387"/>
                <a:gd name="T30" fmla="*/ 1410 w 2382"/>
                <a:gd name="T31" fmla="*/ 118 h 2387"/>
                <a:gd name="T32" fmla="*/ 1773 w 2382"/>
                <a:gd name="T33" fmla="*/ 971 h 2387"/>
                <a:gd name="T34" fmla="*/ 1799 w 2382"/>
                <a:gd name="T35" fmla="*/ 860 h 2387"/>
                <a:gd name="T36" fmla="*/ 1799 w 2382"/>
                <a:gd name="T37" fmla="*/ 658 h 2387"/>
                <a:gd name="T38" fmla="*/ 1544 w 2382"/>
                <a:gd name="T39" fmla="*/ 337 h 2387"/>
                <a:gd name="T40" fmla="*/ 1342 w 2382"/>
                <a:gd name="T41" fmla="*/ 337 h 2387"/>
                <a:gd name="T42" fmla="*/ 642 w 2382"/>
                <a:gd name="T43" fmla="*/ 971 h 2387"/>
                <a:gd name="T44" fmla="*/ 1256 w 2382"/>
                <a:gd name="T45" fmla="*/ 272 h 2387"/>
                <a:gd name="T46" fmla="*/ 902 w 2382"/>
                <a:gd name="T47" fmla="*/ 971 h 2387"/>
                <a:gd name="T48" fmla="*/ 1313 w 2382"/>
                <a:gd name="T49" fmla="*/ 431 h 2387"/>
                <a:gd name="T50" fmla="*/ 1704 w 2382"/>
                <a:gd name="T51" fmla="*/ 629 h 2387"/>
                <a:gd name="T52" fmla="*/ 1556 w 2382"/>
                <a:gd name="T53" fmla="*/ 971 h 2387"/>
                <a:gd name="T54" fmla="*/ 1119 w 2382"/>
                <a:gd name="T55" fmla="*/ 796 h 2387"/>
                <a:gd name="T56" fmla="*/ 999 w 2382"/>
                <a:gd name="T57" fmla="*/ 971 h 2387"/>
                <a:gd name="T58" fmla="*/ 1239 w 2382"/>
                <a:gd name="T59" fmla="*/ 971 h 2387"/>
                <a:gd name="T60" fmla="*/ 631 w 2382"/>
                <a:gd name="T61" fmla="*/ 429 h 2387"/>
                <a:gd name="T62" fmla="*/ 799 w 2382"/>
                <a:gd name="T63" fmla="*/ 332 h 2387"/>
                <a:gd name="T64" fmla="*/ 704 w 2382"/>
                <a:gd name="T65" fmla="*/ 692 h 2387"/>
                <a:gd name="T66" fmla="*/ 558 w 2382"/>
                <a:gd name="T67" fmla="*/ 109 h 2387"/>
                <a:gd name="T68" fmla="*/ 1084 w 2382"/>
                <a:gd name="T69" fmla="*/ 312 h 2387"/>
                <a:gd name="T70" fmla="*/ 748 w 2382"/>
                <a:gd name="T71" fmla="*/ 236 h 2387"/>
                <a:gd name="T72" fmla="*/ 681 w 2382"/>
                <a:gd name="T73" fmla="*/ 323 h 2387"/>
                <a:gd name="T74" fmla="*/ 551 w 2382"/>
                <a:gd name="T75" fmla="*/ 366 h 2387"/>
                <a:gd name="T76" fmla="*/ 326 w 2382"/>
                <a:gd name="T77" fmla="*/ 973 h 2387"/>
                <a:gd name="T78" fmla="*/ 196 w 2382"/>
                <a:gd name="T79" fmla="*/ 768 h 2387"/>
                <a:gd name="T80" fmla="*/ 230 w 2382"/>
                <a:gd name="T81" fmla="*/ 973 h 2387"/>
                <a:gd name="T82" fmla="*/ 93 w 2382"/>
                <a:gd name="T83" fmla="*/ 870 h 2387"/>
                <a:gd name="T84" fmla="*/ 2289 w 2382"/>
                <a:gd name="T85" fmla="*/ 2154 h 2387"/>
                <a:gd name="T86" fmla="*/ 2084 w 2382"/>
                <a:gd name="T87" fmla="*/ 2293 h 2387"/>
                <a:gd name="T88" fmla="*/ 2130 w 2382"/>
                <a:gd name="T89" fmla="*/ 1967 h 2387"/>
                <a:gd name="T90" fmla="*/ 2289 w 2382"/>
                <a:gd name="T91" fmla="*/ 1925 h 2387"/>
                <a:gd name="T92" fmla="*/ 2289 w 2382"/>
                <a:gd name="T93" fmla="*/ 1744 h 2387"/>
                <a:gd name="T94" fmla="*/ 1182 w 2382"/>
                <a:gd name="T95" fmla="*/ 1874 h 2387"/>
                <a:gd name="T96" fmla="*/ 1182 w 2382"/>
                <a:gd name="T97" fmla="*/ 1484 h 2387"/>
                <a:gd name="T98" fmla="*/ 1369 w 2382"/>
                <a:gd name="T99" fmla="*/ 1437 h 2387"/>
                <a:gd name="T100" fmla="*/ 1182 w 2382"/>
                <a:gd name="T101" fmla="*/ 1391 h 2387"/>
                <a:gd name="T102" fmla="*/ 1182 w 2382"/>
                <a:gd name="T103" fmla="*/ 1967 h 2387"/>
                <a:gd name="T104" fmla="*/ 2037 w 2382"/>
                <a:gd name="T105" fmla="*/ 2154 h 2387"/>
                <a:gd name="T106" fmla="*/ 317 w 2382"/>
                <a:gd name="T107" fmla="*/ 2294 h 2387"/>
                <a:gd name="T108" fmla="*/ 270 w 2382"/>
                <a:gd name="T109" fmla="*/ 1723 h 2387"/>
                <a:gd name="T110" fmla="*/ 224 w 2382"/>
                <a:gd name="T111" fmla="*/ 2293 h 2387"/>
                <a:gd name="T112" fmla="*/ 93 w 2382"/>
                <a:gd name="T113" fmla="*/ 1037 h 2387"/>
                <a:gd name="T114" fmla="*/ 1898 w 2382"/>
                <a:gd name="T115" fmla="*/ 1066 h 2387"/>
                <a:gd name="T116" fmla="*/ 2037 w 2382"/>
                <a:gd name="T117" fmla="*/ 1391 h 2387"/>
                <a:gd name="T118" fmla="*/ 1655 w 2382"/>
                <a:gd name="T119" fmla="*/ 1437 h 2387"/>
                <a:gd name="T120" fmla="*/ 2178 w 2382"/>
                <a:gd name="T121" fmla="*/ 1484 h 2387"/>
                <a:gd name="T122" fmla="*/ 2289 w 2382"/>
                <a:gd name="T123" fmla="*/ 1744 h 2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82" h="2387">
                  <a:moveTo>
                    <a:pt x="2149" y="675"/>
                  </a:moveTo>
                  <a:cubicBezTo>
                    <a:pt x="2099" y="675"/>
                    <a:pt x="2099" y="675"/>
                    <a:pt x="2099" y="675"/>
                  </a:cubicBezTo>
                  <a:cubicBezTo>
                    <a:pt x="1443" y="19"/>
                    <a:pt x="1443" y="19"/>
                    <a:pt x="1443" y="19"/>
                  </a:cubicBezTo>
                  <a:cubicBezTo>
                    <a:pt x="1425" y="1"/>
                    <a:pt x="1395" y="1"/>
                    <a:pt x="1377" y="19"/>
                  </a:cubicBezTo>
                  <a:cubicBezTo>
                    <a:pt x="1209" y="187"/>
                    <a:pt x="1209" y="187"/>
                    <a:pt x="1209" y="187"/>
                  </a:cubicBezTo>
                  <a:cubicBezTo>
                    <a:pt x="537" y="7"/>
                    <a:pt x="537" y="7"/>
                    <a:pt x="537" y="7"/>
                  </a:cubicBezTo>
                  <a:cubicBezTo>
                    <a:pt x="512" y="0"/>
                    <a:pt x="487" y="15"/>
                    <a:pt x="480" y="40"/>
                  </a:cubicBezTo>
                  <a:cubicBezTo>
                    <a:pt x="310" y="675"/>
                    <a:pt x="310" y="675"/>
                    <a:pt x="310" y="675"/>
                  </a:cubicBezTo>
                  <a:cubicBezTo>
                    <a:pt x="196" y="675"/>
                    <a:pt x="196" y="675"/>
                    <a:pt x="196" y="675"/>
                  </a:cubicBezTo>
                  <a:cubicBezTo>
                    <a:pt x="88" y="675"/>
                    <a:pt x="0" y="763"/>
                    <a:pt x="0" y="870"/>
                  </a:cubicBezTo>
                  <a:cubicBezTo>
                    <a:pt x="0" y="873"/>
                    <a:pt x="1" y="876"/>
                    <a:pt x="1" y="878"/>
                  </a:cubicBezTo>
                  <a:cubicBezTo>
                    <a:pt x="1" y="879"/>
                    <a:pt x="0" y="881"/>
                    <a:pt x="0" y="882"/>
                  </a:cubicBezTo>
                  <a:cubicBezTo>
                    <a:pt x="0" y="2154"/>
                    <a:pt x="0" y="2154"/>
                    <a:pt x="0" y="2154"/>
                  </a:cubicBezTo>
                  <a:cubicBezTo>
                    <a:pt x="0" y="2282"/>
                    <a:pt x="105" y="2387"/>
                    <a:pt x="233" y="2387"/>
                  </a:cubicBezTo>
                  <a:cubicBezTo>
                    <a:pt x="1898" y="2387"/>
                    <a:pt x="1898" y="2387"/>
                    <a:pt x="1898" y="2387"/>
                  </a:cubicBezTo>
                  <a:cubicBezTo>
                    <a:pt x="1899" y="2387"/>
                    <a:pt x="1899" y="2387"/>
                    <a:pt x="1900" y="2387"/>
                  </a:cubicBezTo>
                  <a:cubicBezTo>
                    <a:pt x="2149" y="2387"/>
                    <a:pt x="2149" y="2387"/>
                    <a:pt x="2149" y="2387"/>
                  </a:cubicBezTo>
                  <a:cubicBezTo>
                    <a:pt x="2277" y="2387"/>
                    <a:pt x="2382" y="2282"/>
                    <a:pt x="2382" y="2154"/>
                  </a:cubicBezTo>
                  <a:cubicBezTo>
                    <a:pt x="2382" y="908"/>
                    <a:pt x="2382" y="908"/>
                    <a:pt x="2382" y="908"/>
                  </a:cubicBezTo>
                  <a:cubicBezTo>
                    <a:pt x="2382" y="779"/>
                    <a:pt x="2277" y="675"/>
                    <a:pt x="2149" y="675"/>
                  </a:cubicBezTo>
                  <a:close/>
                  <a:moveTo>
                    <a:pt x="2107" y="768"/>
                  </a:moveTo>
                  <a:cubicBezTo>
                    <a:pt x="2149" y="768"/>
                    <a:pt x="2149" y="768"/>
                    <a:pt x="2149" y="768"/>
                  </a:cubicBezTo>
                  <a:cubicBezTo>
                    <a:pt x="2226" y="768"/>
                    <a:pt x="2289" y="831"/>
                    <a:pt x="2289" y="908"/>
                  </a:cubicBezTo>
                  <a:cubicBezTo>
                    <a:pt x="2289" y="1280"/>
                    <a:pt x="2289" y="1280"/>
                    <a:pt x="2289" y="1280"/>
                  </a:cubicBezTo>
                  <a:cubicBezTo>
                    <a:pt x="2289" y="1341"/>
                    <a:pt x="2239" y="1391"/>
                    <a:pt x="2178" y="1391"/>
                  </a:cubicBezTo>
                  <a:cubicBezTo>
                    <a:pt x="2130" y="1391"/>
                    <a:pt x="2130" y="1391"/>
                    <a:pt x="2130" y="1391"/>
                  </a:cubicBezTo>
                  <a:cubicBezTo>
                    <a:pt x="2130" y="1205"/>
                    <a:pt x="2130" y="1205"/>
                    <a:pt x="2130" y="1205"/>
                  </a:cubicBezTo>
                  <a:cubicBezTo>
                    <a:pt x="2130" y="1079"/>
                    <a:pt x="2029" y="975"/>
                    <a:pt x="1903" y="973"/>
                  </a:cubicBezTo>
                  <a:lnTo>
                    <a:pt x="2107" y="768"/>
                  </a:lnTo>
                  <a:close/>
                  <a:moveTo>
                    <a:pt x="1256" y="272"/>
                  </a:moveTo>
                  <a:cubicBezTo>
                    <a:pt x="1256" y="272"/>
                    <a:pt x="1256" y="272"/>
                    <a:pt x="1256" y="272"/>
                  </a:cubicBezTo>
                  <a:cubicBezTo>
                    <a:pt x="1410" y="118"/>
                    <a:pt x="1410" y="118"/>
                    <a:pt x="1410" y="118"/>
                  </a:cubicBezTo>
                  <a:cubicBezTo>
                    <a:pt x="2018" y="726"/>
                    <a:pt x="2018" y="726"/>
                    <a:pt x="2018" y="726"/>
                  </a:cubicBezTo>
                  <a:cubicBezTo>
                    <a:pt x="1773" y="971"/>
                    <a:pt x="1773" y="971"/>
                    <a:pt x="1773" y="971"/>
                  </a:cubicBezTo>
                  <a:cubicBezTo>
                    <a:pt x="1688" y="971"/>
                    <a:pt x="1688" y="971"/>
                    <a:pt x="1688" y="971"/>
                  </a:cubicBezTo>
                  <a:cubicBezTo>
                    <a:pt x="1799" y="860"/>
                    <a:pt x="1799" y="860"/>
                    <a:pt x="1799" y="860"/>
                  </a:cubicBezTo>
                  <a:cubicBezTo>
                    <a:pt x="1817" y="842"/>
                    <a:pt x="1817" y="812"/>
                    <a:pt x="1799" y="794"/>
                  </a:cubicBezTo>
                  <a:cubicBezTo>
                    <a:pt x="1761" y="756"/>
                    <a:pt x="1761" y="695"/>
                    <a:pt x="1799" y="658"/>
                  </a:cubicBezTo>
                  <a:cubicBezTo>
                    <a:pt x="1817" y="639"/>
                    <a:pt x="1817" y="610"/>
                    <a:pt x="1799" y="592"/>
                  </a:cubicBezTo>
                  <a:cubicBezTo>
                    <a:pt x="1544" y="337"/>
                    <a:pt x="1544" y="337"/>
                    <a:pt x="1544" y="337"/>
                  </a:cubicBezTo>
                  <a:cubicBezTo>
                    <a:pt x="1526" y="319"/>
                    <a:pt x="1496" y="319"/>
                    <a:pt x="1478" y="337"/>
                  </a:cubicBezTo>
                  <a:cubicBezTo>
                    <a:pt x="1441" y="374"/>
                    <a:pt x="1379" y="374"/>
                    <a:pt x="1342" y="337"/>
                  </a:cubicBezTo>
                  <a:cubicBezTo>
                    <a:pt x="1324" y="319"/>
                    <a:pt x="1294" y="319"/>
                    <a:pt x="1276" y="337"/>
                  </a:cubicBezTo>
                  <a:cubicBezTo>
                    <a:pt x="642" y="971"/>
                    <a:pt x="642" y="971"/>
                    <a:pt x="642" y="971"/>
                  </a:cubicBezTo>
                  <a:cubicBezTo>
                    <a:pt x="557" y="971"/>
                    <a:pt x="557" y="971"/>
                    <a:pt x="557" y="971"/>
                  </a:cubicBezTo>
                  <a:lnTo>
                    <a:pt x="1256" y="272"/>
                  </a:lnTo>
                  <a:close/>
                  <a:moveTo>
                    <a:pt x="1119" y="796"/>
                  </a:moveTo>
                  <a:cubicBezTo>
                    <a:pt x="1013" y="796"/>
                    <a:pt x="924" y="871"/>
                    <a:pt x="902" y="971"/>
                  </a:cubicBezTo>
                  <a:cubicBezTo>
                    <a:pt x="773" y="971"/>
                    <a:pt x="773" y="971"/>
                    <a:pt x="773" y="971"/>
                  </a:cubicBezTo>
                  <a:cubicBezTo>
                    <a:pt x="1313" y="431"/>
                    <a:pt x="1313" y="431"/>
                    <a:pt x="1313" y="431"/>
                  </a:cubicBezTo>
                  <a:cubicBezTo>
                    <a:pt x="1372" y="467"/>
                    <a:pt x="1447" y="467"/>
                    <a:pt x="1507" y="431"/>
                  </a:cubicBezTo>
                  <a:cubicBezTo>
                    <a:pt x="1704" y="629"/>
                    <a:pt x="1704" y="629"/>
                    <a:pt x="1704" y="629"/>
                  </a:cubicBezTo>
                  <a:cubicBezTo>
                    <a:pt x="1669" y="688"/>
                    <a:pt x="1669" y="763"/>
                    <a:pt x="1704" y="823"/>
                  </a:cubicBezTo>
                  <a:cubicBezTo>
                    <a:pt x="1556" y="971"/>
                    <a:pt x="1556" y="971"/>
                    <a:pt x="1556" y="971"/>
                  </a:cubicBezTo>
                  <a:cubicBezTo>
                    <a:pt x="1336" y="971"/>
                    <a:pt x="1336" y="971"/>
                    <a:pt x="1336" y="971"/>
                  </a:cubicBezTo>
                  <a:cubicBezTo>
                    <a:pt x="1314" y="871"/>
                    <a:pt x="1225" y="796"/>
                    <a:pt x="1119" y="796"/>
                  </a:cubicBezTo>
                  <a:close/>
                  <a:moveTo>
                    <a:pt x="1239" y="971"/>
                  </a:moveTo>
                  <a:cubicBezTo>
                    <a:pt x="999" y="971"/>
                    <a:pt x="999" y="971"/>
                    <a:pt x="999" y="971"/>
                  </a:cubicBezTo>
                  <a:cubicBezTo>
                    <a:pt x="1018" y="923"/>
                    <a:pt x="1065" y="889"/>
                    <a:pt x="1119" y="889"/>
                  </a:cubicBezTo>
                  <a:cubicBezTo>
                    <a:pt x="1173" y="889"/>
                    <a:pt x="1220" y="923"/>
                    <a:pt x="1239" y="971"/>
                  </a:cubicBezTo>
                  <a:close/>
                  <a:moveTo>
                    <a:pt x="507" y="889"/>
                  </a:moveTo>
                  <a:cubicBezTo>
                    <a:pt x="631" y="429"/>
                    <a:pt x="631" y="429"/>
                    <a:pt x="631" y="429"/>
                  </a:cubicBezTo>
                  <a:cubicBezTo>
                    <a:pt x="664" y="430"/>
                    <a:pt x="698" y="421"/>
                    <a:pt x="728" y="404"/>
                  </a:cubicBezTo>
                  <a:cubicBezTo>
                    <a:pt x="758" y="386"/>
                    <a:pt x="782" y="362"/>
                    <a:pt x="799" y="332"/>
                  </a:cubicBezTo>
                  <a:cubicBezTo>
                    <a:pt x="1008" y="388"/>
                    <a:pt x="1008" y="388"/>
                    <a:pt x="1008" y="388"/>
                  </a:cubicBezTo>
                  <a:cubicBezTo>
                    <a:pt x="704" y="692"/>
                    <a:pt x="704" y="692"/>
                    <a:pt x="704" y="692"/>
                  </a:cubicBezTo>
                  <a:lnTo>
                    <a:pt x="507" y="889"/>
                  </a:lnTo>
                  <a:close/>
                  <a:moveTo>
                    <a:pt x="558" y="109"/>
                  </a:moveTo>
                  <a:cubicBezTo>
                    <a:pt x="1133" y="263"/>
                    <a:pt x="1133" y="263"/>
                    <a:pt x="1133" y="263"/>
                  </a:cubicBezTo>
                  <a:cubicBezTo>
                    <a:pt x="1084" y="312"/>
                    <a:pt x="1084" y="312"/>
                    <a:pt x="1084" y="312"/>
                  </a:cubicBezTo>
                  <a:cubicBezTo>
                    <a:pt x="783" y="232"/>
                    <a:pt x="783" y="232"/>
                    <a:pt x="783" y="232"/>
                  </a:cubicBezTo>
                  <a:cubicBezTo>
                    <a:pt x="771" y="228"/>
                    <a:pt x="759" y="230"/>
                    <a:pt x="748" y="236"/>
                  </a:cubicBezTo>
                  <a:cubicBezTo>
                    <a:pt x="737" y="242"/>
                    <a:pt x="730" y="253"/>
                    <a:pt x="726" y="265"/>
                  </a:cubicBezTo>
                  <a:cubicBezTo>
                    <a:pt x="720" y="289"/>
                    <a:pt x="704" y="310"/>
                    <a:pt x="681" y="323"/>
                  </a:cubicBezTo>
                  <a:cubicBezTo>
                    <a:pt x="659" y="336"/>
                    <a:pt x="633" y="339"/>
                    <a:pt x="608" y="333"/>
                  </a:cubicBezTo>
                  <a:cubicBezTo>
                    <a:pt x="583" y="326"/>
                    <a:pt x="558" y="341"/>
                    <a:pt x="551" y="366"/>
                  </a:cubicBezTo>
                  <a:cubicBezTo>
                    <a:pt x="389" y="973"/>
                    <a:pt x="389" y="973"/>
                    <a:pt x="389" y="973"/>
                  </a:cubicBezTo>
                  <a:cubicBezTo>
                    <a:pt x="326" y="973"/>
                    <a:pt x="326" y="973"/>
                    <a:pt x="326" y="973"/>
                  </a:cubicBezTo>
                  <a:lnTo>
                    <a:pt x="558" y="109"/>
                  </a:lnTo>
                  <a:close/>
                  <a:moveTo>
                    <a:pt x="196" y="768"/>
                  </a:moveTo>
                  <a:cubicBezTo>
                    <a:pt x="285" y="768"/>
                    <a:pt x="285" y="768"/>
                    <a:pt x="285" y="768"/>
                  </a:cubicBezTo>
                  <a:cubicBezTo>
                    <a:pt x="230" y="973"/>
                    <a:pt x="230" y="973"/>
                    <a:pt x="230" y="973"/>
                  </a:cubicBezTo>
                  <a:cubicBezTo>
                    <a:pt x="196" y="973"/>
                    <a:pt x="196" y="973"/>
                    <a:pt x="196" y="973"/>
                  </a:cubicBezTo>
                  <a:cubicBezTo>
                    <a:pt x="139" y="973"/>
                    <a:pt x="93" y="927"/>
                    <a:pt x="93" y="870"/>
                  </a:cubicBezTo>
                  <a:cubicBezTo>
                    <a:pt x="93" y="814"/>
                    <a:pt x="139" y="768"/>
                    <a:pt x="196" y="768"/>
                  </a:cubicBezTo>
                  <a:close/>
                  <a:moveTo>
                    <a:pt x="2289" y="2154"/>
                  </a:moveTo>
                  <a:cubicBezTo>
                    <a:pt x="2289" y="2231"/>
                    <a:pt x="2226" y="2293"/>
                    <a:pt x="2149" y="2293"/>
                  </a:cubicBezTo>
                  <a:cubicBezTo>
                    <a:pt x="2084" y="2293"/>
                    <a:pt x="2084" y="2293"/>
                    <a:pt x="2084" y="2293"/>
                  </a:cubicBezTo>
                  <a:cubicBezTo>
                    <a:pt x="2113" y="2255"/>
                    <a:pt x="2130" y="2206"/>
                    <a:pt x="2130" y="2154"/>
                  </a:cubicBezTo>
                  <a:cubicBezTo>
                    <a:pt x="2130" y="1967"/>
                    <a:pt x="2130" y="1967"/>
                    <a:pt x="2130" y="1967"/>
                  </a:cubicBezTo>
                  <a:cubicBezTo>
                    <a:pt x="2158" y="1967"/>
                    <a:pt x="2158" y="1967"/>
                    <a:pt x="2158" y="1967"/>
                  </a:cubicBezTo>
                  <a:cubicBezTo>
                    <a:pt x="2207" y="1967"/>
                    <a:pt x="2252" y="1952"/>
                    <a:pt x="2289" y="1925"/>
                  </a:cubicBezTo>
                  <a:lnTo>
                    <a:pt x="2289" y="2154"/>
                  </a:lnTo>
                  <a:close/>
                  <a:moveTo>
                    <a:pt x="2289" y="1744"/>
                  </a:moveTo>
                  <a:cubicBezTo>
                    <a:pt x="2289" y="1816"/>
                    <a:pt x="2230" y="1874"/>
                    <a:pt x="2158" y="1874"/>
                  </a:cubicBezTo>
                  <a:cubicBezTo>
                    <a:pt x="1182" y="1874"/>
                    <a:pt x="1182" y="1874"/>
                    <a:pt x="1182" y="1874"/>
                  </a:cubicBezTo>
                  <a:cubicBezTo>
                    <a:pt x="1074" y="1874"/>
                    <a:pt x="986" y="1787"/>
                    <a:pt x="986" y="1679"/>
                  </a:cubicBezTo>
                  <a:cubicBezTo>
                    <a:pt x="986" y="1571"/>
                    <a:pt x="1074" y="1484"/>
                    <a:pt x="1182" y="1484"/>
                  </a:cubicBezTo>
                  <a:cubicBezTo>
                    <a:pt x="1323" y="1484"/>
                    <a:pt x="1323" y="1484"/>
                    <a:pt x="1323" y="1484"/>
                  </a:cubicBezTo>
                  <a:cubicBezTo>
                    <a:pt x="1348" y="1484"/>
                    <a:pt x="1369" y="1463"/>
                    <a:pt x="1369" y="1437"/>
                  </a:cubicBezTo>
                  <a:cubicBezTo>
                    <a:pt x="1369" y="1411"/>
                    <a:pt x="1348" y="1391"/>
                    <a:pt x="1323" y="1391"/>
                  </a:cubicBezTo>
                  <a:cubicBezTo>
                    <a:pt x="1182" y="1391"/>
                    <a:pt x="1182" y="1391"/>
                    <a:pt x="1182" y="1391"/>
                  </a:cubicBezTo>
                  <a:cubicBezTo>
                    <a:pt x="1023" y="1391"/>
                    <a:pt x="893" y="1520"/>
                    <a:pt x="893" y="1679"/>
                  </a:cubicBezTo>
                  <a:cubicBezTo>
                    <a:pt x="893" y="1838"/>
                    <a:pt x="1023" y="1967"/>
                    <a:pt x="1182" y="1967"/>
                  </a:cubicBezTo>
                  <a:cubicBezTo>
                    <a:pt x="2037" y="1967"/>
                    <a:pt x="2037" y="1967"/>
                    <a:pt x="2037" y="1967"/>
                  </a:cubicBezTo>
                  <a:cubicBezTo>
                    <a:pt x="2037" y="2154"/>
                    <a:pt x="2037" y="2154"/>
                    <a:pt x="2037" y="2154"/>
                  </a:cubicBezTo>
                  <a:cubicBezTo>
                    <a:pt x="2037" y="2230"/>
                    <a:pt x="1976" y="2292"/>
                    <a:pt x="1900" y="2294"/>
                  </a:cubicBezTo>
                  <a:cubicBezTo>
                    <a:pt x="317" y="2294"/>
                    <a:pt x="317" y="2294"/>
                    <a:pt x="317" y="2294"/>
                  </a:cubicBezTo>
                  <a:cubicBezTo>
                    <a:pt x="317" y="1770"/>
                    <a:pt x="317" y="1770"/>
                    <a:pt x="317" y="1770"/>
                  </a:cubicBezTo>
                  <a:cubicBezTo>
                    <a:pt x="317" y="1744"/>
                    <a:pt x="296" y="1723"/>
                    <a:pt x="270" y="1723"/>
                  </a:cubicBezTo>
                  <a:cubicBezTo>
                    <a:pt x="245" y="1723"/>
                    <a:pt x="224" y="1744"/>
                    <a:pt x="224" y="1770"/>
                  </a:cubicBezTo>
                  <a:cubicBezTo>
                    <a:pt x="224" y="2293"/>
                    <a:pt x="224" y="2293"/>
                    <a:pt x="224" y="2293"/>
                  </a:cubicBezTo>
                  <a:cubicBezTo>
                    <a:pt x="151" y="2288"/>
                    <a:pt x="93" y="2228"/>
                    <a:pt x="93" y="2154"/>
                  </a:cubicBezTo>
                  <a:cubicBezTo>
                    <a:pt x="93" y="1037"/>
                    <a:pt x="93" y="1037"/>
                    <a:pt x="93" y="1037"/>
                  </a:cubicBezTo>
                  <a:cubicBezTo>
                    <a:pt x="123" y="1055"/>
                    <a:pt x="158" y="1066"/>
                    <a:pt x="196" y="1066"/>
                  </a:cubicBezTo>
                  <a:cubicBezTo>
                    <a:pt x="1898" y="1066"/>
                    <a:pt x="1898" y="1066"/>
                    <a:pt x="1898" y="1066"/>
                  </a:cubicBezTo>
                  <a:cubicBezTo>
                    <a:pt x="1975" y="1066"/>
                    <a:pt x="2037" y="1128"/>
                    <a:pt x="2037" y="1205"/>
                  </a:cubicBezTo>
                  <a:cubicBezTo>
                    <a:pt x="2037" y="1391"/>
                    <a:pt x="2037" y="1391"/>
                    <a:pt x="2037" y="1391"/>
                  </a:cubicBezTo>
                  <a:cubicBezTo>
                    <a:pt x="1701" y="1391"/>
                    <a:pt x="1701" y="1391"/>
                    <a:pt x="1701" y="1391"/>
                  </a:cubicBezTo>
                  <a:cubicBezTo>
                    <a:pt x="1675" y="1391"/>
                    <a:pt x="1655" y="1411"/>
                    <a:pt x="1655" y="1437"/>
                  </a:cubicBezTo>
                  <a:cubicBezTo>
                    <a:pt x="1655" y="1463"/>
                    <a:pt x="1675" y="1484"/>
                    <a:pt x="1701" y="1484"/>
                  </a:cubicBezTo>
                  <a:cubicBezTo>
                    <a:pt x="2178" y="1484"/>
                    <a:pt x="2178" y="1484"/>
                    <a:pt x="2178" y="1484"/>
                  </a:cubicBezTo>
                  <a:cubicBezTo>
                    <a:pt x="2219" y="1484"/>
                    <a:pt x="2257" y="1472"/>
                    <a:pt x="2289" y="1451"/>
                  </a:cubicBezTo>
                  <a:cubicBezTo>
                    <a:pt x="2289" y="1744"/>
                    <a:pt x="2289" y="1744"/>
                    <a:pt x="2289" y="17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3" name="Freeform 27">
              <a:extLst>
                <a:ext uri="{FF2B5EF4-FFF2-40B4-BE49-F238E27FC236}">
                  <a16:creationId xmlns:a16="http://schemas.microsoft.com/office/drawing/2014/main" id="{B6439DAD-94B9-9ADC-3267-791924FBD8D2}"/>
                </a:ext>
              </a:extLst>
            </p:cNvPr>
            <p:cNvSpPr>
              <a:spLocks/>
            </p:cNvSpPr>
            <p:nvPr/>
          </p:nvSpPr>
          <p:spPr bwMode="auto">
            <a:xfrm>
              <a:off x="2247900" y="5095875"/>
              <a:ext cx="30163" cy="30163"/>
            </a:xfrm>
            <a:custGeom>
              <a:avLst/>
              <a:gdLst>
                <a:gd name="T0" fmla="*/ 79 w 93"/>
                <a:gd name="T1" fmla="*/ 14 h 93"/>
                <a:gd name="T2" fmla="*/ 46 w 93"/>
                <a:gd name="T3" fmla="*/ 0 h 93"/>
                <a:gd name="T4" fmla="*/ 13 w 93"/>
                <a:gd name="T5" fmla="*/ 14 h 93"/>
                <a:gd name="T6" fmla="*/ 0 w 93"/>
                <a:gd name="T7" fmla="*/ 46 h 93"/>
                <a:gd name="T8" fmla="*/ 13 w 93"/>
                <a:gd name="T9" fmla="*/ 79 h 93"/>
                <a:gd name="T10" fmla="*/ 46 w 93"/>
                <a:gd name="T11" fmla="*/ 93 h 93"/>
                <a:gd name="T12" fmla="*/ 79 w 93"/>
                <a:gd name="T13" fmla="*/ 79 h 93"/>
                <a:gd name="T14" fmla="*/ 93 w 93"/>
                <a:gd name="T15" fmla="*/ 46 h 93"/>
                <a:gd name="T16" fmla="*/ 79 w 93"/>
                <a:gd name="T17" fmla="*/ 14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3" h="93">
                  <a:moveTo>
                    <a:pt x="79" y="14"/>
                  </a:moveTo>
                  <a:cubicBezTo>
                    <a:pt x="70" y="5"/>
                    <a:pt x="58" y="0"/>
                    <a:pt x="46" y="0"/>
                  </a:cubicBezTo>
                  <a:cubicBezTo>
                    <a:pt x="34" y="0"/>
                    <a:pt x="22" y="5"/>
                    <a:pt x="13" y="14"/>
                  </a:cubicBezTo>
                  <a:cubicBezTo>
                    <a:pt x="5" y="22"/>
                    <a:pt x="0" y="34"/>
                    <a:pt x="0" y="46"/>
                  </a:cubicBezTo>
                  <a:cubicBezTo>
                    <a:pt x="0" y="59"/>
                    <a:pt x="5" y="71"/>
                    <a:pt x="13" y="79"/>
                  </a:cubicBezTo>
                  <a:cubicBezTo>
                    <a:pt x="22" y="88"/>
                    <a:pt x="34" y="93"/>
                    <a:pt x="46" y="93"/>
                  </a:cubicBezTo>
                  <a:cubicBezTo>
                    <a:pt x="58" y="93"/>
                    <a:pt x="70" y="88"/>
                    <a:pt x="79" y="79"/>
                  </a:cubicBezTo>
                  <a:cubicBezTo>
                    <a:pt x="88" y="71"/>
                    <a:pt x="93" y="59"/>
                    <a:pt x="93" y="46"/>
                  </a:cubicBezTo>
                  <a:cubicBezTo>
                    <a:pt x="93" y="34"/>
                    <a:pt x="88" y="22"/>
                    <a:pt x="79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097384A4-D0E7-7B67-2D6C-8C9D5E21C4EB}"/>
              </a:ext>
            </a:extLst>
          </p:cNvPr>
          <p:cNvGrpSpPr/>
          <p:nvPr/>
        </p:nvGrpSpPr>
        <p:grpSpPr>
          <a:xfrm>
            <a:off x="7382020" y="3790472"/>
            <a:ext cx="445867" cy="445803"/>
            <a:chOff x="-56745188" y="-7202488"/>
            <a:chExt cx="21274088" cy="21270914"/>
          </a:xfrm>
          <a:solidFill>
            <a:schemeClr val="bg1"/>
          </a:solidFill>
        </p:grpSpPr>
        <p:sp>
          <p:nvSpPr>
            <p:cNvPr id="105" name="Freeform 36">
              <a:extLst>
                <a:ext uri="{FF2B5EF4-FFF2-40B4-BE49-F238E27FC236}">
                  <a16:creationId xmlns:a16="http://schemas.microsoft.com/office/drawing/2014/main" id="{E1A4FFE4-35F7-F85B-CB21-EA893552DF1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4689713" y="2014538"/>
              <a:ext cx="9218613" cy="12053888"/>
            </a:xfrm>
            <a:custGeom>
              <a:avLst/>
              <a:gdLst>
                <a:gd name="T0" fmla="*/ 2173 w 2457"/>
                <a:gd name="T1" fmla="*/ 0 h 3213"/>
                <a:gd name="T2" fmla="*/ 283 w 2457"/>
                <a:gd name="T3" fmla="*/ 0 h 3213"/>
                <a:gd name="T4" fmla="*/ 0 w 2457"/>
                <a:gd name="T5" fmla="*/ 284 h 3213"/>
                <a:gd name="T6" fmla="*/ 0 w 2457"/>
                <a:gd name="T7" fmla="*/ 2929 h 3213"/>
                <a:gd name="T8" fmla="*/ 283 w 2457"/>
                <a:gd name="T9" fmla="*/ 3213 h 3213"/>
                <a:gd name="T10" fmla="*/ 2173 w 2457"/>
                <a:gd name="T11" fmla="*/ 3213 h 3213"/>
                <a:gd name="T12" fmla="*/ 2457 w 2457"/>
                <a:gd name="T13" fmla="*/ 2929 h 3213"/>
                <a:gd name="T14" fmla="*/ 2457 w 2457"/>
                <a:gd name="T15" fmla="*/ 284 h 3213"/>
                <a:gd name="T16" fmla="*/ 2173 w 2457"/>
                <a:gd name="T17" fmla="*/ 0 h 3213"/>
                <a:gd name="T18" fmla="*/ 1134 w 2457"/>
                <a:gd name="T19" fmla="*/ 3024 h 3213"/>
                <a:gd name="T20" fmla="*/ 283 w 2457"/>
                <a:gd name="T21" fmla="*/ 3024 h 3213"/>
                <a:gd name="T22" fmla="*/ 189 w 2457"/>
                <a:gd name="T23" fmla="*/ 2929 h 3213"/>
                <a:gd name="T24" fmla="*/ 189 w 2457"/>
                <a:gd name="T25" fmla="*/ 2268 h 3213"/>
                <a:gd name="T26" fmla="*/ 1134 w 2457"/>
                <a:gd name="T27" fmla="*/ 2268 h 3213"/>
                <a:gd name="T28" fmla="*/ 1134 w 2457"/>
                <a:gd name="T29" fmla="*/ 3024 h 3213"/>
                <a:gd name="T30" fmla="*/ 1134 w 2457"/>
                <a:gd name="T31" fmla="*/ 2079 h 3213"/>
                <a:gd name="T32" fmla="*/ 189 w 2457"/>
                <a:gd name="T33" fmla="*/ 2079 h 3213"/>
                <a:gd name="T34" fmla="*/ 189 w 2457"/>
                <a:gd name="T35" fmla="*/ 1323 h 3213"/>
                <a:gd name="T36" fmla="*/ 1134 w 2457"/>
                <a:gd name="T37" fmla="*/ 1323 h 3213"/>
                <a:gd name="T38" fmla="*/ 1134 w 2457"/>
                <a:gd name="T39" fmla="*/ 2079 h 3213"/>
                <a:gd name="T40" fmla="*/ 2268 w 2457"/>
                <a:gd name="T41" fmla="*/ 2929 h 3213"/>
                <a:gd name="T42" fmla="*/ 2173 w 2457"/>
                <a:gd name="T43" fmla="*/ 3024 h 3213"/>
                <a:gd name="T44" fmla="*/ 1323 w 2457"/>
                <a:gd name="T45" fmla="*/ 3024 h 3213"/>
                <a:gd name="T46" fmla="*/ 1323 w 2457"/>
                <a:gd name="T47" fmla="*/ 2268 h 3213"/>
                <a:gd name="T48" fmla="*/ 2268 w 2457"/>
                <a:gd name="T49" fmla="*/ 2268 h 3213"/>
                <a:gd name="T50" fmla="*/ 2268 w 2457"/>
                <a:gd name="T51" fmla="*/ 2929 h 3213"/>
                <a:gd name="T52" fmla="*/ 2268 w 2457"/>
                <a:gd name="T53" fmla="*/ 2079 h 3213"/>
                <a:gd name="T54" fmla="*/ 1323 w 2457"/>
                <a:gd name="T55" fmla="*/ 2079 h 3213"/>
                <a:gd name="T56" fmla="*/ 1323 w 2457"/>
                <a:gd name="T57" fmla="*/ 1323 h 3213"/>
                <a:gd name="T58" fmla="*/ 2268 w 2457"/>
                <a:gd name="T59" fmla="*/ 1323 h 3213"/>
                <a:gd name="T60" fmla="*/ 2268 w 2457"/>
                <a:gd name="T61" fmla="*/ 2079 h 3213"/>
                <a:gd name="T62" fmla="*/ 2268 w 2457"/>
                <a:gd name="T63" fmla="*/ 1134 h 3213"/>
                <a:gd name="T64" fmla="*/ 189 w 2457"/>
                <a:gd name="T65" fmla="*/ 1134 h 3213"/>
                <a:gd name="T66" fmla="*/ 189 w 2457"/>
                <a:gd name="T67" fmla="*/ 284 h 3213"/>
                <a:gd name="T68" fmla="*/ 283 w 2457"/>
                <a:gd name="T69" fmla="*/ 189 h 3213"/>
                <a:gd name="T70" fmla="*/ 2173 w 2457"/>
                <a:gd name="T71" fmla="*/ 189 h 3213"/>
                <a:gd name="T72" fmla="*/ 2268 w 2457"/>
                <a:gd name="T73" fmla="*/ 284 h 3213"/>
                <a:gd name="T74" fmla="*/ 2268 w 2457"/>
                <a:gd name="T75" fmla="*/ 1134 h 3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457" h="3213">
                  <a:moveTo>
                    <a:pt x="2173" y="0"/>
                  </a:moveTo>
                  <a:cubicBezTo>
                    <a:pt x="283" y="0"/>
                    <a:pt x="283" y="0"/>
                    <a:pt x="283" y="0"/>
                  </a:cubicBezTo>
                  <a:cubicBezTo>
                    <a:pt x="127" y="0"/>
                    <a:pt x="0" y="127"/>
                    <a:pt x="0" y="284"/>
                  </a:cubicBezTo>
                  <a:cubicBezTo>
                    <a:pt x="0" y="2929"/>
                    <a:pt x="0" y="2929"/>
                    <a:pt x="0" y="2929"/>
                  </a:cubicBezTo>
                  <a:cubicBezTo>
                    <a:pt x="0" y="3086"/>
                    <a:pt x="127" y="3213"/>
                    <a:pt x="283" y="3213"/>
                  </a:cubicBezTo>
                  <a:cubicBezTo>
                    <a:pt x="2173" y="3213"/>
                    <a:pt x="2173" y="3213"/>
                    <a:pt x="2173" y="3213"/>
                  </a:cubicBezTo>
                  <a:cubicBezTo>
                    <a:pt x="2330" y="3213"/>
                    <a:pt x="2457" y="3086"/>
                    <a:pt x="2457" y="2929"/>
                  </a:cubicBezTo>
                  <a:cubicBezTo>
                    <a:pt x="2457" y="284"/>
                    <a:pt x="2457" y="284"/>
                    <a:pt x="2457" y="284"/>
                  </a:cubicBezTo>
                  <a:cubicBezTo>
                    <a:pt x="2457" y="127"/>
                    <a:pt x="2330" y="0"/>
                    <a:pt x="2173" y="0"/>
                  </a:cubicBezTo>
                  <a:close/>
                  <a:moveTo>
                    <a:pt x="1134" y="3024"/>
                  </a:moveTo>
                  <a:cubicBezTo>
                    <a:pt x="283" y="3024"/>
                    <a:pt x="283" y="3024"/>
                    <a:pt x="283" y="3024"/>
                  </a:cubicBezTo>
                  <a:cubicBezTo>
                    <a:pt x="231" y="3024"/>
                    <a:pt x="189" y="2981"/>
                    <a:pt x="189" y="2929"/>
                  </a:cubicBezTo>
                  <a:cubicBezTo>
                    <a:pt x="189" y="2268"/>
                    <a:pt x="189" y="2268"/>
                    <a:pt x="189" y="2268"/>
                  </a:cubicBezTo>
                  <a:cubicBezTo>
                    <a:pt x="1134" y="2268"/>
                    <a:pt x="1134" y="2268"/>
                    <a:pt x="1134" y="2268"/>
                  </a:cubicBezTo>
                  <a:lnTo>
                    <a:pt x="1134" y="3024"/>
                  </a:lnTo>
                  <a:close/>
                  <a:moveTo>
                    <a:pt x="1134" y="2079"/>
                  </a:moveTo>
                  <a:cubicBezTo>
                    <a:pt x="189" y="2079"/>
                    <a:pt x="189" y="2079"/>
                    <a:pt x="189" y="2079"/>
                  </a:cubicBezTo>
                  <a:cubicBezTo>
                    <a:pt x="189" y="1323"/>
                    <a:pt x="189" y="1323"/>
                    <a:pt x="189" y="1323"/>
                  </a:cubicBezTo>
                  <a:cubicBezTo>
                    <a:pt x="1134" y="1323"/>
                    <a:pt x="1134" y="1323"/>
                    <a:pt x="1134" y="1323"/>
                  </a:cubicBezTo>
                  <a:lnTo>
                    <a:pt x="1134" y="2079"/>
                  </a:lnTo>
                  <a:close/>
                  <a:moveTo>
                    <a:pt x="2268" y="2929"/>
                  </a:moveTo>
                  <a:cubicBezTo>
                    <a:pt x="2268" y="2981"/>
                    <a:pt x="2225" y="3024"/>
                    <a:pt x="2173" y="3024"/>
                  </a:cubicBezTo>
                  <a:cubicBezTo>
                    <a:pt x="1323" y="3024"/>
                    <a:pt x="1323" y="3024"/>
                    <a:pt x="1323" y="3024"/>
                  </a:cubicBezTo>
                  <a:cubicBezTo>
                    <a:pt x="1323" y="2268"/>
                    <a:pt x="1323" y="2268"/>
                    <a:pt x="1323" y="2268"/>
                  </a:cubicBezTo>
                  <a:cubicBezTo>
                    <a:pt x="2268" y="2268"/>
                    <a:pt x="2268" y="2268"/>
                    <a:pt x="2268" y="2268"/>
                  </a:cubicBezTo>
                  <a:lnTo>
                    <a:pt x="2268" y="2929"/>
                  </a:lnTo>
                  <a:close/>
                  <a:moveTo>
                    <a:pt x="2268" y="2079"/>
                  </a:moveTo>
                  <a:cubicBezTo>
                    <a:pt x="1323" y="2079"/>
                    <a:pt x="1323" y="2079"/>
                    <a:pt x="1323" y="2079"/>
                  </a:cubicBezTo>
                  <a:cubicBezTo>
                    <a:pt x="1323" y="1323"/>
                    <a:pt x="1323" y="1323"/>
                    <a:pt x="1323" y="1323"/>
                  </a:cubicBezTo>
                  <a:cubicBezTo>
                    <a:pt x="2268" y="1323"/>
                    <a:pt x="2268" y="1323"/>
                    <a:pt x="2268" y="1323"/>
                  </a:cubicBezTo>
                  <a:lnTo>
                    <a:pt x="2268" y="2079"/>
                  </a:lnTo>
                  <a:close/>
                  <a:moveTo>
                    <a:pt x="2268" y="1134"/>
                  </a:moveTo>
                  <a:cubicBezTo>
                    <a:pt x="189" y="1134"/>
                    <a:pt x="189" y="1134"/>
                    <a:pt x="189" y="1134"/>
                  </a:cubicBezTo>
                  <a:cubicBezTo>
                    <a:pt x="189" y="284"/>
                    <a:pt x="189" y="284"/>
                    <a:pt x="189" y="284"/>
                  </a:cubicBezTo>
                  <a:cubicBezTo>
                    <a:pt x="189" y="231"/>
                    <a:pt x="231" y="189"/>
                    <a:pt x="283" y="189"/>
                  </a:cubicBezTo>
                  <a:cubicBezTo>
                    <a:pt x="2173" y="189"/>
                    <a:pt x="2173" y="189"/>
                    <a:pt x="2173" y="189"/>
                  </a:cubicBezTo>
                  <a:cubicBezTo>
                    <a:pt x="2225" y="189"/>
                    <a:pt x="2268" y="231"/>
                    <a:pt x="2268" y="284"/>
                  </a:cubicBezTo>
                  <a:lnTo>
                    <a:pt x="2268" y="11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6" name="Freeform 37">
              <a:extLst>
                <a:ext uri="{FF2B5EF4-FFF2-40B4-BE49-F238E27FC236}">
                  <a16:creationId xmlns:a16="http://schemas.microsoft.com/office/drawing/2014/main" id="{0454E369-9DAD-A954-7443-A603B86B2F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3272075" y="3432175"/>
              <a:ext cx="6381750" cy="2127250"/>
            </a:xfrm>
            <a:custGeom>
              <a:avLst/>
              <a:gdLst>
                <a:gd name="T0" fmla="*/ 1606 w 1701"/>
                <a:gd name="T1" fmla="*/ 0 h 567"/>
                <a:gd name="T2" fmla="*/ 94 w 1701"/>
                <a:gd name="T3" fmla="*/ 0 h 567"/>
                <a:gd name="T4" fmla="*/ 0 w 1701"/>
                <a:gd name="T5" fmla="*/ 94 h 567"/>
                <a:gd name="T6" fmla="*/ 0 w 1701"/>
                <a:gd name="T7" fmla="*/ 472 h 567"/>
                <a:gd name="T8" fmla="*/ 94 w 1701"/>
                <a:gd name="T9" fmla="*/ 567 h 567"/>
                <a:gd name="T10" fmla="*/ 1606 w 1701"/>
                <a:gd name="T11" fmla="*/ 567 h 567"/>
                <a:gd name="T12" fmla="*/ 1701 w 1701"/>
                <a:gd name="T13" fmla="*/ 472 h 567"/>
                <a:gd name="T14" fmla="*/ 1701 w 1701"/>
                <a:gd name="T15" fmla="*/ 94 h 567"/>
                <a:gd name="T16" fmla="*/ 1606 w 1701"/>
                <a:gd name="T17" fmla="*/ 0 h 567"/>
                <a:gd name="T18" fmla="*/ 1512 w 1701"/>
                <a:gd name="T19" fmla="*/ 378 h 567"/>
                <a:gd name="T20" fmla="*/ 189 w 1701"/>
                <a:gd name="T21" fmla="*/ 378 h 567"/>
                <a:gd name="T22" fmla="*/ 189 w 1701"/>
                <a:gd name="T23" fmla="*/ 189 h 567"/>
                <a:gd name="T24" fmla="*/ 1512 w 1701"/>
                <a:gd name="T25" fmla="*/ 189 h 567"/>
                <a:gd name="T26" fmla="*/ 1512 w 1701"/>
                <a:gd name="T27" fmla="*/ 378 h 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01" h="567">
                  <a:moveTo>
                    <a:pt x="1606" y="0"/>
                  </a:moveTo>
                  <a:cubicBezTo>
                    <a:pt x="94" y="0"/>
                    <a:pt x="94" y="0"/>
                    <a:pt x="94" y="0"/>
                  </a:cubicBezTo>
                  <a:cubicBezTo>
                    <a:pt x="42" y="0"/>
                    <a:pt x="0" y="42"/>
                    <a:pt x="0" y="94"/>
                  </a:cubicBezTo>
                  <a:cubicBezTo>
                    <a:pt x="0" y="472"/>
                    <a:pt x="0" y="472"/>
                    <a:pt x="0" y="472"/>
                  </a:cubicBezTo>
                  <a:cubicBezTo>
                    <a:pt x="0" y="525"/>
                    <a:pt x="42" y="567"/>
                    <a:pt x="94" y="567"/>
                  </a:cubicBezTo>
                  <a:cubicBezTo>
                    <a:pt x="1606" y="567"/>
                    <a:pt x="1606" y="567"/>
                    <a:pt x="1606" y="567"/>
                  </a:cubicBezTo>
                  <a:cubicBezTo>
                    <a:pt x="1658" y="567"/>
                    <a:pt x="1701" y="525"/>
                    <a:pt x="1701" y="472"/>
                  </a:cubicBezTo>
                  <a:cubicBezTo>
                    <a:pt x="1701" y="94"/>
                    <a:pt x="1701" y="94"/>
                    <a:pt x="1701" y="94"/>
                  </a:cubicBezTo>
                  <a:cubicBezTo>
                    <a:pt x="1701" y="42"/>
                    <a:pt x="1658" y="0"/>
                    <a:pt x="1606" y="0"/>
                  </a:cubicBezTo>
                  <a:close/>
                  <a:moveTo>
                    <a:pt x="1512" y="378"/>
                  </a:moveTo>
                  <a:cubicBezTo>
                    <a:pt x="189" y="378"/>
                    <a:pt x="189" y="378"/>
                    <a:pt x="189" y="378"/>
                  </a:cubicBezTo>
                  <a:cubicBezTo>
                    <a:pt x="189" y="189"/>
                    <a:pt x="189" y="189"/>
                    <a:pt x="189" y="189"/>
                  </a:cubicBezTo>
                  <a:cubicBezTo>
                    <a:pt x="1512" y="189"/>
                    <a:pt x="1512" y="189"/>
                    <a:pt x="1512" y="189"/>
                  </a:cubicBezTo>
                  <a:lnTo>
                    <a:pt x="1512" y="3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7" name="Freeform 38">
              <a:extLst>
                <a:ext uri="{FF2B5EF4-FFF2-40B4-BE49-F238E27FC236}">
                  <a16:creationId xmlns:a16="http://schemas.microsoft.com/office/drawing/2014/main" id="{1C9FE97D-04A8-5AD9-363E-E5749DC9E71F}"/>
                </a:ext>
              </a:extLst>
            </p:cNvPr>
            <p:cNvSpPr>
              <a:spLocks/>
            </p:cNvSpPr>
            <p:nvPr/>
          </p:nvSpPr>
          <p:spPr bwMode="auto">
            <a:xfrm>
              <a:off x="-43272075" y="7331075"/>
              <a:ext cx="2127250" cy="2127250"/>
            </a:xfrm>
            <a:custGeom>
              <a:avLst/>
              <a:gdLst>
                <a:gd name="T0" fmla="*/ 893 w 1340"/>
                <a:gd name="T1" fmla="*/ 447 h 1340"/>
                <a:gd name="T2" fmla="*/ 893 w 1340"/>
                <a:gd name="T3" fmla="*/ 0 h 1340"/>
                <a:gd name="T4" fmla="*/ 447 w 1340"/>
                <a:gd name="T5" fmla="*/ 0 h 1340"/>
                <a:gd name="T6" fmla="*/ 447 w 1340"/>
                <a:gd name="T7" fmla="*/ 447 h 1340"/>
                <a:gd name="T8" fmla="*/ 0 w 1340"/>
                <a:gd name="T9" fmla="*/ 447 h 1340"/>
                <a:gd name="T10" fmla="*/ 0 w 1340"/>
                <a:gd name="T11" fmla="*/ 893 h 1340"/>
                <a:gd name="T12" fmla="*/ 447 w 1340"/>
                <a:gd name="T13" fmla="*/ 893 h 1340"/>
                <a:gd name="T14" fmla="*/ 447 w 1340"/>
                <a:gd name="T15" fmla="*/ 1340 h 1340"/>
                <a:gd name="T16" fmla="*/ 893 w 1340"/>
                <a:gd name="T17" fmla="*/ 1340 h 1340"/>
                <a:gd name="T18" fmla="*/ 893 w 1340"/>
                <a:gd name="T19" fmla="*/ 893 h 1340"/>
                <a:gd name="T20" fmla="*/ 1340 w 1340"/>
                <a:gd name="T21" fmla="*/ 893 h 1340"/>
                <a:gd name="T22" fmla="*/ 1340 w 1340"/>
                <a:gd name="T23" fmla="*/ 447 h 1340"/>
                <a:gd name="T24" fmla="*/ 893 w 1340"/>
                <a:gd name="T25" fmla="*/ 447 h 1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40" h="1340">
                  <a:moveTo>
                    <a:pt x="893" y="447"/>
                  </a:moveTo>
                  <a:lnTo>
                    <a:pt x="893" y="0"/>
                  </a:lnTo>
                  <a:lnTo>
                    <a:pt x="447" y="0"/>
                  </a:lnTo>
                  <a:lnTo>
                    <a:pt x="447" y="447"/>
                  </a:lnTo>
                  <a:lnTo>
                    <a:pt x="0" y="447"/>
                  </a:lnTo>
                  <a:lnTo>
                    <a:pt x="0" y="893"/>
                  </a:lnTo>
                  <a:lnTo>
                    <a:pt x="447" y="893"/>
                  </a:lnTo>
                  <a:lnTo>
                    <a:pt x="447" y="1340"/>
                  </a:lnTo>
                  <a:lnTo>
                    <a:pt x="893" y="1340"/>
                  </a:lnTo>
                  <a:lnTo>
                    <a:pt x="893" y="893"/>
                  </a:lnTo>
                  <a:lnTo>
                    <a:pt x="1340" y="893"/>
                  </a:lnTo>
                  <a:lnTo>
                    <a:pt x="1340" y="447"/>
                  </a:lnTo>
                  <a:lnTo>
                    <a:pt x="893" y="44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8" name="Rectangle 39">
              <a:extLst>
                <a:ext uri="{FF2B5EF4-FFF2-40B4-BE49-F238E27FC236}">
                  <a16:creationId xmlns:a16="http://schemas.microsoft.com/office/drawing/2014/main" id="{CDB1FC38-23A6-FFF1-05CD-3F727C0F75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39017575" y="8040688"/>
              <a:ext cx="2127250" cy="7080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9" name="Freeform 40">
              <a:extLst>
                <a:ext uri="{FF2B5EF4-FFF2-40B4-BE49-F238E27FC236}">
                  <a16:creationId xmlns:a16="http://schemas.microsoft.com/office/drawing/2014/main" id="{BC332ABE-328C-B26F-E4B5-6731DB81E4EE}"/>
                </a:ext>
              </a:extLst>
            </p:cNvPr>
            <p:cNvSpPr>
              <a:spLocks/>
            </p:cNvSpPr>
            <p:nvPr/>
          </p:nvSpPr>
          <p:spPr bwMode="auto">
            <a:xfrm>
              <a:off x="-43211750" y="10980738"/>
              <a:ext cx="2006600" cy="2003425"/>
            </a:xfrm>
            <a:custGeom>
              <a:avLst/>
              <a:gdLst>
                <a:gd name="T0" fmla="*/ 1264 w 1264"/>
                <a:gd name="T1" fmla="*/ 317 h 1262"/>
                <a:gd name="T2" fmla="*/ 947 w 1264"/>
                <a:gd name="T3" fmla="*/ 0 h 1262"/>
                <a:gd name="T4" fmla="*/ 631 w 1264"/>
                <a:gd name="T5" fmla="*/ 317 h 1262"/>
                <a:gd name="T6" fmla="*/ 316 w 1264"/>
                <a:gd name="T7" fmla="*/ 0 h 1262"/>
                <a:gd name="T8" fmla="*/ 0 w 1264"/>
                <a:gd name="T9" fmla="*/ 317 h 1262"/>
                <a:gd name="T10" fmla="*/ 316 w 1264"/>
                <a:gd name="T11" fmla="*/ 631 h 1262"/>
                <a:gd name="T12" fmla="*/ 0 w 1264"/>
                <a:gd name="T13" fmla="*/ 948 h 1262"/>
                <a:gd name="T14" fmla="*/ 316 w 1264"/>
                <a:gd name="T15" fmla="*/ 1262 h 1262"/>
                <a:gd name="T16" fmla="*/ 631 w 1264"/>
                <a:gd name="T17" fmla="*/ 948 h 1262"/>
                <a:gd name="T18" fmla="*/ 947 w 1264"/>
                <a:gd name="T19" fmla="*/ 1262 h 1262"/>
                <a:gd name="T20" fmla="*/ 1264 w 1264"/>
                <a:gd name="T21" fmla="*/ 948 h 1262"/>
                <a:gd name="T22" fmla="*/ 947 w 1264"/>
                <a:gd name="T23" fmla="*/ 631 h 1262"/>
                <a:gd name="T24" fmla="*/ 1264 w 1264"/>
                <a:gd name="T25" fmla="*/ 317 h 1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64" h="1262">
                  <a:moveTo>
                    <a:pt x="1264" y="317"/>
                  </a:moveTo>
                  <a:lnTo>
                    <a:pt x="947" y="0"/>
                  </a:lnTo>
                  <a:lnTo>
                    <a:pt x="631" y="317"/>
                  </a:lnTo>
                  <a:lnTo>
                    <a:pt x="316" y="0"/>
                  </a:lnTo>
                  <a:lnTo>
                    <a:pt x="0" y="317"/>
                  </a:lnTo>
                  <a:lnTo>
                    <a:pt x="316" y="631"/>
                  </a:lnTo>
                  <a:lnTo>
                    <a:pt x="0" y="948"/>
                  </a:lnTo>
                  <a:lnTo>
                    <a:pt x="316" y="1262"/>
                  </a:lnTo>
                  <a:lnTo>
                    <a:pt x="631" y="948"/>
                  </a:lnTo>
                  <a:lnTo>
                    <a:pt x="947" y="1262"/>
                  </a:lnTo>
                  <a:lnTo>
                    <a:pt x="1264" y="948"/>
                  </a:lnTo>
                  <a:lnTo>
                    <a:pt x="947" y="631"/>
                  </a:lnTo>
                  <a:lnTo>
                    <a:pt x="1264" y="3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0" name="Rectangle 41">
              <a:extLst>
                <a:ext uri="{FF2B5EF4-FFF2-40B4-BE49-F238E27FC236}">
                  <a16:creationId xmlns:a16="http://schemas.microsoft.com/office/drawing/2014/main" id="{F5F560A4-9B30-A4DE-F9A0-19234B1654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39017575" y="11585575"/>
              <a:ext cx="2127250" cy="7096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1" name="Rectangle 42">
              <a:extLst>
                <a:ext uri="{FF2B5EF4-FFF2-40B4-BE49-F238E27FC236}">
                  <a16:creationId xmlns:a16="http://schemas.microsoft.com/office/drawing/2014/main" id="{2075C66A-698A-CCD0-4524-8E8F6CC786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38307963" y="12471400"/>
              <a:ext cx="708025" cy="3556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2" name="Rectangle 43">
              <a:extLst>
                <a:ext uri="{FF2B5EF4-FFF2-40B4-BE49-F238E27FC236}">
                  <a16:creationId xmlns:a16="http://schemas.microsoft.com/office/drawing/2014/main" id="{166DA1DC-478D-B5FE-8E46-60ABA0F6E0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38307963" y="11052175"/>
              <a:ext cx="708025" cy="3571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3" name="Freeform 44">
              <a:extLst>
                <a:ext uri="{FF2B5EF4-FFF2-40B4-BE49-F238E27FC236}">
                  <a16:creationId xmlns:a16="http://schemas.microsoft.com/office/drawing/2014/main" id="{0C58B7D6-1B39-9C0E-4EE8-D32B6313FF3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6745188" y="-7202488"/>
              <a:ext cx="14890750" cy="21270913"/>
            </a:xfrm>
            <a:custGeom>
              <a:avLst/>
              <a:gdLst>
                <a:gd name="T0" fmla="*/ 1040 w 3969"/>
                <a:gd name="T1" fmla="*/ 0 h 5670"/>
                <a:gd name="T2" fmla="*/ 973 w 3969"/>
                <a:gd name="T3" fmla="*/ 28 h 5670"/>
                <a:gd name="T4" fmla="*/ 1 w 3969"/>
                <a:gd name="T5" fmla="*/ 1040 h 5670"/>
                <a:gd name="T6" fmla="*/ 0 w 3969"/>
                <a:gd name="T7" fmla="*/ 5481 h 5670"/>
                <a:gd name="T8" fmla="*/ 3024 w 3969"/>
                <a:gd name="T9" fmla="*/ 5670 h 5670"/>
                <a:gd name="T10" fmla="*/ 2457 w 3969"/>
                <a:gd name="T11" fmla="*/ 5481 h 5670"/>
                <a:gd name="T12" fmla="*/ 2646 w 3969"/>
                <a:gd name="T13" fmla="*/ 5197 h 5670"/>
                <a:gd name="T14" fmla="*/ 2741 w 3969"/>
                <a:gd name="T15" fmla="*/ 4630 h 5670"/>
                <a:gd name="T16" fmla="*/ 2457 w 3969"/>
                <a:gd name="T17" fmla="*/ 4536 h 5670"/>
                <a:gd name="T18" fmla="*/ 2646 w 3969"/>
                <a:gd name="T19" fmla="*/ 4252 h 5670"/>
                <a:gd name="T20" fmla="*/ 2741 w 3969"/>
                <a:gd name="T21" fmla="*/ 3685 h 5670"/>
                <a:gd name="T22" fmla="*/ 2644 w 3969"/>
                <a:gd name="T23" fmla="*/ 3591 h 5670"/>
                <a:gd name="T24" fmla="*/ 2081 w 3969"/>
                <a:gd name="T25" fmla="*/ 1888 h 5670"/>
                <a:gd name="T26" fmla="*/ 1515 w 3969"/>
                <a:gd name="T27" fmla="*/ 3591 h 5670"/>
                <a:gd name="T28" fmla="*/ 662 w 3969"/>
                <a:gd name="T29" fmla="*/ 3685 h 5670"/>
                <a:gd name="T30" fmla="*/ 473 w 3969"/>
                <a:gd name="T31" fmla="*/ 4063 h 5670"/>
                <a:gd name="T32" fmla="*/ 378 w 3969"/>
                <a:gd name="T33" fmla="*/ 4630 h 5670"/>
                <a:gd name="T34" fmla="*/ 662 w 3969"/>
                <a:gd name="T35" fmla="*/ 4725 h 5670"/>
                <a:gd name="T36" fmla="*/ 473 w 3969"/>
                <a:gd name="T37" fmla="*/ 5008 h 5670"/>
                <a:gd name="T38" fmla="*/ 378 w 3969"/>
                <a:gd name="T39" fmla="*/ 5481 h 5670"/>
                <a:gd name="T40" fmla="*/ 189 w 3969"/>
                <a:gd name="T41" fmla="*/ 1134 h 5670"/>
                <a:gd name="T42" fmla="*/ 1134 w 3969"/>
                <a:gd name="T43" fmla="*/ 945 h 5670"/>
                <a:gd name="T44" fmla="*/ 3780 w 3969"/>
                <a:gd name="T45" fmla="*/ 189 h 5670"/>
                <a:gd name="T46" fmla="*/ 3969 w 3969"/>
                <a:gd name="T47" fmla="*/ 2268 h 5670"/>
                <a:gd name="T48" fmla="*/ 3780 w 3969"/>
                <a:gd name="T49" fmla="*/ 0 h 5670"/>
                <a:gd name="T50" fmla="*/ 2552 w 3969"/>
                <a:gd name="T51" fmla="*/ 5008 h 5670"/>
                <a:gd name="T52" fmla="*/ 851 w 3969"/>
                <a:gd name="T53" fmla="*/ 4725 h 5670"/>
                <a:gd name="T54" fmla="*/ 1323 w 3969"/>
                <a:gd name="T55" fmla="*/ 2835 h 5670"/>
                <a:gd name="T56" fmla="*/ 2835 w 3969"/>
                <a:gd name="T57" fmla="*/ 2835 h 5670"/>
                <a:gd name="T58" fmla="*/ 1323 w 3969"/>
                <a:gd name="T59" fmla="*/ 2835 h 5670"/>
                <a:gd name="T60" fmla="*/ 2552 w 3969"/>
                <a:gd name="T61" fmla="*/ 3780 h 5670"/>
                <a:gd name="T62" fmla="*/ 851 w 3969"/>
                <a:gd name="T63" fmla="*/ 4063 h 5670"/>
                <a:gd name="T64" fmla="*/ 567 w 3969"/>
                <a:gd name="T65" fmla="*/ 4536 h 5670"/>
                <a:gd name="T66" fmla="*/ 2268 w 3969"/>
                <a:gd name="T67" fmla="*/ 4252 h 5670"/>
                <a:gd name="T68" fmla="*/ 756 w 3969"/>
                <a:gd name="T69" fmla="*/ 4536 h 5670"/>
                <a:gd name="T70" fmla="*/ 567 w 3969"/>
                <a:gd name="T71" fmla="*/ 5197 h 5670"/>
                <a:gd name="T72" fmla="*/ 2268 w 3969"/>
                <a:gd name="T73" fmla="*/ 5481 h 5670"/>
                <a:gd name="T74" fmla="*/ 567 w 3969"/>
                <a:gd name="T75" fmla="*/ 5197 h 5670"/>
                <a:gd name="T76" fmla="*/ 323 w 3969"/>
                <a:gd name="T77" fmla="*/ 945 h 5670"/>
                <a:gd name="T78" fmla="*/ 945 w 3969"/>
                <a:gd name="T79" fmla="*/ 945 h 56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969" h="5670">
                  <a:moveTo>
                    <a:pt x="3780" y="0"/>
                  </a:moveTo>
                  <a:cubicBezTo>
                    <a:pt x="1040" y="0"/>
                    <a:pt x="1040" y="0"/>
                    <a:pt x="1040" y="0"/>
                  </a:cubicBezTo>
                  <a:cubicBezTo>
                    <a:pt x="1040" y="1"/>
                    <a:pt x="1040" y="1"/>
                    <a:pt x="1040" y="1"/>
                  </a:cubicBezTo>
                  <a:cubicBezTo>
                    <a:pt x="1015" y="1"/>
                    <a:pt x="991" y="11"/>
                    <a:pt x="973" y="28"/>
                  </a:cubicBezTo>
                  <a:cubicBezTo>
                    <a:pt x="28" y="973"/>
                    <a:pt x="28" y="973"/>
                    <a:pt x="28" y="973"/>
                  </a:cubicBezTo>
                  <a:cubicBezTo>
                    <a:pt x="11" y="991"/>
                    <a:pt x="1" y="1015"/>
                    <a:pt x="1" y="1040"/>
                  </a:cubicBezTo>
                  <a:cubicBezTo>
                    <a:pt x="0" y="1040"/>
                    <a:pt x="0" y="1040"/>
                    <a:pt x="0" y="1040"/>
                  </a:cubicBezTo>
                  <a:cubicBezTo>
                    <a:pt x="0" y="5481"/>
                    <a:pt x="0" y="5481"/>
                    <a:pt x="0" y="5481"/>
                  </a:cubicBezTo>
                  <a:cubicBezTo>
                    <a:pt x="0" y="5585"/>
                    <a:pt x="85" y="5670"/>
                    <a:pt x="189" y="5670"/>
                  </a:cubicBezTo>
                  <a:cubicBezTo>
                    <a:pt x="3024" y="5670"/>
                    <a:pt x="3024" y="5670"/>
                    <a:pt x="3024" y="5670"/>
                  </a:cubicBezTo>
                  <a:cubicBezTo>
                    <a:pt x="3024" y="5481"/>
                    <a:pt x="3024" y="5481"/>
                    <a:pt x="3024" y="5481"/>
                  </a:cubicBezTo>
                  <a:cubicBezTo>
                    <a:pt x="2457" y="5481"/>
                    <a:pt x="2457" y="5481"/>
                    <a:pt x="2457" y="5481"/>
                  </a:cubicBezTo>
                  <a:cubicBezTo>
                    <a:pt x="2457" y="5197"/>
                    <a:pt x="2457" y="5197"/>
                    <a:pt x="2457" y="5197"/>
                  </a:cubicBezTo>
                  <a:cubicBezTo>
                    <a:pt x="2646" y="5197"/>
                    <a:pt x="2646" y="5197"/>
                    <a:pt x="2646" y="5197"/>
                  </a:cubicBezTo>
                  <a:cubicBezTo>
                    <a:pt x="2698" y="5197"/>
                    <a:pt x="2741" y="5155"/>
                    <a:pt x="2741" y="5103"/>
                  </a:cubicBezTo>
                  <a:cubicBezTo>
                    <a:pt x="2741" y="4630"/>
                    <a:pt x="2741" y="4630"/>
                    <a:pt x="2741" y="4630"/>
                  </a:cubicBezTo>
                  <a:cubicBezTo>
                    <a:pt x="2741" y="4578"/>
                    <a:pt x="2698" y="4536"/>
                    <a:pt x="2646" y="4536"/>
                  </a:cubicBezTo>
                  <a:cubicBezTo>
                    <a:pt x="2457" y="4536"/>
                    <a:pt x="2457" y="4536"/>
                    <a:pt x="2457" y="4536"/>
                  </a:cubicBezTo>
                  <a:cubicBezTo>
                    <a:pt x="2457" y="4252"/>
                    <a:pt x="2457" y="4252"/>
                    <a:pt x="2457" y="4252"/>
                  </a:cubicBezTo>
                  <a:cubicBezTo>
                    <a:pt x="2646" y="4252"/>
                    <a:pt x="2646" y="4252"/>
                    <a:pt x="2646" y="4252"/>
                  </a:cubicBezTo>
                  <a:cubicBezTo>
                    <a:pt x="2698" y="4252"/>
                    <a:pt x="2741" y="4210"/>
                    <a:pt x="2741" y="4158"/>
                  </a:cubicBezTo>
                  <a:cubicBezTo>
                    <a:pt x="2741" y="3685"/>
                    <a:pt x="2741" y="3685"/>
                    <a:pt x="2741" y="3685"/>
                  </a:cubicBezTo>
                  <a:cubicBezTo>
                    <a:pt x="2741" y="3633"/>
                    <a:pt x="2698" y="3591"/>
                    <a:pt x="2646" y="3591"/>
                  </a:cubicBezTo>
                  <a:cubicBezTo>
                    <a:pt x="2644" y="3591"/>
                    <a:pt x="2644" y="3591"/>
                    <a:pt x="2644" y="3591"/>
                  </a:cubicBezTo>
                  <a:cubicBezTo>
                    <a:pt x="2883" y="3413"/>
                    <a:pt x="3024" y="3133"/>
                    <a:pt x="3024" y="2835"/>
                  </a:cubicBezTo>
                  <a:cubicBezTo>
                    <a:pt x="3025" y="2313"/>
                    <a:pt x="2603" y="1889"/>
                    <a:pt x="2081" y="1888"/>
                  </a:cubicBezTo>
                  <a:cubicBezTo>
                    <a:pt x="1559" y="1887"/>
                    <a:pt x="1135" y="2309"/>
                    <a:pt x="1134" y="2831"/>
                  </a:cubicBezTo>
                  <a:cubicBezTo>
                    <a:pt x="1134" y="3130"/>
                    <a:pt x="1275" y="3412"/>
                    <a:pt x="1515" y="3591"/>
                  </a:cubicBezTo>
                  <a:cubicBezTo>
                    <a:pt x="756" y="3591"/>
                    <a:pt x="756" y="3591"/>
                    <a:pt x="756" y="3591"/>
                  </a:cubicBezTo>
                  <a:cubicBezTo>
                    <a:pt x="704" y="3591"/>
                    <a:pt x="662" y="3633"/>
                    <a:pt x="662" y="3685"/>
                  </a:cubicBezTo>
                  <a:cubicBezTo>
                    <a:pt x="662" y="4063"/>
                    <a:pt x="662" y="4063"/>
                    <a:pt x="662" y="4063"/>
                  </a:cubicBezTo>
                  <a:cubicBezTo>
                    <a:pt x="473" y="4063"/>
                    <a:pt x="473" y="4063"/>
                    <a:pt x="473" y="4063"/>
                  </a:cubicBezTo>
                  <a:cubicBezTo>
                    <a:pt x="421" y="4063"/>
                    <a:pt x="378" y="4106"/>
                    <a:pt x="378" y="4158"/>
                  </a:cubicBezTo>
                  <a:cubicBezTo>
                    <a:pt x="378" y="4630"/>
                    <a:pt x="378" y="4630"/>
                    <a:pt x="378" y="4630"/>
                  </a:cubicBezTo>
                  <a:cubicBezTo>
                    <a:pt x="378" y="4682"/>
                    <a:pt x="421" y="4725"/>
                    <a:pt x="473" y="4725"/>
                  </a:cubicBezTo>
                  <a:cubicBezTo>
                    <a:pt x="662" y="4725"/>
                    <a:pt x="662" y="4725"/>
                    <a:pt x="662" y="4725"/>
                  </a:cubicBezTo>
                  <a:cubicBezTo>
                    <a:pt x="662" y="5008"/>
                    <a:pt x="662" y="5008"/>
                    <a:pt x="662" y="5008"/>
                  </a:cubicBezTo>
                  <a:cubicBezTo>
                    <a:pt x="473" y="5008"/>
                    <a:pt x="473" y="5008"/>
                    <a:pt x="473" y="5008"/>
                  </a:cubicBezTo>
                  <a:cubicBezTo>
                    <a:pt x="421" y="5008"/>
                    <a:pt x="378" y="5051"/>
                    <a:pt x="378" y="5103"/>
                  </a:cubicBezTo>
                  <a:cubicBezTo>
                    <a:pt x="378" y="5481"/>
                    <a:pt x="378" y="5481"/>
                    <a:pt x="378" y="5481"/>
                  </a:cubicBezTo>
                  <a:cubicBezTo>
                    <a:pt x="189" y="5481"/>
                    <a:pt x="189" y="5481"/>
                    <a:pt x="189" y="5481"/>
                  </a:cubicBezTo>
                  <a:cubicBezTo>
                    <a:pt x="189" y="1134"/>
                    <a:pt x="189" y="1134"/>
                    <a:pt x="189" y="1134"/>
                  </a:cubicBezTo>
                  <a:cubicBezTo>
                    <a:pt x="945" y="1134"/>
                    <a:pt x="945" y="1134"/>
                    <a:pt x="945" y="1134"/>
                  </a:cubicBezTo>
                  <a:cubicBezTo>
                    <a:pt x="1050" y="1134"/>
                    <a:pt x="1134" y="1050"/>
                    <a:pt x="1134" y="945"/>
                  </a:cubicBezTo>
                  <a:cubicBezTo>
                    <a:pt x="1134" y="189"/>
                    <a:pt x="1134" y="189"/>
                    <a:pt x="1134" y="189"/>
                  </a:cubicBezTo>
                  <a:cubicBezTo>
                    <a:pt x="3780" y="189"/>
                    <a:pt x="3780" y="189"/>
                    <a:pt x="3780" y="189"/>
                  </a:cubicBezTo>
                  <a:cubicBezTo>
                    <a:pt x="3780" y="2268"/>
                    <a:pt x="3780" y="2268"/>
                    <a:pt x="3780" y="2268"/>
                  </a:cubicBezTo>
                  <a:cubicBezTo>
                    <a:pt x="3969" y="2268"/>
                    <a:pt x="3969" y="2268"/>
                    <a:pt x="3969" y="2268"/>
                  </a:cubicBezTo>
                  <a:cubicBezTo>
                    <a:pt x="3969" y="189"/>
                    <a:pt x="3969" y="189"/>
                    <a:pt x="3969" y="189"/>
                  </a:cubicBezTo>
                  <a:cubicBezTo>
                    <a:pt x="3969" y="85"/>
                    <a:pt x="3884" y="0"/>
                    <a:pt x="3780" y="0"/>
                  </a:cubicBezTo>
                  <a:close/>
                  <a:moveTo>
                    <a:pt x="2552" y="4725"/>
                  </a:moveTo>
                  <a:cubicBezTo>
                    <a:pt x="2552" y="5008"/>
                    <a:pt x="2552" y="5008"/>
                    <a:pt x="2552" y="5008"/>
                  </a:cubicBezTo>
                  <a:cubicBezTo>
                    <a:pt x="851" y="5008"/>
                    <a:pt x="851" y="5008"/>
                    <a:pt x="851" y="5008"/>
                  </a:cubicBezTo>
                  <a:cubicBezTo>
                    <a:pt x="851" y="4725"/>
                    <a:pt x="851" y="4725"/>
                    <a:pt x="851" y="4725"/>
                  </a:cubicBezTo>
                  <a:lnTo>
                    <a:pt x="2552" y="4725"/>
                  </a:lnTo>
                  <a:close/>
                  <a:moveTo>
                    <a:pt x="1323" y="2835"/>
                  </a:moveTo>
                  <a:cubicBezTo>
                    <a:pt x="1323" y="2418"/>
                    <a:pt x="1662" y="2079"/>
                    <a:pt x="2079" y="2079"/>
                  </a:cubicBezTo>
                  <a:cubicBezTo>
                    <a:pt x="2497" y="2079"/>
                    <a:pt x="2835" y="2418"/>
                    <a:pt x="2835" y="2835"/>
                  </a:cubicBezTo>
                  <a:cubicBezTo>
                    <a:pt x="2835" y="3252"/>
                    <a:pt x="2497" y="3591"/>
                    <a:pt x="2079" y="3591"/>
                  </a:cubicBezTo>
                  <a:cubicBezTo>
                    <a:pt x="1662" y="3590"/>
                    <a:pt x="1324" y="3252"/>
                    <a:pt x="1323" y="2835"/>
                  </a:cubicBezTo>
                  <a:close/>
                  <a:moveTo>
                    <a:pt x="851" y="3780"/>
                  </a:moveTo>
                  <a:cubicBezTo>
                    <a:pt x="2552" y="3780"/>
                    <a:pt x="2552" y="3780"/>
                    <a:pt x="2552" y="3780"/>
                  </a:cubicBezTo>
                  <a:cubicBezTo>
                    <a:pt x="2552" y="4063"/>
                    <a:pt x="2552" y="4063"/>
                    <a:pt x="2552" y="4063"/>
                  </a:cubicBezTo>
                  <a:cubicBezTo>
                    <a:pt x="851" y="4063"/>
                    <a:pt x="851" y="4063"/>
                    <a:pt x="851" y="4063"/>
                  </a:cubicBezTo>
                  <a:lnTo>
                    <a:pt x="851" y="3780"/>
                  </a:lnTo>
                  <a:close/>
                  <a:moveTo>
                    <a:pt x="567" y="4536"/>
                  </a:moveTo>
                  <a:cubicBezTo>
                    <a:pt x="567" y="4252"/>
                    <a:pt x="567" y="4252"/>
                    <a:pt x="567" y="4252"/>
                  </a:cubicBezTo>
                  <a:cubicBezTo>
                    <a:pt x="2268" y="4252"/>
                    <a:pt x="2268" y="4252"/>
                    <a:pt x="2268" y="4252"/>
                  </a:cubicBezTo>
                  <a:cubicBezTo>
                    <a:pt x="2268" y="4536"/>
                    <a:pt x="2268" y="4536"/>
                    <a:pt x="2268" y="4536"/>
                  </a:cubicBezTo>
                  <a:cubicBezTo>
                    <a:pt x="756" y="4536"/>
                    <a:pt x="756" y="4536"/>
                    <a:pt x="756" y="4536"/>
                  </a:cubicBezTo>
                  <a:lnTo>
                    <a:pt x="567" y="4536"/>
                  </a:lnTo>
                  <a:close/>
                  <a:moveTo>
                    <a:pt x="567" y="5197"/>
                  </a:moveTo>
                  <a:cubicBezTo>
                    <a:pt x="2268" y="5197"/>
                    <a:pt x="2268" y="5197"/>
                    <a:pt x="2268" y="5197"/>
                  </a:cubicBezTo>
                  <a:cubicBezTo>
                    <a:pt x="2268" y="5481"/>
                    <a:pt x="2268" y="5481"/>
                    <a:pt x="2268" y="5481"/>
                  </a:cubicBezTo>
                  <a:cubicBezTo>
                    <a:pt x="567" y="5481"/>
                    <a:pt x="567" y="5481"/>
                    <a:pt x="567" y="5481"/>
                  </a:cubicBezTo>
                  <a:lnTo>
                    <a:pt x="567" y="5197"/>
                  </a:lnTo>
                  <a:close/>
                  <a:moveTo>
                    <a:pt x="945" y="945"/>
                  </a:moveTo>
                  <a:cubicBezTo>
                    <a:pt x="323" y="945"/>
                    <a:pt x="323" y="945"/>
                    <a:pt x="323" y="945"/>
                  </a:cubicBezTo>
                  <a:cubicBezTo>
                    <a:pt x="945" y="323"/>
                    <a:pt x="945" y="323"/>
                    <a:pt x="945" y="323"/>
                  </a:cubicBezTo>
                  <a:lnTo>
                    <a:pt x="945" y="9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4" name="Freeform 45">
              <a:extLst>
                <a:ext uri="{FF2B5EF4-FFF2-40B4-BE49-F238E27FC236}">
                  <a16:creationId xmlns:a16="http://schemas.microsoft.com/office/drawing/2014/main" id="{0341E6B6-B9D0-FA2F-7186-E136A613BB8D}"/>
                </a:ext>
              </a:extLst>
            </p:cNvPr>
            <p:cNvSpPr>
              <a:spLocks/>
            </p:cNvSpPr>
            <p:nvPr/>
          </p:nvSpPr>
          <p:spPr bwMode="auto">
            <a:xfrm>
              <a:off x="-50142775" y="1304925"/>
              <a:ext cx="2393950" cy="4254500"/>
            </a:xfrm>
            <a:custGeom>
              <a:avLst/>
              <a:gdLst>
                <a:gd name="T0" fmla="*/ 319 w 638"/>
                <a:gd name="T1" fmla="*/ 284 h 1134"/>
                <a:gd name="T2" fmla="*/ 603 w 638"/>
                <a:gd name="T3" fmla="*/ 284 h 1134"/>
                <a:gd name="T4" fmla="*/ 603 w 638"/>
                <a:gd name="T5" fmla="*/ 95 h 1134"/>
                <a:gd name="T6" fmla="*/ 414 w 638"/>
                <a:gd name="T7" fmla="*/ 95 h 1134"/>
                <a:gd name="T8" fmla="*/ 414 w 638"/>
                <a:gd name="T9" fmla="*/ 0 h 1134"/>
                <a:gd name="T10" fmla="*/ 225 w 638"/>
                <a:gd name="T11" fmla="*/ 0 h 1134"/>
                <a:gd name="T12" fmla="*/ 225 w 638"/>
                <a:gd name="T13" fmla="*/ 112 h 1134"/>
                <a:gd name="T14" fmla="*/ 52 w 638"/>
                <a:gd name="T15" fmla="*/ 473 h 1134"/>
                <a:gd name="T16" fmla="*/ 319 w 638"/>
                <a:gd name="T17" fmla="*/ 661 h 1134"/>
                <a:gd name="T18" fmla="*/ 414 w 638"/>
                <a:gd name="T19" fmla="*/ 756 h 1134"/>
                <a:gd name="T20" fmla="*/ 319 w 638"/>
                <a:gd name="T21" fmla="*/ 850 h 1134"/>
                <a:gd name="T22" fmla="*/ 36 w 638"/>
                <a:gd name="T23" fmla="*/ 850 h 1134"/>
                <a:gd name="T24" fmla="*/ 36 w 638"/>
                <a:gd name="T25" fmla="*/ 1039 h 1134"/>
                <a:gd name="T26" fmla="*/ 225 w 638"/>
                <a:gd name="T27" fmla="*/ 1039 h 1134"/>
                <a:gd name="T28" fmla="*/ 225 w 638"/>
                <a:gd name="T29" fmla="*/ 1134 h 1134"/>
                <a:gd name="T30" fmla="*/ 414 w 638"/>
                <a:gd name="T31" fmla="*/ 1134 h 1134"/>
                <a:gd name="T32" fmla="*/ 414 w 638"/>
                <a:gd name="T33" fmla="*/ 1022 h 1134"/>
                <a:gd name="T34" fmla="*/ 586 w 638"/>
                <a:gd name="T35" fmla="*/ 661 h 1134"/>
                <a:gd name="T36" fmla="*/ 319 w 638"/>
                <a:gd name="T37" fmla="*/ 473 h 1134"/>
                <a:gd name="T38" fmla="*/ 225 w 638"/>
                <a:gd name="T39" fmla="*/ 378 h 1134"/>
                <a:gd name="T40" fmla="*/ 319 w 638"/>
                <a:gd name="T41" fmla="*/ 284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38" h="1134">
                  <a:moveTo>
                    <a:pt x="319" y="284"/>
                  </a:moveTo>
                  <a:cubicBezTo>
                    <a:pt x="603" y="284"/>
                    <a:pt x="603" y="284"/>
                    <a:pt x="603" y="284"/>
                  </a:cubicBezTo>
                  <a:cubicBezTo>
                    <a:pt x="603" y="95"/>
                    <a:pt x="603" y="95"/>
                    <a:pt x="603" y="95"/>
                  </a:cubicBezTo>
                  <a:cubicBezTo>
                    <a:pt x="414" y="95"/>
                    <a:pt x="414" y="95"/>
                    <a:pt x="414" y="95"/>
                  </a:cubicBezTo>
                  <a:cubicBezTo>
                    <a:pt x="414" y="0"/>
                    <a:pt x="414" y="0"/>
                    <a:pt x="414" y="0"/>
                  </a:cubicBezTo>
                  <a:cubicBezTo>
                    <a:pt x="225" y="0"/>
                    <a:pt x="225" y="0"/>
                    <a:pt x="225" y="0"/>
                  </a:cubicBezTo>
                  <a:cubicBezTo>
                    <a:pt x="225" y="112"/>
                    <a:pt x="225" y="112"/>
                    <a:pt x="225" y="112"/>
                  </a:cubicBezTo>
                  <a:cubicBezTo>
                    <a:pt x="77" y="164"/>
                    <a:pt x="0" y="325"/>
                    <a:pt x="52" y="473"/>
                  </a:cubicBezTo>
                  <a:cubicBezTo>
                    <a:pt x="92" y="586"/>
                    <a:pt x="199" y="662"/>
                    <a:pt x="319" y="661"/>
                  </a:cubicBezTo>
                  <a:cubicBezTo>
                    <a:pt x="371" y="661"/>
                    <a:pt x="414" y="704"/>
                    <a:pt x="414" y="756"/>
                  </a:cubicBezTo>
                  <a:cubicBezTo>
                    <a:pt x="414" y="808"/>
                    <a:pt x="371" y="850"/>
                    <a:pt x="319" y="850"/>
                  </a:cubicBezTo>
                  <a:cubicBezTo>
                    <a:pt x="36" y="850"/>
                    <a:pt x="36" y="850"/>
                    <a:pt x="36" y="850"/>
                  </a:cubicBezTo>
                  <a:cubicBezTo>
                    <a:pt x="36" y="1039"/>
                    <a:pt x="36" y="1039"/>
                    <a:pt x="36" y="1039"/>
                  </a:cubicBezTo>
                  <a:cubicBezTo>
                    <a:pt x="225" y="1039"/>
                    <a:pt x="225" y="1039"/>
                    <a:pt x="225" y="1039"/>
                  </a:cubicBezTo>
                  <a:cubicBezTo>
                    <a:pt x="225" y="1134"/>
                    <a:pt x="225" y="1134"/>
                    <a:pt x="225" y="1134"/>
                  </a:cubicBezTo>
                  <a:cubicBezTo>
                    <a:pt x="414" y="1134"/>
                    <a:pt x="414" y="1134"/>
                    <a:pt x="414" y="1134"/>
                  </a:cubicBezTo>
                  <a:cubicBezTo>
                    <a:pt x="414" y="1022"/>
                    <a:pt x="414" y="1022"/>
                    <a:pt x="414" y="1022"/>
                  </a:cubicBezTo>
                  <a:cubicBezTo>
                    <a:pt x="561" y="970"/>
                    <a:pt x="638" y="809"/>
                    <a:pt x="586" y="661"/>
                  </a:cubicBezTo>
                  <a:cubicBezTo>
                    <a:pt x="546" y="548"/>
                    <a:pt x="439" y="472"/>
                    <a:pt x="319" y="473"/>
                  </a:cubicBezTo>
                  <a:cubicBezTo>
                    <a:pt x="267" y="473"/>
                    <a:pt x="225" y="430"/>
                    <a:pt x="225" y="378"/>
                  </a:cubicBezTo>
                  <a:cubicBezTo>
                    <a:pt x="225" y="326"/>
                    <a:pt x="267" y="284"/>
                    <a:pt x="319" y="2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5" name="Freeform 46">
              <a:extLst>
                <a:ext uri="{FF2B5EF4-FFF2-40B4-BE49-F238E27FC236}">
                  <a16:creationId xmlns:a16="http://schemas.microsoft.com/office/drawing/2014/main" id="{6867CD2C-EA34-3B65-BEE1-CB456F0F0B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1144825" y="-7202488"/>
              <a:ext cx="4964113" cy="8507413"/>
            </a:xfrm>
            <a:custGeom>
              <a:avLst/>
              <a:gdLst>
                <a:gd name="T0" fmla="*/ 1134 w 1323"/>
                <a:gd name="T1" fmla="*/ 473 h 2268"/>
                <a:gd name="T2" fmla="*/ 945 w 1323"/>
                <a:gd name="T3" fmla="*/ 473 h 2268"/>
                <a:gd name="T4" fmla="*/ 850 w 1323"/>
                <a:gd name="T5" fmla="*/ 378 h 2268"/>
                <a:gd name="T6" fmla="*/ 756 w 1323"/>
                <a:gd name="T7" fmla="*/ 378 h 2268"/>
                <a:gd name="T8" fmla="*/ 756 w 1323"/>
                <a:gd name="T9" fmla="*/ 95 h 2268"/>
                <a:gd name="T10" fmla="*/ 661 w 1323"/>
                <a:gd name="T11" fmla="*/ 0 h 2268"/>
                <a:gd name="T12" fmla="*/ 283 w 1323"/>
                <a:gd name="T13" fmla="*/ 0 h 2268"/>
                <a:gd name="T14" fmla="*/ 189 w 1323"/>
                <a:gd name="T15" fmla="*/ 95 h 2268"/>
                <a:gd name="T16" fmla="*/ 189 w 1323"/>
                <a:gd name="T17" fmla="*/ 378 h 2268"/>
                <a:gd name="T18" fmla="*/ 94 w 1323"/>
                <a:gd name="T19" fmla="*/ 378 h 2268"/>
                <a:gd name="T20" fmla="*/ 0 w 1323"/>
                <a:gd name="T21" fmla="*/ 473 h 2268"/>
                <a:gd name="T22" fmla="*/ 0 w 1323"/>
                <a:gd name="T23" fmla="*/ 2268 h 2268"/>
                <a:gd name="T24" fmla="*/ 189 w 1323"/>
                <a:gd name="T25" fmla="*/ 2268 h 2268"/>
                <a:gd name="T26" fmla="*/ 189 w 1323"/>
                <a:gd name="T27" fmla="*/ 567 h 2268"/>
                <a:gd name="T28" fmla="*/ 756 w 1323"/>
                <a:gd name="T29" fmla="*/ 567 h 2268"/>
                <a:gd name="T30" fmla="*/ 756 w 1323"/>
                <a:gd name="T31" fmla="*/ 2268 h 2268"/>
                <a:gd name="T32" fmla="*/ 945 w 1323"/>
                <a:gd name="T33" fmla="*/ 2268 h 2268"/>
                <a:gd name="T34" fmla="*/ 945 w 1323"/>
                <a:gd name="T35" fmla="*/ 662 h 2268"/>
                <a:gd name="T36" fmla="*/ 1134 w 1323"/>
                <a:gd name="T37" fmla="*/ 662 h 2268"/>
                <a:gd name="T38" fmla="*/ 1134 w 1323"/>
                <a:gd name="T39" fmla="*/ 1890 h 2268"/>
                <a:gd name="T40" fmla="*/ 1323 w 1323"/>
                <a:gd name="T41" fmla="*/ 1890 h 2268"/>
                <a:gd name="T42" fmla="*/ 1323 w 1323"/>
                <a:gd name="T43" fmla="*/ 662 h 2268"/>
                <a:gd name="T44" fmla="*/ 1134 w 1323"/>
                <a:gd name="T45" fmla="*/ 473 h 2268"/>
                <a:gd name="T46" fmla="*/ 567 w 1323"/>
                <a:gd name="T47" fmla="*/ 378 h 2268"/>
                <a:gd name="T48" fmla="*/ 378 w 1323"/>
                <a:gd name="T49" fmla="*/ 378 h 2268"/>
                <a:gd name="T50" fmla="*/ 378 w 1323"/>
                <a:gd name="T51" fmla="*/ 189 h 2268"/>
                <a:gd name="T52" fmla="*/ 567 w 1323"/>
                <a:gd name="T53" fmla="*/ 189 h 2268"/>
                <a:gd name="T54" fmla="*/ 567 w 1323"/>
                <a:gd name="T55" fmla="*/ 378 h 2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323" h="2268">
                  <a:moveTo>
                    <a:pt x="1134" y="473"/>
                  </a:moveTo>
                  <a:cubicBezTo>
                    <a:pt x="945" y="473"/>
                    <a:pt x="945" y="473"/>
                    <a:pt x="945" y="473"/>
                  </a:cubicBezTo>
                  <a:cubicBezTo>
                    <a:pt x="945" y="421"/>
                    <a:pt x="902" y="378"/>
                    <a:pt x="850" y="378"/>
                  </a:cubicBezTo>
                  <a:cubicBezTo>
                    <a:pt x="756" y="378"/>
                    <a:pt x="756" y="378"/>
                    <a:pt x="756" y="378"/>
                  </a:cubicBezTo>
                  <a:cubicBezTo>
                    <a:pt x="756" y="95"/>
                    <a:pt x="756" y="95"/>
                    <a:pt x="756" y="95"/>
                  </a:cubicBezTo>
                  <a:cubicBezTo>
                    <a:pt x="756" y="43"/>
                    <a:pt x="713" y="0"/>
                    <a:pt x="661" y="0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231" y="0"/>
                    <a:pt x="189" y="43"/>
                    <a:pt x="189" y="95"/>
                  </a:cubicBezTo>
                  <a:cubicBezTo>
                    <a:pt x="189" y="378"/>
                    <a:pt x="189" y="378"/>
                    <a:pt x="189" y="378"/>
                  </a:cubicBezTo>
                  <a:cubicBezTo>
                    <a:pt x="94" y="378"/>
                    <a:pt x="94" y="378"/>
                    <a:pt x="94" y="378"/>
                  </a:cubicBezTo>
                  <a:cubicBezTo>
                    <a:pt x="42" y="378"/>
                    <a:pt x="0" y="421"/>
                    <a:pt x="0" y="473"/>
                  </a:cubicBezTo>
                  <a:cubicBezTo>
                    <a:pt x="0" y="2268"/>
                    <a:pt x="0" y="2268"/>
                    <a:pt x="0" y="2268"/>
                  </a:cubicBezTo>
                  <a:cubicBezTo>
                    <a:pt x="189" y="2268"/>
                    <a:pt x="189" y="2268"/>
                    <a:pt x="189" y="2268"/>
                  </a:cubicBezTo>
                  <a:cubicBezTo>
                    <a:pt x="189" y="567"/>
                    <a:pt x="189" y="567"/>
                    <a:pt x="189" y="567"/>
                  </a:cubicBezTo>
                  <a:cubicBezTo>
                    <a:pt x="756" y="567"/>
                    <a:pt x="756" y="567"/>
                    <a:pt x="756" y="567"/>
                  </a:cubicBezTo>
                  <a:cubicBezTo>
                    <a:pt x="756" y="2268"/>
                    <a:pt x="756" y="2268"/>
                    <a:pt x="756" y="2268"/>
                  </a:cubicBezTo>
                  <a:cubicBezTo>
                    <a:pt x="945" y="2268"/>
                    <a:pt x="945" y="2268"/>
                    <a:pt x="945" y="2268"/>
                  </a:cubicBezTo>
                  <a:cubicBezTo>
                    <a:pt x="945" y="662"/>
                    <a:pt x="945" y="662"/>
                    <a:pt x="945" y="662"/>
                  </a:cubicBezTo>
                  <a:cubicBezTo>
                    <a:pt x="1134" y="662"/>
                    <a:pt x="1134" y="662"/>
                    <a:pt x="1134" y="662"/>
                  </a:cubicBezTo>
                  <a:cubicBezTo>
                    <a:pt x="1134" y="1890"/>
                    <a:pt x="1134" y="1890"/>
                    <a:pt x="1134" y="1890"/>
                  </a:cubicBezTo>
                  <a:cubicBezTo>
                    <a:pt x="1323" y="1890"/>
                    <a:pt x="1323" y="1890"/>
                    <a:pt x="1323" y="1890"/>
                  </a:cubicBezTo>
                  <a:cubicBezTo>
                    <a:pt x="1323" y="662"/>
                    <a:pt x="1323" y="662"/>
                    <a:pt x="1323" y="662"/>
                  </a:cubicBezTo>
                  <a:cubicBezTo>
                    <a:pt x="1323" y="557"/>
                    <a:pt x="1238" y="473"/>
                    <a:pt x="1134" y="473"/>
                  </a:cubicBezTo>
                  <a:close/>
                  <a:moveTo>
                    <a:pt x="567" y="378"/>
                  </a:moveTo>
                  <a:cubicBezTo>
                    <a:pt x="378" y="378"/>
                    <a:pt x="378" y="378"/>
                    <a:pt x="378" y="378"/>
                  </a:cubicBezTo>
                  <a:cubicBezTo>
                    <a:pt x="378" y="189"/>
                    <a:pt x="378" y="189"/>
                    <a:pt x="378" y="189"/>
                  </a:cubicBezTo>
                  <a:cubicBezTo>
                    <a:pt x="567" y="189"/>
                    <a:pt x="567" y="189"/>
                    <a:pt x="567" y="189"/>
                  </a:cubicBezTo>
                  <a:lnTo>
                    <a:pt x="567" y="3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6" name="Rectangle 47">
              <a:extLst>
                <a:ext uri="{FF2B5EF4-FFF2-40B4-BE49-F238E27FC236}">
                  <a16:creationId xmlns:a16="http://schemas.microsoft.com/office/drawing/2014/main" id="{FFDC2803-16A2-6DFC-5C52-AF1B839B78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1425475" y="-4367213"/>
              <a:ext cx="6026150" cy="7096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7" name="Rectangle 48">
              <a:extLst>
                <a:ext uri="{FF2B5EF4-FFF2-40B4-BE49-F238E27FC236}">
                  <a16:creationId xmlns:a16="http://schemas.microsoft.com/office/drawing/2014/main" id="{30F2CF30-0CDD-A110-BE5E-E8C7FDB890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5327550" y="-2239963"/>
              <a:ext cx="12055475" cy="7096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8" name="Rectangle 49">
              <a:extLst>
                <a:ext uri="{FF2B5EF4-FFF2-40B4-BE49-F238E27FC236}">
                  <a16:creationId xmlns:a16="http://schemas.microsoft.com/office/drawing/2014/main" id="{A09B60B5-33AE-2DFE-6FD0-943117BF22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5327550" y="-822325"/>
              <a:ext cx="4254500" cy="7096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9" name="Rectangle 50">
              <a:extLst>
                <a:ext uri="{FF2B5EF4-FFF2-40B4-BE49-F238E27FC236}">
                  <a16:creationId xmlns:a16="http://schemas.microsoft.com/office/drawing/2014/main" id="{A2EC910E-8473-57D4-FE11-1FF619EC2F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46461363" y="-822325"/>
              <a:ext cx="3189288" cy="7096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</p:spTree>
    <p:extLst>
      <p:ext uri="{BB962C8B-B14F-4D97-AF65-F5344CB8AC3E}">
        <p14:creationId xmlns:p14="http://schemas.microsoft.com/office/powerpoint/2010/main" val="808254032"/>
      </p:ext>
    </p:extLst>
  </p:cSld>
  <p:clrMapOvr>
    <a:masterClrMapping/>
  </p:clrMapOvr>
</p:sld>
</file>

<file path=ppt/slides/slide1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36BE01-BDEF-C7D6-5254-0FF0CB09CA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think-cell data - do not delete" hidden="1">
            <a:extLst>
              <a:ext uri="{FF2B5EF4-FFF2-40B4-BE49-F238E27FC236}">
                <a16:creationId xmlns:a16="http://schemas.microsoft.com/office/drawing/2014/main" id="{04C9EA60-5C20-9C6B-136B-ADC51EE62BA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0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4C9EA60-5C20-9C6B-136B-ADC51EE62B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4CA60AB-C624-7469-7B67-33F9158E83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ircular layou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97BA760-5928-C603-0FD4-47668C723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39</a:t>
            </a:fld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FE3403D3-DD23-B7AB-88C8-C9AE674BA3EC}"/>
              </a:ext>
            </a:extLst>
          </p:cNvPr>
          <p:cNvGrpSpPr/>
          <p:nvPr/>
        </p:nvGrpSpPr>
        <p:grpSpPr>
          <a:xfrm>
            <a:off x="3788748" y="1501238"/>
            <a:ext cx="4417568" cy="4417568"/>
            <a:chOff x="2915412" y="1178814"/>
            <a:chExt cx="3313176" cy="3313176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C2A97BE3-59C7-9DE7-2253-8C0BB45A08A2}"/>
                </a:ext>
              </a:extLst>
            </p:cNvPr>
            <p:cNvGrpSpPr/>
            <p:nvPr/>
          </p:nvGrpSpPr>
          <p:grpSpPr>
            <a:xfrm rot="1624490">
              <a:off x="2915412" y="1178814"/>
              <a:ext cx="3313176" cy="3313176"/>
              <a:chOff x="2905125" y="4616450"/>
              <a:chExt cx="1868488" cy="1851025"/>
            </a:xfrm>
          </p:grpSpPr>
          <p:sp>
            <p:nvSpPr>
              <p:cNvPr id="10" name="Freeform 40">
                <a:extLst>
                  <a:ext uri="{FF2B5EF4-FFF2-40B4-BE49-F238E27FC236}">
                    <a16:creationId xmlns:a16="http://schemas.microsoft.com/office/drawing/2014/main" id="{B86658D9-BE0B-52F1-66F0-D19486A103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62275" y="5534025"/>
                <a:ext cx="876300" cy="793750"/>
              </a:xfrm>
              <a:custGeom>
                <a:avLst/>
                <a:gdLst>
                  <a:gd name="T0" fmla="*/ 1282 w 1282"/>
                  <a:gd name="T1" fmla="*/ 0 h 1159"/>
                  <a:gd name="T2" fmla="*/ 917 w 1282"/>
                  <a:gd name="T3" fmla="*/ 82 h 1159"/>
                  <a:gd name="T4" fmla="*/ 559 w 1282"/>
                  <a:gd name="T5" fmla="*/ 162 h 1159"/>
                  <a:gd name="T6" fmla="*/ 514 w 1282"/>
                  <a:gd name="T7" fmla="*/ 233 h 1159"/>
                  <a:gd name="T8" fmla="*/ 86 w 1282"/>
                  <a:gd name="T9" fmla="*/ 331 h 1159"/>
                  <a:gd name="T10" fmla="*/ 18 w 1282"/>
                  <a:gd name="T11" fmla="*/ 448 h 1159"/>
                  <a:gd name="T12" fmla="*/ 444 w 1282"/>
                  <a:gd name="T13" fmla="*/ 1046 h 1159"/>
                  <a:gd name="T14" fmla="*/ 561 w 1282"/>
                  <a:gd name="T15" fmla="*/ 1130 h 1159"/>
                  <a:gd name="T16" fmla="*/ 690 w 1282"/>
                  <a:gd name="T17" fmla="*/ 1090 h 1159"/>
                  <a:gd name="T18" fmla="*/ 881 w 1282"/>
                  <a:gd name="T19" fmla="*/ 693 h 1159"/>
                  <a:gd name="T20" fmla="*/ 960 w 1282"/>
                  <a:gd name="T21" fmla="*/ 665 h 1159"/>
                  <a:gd name="T22" fmla="*/ 1282 w 1282"/>
                  <a:gd name="T23" fmla="*/ 0 h 1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282" h="1159">
                    <a:moveTo>
                      <a:pt x="1282" y="0"/>
                    </a:moveTo>
                    <a:cubicBezTo>
                      <a:pt x="1276" y="1"/>
                      <a:pt x="1235" y="11"/>
                      <a:pt x="917" y="82"/>
                    </a:cubicBezTo>
                    <a:cubicBezTo>
                      <a:pt x="779" y="113"/>
                      <a:pt x="660" y="140"/>
                      <a:pt x="559" y="162"/>
                    </a:cubicBezTo>
                    <a:cubicBezTo>
                      <a:pt x="566" y="194"/>
                      <a:pt x="546" y="226"/>
                      <a:pt x="514" y="233"/>
                    </a:cubicBezTo>
                    <a:cubicBezTo>
                      <a:pt x="86" y="331"/>
                      <a:pt x="86" y="331"/>
                      <a:pt x="86" y="331"/>
                    </a:cubicBezTo>
                    <a:cubicBezTo>
                      <a:pt x="32" y="343"/>
                      <a:pt x="0" y="396"/>
                      <a:pt x="18" y="448"/>
                    </a:cubicBezTo>
                    <a:cubicBezTo>
                      <a:pt x="99" y="676"/>
                      <a:pt x="242" y="884"/>
                      <a:pt x="444" y="1046"/>
                    </a:cubicBezTo>
                    <a:cubicBezTo>
                      <a:pt x="482" y="1076"/>
                      <a:pt x="521" y="1104"/>
                      <a:pt x="561" y="1130"/>
                    </a:cubicBezTo>
                    <a:cubicBezTo>
                      <a:pt x="607" y="1159"/>
                      <a:pt x="666" y="1140"/>
                      <a:pt x="690" y="1090"/>
                    </a:cubicBezTo>
                    <a:cubicBezTo>
                      <a:pt x="881" y="693"/>
                      <a:pt x="881" y="693"/>
                      <a:pt x="881" y="693"/>
                    </a:cubicBezTo>
                    <a:cubicBezTo>
                      <a:pt x="895" y="664"/>
                      <a:pt x="930" y="651"/>
                      <a:pt x="960" y="665"/>
                    </a:cubicBezTo>
                    <a:cubicBezTo>
                      <a:pt x="1251" y="64"/>
                      <a:pt x="1279" y="6"/>
                      <a:pt x="1282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1" name="Freeform 41">
                <a:extLst>
                  <a:ext uri="{FF2B5EF4-FFF2-40B4-BE49-F238E27FC236}">
                    <a16:creationId xmlns:a16="http://schemas.microsoft.com/office/drawing/2014/main" id="{F033CE23-6145-85E0-2014-2CDE434082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05125" y="5010150"/>
                <a:ext cx="933450" cy="679450"/>
              </a:xfrm>
              <a:custGeom>
                <a:avLst/>
                <a:gdLst>
                  <a:gd name="T0" fmla="*/ 1000 w 1365"/>
                  <a:gd name="T1" fmla="*/ 849 h 994"/>
                  <a:gd name="T2" fmla="*/ 1365 w 1365"/>
                  <a:gd name="T3" fmla="*/ 767 h 994"/>
                  <a:gd name="T4" fmla="*/ 1365 w 1365"/>
                  <a:gd name="T5" fmla="*/ 767 h 994"/>
                  <a:gd name="T6" fmla="*/ 1364 w 1365"/>
                  <a:gd name="T7" fmla="*/ 766 h 994"/>
                  <a:gd name="T8" fmla="*/ 1362 w 1365"/>
                  <a:gd name="T9" fmla="*/ 764 h 994"/>
                  <a:gd name="T10" fmla="*/ 1361 w 1365"/>
                  <a:gd name="T11" fmla="*/ 763 h 994"/>
                  <a:gd name="T12" fmla="*/ 1360 w 1365"/>
                  <a:gd name="T13" fmla="*/ 762 h 994"/>
                  <a:gd name="T14" fmla="*/ 1358 w 1365"/>
                  <a:gd name="T15" fmla="*/ 761 h 994"/>
                  <a:gd name="T16" fmla="*/ 1357 w 1365"/>
                  <a:gd name="T17" fmla="*/ 760 h 994"/>
                  <a:gd name="T18" fmla="*/ 1357 w 1365"/>
                  <a:gd name="T19" fmla="*/ 760 h 994"/>
                  <a:gd name="T20" fmla="*/ 1347 w 1365"/>
                  <a:gd name="T21" fmla="*/ 752 h 994"/>
                  <a:gd name="T22" fmla="*/ 1344 w 1365"/>
                  <a:gd name="T23" fmla="*/ 750 h 994"/>
                  <a:gd name="T24" fmla="*/ 1341 w 1365"/>
                  <a:gd name="T25" fmla="*/ 747 h 994"/>
                  <a:gd name="T26" fmla="*/ 1324 w 1365"/>
                  <a:gd name="T27" fmla="*/ 733 h 994"/>
                  <a:gd name="T28" fmla="*/ 1318 w 1365"/>
                  <a:gd name="T29" fmla="*/ 729 h 994"/>
                  <a:gd name="T30" fmla="*/ 1311 w 1365"/>
                  <a:gd name="T31" fmla="*/ 723 h 994"/>
                  <a:gd name="T32" fmla="*/ 1308 w 1365"/>
                  <a:gd name="T33" fmla="*/ 721 h 994"/>
                  <a:gd name="T34" fmla="*/ 1305 w 1365"/>
                  <a:gd name="T35" fmla="*/ 719 h 994"/>
                  <a:gd name="T36" fmla="*/ 1254 w 1365"/>
                  <a:gd name="T37" fmla="*/ 678 h 994"/>
                  <a:gd name="T38" fmla="*/ 1247 w 1365"/>
                  <a:gd name="T39" fmla="*/ 672 h 994"/>
                  <a:gd name="T40" fmla="*/ 1225 w 1365"/>
                  <a:gd name="T41" fmla="*/ 654 h 994"/>
                  <a:gd name="T42" fmla="*/ 1215 w 1365"/>
                  <a:gd name="T43" fmla="*/ 647 h 994"/>
                  <a:gd name="T44" fmla="*/ 1212 w 1365"/>
                  <a:gd name="T45" fmla="*/ 644 h 994"/>
                  <a:gd name="T46" fmla="*/ 1169 w 1365"/>
                  <a:gd name="T47" fmla="*/ 610 h 994"/>
                  <a:gd name="T48" fmla="*/ 1153 w 1365"/>
                  <a:gd name="T49" fmla="*/ 596 h 994"/>
                  <a:gd name="T50" fmla="*/ 1142 w 1365"/>
                  <a:gd name="T51" fmla="*/ 588 h 994"/>
                  <a:gd name="T52" fmla="*/ 1108 w 1365"/>
                  <a:gd name="T53" fmla="*/ 560 h 994"/>
                  <a:gd name="T54" fmla="*/ 1098 w 1365"/>
                  <a:gd name="T55" fmla="*/ 552 h 994"/>
                  <a:gd name="T56" fmla="*/ 1026 w 1365"/>
                  <a:gd name="T57" fmla="*/ 495 h 994"/>
                  <a:gd name="T58" fmla="*/ 1024 w 1365"/>
                  <a:gd name="T59" fmla="*/ 493 h 994"/>
                  <a:gd name="T60" fmla="*/ 1007 w 1365"/>
                  <a:gd name="T61" fmla="*/ 480 h 994"/>
                  <a:gd name="T62" fmla="*/ 969 w 1365"/>
                  <a:gd name="T63" fmla="*/ 449 h 994"/>
                  <a:gd name="T64" fmla="*/ 950 w 1365"/>
                  <a:gd name="T65" fmla="*/ 434 h 994"/>
                  <a:gd name="T66" fmla="*/ 929 w 1365"/>
                  <a:gd name="T67" fmla="*/ 417 h 994"/>
                  <a:gd name="T68" fmla="*/ 851 w 1365"/>
                  <a:gd name="T69" fmla="*/ 354 h 994"/>
                  <a:gd name="T70" fmla="*/ 831 w 1365"/>
                  <a:gd name="T71" fmla="*/ 339 h 994"/>
                  <a:gd name="T72" fmla="*/ 785 w 1365"/>
                  <a:gd name="T73" fmla="*/ 302 h 994"/>
                  <a:gd name="T74" fmla="*/ 703 w 1365"/>
                  <a:gd name="T75" fmla="*/ 310 h 994"/>
                  <a:gd name="T76" fmla="*/ 359 w 1365"/>
                  <a:gd name="T77" fmla="*/ 34 h 994"/>
                  <a:gd name="T78" fmla="*/ 225 w 1365"/>
                  <a:gd name="T79" fmla="*/ 54 h 994"/>
                  <a:gd name="T80" fmla="*/ 31 w 1365"/>
                  <a:gd name="T81" fmla="*/ 905 h 994"/>
                  <a:gd name="T82" fmla="*/ 143 w 1365"/>
                  <a:gd name="T83" fmla="*/ 982 h 994"/>
                  <a:gd name="T84" fmla="*/ 571 w 1365"/>
                  <a:gd name="T85" fmla="*/ 884 h 994"/>
                  <a:gd name="T86" fmla="*/ 642 w 1365"/>
                  <a:gd name="T87" fmla="*/ 929 h 994"/>
                  <a:gd name="T88" fmla="*/ 1000 w 1365"/>
                  <a:gd name="T89" fmla="*/ 849 h 9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365" h="994">
                    <a:moveTo>
                      <a:pt x="1000" y="849"/>
                    </a:moveTo>
                    <a:cubicBezTo>
                      <a:pt x="1318" y="778"/>
                      <a:pt x="1359" y="768"/>
                      <a:pt x="1365" y="767"/>
                    </a:cubicBezTo>
                    <a:cubicBezTo>
                      <a:pt x="1365" y="767"/>
                      <a:pt x="1365" y="767"/>
                      <a:pt x="1365" y="767"/>
                    </a:cubicBezTo>
                    <a:cubicBezTo>
                      <a:pt x="1365" y="766"/>
                      <a:pt x="1365" y="766"/>
                      <a:pt x="1364" y="766"/>
                    </a:cubicBezTo>
                    <a:cubicBezTo>
                      <a:pt x="1364" y="766"/>
                      <a:pt x="1363" y="765"/>
                      <a:pt x="1362" y="764"/>
                    </a:cubicBezTo>
                    <a:cubicBezTo>
                      <a:pt x="1362" y="764"/>
                      <a:pt x="1361" y="763"/>
                      <a:pt x="1361" y="763"/>
                    </a:cubicBezTo>
                    <a:cubicBezTo>
                      <a:pt x="1360" y="763"/>
                      <a:pt x="1360" y="763"/>
                      <a:pt x="1360" y="762"/>
                    </a:cubicBezTo>
                    <a:cubicBezTo>
                      <a:pt x="1359" y="762"/>
                      <a:pt x="1359" y="762"/>
                      <a:pt x="1358" y="761"/>
                    </a:cubicBezTo>
                    <a:cubicBezTo>
                      <a:pt x="1358" y="761"/>
                      <a:pt x="1357" y="760"/>
                      <a:pt x="1357" y="760"/>
                    </a:cubicBezTo>
                    <a:cubicBezTo>
                      <a:pt x="1357" y="760"/>
                      <a:pt x="1357" y="760"/>
                      <a:pt x="1357" y="760"/>
                    </a:cubicBezTo>
                    <a:cubicBezTo>
                      <a:pt x="1354" y="758"/>
                      <a:pt x="1351" y="755"/>
                      <a:pt x="1347" y="752"/>
                    </a:cubicBezTo>
                    <a:cubicBezTo>
                      <a:pt x="1346" y="751"/>
                      <a:pt x="1345" y="750"/>
                      <a:pt x="1344" y="750"/>
                    </a:cubicBezTo>
                    <a:cubicBezTo>
                      <a:pt x="1343" y="749"/>
                      <a:pt x="1342" y="748"/>
                      <a:pt x="1341" y="747"/>
                    </a:cubicBezTo>
                    <a:cubicBezTo>
                      <a:pt x="1335" y="742"/>
                      <a:pt x="1329" y="738"/>
                      <a:pt x="1324" y="733"/>
                    </a:cubicBezTo>
                    <a:cubicBezTo>
                      <a:pt x="1322" y="732"/>
                      <a:pt x="1320" y="730"/>
                      <a:pt x="1318" y="729"/>
                    </a:cubicBezTo>
                    <a:cubicBezTo>
                      <a:pt x="1316" y="727"/>
                      <a:pt x="1314" y="725"/>
                      <a:pt x="1311" y="723"/>
                    </a:cubicBezTo>
                    <a:cubicBezTo>
                      <a:pt x="1310" y="723"/>
                      <a:pt x="1309" y="722"/>
                      <a:pt x="1308" y="721"/>
                    </a:cubicBezTo>
                    <a:cubicBezTo>
                      <a:pt x="1307" y="720"/>
                      <a:pt x="1306" y="719"/>
                      <a:pt x="1305" y="719"/>
                    </a:cubicBezTo>
                    <a:cubicBezTo>
                      <a:pt x="1292" y="708"/>
                      <a:pt x="1275" y="694"/>
                      <a:pt x="1254" y="678"/>
                    </a:cubicBezTo>
                    <a:cubicBezTo>
                      <a:pt x="1252" y="676"/>
                      <a:pt x="1250" y="674"/>
                      <a:pt x="1247" y="672"/>
                    </a:cubicBezTo>
                    <a:cubicBezTo>
                      <a:pt x="1240" y="666"/>
                      <a:pt x="1233" y="660"/>
                      <a:pt x="1225" y="654"/>
                    </a:cubicBezTo>
                    <a:cubicBezTo>
                      <a:pt x="1221" y="651"/>
                      <a:pt x="1218" y="649"/>
                      <a:pt x="1215" y="647"/>
                    </a:cubicBezTo>
                    <a:cubicBezTo>
                      <a:pt x="1214" y="646"/>
                      <a:pt x="1213" y="645"/>
                      <a:pt x="1212" y="644"/>
                    </a:cubicBezTo>
                    <a:cubicBezTo>
                      <a:pt x="1198" y="632"/>
                      <a:pt x="1183" y="621"/>
                      <a:pt x="1169" y="610"/>
                    </a:cubicBezTo>
                    <a:cubicBezTo>
                      <a:pt x="1164" y="605"/>
                      <a:pt x="1158" y="601"/>
                      <a:pt x="1153" y="596"/>
                    </a:cubicBezTo>
                    <a:cubicBezTo>
                      <a:pt x="1149" y="593"/>
                      <a:pt x="1145" y="590"/>
                      <a:pt x="1142" y="588"/>
                    </a:cubicBezTo>
                    <a:cubicBezTo>
                      <a:pt x="1131" y="579"/>
                      <a:pt x="1119" y="570"/>
                      <a:pt x="1108" y="560"/>
                    </a:cubicBezTo>
                    <a:cubicBezTo>
                      <a:pt x="1104" y="557"/>
                      <a:pt x="1101" y="555"/>
                      <a:pt x="1098" y="552"/>
                    </a:cubicBezTo>
                    <a:cubicBezTo>
                      <a:pt x="1076" y="535"/>
                      <a:pt x="1052" y="516"/>
                      <a:pt x="1026" y="495"/>
                    </a:cubicBezTo>
                    <a:cubicBezTo>
                      <a:pt x="1026" y="495"/>
                      <a:pt x="1025" y="494"/>
                      <a:pt x="1024" y="493"/>
                    </a:cubicBezTo>
                    <a:cubicBezTo>
                      <a:pt x="1019" y="489"/>
                      <a:pt x="1013" y="484"/>
                      <a:pt x="1007" y="480"/>
                    </a:cubicBezTo>
                    <a:cubicBezTo>
                      <a:pt x="994" y="469"/>
                      <a:pt x="982" y="459"/>
                      <a:pt x="969" y="449"/>
                    </a:cubicBezTo>
                    <a:cubicBezTo>
                      <a:pt x="963" y="444"/>
                      <a:pt x="957" y="439"/>
                      <a:pt x="950" y="434"/>
                    </a:cubicBezTo>
                    <a:cubicBezTo>
                      <a:pt x="943" y="428"/>
                      <a:pt x="936" y="423"/>
                      <a:pt x="929" y="417"/>
                    </a:cubicBezTo>
                    <a:cubicBezTo>
                      <a:pt x="904" y="397"/>
                      <a:pt x="878" y="376"/>
                      <a:pt x="851" y="354"/>
                    </a:cubicBezTo>
                    <a:cubicBezTo>
                      <a:pt x="844" y="349"/>
                      <a:pt x="837" y="344"/>
                      <a:pt x="831" y="339"/>
                    </a:cubicBezTo>
                    <a:cubicBezTo>
                      <a:pt x="816" y="327"/>
                      <a:pt x="801" y="314"/>
                      <a:pt x="785" y="302"/>
                    </a:cubicBezTo>
                    <a:cubicBezTo>
                      <a:pt x="764" y="326"/>
                      <a:pt x="728" y="330"/>
                      <a:pt x="703" y="310"/>
                    </a:cubicBezTo>
                    <a:cubicBezTo>
                      <a:pt x="359" y="34"/>
                      <a:pt x="359" y="34"/>
                      <a:pt x="359" y="34"/>
                    </a:cubicBezTo>
                    <a:cubicBezTo>
                      <a:pt x="316" y="0"/>
                      <a:pt x="254" y="8"/>
                      <a:pt x="225" y="54"/>
                    </a:cubicBezTo>
                    <a:cubicBezTo>
                      <a:pt x="63" y="314"/>
                      <a:pt x="0" y="615"/>
                      <a:pt x="31" y="905"/>
                    </a:cubicBezTo>
                    <a:cubicBezTo>
                      <a:pt x="37" y="960"/>
                      <a:pt x="89" y="994"/>
                      <a:pt x="143" y="982"/>
                    </a:cubicBezTo>
                    <a:cubicBezTo>
                      <a:pt x="571" y="884"/>
                      <a:pt x="571" y="884"/>
                      <a:pt x="571" y="884"/>
                    </a:cubicBezTo>
                    <a:cubicBezTo>
                      <a:pt x="603" y="877"/>
                      <a:pt x="635" y="897"/>
                      <a:pt x="642" y="929"/>
                    </a:cubicBezTo>
                    <a:cubicBezTo>
                      <a:pt x="790" y="896"/>
                      <a:pt x="907" y="870"/>
                      <a:pt x="1000" y="849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2" name="Freeform 42">
                <a:extLst>
                  <a:ext uri="{FF2B5EF4-FFF2-40B4-BE49-F238E27FC236}">
                    <a16:creationId xmlns:a16="http://schemas.microsoft.com/office/drawing/2014/main" id="{4047F12C-1611-12BB-44FF-222D35B905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68650" y="4616450"/>
                <a:ext cx="671513" cy="917575"/>
              </a:xfrm>
              <a:custGeom>
                <a:avLst/>
                <a:gdLst>
                  <a:gd name="T0" fmla="*/ 400 w 982"/>
                  <a:gd name="T1" fmla="*/ 876 h 1340"/>
                  <a:gd name="T2" fmla="*/ 446 w 982"/>
                  <a:gd name="T3" fmla="*/ 913 h 1340"/>
                  <a:gd name="T4" fmla="*/ 466 w 982"/>
                  <a:gd name="T5" fmla="*/ 928 h 1340"/>
                  <a:gd name="T6" fmla="*/ 544 w 982"/>
                  <a:gd name="T7" fmla="*/ 991 h 1340"/>
                  <a:gd name="T8" fmla="*/ 565 w 982"/>
                  <a:gd name="T9" fmla="*/ 1008 h 1340"/>
                  <a:gd name="T10" fmla="*/ 584 w 982"/>
                  <a:gd name="T11" fmla="*/ 1023 h 1340"/>
                  <a:gd name="T12" fmla="*/ 622 w 982"/>
                  <a:gd name="T13" fmla="*/ 1054 h 1340"/>
                  <a:gd name="T14" fmla="*/ 639 w 982"/>
                  <a:gd name="T15" fmla="*/ 1067 h 1340"/>
                  <a:gd name="T16" fmla="*/ 641 w 982"/>
                  <a:gd name="T17" fmla="*/ 1069 h 1340"/>
                  <a:gd name="T18" fmla="*/ 713 w 982"/>
                  <a:gd name="T19" fmla="*/ 1126 h 1340"/>
                  <a:gd name="T20" fmla="*/ 723 w 982"/>
                  <a:gd name="T21" fmla="*/ 1134 h 1340"/>
                  <a:gd name="T22" fmla="*/ 757 w 982"/>
                  <a:gd name="T23" fmla="*/ 1162 h 1340"/>
                  <a:gd name="T24" fmla="*/ 768 w 982"/>
                  <a:gd name="T25" fmla="*/ 1170 h 1340"/>
                  <a:gd name="T26" fmla="*/ 784 w 982"/>
                  <a:gd name="T27" fmla="*/ 1184 h 1340"/>
                  <a:gd name="T28" fmla="*/ 827 w 982"/>
                  <a:gd name="T29" fmla="*/ 1218 h 1340"/>
                  <a:gd name="T30" fmla="*/ 830 w 982"/>
                  <a:gd name="T31" fmla="*/ 1221 h 1340"/>
                  <a:gd name="T32" fmla="*/ 840 w 982"/>
                  <a:gd name="T33" fmla="*/ 1228 h 1340"/>
                  <a:gd name="T34" fmla="*/ 862 w 982"/>
                  <a:gd name="T35" fmla="*/ 1246 h 1340"/>
                  <a:gd name="T36" fmla="*/ 869 w 982"/>
                  <a:gd name="T37" fmla="*/ 1252 h 1340"/>
                  <a:gd name="T38" fmla="*/ 920 w 982"/>
                  <a:gd name="T39" fmla="*/ 1293 h 1340"/>
                  <a:gd name="T40" fmla="*/ 923 w 982"/>
                  <a:gd name="T41" fmla="*/ 1295 h 1340"/>
                  <a:gd name="T42" fmla="*/ 926 w 982"/>
                  <a:gd name="T43" fmla="*/ 1297 h 1340"/>
                  <a:gd name="T44" fmla="*/ 933 w 982"/>
                  <a:gd name="T45" fmla="*/ 1303 h 1340"/>
                  <a:gd name="T46" fmla="*/ 939 w 982"/>
                  <a:gd name="T47" fmla="*/ 1307 h 1340"/>
                  <a:gd name="T48" fmla="*/ 956 w 982"/>
                  <a:gd name="T49" fmla="*/ 1321 h 1340"/>
                  <a:gd name="T50" fmla="*/ 959 w 982"/>
                  <a:gd name="T51" fmla="*/ 1324 h 1340"/>
                  <a:gd name="T52" fmla="*/ 962 w 982"/>
                  <a:gd name="T53" fmla="*/ 1326 h 1340"/>
                  <a:gd name="T54" fmla="*/ 972 w 982"/>
                  <a:gd name="T55" fmla="*/ 1334 h 1340"/>
                  <a:gd name="T56" fmla="*/ 972 w 982"/>
                  <a:gd name="T57" fmla="*/ 1334 h 1340"/>
                  <a:gd name="T58" fmla="*/ 973 w 982"/>
                  <a:gd name="T59" fmla="*/ 1335 h 1340"/>
                  <a:gd name="T60" fmla="*/ 975 w 982"/>
                  <a:gd name="T61" fmla="*/ 1336 h 1340"/>
                  <a:gd name="T62" fmla="*/ 976 w 982"/>
                  <a:gd name="T63" fmla="*/ 1337 h 1340"/>
                  <a:gd name="T64" fmla="*/ 977 w 982"/>
                  <a:gd name="T65" fmla="*/ 1338 h 1340"/>
                  <a:gd name="T66" fmla="*/ 979 w 982"/>
                  <a:gd name="T67" fmla="*/ 1340 h 1340"/>
                  <a:gd name="T68" fmla="*/ 980 w 982"/>
                  <a:gd name="T69" fmla="*/ 1340 h 1340"/>
                  <a:gd name="T70" fmla="*/ 982 w 982"/>
                  <a:gd name="T71" fmla="*/ 597 h 1340"/>
                  <a:gd name="T72" fmla="*/ 980 w 982"/>
                  <a:gd name="T73" fmla="*/ 597 h 1340"/>
                  <a:gd name="T74" fmla="*/ 920 w 982"/>
                  <a:gd name="T75" fmla="*/ 537 h 1340"/>
                  <a:gd name="T76" fmla="*/ 920 w 982"/>
                  <a:gd name="T77" fmla="*/ 98 h 1340"/>
                  <a:gd name="T78" fmla="*/ 821 w 982"/>
                  <a:gd name="T79" fmla="*/ 6 h 1340"/>
                  <a:gd name="T80" fmla="*/ 39 w 982"/>
                  <a:gd name="T81" fmla="*/ 380 h 1340"/>
                  <a:gd name="T82" fmla="*/ 49 w 982"/>
                  <a:gd name="T83" fmla="*/ 515 h 1340"/>
                  <a:gd name="T84" fmla="*/ 392 w 982"/>
                  <a:gd name="T85" fmla="*/ 791 h 1340"/>
                  <a:gd name="T86" fmla="*/ 402 w 982"/>
                  <a:gd name="T87" fmla="*/ 874 h 1340"/>
                  <a:gd name="T88" fmla="*/ 400 w 982"/>
                  <a:gd name="T89" fmla="*/ 876 h 13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982" h="1340">
                    <a:moveTo>
                      <a:pt x="400" y="876"/>
                    </a:moveTo>
                    <a:cubicBezTo>
                      <a:pt x="416" y="888"/>
                      <a:pt x="431" y="901"/>
                      <a:pt x="446" y="913"/>
                    </a:cubicBezTo>
                    <a:cubicBezTo>
                      <a:pt x="453" y="918"/>
                      <a:pt x="459" y="923"/>
                      <a:pt x="466" y="928"/>
                    </a:cubicBezTo>
                    <a:cubicBezTo>
                      <a:pt x="493" y="950"/>
                      <a:pt x="519" y="971"/>
                      <a:pt x="544" y="991"/>
                    </a:cubicBezTo>
                    <a:cubicBezTo>
                      <a:pt x="551" y="997"/>
                      <a:pt x="558" y="1003"/>
                      <a:pt x="565" y="1008"/>
                    </a:cubicBezTo>
                    <a:cubicBezTo>
                      <a:pt x="572" y="1013"/>
                      <a:pt x="578" y="1018"/>
                      <a:pt x="584" y="1023"/>
                    </a:cubicBezTo>
                    <a:cubicBezTo>
                      <a:pt x="597" y="1034"/>
                      <a:pt x="610" y="1044"/>
                      <a:pt x="622" y="1054"/>
                    </a:cubicBezTo>
                    <a:cubicBezTo>
                      <a:pt x="628" y="1058"/>
                      <a:pt x="634" y="1063"/>
                      <a:pt x="639" y="1067"/>
                    </a:cubicBezTo>
                    <a:cubicBezTo>
                      <a:pt x="640" y="1068"/>
                      <a:pt x="641" y="1068"/>
                      <a:pt x="641" y="1069"/>
                    </a:cubicBezTo>
                    <a:cubicBezTo>
                      <a:pt x="667" y="1090"/>
                      <a:pt x="691" y="1109"/>
                      <a:pt x="713" y="1126"/>
                    </a:cubicBezTo>
                    <a:cubicBezTo>
                      <a:pt x="716" y="1129"/>
                      <a:pt x="719" y="1132"/>
                      <a:pt x="723" y="1134"/>
                    </a:cubicBezTo>
                    <a:cubicBezTo>
                      <a:pt x="734" y="1144"/>
                      <a:pt x="746" y="1153"/>
                      <a:pt x="757" y="1162"/>
                    </a:cubicBezTo>
                    <a:cubicBezTo>
                      <a:pt x="760" y="1164"/>
                      <a:pt x="764" y="1167"/>
                      <a:pt x="768" y="1170"/>
                    </a:cubicBezTo>
                    <a:cubicBezTo>
                      <a:pt x="773" y="1175"/>
                      <a:pt x="779" y="1179"/>
                      <a:pt x="784" y="1184"/>
                    </a:cubicBezTo>
                    <a:cubicBezTo>
                      <a:pt x="800" y="1196"/>
                      <a:pt x="814" y="1207"/>
                      <a:pt x="827" y="1218"/>
                    </a:cubicBezTo>
                    <a:cubicBezTo>
                      <a:pt x="828" y="1219"/>
                      <a:pt x="829" y="1220"/>
                      <a:pt x="830" y="1221"/>
                    </a:cubicBezTo>
                    <a:cubicBezTo>
                      <a:pt x="833" y="1223"/>
                      <a:pt x="837" y="1225"/>
                      <a:pt x="840" y="1228"/>
                    </a:cubicBezTo>
                    <a:cubicBezTo>
                      <a:pt x="848" y="1234"/>
                      <a:pt x="855" y="1240"/>
                      <a:pt x="862" y="1246"/>
                    </a:cubicBezTo>
                    <a:cubicBezTo>
                      <a:pt x="865" y="1248"/>
                      <a:pt x="867" y="1250"/>
                      <a:pt x="869" y="1252"/>
                    </a:cubicBezTo>
                    <a:cubicBezTo>
                      <a:pt x="890" y="1268"/>
                      <a:pt x="907" y="1282"/>
                      <a:pt x="920" y="1293"/>
                    </a:cubicBezTo>
                    <a:cubicBezTo>
                      <a:pt x="921" y="1293"/>
                      <a:pt x="922" y="1294"/>
                      <a:pt x="923" y="1295"/>
                    </a:cubicBezTo>
                    <a:cubicBezTo>
                      <a:pt x="924" y="1296"/>
                      <a:pt x="925" y="1297"/>
                      <a:pt x="926" y="1297"/>
                    </a:cubicBezTo>
                    <a:cubicBezTo>
                      <a:pt x="929" y="1299"/>
                      <a:pt x="931" y="1301"/>
                      <a:pt x="933" y="1303"/>
                    </a:cubicBezTo>
                    <a:cubicBezTo>
                      <a:pt x="935" y="1304"/>
                      <a:pt x="937" y="1306"/>
                      <a:pt x="939" y="1307"/>
                    </a:cubicBezTo>
                    <a:cubicBezTo>
                      <a:pt x="945" y="1313"/>
                      <a:pt x="951" y="1317"/>
                      <a:pt x="956" y="1321"/>
                    </a:cubicBezTo>
                    <a:cubicBezTo>
                      <a:pt x="957" y="1322"/>
                      <a:pt x="958" y="1323"/>
                      <a:pt x="959" y="1324"/>
                    </a:cubicBezTo>
                    <a:cubicBezTo>
                      <a:pt x="960" y="1325"/>
                      <a:pt x="961" y="1325"/>
                      <a:pt x="962" y="1326"/>
                    </a:cubicBezTo>
                    <a:cubicBezTo>
                      <a:pt x="966" y="1329"/>
                      <a:pt x="969" y="1332"/>
                      <a:pt x="972" y="1334"/>
                    </a:cubicBezTo>
                    <a:cubicBezTo>
                      <a:pt x="972" y="1334"/>
                      <a:pt x="972" y="1334"/>
                      <a:pt x="972" y="1334"/>
                    </a:cubicBezTo>
                    <a:cubicBezTo>
                      <a:pt x="972" y="1334"/>
                      <a:pt x="973" y="1335"/>
                      <a:pt x="973" y="1335"/>
                    </a:cubicBezTo>
                    <a:cubicBezTo>
                      <a:pt x="974" y="1336"/>
                      <a:pt x="975" y="1336"/>
                      <a:pt x="975" y="1336"/>
                    </a:cubicBezTo>
                    <a:cubicBezTo>
                      <a:pt x="975" y="1337"/>
                      <a:pt x="975" y="1337"/>
                      <a:pt x="976" y="1337"/>
                    </a:cubicBezTo>
                    <a:cubicBezTo>
                      <a:pt x="976" y="1337"/>
                      <a:pt x="977" y="1338"/>
                      <a:pt x="977" y="1338"/>
                    </a:cubicBezTo>
                    <a:cubicBezTo>
                      <a:pt x="978" y="1339"/>
                      <a:pt x="979" y="1340"/>
                      <a:pt x="979" y="1340"/>
                    </a:cubicBezTo>
                    <a:cubicBezTo>
                      <a:pt x="980" y="1340"/>
                      <a:pt x="980" y="1340"/>
                      <a:pt x="980" y="1340"/>
                    </a:cubicBezTo>
                    <a:cubicBezTo>
                      <a:pt x="980" y="1340"/>
                      <a:pt x="980" y="1325"/>
                      <a:pt x="982" y="597"/>
                    </a:cubicBezTo>
                    <a:cubicBezTo>
                      <a:pt x="981" y="597"/>
                      <a:pt x="981" y="597"/>
                      <a:pt x="980" y="597"/>
                    </a:cubicBezTo>
                    <a:cubicBezTo>
                      <a:pt x="947" y="597"/>
                      <a:pt x="920" y="570"/>
                      <a:pt x="920" y="537"/>
                    </a:cubicBezTo>
                    <a:cubicBezTo>
                      <a:pt x="920" y="98"/>
                      <a:pt x="920" y="98"/>
                      <a:pt x="920" y="98"/>
                    </a:cubicBezTo>
                    <a:cubicBezTo>
                      <a:pt x="920" y="43"/>
                      <a:pt x="876" y="0"/>
                      <a:pt x="821" y="6"/>
                    </a:cubicBezTo>
                    <a:cubicBezTo>
                      <a:pt x="533" y="41"/>
                      <a:pt x="257" y="167"/>
                      <a:pt x="39" y="380"/>
                    </a:cubicBezTo>
                    <a:cubicBezTo>
                      <a:pt x="0" y="419"/>
                      <a:pt x="6" y="481"/>
                      <a:pt x="49" y="515"/>
                    </a:cubicBezTo>
                    <a:cubicBezTo>
                      <a:pt x="392" y="791"/>
                      <a:pt x="392" y="791"/>
                      <a:pt x="392" y="791"/>
                    </a:cubicBezTo>
                    <a:cubicBezTo>
                      <a:pt x="418" y="811"/>
                      <a:pt x="422" y="849"/>
                      <a:pt x="402" y="874"/>
                    </a:cubicBezTo>
                    <a:cubicBezTo>
                      <a:pt x="401" y="875"/>
                      <a:pt x="401" y="875"/>
                      <a:pt x="400" y="876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3" name="Freeform 43">
                <a:extLst>
                  <a:ext uri="{FF2B5EF4-FFF2-40B4-BE49-F238E27FC236}">
                    <a16:creationId xmlns:a16="http://schemas.microsoft.com/office/drawing/2014/main" id="{0B9DA207-1DAC-CC49-BEE0-AFFA6BBD2A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40163" y="5534025"/>
                <a:ext cx="874713" cy="792163"/>
              </a:xfrm>
              <a:custGeom>
                <a:avLst/>
                <a:gdLst>
                  <a:gd name="T0" fmla="*/ 0 w 1279"/>
                  <a:gd name="T1" fmla="*/ 0 h 1157"/>
                  <a:gd name="T2" fmla="*/ 319 w 1279"/>
                  <a:gd name="T3" fmla="*/ 666 h 1157"/>
                  <a:gd name="T4" fmla="*/ 321 w 1279"/>
                  <a:gd name="T5" fmla="*/ 665 h 1157"/>
                  <a:gd name="T6" fmla="*/ 401 w 1279"/>
                  <a:gd name="T7" fmla="*/ 692 h 1157"/>
                  <a:gd name="T8" fmla="*/ 592 w 1279"/>
                  <a:gd name="T9" fmla="*/ 1088 h 1157"/>
                  <a:gd name="T10" fmla="*/ 722 w 1279"/>
                  <a:gd name="T11" fmla="*/ 1128 h 1157"/>
                  <a:gd name="T12" fmla="*/ 1045 w 1279"/>
                  <a:gd name="T13" fmla="*/ 837 h 1157"/>
                  <a:gd name="T14" fmla="*/ 1261 w 1279"/>
                  <a:gd name="T15" fmla="*/ 453 h 1157"/>
                  <a:gd name="T16" fmla="*/ 1194 w 1279"/>
                  <a:gd name="T17" fmla="*/ 336 h 1157"/>
                  <a:gd name="T18" fmla="*/ 765 w 1279"/>
                  <a:gd name="T19" fmla="*/ 236 h 1157"/>
                  <a:gd name="T20" fmla="*/ 720 w 1279"/>
                  <a:gd name="T21" fmla="*/ 166 h 1157"/>
                  <a:gd name="T22" fmla="*/ 0 w 1279"/>
                  <a:gd name="T23" fmla="*/ 0 h 1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279" h="1157">
                    <a:moveTo>
                      <a:pt x="0" y="0"/>
                    </a:moveTo>
                    <a:cubicBezTo>
                      <a:pt x="136" y="283"/>
                      <a:pt x="240" y="500"/>
                      <a:pt x="319" y="666"/>
                    </a:cubicBezTo>
                    <a:cubicBezTo>
                      <a:pt x="320" y="665"/>
                      <a:pt x="321" y="665"/>
                      <a:pt x="321" y="665"/>
                    </a:cubicBezTo>
                    <a:cubicBezTo>
                      <a:pt x="351" y="650"/>
                      <a:pt x="386" y="663"/>
                      <a:pt x="401" y="692"/>
                    </a:cubicBezTo>
                    <a:cubicBezTo>
                      <a:pt x="592" y="1088"/>
                      <a:pt x="592" y="1088"/>
                      <a:pt x="592" y="1088"/>
                    </a:cubicBezTo>
                    <a:cubicBezTo>
                      <a:pt x="616" y="1138"/>
                      <a:pt x="676" y="1157"/>
                      <a:pt x="722" y="1128"/>
                    </a:cubicBezTo>
                    <a:cubicBezTo>
                      <a:pt x="842" y="1051"/>
                      <a:pt x="952" y="954"/>
                      <a:pt x="1045" y="837"/>
                    </a:cubicBezTo>
                    <a:cubicBezTo>
                      <a:pt x="1141" y="718"/>
                      <a:pt x="1212" y="589"/>
                      <a:pt x="1261" y="453"/>
                    </a:cubicBezTo>
                    <a:cubicBezTo>
                      <a:pt x="1279" y="401"/>
                      <a:pt x="1247" y="348"/>
                      <a:pt x="1194" y="336"/>
                    </a:cubicBezTo>
                    <a:cubicBezTo>
                      <a:pt x="765" y="236"/>
                      <a:pt x="765" y="236"/>
                      <a:pt x="765" y="236"/>
                    </a:cubicBezTo>
                    <a:cubicBezTo>
                      <a:pt x="733" y="229"/>
                      <a:pt x="714" y="198"/>
                      <a:pt x="720" y="166"/>
                    </a:cubicBezTo>
                    <a:cubicBezTo>
                      <a:pt x="541" y="125"/>
                      <a:pt x="306" y="71"/>
                      <a:pt x="0" y="0"/>
                    </a:cubicBezTo>
                    <a:close/>
                  </a:path>
                </a:pathLst>
              </a:custGeom>
              <a:solidFill>
                <a:schemeClr val="accent5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 dirty="0"/>
              </a:p>
            </p:txBody>
          </p:sp>
          <p:sp>
            <p:nvSpPr>
              <p:cNvPr id="14" name="Freeform 44">
                <a:extLst>
                  <a:ext uri="{FF2B5EF4-FFF2-40B4-BE49-F238E27FC236}">
                    <a16:creationId xmlns:a16="http://schemas.microsoft.com/office/drawing/2014/main" id="{CA304F46-A9BC-2E91-A1F6-B7C93C0338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8575" y="5013325"/>
                <a:ext cx="935038" cy="679450"/>
              </a:xfrm>
              <a:custGeom>
                <a:avLst/>
                <a:gdLst>
                  <a:gd name="T0" fmla="*/ 2 w 1366"/>
                  <a:gd name="T1" fmla="*/ 761 h 994"/>
                  <a:gd name="T2" fmla="*/ 1 w 1366"/>
                  <a:gd name="T3" fmla="*/ 761 h 994"/>
                  <a:gd name="T4" fmla="*/ 0 w 1366"/>
                  <a:gd name="T5" fmla="*/ 762 h 994"/>
                  <a:gd name="T6" fmla="*/ 2 w 1366"/>
                  <a:gd name="T7" fmla="*/ 762 h 994"/>
                  <a:gd name="T8" fmla="*/ 722 w 1366"/>
                  <a:gd name="T9" fmla="*/ 928 h 994"/>
                  <a:gd name="T10" fmla="*/ 722 w 1366"/>
                  <a:gd name="T11" fmla="*/ 927 h 994"/>
                  <a:gd name="T12" fmla="*/ 794 w 1366"/>
                  <a:gd name="T13" fmla="*/ 882 h 994"/>
                  <a:gd name="T14" fmla="*/ 1224 w 1366"/>
                  <a:gd name="T15" fmla="*/ 982 h 994"/>
                  <a:gd name="T16" fmla="*/ 1335 w 1366"/>
                  <a:gd name="T17" fmla="*/ 906 h 994"/>
                  <a:gd name="T18" fmla="*/ 1142 w 1366"/>
                  <a:gd name="T19" fmla="*/ 55 h 994"/>
                  <a:gd name="T20" fmla="*/ 1008 w 1366"/>
                  <a:gd name="T21" fmla="*/ 34 h 994"/>
                  <a:gd name="T22" fmla="*/ 664 w 1366"/>
                  <a:gd name="T23" fmla="*/ 307 h 994"/>
                  <a:gd name="T24" fmla="*/ 582 w 1366"/>
                  <a:gd name="T25" fmla="*/ 300 h 994"/>
                  <a:gd name="T26" fmla="*/ 2 w 1366"/>
                  <a:gd name="T27" fmla="*/ 761 h 9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66" h="994">
                    <a:moveTo>
                      <a:pt x="2" y="761"/>
                    </a:moveTo>
                    <a:cubicBezTo>
                      <a:pt x="2" y="761"/>
                      <a:pt x="1" y="761"/>
                      <a:pt x="1" y="761"/>
                    </a:cubicBezTo>
                    <a:cubicBezTo>
                      <a:pt x="1" y="762"/>
                      <a:pt x="1" y="762"/>
                      <a:pt x="0" y="762"/>
                    </a:cubicBezTo>
                    <a:cubicBezTo>
                      <a:pt x="1" y="762"/>
                      <a:pt x="1" y="762"/>
                      <a:pt x="2" y="762"/>
                    </a:cubicBezTo>
                    <a:cubicBezTo>
                      <a:pt x="308" y="833"/>
                      <a:pt x="543" y="887"/>
                      <a:pt x="722" y="928"/>
                    </a:cubicBezTo>
                    <a:cubicBezTo>
                      <a:pt x="722" y="928"/>
                      <a:pt x="722" y="927"/>
                      <a:pt x="722" y="927"/>
                    </a:cubicBezTo>
                    <a:cubicBezTo>
                      <a:pt x="730" y="895"/>
                      <a:pt x="762" y="875"/>
                      <a:pt x="794" y="882"/>
                    </a:cubicBezTo>
                    <a:cubicBezTo>
                      <a:pt x="1224" y="982"/>
                      <a:pt x="1224" y="982"/>
                      <a:pt x="1224" y="982"/>
                    </a:cubicBezTo>
                    <a:cubicBezTo>
                      <a:pt x="1278" y="994"/>
                      <a:pt x="1329" y="961"/>
                      <a:pt x="1335" y="906"/>
                    </a:cubicBezTo>
                    <a:cubicBezTo>
                      <a:pt x="1366" y="611"/>
                      <a:pt x="1300" y="311"/>
                      <a:pt x="1142" y="55"/>
                    </a:cubicBezTo>
                    <a:cubicBezTo>
                      <a:pt x="1113" y="8"/>
                      <a:pt x="1051" y="0"/>
                      <a:pt x="1008" y="34"/>
                    </a:cubicBezTo>
                    <a:cubicBezTo>
                      <a:pt x="664" y="307"/>
                      <a:pt x="664" y="307"/>
                      <a:pt x="664" y="307"/>
                    </a:cubicBezTo>
                    <a:cubicBezTo>
                      <a:pt x="639" y="327"/>
                      <a:pt x="603" y="323"/>
                      <a:pt x="582" y="300"/>
                    </a:cubicBezTo>
                    <a:cubicBezTo>
                      <a:pt x="73" y="704"/>
                      <a:pt x="10" y="755"/>
                      <a:pt x="2" y="761"/>
                    </a:cubicBezTo>
                    <a:close/>
                  </a:path>
                </a:pathLst>
              </a:cu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 dirty="0"/>
              </a:p>
            </p:txBody>
          </p:sp>
          <p:sp>
            <p:nvSpPr>
              <p:cNvPr id="15" name="Freeform 45">
                <a:extLst>
                  <a:ext uri="{FF2B5EF4-FFF2-40B4-BE49-F238E27FC236}">
                    <a16:creationId xmlns:a16="http://schemas.microsoft.com/office/drawing/2014/main" id="{CED562D1-96E8-3A0E-A010-2FCEE029A4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8575" y="4618038"/>
                <a:ext cx="673100" cy="915988"/>
              </a:xfrm>
              <a:custGeom>
                <a:avLst/>
                <a:gdLst>
                  <a:gd name="T0" fmla="*/ 0 w 984"/>
                  <a:gd name="T1" fmla="*/ 1339 h 1339"/>
                  <a:gd name="T2" fmla="*/ 0 w 984"/>
                  <a:gd name="T3" fmla="*/ 1339 h 1339"/>
                  <a:gd name="T4" fmla="*/ 582 w 984"/>
                  <a:gd name="T5" fmla="*/ 877 h 1339"/>
                  <a:gd name="T6" fmla="*/ 581 w 984"/>
                  <a:gd name="T7" fmla="*/ 876 h 1339"/>
                  <a:gd name="T8" fmla="*/ 590 w 984"/>
                  <a:gd name="T9" fmla="*/ 792 h 1339"/>
                  <a:gd name="T10" fmla="*/ 934 w 984"/>
                  <a:gd name="T11" fmla="*/ 518 h 1339"/>
                  <a:gd name="T12" fmla="*/ 944 w 984"/>
                  <a:gd name="T13" fmla="*/ 383 h 1339"/>
                  <a:gd name="T14" fmla="*/ 841 w 984"/>
                  <a:gd name="T15" fmla="*/ 290 h 1339"/>
                  <a:gd name="T16" fmla="*/ 159 w 984"/>
                  <a:gd name="T17" fmla="*/ 6 h 1339"/>
                  <a:gd name="T18" fmla="*/ 59 w 984"/>
                  <a:gd name="T19" fmla="*/ 98 h 1339"/>
                  <a:gd name="T20" fmla="*/ 59 w 984"/>
                  <a:gd name="T21" fmla="*/ 536 h 1339"/>
                  <a:gd name="T22" fmla="*/ 2 w 984"/>
                  <a:gd name="T23" fmla="*/ 596 h 1339"/>
                  <a:gd name="T24" fmla="*/ 0 w 984"/>
                  <a:gd name="T25" fmla="*/ 1339 h 13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84" h="1339">
                    <a:moveTo>
                      <a:pt x="0" y="1339"/>
                    </a:moveTo>
                    <a:cubicBezTo>
                      <a:pt x="0" y="1339"/>
                      <a:pt x="0" y="1339"/>
                      <a:pt x="0" y="1339"/>
                    </a:cubicBezTo>
                    <a:cubicBezTo>
                      <a:pt x="248" y="1142"/>
                      <a:pt x="437" y="992"/>
                      <a:pt x="582" y="877"/>
                    </a:cubicBezTo>
                    <a:cubicBezTo>
                      <a:pt x="581" y="876"/>
                      <a:pt x="581" y="876"/>
                      <a:pt x="581" y="876"/>
                    </a:cubicBezTo>
                    <a:cubicBezTo>
                      <a:pt x="560" y="850"/>
                      <a:pt x="564" y="812"/>
                      <a:pt x="590" y="792"/>
                    </a:cubicBezTo>
                    <a:cubicBezTo>
                      <a:pt x="934" y="518"/>
                      <a:pt x="934" y="518"/>
                      <a:pt x="934" y="518"/>
                    </a:cubicBezTo>
                    <a:cubicBezTo>
                      <a:pt x="978" y="484"/>
                      <a:pt x="984" y="422"/>
                      <a:pt x="944" y="383"/>
                    </a:cubicBezTo>
                    <a:cubicBezTo>
                      <a:pt x="912" y="351"/>
                      <a:pt x="878" y="320"/>
                      <a:pt x="841" y="290"/>
                    </a:cubicBezTo>
                    <a:cubicBezTo>
                      <a:pt x="638" y="127"/>
                      <a:pt x="401" y="34"/>
                      <a:pt x="159" y="6"/>
                    </a:cubicBezTo>
                    <a:cubicBezTo>
                      <a:pt x="104" y="0"/>
                      <a:pt x="59" y="43"/>
                      <a:pt x="59" y="98"/>
                    </a:cubicBezTo>
                    <a:cubicBezTo>
                      <a:pt x="59" y="536"/>
                      <a:pt x="59" y="536"/>
                      <a:pt x="59" y="536"/>
                    </a:cubicBezTo>
                    <a:cubicBezTo>
                      <a:pt x="59" y="568"/>
                      <a:pt x="34" y="594"/>
                      <a:pt x="2" y="596"/>
                    </a:cubicBezTo>
                    <a:cubicBezTo>
                      <a:pt x="0" y="1324"/>
                      <a:pt x="0" y="1339"/>
                      <a:pt x="0" y="1339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6" name="Freeform 46">
                <a:extLst>
                  <a:ext uri="{FF2B5EF4-FFF2-40B4-BE49-F238E27FC236}">
                    <a16:creationId xmlns:a16="http://schemas.microsoft.com/office/drawing/2014/main" id="{63EA596A-E02B-FD05-A5A1-028992E0EA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90913" y="5534025"/>
                <a:ext cx="698500" cy="933450"/>
              </a:xfrm>
              <a:custGeom>
                <a:avLst/>
                <a:gdLst>
                  <a:gd name="T0" fmla="*/ 508 w 1020"/>
                  <a:gd name="T1" fmla="*/ 0 h 1364"/>
                  <a:gd name="T2" fmla="*/ 187 w 1020"/>
                  <a:gd name="T3" fmla="*/ 665 h 1364"/>
                  <a:gd name="T4" fmla="*/ 214 w 1020"/>
                  <a:gd name="T5" fmla="*/ 745 h 1364"/>
                  <a:gd name="T6" fmla="*/ 24 w 1020"/>
                  <a:gd name="T7" fmla="*/ 1140 h 1364"/>
                  <a:gd name="T8" fmla="*/ 74 w 1020"/>
                  <a:gd name="T9" fmla="*/ 1266 h 1364"/>
                  <a:gd name="T10" fmla="*/ 946 w 1020"/>
                  <a:gd name="T11" fmla="*/ 1267 h 1364"/>
                  <a:gd name="T12" fmla="*/ 996 w 1020"/>
                  <a:gd name="T13" fmla="*/ 1142 h 1364"/>
                  <a:gd name="T14" fmla="*/ 804 w 1020"/>
                  <a:gd name="T15" fmla="*/ 744 h 1364"/>
                  <a:gd name="T16" fmla="*/ 828 w 1020"/>
                  <a:gd name="T17" fmla="*/ 666 h 1364"/>
                  <a:gd name="T18" fmla="*/ 508 w 1020"/>
                  <a:gd name="T19" fmla="*/ 0 h 13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20" h="1364">
                    <a:moveTo>
                      <a:pt x="508" y="0"/>
                    </a:moveTo>
                    <a:cubicBezTo>
                      <a:pt x="371" y="283"/>
                      <a:pt x="267" y="499"/>
                      <a:pt x="187" y="665"/>
                    </a:cubicBezTo>
                    <a:cubicBezTo>
                      <a:pt x="216" y="679"/>
                      <a:pt x="229" y="715"/>
                      <a:pt x="214" y="745"/>
                    </a:cubicBezTo>
                    <a:cubicBezTo>
                      <a:pt x="24" y="1140"/>
                      <a:pt x="24" y="1140"/>
                      <a:pt x="24" y="1140"/>
                    </a:cubicBezTo>
                    <a:cubicBezTo>
                      <a:pt x="0" y="1190"/>
                      <a:pt x="22" y="1248"/>
                      <a:pt x="74" y="1266"/>
                    </a:cubicBezTo>
                    <a:cubicBezTo>
                      <a:pt x="358" y="1364"/>
                      <a:pt x="666" y="1362"/>
                      <a:pt x="946" y="1267"/>
                    </a:cubicBezTo>
                    <a:cubicBezTo>
                      <a:pt x="998" y="1250"/>
                      <a:pt x="1020" y="1191"/>
                      <a:pt x="996" y="1142"/>
                    </a:cubicBezTo>
                    <a:cubicBezTo>
                      <a:pt x="804" y="744"/>
                      <a:pt x="804" y="744"/>
                      <a:pt x="804" y="744"/>
                    </a:cubicBezTo>
                    <a:cubicBezTo>
                      <a:pt x="790" y="715"/>
                      <a:pt x="801" y="681"/>
                      <a:pt x="828" y="666"/>
                    </a:cubicBezTo>
                    <a:cubicBezTo>
                      <a:pt x="515" y="13"/>
                      <a:pt x="509" y="0"/>
                      <a:pt x="508" y="0"/>
                    </a:cubicBezTo>
                    <a:close/>
                  </a:path>
                </a:pathLst>
              </a:custGeom>
              <a:solidFill>
                <a:schemeClr val="accent6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19F71101-B458-6A0D-C4AA-15FEC1E53D87}"/>
                </a:ext>
              </a:extLst>
            </p:cNvPr>
            <p:cNvGrpSpPr/>
            <p:nvPr/>
          </p:nvGrpSpPr>
          <p:grpSpPr>
            <a:xfrm rot="1624490">
              <a:off x="3754122" y="2017524"/>
              <a:ext cx="1635757" cy="1635757"/>
              <a:chOff x="946235" y="4378064"/>
              <a:chExt cx="907416" cy="907416"/>
            </a:xfrm>
          </p:grpSpPr>
          <p:sp>
            <p:nvSpPr>
              <p:cNvPr id="8" name="Oval 7">
                <a:extLst>
                  <a:ext uri="{FF2B5EF4-FFF2-40B4-BE49-F238E27FC236}">
                    <a16:creationId xmlns:a16="http://schemas.microsoft.com/office/drawing/2014/main" id="{F67DA191-0168-D4B5-D4DF-6471A7E00026}"/>
                  </a:ext>
                </a:extLst>
              </p:cNvPr>
              <p:cNvSpPr/>
              <p:nvPr/>
            </p:nvSpPr>
            <p:spPr>
              <a:xfrm>
                <a:off x="946235" y="4378064"/>
                <a:ext cx="907416" cy="907416"/>
              </a:xfrm>
              <a:prstGeom prst="ellipse">
                <a:avLst/>
              </a:prstGeom>
              <a:solidFill>
                <a:schemeClr val="bg1">
                  <a:alpha val="3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9" name="Oval 8">
                <a:extLst>
                  <a:ext uri="{FF2B5EF4-FFF2-40B4-BE49-F238E27FC236}">
                    <a16:creationId xmlns:a16="http://schemas.microsoft.com/office/drawing/2014/main" id="{94EF8E0F-1300-46A1-3124-91A519E4B9C2}"/>
                  </a:ext>
                </a:extLst>
              </p:cNvPr>
              <p:cNvSpPr/>
              <p:nvPr/>
            </p:nvSpPr>
            <p:spPr>
              <a:xfrm>
                <a:off x="1029103" y="4460932"/>
                <a:ext cx="741680" cy="741680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sp>
        <p:nvSpPr>
          <p:cNvPr id="17" name="Rectangle 16">
            <a:extLst>
              <a:ext uri="{FF2B5EF4-FFF2-40B4-BE49-F238E27FC236}">
                <a16:creationId xmlns:a16="http://schemas.microsoft.com/office/drawing/2014/main" id="{D8670836-7F61-0F09-2881-3D5F80A9B058}"/>
              </a:ext>
            </a:extLst>
          </p:cNvPr>
          <p:cNvSpPr/>
          <p:nvPr/>
        </p:nvSpPr>
        <p:spPr>
          <a:xfrm>
            <a:off x="419099" y="1544806"/>
            <a:ext cx="3003923" cy="89255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>
              <a:lnSpc>
                <a:spcPct val="150000"/>
              </a:lnSpc>
            </a:pPr>
            <a:r>
              <a:rPr lang="en-US" sz="1600" b="1" dirty="0">
                <a:solidFill>
                  <a:schemeClr val="accent1"/>
                </a:solidFill>
              </a:rPr>
              <a:t>Enter Your Title</a:t>
            </a:r>
            <a:endParaRPr lang="en-US" sz="1600" dirty="0">
              <a:solidFill>
                <a:schemeClr val="accent1"/>
              </a:solidFill>
            </a:endParaRPr>
          </a:p>
          <a:p>
            <a:pPr algn="r">
              <a:lnSpc>
                <a:spcPct val="150000"/>
              </a:lnSpc>
            </a:pPr>
            <a:r>
              <a:rPr lang="en-US" sz="1200" dirty="0"/>
              <a:t>This is a sample text. You simply add your own text and description here. 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9F58A98-E13E-743D-D29C-4C9E2828FF56}"/>
              </a:ext>
            </a:extLst>
          </p:cNvPr>
          <p:cNvSpPr/>
          <p:nvPr/>
        </p:nvSpPr>
        <p:spPr>
          <a:xfrm>
            <a:off x="419099" y="3243250"/>
            <a:ext cx="3003923" cy="89255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>
              <a:lnSpc>
                <a:spcPct val="150000"/>
              </a:lnSpc>
            </a:pPr>
            <a:r>
              <a:rPr lang="en-US" sz="1600" b="1" dirty="0">
                <a:solidFill>
                  <a:schemeClr val="accent3"/>
                </a:solidFill>
              </a:rPr>
              <a:t>Enter Your Title</a:t>
            </a:r>
            <a:endParaRPr lang="en-US" sz="1600" dirty="0">
              <a:solidFill>
                <a:schemeClr val="accent3"/>
              </a:solidFill>
            </a:endParaRPr>
          </a:p>
          <a:p>
            <a:pPr algn="r">
              <a:lnSpc>
                <a:spcPct val="150000"/>
              </a:lnSpc>
            </a:pPr>
            <a:r>
              <a:rPr lang="en-US" sz="1200" dirty="0"/>
              <a:t>This is a sample text. You simply add your own text and description here. 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D9E3FBA-75AE-1E9E-9420-20E9233B05D5}"/>
              </a:ext>
            </a:extLst>
          </p:cNvPr>
          <p:cNvSpPr/>
          <p:nvPr/>
        </p:nvSpPr>
        <p:spPr>
          <a:xfrm>
            <a:off x="419099" y="4941695"/>
            <a:ext cx="3003923" cy="89255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>
              <a:lnSpc>
                <a:spcPct val="150000"/>
              </a:lnSpc>
            </a:pPr>
            <a:r>
              <a:rPr lang="en-US" sz="1600" b="1" dirty="0">
                <a:solidFill>
                  <a:schemeClr val="accent6"/>
                </a:solidFill>
              </a:rPr>
              <a:t>Enter Your Title</a:t>
            </a:r>
            <a:endParaRPr lang="en-US" sz="1600" dirty="0">
              <a:solidFill>
                <a:schemeClr val="accent6"/>
              </a:solidFill>
            </a:endParaRPr>
          </a:p>
          <a:p>
            <a:pPr algn="r">
              <a:lnSpc>
                <a:spcPct val="150000"/>
              </a:lnSpc>
            </a:pPr>
            <a:r>
              <a:rPr lang="en-US" sz="1200" dirty="0"/>
              <a:t>This is a sample text. You simply add your own text and description here. 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998C7B4-8FC5-403F-180C-888845F9E918}"/>
              </a:ext>
            </a:extLst>
          </p:cNvPr>
          <p:cNvSpPr/>
          <p:nvPr/>
        </p:nvSpPr>
        <p:spPr>
          <a:xfrm>
            <a:off x="8572043" y="1544806"/>
            <a:ext cx="3003923" cy="89255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600" b="1" dirty="0">
                <a:solidFill>
                  <a:schemeClr val="accent2"/>
                </a:solidFill>
              </a:rPr>
              <a:t>Enter Your Title</a:t>
            </a:r>
            <a:endParaRPr lang="en-US" sz="1600" dirty="0">
              <a:solidFill>
                <a:schemeClr val="accent2"/>
              </a:solidFill>
            </a:endParaRPr>
          </a:p>
          <a:p>
            <a:pPr>
              <a:lnSpc>
                <a:spcPct val="150000"/>
              </a:lnSpc>
            </a:pPr>
            <a:r>
              <a:rPr lang="en-US" sz="1200" dirty="0"/>
              <a:t>This is a sample text. You simply add your own text and description here. 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67931382-4347-F2A6-A5BF-2656538C2694}"/>
              </a:ext>
            </a:extLst>
          </p:cNvPr>
          <p:cNvSpPr/>
          <p:nvPr/>
        </p:nvSpPr>
        <p:spPr>
          <a:xfrm>
            <a:off x="8572043" y="2677102"/>
            <a:ext cx="3003923" cy="89255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600" b="1" dirty="0">
                <a:solidFill>
                  <a:schemeClr val="accent3"/>
                </a:solidFill>
              </a:rPr>
              <a:t>Enter Your Title</a:t>
            </a:r>
            <a:endParaRPr lang="en-US" sz="1600" dirty="0">
              <a:solidFill>
                <a:schemeClr val="accent3"/>
              </a:solidFill>
            </a:endParaRPr>
          </a:p>
          <a:p>
            <a:pPr>
              <a:lnSpc>
                <a:spcPct val="150000"/>
              </a:lnSpc>
            </a:pPr>
            <a:r>
              <a:rPr lang="en-US" sz="1200" dirty="0"/>
              <a:t>This is a sample text. You simply add your own text and description here. 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D85E186-0DD7-08D1-079C-EAF1A2D1D085}"/>
              </a:ext>
            </a:extLst>
          </p:cNvPr>
          <p:cNvSpPr/>
          <p:nvPr/>
        </p:nvSpPr>
        <p:spPr>
          <a:xfrm>
            <a:off x="8572043" y="3809398"/>
            <a:ext cx="3003923" cy="89255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600" b="1" dirty="0">
                <a:solidFill>
                  <a:schemeClr val="accent4"/>
                </a:solidFill>
              </a:rPr>
              <a:t>Enter Your Title</a:t>
            </a:r>
            <a:endParaRPr lang="en-US" sz="1600" dirty="0">
              <a:solidFill>
                <a:schemeClr val="accent4"/>
              </a:solidFill>
            </a:endParaRPr>
          </a:p>
          <a:p>
            <a:pPr>
              <a:lnSpc>
                <a:spcPct val="150000"/>
              </a:lnSpc>
            </a:pPr>
            <a:r>
              <a:rPr lang="en-US" sz="1200" dirty="0"/>
              <a:t>This is a sample text. You simply add your own text and description here. 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FADA458-4A5A-4765-7C18-3F56E46F6A27}"/>
              </a:ext>
            </a:extLst>
          </p:cNvPr>
          <p:cNvSpPr/>
          <p:nvPr/>
        </p:nvSpPr>
        <p:spPr>
          <a:xfrm>
            <a:off x="8572043" y="4941695"/>
            <a:ext cx="3003923" cy="89255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600" b="1" dirty="0">
                <a:solidFill>
                  <a:schemeClr val="accent5"/>
                </a:solidFill>
              </a:rPr>
              <a:t>Enter Your Title</a:t>
            </a:r>
            <a:endParaRPr lang="en-US" sz="1600" dirty="0">
              <a:solidFill>
                <a:schemeClr val="accent5"/>
              </a:solidFill>
            </a:endParaRPr>
          </a:p>
          <a:p>
            <a:pPr>
              <a:lnSpc>
                <a:spcPct val="150000"/>
              </a:lnSpc>
            </a:pPr>
            <a:r>
              <a:rPr lang="en-US" sz="1200" dirty="0"/>
              <a:t>This is a sample text. You simply add your own text and description here. 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294CEC97-52CB-F981-CE68-3C97FF48CC31}"/>
              </a:ext>
            </a:extLst>
          </p:cNvPr>
          <p:cNvGrpSpPr/>
          <p:nvPr/>
        </p:nvGrpSpPr>
        <p:grpSpPr>
          <a:xfrm>
            <a:off x="4996028" y="4880069"/>
            <a:ext cx="531221" cy="531936"/>
            <a:chOff x="2897188" y="4360862"/>
            <a:chExt cx="1173162" cy="1174751"/>
          </a:xfrm>
          <a:solidFill>
            <a:schemeClr val="bg1"/>
          </a:solidFill>
        </p:grpSpPr>
        <p:sp>
          <p:nvSpPr>
            <p:cNvPr id="25" name="Freeform 202">
              <a:extLst>
                <a:ext uri="{FF2B5EF4-FFF2-40B4-BE49-F238E27FC236}">
                  <a16:creationId xmlns:a16="http://schemas.microsoft.com/office/drawing/2014/main" id="{A89C5A22-BDFE-810D-6985-152746173B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52775" y="4635500"/>
              <a:ext cx="625475" cy="625475"/>
            </a:xfrm>
            <a:custGeom>
              <a:avLst/>
              <a:gdLst>
                <a:gd name="T0" fmla="*/ 1024 w 1024"/>
                <a:gd name="T1" fmla="*/ 512 h 1024"/>
                <a:gd name="T2" fmla="*/ 0 w 1024"/>
                <a:gd name="T3" fmla="*/ 512 h 1024"/>
                <a:gd name="T4" fmla="*/ 958 w 1024"/>
                <a:gd name="T5" fmla="*/ 480 h 1024"/>
                <a:gd name="T6" fmla="*/ 750 w 1024"/>
                <a:gd name="T7" fmla="*/ 288 h 1024"/>
                <a:gd name="T8" fmla="*/ 958 w 1024"/>
                <a:gd name="T9" fmla="*/ 480 h 1024"/>
                <a:gd name="T10" fmla="*/ 480 w 1024"/>
                <a:gd name="T11" fmla="*/ 953 h 1024"/>
                <a:gd name="T12" fmla="*/ 480 w 1024"/>
                <a:gd name="T13" fmla="*/ 800 h 1024"/>
                <a:gd name="T14" fmla="*/ 313 w 1024"/>
                <a:gd name="T15" fmla="*/ 544 h 1024"/>
                <a:gd name="T16" fmla="*/ 480 w 1024"/>
                <a:gd name="T17" fmla="*/ 736 h 1024"/>
                <a:gd name="T18" fmla="*/ 544 w 1024"/>
                <a:gd name="T19" fmla="*/ 953 h 1024"/>
                <a:gd name="T20" fmla="*/ 664 w 1024"/>
                <a:gd name="T21" fmla="*/ 800 h 1024"/>
                <a:gd name="T22" fmla="*/ 544 w 1024"/>
                <a:gd name="T23" fmla="*/ 736 h 1024"/>
                <a:gd name="T24" fmla="*/ 711 w 1024"/>
                <a:gd name="T25" fmla="*/ 544 h 1024"/>
                <a:gd name="T26" fmla="*/ 544 w 1024"/>
                <a:gd name="T27" fmla="*/ 736 h 1024"/>
                <a:gd name="T28" fmla="*/ 958 w 1024"/>
                <a:gd name="T29" fmla="*/ 544 h 1024"/>
                <a:gd name="T30" fmla="*/ 750 w 1024"/>
                <a:gd name="T31" fmla="*/ 736 h 1024"/>
                <a:gd name="T32" fmla="*/ 711 w 1024"/>
                <a:gd name="T33" fmla="*/ 480 h 1024"/>
                <a:gd name="T34" fmla="*/ 544 w 1024"/>
                <a:gd name="T35" fmla="*/ 288 h 1024"/>
                <a:gd name="T36" fmla="*/ 711 w 1024"/>
                <a:gd name="T37" fmla="*/ 480 h 1024"/>
                <a:gd name="T38" fmla="*/ 544 w 1024"/>
                <a:gd name="T39" fmla="*/ 70 h 1024"/>
                <a:gd name="T40" fmla="*/ 544 w 1024"/>
                <a:gd name="T41" fmla="*/ 224 h 1024"/>
                <a:gd name="T42" fmla="*/ 480 w 1024"/>
                <a:gd name="T43" fmla="*/ 224 h 1024"/>
                <a:gd name="T44" fmla="*/ 480 w 1024"/>
                <a:gd name="T45" fmla="*/ 70 h 1024"/>
                <a:gd name="T46" fmla="*/ 480 w 1024"/>
                <a:gd name="T47" fmla="*/ 480 h 1024"/>
                <a:gd name="T48" fmla="*/ 339 w 1024"/>
                <a:gd name="T49" fmla="*/ 288 h 1024"/>
                <a:gd name="T50" fmla="*/ 249 w 1024"/>
                <a:gd name="T51" fmla="*/ 480 h 1024"/>
                <a:gd name="T52" fmla="*/ 125 w 1024"/>
                <a:gd name="T53" fmla="*/ 288 h 1024"/>
                <a:gd name="T54" fmla="*/ 249 w 1024"/>
                <a:gd name="T55" fmla="*/ 480 h 1024"/>
                <a:gd name="T56" fmla="*/ 274 w 1024"/>
                <a:gd name="T57" fmla="*/ 736 h 1024"/>
                <a:gd name="T58" fmla="*/ 66 w 1024"/>
                <a:gd name="T59" fmla="*/ 544 h 1024"/>
                <a:gd name="T60" fmla="*/ 169 w 1024"/>
                <a:gd name="T61" fmla="*/ 800 h 1024"/>
                <a:gd name="T62" fmla="*/ 360 w 1024"/>
                <a:gd name="T63" fmla="*/ 933 h 1024"/>
                <a:gd name="T64" fmla="*/ 664 w 1024"/>
                <a:gd name="T65" fmla="*/ 933 h 1024"/>
                <a:gd name="T66" fmla="*/ 855 w 1024"/>
                <a:gd name="T67" fmla="*/ 800 h 1024"/>
                <a:gd name="T68" fmla="*/ 855 w 1024"/>
                <a:gd name="T69" fmla="*/ 224 h 1024"/>
                <a:gd name="T70" fmla="*/ 664 w 1024"/>
                <a:gd name="T71" fmla="*/ 91 h 1024"/>
                <a:gd name="T72" fmla="*/ 360 w 1024"/>
                <a:gd name="T73" fmla="*/ 91 h 1024"/>
                <a:gd name="T74" fmla="*/ 169 w 1024"/>
                <a:gd name="T75" fmla="*/ 224 h 10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024" h="1024">
                  <a:moveTo>
                    <a:pt x="512" y="1024"/>
                  </a:moveTo>
                  <a:cubicBezTo>
                    <a:pt x="795" y="1024"/>
                    <a:pt x="1024" y="794"/>
                    <a:pt x="1024" y="512"/>
                  </a:cubicBezTo>
                  <a:cubicBezTo>
                    <a:pt x="1024" y="229"/>
                    <a:pt x="795" y="0"/>
                    <a:pt x="512" y="0"/>
                  </a:cubicBezTo>
                  <a:cubicBezTo>
                    <a:pt x="229" y="0"/>
                    <a:pt x="0" y="229"/>
                    <a:pt x="0" y="512"/>
                  </a:cubicBezTo>
                  <a:cubicBezTo>
                    <a:pt x="0" y="794"/>
                    <a:pt x="229" y="1023"/>
                    <a:pt x="512" y="1024"/>
                  </a:cubicBezTo>
                  <a:moveTo>
                    <a:pt x="958" y="480"/>
                  </a:moveTo>
                  <a:cubicBezTo>
                    <a:pt x="775" y="480"/>
                    <a:pt x="775" y="480"/>
                    <a:pt x="775" y="480"/>
                  </a:cubicBezTo>
                  <a:cubicBezTo>
                    <a:pt x="773" y="415"/>
                    <a:pt x="765" y="351"/>
                    <a:pt x="750" y="288"/>
                  </a:cubicBezTo>
                  <a:cubicBezTo>
                    <a:pt x="899" y="288"/>
                    <a:pt x="899" y="288"/>
                    <a:pt x="899" y="288"/>
                  </a:cubicBezTo>
                  <a:cubicBezTo>
                    <a:pt x="933" y="346"/>
                    <a:pt x="954" y="412"/>
                    <a:pt x="958" y="480"/>
                  </a:cubicBezTo>
                  <a:moveTo>
                    <a:pt x="480" y="800"/>
                  </a:moveTo>
                  <a:cubicBezTo>
                    <a:pt x="480" y="953"/>
                    <a:pt x="480" y="953"/>
                    <a:pt x="480" y="953"/>
                  </a:cubicBezTo>
                  <a:cubicBezTo>
                    <a:pt x="435" y="935"/>
                    <a:pt x="392" y="881"/>
                    <a:pt x="360" y="800"/>
                  </a:cubicBezTo>
                  <a:lnTo>
                    <a:pt x="480" y="800"/>
                  </a:lnTo>
                  <a:close/>
                  <a:moveTo>
                    <a:pt x="339" y="736"/>
                  </a:moveTo>
                  <a:cubicBezTo>
                    <a:pt x="323" y="673"/>
                    <a:pt x="314" y="608"/>
                    <a:pt x="313" y="544"/>
                  </a:cubicBezTo>
                  <a:cubicBezTo>
                    <a:pt x="480" y="544"/>
                    <a:pt x="480" y="544"/>
                    <a:pt x="480" y="544"/>
                  </a:cubicBezTo>
                  <a:cubicBezTo>
                    <a:pt x="480" y="736"/>
                    <a:pt x="480" y="736"/>
                    <a:pt x="480" y="736"/>
                  </a:cubicBezTo>
                  <a:lnTo>
                    <a:pt x="339" y="736"/>
                  </a:lnTo>
                  <a:close/>
                  <a:moveTo>
                    <a:pt x="544" y="953"/>
                  </a:moveTo>
                  <a:cubicBezTo>
                    <a:pt x="544" y="800"/>
                    <a:pt x="544" y="800"/>
                    <a:pt x="544" y="800"/>
                  </a:cubicBezTo>
                  <a:cubicBezTo>
                    <a:pt x="664" y="800"/>
                    <a:pt x="664" y="800"/>
                    <a:pt x="664" y="800"/>
                  </a:cubicBezTo>
                  <a:cubicBezTo>
                    <a:pt x="632" y="881"/>
                    <a:pt x="589" y="935"/>
                    <a:pt x="544" y="953"/>
                  </a:cubicBezTo>
                  <a:moveTo>
                    <a:pt x="544" y="736"/>
                  </a:moveTo>
                  <a:cubicBezTo>
                    <a:pt x="544" y="544"/>
                    <a:pt x="544" y="544"/>
                    <a:pt x="544" y="544"/>
                  </a:cubicBezTo>
                  <a:cubicBezTo>
                    <a:pt x="711" y="544"/>
                    <a:pt x="711" y="544"/>
                    <a:pt x="711" y="544"/>
                  </a:cubicBezTo>
                  <a:cubicBezTo>
                    <a:pt x="710" y="608"/>
                    <a:pt x="701" y="673"/>
                    <a:pt x="685" y="736"/>
                  </a:cubicBezTo>
                  <a:lnTo>
                    <a:pt x="544" y="736"/>
                  </a:lnTo>
                  <a:close/>
                  <a:moveTo>
                    <a:pt x="775" y="544"/>
                  </a:moveTo>
                  <a:cubicBezTo>
                    <a:pt x="958" y="544"/>
                    <a:pt x="958" y="544"/>
                    <a:pt x="958" y="544"/>
                  </a:cubicBezTo>
                  <a:cubicBezTo>
                    <a:pt x="954" y="611"/>
                    <a:pt x="933" y="677"/>
                    <a:pt x="899" y="736"/>
                  </a:cubicBezTo>
                  <a:cubicBezTo>
                    <a:pt x="750" y="736"/>
                    <a:pt x="750" y="736"/>
                    <a:pt x="750" y="736"/>
                  </a:cubicBezTo>
                  <a:cubicBezTo>
                    <a:pt x="765" y="673"/>
                    <a:pt x="773" y="608"/>
                    <a:pt x="775" y="544"/>
                  </a:cubicBezTo>
                  <a:moveTo>
                    <a:pt x="711" y="480"/>
                  </a:moveTo>
                  <a:cubicBezTo>
                    <a:pt x="544" y="480"/>
                    <a:pt x="544" y="480"/>
                    <a:pt x="544" y="480"/>
                  </a:cubicBezTo>
                  <a:cubicBezTo>
                    <a:pt x="544" y="288"/>
                    <a:pt x="544" y="288"/>
                    <a:pt x="544" y="288"/>
                  </a:cubicBezTo>
                  <a:cubicBezTo>
                    <a:pt x="685" y="288"/>
                    <a:pt x="685" y="288"/>
                    <a:pt x="685" y="288"/>
                  </a:cubicBezTo>
                  <a:cubicBezTo>
                    <a:pt x="701" y="350"/>
                    <a:pt x="710" y="415"/>
                    <a:pt x="711" y="480"/>
                  </a:cubicBezTo>
                  <a:moveTo>
                    <a:pt x="544" y="224"/>
                  </a:moveTo>
                  <a:cubicBezTo>
                    <a:pt x="544" y="70"/>
                    <a:pt x="544" y="70"/>
                    <a:pt x="544" y="70"/>
                  </a:cubicBezTo>
                  <a:cubicBezTo>
                    <a:pt x="589" y="88"/>
                    <a:pt x="632" y="142"/>
                    <a:pt x="664" y="224"/>
                  </a:cubicBezTo>
                  <a:lnTo>
                    <a:pt x="544" y="224"/>
                  </a:lnTo>
                  <a:close/>
                  <a:moveTo>
                    <a:pt x="480" y="70"/>
                  </a:moveTo>
                  <a:cubicBezTo>
                    <a:pt x="480" y="224"/>
                    <a:pt x="480" y="224"/>
                    <a:pt x="480" y="224"/>
                  </a:cubicBezTo>
                  <a:cubicBezTo>
                    <a:pt x="360" y="224"/>
                    <a:pt x="360" y="224"/>
                    <a:pt x="360" y="224"/>
                  </a:cubicBezTo>
                  <a:cubicBezTo>
                    <a:pt x="392" y="142"/>
                    <a:pt x="435" y="88"/>
                    <a:pt x="480" y="70"/>
                  </a:cubicBezTo>
                  <a:moveTo>
                    <a:pt x="480" y="288"/>
                  </a:moveTo>
                  <a:cubicBezTo>
                    <a:pt x="480" y="480"/>
                    <a:pt x="480" y="480"/>
                    <a:pt x="480" y="480"/>
                  </a:cubicBezTo>
                  <a:cubicBezTo>
                    <a:pt x="313" y="480"/>
                    <a:pt x="313" y="480"/>
                    <a:pt x="313" y="480"/>
                  </a:cubicBezTo>
                  <a:cubicBezTo>
                    <a:pt x="314" y="415"/>
                    <a:pt x="323" y="350"/>
                    <a:pt x="339" y="288"/>
                  </a:cubicBezTo>
                  <a:lnTo>
                    <a:pt x="480" y="288"/>
                  </a:lnTo>
                  <a:close/>
                  <a:moveTo>
                    <a:pt x="249" y="480"/>
                  </a:moveTo>
                  <a:cubicBezTo>
                    <a:pt x="66" y="480"/>
                    <a:pt x="66" y="480"/>
                    <a:pt x="66" y="480"/>
                  </a:cubicBezTo>
                  <a:cubicBezTo>
                    <a:pt x="70" y="412"/>
                    <a:pt x="91" y="346"/>
                    <a:pt x="125" y="288"/>
                  </a:cubicBezTo>
                  <a:cubicBezTo>
                    <a:pt x="274" y="288"/>
                    <a:pt x="274" y="288"/>
                    <a:pt x="274" y="288"/>
                  </a:cubicBezTo>
                  <a:cubicBezTo>
                    <a:pt x="259" y="351"/>
                    <a:pt x="251" y="415"/>
                    <a:pt x="249" y="480"/>
                  </a:cubicBezTo>
                  <a:moveTo>
                    <a:pt x="249" y="544"/>
                  </a:moveTo>
                  <a:cubicBezTo>
                    <a:pt x="251" y="608"/>
                    <a:pt x="259" y="673"/>
                    <a:pt x="274" y="736"/>
                  </a:cubicBezTo>
                  <a:cubicBezTo>
                    <a:pt x="125" y="736"/>
                    <a:pt x="125" y="736"/>
                    <a:pt x="125" y="736"/>
                  </a:cubicBezTo>
                  <a:cubicBezTo>
                    <a:pt x="91" y="677"/>
                    <a:pt x="70" y="611"/>
                    <a:pt x="66" y="544"/>
                  </a:cubicBezTo>
                  <a:lnTo>
                    <a:pt x="249" y="544"/>
                  </a:lnTo>
                  <a:close/>
                  <a:moveTo>
                    <a:pt x="169" y="800"/>
                  </a:moveTo>
                  <a:cubicBezTo>
                    <a:pt x="293" y="800"/>
                    <a:pt x="293" y="800"/>
                    <a:pt x="293" y="800"/>
                  </a:cubicBezTo>
                  <a:cubicBezTo>
                    <a:pt x="308" y="847"/>
                    <a:pt x="331" y="892"/>
                    <a:pt x="360" y="933"/>
                  </a:cubicBezTo>
                  <a:cubicBezTo>
                    <a:pt x="286" y="906"/>
                    <a:pt x="220" y="860"/>
                    <a:pt x="169" y="800"/>
                  </a:cubicBezTo>
                  <a:moveTo>
                    <a:pt x="664" y="933"/>
                  </a:moveTo>
                  <a:cubicBezTo>
                    <a:pt x="693" y="892"/>
                    <a:pt x="716" y="847"/>
                    <a:pt x="731" y="800"/>
                  </a:cubicBezTo>
                  <a:cubicBezTo>
                    <a:pt x="855" y="800"/>
                    <a:pt x="855" y="800"/>
                    <a:pt x="855" y="800"/>
                  </a:cubicBezTo>
                  <a:cubicBezTo>
                    <a:pt x="804" y="860"/>
                    <a:pt x="738" y="906"/>
                    <a:pt x="664" y="933"/>
                  </a:cubicBezTo>
                  <a:moveTo>
                    <a:pt x="855" y="224"/>
                  </a:moveTo>
                  <a:cubicBezTo>
                    <a:pt x="731" y="224"/>
                    <a:pt x="731" y="224"/>
                    <a:pt x="731" y="224"/>
                  </a:cubicBezTo>
                  <a:cubicBezTo>
                    <a:pt x="716" y="176"/>
                    <a:pt x="693" y="131"/>
                    <a:pt x="664" y="91"/>
                  </a:cubicBezTo>
                  <a:cubicBezTo>
                    <a:pt x="738" y="117"/>
                    <a:pt x="804" y="163"/>
                    <a:pt x="855" y="224"/>
                  </a:cubicBezTo>
                  <a:moveTo>
                    <a:pt x="360" y="91"/>
                  </a:moveTo>
                  <a:cubicBezTo>
                    <a:pt x="331" y="131"/>
                    <a:pt x="308" y="176"/>
                    <a:pt x="293" y="224"/>
                  </a:cubicBezTo>
                  <a:cubicBezTo>
                    <a:pt x="169" y="224"/>
                    <a:pt x="169" y="224"/>
                    <a:pt x="169" y="224"/>
                  </a:cubicBezTo>
                  <a:cubicBezTo>
                    <a:pt x="220" y="163"/>
                    <a:pt x="286" y="117"/>
                    <a:pt x="360" y="9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6" name="Freeform 203">
              <a:extLst>
                <a:ext uri="{FF2B5EF4-FFF2-40B4-BE49-F238E27FC236}">
                  <a16:creationId xmlns:a16="http://schemas.microsoft.com/office/drawing/2014/main" id="{04ABBB2E-F29A-E313-D245-8FDF44C529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90875" y="5280025"/>
              <a:ext cx="590550" cy="255588"/>
            </a:xfrm>
            <a:custGeom>
              <a:avLst/>
              <a:gdLst>
                <a:gd name="T0" fmla="*/ 32 w 966"/>
                <a:gd name="T1" fmla="*/ 320 h 416"/>
                <a:gd name="T2" fmla="*/ 160 w 966"/>
                <a:gd name="T3" fmla="*/ 320 h 416"/>
                <a:gd name="T4" fmla="*/ 192 w 966"/>
                <a:gd name="T5" fmla="*/ 288 h 416"/>
                <a:gd name="T6" fmla="*/ 192 w 966"/>
                <a:gd name="T7" fmla="*/ 288 h 416"/>
                <a:gd name="T8" fmla="*/ 216 w 966"/>
                <a:gd name="T9" fmla="*/ 288 h 416"/>
                <a:gd name="T10" fmla="*/ 463 w 966"/>
                <a:gd name="T11" fmla="*/ 412 h 416"/>
                <a:gd name="T12" fmla="*/ 478 w 966"/>
                <a:gd name="T13" fmla="*/ 416 h 416"/>
                <a:gd name="T14" fmla="*/ 494 w 966"/>
                <a:gd name="T15" fmla="*/ 411 h 416"/>
                <a:gd name="T16" fmla="*/ 926 w 966"/>
                <a:gd name="T17" fmla="*/ 144 h 416"/>
                <a:gd name="T18" fmla="*/ 958 w 966"/>
                <a:gd name="T19" fmla="*/ 71 h 416"/>
                <a:gd name="T20" fmla="*/ 891 w 966"/>
                <a:gd name="T21" fmla="*/ 22 h 416"/>
                <a:gd name="T22" fmla="*/ 890 w 966"/>
                <a:gd name="T23" fmla="*/ 22 h 416"/>
                <a:gd name="T24" fmla="*/ 414 w 966"/>
                <a:gd name="T25" fmla="*/ 64 h 416"/>
                <a:gd name="T26" fmla="*/ 368 w 966"/>
                <a:gd name="T27" fmla="*/ 36 h 416"/>
                <a:gd name="T28" fmla="*/ 352 w 966"/>
                <a:gd name="T29" fmla="*/ 32 h 416"/>
                <a:gd name="T30" fmla="*/ 192 w 966"/>
                <a:gd name="T31" fmla="*/ 32 h 416"/>
                <a:gd name="T32" fmla="*/ 160 w 966"/>
                <a:gd name="T33" fmla="*/ 0 h 416"/>
                <a:gd name="T34" fmla="*/ 160 w 966"/>
                <a:gd name="T35" fmla="*/ 0 h 416"/>
                <a:gd name="T36" fmla="*/ 32 w 966"/>
                <a:gd name="T37" fmla="*/ 0 h 416"/>
                <a:gd name="T38" fmla="*/ 0 w 966"/>
                <a:gd name="T39" fmla="*/ 32 h 416"/>
                <a:gd name="T40" fmla="*/ 0 w 966"/>
                <a:gd name="T41" fmla="*/ 32 h 416"/>
                <a:gd name="T42" fmla="*/ 0 w 966"/>
                <a:gd name="T43" fmla="*/ 288 h 416"/>
                <a:gd name="T44" fmla="*/ 32 w 966"/>
                <a:gd name="T45" fmla="*/ 320 h 416"/>
                <a:gd name="T46" fmla="*/ 343 w 966"/>
                <a:gd name="T47" fmla="*/ 96 h 416"/>
                <a:gd name="T48" fmla="*/ 445 w 966"/>
                <a:gd name="T49" fmla="*/ 157 h 416"/>
                <a:gd name="T50" fmla="*/ 453 w 966"/>
                <a:gd name="T51" fmla="*/ 190 h 416"/>
                <a:gd name="T52" fmla="*/ 453 w 966"/>
                <a:gd name="T53" fmla="*/ 191 h 416"/>
                <a:gd name="T54" fmla="*/ 419 w 966"/>
                <a:gd name="T55" fmla="*/ 198 h 416"/>
                <a:gd name="T56" fmla="*/ 370 w 966"/>
                <a:gd name="T57" fmla="*/ 165 h 416"/>
                <a:gd name="T58" fmla="*/ 334 w 966"/>
                <a:gd name="T59" fmla="*/ 218 h 416"/>
                <a:gd name="T60" fmla="*/ 383 w 966"/>
                <a:gd name="T61" fmla="*/ 251 h 416"/>
                <a:gd name="T62" fmla="*/ 432 w 966"/>
                <a:gd name="T63" fmla="*/ 266 h 416"/>
                <a:gd name="T64" fmla="*/ 450 w 966"/>
                <a:gd name="T65" fmla="*/ 264 h 416"/>
                <a:gd name="T66" fmla="*/ 506 w 966"/>
                <a:gd name="T67" fmla="*/ 226 h 416"/>
                <a:gd name="T68" fmla="*/ 519 w 966"/>
                <a:gd name="T69" fmla="*/ 158 h 416"/>
                <a:gd name="T70" fmla="*/ 499 w 966"/>
                <a:gd name="T71" fmla="*/ 120 h 416"/>
                <a:gd name="T72" fmla="*/ 895 w 966"/>
                <a:gd name="T73" fmla="*/ 86 h 416"/>
                <a:gd name="T74" fmla="*/ 894 w 966"/>
                <a:gd name="T75" fmla="*/ 89 h 416"/>
                <a:gd name="T76" fmla="*/ 476 w 966"/>
                <a:gd name="T77" fmla="*/ 347 h 416"/>
                <a:gd name="T78" fmla="*/ 238 w 966"/>
                <a:gd name="T79" fmla="*/ 227 h 416"/>
                <a:gd name="T80" fmla="*/ 224 w 966"/>
                <a:gd name="T81" fmla="*/ 224 h 416"/>
                <a:gd name="T82" fmla="*/ 192 w 966"/>
                <a:gd name="T83" fmla="*/ 224 h 416"/>
                <a:gd name="T84" fmla="*/ 192 w 966"/>
                <a:gd name="T85" fmla="*/ 96 h 416"/>
                <a:gd name="T86" fmla="*/ 343 w 966"/>
                <a:gd name="T87" fmla="*/ 96 h 416"/>
                <a:gd name="T88" fmla="*/ 64 w 966"/>
                <a:gd name="T89" fmla="*/ 64 h 416"/>
                <a:gd name="T90" fmla="*/ 128 w 966"/>
                <a:gd name="T91" fmla="*/ 64 h 416"/>
                <a:gd name="T92" fmla="*/ 128 w 966"/>
                <a:gd name="T93" fmla="*/ 256 h 416"/>
                <a:gd name="T94" fmla="*/ 64 w 966"/>
                <a:gd name="T95" fmla="*/ 256 h 416"/>
                <a:gd name="T96" fmla="*/ 64 w 966"/>
                <a:gd name="T97" fmla="*/ 64 h 4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966" h="416">
                  <a:moveTo>
                    <a:pt x="32" y="320"/>
                  </a:moveTo>
                  <a:cubicBezTo>
                    <a:pt x="160" y="320"/>
                    <a:pt x="160" y="320"/>
                    <a:pt x="160" y="320"/>
                  </a:cubicBezTo>
                  <a:cubicBezTo>
                    <a:pt x="178" y="320"/>
                    <a:pt x="192" y="305"/>
                    <a:pt x="192" y="288"/>
                  </a:cubicBezTo>
                  <a:cubicBezTo>
                    <a:pt x="192" y="288"/>
                    <a:pt x="192" y="288"/>
                    <a:pt x="192" y="288"/>
                  </a:cubicBezTo>
                  <a:cubicBezTo>
                    <a:pt x="216" y="288"/>
                    <a:pt x="216" y="288"/>
                    <a:pt x="216" y="288"/>
                  </a:cubicBezTo>
                  <a:cubicBezTo>
                    <a:pt x="463" y="412"/>
                    <a:pt x="463" y="412"/>
                    <a:pt x="463" y="412"/>
                  </a:cubicBezTo>
                  <a:cubicBezTo>
                    <a:pt x="468" y="414"/>
                    <a:pt x="473" y="416"/>
                    <a:pt x="478" y="416"/>
                  </a:cubicBezTo>
                  <a:cubicBezTo>
                    <a:pt x="484" y="416"/>
                    <a:pt x="489" y="414"/>
                    <a:pt x="494" y="411"/>
                  </a:cubicBezTo>
                  <a:cubicBezTo>
                    <a:pt x="926" y="144"/>
                    <a:pt x="926" y="144"/>
                    <a:pt x="926" y="144"/>
                  </a:cubicBezTo>
                  <a:cubicBezTo>
                    <a:pt x="953" y="130"/>
                    <a:pt x="966" y="100"/>
                    <a:pt x="958" y="71"/>
                  </a:cubicBezTo>
                  <a:cubicBezTo>
                    <a:pt x="950" y="41"/>
                    <a:pt x="922" y="20"/>
                    <a:pt x="891" y="22"/>
                  </a:cubicBezTo>
                  <a:cubicBezTo>
                    <a:pt x="890" y="22"/>
                    <a:pt x="890" y="22"/>
                    <a:pt x="890" y="22"/>
                  </a:cubicBezTo>
                  <a:cubicBezTo>
                    <a:pt x="414" y="64"/>
                    <a:pt x="414" y="64"/>
                    <a:pt x="414" y="64"/>
                  </a:cubicBezTo>
                  <a:cubicBezTo>
                    <a:pt x="368" y="36"/>
                    <a:pt x="368" y="36"/>
                    <a:pt x="368" y="36"/>
                  </a:cubicBezTo>
                  <a:cubicBezTo>
                    <a:pt x="364" y="33"/>
                    <a:pt x="358" y="32"/>
                    <a:pt x="352" y="32"/>
                  </a:cubicBezTo>
                  <a:cubicBezTo>
                    <a:pt x="192" y="32"/>
                    <a:pt x="192" y="32"/>
                    <a:pt x="192" y="32"/>
                  </a:cubicBezTo>
                  <a:cubicBezTo>
                    <a:pt x="192" y="14"/>
                    <a:pt x="178" y="0"/>
                    <a:pt x="160" y="0"/>
                  </a:cubicBezTo>
                  <a:cubicBezTo>
                    <a:pt x="160" y="0"/>
                    <a:pt x="160" y="0"/>
                    <a:pt x="160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14" y="0"/>
                    <a:pt x="0" y="14"/>
                    <a:pt x="0" y="32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288"/>
                    <a:pt x="0" y="288"/>
                    <a:pt x="0" y="288"/>
                  </a:cubicBezTo>
                  <a:cubicBezTo>
                    <a:pt x="0" y="305"/>
                    <a:pt x="14" y="320"/>
                    <a:pt x="32" y="320"/>
                  </a:cubicBezTo>
                  <a:close/>
                  <a:moveTo>
                    <a:pt x="343" y="96"/>
                  </a:moveTo>
                  <a:cubicBezTo>
                    <a:pt x="445" y="157"/>
                    <a:pt x="445" y="157"/>
                    <a:pt x="445" y="157"/>
                  </a:cubicBezTo>
                  <a:cubicBezTo>
                    <a:pt x="456" y="164"/>
                    <a:pt x="460" y="179"/>
                    <a:pt x="453" y="190"/>
                  </a:cubicBezTo>
                  <a:cubicBezTo>
                    <a:pt x="453" y="190"/>
                    <a:pt x="453" y="191"/>
                    <a:pt x="453" y="191"/>
                  </a:cubicBezTo>
                  <a:cubicBezTo>
                    <a:pt x="445" y="202"/>
                    <a:pt x="430" y="205"/>
                    <a:pt x="419" y="198"/>
                  </a:cubicBezTo>
                  <a:cubicBezTo>
                    <a:pt x="370" y="165"/>
                    <a:pt x="370" y="165"/>
                    <a:pt x="370" y="165"/>
                  </a:cubicBezTo>
                  <a:cubicBezTo>
                    <a:pt x="334" y="218"/>
                    <a:pt x="334" y="218"/>
                    <a:pt x="334" y="218"/>
                  </a:cubicBezTo>
                  <a:cubicBezTo>
                    <a:pt x="383" y="251"/>
                    <a:pt x="383" y="251"/>
                    <a:pt x="383" y="251"/>
                  </a:cubicBezTo>
                  <a:cubicBezTo>
                    <a:pt x="398" y="261"/>
                    <a:pt x="415" y="266"/>
                    <a:pt x="432" y="266"/>
                  </a:cubicBezTo>
                  <a:cubicBezTo>
                    <a:pt x="438" y="266"/>
                    <a:pt x="444" y="265"/>
                    <a:pt x="450" y="264"/>
                  </a:cubicBezTo>
                  <a:cubicBezTo>
                    <a:pt x="473" y="260"/>
                    <a:pt x="493" y="246"/>
                    <a:pt x="506" y="226"/>
                  </a:cubicBezTo>
                  <a:cubicBezTo>
                    <a:pt x="519" y="206"/>
                    <a:pt x="524" y="182"/>
                    <a:pt x="519" y="158"/>
                  </a:cubicBezTo>
                  <a:cubicBezTo>
                    <a:pt x="515" y="144"/>
                    <a:pt x="509" y="131"/>
                    <a:pt x="499" y="120"/>
                  </a:cubicBezTo>
                  <a:cubicBezTo>
                    <a:pt x="895" y="86"/>
                    <a:pt x="895" y="86"/>
                    <a:pt x="895" y="86"/>
                  </a:cubicBezTo>
                  <a:cubicBezTo>
                    <a:pt x="894" y="89"/>
                    <a:pt x="894" y="89"/>
                    <a:pt x="894" y="89"/>
                  </a:cubicBezTo>
                  <a:cubicBezTo>
                    <a:pt x="476" y="347"/>
                    <a:pt x="476" y="347"/>
                    <a:pt x="476" y="347"/>
                  </a:cubicBezTo>
                  <a:cubicBezTo>
                    <a:pt x="238" y="227"/>
                    <a:pt x="238" y="227"/>
                    <a:pt x="238" y="227"/>
                  </a:cubicBezTo>
                  <a:cubicBezTo>
                    <a:pt x="234" y="225"/>
                    <a:pt x="229" y="224"/>
                    <a:pt x="224" y="224"/>
                  </a:cubicBezTo>
                  <a:cubicBezTo>
                    <a:pt x="192" y="224"/>
                    <a:pt x="192" y="224"/>
                    <a:pt x="192" y="224"/>
                  </a:cubicBezTo>
                  <a:cubicBezTo>
                    <a:pt x="192" y="96"/>
                    <a:pt x="192" y="96"/>
                    <a:pt x="192" y="96"/>
                  </a:cubicBezTo>
                  <a:lnTo>
                    <a:pt x="343" y="96"/>
                  </a:lnTo>
                  <a:close/>
                  <a:moveTo>
                    <a:pt x="64" y="64"/>
                  </a:moveTo>
                  <a:cubicBezTo>
                    <a:pt x="128" y="64"/>
                    <a:pt x="128" y="64"/>
                    <a:pt x="128" y="64"/>
                  </a:cubicBezTo>
                  <a:cubicBezTo>
                    <a:pt x="128" y="256"/>
                    <a:pt x="128" y="256"/>
                    <a:pt x="128" y="256"/>
                  </a:cubicBezTo>
                  <a:cubicBezTo>
                    <a:pt x="64" y="256"/>
                    <a:pt x="64" y="256"/>
                    <a:pt x="64" y="256"/>
                  </a:cubicBezTo>
                  <a:lnTo>
                    <a:pt x="64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7" name="Freeform 204">
              <a:extLst>
                <a:ext uri="{FF2B5EF4-FFF2-40B4-BE49-F238E27FC236}">
                  <a16:creationId xmlns:a16="http://schemas.microsoft.com/office/drawing/2014/main" id="{F8774F2D-03FA-18C9-1A1D-107FA6C766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87700" y="4360862"/>
              <a:ext cx="590550" cy="255588"/>
            </a:xfrm>
            <a:custGeom>
              <a:avLst/>
              <a:gdLst>
                <a:gd name="T0" fmla="*/ 774 w 966"/>
                <a:gd name="T1" fmla="*/ 130 h 418"/>
                <a:gd name="T2" fmla="*/ 750 w 966"/>
                <a:gd name="T3" fmla="*/ 130 h 418"/>
                <a:gd name="T4" fmla="*/ 503 w 966"/>
                <a:gd name="T5" fmla="*/ 5 h 418"/>
                <a:gd name="T6" fmla="*/ 472 w 966"/>
                <a:gd name="T7" fmla="*/ 6 h 418"/>
                <a:gd name="T8" fmla="*/ 40 w 966"/>
                <a:gd name="T9" fmla="*/ 273 h 418"/>
                <a:gd name="T10" fmla="*/ 8 w 966"/>
                <a:gd name="T11" fmla="*/ 346 h 418"/>
                <a:gd name="T12" fmla="*/ 75 w 966"/>
                <a:gd name="T13" fmla="*/ 395 h 418"/>
                <a:gd name="T14" fmla="*/ 76 w 966"/>
                <a:gd name="T15" fmla="*/ 395 h 418"/>
                <a:gd name="T16" fmla="*/ 552 w 966"/>
                <a:gd name="T17" fmla="*/ 354 h 418"/>
                <a:gd name="T18" fmla="*/ 598 w 966"/>
                <a:gd name="T19" fmla="*/ 381 h 418"/>
                <a:gd name="T20" fmla="*/ 614 w 966"/>
                <a:gd name="T21" fmla="*/ 386 h 418"/>
                <a:gd name="T22" fmla="*/ 774 w 966"/>
                <a:gd name="T23" fmla="*/ 386 h 418"/>
                <a:gd name="T24" fmla="*/ 806 w 966"/>
                <a:gd name="T25" fmla="*/ 418 h 418"/>
                <a:gd name="T26" fmla="*/ 806 w 966"/>
                <a:gd name="T27" fmla="*/ 418 h 418"/>
                <a:gd name="T28" fmla="*/ 934 w 966"/>
                <a:gd name="T29" fmla="*/ 418 h 418"/>
                <a:gd name="T30" fmla="*/ 966 w 966"/>
                <a:gd name="T31" fmla="*/ 386 h 418"/>
                <a:gd name="T32" fmla="*/ 966 w 966"/>
                <a:gd name="T33" fmla="*/ 386 h 418"/>
                <a:gd name="T34" fmla="*/ 966 w 966"/>
                <a:gd name="T35" fmla="*/ 130 h 418"/>
                <a:gd name="T36" fmla="*/ 934 w 966"/>
                <a:gd name="T37" fmla="*/ 98 h 418"/>
                <a:gd name="T38" fmla="*/ 934 w 966"/>
                <a:gd name="T39" fmla="*/ 98 h 418"/>
                <a:gd name="T40" fmla="*/ 806 w 966"/>
                <a:gd name="T41" fmla="*/ 98 h 418"/>
                <a:gd name="T42" fmla="*/ 774 w 966"/>
                <a:gd name="T43" fmla="*/ 130 h 418"/>
                <a:gd name="T44" fmla="*/ 623 w 966"/>
                <a:gd name="T45" fmla="*/ 322 h 418"/>
                <a:gd name="T46" fmla="*/ 521 w 966"/>
                <a:gd name="T47" fmla="*/ 260 h 418"/>
                <a:gd name="T48" fmla="*/ 513 w 966"/>
                <a:gd name="T49" fmla="*/ 227 h 418"/>
                <a:gd name="T50" fmla="*/ 513 w 966"/>
                <a:gd name="T51" fmla="*/ 226 h 418"/>
                <a:gd name="T52" fmla="*/ 547 w 966"/>
                <a:gd name="T53" fmla="*/ 219 h 418"/>
                <a:gd name="T54" fmla="*/ 596 w 966"/>
                <a:gd name="T55" fmla="*/ 252 h 418"/>
                <a:gd name="T56" fmla="*/ 632 w 966"/>
                <a:gd name="T57" fmla="*/ 199 h 418"/>
                <a:gd name="T58" fmla="*/ 583 w 966"/>
                <a:gd name="T59" fmla="*/ 166 h 418"/>
                <a:gd name="T60" fmla="*/ 460 w 966"/>
                <a:gd name="T61" fmla="*/ 191 h 418"/>
                <a:gd name="T62" fmla="*/ 447 w 966"/>
                <a:gd name="T63" fmla="*/ 259 h 418"/>
                <a:gd name="T64" fmla="*/ 467 w 966"/>
                <a:gd name="T65" fmla="*/ 297 h 418"/>
                <a:gd name="T66" fmla="*/ 71 w 966"/>
                <a:gd name="T67" fmla="*/ 331 h 418"/>
                <a:gd name="T68" fmla="*/ 72 w 966"/>
                <a:gd name="T69" fmla="*/ 328 h 418"/>
                <a:gd name="T70" fmla="*/ 490 w 966"/>
                <a:gd name="T71" fmla="*/ 70 h 418"/>
                <a:gd name="T72" fmla="*/ 728 w 966"/>
                <a:gd name="T73" fmla="*/ 190 h 418"/>
                <a:gd name="T74" fmla="*/ 742 w 966"/>
                <a:gd name="T75" fmla="*/ 194 h 418"/>
                <a:gd name="T76" fmla="*/ 774 w 966"/>
                <a:gd name="T77" fmla="*/ 194 h 418"/>
                <a:gd name="T78" fmla="*/ 774 w 966"/>
                <a:gd name="T79" fmla="*/ 322 h 418"/>
                <a:gd name="T80" fmla="*/ 623 w 966"/>
                <a:gd name="T81" fmla="*/ 322 h 418"/>
                <a:gd name="T82" fmla="*/ 838 w 966"/>
                <a:gd name="T83" fmla="*/ 162 h 418"/>
                <a:gd name="T84" fmla="*/ 902 w 966"/>
                <a:gd name="T85" fmla="*/ 162 h 418"/>
                <a:gd name="T86" fmla="*/ 902 w 966"/>
                <a:gd name="T87" fmla="*/ 354 h 418"/>
                <a:gd name="T88" fmla="*/ 838 w 966"/>
                <a:gd name="T89" fmla="*/ 354 h 418"/>
                <a:gd name="T90" fmla="*/ 838 w 966"/>
                <a:gd name="T91" fmla="*/ 162 h 4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966" h="418">
                  <a:moveTo>
                    <a:pt x="774" y="130"/>
                  </a:moveTo>
                  <a:cubicBezTo>
                    <a:pt x="750" y="130"/>
                    <a:pt x="750" y="130"/>
                    <a:pt x="750" y="130"/>
                  </a:cubicBezTo>
                  <a:cubicBezTo>
                    <a:pt x="503" y="5"/>
                    <a:pt x="503" y="5"/>
                    <a:pt x="503" y="5"/>
                  </a:cubicBezTo>
                  <a:cubicBezTo>
                    <a:pt x="493" y="0"/>
                    <a:pt x="481" y="0"/>
                    <a:pt x="472" y="6"/>
                  </a:cubicBezTo>
                  <a:cubicBezTo>
                    <a:pt x="40" y="273"/>
                    <a:pt x="40" y="273"/>
                    <a:pt x="40" y="273"/>
                  </a:cubicBezTo>
                  <a:cubicBezTo>
                    <a:pt x="13" y="287"/>
                    <a:pt x="0" y="317"/>
                    <a:pt x="8" y="346"/>
                  </a:cubicBezTo>
                  <a:cubicBezTo>
                    <a:pt x="16" y="376"/>
                    <a:pt x="44" y="397"/>
                    <a:pt x="75" y="395"/>
                  </a:cubicBezTo>
                  <a:cubicBezTo>
                    <a:pt x="76" y="395"/>
                    <a:pt x="76" y="395"/>
                    <a:pt x="76" y="395"/>
                  </a:cubicBezTo>
                  <a:cubicBezTo>
                    <a:pt x="552" y="354"/>
                    <a:pt x="552" y="354"/>
                    <a:pt x="552" y="354"/>
                  </a:cubicBezTo>
                  <a:cubicBezTo>
                    <a:pt x="598" y="381"/>
                    <a:pt x="598" y="381"/>
                    <a:pt x="598" y="381"/>
                  </a:cubicBezTo>
                  <a:cubicBezTo>
                    <a:pt x="603" y="384"/>
                    <a:pt x="608" y="386"/>
                    <a:pt x="614" y="386"/>
                  </a:cubicBezTo>
                  <a:cubicBezTo>
                    <a:pt x="774" y="386"/>
                    <a:pt x="774" y="386"/>
                    <a:pt x="774" y="386"/>
                  </a:cubicBezTo>
                  <a:cubicBezTo>
                    <a:pt x="774" y="403"/>
                    <a:pt x="788" y="418"/>
                    <a:pt x="806" y="418"/>
                  </a:cubicBezTo>
                  <a:cubicBezTo>
                    <a:pt x="806" y="418"/>
                    <a:pt x="806" y="418"/>
                    <a:pt x="806" y="418"/>
                  </a:cubicBezTo>
                  <a:cubicBezTo>
                    <a:pt x="934" y="418"/>
                    <a:pt x="934" y="418"/>
                    <a:pt x="934" y="418"/>
                  </a:cubicBezTo>
                  <a:cubicBezTo>
                    <a:pt x="952" y="418"/>
                    <a:pt x="966" y="403"/>
                    <a:pt x="966" y="386"/>
                  </a:cubicBezTo>
                  <a:cubicBezTo>
                    <a:pt x="966" y="386"/>
                    <a:pt x="966" y="386"/>
                    <a:pt x="966" y="386"/>
                  </a:cubicBezTo>
                  <a:cubicBezTo>
                    <a:pt x="966" y="130"/>
                    <a:pt x="966" y="130"/>
                    <a:pt x="966" y="130"/>
                  </a:cubicBezTo>
                  <a:cubicBezTo>
                    <a:pt x="966" y="112"/>
                    <a:pt x="952" y="98"/>
                    <a:pt x="934" y="98"/>
                  </a:cubicBezTo>
                  <a:cubicBezTo>
                    <a:pt x="934" y="98"/>
                    <a:pt x="934" y="98"/>
                    <a:pt x="934" y="98"/>
                  </a:cubicBezTo>
                  <a:cubicBezTo>
                    <a:pt x="806" y="98"/>
                    <a:pt x="806" y="98"/>
                    <a:pt x="806" y="98"/>
                  </a:cubicBezTo>
                  <a:cubicBezTo>
                    <a:pt x="788" y="98"/>
                    <a:pt x="774" y="112"/>
                    <a:pt x="774" y="130"/>
                  </a:cubicBezTo>
                  <a:close/>
                  <a:moveTo>
                    <a:pt x="623" y="322"/>
                  </a:moveTo>
                  <a:cubicBezTo>
                    <a:pt x="521" y="260"/>
                    <a:pt x="521" y="260"/>
                    <a:pt x="521" y="260"/>
                  </a:cubicBezTo>
                  <a:cubicBezTo>
                    <a:pt x="510" y="254"/>
                    <a:pt x="506" y="239"/>
                    <a:pt x="513" y="227"/>
                  </a:cubicBezTo>
                  <a:cubicBezTo>
                    <a:pt x="513" y="227"/>
                    <a:pt x="513" y="226"/>
                    <a:pt x="513" y="226"/>
                  </a:cubicBezTo>
                  <a:cubicBezTo>
                    <a:pt x="521" y="215"/>
                    <a:pt x="536" y="212"/>
                    <a:pt x="547" y="219"/>
                  </a:cubicBezTo>
                  <a:cubicBezTo>
                    <a:pt x="596" y="252"/>
                    <a:pt x="596" y="252"/>
                    <a:pt x="596" y="252"/>
                  </a:cubicBezTo>
                  <a:cubicBezTo>
                    <a:pt x="632" y="199"/>
                    <a:pt x="632" y="199"/>
                    <a:pt x="632" y="199"/>
                  </a:cubicBezTo>
                  <a:cubicBezTo>
                    <a:pt x="583" y="166"/>
                    <a:pt x="583" y="166"/>
                    <a:pt x="583" y="166"/>
                  </a:cubicBezTo>
                  <a:cubicBezTo>
                    <a:pt x="542" y="139"/>
                    <a:pt x="487" y="150"/>
                    <a:pt x="460" y="191"/>
                  </a:cubicBezTo>
                  <a:cubicBezTo>
                    <a:pt x="447" y="211"/>
                    <a:pt x="442" y="236"/>
                    <a:pt x="447" y="259"/>
                  </a:cubicBezTo>
                  <a:cubicBezTo>
                    <a:pt x="451" y="273"/>
                    <a:pt x="457" y="286"/>
                    <a:pt x="467" y="297"/>
                  </a:cubicBezTo>
                  <a:cubicBezTo>
                    <a:pt x="71" y="331"/>
                    <a:pt x="71" y="331"/>
                    <a:pt x="71" y="331"/>
                  </a:cubicBezTo>
                  <a:cubicBezTo>
                    <a:pt x="72" y="328"/>
                    <a:pt x="72" y="328"/>
                    <a:pt x="72" y="328"/>
                  </a:cubicBezTo>
                  <a:cubicBezTo>
                    <a:pt x="490" y="70"/>
                    <a:pt x="490" y="70"/>
                    <a:pt x="490" y="70"/>
                  </a:cubicBezTo>
                  <a:cubicBezTo>
                    <a:pt x="728" y="190"/>
                    <a:pt x="728" y="190"/>
                    <a:pt x="728" y="190"/>
                  </a:cubicBezTo>
                  <a:cubicBezTo>
                    <a:pt x="732" y="192"/>
                    <a:pt x="737" y="194"/>
                    <a:pt x="742" y="194"/>
                  </a:cubicBezTo>
                  <a:cubicBezTo>
                    <a:pt x="774" y="194"/>
                    <a:pt x="774" y="194"/>
                    <a:pt x="774" y="194"/>
                  </a:cubicBezTo>
                  <a:cubicBezTo>
                    <a:pt x="774" y="322"/>
                    <a:pt x="774" y="322"/>
                    <a:pt x="774" y="322"/>
                  </a:cubicBezTo>
                  <a:lnTo>
                    <a:pt x="623" y="322"/>
                  </a:lnTo>
                  <a:close/>
                  <a:moveTo>
                    <a:pt x="838" y="162"/>
                  </a:moveTo>
                  <a:cubicBezTo>
                    <a:pt x="902" y="162"/>
                    <a:pt x="902" y="162"/>
                    <a:pt x="902" y="162"/>
                  </a:cubicBezTo>
                  <a:cubicBezTo>
                    <a:pt x="902" y="354"/>
                    <a:pt x="902" y="354"/>
                    <a:pt x="902" y="354"/>
                  </a:cubicBezTo>
                  <a:cubicBezTo>
                    <a:pt x="838" y="354"/>
                    <a:pt x="838" y="354"/>
                    <a:pt x="838" y="354"/>
                  </a:cubicBezTo>
                  <a:lnTo>
                    <a:pt x="838" y="1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8" name="Rectangle 205">
              <a:extLst>
                <a:ext uri="{FF2B5EF4-FFF2-40B4-BE49-F238E27FC236}">
                  <a16:creationId xmlns:a16="http://schemas.microsoft.com/office/drawing/2014/main" id="{EBC70FC5-180E-2F6F-F132-24B5009AD5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36875" y="4362450"/>
              <a:ext cx="39687" cy="381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9" name="Rectangle 206">
              <a:extLst>
                <a:ext uri="{FF2B5EF4-FFF2-40B4-BE49-F238E27FC236}">
                  <a16:creationId xmlns:a16="http://schemas.microsoft.com/office/drawing/2014/main" id="{9B5190CD-5496-ECFB-0D4A-D5D61C0B7D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36875" y="4440238"/>
              <a:ext cx="39687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0" name="Rectangle 207">
              <a:extLst>
                <a:ext uri="{FF2B5EF4-FFF2-40B4-BE49-F238E27FC236}">
                  <a16:creationId xmlns:a16="http://schemas.microsoft.com/office/drawing/2014/main" id="{47DBF279-5DF9-E0BF-BDA0-BE61A13B3C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76563" y="4400550"/>
              <a:ext cx="38100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1" name="Rectangle 208">
              <a:extLst>
                <a:ext uri="{FF2B5EF4-FFF2-40B4-BE49-F238E27FC236}">
                  <a16:creationId xmlns:a16="http://schemas.microsoft.com/office/drawing/2014/main" id="{0DCBBCF9-6978-1F2D-F101-7F602B9805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97188" y="4400550"/>
              <a:ext cx="39687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2" name="Rectangle 209">
              <a:extLst>
                <a:ext uri="{FF2B5EF4-FFF2-40B4-BE49-F238E27FC236}">
                  <a16:creationId xmlns:a16="http://schemas.microsoft.com/office/drawing/2014/main" id="{95973EA4-590F-1F78-5157-8216AB2BC9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92563" y="4362450"/>
              <a:ext cx="39687" cy="381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3" name="Rectangle 210">
              <a:extLst>
                <a:ext uri="{FF2B5EF4-FFF2-40B4-BE49-F238E27FC236}">
                  <a16:creationId xmlns:a16="http://schemas.microsoft.com/office/drawing/2014/main" id="{0017E1D4-7250-4863-826D-AEFC2E9F83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92563" y="4440238"/>
              <a:ext cx="39687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4" name="Rectangle 211">
              <a:extLst>
                <a:ext uri="{FF2B5EF4-FFF2-40B4-BE49-F238E27FC236}">
                  <a16:creationId xmlns:a16="http://schemas.microsoft.com/office/drawing/2014/main" id="{89D5EB1A-D058-3C95-FB22-DB6F22FCE7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32250" y="4400550"/>
              <a:ext cx="38100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5" name="Rectangle 212">
              <a:extLst>
                <a:ext uri="{FF2B5EF4-FFF2-40B4-BE49-F238E27FC236}">
                  <a16:creationId xmlns:a16="http://schemas.microsoft.com/office/drawing/2014/main" id="{11E14223-8A92-D94A-DC9B-BCF17F3AFBB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54463" y="4400550"/>
              <a:ext cx="38100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6" name="Rectangle 213">
              <a:extLst>
                <a:ext uri="{FF2B5EF4-FFF2-40B4-BE49-F238E27FC236}">
                  <a16:creationId xmlns:a16="http://schemas.microsoft.com/office/drawing/2014/main" id="{C7595C41-F0B1-9DB3-72B3-3D050FE312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92563" y="5418138"/>
              <a:ext cx="39687" cy="381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7" name="Rectangle 214">
              <a:extLst>
                <a:ext uri="{FF2B5EF4-FFF2-40B4-BE49-F238E27FC236}">
                  <a16:creationId xmlns:a16="http://schemas.microsoft.com/office/drawing/2014/main" id="{85D97B04-0434-FEAD-AA83-E3B05E1B6F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92563" y="5495925"/>
              <a:ext cx="39687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8" name="Rectangle 215">
              <a:extLst>
                <a:ext uri="{FF2B5EF4-FFF2-40B4-BE49-F238E27FC236}">
                  <a16:creationId xmlns:a16="http://schemas.microsoft.com/office/drawing/2014/main" id="{FE5901FC-EF5C-B2C0-915D-99B23E6D49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32250" y="5456238"/>
              <a:ext cx="38100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9" name="Rectangle 216">
              <a:extLst>
                <a:ext uri="{FF2B5EF4-FFF2-40B4-BE49-F238E27FC236}">
                  <a16:creationId xmlns:a16="http://schemas.microsoft.com/office/drawing/2014/main" id="{8654EEE7-35AE-7A36-3DB7-8A3B6C78BA4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54463" y="5456238"/>
              <a:ext cx="38100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0" name="Rectangle 217">
              <a:extLst>
                <a:ext uri="{FF2B5EF4-FFF2-40B4-BE49-F238E27FC236}">
                  <a16:creationId xmlns:a16="http://schemas.microsoft.com/office/drawing/2014/main" id="{C4BCB647-DE09-638D-3317-702724DC6EA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36875" y="5418138"/>
              <a:ext cx="39687" cy="381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1" name="Rectangle 218">
              <a:extLst>
                <a:ext uri="{FF2B5EF4-FFF2-40B4-BE49-F238E27FC236}">
                  <a16:creationId xmlns:a16="http://schemas.microsoft.com/office/drawing/2014/main" id="{1E59DBFA-307A-FF84-031F-50BA498CE2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36875" y="5495925"/>
              <a:ext cx="39687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2" name="Rectangle 219">
              <a:extLst>
                <a:ext uri="{FF2B5EF4-FFF2-40B4-BE49-F238E27FC236}">
                  <a16:creationId xmlns:a16="http://schemas.microsoft.com/office/drawing/2014/main" id="{3C6726C5-A317-D169-CBD2-7D28DBBDDA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76563" y="5456238"/>
              <a:ext cx="38100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3" name="Rectangle 220">
              <a:extLst>
                <a:ext uri="{FF2B5EF4-FFF2-40B4-BE49-F238E27FC236}">
                  <a16:creationId xmlns:a16="http://schemas.microsoft.com/office/drawing/2014/main" id="{1BE4555D-804C-25FB-264B-283F2D6585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97188" y="5456238"/>
              <a:ext cx="39687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4" name="Freeform 221">
              <a:extLst>
                <a:ext uri="{FF2B5EF4-FFF2-40B4-BE49-F238E27FC236}">
                  <a16:creationId xmlns:a16="http://schemas.microsoft.com/office/drawing/2014/main" id="{1F0821B0-8957-98D0-B1AD-07A6D875B8BE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3488" y="4632325"/>
              <a:ext cx="204787" cy="642938"/>
            </a:xfrm>
            <a:custGeom>
              <a:avLst/>
              <a:gdLst>
                <a:gd name="T0" fmla="*/ 14 w 335"/>
                <a:gd name="T1" fmla="*/ 43 h 1052"/>
                <a:gd name="T2" fmla="*/ 0 w 335"/>
                <a:gd name="T3" fmla="*/ 1007 h 1052"/>
                <a:gd name="T4" fmla="*/ 46 w 335"/>
                <a:gd name="T5" fmla="*/ 1052 h 1052"/>
                <a:gd name="T6" fmla="*/ 62 w 335"/>
                <a:gd name="T7" fmla="*/ 0 h 1052"/>
                <a:gd name="T8" fmla="*/ 14 w 335"/>
                <a:gd name="T9" fmla="*/ 43 h 10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5" h="1052">
                  <a:moveTo>
                    <a:pt x="14" y="43"/>
                  </a:moveTo>
                  <a:cubicBezTo>
                    <a:pt x="265" y="318"/>
                    <a:pt x="258" y="740"/>
                    <a:pt x="0" y="1007"/>
                  </a:cubicBezTo>
                  <a:cubicBezTo>
                    <a:pt x="46" y="1052"/>
                    <a:pt x="46" y="1052"/>
                    <a:pt x="46" y="1052"/>
                  </a:cubicBezTo>
                  <a:cubicBezTo>
                    <a:pt x="328" y="760"/>
                    <a:pt x="335" y="300"/>
                    <a:pt x="62" y="0"/>
                  </a:cubicBezTo>
                  <a:lnTo>
                    <a:pt x="14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5" name="Freeform 222">
              <a:extLst>
                <a:ext uri="{FF2B5EF4-FFF2-40B4-BE49-F238E27FC236}">
                  <a16:creationId xmlns:a16="http://schemas.microsoft.com/office/drawing/2014/main" id="{4479FE39-2D51-87F7-3A8C-164C94A8D17F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1163" y="4621213"/>
              <a:ext cx="204787" cy="654050"/>
            </a:xfrm>
            <a:custGeom>
              <a:avLst/>
              <a:gdLst>
                <a:gd name="T0" fmla="*/ 334 w 334"/>
                <a:gd name="T1" fmla="*/ 45 h 1069"/>
                <a:gd name="T2" fmla="*/ 288 w 334"/>
                <a:gd name="T3" fmla="*/ 0 h 1069"/>
                <a:gd name="T4" fmla="*/ 288 w 334"/>
                <a:gd name="T5" fmla="*/ 1069 h 1069"/>
                <a:gd name="T6" fmla="*/ 334 w 334"/>
                <a:gd name="T7" fmla="*/ 1024 h 1069"/>
                <a:gd name="T8" fmla="*/ 334 w 334"/>
                <a:gd name="T9" fmla="*/ 45 h 10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4" h="1069">
                  <a:moveTo>
                    <a:pt x="334" y="45"/>
                  </a:moveTo>
                  <a:cubicBezTo>
                    <a:pt x="288" y="0"/>
                    <a:pt x="288" y="0"/>
                    <a:pt x="288" y="0"/>
                  </a:cubicBezTo>
                  <a:cubicBezTo>
                    <a:pt x="0" y="298"/>
                    <a:pt x="0" y="771"/>
                    <a:pt x="288" y="1069"/>
                  </a:cubicBezTo>
                  <a:cubicBezTo>
                    <a:pt x="334" y="1024"/>
                    <a:pt x="334" y="1024"/>
                    <a:pt x="334" y="1024"/>
                  </a:cubicBezTo>
                  <a:cubicBezTo>
                    <a:pt x="70" y="751"/>
                    <a:pt x="70" y="318"/>
                    <a:pt x="334" y="4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BE49B5EA-FBDE-5DA7-75F1-A99AE11517FA}"/>
              </a:ext>
            </a:extLst>
          </p:cNvPr>
          <p:cNvGrpSpPr/>
          <p:nvPr/>
        </p:nvGrpSpPr>
        <p:grpSpPr>
          <a:xfrm>
            <a:off x="5825932" y="1715133"/>
            <a:ext cx="487064" cy="472181"/>
            <a:chOff x="10982325" y="6362701"/>
            <a:chExt cx="779463" cy="755649"/>
          </a:xfrm>
          <a:solidFill>
            <a:schemeClr val="bg1"/>
          </a:solidFill>
        </p:grpSpPr>
        <p:sp>
          <p:nvSpPr>
            <p:cNvPr id="47" name="Freeform 289">
              <a:extLst>
                <a:ext uri="{FF2B5EF4-FFF2-40B4-BE49-F238E27FC236}">
                  <a16:creationId xmlns:a16="http://schemas.microsoft.com/office/drawing/2014/main" id="{B4513552-E862-562C-AED2-47BEB3A7C5B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96650" y="6653213"/>
              <a:ext cx="465138" cy="465137"/>
            </a:xfrm>
            <a:custGeom>
              <a:avLst/>
              <a:gdLst>
                <a:gd name="T0" fmla="*/ 579 w 1230"/>
                <a:gd name="T1" fmla="*/ 2 h 1229"/>
                <a:gd name="T2" fmla="*/ 3 w 1230"/>
                <a:gd name="T3" fmla="*/ 578 h 1229"/>
                <a:gd name="T4" fmla="*/ 40 w 1230"/>
                <a:gd name="T5" fmla="*/ 781 h 1229"/>
                <a:gd name="T6" fmla="*/ 100 w 1230"/>
                <a:gd name="T7" fmla="*/ 758 h 1229"/>
                <a:gd name="T8" fmla="*/ 398 w 1230"/>
                <a:gd name="T9" fmla="*/ 99 h 1229"/>
                <a:gd name="T10" fmla="*/ 1057 w 1230"/>
                <a:gd name="T11" fmla="*/ 398 h 1229"/>
                <a:gd name="T12" fmla="*/ 759 w 1230"/>
                <a:gd name="T13" fmla="*/ 1057 h 1229"/>
                <a:gd name="T14" fmla="*/ 398 w 1230"/>
                <a:gd name="T15" fmla="*/ 1057 h 1229"/>
                <a:gd name="T16" fmla="*/ 376 w 1230"/>
                <a:gd name="T17" fmla="*/ 1117 h 1229"/>
                <a:gd name="T18" fmla="*/ 1118 w 1230"/>
                <a:gd name="T19" fmla="*/ 780 h 1229"/>
                <a:gd name="T20" fmla="*/ 782 w 1230"/>
                <a:gd name="T21" fmla="*/ 38 h 1229"/>
                <a:gd name="T22" fmla="*/ 579 w 1230"/>
                <a:gd name="T23" fmla="*/ 2 h 1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30" h="1229">
                  <a:moveTo>
                    <a:pt x="579" y="2"/>
                  </a:moveTo>
                  <a:cubicBezTo>
                    <a:pt x="261" y="2"/>
                    <a:pt x="3" y="260"/>
                    <a:pt x="3" y="578"/>
                  </a:cubicBezTo>
                  <a:cubicBezTo>
                    <a:pt x="3" y="647"/>
                    <a:pt x="16" y="716"/>
                    <a:pt x="40" y="781"/>
                  </a:cubicBezTo>
                  <a:cubicBezTo>
                    <a:pt x="100" y="758"/>
                    <a:pt x="100" y="758"/>
                    <a:pt x="100" y="758"/>
                  </a:cubicBezTo>
                  <a:cubicBezTo>
                    <a:pt x="0" y="494"/>
                    <a:pt x="134" y="199"/>
                    <a:pt x="398" y="99"/>
                  </a:cubicBezTo>
                  <a:cubicBezTo>
                    <a:pt x="663" y="0"/>
                    <a:pt x="958" y="133"/>
                    <a:pt x="1057" y="398"/>
                  </a:cubicBezTo>
                  <a:cubicBezTo>
                    <a:pt x="1157" y="662"/>
                    <a:pt x="1023" y="957"/>
                    <a:pt x="759" y="1057"/>
                  </a:cubicBezTo>
                  <a:cubicBezTo>
                    <a:pt x="643" y="1101"/>
                    <a:pt x="515" y="1101"/>
                    <a:pt x="398" y="1057"/>
                  </a:cubicBezTo>
                  <a:cubicBezTo>
                    <a:pt x="376" y="1117"/>
                    <a:pt x="376" y="1117"/>
                    <a:pt x="376" y="1117"/>
                  </a:cubicBezTo>
                  <a:cubicBezTo>
                    <a:pt x="674" y="1229"/>
                    <a:pt x="1006" y="1078"/>
                    <a:pt x="1118" y="780"/>
                  </a:cubicBezTo>
                  <a:cubicBezTo>
                    <a:pt x="1230" y="483"/>
                    <a:pt x="1079" y="151"/>
                    <a:pt x="782" y="38"/>
                  </a:cubicBezTo>
                  <a:cubicBezTo>
                    <a:pt x="717" y="14"/>
                    <a:pt x="648" y="2"/>
                    <a:pt x="579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8" name="Freeform 290">
              <a:extLst>
                <a:ext uri="{FF2B5EF4-FFF2-40B4-BE49-F238E27FC236}">
                  <a16:creationId xmlns:a16="http://schemas.microsoft.com/office/drawing/2014/main" id="{37E82205-7D3E-DE2B-347F-D47DB6CFF4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01425" y="6748463"/>
              <a:ext cx="238125" cy="247650"/>
            </a:xfrm>
            <a:custGeom>
              <a:avLst/>
              <a:gdLst>
                <a:gd name="T0" fmla="*/ 301 w 630"/>
                <a:gd name="T1" fmla="*/ 553 h 657"/>
                <a:gd name="T2" fmla="*/ 189 w 630"/>
                <a:gd name="T3" fmla="*/ 523 h 657"/>
                <a:gd name="T4" fmla="*/ 157 w 630"/>
                <a:gd name="T5" fmla="*/ 578 h 657"/>
                <a:gd name="T6" fmla="*/ 550 w 630"/>
                <a:gd name="T7" fmla="*/ 472 h 657"/>
                <a:gd name="T8" fmla="*/ 445 w 630"/>
                <a:gd name="T9" fmla="*/ 79 h 657"/>
                <a:gd name="T10" fmla="*/ 52 w 630"/>
                <a:gd name="T11" fmla="*/ 185 h 657"/>
                <a:gd name="T12" fmla="*/ 52 w 630"/>
                <a:gd name="T13" fmla="*/ 472 h 657"/>
                <a:gd name="T14" fmla="*/ 107 w 630"/>
                <a:gd name="T15" fmla="*/ 440 h 657"/>
                <a:gd name="T16" fmla="*/ 189 w 630"/>
                <a:gd name="T17" fmla="*/ 134 h 657"/>
                <a:gd name="T18" fmla="*/ 495 w 630"/>
                <a:gd name="T19" fmla="*/ 217 h 657"/>
                <a:gd name="T20" fmla="*/ 413 w 630"/>
                <a:gd name="T21" fmla="*/ 523 h 657"/>
                <a:gd name="T22" fmla="*/ 301 w 630"/>
                <a:gd name="T23" fmla="*/ 553 h 6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30" h="657">
                  <a:moveTo>
                    <a:pt x="301" y="553"/>
                  </a:moveTo>
                  <a:cubicBezTo>
                    <a:pt x="262" y="553"/>
                    <a:pt x="223" y="542"/>
                    <a:pt x="189" y="523"/>
                  </a:cubicBezTo>
                  <a:cubicBezTo>
                    <a:pt x="157" y="578"/>
                    <a:pt x="157" y="578"/>
                    <a:pt x="157" y="578"/>
                  </a:cubicBezTo>
                  <a:cubicBezTo>
                    <a:pt x="295" y="657"/>
                    <a:pt x="471" y="610"/>
                    <a:pt x="550" y="472"/>
                  </a:cubicBezTo>
                  <a:cubicBezTo>
                    <a:pt x="630" y="335"/>
                    <a:pt x="583" y="159"/>
                    <a:pt x="445" y="79"/>
                  </a:cubicBezTo>
                  <a:cubicBezTo>
                    <a:pt x="307" y="0"/>
                    <a:pt x="131" y="47"/>
                    <a:pt x="52" y="185"/>
                  </a:cubicBezTo>
                  <a:cubicBezTo>
                    <a:pt x="0" y="274"/>
                    <a:pt x="0" y="383"/>
                    <a:pt x="52" y="472"/>
                  </a:cubicBezTo>
                  <a:cubicBezTo>
                    <a:pt x="107" y="440"/>
                    <a:pt x="107" y="440"/>
                    <a:pt x="107" y="440"/>
                  </a:cubicBezTo>
                  <a:cubicBezTo>
                    <a:pt x="45" y="333"/>
                    <a:pt x="82" y="196"/>
                    <a:pt x="189" y="134"/>
                  </a:cubicBezTo>
                  <a:cubicBezTo>
                    <a:pt x="296" y="73"/>
                    <a:pt x="433" y="110"/>
                    <a:pt x="495" y="217"/>
                  </a:cubicBezTo>
                  <a:cubicBezTo>
                    <a:pt x="557" y="324"/>
                    <a:pt x="520" y="461"/>
                    <a:pt x="413" y="523"/>
                  </a:cubicBezTo>
                  <a:cubicBezTo>
                    <a:pt x="379" y="542"/>
                    <a:pt x="340" y="553"/>
                    <a:pt x="301" y="55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9" name="Freeform 291">
              <a:extLst>
                <a:ext uri="{FF2B5EF4-FFF2-40B4-BE49-F238E27FC236}">
                  <a16:creationId xmlns:a16="http://schemas.microsoft.com/office/drawing/2014/main" id="{24223785-D331-F89F-7405-BDE58FF6EBF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42688" y="6680200"/>
              <a:ext cx="365125" cy="384175"/>
            </a:xfrm>
            <a:custGeom>
              <a:avLst/>
              <a:gdLst>
                <a:gd name="T0" fmla="*/ 287 w 967"/>
                <a:gd name="T1" fmla="*/ 921 h 1016"/>
                <a:gd name="T2" fmla="*/ 872 w 967"/>
                <a:gd name="T3" fmla="*/ 680 h 1016"/>
                <a:gd name="T4" fmla="*/ 630 w 967"/>
                <a:gd name="T5" fmla="*/ 95 h 1016"/>
                <a:gd name="T6" fmla="*/ 45 w 967"/>
                <a:gd name="T7" fmla="*/ 336 h 1016"/>
                <a:gd name="T8" fmla="*/ 46 w 967"/>
                <a:gd name="T9" fmla="*/ 680 h 1016"/>
                <a:gd name="T10" fmla="*/ 105 w 967"/>
                <a:gd name="T11" fmla="*/ 656 h 1016"/>
                <a:gd name="T12" fmla="*/ 311 w 967"/>
                <a:gd name="T13" fmla="*/ 154 h 1016"/>
                <a:gd name="T14" fmla="*/ 813 w 967"/>
                <a:gd name="T15" fmla="*/ 361 h 1016"/>
                <a:gd name="T16" fmla="*/ 606 w 967"/>
                <a:gd name="T17" fmla="*/ 862 h 1016"/>
                <a:gd name="T18" fmla="*/ 311 w 967"/>
                <a:gd name="T19" fmla="*/ 862 h 1016"/>
                <a:gd name="T20" fmla="*/ 287 w 967"/>
                <a:gd name="T21" fmla="*/ 921 h 10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67" h="1016">
                  <a:moveTo>
                    <a:pt x="287" y="921"/>
                  </a:moveTo>
                  <a:cubicBezTo>
                    <a:pt x="515" y="1016"/>
                    <a:pt x="777" y="908"/>
                    <a:pt x="872" y="680"/>
                  </a:cubicBezTo>
                  <a:cubicBezTo>
                    <a:pt x="967" y="451"/>
                    <a:pt x="859" y="190"/>
                    <a:pt x="630" y="95"/>
                  </a:cubicBezTo>
                  <a:cubicBezTo>
                    <a:pt x="402" y="0"/>
                    <a:pt x="140" y="108"/>
                    <a:pt x="45" y="336"/>
                  </a:cubicBezTo>
                  <a:cubicBezTo>
                    <a:pt x="0" y="446"/>
                    <a:pt x="0" y="570"/>
                    <a:pt x="46" y="680"/>
                  </a:cubicBezTo>
                  <a:cubicBezTo>
                    <a:pt x="105" y="656"/>
                    <a:pt x="105" y="656"/>
                    <a:pt x="105" y="656"/>
                  </a:cubicBezTo>
                  <a:cubicBezTo>
                    <a:pt x="23" y="460"/>
                    <a:pt x="116" y="236"/>
                    <a:pt x="311" y="154"/>
                  </a:cubicBezTo>
                  <a:cubicBezTo>
                    <a:pt x="507" y="73"/>
                    <a:pt x="731" y="165"/>
                    <a:pt x="813" y="361"/>
                  </a:cubicBezTo>
                  <a:cubicBezTo>
                    <a:pt x="894" y="556"/>
                    <a:pt x="802" y="781"/>
                    <a:pt x="606" y="862"/>
                  </a:cubicBezTo>
                  <a:cubicBezTo>
                    <a:pt x="512" y="902"/>
                    <a:pt x="406" y="902"/>
                    <a:pt x="311" y="862"/>
                  </a:cubicBezTo>
                  <a:lnTo>
                    <a:pt x="287" y="9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0" name="Freeform 292">
              <a:extLst>
                <a:ext uri="{FF2B5EF4-FFF2-40B4-BE49-F238E27FC236}">
                  <a16:creationId xmlns:a16="http://schemas.microsoft.com/office/drawing/2014/main" id="{3F66230E-53BE-8B37-926F-DDB48FA3ACB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982325" y="6362701"/>
              <a:ext cx="582613" cy="752474"/>
            </a:xfrm>
            <a:custGeom>
              <a:avLst/>
              <a:gdLst>
                <a:gd name="T0" fmla="*/ 66 w 1538"/>
                <a:gd name="T1" fmla="*/ 1891 h 1987"/>
                <a:gd name="T2" fmla="*/ 880 w 1538"/>
                <a:gd name="T3" fmla="*/ 1905 h 1987"/>
                <a:gd name="T4" fmla="*/ 949 w 1538"/>
                <a:gd name="T5" fmla="*/ 1981 h 1987"/>
                <a:gd name="T6" fmla="*/ 1157 w 1538"/>
                <a:gd name="T7" fmla="*/ 1645 h 1987"/>
                <a:gd name="T8" fmla="*/ 1538 w 1538"/>
                <a:gd name="T9" fmla="*/ 1347 h 1987"/>
                <a:gd name="T10" fmla="*/ 1300 w 1538"/>
                <a:gd name="T11" fmla="*/ 1411 h 1987"/>
                <a:gd name="T12" fmla="*/ 936 w 1538"/>
                <a:gd name="T13" fmla="*/ 1584 h 1987"/>
                <a:gd name="T14" fmla="*/ 792 w 1538"/>
                <a:gd name="T15" fmla="*/ 1857 h 1987"/>
                <a:gd name="T16" fmla="*/ 162 w 1538"/>
                <a:gd name="T17" fmla="*/ 1923 h 1987"/>
                <a:gd name="T18" fmla="*/ 610 w 1538"/>
                <a:gd name="T19" fmla="*/ 1859 h 1987"/>
                <a:gd name="T20" fmla="*/ 162 w 1538"/>
                <a:gd name="T21" fmla="*/ 1667 h 1987"/>
                <a:gd name="T22" fmla="*/ 386 w 1538"/>
                <a:gd name="T23" fmla="*/ 1603 h 1987"/>
                <a:gd name="T24" fmla="*/ 642 w 1538"/>
                <a:gd name="T25" fmla="*/ 1315 h 1987"/>
                <a:gd name="T26" fmla="*/ 986 w 1538"/>
                <a:gd name="T27" fmla="*/ 354 h 1987"/>
                <a:gd name="T28" fmla="*/ 354 w 1538"/>
                <a:gd name="T29" fmla="*/ 986 h 1987"/>
                <a:gd name="T30" fmla="*/ 450 w 1538"/>
                <a:gd name="T31" fmla="*/ 1347 h 1987"/>
                <a:gd name="T32" fmla="*/ 162 w 1538"/>
                <a:gd name="T33" fmla="*/ 1539 h 1987"/>
                <a:gd name="T34" fmla="*/ 610 w 1538"/>
                <a:gd name="T35" fmla="*/ 1731 h 1987"/>
                <a:gd name="T36" fmla="*/ 1119 w 1538"/>
                <a:gd name="T37" fmla="*/ 1781 h 1987"/>
                <a:gd name="T38" fmla="*/ 1102 w 1538"/>
                <a:gd name="T39" fmla="*/ 1700 h 1987"/>
                <a:gd name="T40" fmla="*/ 1410 w 1538"/>
                <a:gd name="T41" fmla="*/ 1283 h 1987"/>
                <a:gd name="T42" fmla="*/ 1394 w 1538"/>
                <a:gd name="T43" fmla="*/ 1408 h 1987"/>
                <a:gd name="T44" fmla="*/ 1349 w 1538"/>
                <a:gd name="T45" fmla="*/ 1363 h 1987"/>
                <a:gd name="T46" fmla="*/ 1057 w 1538"/>
                <a:gd name="T47" fmla="*/ 1654 h 1987"/>
                <a:gd name="T48" fmla="*/ 976 w 1538"/>
                <a:gd name="T49" fmla="*/ 1638 h 1987"/>
                <a:gd name="T50" fmla="*/ 674 w 1538"/>
                <a:gd name="T51" fmla="*/ 1155 h 1987"/>
                <a:gd name="T52" fmla="*/ 130 w 1538"/>
                <a:gd name="T53" fmla="*/ 547 h 1987"/>
                <a:gd name="T54" fmla="*/ 613 w 1538"/>
                <a:gd name="T55" fmla="*/ 957 h 1987"/>
                <a:gd name="T56" fmla="*/ 834 w 1538"/>
                <a:gd name="T57" fmla="*/ 611 h 1987"/>
                <a:gd name="T58" fmla="*/ 573 w 1538"/>
                <a:gd name="T59" fmla="*/ 675 h 1987"/>
                <a:gd name="T60" fmla="*/ 386 w 1538"/>
                <a:gd name="T61" fmla="*/ 483 h 1987"/>
                <a:gd name="T62" fmla="*/ 461 w 1538"/>
                <a:gd name="T63" fmla="*/ 739 h 1987"/>
                <a:gd name="T64" fmla="*/ 544 w 1538"/>
                <a:gd name="T65" fmla="*/ 963 h 1987"/>
                <a:gd name="T66" fmla="*/ 549 w 1538"/>
                <a:gd name="T67" fmla="*/ 963 h 1987"/>
                <a:gd name="T68" fmla="*/ 637 w 1538"/>
                <a:gd name="T69" fmla="*/ 675 h 1987"/>
                <a:gd name="T70" fmla="*/ 770 w 1538"/>
                <a:gd name="T71" fmla="*/ 611 h 1987"/>
                <a:gd name="T72" fmla="*/ 455 w 1538"/>
                <a:gd name="T73" fmla="*/ 675 h 1987"/>
                <a:gd name="T74" fmla="*/ 386 w 1538"/>
                <a:gd name="T75" fmla="*/ 547 h 1987"/>
                <a:gd name="T76" fmla="*/ 455 w 1538"/>
                <a:gd name="T77" fmla="*/ 675 h 1987"/>
                <a:gd name="T78" fmla="*/ 674 w 1538"/>
                <a:gd name="T79" fmla="*/ 1059 h 1987"/>
                <a:gd name="T80" fmla="*/ 546 w 1538"/>
                <a:gd name="T81" fmla="*/ 1027 h 1987"/>
                <a:gd name="T82" fmla="*/ 642 w 1538"/>
                <a:gd name="T83" fmla="*/ 1251 h 1987"/>
                <a:gd name="T84" fmla="*/ 578 w 1538"/>
                <a:gd name="T85" fmla="*/ 1315 h 1987"/>
                <a:gd name="T86" fmla="*/ 514 w 1538"/>
                <a:gd name="T87" fmla="*/ 1347 h 19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538" h="1987">
                  <a:moveTo>
                    <a:pt x="610" y="1795"/>
                  </a:moveTo>
                  <a:cubicBezTo>
                    <a:pt x="162" y="1795"/>
                    <a:pt x="162" y="1795"/>
                    <a:pt x="162" y="1795"/>
                  </a:cubicBezTo>
                  <a:cubicBezTo>
                    <a:pt x="109" y="1795"/>
                    <a:pt x="66" y="1838"/>
                    <a:pt x="66" y="1891"/>
                  </a:cubicBezTo>
                  <a:cubicBezTo>
                    <a:pt x="66" y="1944"/>
                    <a:pt x="109" y="1987"/>
                    <a:pt x="162" y="1987"/>
                  </a:cubicBezTo>
                  <a:cubicBezTo>
                    <a:pt x="552" y="1987"/>
                    <a:pt x="552" y="1987"/>
                    <a:pt x="552" y="1987"/>
                  </a:cubicBezTo>
                  <a:cubicBezTo>
                    <a:pt x="666" y="1986"/>
                    <a:pt x="779" y="1959"/>
                    <a:pt x="880" y="1905"/>
                  </a:cubicBezTo>
                  <a:cubicBezTo>
                    <a:pt x="900" y="1965"/>
                    <a:pt x="900" y="1965"/>
                    <a:pt x="900" y="1965"/>
                  </a:cubicBezTo>
                  <a:cubicBezTo>
                    <a:pt x="904" y="1978"/>
                    <a:pt x="916" y="1987"/>
                    <a:pt x="930" y="1987"/>
                  </a:cubicBezTo>
                  <a:cubicBezTo>
                    <a:pt x="937" y="1987"/>
                    <a:pt x="943" y="1984"/>
                    <a:pt x="949" y="1981"/>
                  </a:cubicBezTo>
                  <a:cubicBezTo>
                    <a:pt x="1173" y="1821"/>
                    <a:pt x="1173" y="1821"/>
                    <a:pt x="1173" y="1821"/>
                  </a:cubicBezTo>
                  <a:cubicBezTo>
                    <a:pt x="1183" y="1813"/>
                    <a:pt x="1188" y="1801"/>
                    <a:pt x="1186" y="1788"/>
                  </a:cubicBezTo>
                  <a:cubicBezTo>
                    <a:pt x="1157" y="1645"/>
                    <a:pt x="1157" y="1645"/>
                    <a:pt x="1157" y="1645"/>
                  </a:cubicBezTo>
                  <a:cubicBezTo>
                    <a:pt x="1346" y="1456"/>
                    <a:pt x="1346" y="1456"/>
                    <a:pt x="1346" y="1456"/>
                  </a:cubicBezTo>
                  <a:cubicBezTo>
                    <a:pt x="1365" y="1468"/>
                    <a:pt x="1387" y="1474"/>
                    <a:pt x="1410" y="1475"/>
                  </a:cubicBezTo>
                  <a:cubicBezTo>
                    <a:pt x="1481" y="1475"/>
                    <a:pt x="1538" y="1417"/>
                    <a:pt x="1538" y="1347"/>
                  </a:cubicBezTo>
                  <a:cubicBezTo>
                    <a:pt x="1538" y="1276"/>
                    <a:pt x="1481" y="1219"/>
                    <a:pt x="1410" y="1219"/>
                  </a:cubicBezTo>
                  <a:cubicBezTo>
                    <a:pt x="1339" y="1219"/>
                    <a:pt x="1282" y="1276"/>
                    <a:pt x="1282" y="1347"/>
                  </a:cubicBezTo>
                  <a:cubicBezTo>
                    <a:pt x="1282" y="1369"/>
                    <a:pt x="1289" y="1392"/>
                    <a:pt x="1300" y="1411"/>
                  </a:cubicBezTo>
                  <a:cubicBezTo>
                    <a:pt x="1111" y="1600"/>
                    <a:pt x="1111" y="1600"/>
                    <a:pt x="1111" y="1600"/>
                  </a:cubicBezTo>
                  <a:cubicBezTo>
                    <a:pt x="969" y="1571"/>
                    <a:pt x="969" y="1571"/>
                    <a:pt x="969" y="1571"/>
                  </a:cubicBezTo>
                  <a:cubicBezTo>
                    <a:pt x="956" y="1569"/>
                    <a:pt x="944" y="1574"/>
                    <a:pt x="936" y="1584"/>
                  </a:cubicBezTo>
                  <a:cubicBezTo>
                    <a:pt x="776" y="1808"/>
                    <a:pt x="776" y="1808"/>
                    <a:pt x="776" y="1808"/>
                  </a:cubicBezTo>
                  <a:cubicBezTo>
                    <a:pt x="766" y="1822"/>
                    <a:pt x="769" y="1842"/>
                    <a:pt x="784" y="1853"/>
                  </a:cubicBezTo>
                  <a:cubicBezTo>
                    <a:pt x="786" y="1855"/>
                    <a:pt x="789" y="1856"/>
                    <a:pt x="792" y="1857"/>
                  </a:cubicBezTo>
                  <a:cubicBezTo>
                    <a:pt x="817" y="1865"/>
                    <a:pt x="817" y="1865"/>
                    <a:pt x="817" y="1865"/>
                  </a:cubicBezTo>
                  <a:cubicBezTo>
                    <a:pt x="733" y="1903"/>
                    <a:pt x="643" y="1922"/>
                    <a:pt x="552" y="1923"/>
                  </a:cubicBezTo>
                  <a:cubicBezTo>
                    <a:pt x="162" y="1923"/>
                    <a:pt x="162" y="1923"/>
                    <a:pt x="162" y="1923"/>
                  </a:cubicBezTo>
                  <a:cubicBezTo>
                    <a:pt x="144" y="1923"/>
                    <a:pt x="130" y="1908"/>
                    <a:pt x="130" y="1891"/>
                  </a:cubicBezTo>
                  <a:cubicBezTo>
                    <a:pt x="130" y="1873"/>
                    <a:pt x="144" y="1859"/>
                    <a:pt x="162" y="1859"/>
                  </a:cubicBezTo>
                  <a:cubicBezTo>
                    <a:pt x="610" y="1859"/>
                    <a:pt x="610" y="1859"/>
                    <a:pt x="610" y="1859"/>
                  </a:cubicBezTo>
                  <a:cubicBezTo>
                    <a:pt x="663" y="1859"/>
                    <a:pt x="706" y="1816"/>
                    <a:pt x="706" y="1763"/>
                  </a:cubicBezTo>
                  <a:cubicBezTo>
                    <a:pt x="706" y="1710"/>
                    <a:pt x="663" y="1667"/>
                    <a:pt x="610" y="1667"/>
                  </a:cubicBezTo>
                  <a:cubicBezTo>
                    <a:pt x="162" y="1667"/>
                    <a:pt x="162" y="1667"/>
                    <a:pt x="162" y="1667"/>
                  </a:cubicBezTo>
                  <a:cubicBezTo>
                    <a:pt x="144" y="1667"/>
                    <a:pt x="130" y="1652"/>
                    <a:pt x="130" y="1635"/>
                  </a:cubicBezTo>
                  <a:cubicBezTo>
                    <a:pt x="130" y="1617"/>
                    <a:pt x="144" y="1603"/>
                    <a:pt x="162" y="1603"/>
                  </a:cubicBezTo>
                  <a:cubicBezTo>
                    <a:pt x="386" y="1603"/>
                    <a:pt x="386" y="1603"/>
                    <a:pt x="386" y="1603"/>
                  </a:cubicBezTo>
                  <a:cubicBezTo>
                    <a:pt x="482" y="1602"/>
                    <a:pt x="563" y="1532"/>
                    <a:pt x="576" y="1437"/>
                  </a:cubicBezTo>
                  <a:cubicBezTo>
                    <a:pt x="615" y="1425"/>
                    <a:pt x="642" y="1388"/>
                    <a:pt x="642" y="1347"/>
                  </a:cubicBezTo>
                  <a:cubicBezTo>
                    <a:pt x="642" y="1315"/>
                    <a:pt x="642" y="1315"/>
                    <a:pt x="642" y="1315"/>
                  </a:cubicBezTo>
                  <a:cubicBezTo>
                    <a:pt x="695" y="1315"/>
                    <a:pt x="738" y="1272"/>
                    <a:pt x="738" y="1219"/>
                  </a:cubicBezTo>
                  <a:cubicBezTo>
                    <a:pt x="738" y="986"/>
                    <a:pt x="738" y="986"/>
                    <a:pt x="738" y="986"/>
                  </a:cubicBezTo>
                  <a:cubicBezTo>
                    <a:pt x="981" y="880"/>
                    <a:pt x="1092" y="597"/>
                    <a:pt x="986" y="354"/>
                  </a:cubicBezTo>
                  <a:cubicBezTo>
                    <a:pt x="880" y="111"/>
                    <a:pt x="597" y="0"/>
                    <a:pt x="354" y="106"/>
                  </a:cubicBezTo>
                  <a:cubicBezTo>
                    <a:pt x="111" y="212"/>
                    <a:pt x="0" y="495"/>
                    <a:pt x="106" y="738"/>
                  </a:cubicBezTo>
                  <a:cubicBezTo>
                    <a:pt x="155" y="849"/>
                    <a:pt x="243" y="938"/>
                    <a:pt x="354" y="986"/>
                  </a:cubicBezTo>
                  <a:cubicBezTo>
                    <a:pt x="354" y="1219"/>
                    <a:pt x="354" y="1219"/>
                    <a:pt x="354" y="1219"/>
                  </a:cubicBezTo>
                  <a:cubicBezTo>
                    <a:pt x="354" y="1272"/>
                    <a:pt x="397" y="1315"/>
                    <a:pt x="450" y="1315"/>
                  </a:cubicBezTo>
                  <a:cubicBezTo>
                    <a:pt x="450" y="1347"/>
                    <a:pt x="450" y="1347"/>
                    <a:pt x="450" y="1347"/>
                  </a:cubicBezTo>
                  <a:cubicBezTo>
                    <a:pt x="450" y="1386"/>
                    <a:pt x="475" y="1422"/>
                    <a:pt x="512" y="1436"/>
                  </a:cubicBezTo>
                  <a:cubicBezTo>
                    <a:pt x="499" y="1496"/>
                    <a:pt x="447" y="1538"/>
                    <a:pt x="386" y="1539"/>
                  </a:cubicBezTo>
                  <a:cubicBezTo>
                    <a:pt x="162" y="1539"/>
                    <a:pt x="162" y="1539"/>
                    <a:pt x="162" y="1539"/>
                  </a:cubicBezTo>
                  <a:cubicBezTo>
                    <a:pt x="109" y="1539"/>
                    <a:pt x="66" y="1582"/>
                    <a:pt x="66" y="1635"/>
                  </a:cubicBezTo>
                  <a:cubicBezTo>
                    <a:pt x="66" y="1688"/>
                    <a:pt x="109" y="1731"/>
                    <a:pt x="162" y="1731"/>
                  </a:cubicBezTo>
                  <a:cubicBezTo>
                    <a:pt x="610" y="1731"/>
                    <a:pt x="610" y="1731"/>
                    <a:pt x="610" y="1731"/>
                  </a:cubicBezTo>
                  <a:cubicBezTo>
                    <a:pt x="628" y="1731"/>
                    <a:pt x="642" y="1745"/>
                    <a:pt x="642" y="1763"/>
                  </a:cubicBezTo>
                  <a:cubicBezTo>
                    <a:pt x="642" y="1780"/>
                    <a:pt x="628" y="1795"/>
                    <a:pt x="610" y="1795"/>
                  </a:cubicBezTo>
                  <a:moveTo>
                    <a:pt x="1119" y="1781"/>
                  </a:moveTo>
                  <a:cubicBezTo>
                    <a:pt x="947" y="1903"/>
                    <a:pt x="947" y="1903"/>
                    <a:pt x="947" y="1903"/>
                  </a:cubicBezTo>
                  <a:cubicBezTo>
                    <a:pt x="935" y="1867"/>
                    <a:pt x="935" y="1867"/>
                    <a:pt x="935" y="1867"/>
                  </a:cubicBezTo>
                  <a:cubicBezTo>
                    <a:pt x="1102" y="1700"/>
                    <a:pt x="1102" y="1700"/>
                    <a:pt x="1102" y="1700"/>
                  </a:cubicBezTo>
                  <a:lnTo>
                    <a:pt x="1119" y="1781"/>
                  </a:lnTo>
                  <a:close/>
                  <a:moveTo>
                    <a:pt x="1346" y="1347"/>
                  </a:moveTo>
                  <a:cubicBezTo>
                    <a:pt x="1346" y="1311"/>
                    <a:pt x="1375" y="1283"/>
                    <a:pt x="1410" y="1283"/>
                  </a:cubicBezTo>
                  <a:cubicBezTo>
                    <a:pt x="1445" y="1283"/>
                    <a:pt x="1474" y="1311"/>
                    <a:pt x="1474" y="1347"/>
                  </a:cubicBezTo>
                  <a:cubicBezTo>
                    <a:pt x="1474" y="1382"/>
                    <a:pt x="1445" y="1411"/>
                    <a:pt x="1410" y="1411"/>
                  </a:cubicBezTo>
                  <a:cubicBezTo>
                    <a:pt x="1405" y="1410"/>
                    <a:pt x="1399" y="1410"/>
                    <a:pt x="1394" y="1408"/>
                  </a:cubicBezTo>
                  <a:cubicBezTo>
                    <a:pt x="1433" y="1369"/>
                    <a:pt x="1433" y="1369"/>
                    <a:pt x="1433" y="1369"/>
                  </a:cubicBezTo>
                  <a:cubicBezTo>
                    <a:pt x="1387" y="1324"/>
                    <a:pt x="1387" y="1324"/>
                    <a:pt x="1387" y="1324"/>
                  </a:cubicBezTo>
                  <a:cubicBezTo>
                    <a:pt x="1349" y="1363"/>
                    <a:pt x="1349" y="1363"/>
                    <a:pt x="1349" y="1363"/>
                  </a:cubicBezTo>
                  <a:cubicBezTo>
                    <a:pt x="1347" y="1358"/>
                    <a:pt x="1346" y="1352"/>
                    <a:pt x="1346" y="1347"/>
                  </a:cubicBezTo>
                  <a:moveTo>
                    <a:pt x="976" y="1638"/>
                  </a:moveTo>
                  <a:cubicBezTo>
                    <a:pt x="1057" y="1654"/>
                    <a:pt x="1057" y="1654"/>
                    <a:pt x="1057" y="1654"/>
                  </a:cubicBezTo>
                  <a:cubicBezTo>
                    <a:pt x="889" y="1822"/>
                    <a:pt x="889" y="1822"/>
                    <a:pt x="889" y="1822"/>
                  </a:cubicBezTo>
                  <a:cubicBezTo>
                    <a:pt x="853" y="1810"/>
                    <a:pt x="853" y="1810"/>
                    <a:pt x="853" y="1810"/>
                  </a:cubicBezTo>
                  <a:lnTo>
                    <a:pt x="976" y="1638"/>
                  </a:lnTo>
                  <a:close/>
                  <a:moveTo>
                    <a:pt x="418" y="1123"/>
                  </a:moveTo>
                  <a:cubicBezTo>
                    <a:pt x="674" y="1123"/>
                    <a:pt x="674" y="1123"/>
                    <a:pt x="674" y="1123"/>
                  </a:cubicBezTo>
                  <a:cubicBezTo>
                    <a:pt x="674" y="1155"/>
                    <a:pt x="674" y="1155"/>
                    <a:pt x="674" y="1155"/>
                  </a:cubicBezTo>
                  <a:cubicBezTo>
                    <a:pt x="418" y="1155"/>
                    <a:pt x="418" y="1155"/>
                    <a:pt x="418" y="1155"/>
                  </a:cubicBezTo>
                  <a:lnTo>
                    <a:pt x="418" y="1123"/>
                  </a:lnTo>
                  <a:close/>
                  <a:moveTo>
                    <a:pt x="130" y="547"/>
                  </a:moveTo>
                  <a:cubicBezTo>
                    <a:pt x="130" y="317"/>
                    <a:pt x="316" y="130"/>
                    <a:pt x="546" y="130"/>
                  </a:cubicBezTo>
                  <a:cubicBezTo>
                    <a:pt x="775" y="130"/>
                    <a:pt x="962" y="316"/>
                    <a:pt x="962" y="546"/>
                  </a:cubicBezTo>
                  <a:cubicBezTo>
                    <a:pt x="962" y="750"/>
                    <a:pt x="815" y="924"/>
                    <a:pt x="613" y="957"/>
                  </a:cubicBezTo>
                  <a:cubicBezTo>
                    <a:pt x="631" y="739"/>
                    <a:pt x="631" y="739"/>
                    <a:pt x="631" y="739"/>
                  </a:cubicBezTo>
                  <a:cubicBezTo>
                    <a:pt x="706" y="739"/>
                    <a:pt x="706" y="739"/>
                    <a:pt x="706" y="739"/>
                  </a:cubicBezTo>
                  <a:cubicBezTo>
                    <a:pt x="777" y="739"/>
                    <a:pt x="834" y="681"/>
                    <a:pt x="834" y="611"/>
                  </a:cubicBezTo>
                  <a:cubicBezTo>
                    <a:pt x="834" y="540"/>
                    <a:pt x="777" y="483"/>
                    <a:pt x="706" y="483"/>
                  </a:cubicBezTo>
                  <a:cubicBezTo>
                    <a:pt x="636" y="483"/>
                    <a:pt x="580" y="538"/>
                    <a:pt x="578" y="608"/>
                  </a:cubicBezTo>
                  <a:cubicBezTo>
                    <a:pt x="573" y="675"/>
                    <a:pt x="573" y="675"/>
                    <a:pt x="573" y="675"/>
                  </a:cubicBezTo>
                  <a:cubicBezTo>
                    <a:pt x="519" y="675"/>
                    <a:pt x="519" y="675"/>
                    <a:pt x="519" y="675"/>
                  </a:cubicBezTo>
                  <a:cubicBezTo>
                    <a:pt x="514" y="611"/>
                    <a:pt x="514" y="611"/>
                    <a:pt x="514" y="611"/>
                  </a:cubicBezTo>
                  <a:cubicBezTo>
                    <a:pt x="514" y="540"/>
                    <a:pt x="457" y="483"/>
                    <a:pt x="386" y="483"/>
                  </a:cubicBezTo>
                  <a:cubicBezTo>
                    <a:pt x="315" y="483"/>
                    <a:pt x="258" y="540"/>
                    <a:pt x="258" y="611"/>
                  </a:cubicBezTo>
                  <a:cubicBezTo>
                    <a:pt x="258" y="681"/>
                    <a:pt x="315" y="739"/>
                    <a:pt x="386" y="739"/>
                  </a:cubicBezTo>
                  <a:cubicBezTo>
                    <a:pt x="461" y="739"/>
                    <a:pt x="461" y="739"/>
                    <a:pt x="461" y="739"/>
                  </a:cubicBezTo>
                  <a:cubicBezTo>
                    <a:pt x="479" y="957"/>
                    <a:pt x="479" y="957"/>
                    <a:pt x="479" y="957"/>
                  </a:cubicBezTo>
                  <a:cubicBezTo>
                    <a:pt x="278" y="924"/>
                    <a:pt x="130" y="750"/>
                    <a:pt x="130" y="547"/>
                  </a:cubicBezTo>
                  <a:moveTo>
                    <a:pt x="544" y="963"/>
                  </a:moveTo>
                  <a:cubicBezTo>
                    <a:pt x="525" y="739"/>
                    <a:pt x="525" y="739"/>
                    <a:pt x="525" y="739"/>
                  </a:cubicBezTo>
                  <a:cubicBezTo>
                    <a:pt x="567" y="739"/>
                    <a:pt x="567" y="739"/>
                    <a:pt x="567" y="739"/>
                  </a:cubicBezTo>
                  <a:cubicBezTo>
                    <a:pt x="549" y="963"/>
                    <a:pt x="549" y="963"/>
                    <a:pt x="549" y="963"/>
                  </a:cubicBezTo>
                  <a:cubicBezTo>
                    <a:pt x="546" y="963"/>
                    <a:pt x="546" y="963"/>
                    <a:pt x="546" y="963"/>
                  </a:cubicBezTo>
                  <a:lnTo>
                    <a:pt x="544" y="963"/>
                  </a:lnTo>
                  <a:close/>
                  <a:moveTo>
                    <a:pt x="637" y="675"/>
                  </a:moveTo>
                  <a:cubicBezTo>
                    <a:pt x="642" y="611"/>
                    <a:pt x="642" y="611"/>
                    <a:pt x="642" y="611"/>
                  </a:cubicBezTo>
                  <a:cubicBezTo>
                    <a:pt x="642" y="575"/>
                    <a:pt x="671" y="547"/>
                    <a:pt x="706" y="547"/>
                  </a:cubicBezTo>
                  <a:cubicBezTo>
                    <a:pt x="741" y="547"/>
                    <a:pt x="770" y="575"/>
                    <a:pt x="770" y="611"/>
                  </a:cubicBezTo>
                  <a:cubicBezTo>
                    <a:pt x="770" y="646"/>
                    <a:pt x="741" y="675"/>
                    <a:pt x="706" y="675"/>
                  </a:cubicBezTo>
                  <a:lnTo>
                    <a:pt x="637" y="675"/>
                  </a:lnTo>
                  <a:close/>
                  <a:moveTo>
                    <a:pt x="455" y="675"/>
                  </a:moveTo>
                  <a:cubicBezTo>
                    <a:pt x="386" y="675"/>
                    <a:pt x="386" y="675"/>
                    <a:pt x="386" y="675"/>
                  </a:cubicBezTo>
                  <a:cubicBezTo>
                    <a:pt x="351" y="675"/>
                    <a:pt x="322" y="646"/>
                    <a:pt x="322" y="611"/>
                  </a:cubicBezTo>
                  <a:cubicBezTo>
                    <a:pt x="322" y="575"/>
                    <a:pt x="351" y="547"/>
                    <a:pt x="386" y="547"/>
                  </a:cubicBezTo>
                  <a:cubicBezTo>
                    <a:pt x="422" y="547"/>
                    <a:pt x="451" y="576"/>
                    <a:pt x="450" y="612"/>
                  </a:cubicBezTo>
                  <a:cubicBezTo>
                    <a:pt x="450" y="613"/>
                    <a:pt x="450" y="613"/>
                    <a:pt x="450" y="613"/>
                  </a:cubicBezTo>
                  <a:lnTo>
                    <a:pt x="455" y="675"/>
                  </a:lnTo>
                  <a:close/>
                  <a:moveTo>
                    <a:pt x="546" y="1027"/>
                  </a:moveTo>
                  <a:cubicBezTo>
                    <a:pt x="589" y="1026"/>
                    <a:pt x="632" y="1020"/>
                    <a:pt x="674" y="1009"/>
                  </a:cubicBezTo>
                  <a:cubicBezTo>
                    <a:pt x="674" y="1059"/>
                    <a:pt x="674" y="1059"/>
                    <a:pt x="674" y="1059"/>
                  </a:cubicBezTo>
                  <a:cubicBezTo>
                    <a:pt x="418" y="1059"/>
                    <a:pt x="418" y="1059"/>
                    <a:pt x="418" y="1059"/>
                  </a:cubicBezTo>
                  <a:cubicBezTo>
                    <a:pt x="418" y="1009"/>
                    <a:pt x="418" y="1009"/>
                    <a:pt x="418" y="1009"/>
                  </a:cubicBezTo>
                  <a:cubicBezTo>
                    <a:pt x="460" y="1020"/>
                    <a:pt x="503" y="1026"/>
                    <a:pt x="546" y="1027"/>
                  </a:cubicBezTo>
                  <a:moveTo>
                    <a:pt x="418" y="1219"/>
                  </a:moveTo>
                  <a:cubicBezTo>
                    <a:pt x="674" y="1219"/>
                    <a:pt x="674" y="1219"/>
                    <a:pt x="674" y="1219"/>
                  </a:cubicBezTo>
                  <a:cubicBezTo>
                    <a:pt x="674" y="1236"/>
                    <a:pt x="660" y="1251"/>
                    <a:pt x="642" y="1251"/>
                  </a:cubicBezTo>
                  <a:cubicBezTo>
                    <a:pt x="450" y="1251"/>
                    <a:pt x="450" y="1251"/>
                    <a:pt x="450" y="1251"/>
                  </a:cubicBezTo>
                  <a:cubicBezTo>
                    <a:pt x="432" y="1251"/>
                    <a:pt x="418" y="1236"/>
                    <a:pt x="418" y="1219"/>
                  </a:cubicBezTo>
                  <a:moveTo>
                    <a:pt x="578" y="1315"/>
                  </a:moveTo>
                  <a:cubicBezTo>
                    <a:pt x="578" y="1347"/>
                    <a:pt x="578" y="1347"/>
                    <a:pt x="578" y="1347"/>
                  </a:cubicBezTo>
                  <a:cubicBezTo>
                    <a:pt x="578" y="1364"/>
                    <a:pt x="564" y="1379"/>
                    <a:pt x="546" y="1379"/>
                  </a:cubicBezTo>
                  <a:cubicBezTo>
                    <a:pt x="528" y="1379"/>
                    <a:pt x="514" y="1364"/>
                    <a:pt x="514" y="1347"/>
                  </a:cubicBezTo>
                  <a:cubicBezTo>
                    <a:pt x="514" y="1315"/>
                    <a:pt x="514" y="1315"/>
                    <a:pt x="514" y="1315"/>
                  </a:cubicBezTo>
                  <a:lnTo>
                    <a:pt x="578" y="13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1" name="Freeform 293">
              <a:extLst>
                <a:ext uri="{FF2B5EF4-FFF2-40B4-BE49-F238E27FC236}">
                  <a16:creationId xmlns:a16="http://schemas.microsoft.com/office/drawing/2014/main" id="{1BFA1FD3-B83D-C016-73E4-CAC7410E5FB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87138" y="6403975"/>
              <a:ext cx="279400" cy="227012"/>
            </a:xfrm>
            <a:custGeom>
              <a:avLst/>
              <a:gdLst>
                <a:gd name="T0" fmla="*/ 119 w 739"/>
                <a:gd name="T1" fmla="*/ 517 h 597"/>
                <a:gd name="T2" fmla="*/ 149 w 739"/>
                <a:gd name="T3" fmla="*/ 524 h 597"/>
                <a:gd name="T4" fmla="*/ 707 w 739"/>
                <a:gd name="T5" fmla="*/ 597 h 597"/>
                <a:gd name="T6" fmla="*/ 739 w 739"/>
                <a:gd name="T7" fmla="*/ 542 h 597"/>
                <a:gd name="T8" fmla="*/ 177 w 739"/>
                <a:gd name="T9" fmla="*/ 451 h 597"/>
                <a:gd name="T10" fmla="*/ 179 w 739"/>
                <a:gd name="T11" fmla="*/ 403 h 597"/>
                <a:gd name="T12" fmla="*/ 53 w 739"/>
                <a:gd name="T13" fmla="*/ 0 h 597"/>
                <a:gd name="T14" fmla="*/ 0 w 739"/>
                <a:gd name="T15" fmla="*/ 37 h 597"/>
                <a:gd name="T16" fmla="*/ 109 w 739"/>
                <a:gd name="T17" fmla="*/ 488 h 597"/>
                <a:gd name="T18" fmla="*/ 119 w 739"/>
                <a:gd name="T19" fmla="*/ 517 h 5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39" h="597">
                  <a:moveTo>
                    <a:pt x="119" y="517"/>
                  </a:moveTo>
                  <a:cubicBezTo>
                    <a:pt x="127" y="524"/>
                    <a:pt x="138" y="526"/>
                    <a:pt x="149" y="524"/>
                  </a:cubicBezTo>
                  <a:cubicBezTo>
                    <a:pt x="337" y="474"/>
                    <a:pt x="538" y="500"/>
                    <a:pt x="707" y="597"/>
                  </a:cubicBezTo>
                  <a:cubicBezTo>
                    <a:pt x="739" y="542"/>
                    <a:pt x="739" y="542"/>
                    <a:pt x="739" y="542"/>
                  </a:cubicBezTo>
                  <a:cubicBezTo>
                    <a:pt x="569" y="444"/>
                    <a:pt x="369" y="412"/>
                    <a:pt x="177" y="451"/>
                  </a:cubicBezTo>
                  <a:cubicBezTo>
                    <a:pt x="178" y="434"/>
                    <a:pt x="179" y="418"/>
                    <a:pt x="179" y="403"/>
                  </a:cubicBezTo>
                  <a:cubicBezTo>
                    <a:pt x="179" y="259"/>
                    <a:pt x="135" y="118"/>
                    <a:pt x="53" y="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93" y="168"/>
                    <a:pt x="132" y="330"/>
                    <a:pt x="109" y="488"/>
                  </a:cubicBezTo>
                  <a:cubicBezTo>
                    <a:pt x="107" y="499"/>
                    <a:pt x="111" y="510"/>
                    <a:pt x="119" y="51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2" name="Freeform 294">
              <a:extLst>
                <a:ext uri="{FF2B5EF4-FFF2-40B4-BE49-F238E27FC236}">
                  <a16:creationId xmlns:a16="http://schemas.microsoft.com/office/drawing/2014/main" id="{9913FDDA-BBD0-C83E-6663-FA2E31187B3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99875" y="6645275"/>
              <a:ext cx="42863" cy="42862"/>
            </a:xfrm>
            <a:custGeom>
              <a:avLst/>
              <a:gdLst>
                <a:gd name="T0" fmla="*/ 42 w 113"/>
                <a:gd name="T1" fmla="*/ 0 h 113"/>
                <a:gd name="T2" fmla="*/ 0 w 113"/>
                <a:gd name="T3" fmla="*/ 48 h 113"/>
                <a:gd name="T4" fmla="*/ 65 w 113"/>
                <a:gd name="T5" fmla="*/ 113 h 113"/>
                <a:gd name="T6" fmla="*/ 113 w 113"/>
                <a:gd name="T7" fmla="*/ 70 h 113"/>
                <a:gd name="T8" fmla="*/ 42 w 113"/>
                <a:gd name="T9" fmla="*/ 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3" h="113">
                  <a:moveTo>
                    <a:pt x="42" y="0"/>
                  </a:moveTo>
                  <a:cubicBezTo>
                    <a:pt x="0" y="48"/>
                    <a:pt x="0" y="48"/>
                    <a:pt x="0" y="48"/>
                  </a:cubicBezTo>
                  <a:cubicBezTo>
                    <a:pt x="23" y="68"/>
                    <a:pt x="45" y="90"/>
                    <a:pt x="65" y="113"/>
                  </a:cubicBezTo>
                  <a:cubicBezTo>
                    <a:pt x="113" y="70"/>
                    <a:pt x="113" y="70"/>
                    <a:pt x="113" y="70"/>
                  </a:cubicBezTo>
                  <a:cubicBezTo>
                    <a:pt x="91" y="45"/>
                    <a:pt x="67" y="22"/>
                    <a:pt x="4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A974314E-54FC-B94D-D112-74EFDA499FB7}"/>
              </a:ext>
            </a:extLst>
          </p:cNvPr>
          <p:cNvGrpSpPr/>
          <p:nvPr/>
        </p:nvGrpSpPr>
        <p:grpSpPr>
          <a:xfrm>
            <a:off x="7010595" y="2396315"/>
            <a:ext cx="453901" cy="462264"/>
            <a:chOff x="9164638" y="5856288"/>
            <a:chExt cx="1292226" cy="1316037"/>
          </a:xfrm>
          <a:solidFill>
            <a:schemeClr val="bg1"/>
          </a:solidFill>
        </p:grpSpPr>
        <p:sp>
          <p:nvSpPr>
            <p:cNvPr id="54" name="Freeform 298">
              <a:extLst>
                <a:ext uri="{FF2B5EF4-FFF2-40B4-BE49-F238E27FC236}">
                  <a16:creationId xmlns:a16="http://schemas.microsoft.com/office/drawing/2014/main" id="{035F0825-263A-6893-4590-A1E4AC1E522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725026" y="6311900"/>
              <a:ext cx="731838" cy="731837"/>
            </a:xfrm>
            <a:custGeom>
              <a:avLst/>
              <a:gdLst>
                <a:gd name="T0" fmla="*/ 544 w 1088"/>
                <a:gd name="T1" fmla="*/ 0 h 1088"/>
                <a:gd name="T2" fmla="*/ 512 w 1088"/>
                <a:gd name="T3" fmla="*/ 160 h 1088"/>
                <a:gd name="T4" fmla="*/ 640 w 1088"/>
                <a:gd name="T5" fmla="*/ 192 h 1088"/>
                <a:gd name="T6" fmla="*/ 640 w 1088"/>
                <a:gd name="T7" fmla="*/ 320 h 1088"/>
                <a:gd name="T8" fmla="*/ 512 w 1088"/>
                <a:gd name="T9" fmla="*/ 352 h 1088"/>
                <a:gd name="T10" fmla="*/ 32 w 1088"/>
                <a:gd name="T11" fmla="*/ 512 h 1088"/>
                <a:gd name="T12" fmla="*/ 0 w 1088"/>
                <a:gd name="T13" fmla="*/ 960 h 1088"/>
                <a:gd name="T14" fmla="*/ 960 w 1088"/>
                <a:gd name="T15" fmla="*/ 1088 h 1088"/>
                <a:gd name="T16" fmla="*/ 1088 w 1088"/>
                <a:gd name="T17" fmla="*/ 128 h 1088"/>
                <a:gd name="T18" fmla="*/ 640 w 1088"/>
                <a:gd name="T19" fmla="*/ 384 h 1088"/>
                <a:gd name="T20" fmla="*/ 640 w 1088"/>
                <a:gd name="T21" fmla="*/ 128 h 1088"/>
                <a:gd name="T22" fmla="*/ 576 w 1088"/>
                <a:gd name="T23" fmla="*/ 64 h 1088"/>
                <a:gd name="T24" fmla="*/ 1024 w 1088"/>
                <a:gd name="T25" fmla="*/ 128 h 1088"/>
                <a:gd name="T26" fmla="*/ 896 w 1088"/>
                <a:gd name="T27" fmla="*/ 512 h 1088"/>
                <a:gd name="T28" fmla="*/ 864 w 1088"/>
                <a:gd name="T29" fmla="*/ 640 h 1088"/>
                <a:gd name="T30" fmla="*/ 736 w 1088"/>
                <a:gd name="T31" fmla="*/ 640 h 1088"/>
                <a:gd name="T32" fmla="*/ 704 w 1088"/>
                <a:gd name="T33" fmla="*/ 512 h 1088"/>
                <a:gd name="T34" fmla="*/ 576 w 1088"/>
                <a:gd name="T35" fmla="*/ 384 h 1088"/>
                <a:gd name="T36" fmla="*/ 512 w 1088"/>
                <a:gd name="T37" fmla="*/ 1024 h 1088"/>
                <a:gd name="T38" fmla="*/ 64 w 1088"/>
                <a:gd name="T39" fmla="*/ 960 h 1088"/>
                <a:gd name="T40" fmla="*/ 512 w 1088"/>
                <a:gd name="T41" fmla="*/ 576 h 1088"/>
                <a:gd name="T42" fmla="*/ 448 w 1088"/>
                <a:gd name="T43" fmla="*/ 640 h 1088"/>
                <a:gd name="T44" fmla="*/ 448 w 1088"/>
                <a:gd name="T45" fmla="*/ 896 h 1088"/>
                <a:gd name="T46" fmla="*/ 512 w 1088"/>
                <a:gd name="T47" fmla="*/ 1024 h 1088"/>
                <a:gd name="T48" fmla="*/ 960 w 1088"/>
                <a:gd name="T49" fmla="*/ 1024 h 1088"/>
                <a:gd name="T50" fmla="*/ 576 w 1088"/>
                <a:gd name="T51" fmla="*/ 864 h 1088"/>
                <a:gd name="T52" fmla="*/ 448 w 1088"/>
                <a:gd name="T53" fmla="*/ 832 h 1088"/>
                <a:gd name="T54" fmla="*/ 448 w 1088"/>
                <a:gd name="T55" fmla="*/ 704 h 1088"/>
                <a:gd name="T56" fmla="*/ 576 w 1088"/>
                <a:gd name="T57" fmla="*/ 672 h 1088"/>
                <a:gd name="T58" fmla="*/ 672 w 1088"/>
                <a:gd name="T59" fmla="*/ 576 h 1088"/>
                <a:gd name="T60" fmla="*/ 800 w 1088"/>
                <a:gd name="T61" fmla="*/ 768 h 1088"/>
                <a:gd name="T62" fmla="*/ 928 w 1088"/>
                <a:gd name="T63" fmla="*/ 576 h 1088"/>
                <a:gd name="T64" fmla="*/ 1024 w 1088"/>
                <a:gd name="T65" fmla="*/ 960 h 10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88" h="1088">
                  <a:moveTo>
                    <a:pt x="960" y="0"/>
                  </a:moveTo>
                  <a:cubicBezTo>
                    <a:pt x="544" y="0"/>
                    <a:pt x="544" y="0"/>
                    <a:pt x="544" y="0"/>
                  </a:cubicBezTo>
                  <a:cubicBezTo>
                    <a:pt x="526" y="0"/>
                    <a:pt x="512" y="14"/>
                    <a:pt x="512" y="32"/>
                  </a:cubicBezTo>
                  <a:cubicBezTo>
                    <a:pt x="512" y="160"/>
                    <a:pt x="512" y="160"/>
                    <a:pt x="512" y="160"/>
                  </a:cubicBezTo>
                  <a:cubicBezTo>
                    <a:pt x="512" y="177"/>
                    <a:pt x="526" y="192"/>
                    <a:pt x="544" y="192"/>
                  </a:cubicBezTo>
                  <a:cubicBezTo>
                    <a:pt x="640" y="192"/>
                    <a:pt x="640" y="192"/>
                    <a:pt x="640" y="192"/>
                  </a:cubicBezTo>
                  <a:cubicBezTo>
                    <a:pt x="675" y="192"/>
                    <a:pt x="704" y="220"/>
                    <a:pt x="704" y="256"/>
                  </a:cubicBezTo>
                  <a:cubicBezTo>
                    <a:pt x="704" y="291"/>
                    <a:pt x="675" y="320"/>
                    <a:pt x="640" y="320"/>
                  </a:cubicBezTo>
                  <a:cubicBezTo>
                    <a:pt x="544" y="320"/>
                    <a:pt x="544" y="320"/>
                    <a:pt x="544" y="320"/>
                  </a:cubicBezTo>
                  <a:cubicBezTo>
                    <a:pt x="526" y="320"/>
                    <a:pt x="512" y="334"/>
                    <a:pt x="512" y="352"/>
                  </a:cubicBezTo>
                  <a:cubicBezTo>
                    <a:pt x="512" y="512"/>
                    <a:pt x="512" y="512"/>
                    <a:pt x="512" y="512"/>
                  </a:cubicBezTo>
                  <a:cubicBezTo>
                    <a:pt x="32" y="512"/>
                    <a:pt x="32" y="512"/>
                    <a:pt x="32" y="512"/>
                  </a:cubicBezTo>
                  <a:cubicBezTo>
                    <a:pt x="14" y="512"/>
                    <a:pt x="0" y="526"/>
                    <a:pt x="0" y="544"/>
                  </a:cubicBezTo>
                  <a:cubicBezTo>
                    <a:pt x="0" y="960"/>
                    <a:pt x="0" y="960"/>
                    <a:pt x="0" y="960"/>
                  </a:cubicBezTo>
                  <a:cubicBezTo>
                    <a:pt x="0" y="1030"/>
                    <a:pt x="57" y="1088"/>
                    <a:pt x="128" y="1088"/>
                  </a:cubicBezTo>
                  <a:cubicBezTo>
                    <a:pt x="960" y="1088"/>
                    <a:pt x="960" y="1088"/>
                    <a:pt x="960" y="1088"/>
                  </a:cubicBezTo>
                  <a:cubicBezTo>
                    <a:pt x="1030" y="1088"/>
                    <a:pt x="1088" y="1030"/>
                    <a:pt x="1088" y="960"/>
                  </a:cubicBezTo>
                  <a:cubicBezTo>
                    <a:pt x="1088" y="128"/>
                    <a:pt x="1088" y="128"/>
                    <a:pt x="1088" y="128"/>
                  </a:cubicBezTo>
                  <a:cubicBezTo>
                    <a:pt x="1088" y="57"/>
                    <a:pt x="1030" y="0"/>
                    <a:pt x="960" y="0"/>
                  </a:cubicBezTo>
                  <a:moveTo>
                    <a:pt x="640" y="384"/>
                  </a:moveTo>
                  <a:cubicBezTo>
                    <a:pt x="710" y="384"/>
                    <a:pt x="768" y="326"/>
                    <a:pt x="768" y="256"/>
                  </a:cubicBezTo>
                  <a:cubicBezTo>
                    <a:pt x="768" y="185"/>
                    <a:pt x="710" y="128"/>
                    <a:pt x="640" y="128"/>
                  </a:cubicBezTo>
                  <a:cubicBezTo>
                    <a:pt x="576" y="128"/>
                    <a:pt x="576" y="128"/>
                    <a:pt x="576" y="128"/>
                  </a:cubicBezTo>
                  <a:cubicBezTo>
                    <a:pt x="576" y="64"/>
                    <a:pt x="576" y="64"/>
                    <a:pt x="576" y="64"/>
                  </a:cubicBezTo>
                  <a:cubicBezTo>
                    <a:pt x="960" y="64"/>
                    <a:pt x="960" y="64"/>
                    <a:pt x="960" y="64"/>
                  </a:cubicBezTo>
                  <a:cubicBezTo>
                    <a:pt x="995" y="64"/>
                    <a:pt x="1024" y="92"/>
                    <a:pt x="1024" y="128"/>
                  </a:cubicBezTo>
                  <a:cubicBezTo>
                    <a:pt x="1024" y="512"/>
                    <a:pt x="1024" y="512"/>
                    <a:pt x="1024" y="512"/>
                  </a:cubicBezTo>
                  <a:cubicBezTo>
                    <a:pt x="896" y="512"/>
                    <a:pt x="896" y="512"/>
                    <a:pt x="896" y="512"/>
                  </a:cubicBezTo>
                  <a:cubicBezTo>
                    <a:pt x="878" y="512"/>
                    <a:pt x="864" y="526"/>
                    <a:pt x="864" y="544"/>
                  </a:cubicBezTo>
                  <a:cubicBezTo>
                    <a:pt x="864" y="640"/>
                    <a:pt x="864" y="640"/>
                    <a:pt x="864" y="640"/>
                  </a:cubicBezTo>
                  <a:cubicBezTo>
                    <a:pt x="864" y="675"/>
                    <a:pt x="835" y="704"/>
                    <a:pt x="800" y="704"/>
                  </a:cubicBezTo>
                  <a:cubicBezTo>
                    <a:pt x="764" y="704"/>
                    <a:pt x="736" y="675"/>
                    <a:pt x="736" y="640"/>
                  </a:cubicBezTo>
                  <a:cubicBezTo>
                    <a:pt x="736" y="544"/>
                    <a:pt x="736" y="544"/>
                    <a:pt x="736" y="544"/>
                  </a:cubicBezTo>
                  <a:cubicBezTo>
                    <a:pt x="736" y="526"/>
                    <a:pt x="721" y="512"/>
                    <a:pt x="704" y="512"/>
                  </a:cubicBezTo>
                  <a:cubicBezTo>
                    <a:pt x="576" y="512"/>
                    <a:pt x="576" y="512"/>
                    <a:pt x="576" y="512"/>
                  </a:cubicBezTo>
                  <a:cubicBezTo>
                    <a:pt x="576" y="384"/>
                    <a:pt x="576" y="384"/>
                    <a:pt x="576" y="384"/>
                  </a:cubicBezTo>
                  <a:lnTo>
                    <a:pt x="640" y="384"/>
                  </a:lnTo>
                  <a:close/>
                  <a:moveTo>
                    <a:pt x="512" y="1024"/>
                  </a:moveTo>
                  <a:cubicBezTo>
                    <a:pt x="128" y="1024"/>
                    <a:pt x="128" y="1024"/>
                    <a:pt x="128" y="1024"/>
                  </a:cubicBezTo>
                  <a:cubicBezTo>
                    <a:pt x="92" y="1024"/>
                    <a:pt x="64" y="995"/>
                    <a:pt x="64" y="960"/>
                  </a:cubicBezTo>
                  <a:cubicBezTo>
                    <a:pt x="64" y="576"/>
                    <a:pt x="64" y="576"/>
                    <a:pt x="64" y="576"/>
                  </a:cubicBezTo>
                  <a:cubicBezTo>
                    <a:pt x="512" y="576"/>
                    <a:pt x="512" y="576"/>
                    <a:pt x="512" y="576"/>
                  </a:cubicBezTo>
                  <a:cubicBezTo>
                    <a:pt x="512" y="640"/>
                    <a:pt x="512" y="640"/>
                    <a:pt x="512" y="640"/>
                  </a:cubicBezTo>
                  <a:cubicBezTo>
                    <a:pt x="448" y="640"/>
                    <a:pt x="448" y="640"/>
                    <a:pt x="448" y="640"/>
                  </a:cubicBezTo>
                  <a:cubicBezTo>
                    <a:pt x="377" y="640"/>
                    <a:pt x="320" y="697"/>
                    <a:pt x="320" y="768"/>
                  </a:cubicBezTo>
                  <a:cubicBezTo>
                    <a:pt x="320" y="838"/>
                    <a:pt x="377" y="896"/>
                    <a:pt x="448" y="896"/>
                  </a:cubicBezTo>
                  <a:cubicBezTo>
                    <a:pt x="512" y="896"/>
                    <a:pt x="512" y="896"/>
                    <a:pt x="512" y="896"/>
                  </a:cubicBezTo>
                  <a:lnTo>
                    <a:pt x="512" y="1024"/>
                  </a:lnTo>
                  <a:close/>
                  <a:moveTo>
                    <a:pt x="1024" y="960"/>
                  </a:moveTo>
                  <a:cubicBezTo>
                    <a:pt x="1024" y="995"/>
                    <a:pt x="995" y="1024"/>
                    <a:pt x="960" y="1024"/>
                  </a:cubicBezTo>
                  <a:cubicBezTo>
                    <a:pt x="576" y="1024"/>
                    <a:pt x="576" y="1024"/>
                    <a:pt x="576" y="1024"/>
                  </a:cubicBezTo>
                  <a:cubicBezTo>
                    <a:pt x="576" y="864"/>
                    <a:pt x="576" y="864"/>
                    <a:pt x="576" y="864"/>
                  </a:cubicBezTo>
                  <a:cubicBezTo>
                    <a:pt x="576" y="846"/>
                    <a:pt x="561" y="832"/>
                    <a:pt x="544" y="832"/>
                  </a:cubicBezTo>
                  <a:cubicBezTo>
                    <a:pt x="448" y="832"/>
                    <a:pt x="448" y="832"/>
                    <a:pt x="448" y="832"/>
                  </a:cubicBezTo>
                  <a:cubicBezTo>
                    <a:pt x="412" y="832"/>
                    <a:pt x="384" y="803"/>
                    <a:pt x="384" y="768"/>
                  </a:cubicBezTo>
                  <a:cubicBezTo>
                    <a:pt x="384" y="732"/>
                    <a:pt x="412" y="704"/>
                    <a:pt x="448" y="704"/>
                  </a:cubicBezTo>
                  <a:cubicBezTo>
                    <a:pt x="544" y="704"/>
                    <a:pt x="544" y="704"/>
                    <a:pt x="544" y="704"/>
                  </a:cubicBezTo>
                  <a:cubicBezTo>
                    <a:pt x="561" y="704"/>
                    <a:pt x="576" y="689"/>
                    <a:pt x="576" y="672"/>
                  </a:cubicBezTo>
                  <a:cubicBezTo>
                    <a:pt x="576" y="576"/>
                    <a:pt x="576" y="576"/>
                    <a:pt x="576" y="576"/>
                  </a:cubicBezTo>
                  <a:cubicBezTo>
                    <a:pt x="672" y="576"/>
                    <a:pt x="672" y="576"/>
                    <a:pt x="672" y="576"/>
                  </a:cubicBezTo>
                  <a:cubicBezTo>
                    <a:pt x="672" y="640"/>
                    <a:pt x="672" y="640"/>
                    <a:pt x="672" y="640"/>
                  </a:cubicBezTo>
                  <a:cubicBezTo>
                    <a:pt x="672" y="710"/>
                    <a:pt x="729" y="768"/>
                    <a:pt x="800" y="768"/>
                  </a:cubicBezTo>
                  <a:cubicBezTo>
                    <a:pt x="870" y="768"/>
                    <a:pt x="928" y="710"/>
                    <a:pt x="928" y="640"/>
                  </a:cubicBezTo>
                  <a:cubicBezTo>
                    <a:pt x="928" y="576"/>
                    <a:pt x="928" y="576"/>
                    <a:pt x="928" y="576"/>
                  </a:cubicBezTo>
                  <a:cubicBezTo>
                    <a:pt x="1024" y="576"/>
                    <a:pt x="1024" y="576"/>
                    <a:pt x="1024" y="576"/>
                  </a:cubicBezTo>
                  <a:lnTo>
                    <a:pt x="1024" y="9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5" name="Freeform 299">
              <a:extLst>
                <a:ext uri="{FF2B5EF4-FFF2-40B4-BE49-F238E27FC236}">
                  <a16:creationId xmlns:a16="http://schemas.microsoft.com/office/drawing/2014/main" id="{399E87CB-85C9-1370-90F6-A472439E903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164638" y="5856288"/>
              <a:ext cx="1033463" cy="1316037"/>
            </a:xfrm>
            <a:custGeom>
              <a:avLst/>
              <a:gdLst>
                <a:gd name="T0" fmla="*/ 389 w 1541"/>
                <a:gd name="T1" fmla="*/ 1957 h 1957"/>
                <a:gd name="T2" fmla="*/ 335 w 1541"/>
                <a:gd name="T3" fmla="*/ 1783 h 1957"/>
                <a:gd name="T4" fmla="*/ 393 w 1541"/>
                <a:gd name="T5" fmla="*/ 1452 h 1957"/>
                <a:gd name="T6" fmla="*/ 395 w 1541"/>
                <a:gd name="T7" fmla="*/ 1285 h 1957"/>
                <a:gd name="T8" fmla="*/ 431 w 1541"/>
                <a:gd name="T9" fmla="*/ 1310 h 1957"/>
                <a:gd name="T10" fmla="*/ 485 w 1541"/>
                <a:gd name="T11" fmla="*/ 1667 h 1957"/>
                <a:gd name="T12" fmla="*/ 517 w 1541"/>
                <a:gd name="T13" fmla="*/ 1957 h 1957"/>
                <a:gd name="T14" fmla="*/ 901 w 1541"/>
                <a:gd name="T15" fmla="*/ 1925 h 1957"/>
                <a:gd name="T16" fmla="*/ 821 w 1541"/>
                <a:gd name="T17" fmla="*/ 1795 h 1957"/>
                <a:gd name="T18" fmla="*/ 727 w 1541"/>
                <a:gd name="T19" fmla="*/ 1678 h 1957"/>
                <a:gd name="T20" fmla="*/ 741 w 1541"/>
                <a:gd name="T21" fmla="*/ 1250 h 1957"/>
                <a:gd name="T22" fmla="*/ 925 w 1541"/>
                <a:gd name="T23" fmla="*/ 715 h 1957"/>
                <a:gd name="T24" fmla="*/ 1317 w 1541"/>
                <a:gd name="T25" fmla="*/ 613 h 1957"/>
                <a:gd name="T26" fmla="*/ 1349 w 1541"/>
                <a:gd name="T27" fmla="*/ 421 h 1957"/>
                <a:gd name="T28" fmla="*/ 1541 w 1541"/>
                <a:gd name="T29" fmla="*/ 293 h 1957"/>
                <a:gd name="T30" fmla="*/ 1349 w 1541"/>
                <a:gd name="T31" fmla="*/ 165 h 1957"/>
                <a:gd name="T32" fmla="*/ 1317 w 1541"/>
                <a:gd name="T33" fmla="*/ 37 h 1957"/>
                <a:gd name="T34" fmla="*/ 773 w 1541"/>
                <a:gd name="T35" fmla="*/ 165 h 1957"/>
                <a:gd name="T36" fmla="*/ 640 w 1541"/>
                <a:gd name="T37" fmla="*/ 587 h 1957"/>
                <a:gd name="T38" fmla="*/ 682 w 1541"/>
                <a:gd name="T39" fmla="*/ 178 h 1957"/>
                <a:gd name="T40" fmla="*/ 224 w 1541"/>
                <a:gd name="T41" fmla="*/ 407 h 1957"/>
                <a:gd name="T42" fmla="*/ 186 w 1541"/>
                <a:gd name="T43" fmla="*/ 677 h 1957"/>
                <a:gd name="T44" fmla="*/ 79 w 1541"/>
                <a:gd name="T45" fmla="*/ 1423 h 1957"/>
                <a:gd name="T46" fmla="*/ 8 w 1541"/>
                <a:gd name="T47" fmla="*/ 1910 h 1957"/>
                <a:gd name="T48" fmla="*/ 37 w 1541"/>
                <a:gd name="T49" fmla="*/ 1957 h 1957"/>
                <a:gd name="T50" fmla="*/ 898 w 1541"/>
                <a:gd name="T51" fmla="*/ 657 h 1957"/>
                <a:gd name="T52" fmla="*/ 394 w 1541"/>
                <a:gd name="T53" fmla="*/ 837 h 1957"/>
                <a:gd name="T54" fmla="*/ 420 w 1541"/>
                <a:gd name="T55" fmla="*/ 764 h 1957"/>
                <a:gd name="T56" fmla="*/ 907 w 1541"/>
                <a:gd name="T57" fmla="*/ 559 h 1957"/>
                <a:gd name="T58" fmla="*/ 899 w 1541"/>
                <a:gd name="T59" fmla="*/ 657 h 1957"/>
                <a:gd name="T60" fmla="*/ 1285 w 1541"/>
                <a:gd name="T61" fmla="*/ 101 h 1957"/>
                <a:gd name="T62" fmla="*/ 1317 w 1541"/>
                <a:gd name="T63" fmla="*/ 229 h 1957"/>
                <a:gd name="T64" fmla="*/ 1477 w 1541"/>
                <a:gd name="T65" fmla="*/ 293 h 1957"/>
                <a:gd name="T66" fmla="*/ 1317 w 1541"/>
                <a:gd name="T67" fmla="*/ 357 h 1957"/>
                <a:gd name="T68" fmla="*/ 1285 w 1541"/>
                <a:gd name="T69" fmla="*/ 549 h 1957"/>
                <a:gd name="T70" fmla="*/ 837 w 1541"/>
                <a:gd name="T71" fmla="*/ 493 h 1957"/>
                <a:gd name="T72" fmla="*/ 901 w 1541"/>
                <a:gd name="T73" fmla="*/ 101 h 1957"/>
                <a:gd name="T74" fmla="*/ 453 w 1541"/>
                <a:gd name="T75" fmla="*/ 101 h 1957"/>
                <a:gd name="T76" fmla="*/ 453 w 1541"/>
                <a:gd name="T77" fmla="*/ 485 h 1957"/>
                <a:gd name="T78" fmla="*/ 129 w 1541"/>
                <a:gd name="T79" fmla="*/ 1810 h 1957"/>
                <a:gd name="T80" fmla="*/ 119 w 1541"/>
                <a:gd name="T81" fmla="*/ 1098 h 1957"/>
                <a:gd name="T82" fmla="*/ 474 w 1541"/>
                <a:gd name="T83" fmla="*/ 552 h 1957"/>
                <a:gd name="T84" fmla="*/ 392 w 1541"/>
                <a:gd name="T85" fmla="*/ 707 h 1957"/>
                <a:gd name="T86" fmla="*/ 443 w 1541"/>
                <a:gd name="T87" fmla="*/ 933 h 1957"/>
                <a:gd name="T88" fmla="*/ 642 w 1541"/>
                <a:gd name="T89" fmla="*/ 851 h 1957"/>
                <a:gd name="T90" fmla="*/ 677 w 1541"/>
                <a:gd name="T91" fmla="*/ 1536 h 1957"/>
                <a:gd name="T92" fmla="*/ 630 w 1541"/>
                <a:gd name="T93" fmla="*/ 1836 h 1957"/>
                <a:gd name="T94" fmla="*/ 677 w 1541"/>
                <a:gd name="T95" fmla="*/ 1870 h 1957"/>
                <a:gd name="T96" fmla="*/ 792 w 1541"/>
                <a:gd name="T97" fmla="*/ 1852 h 1957"/>
                <a:gd name="T98" fmla="*/ 549 w 1541"/>
                <a:gd name="T99" fmla="*/ 1893 h 1957"/>
                <a:gd name="T100" fmla="*/ 537 w 1541"/>
                <a:gd name="T101" fmla="*/ 1538 h 1957"/>
                <a:gd name="T102" fmla="*/ 384 w 1541"/>
                <a:gd name="T103" fmla="*/ 1221 h 1957"/>
                <a:gd name="T104" fmla="*/ 307 w 1541"/>
                <a:gd name="T105" fmla="*/ 1333 h 1957"/>
                <a:gd name="T106" fmla="*/ 293 w 1541"/>
                <a:gd name="T107" fmla="*/ 1724 h 1957"/>
                <a:gd name="T108" fmla="*/ 276 w 1541"/>
                <a:gd name="T109" fmla="*/ 1829 h 1957"/>
                <a:gd name="T110" fmla="*/ 351 w 1541"/>
                <a:gd name="T111" fmla="*/ 1893 h 1957"/>
                <a:gd name="T112" fmla="*/ 129 w 1541"/>
                <a:gd name="T113" fmla="*/ 1810 h 19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41" h="1957">
                  <a:moveTo>
                    <a:pt x="37" y="1957"/>
                  </a:moveTo>
                  <a:cubicBezTo>
                    <a:pt x="389" y="1957"/>
                    <a:pt x="389" y="1957"/>
                    <a:pt x="389" y="1957"/>
                  </a:cubicBezTo>
                  <a:cubicBezTo>
                    <a:pt x="406" y="1957"/>
                    <a:pt x="421" y="1942"/>
                    <a:pt x="421" y="1925"/>
                  </a:cubicBezTo>
                  <a:cubicBezTo>
                    <a:pt x="421" y="1865"/>
                    <a:pt x="388" y="1811"/>
                    <a:pt x="335" y="1783"/>
                  </a:cubicBezTo>
                  <a:cubicBezTo>
                    <a:pt x="350" y="1753"/>
                    <a:pt x="350" y="1753"/>
                    <a:pt x="350" y="1753"/>
                  </a:cubicBezTo>
                  <a:cubicBezTo>
                    <a:pt x="397" y="1660"/>
                    <a:pt x="412" y="1554"/>
                    <a:pt x="393" y="1452"/>
                  </a:cubicBezTo>
                  <a:cubicBezTo>
                    <a:pt x="370" y="1321"/>
                    <a:pt x="370" y="1321"/>
                    <a:pt x="370" y="1321"/>
                  </a:cubicBezTo>
                  <a:cubicBezTo>
                    <a:pt x="367" y="1304"/>
                    <a:pt x="378" y="1288"/>
                    <a:pt x="395" y="1285"/>
                  </a:cubicBezTo>
                  <a:cubicBezTo>
                    <a:pt x="396" y="1285"/>
                    <a:pt x="398" y="1285"/>
                    <a:pt x="400" y="1285"/>
                  </a:cubicBezTo>
                  <a:cubicBezTo>
                    <a:pt x="415" y="1285"/>
                    <a:pt x="428" y="1295"/>
                    <a:pt x="431" y="1310"/>
                  </a:cubicBezTo>
                  <a:cubicBezTo>
                    <a:pt x="474" y="1549"/>
                    <a:pt x="474" y="1549"/>
                    <a:pt x="474" y="1549"/>
                  </a:cubicBezTo>
                  <a:cubicBezTo>
                    <a:pt x="481" y="1588"/>
                    <a:pt x="485" y="1627"/>
                    <a:pt x="485" y="1667"/>
                  </a:cubicBezTo>
                  <a:cubicBezTo>
                    <a:pt x="485" y="1925"/>
                    <a:pt x="485" y="1925"/>
                    <a:pt x="485" y="1925"/>
                  </a:cubicBezTo>
                  <a:cubicBezTo>
                    <a:pt x="485" y="1942"/>
                    <a:pt x="499" y="1957"/>
                    <a:pt x="517" y="1957"/>
                  </a:cubicBezTo>
                  <a:cubicBezTo>
                    <a:pt x="869" y="1957"/>
                    <a:pt x="869" y="1957"/>
                    <a:pt x="869" y="1957"/>
                  </a:cubicBezTo>
                  <a:cubicBezTo>
                    <a:pt x="886" y="1957"/>
                    <a:pt x="901" y="1942"/>
                    <a:pt x="901" y="1925"/>
                  </a:cubicBezTo>
                  <a:cubicBezTo>
                    <a:pt x="901" y="1918"/>
                    <a:pt x="900" y="1912"/>
                    <a:pt x="900" y="1906"/>
                  </a:cubicBezTo>
                  <a:cubicBezTo>
                    <a:pt x="894" y="1858"/>
                    <a:pt x="864" y="1816"/>
                    <a:pt x="821" y="1795"/>
                  </a:cubicBezTo>
                  <a:cubicBezTo>
                    <a:pt x="785" y="1776"/>
                    <a:pt x="744" y="1773"/>
                    <a:pt x="705" y="1784"/>
                  </a:cubicBezTo>
                  <a:cubicBezTo>
                    <a:pt x="727" y="1678"/>
                    <a:pt x="727" y="1678"/>
                    <a:pt x="727" y="1678"/>
                  </a:cubicBezTo>
                  <a:cubicBezTo>
                    <a:pt x="736" y="1631"/>
                    <a:pt x="741" y="1584"/>
                    <a:pt x="741" y="1536"/>
                  </a:cubicBezTo>
                  <a:cubicBezTo>
                    <a:pt x="741" y="1250"/>
                    <a:pt x="741" y="1250"/>
                    <a:pt x="741" y="1250"/>
                  </a:cubicBezTo>
                  <a:cubicBezTo>
                    <a:pt x="703" y="821"/>
                    <a:pt x="703" y="821"/>
                    <a:pt x="703" y="821"/>
                  </a:cubicBezTo>
                  <a:cubicBezTo>
                    <a:pt x="925" y="715"/>
                    <a:pt x="925" y="715"/>
                    <a:pt x="925" y="715"/>
                  </a:cubicBezTo>
                  <a:cubicBezTo>
                    <a:pt x="966" y="697"/>
                    <a:pt x="994" y="657"/>
                    <a:pt x="996" y="613"/>
                  </a:cubicBezTo>
                  <a:cubicBezTo>
                    <a:pt x="1317" y="613"/>
                    <a:pt x="1317" y="613"/>
                    <a:pt x="1317" y="613"/>
                  </a:cubicBezTo>
                  <a:cubicBezTo>
                    <a:pt x="1334" y="613"/>
                    <a:pt x="1349" y="598"/>
                    <a:pt x="1349" y="581"/>
                  </a:cubicBezTo>
                  <a:cubicBezTo>
                    <a:pt x="1349" y="421"/>
                    <a:pt x="1349" y="421"/>
                    <a:pt x="1349" y="421"/>
                  </a:cubicBezTo>
                  <a:cubicBezTo>
                    <a:pt x="1413" y="421"/>
                    <a:pt x="1413" y="421"/>
                    <a:pt x="1413" y="421"/>
                  </a:cubicBezTo>
                  <a:cubicBezTo>
                    <a:pt x="1483" y="421"/>
                    <a:pt x="1541" y="363"/>
                    <a:pt x="1541" y="293"/>
                  </a:cubicBezTo>
                  <a:cubicBezTo>
                    <a:pt x="1541" y="222"/>
                    <a:pt x="1483" y="165"/>
                    <a:pt x="1413" y="165"/>
                  </a:cubicBezTo>
                  <a:cubicBezTo>
                    <a:pt x="1349" y="165"/>
                    <a:pt x="1349" y="165"/>
                    <a:pt x="1349" y="165"/>
                  </a:cubicBezTo>
                  <a:cubicBezTo>
                    <a:pt x="1349" y="69"/>
                    <a:pt x="1349" y="69"/>
                    <a:pt x="1349" y="69"/>
                  </a:cubicBezTo>
                  <a:cubicBezTo>
                    <a:pt x="1349" y="51"/>
                    <a:pt x="1334" y="37"/>
                    <a:pt x="1317" y="37"/>
                  </a:cubicBezTo>
                  <a:cubicBezTo>
                    <a:pt x="901" y="37"/>
                    <a:pt x="901" y="37"/>
                    <a:pt x="901" y="37"/>
                  </a:cubicBezTo>
                  <a:cubicBezTo>
                    <a:pt x="830" y="37"/>
                    <a:pt x="773" y="94"/>
                    <a:pt x="773" y="165"/>
                  </a:cubicBezTo>
                  <a:cubicBezTo>
                    <a:pt x="773" y="523"/>
                    <a:pt x="773" y="523"/>
                    <a:pt x="773" y="523"/>
                  </a:cubicBezTo>
                  <a:cubicBezTo>
                    <a:pt x="640" y="587"/>
                    <a:pt x="640" y="587"/>
                    <a:pt x="640" y="587"/>
                  </a:cubicBezTo>
                  <a:cubicBezTo>
                    <a:pt x="620" y="561"/>
                    <a:pt x="596" y="538"/>
                    <a:pt x="567" y="521"/>
                  </a:cubicBezTo>
                  <a:cubicBezTo>
                    <a:pt x="694" y="458"/>
                    <a:pt x="745" y="304"/>
                    <a:pt x="682" y="178"/>
                  </a:cubicBezTo>
                  <a:cubicBezTo>
                    <a:pt x="618" y="51"/>
                    <a:pt x="464" y="0"/>
                    <a:pt x="338" y="64"/>
                  </a:cubicBezTo>
                  <a:cubicBezTo>
                    <a:pt x="212" y="127"/>
                    <a:pt x="161" y="281"/>
                    <a:pt x="224" y="407"/>
                  </a:cubicBezTo>
                  <a:cubicBezTo>
                    <a:pt x="246" y="451"/>
                    <a:pt x="280" y="487"/>
                    <a:pt x="321" y="512"/>
                  </a:cubicBezTo>
                  <a:cubicBezTo>
                    <a:pt x="254" y="545"/>
                    <a:pt x="205" y="605"/>
                    <a:pt x="186" y="677"/>
                  </a:cubicBezTo>
                  <a:cubicBezTo>
                    <a:pt x="58" y="1078"/>
                    <a:pt x="58" y="1078"/>
                    <a:pt x="58" y="1078"/>
                  </a:cubicBezTo>
                  <a:cubicBezTo>
                    <a:pt x="22" y="1192"/>
                    <a:pt x="30" y="1315"/>
                    <a:pt x="79" y="1423"/>
                  </a:cubicBezTo>
                  <a:cubicBezTo>
                    <a:pt x="131" y="1537"/>
                    <a:pt x="129" y="1669"/>
                    <a:pt x="72" y="1782"/>
                  </a:cubicBezTo>
                  <a:cubicBezTo>
                    <a:pt x="8" y="1910"/>
                    <a:pt x="8" y="1910"/>
                    <a:pt x="8" y="1910"/>
                  </a:cubicBezTo>
                  <a:cubicBezTo>
                    <a:pt x="0" y="1926"/>
                    <a:pt x="7" y="1945"/>
                    <a:pt x="22" y="1953"/>
                  </a:cubicBezTo>
                  <a:cubicBezTo>
                    <a:pt x="27" y="1955"/>
                    <a:pt x="32" y="1957"/>
                    <a:pt x="37" y="1957"/>
                  </a:cubicBezTo>
                  <a:moveTo>
                    <a:pt x="899" y="657"/>
                  </a:moveTo>
                  <a:cubicBezTo>
                    <a:pt x="898" y="657"/>
                    <a:pt x="898" y="657"/>
                    <a:pt x="898" y="657"/>
                  </a:cubicBezTo>
                  <a:cubicBezTo>
                    <a:pt x="467" y="863"/>
                    <a:pt x="467" y="863"/>
                    <a:pt x="467" y="863"/>
                  </a:cubicBezTo>
                  <a:cubicBezTo>
                    <a:pt x="440" y="876"/>
                    <a:pt x="407" y="865"/>
                    <a:pt x="394" y="837"/>
                  </a:cubicBezTo>
                  <a:cubicBezTo>
                    <a:pt x="390" y="830"/>
                    <a:pt x="389" y="822"/>
                    <a:pt x="389" y="814"/>
                  </a:cubicBezTo>
                  <a:cubicBezTo>
                    <a:pt x="389" y="793"/>
                    <a:pt x="401" y="774"/>
                    <a:pt x="420" y="764"/>
                  </a:cubicBezTo>
                  <a:cubicBezTo>
                    <a:pt x="854" y="554"/>
                    <a:pt x="854" y="554"/>
                    <a:pt x="854" y="554"/>
                  </a:cubicBezTo>
                  <a:cubicBezTo>
                    <a:pt x="872" y="547"/>
                    <a:pt x="892" y="548"/>
                    <a:pt x="907" y="559"/>
                  </a:cubicBezTo>
                  <a:cubicBezTo>
                    <a:pt x="923" y="569"/>
                    <a:pt x="933" y="587"/>
                    <a:pt x="933" y="606"/>
                  </a:cubicBezTo>
                  <a:cubicBezTo>
                    <a:pt x="933" y="628"/>
                    <a:pt x="919" y="648"/>
                    <a:pt x="899" y="657"/>
                  </a:cubicBezTo>
                  <a:moveTo>
                    <a:pt x="901" y="101"/>
                  </a:moveTo>
                  <a:cubicBezTo>
                    <a:pt x="1285" y="101"/>
                    <a:pt x="1285" y="101"/>
                    <a:pt x="1285" y="101"/>
                  </a:cubicBezTo>
                  <a:cubicBezTo>
                    <a:pt x="1285" y="197"/>
                    <a:pt x="1285" y="197"/>
                    <a:pt x="1285" y="197"/>
                  </a:cubicBezTo>
                  <a:cubicBezTo>
                    <a:pt x="1285" y="214"/>
                    <a:pt x="1299" y="229"/>
                    <a:pt x="1317" y="229"/>
                  </a:cubicBezTo>
                  <a:cubicBezTo>
                    <a:pt x="1413" y="229"/>
                    <a:pt x="1413" y="229"/>
                    <a:pt x="1413" y="229"/>
                  </a:cubicBezTo>
                  <a:cubicBezTo>
                    <a:pt x="1448" y="229"/>
                    <a:pt x="1477" y="257"/>
                    <a:pt x="1477" y="293"/>
                  </a:cubicBezTo>
                  <a:cubicBezTo>
                    <a:pt x="1477" y="328"/>
                    <a:pt x="1448" y="357"/>
                    <a:pt x="1413" y="357"/>
                  </a:cubicBezTo>
                  <a:cubicBezTo>
                    <a:pt x="1317" y="357"/>
                    <a:pt x="1317" y="357"/>
                    <a:pt x="1317" y="357"/>
                  </a:cubicBezTo>
                  <a:cubicBezTo>
                    <a:pt x="1299" y="357"/>
                    <a:pt x="1285" y="371"/>
                    <a:pt x="1285" y="389"/>
                  </a:cubicBezTo>
                  <a:cubicBezTo>
                    <a:pt x="1285" y="549"/>
                    <a:pt x="1285" y="549"/>
                    <a:pt x="1285" y="549"/>
                  </a:cubicBezTo>
                  <a:cubicBezTo>
                    <a:pt x="982" y="549"/>
                    <a:pt x="982" y="549"/>
                    <a:pt x="982" y="549"/>
                  </a:cubicBezTo>
                  <a:cubicBezTo>
                    <a:pt x="954" y="497"/>
                    <a:pt x="892" y="473"/>
                    <a:pt x="837" y="493"/>
                  </a:cubicBezTo>
                  <a:cubicBezTo>
                    <a:pt x="837" y="165"/>
                    <a:pt x="837" y="165"/>
                    <a:pt x="837" y="165"/>
                  </a:cubicBezTo>
                  <a:cubicBezTo>
                    <a:pt x="837" y="129"/>
                    <a:pt x="865" y="101"/>
                    <a:pt x="901" y="101"/>
                  </a:cubicBezTo>
                  <a:moveTo>
                    <a:pt x="261" y="293"/>
                  </a:moveTo>
                  <a:cubicBezTo>
                    <a:pt x="261" y="187"/>
                    <a:pt x="347" y="101"/>
                    <a:pt x="453" y="101"/>
                  </a:cubicBezTo>
                  <a:cubicBezTo>
                    <a:pt x="559" y="101"/>
                    <a:pt x="645" y="187"/>
                    <a:pt x="645" y="293"/>
                  </a:cubicBezTo>
                  <a:cubicBezTo>
                    <a:pt x="645" y="399"/>
                    <a:pt x="559" y="485"/>
                    <a:pt x="453" y="485"/>
                  </a:cubicBezTo>
                  <a:cubicBezTo>
                    <a:pt x="347" y="484"/>
                    <a:pt x="261" y="399"/>
                    <a:pt x="261" y="293"/>
                  </a:cubicBezTo>
                  <a:moveTo>
                    <a:pt x="129" y="1810"/>
                  </a:moveTo>
                  <a:cubicBezTo>
                    <a:pt x="195" y="1681"/>
                    <a:pt x="197" y="1528"/>
                    <a:pt x="137" y="1396"/>
                  </a:cubicBezTo>
                  <a:cubicBezTo>
                    <a:pt x="94" y="1303"/>
                    <a:pt x="88" y="1196"/>
                    <a:pt x="119" y="1098"/>
                  </a:cubicBezTo>
                  <a:cubicBezTo>
                    <a:pt x="247" y="695"/>
                    <a:pt x="247" y="695"/>
                    <a:pt x="247" y="695"/>
                  </a:cubicBezTo>
                  <a:cubicBezTo>
                    <a:pt x="274" y="595"/>
                    <a:pt x="373" y="533"/>
                    <a:pt x="474" y="552"/>
                  </a:cubicBezTo>
                  <a:cubicBezTo>
                    <a:pt x="516" y="561"/>
                    <a:pt x="553" y="583"/>
                    <a:pt x="581" y="615"/>
                  </a:cubicBezTo>
                  <a:cubicBezTo>
                    <a:pt x="392" y="707"/>
                    <a:pt x="392" y="707"/>
                    <a:pt x="392" y="707"/>
                  </a:cubicBezTo>
                  <a:cubicBezTo>
                    <a:pt x="351" y="727"/>
                    <a:pt x="325" y="768"/>
                    <a:pt x="325" y="814"/>
                  </a:cubicBezTo>
                  <a:cubicBezTo>
                    <a:pt x="324" y="879"/>
                    <a:pt x="377" y="932"/>
                    <a:pt x="443" y="933"/>
                  </a:cubicBezTo>
                  <a:cubicBezTo>
                    <a:pt x="461" y="933"/>
                    <a:pt x="478" y="929"/>
                    <a:pt x="495" y="921"/>
                  </a:cubicBezTo>
                  <a:cubicBezTo>
                    <a:pt x="642" y="851"/>
                    <a:pt x="642" y="851"/>
                    <a:pt x="642" y="851"/>
                  </a:cubicBezTo>
                  <a:cubicBezTo>
                    <a:pt x="677" y="1253"/>
                    <a:pt x="677" y="1253"/>
                    <a:pt x="677" y="1253"/>
                  </a:cubicBezTo>
                  <a:cubicBezTo>
                    <a:pt x="677" y="1536"/>
                    <a:pt x="677" y="1536"/>
                    <a:pt x="677" y="1536"/>
                  </a:cubicBezTo>
                  <a:cubicBezTo>
                    <a:pt x="677" y="1580"/>
                    <a:pt x="672" y="1623"/>
                    <a:pt x="664" y="1665"/>
                  </a:cubicBezTo>
                  <a:cubicBezTo>
                    <a:pt x="630" y="1836"/>
                    <a:pt x="630" y="1836"/>
                    <a:pt x="630" y="1836"/>
                  </a:cubicBezTo>
                  <a:cubicBezTo>
                    <a:pt x="626" y="1853"/>
                    <a:pt x="637" y="1870"/>
                    <a:pt x="655" y="1873"/>
                  </a:cubicBezTo>
                  <a:cubicBezTo>
                    <a:pt x="662" y="1875"/>
                    <a:pt x="670" y="1874"/>
                    <a:pt x="677" y="1870"/>
                  </a:cubicBezTo>
                  <a:cubicBezTo>
                    <a:pt x="705" y="1854"/>
                    <a:pt x="705" y="1854"/>
                    <a:pt x="705" y="1854"/>
                  </a:cubicBezTo>
                  <a:cubicBezTo>
                    <a:pt x="732" y="1838"/>
                    <a:pt x="764" y="1838"/>
                    <a:pt x="792" y="1852"/>
                  </a:cubicBezTo>
                  <a:cubicBezTo>
                    <a:pt x="809" y="1860"/>
                    <a:pt x="823" y="1875"/>
                    <a:pt x="831" y="1893"/>
                  </a:cubicBezTo>
                  <a:cubicBezTo>
                    <a:pt x="549" y="1893"/>
                    <a:pt x="549" y="1893"/>
                    <a:pt x="549" y="1893"/>
                  </a:cubicBezTo>
                  <a:cubicBezTo>
                    <a:pt x="549" y="1667"/>
                    <a:pt x="549" y="1667"/>
                    <a:pt x="549" y="1667"/>
                  </a:cubicBezTo>
                  <a:cubicBezTo>
                    <a:pt x="549" y="1623"/>
                    <a:pt x="545" y="1580"/>
                    <a:pt x="537" y="1538"/>
                  </a:cubicBezTo>
                  <a:cubicBezTo>
                    <a:pt x="494" y="1299"/>
                    <a:pt x="494" y="1299"/>
                    <a:pt x="494" y="1299"/>
                  </a:cubicBezTo>
                  <a:cubicBezTo>
                    <a:pt x="485" y="1247"/>
                    <a:pt x="435" y="1212"/>
                    <a:pt x="384" y="1221"/>
                  </a:cubicBezTo>
                  <a:cubicBezTo>
                    <a:pt x="332" y="1230"/>
                    <a:pt x="297" y="1279"/>
                    <a:pt x="306" y="1331"/>
                  </a:cubicBezTo>
                  <a:cubicBezTo>
                    <a:pt x="306" y="1331"/>
                    <a:pt x="307" y="1332"/>
                    <a:pt x="307" y="1333"/>
                  </a:cubicBezTo>
                  <a:cubicBezTo>
                    <a:pt x="330" y="1463"/>
                    <a:pt x="330" y="1463"/>
                    <a:pt x="330" y="1463"/>
                  </a:cubicBezTo>
                  <a:cubicBezTo>
                    <a:pt x="346" y="1552"/>
                    <a:pt x="333" y="1643"/>
                    <a:pt x="293" y="1724"/>
                  </a:cubicBezTo>
                  <a:cubicBezTo>
                    <a:pt x="262" y="1786"/>
                    <a:pt x="262" y="1786"/>
                    <a:pt x="262" y="1786"/>
                  </a:cubicBezTo>
                  <a:cubicBezTo>
                    <a:pt x="254" y="1802"/>
                    <a:pt x="260" y="1821"/>
                    <a:pt x="276" y="1829"/>
                  </a:cubicBezTo>
                  <a:cubicBezTo>
                    <a:pt x="278" y="1830"/>
                    <a:pt x="281" y="1831"/>
                    <a:pt x="283" y="1832"/>
                  </a:cubicBezTo>
                  <a:cubicBezTo>
                    <a:pt x="315" y="1839"/>
                    <a:pt x="340" y="1862"/>
                    <a:pt x="351" y="1893"/>
                  </a:cubicBezTo>
                  <a:cubicBezTo>
                    <a:pt x="88" y="1893"/>
                    <a:pt x="88" y="1893"/>
                    <a:pt x="88" y="1893"/>
                  </a:cubicBezTo>
                  <a:lnTo>
                    <a:pt x="129" y="18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6" name="Freeform 300">
              <a:extLst>
                <a:ext uri="{FF2B5EF4-FFF2-40B4-BE49-F238E27FC236}">
                  <a16:creationId xmlns:a16="http://schemas.microsoft.com/office/drawing/2014/main" id="{8E6FA9CE-5A7C-B7B9-A455-3633291EF1EA}"/>
                </a:ext>
              </a:extLst>
            </p:cNvPr>
            <p:cNvSpPr>
              <a:spLocks/>
            </p:cNvSpPr>
            <p:nvPr/>
          </p:nvSpPr>
          <p:spPr bwMode="auto">
            <a:xfrm>
              <a:off x="9731376" y="6397625"/>
              <a:ext cx="331788" cy="239712"/>
            </a:xfrm>
            <a:custGeom>
              <a:avLst/>
              <a:gdLst>
                <a:gd name="T0" fmla="*/ 151 w 493"/>
                <a:gd name="T1" fmla="*/ 178 h 355"/>
                <a:gd name="T2" fmla="*/ 45 w 493"/>
                <a:gd name="T3" fmla="*/ 73 h 355"/>
                <a:gd name="T4" fmla="*/ 0 w 493"/>
                <a:gd name="T5" fmla="*/ 118 h 355"/>
                <a:gd name="T6" fmla="*/ 224 w 493"/>
                <a:gd name="T7" fmla="*/ 342 h 355"/>
                <a:gd name="T8" fmla="*/ 269 w 493"/>
                <a:gd name="T9" fmla="*/ 342 h 355"/>
                <a:gd name="T10" fmla="*/ 493 w 493"/>
                <a:gd name="T11" fmla="*/ 118 h 355"/>
                <a:gd name="T12" fmla="*/ 448 w 493"/>
                <a:gd name="T13" fmla="*/ 73 h 355"/>
                <a:gd name="T14" fmla="*/ 343 w 493"/>
                <a:gd name="T15" fmla="*/ 178 h 355"/>
                <a:gd name="T16" fmla="*/ 343 w 493"/>
                <a:gd name="T17" fmla="*/ 0 h 355"/>
                <a:gd name="T18" fmla="*/ 279 w 493"/>
                <a:gd name="T19" fmla="*/ 0 h 355"/>
                <a:gd name="T20" fmla="*/ 279 w 493"/>
                <a:gd name="T21" fmla="*/ 242 h 355"/>
                <a:gd name="T22" fmla="*/ 247 w 493"/>
                <a:gd name="T23" fmla="*/ 274 h 355"/>
                <a:gd name="T24" fmla="*/ 215 w 493"/>
                <a:gd name="T25" fmla="*/ 242 h 355"/>
                <a:gd name="T26" fmla="*/ 215 w 493"/>
                <a:gd name="T27" fmla="*/ 128 h 355"/>
                <a:gd name="T28" fmla="*/ 151 w 493"/>
                <a:gd name="T29" fmla="*/ 128 h 355"/>
                <a:gd name="T30" fmla="*/ 151 w 493"/>
                <a:gd name="T31" fmla="*/ 178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93" h="355">
                  <a:moveTo>
                    <a:pt x="151" y="178"/>
                  </a:moveTo>
                  <a:cubicBezTo>
                    <a:pt x="45" y="73"/>
                    <a:pt x="45" y="73"/>
                    <a:pt x="45" y="73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224" y="342"/>
                    <a:pt x="224" y="342"/>
                    <a:pt x="224" y="342"/>
                  </a:cubicBezTo>
                  <a:cubicBezTo>
                    <a:pt x="237" y="355"/>
                    <a:pt x="257" y="355"/>
                    <a:pt x="269" y="342"/>
                  </a:cubicBezTo>
                  <a:cubicBezTo>
                    <a:pt x="493" y="118"/>
                    <a:pt x="493" y="118"/>
                    <a:pt x="493" y="118"/>
                  </a:cubicBezTo>
                  <a:cubicBezTo>
                    <a:pt x="448" y="73"/>
                    <a:pt x="448" y="73"/>
                    <a:pt x="448" y="73"/>
                  </a:cubicBezTo>
                  <a:cubicBezTo>
                    <a:pt x="343" y="178"/>
                    <a:pt x="343" y="178"/>
                    <a:pt x="343" y="178"/>
                  </a:cubicBezTo>
                  <a:cubicBezTo>
                    <a:pt x="343" y="0"/>
                    <a:pt x="343" y="0"/>
                    <a:pt x="343" y="0"/>
                  </a:cubicBezTo>
                  <a:cubicBezTo>
                    <a:pt x="279" y="0"/>
                    <a:pt x="279" y="0"/>
                    <a:pt x="279" y="0"/>
                  </a:cubicBezTo>
                  <a:cubicBezTo>
                    <a:pt x="279" y="242"/>
                    <a:pt x="279" y="242"/>
                    <a:pt x="279" y="242"/>
                  </a:cubicBezTo>
                  <a:cubicBezTo>
                    <a:pt x="247" y="274"/>
                    <a:pt x="247" y="274"/>
                    <a:pt x="247" y="274"/>
                  </a:cubicBezTo>
                  <a:cubicBezTo>
                    <a:pt x="215" y="242"/>
                    <a:pt x="215" y="242"/>
                    <a:pt x="215" y="242"/>
                  </a:cubicBezTo>
                  <a:cubicBezTo>
                    <a:pt x="215" y="128"/>
                    <a:pt x="215" y="128"/>
                    <a:pt x="215" y="128"/>
                  </a:cubicBezTo>
                  <a:cubicBezTo>
                    <a:pt x="151" y="128"/>
                    <a:pt x="151" y="128"/>
                    <a:pt x="151" y="128"/>
                  </a:cubicBezTo>
                  <a:lnTo>
                    <a:pt x="151" y="1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7" name="Rectangle 301">
              <a:extLst>
                <a:ext uri="{FF2B5EF4-FFF2-40B4-BE49-F238E27FC236}">
                  <a16:creationId xmlns:a16="http://schemas.microsoft.com/office/drawing/2014/main" id="{81493750-C8D8-72CE-191F-B2CF6FBA80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32976" y="6397625"/>
              <a:ext cx="42863" cy="4286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8" name="Rectangle 302">
              <a:extLst>
                <a:ext uri="{FF2B5EF4-FFF2-40B4-BE49-F238E27FC236}">
                  <a16:creationId xmlns:a16="http://schemas.microsoft.com/office/drawing/2014/main" id="{05DCCFA1-AD70-76C9-11AE-DEEED47177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32976" y="6311900"/>
              <a:ext cx="42863" cy="4286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9" name="Rectangle 303">
              <a:extLst>
                <a:ext uri="{FF2B5EF4-FFF2-40B4-BE49-F238E27FC236}">
                  <a16:creationId xmlns:a16="http://schemas.microsoft.com/office/drawing/2014/main" id="{3E3AD8F6-D23F-1F71-7F5A-42126F693D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918701" y="6311900"/>
              <a:ext cx="42863" cy="4286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A9DABCD9-1D2D-229A-5145-18D414EF66E0}"/>
              </a:ext>
            </a:extLst>
          </p:cNvPr>
          <p:cNvGrpSpPr/>
          <p:nvPr/>
        </p:nvGrpSpPr>
        <p:grpSpPr>
          <a:xfrm>
            <a:off x="4150903" y="3803486"/>
            <a:ext cx="411523" cy="431037"/>
            <a:chOff x="836613" y="6088063"/>
            <a:chExt cx="1171575" cy="1227138"/>
          </a:xfrm>
          <a:solidFill>
            <a:schemeClr val="bg1"/>
          </a:solidFill>
        </p:grpSpPr>
        <p:sp>
          <p:nvSpPr>
            <p:cNvPr id="61" name="Freeform 348">
              <a:extLst>
                <a:ext uri="{FF2B5EF4-FFF2-40B4-BE49-F238E27FC236}">
                  <a16:creationId xmlns:a16="http://schemas.microsoft.com/office/drawing/2014/main" id="{1753AD5E-0FDC-E672-1A60-85F50004A8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71538" y="6088063"/>
              <a:ext cx="1095375" cy="1227138"/>
            </a:xfrm>
            <a:custGeom>
              <a:avLst/>
              <a:gdLst>
                <a:gd name="T0" fmla="*/ 470 w 1795"/>
                <a:gd name="T1" fmla="*/ 273 h 2008"/>
                <a:gd name="T2" fmla="*/ 52 w 1795"/>
                <a:gd name="T3" fmla="*/ 346 h 2008"/>
                <a:gd name="T4" fmla="*/ 6 w 1795"/>
                <a:gd name="T5" fmla="*/ 721 h 2008"/>
                <a:gd name="T6" fmla="*/ 1496 w 1795"/>
                <a:gd name="T7" fmla="*/ 1523 h 2008"/>
                <a:gd name="T8" fmla="*/ 1788 w 1795"/>
                <a:gd name="T9" fmla="*/ 721 h 2008"/>
                <a:gd name="T10" fmla="*/ 1756 w 1795"/>
                <a:gd name="T11" fmla="*/ 345 h 2008"/>
                <a:gd name="T12" fmla="*/ 1321 w 1795"/>
                <a:gd name="T13" fmla="*/ 280 h 2008"/>
                <a:gd name="T14" fmla="*/ 1261 w 1795"/>
                <a:gd name="T15" fmla="*/ 257 h 2008"/>
                <a:gd name="T16" fmla="*/ 871 w 1795"/>
                <a:gd name="T17" fmla="*/ 0 h 2008"/>
                <a:gd name="T18" fmla="*/ 446 w 1795"/>
                <a:gd name="T19" fmla="*/ 82 h 2008"/>
                <a:gd name="T20" fmla="*/ 506 w 1795"/>
                <a:gd name="T21" fmla="*/ 864 h 2008"/>
                <a:gd name="T22" fmla="*/ 603 w 1795"/>
                <a:gd name="T23" fmla="*/ 1618 h 2008"/>
                <a:gd name="T24" fmla="*/ 552 w 1795"/>
                <a:gd name="T25" fmla="*/ 1312 h 2008"/>
                <a:gd name="T26" fmla="*/ 871 w 1795"/>
                <a:gd name="T27" fmla="*/ 1665 h 2008"/>
                <a:gd name="T28" fmla="*/ 1111 w 1795"/>
                <a:gd name="T29" fmla="*/ 1673 h 2008"/>
                <a:gd name="T30" fmla="*/ 935 w 1795"/>
                <a:gd name="T31" fmla="*/ 1601 h 2008"/>
                <a:gd name="T32" fmla="*/ 1137 w 1795"/>
                <a:gd name="T33" fmla="*/ 1611 h 2008"/>
                <a:gd name="T34" fmla="*/ 935 w 1795"/>
                <a:gd name="T35" fmla="*/ 960 h 2008"/>
                <a:gd name="T36" fmla="*/ 935 w 1795"/>
                <a:gd name="T37" fmla="*/ 1248 h 2008"/>
                <a:gd name="T38" fmla="*/ 1111 w 1795"/>
                <a:gd name="T39" fmla="*/ 888 h 2008"/>
                <a:gd name="T40" fmla="*/ 871 w 1795"/>
                <a:gd name="T41" fmla="*/ 896 h 2008"/>
                <a:gd name="T42" fmla="*/ 871 w 1795"/>
                <a:gd name="T43" fmla="*/ 960 h 2008"/>
                <a:gd name="T44" fmla="*/ 669 w 1795"/>
                <a:gd name="T45" fmla="*/ 950 h 2008"/>
                <a:gd name="T46" fmla="*/ 871 w 1795"/>
                <a:gd name="T47" fmla="*/ 1601 h 2008"/>
                <a:gd name="T48" fmla="*/ 871 w 1795"/>
                <a:gd name="T49" fmla="*/ 1312 h 2008"/>
                <a:gd name="T50" fmla="*/ 506 w 1795"/>
                <a:gd name="T51" fmla="*/ 1697 h 2008"/>
                <a:gd name="T52" fmla="*/ 1300 w 1795"/>
                <a:gd name="T53" fmla="*/ 1697 h 2008"/>
                <a:gd name="T54" fmla="*/ 1203 w 1795"/>
                <a:gd name="T55" fmla="*/ 1618 h 2008"/>
                <a:gd name="T56" fmla="*/ 1351 w 1795"/>
                <a:gd name="T57" fmla="*/ 1641 h 2008"/>
                <a:gd name="T58" fmla="*/ 1203 w 1795"/>
                <a:gd name="T59" fmla="*/ 943 h 2008"/>
                <a:gd name="T60" fmla="*/ 1254 w 1795"/>
                <a:gd name="T61" fmla="*/ 1248 h 2008"/>
                <a:gd name="T62" fmla="*/ 1090 w 1795"/>
                <a:gd name="T63" fmla="*/ 736 h 2008"/>
                <a:gd name="T64" fmla="*/ 603 w 1795"/>
                <a:gd name="T65" fmla="*/ 943 h 2008"/>
                <a:gd name="T66" fmla="*/ 455 w 1795"/>
                <a:gd name="T67" fmla="*/ 920 h 2008"/>
                <a:gd name="T68" fmla="*/ 1468 w 1795"/>
                <a:gd name="T69" fmla="*/ 981 h 2008"/>
                <a:gd name="T70" fmla="*/ 903 w 1795"/>
                <a:gd name="T71" fmla="*/ 320 h 2008"/>
                <a:gd name="T72" fmla="*/ 1050 w 1795"/>
                <a:gd name="T73" fmla="*/ 414 h 2008"/>
                <a:gd name="T74" fmla="*/ 1173 w 1795"/>
                <a:gd name="T75" fmla="*/ 597 h 2008"/>
                <a:gd name="T76" fmla="*/ 1287 w 1795"/>
                <a:gd name="T77" fmla="*/ 770 h 2008"/>
                <a:gd name="T78" fmla="*/ 529 w 1795"/>
                <a:gd name="T79" fmla="*/ 680 h 2008"/>
                <a:gd name="T80" fmla="*/ 459 w 1795"/>
                <a:gd name="T81" fmla="*/ 821 h 2008"/>
                <a:gd name="T82" fmla="*/ 881 w 1795"/>
                <a:gd name="T83" fmla="*/ 256 h 2008"/>
                <a:gd name="T84" fmla="*/ 1127 w 1795"/>
                <a:gd name="T85" fmla="*/ 544 h 2008"/>
                <a:gd name="T86" fmla="*/ 1159 w 1795"/>
                <a:gd name="T87" fmla="*/ 512 h 20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795" h="2008">
                  <a:moveTo>
                    <a:pt x="446" y="82"/>
                  </a:moveTo>
                  <a:cubicBezTo>
                    <a:pt x="389" y="111"/>
                    <a:pt x="389" y="111"/>
                    <a:pt x="389" y="111"/>
                  </a:cubicBezTo>
                  <a:cubicBezTo>
                    <a:pt x="470" y="273"/>
                    <a:pt x="470" y="273"/>
                    <a:pt x="470" y="273"/>
                  </a:cubicBezTo>
                  <a:cubicBezTo>
                    <a:pt x="389" y="308"/>
                    <a:pt x="313" y="355"/>
                    <a:pt x="245" y="411"/>
                  </a:cubicBezTo>
                  <a:cubicBezTo>
                    <a:pt x="90" y="295"/>
                    <a:pt x="90" y="295"/>
                    <a:pt x="90" y="295"/>
                  </a:cubicBezTo>
                  <a:cubicBezTo>
                    <a:pt x="52" y="346"/>
                    <a:pt x="52" y="346"/>
                    <a:pt x="52" y="346"/>
                  </a:cubicBezTo>
                  <a:cubicBezTo>
                    <a:pt x="196" y="454"/>
                    <a:pt x="196" y="454"/>
                    <a:pt x="196" y="454"/>
                  </a:cubicBezTo>
                  <a:cubicBezTo>
                    <a:pt x="123" y="523"/>
                    <a:pt x="59" y="602"/>
                    <a:pt x="6" y="687"/>
                  </a:cubicBezTo>
                  <a:cubicBezTo>
                    <a:pt x="0" y="698"/>
                    <a:pt x="0" y="711"/>
                    <a:pt x="6" y="721"/>
                  </a:cubicBezTo>
                  <a:cubicBezTo>
                    <a:pt x="84" y="848"/>
                    <a:pt x="188" y="956"/>
                    <a:pt x="310" y="1040"/>
                  </a:cubicBezTo>
                  <a:cubicBezTo>
                    <a:pt x="177" y="1367"/>
                    <a:pt x="334" y="1740"/>
                    <a:pt x="661" y="1874"/>
                  </a:cubicBezTo>
                  <a:cubicBezTo>
                    <a:pt x="988" y="2008"/>
                    <a:pt x="1362" y="1850"/>
                    <a:pt x="1496" y="1523"/>
                  </a:cubicBezTo>
                  <a:cubicBezTo>
                    <a:pt x="1559" y="1368"/>
                    <a:pt x="1559" y="1195"/>
                    <a:pt x="1496" y="1040"/>
                  </a:cubicBezTo>
                  <a:cubicBezTo>
                    <a:pt x="1519" y="1023"/>
                    <a:pt x="1542" y="1006"/>
                    <a:pt x="1564" y="987"/>
                  </a:cubicBezTo>
                  <a:cubicBezTo>
                    <a:pt x="1652" y="910"/>
                    <a:pt x="1727" y="821"/>
                    <a:pt x="1788" y="721"/>
                  </a:cubicBezTo>
                  <a:cubicBezTo>
                    <a:pt x="1795" y="711"/>
                    <a:pt x="1795" y="698"/>
                    <a:pt x="1788" y="687"/>
                  </a:cubicBezTo>
                  <a:cubicBezTo>
                    <a:pt x="1739" y="608"/>
                    <a:pt x="1679" y="535"/>
                    <a:pt x="1611" y="471"/>
                  </a:cubicBezTo>
                  <a:cubicBezTo>
                    <a:pt x="1756" y="345"/>
                    <a:pt x="1756" y="345"/>
                    <a:pt x="1756" y="345"/>
                  </a:cubicBezTo>
                  <a:cubicBezTo>
                    <a:pt x="1714" y="296"/>
                    <a:pt x="1714" y="296"/>
                    <a:pt x="1714" y="296"/>
                  </a:cubicBezTo>
                  <a:cubicBezTo>
                    <a:pt x="1563" y="428"/>
                    <a:pt x="1563" y="428"/>
                    <a:pt x="1563" y="428"/>
                  </a:cubicBezTo>
                  <a:cubicBezTo>
                    <a:pt x="1490" y="368"/>
                    <a:pt x="1408" y="318"/>
                    <a:pt x="1321" y="280"/>
                  </a:cubicBezTo>
                  <a:cubicBezTo>
                    <a:pt x="1406" y="111"/>
                    <a:pt x="1406" y="111"/>
                    <a:pt x="1406" y="111"/>
                  </a:cubicBezTo>
                  <a:cubicBezTo>
                    <a:pt x="1349" y="82"/>
                    <a:pt x="1349" y="82"/>
                    <a:pt x="1349" y="82"/>
                  </a:cubicBezTo>
                  <a:cubicBezTo>
                    <a:pt x="1261" y="257"/>
                    <a:pt x="1261" y="257"/>
                    <a:pt x="1261" y="257"/>
                  </a:cubicBezTo>
                  <a:cubicBezTo>
                    <a:pt x="1156" y="220"/>
                    <a:pt x="1046" y="198"/>
                    <a:pt x="935" y="194"/>
                  </a:cubicBezTo>
                  <a:cubicBezTo>
                    <a:pt x="935" y="0"/>
                    <a:pt x="935" y="0"/>
                    <a:pt x="935" y="0"/>
                  </a:cubicBezTo>
                  <a:cubicBezTo>
                    <a:pt x="871" y="0"/>
                    <a:pt x="871" y="0"/>
                    <a:pt x="871" y="0"/>
                  </a:cubicBezTo>
                  <a:cubicBezTo>
                    <a:pt x="871" y="193"/>
                    <a:pt x="871" y="193"/>
                    <a:pt x="871" y="193"/>
                  </a:cubicBezTo>
                  <a:cubicBezTo>
                    <a:pt x="755" y="193"/>
                    <a:pt x="640" y="212"/>
                    <a:pt x="530" y="250"/>
                  </a:cubicBezTo>
                  <a:lnTo>
                    <a:pt x="446" y="82"/>
                  </a:lnTo>
                  <a:close/>
                  <a:moveTo>
                    <a:pt x="716" y="736"/>
                  </a:moveTo>
                  <a:cubicBezTo>
                    <a:pt x="679" y="780"/>
                    <a:pt x="648" y="829"/>
                    <a:pt x="626" y="881"/>
                  </a:cubicBezTo>
                  <a:cubicBezTo>
                    <a:pt x="585" y="877"/>
                    <a:pt x="545" y="871"/>
                    <a:pt x="506" y="864"/>
                  </a:cubicBezTo>
                  <a:cubicBezTo>
                    <a:pt x="566" y="807"/>
                    <a:pt x="638" y="763"/>
                    <a:pt x="716" y="736"/>
                  </a:cubicBezTo>
                  <a:moveTo>
                    <a:pt x="552" y="1312"/>
                  </a:moveTo>
                  <a:cubicBezTo>
                    <a:pt x="554" y="1416"/>
                    <a:pt x="571" y="1519"/>
                    <a:pt x="603" y="1618"/>
                  </a:cubicBezTo>
                  <a:cubicBezTo>
                    <a:pt x="551" y="1624"/>
                    <a:pt x="502" y="1632"/>
                    <a:pt x="455" y="1641"/>
                  </a:cubicBezTo>
                  <a:cubicBezTo>
                    <a:pt x="379" y="1548"/>
                    <a:pt x="335" y="1433"/>
                    <a:pt x="329" y="1312"/>
                  </a:cubicBezTo>
                  <a:lnTo>
                    <a:pt x="552" y="1312"/>
                  </a:lnTo>
                  <a:close/>
                  <a:moveTo>
                    <a:pt x="871" y="1852"/>
                  </a:moveTo>
                  <a:cubicBezTo>
                    <a:pt x="803" y="1836"/>
                    <a:pt x="741" y="1770"/>
                    <a:pt x="695" y="1673"/>
                  </a:cubicBezTo>
                  <a:cubicBezTo>
                    <a:pt x="752" y="1668"/>
                    <a:pt x="811" y="1666"/>
                    <a:pt x="871" y="1665"/>
                  </a:cubicBezTo>
                  <a:lnTo>
                    <a:pt x="871" y="1852"/>
                  </a:lnTo>
                  <a:close/>
                  <a:moveTo>
                    <a:pt x="935" y="1665"/>
                  </a:moveTo>
                  <a:cubicBezTo>
                    <a:pt x="995" y="1666"/>
                    <a:pt x="1054" y="1668"/>
                    <a:pt x="1111" y="1673"/>
                  </a:cubicBezTo>
                  <a:cubicBezTo>
                    <a:pt x="1065" y="1770"/>
                    <a:pt x="1003" y="1836"/>
                    <a:pt x="935" y="1852"/>
                  </a:cubicBezTo>
                  <a:lnTo>
                    <a:pt x="935" y="1665"/>
                  </a:lnTo>
                  <a:close/>
                  <a:moveTo>
                    <a:pt x="935" y="1601"/>
                  </a:moveTo>
                  <a:cubicBezTo>
                    <a:pt x="935" y="1312"/>
                    <a:pt x="935" y="1312"/>
                    <a:pt x="935" y="1312"/>
                  </a:cubicBezTo>
                  <a:cubicBezTo>
                    <a:pt x="1190" y="1312"/>
                    <a:pt x="1190" y="1312"/>
                    <a:pt x="1190" y="1312"/>
                  </a:cubicBezTo>
                  <a:cubicBezTo>
                    <a:pt x="1188" y="1414"/>
                    <a:pt x="1170" y="1515"/>
                    <a:pt x="1137" y="1611"/>
                  </a:cubicBezTo>
                  <a:cubicBezTo>
                    <a:pt x="1072" y="1605"/>
                    <a:pt x="1004" y="1602"/>
                    <a:pt x="935" y="1601"/>
                  </a:cubicBezTo>
                  <a:moveTo>
                    <a:pt x="935" y="1248"/>
                  </a:moveTo>
                  <a:cubicBezTo>
                    <a:pt x="935" y="960"/>
                    <a:pt x="935" y="960"/>
                    <a:pt x="935" y="960"/>
                  </a:cubicBezTo>
                  <a:cubicBezTo>
                    <a:pt x="1004" y="959"/>
                    <a:pt x="1072" y="956"/>
                    <a:pt x="1137" y="950"/>
                  </a:cubicBezTo>
                  <a:cubicBezTo>
                    <a:pt x="1170" y="1046"/>
                    <a:pt x="1188" y="1147"/>
                    <a:pt x="1190" y="1248"/>
                  </a:cubicBezTo>
                  <a:lnTo>
                    <a:pt x="935" y="1248"/>
                  </a:lnTo>
                  <a:close/>
                  <a:moveTo>
                    <a:pt x="935" y="896"/>
                  </a:moveTo>
                  <a:cubicBezTo>
                    <a:pt x="935" y="708"/>
                    <a:pt x="935" y="708"/>
                    <a:pt x="935" y="708"/>
                  </a:cubicBezTo>
                  <a:cubicBezTo>
                    <a:pt x="1003" y="724"/>
                    <a:pt x="1065" y="791"/>
                    <a:pt x="1111" y="888"/>
                  </a:cubicBezTo>
                  <a:cubicBezTo>
                    <a:pt x="1054" y="893"/>
                    <a:pt x="995" y="895"/>
                    <a:pt x="935" y="896"/>
                  </a:cubicBezTo>
                  <a:moveTo>
                    <a:pt x="871" y="708"/>
                  </a:moveTo>
                  <a:cubicBezTo>
                    <a:pt x="871" y="896"/>
                    <a:pt x="871" y="896"/>
                    <a:pt x="871" y="896"/>
                  </a:cubicBezTo>
                  <a:cubicBezTo>
                    <a:pt x="811" y="895"/>
                    <a:pt x="752" y="893"/>
                    <a:pt x="695" y="888"/>
                  </a:cubicBezTo>
                  <a:cubicBezTo>
                    <a:pt x="741" y="791"/>
                    <a:pt x="803" y="724"/>
                    <a:pt x="871" y="708"/>
                  </a:cubicBezTo>
                  <a:moveTo>
                    <a:pt x="871" y="960"/>
                  </a:moveTo>
                  <a:cubicBezTo>
                    <a:pt x="871" y="1248"/>
                    <a:pt x="871" y="1248"/>
                    <a:pt x="871" y="1248"/>
                  </a:cubicBezTo>
                  <a:cubicBezTo>
                    <a:pt x="616" y="1248"/>
                    <a:pt x="616" y="1248"/>
                    <a:pt x="616" y="1248"/>
                  </a:cubicBezTo>
                  <a:cubicBezTo>
                    <a:pt x="618" y="1147"/>
                    <a:pt x="636" y="1046"/>
                    <a:pt x="669" y="950"/>
                  </a:cubicBezTo>
                  <a:cubicBezTo>
                    <a:pt x="734" y="956"/>
                    <a:pt x="802" y="959"/>
                    <a:pt x="871" y="960"/>
                  </a:cubicBezTo>
                  <a:moveTo>
                    <a:pt x="871" y="1312"/>
                  </a:moveTo>
                  <a:cubicBezTo>
                    <a:pt x="871" y="1601"/>
                    <a:pt x="871" y="1601"/>
                    <a:pt x="871" y="1601"/>
                  </a:cubicBezTo>
                  <a:cubicBezTo>
                    <a:pt x="802" y="1602"/>
                    <a:pt x="734" y="1605"/>
                    <a:pt x="669" y="1611"/>
                  </a:cubicBezTo>
                  <a:cubicBezTo>
                    <a:pt x="636" y="1515"/>
                    <a:pt x="618" y="1414"/>
                    <a:pt x="616" y="1312"/>
                  </a:cubicBezTo>
                  <a:lnTo>
                    <a:pt x="871" y="1312"/>
                  </a:lnTo>
                  <a:close/>
                  <a:moveTo>
                    <a:pt x="626" y="1680"/>
                  </a:moveTo>
                  <a:cubicBezTo>
                    <a:pt x="648" y="1732"/>
                    <a:pt x="679" y="1781"/>
                    <a:pt x="716" y="1825"/>
                  </a:cubicBezTo>
                  <a:cubicBezTo>
                    <a:pt x="638" y="1798"/>
                    <a:pt x="566" y="1754"/>
                    <a:pt x="506" y="1697"/>
                  </a:cubicBezTo>
                  <a:cubicBezTo>
                    <a:pt x="545" y="1690"/>
                    <a:pt x="585" y="1684"/>
                    <a:pt x="626" y="1680"/>
                  </a:cubicBezTo>
                  <a:moveTo>
                    <a:pt x="1180" y="1680"/>
                  </a:moveTo>
                  <a:cubicBezTo>
                    <a:pt x="1221" y="1684"/>
                    <a:pt x="1261" y="1690"/>
                    <a:pt x="1300" y="1697"/>
                  </a:cubicBezTo>
                  <a:cubicBezTo>
                    <a:pt x="1240" y="1754"/>
                    <a:pt x="1168" y="1798"/>
                    <a:pt x="1090" y="1825"/>
                  </a:cubicBezTo>
                  <a:cubicBezTo>
                    <a:pt x="1127" y="1781"/>
                    <a:pt x="1158" y="1732"/>
                    <a:pt x="1180" y="1680"/>
                  </a:cubicBezTo>
                  <a:moveTo>
                    <a:pt x="1203" y="1618"/>
                  </a:moveTo>
                  <a:cubicBezTo>
                    <a:pt x="1235" y="1519"/>
                    <a:pt x="1252" y="1416"/>
                    <a:pt x="1254" y="1312"/>
                  </a:cubicBezTo>
                  <a:cubicBezTo>
                    <a:pt x="1477" y="1312"/>
                    <a:pt x="1477" y="1312"/>
                    <a:pt x="1477" y="1312"/>
                  </a:cubicBezTo>
                  <a:cubicBezTo>
                    <a:pt x="1471" y="1433"/>
                    <a:pt x="1427" y="1548"/>
                    <a:pt x="1351" y="1641"/>
                  </a:cubicBezTo>
                  <a:cubicBezTo>
                    <a:pt x="1304" y="1632"/>
                    <a:pt x="1255" y="1624"/>
                    <a:pt x="1203" y="1618"/>
                  </a:cubicBezTo>
                  <a:moveTo>
                    <a:pt x="1254" y="1248"/>
                  </a:moveTo>
                  <a:cubicBezTo>
                    <a:pt x="1252" y="1145"/>
                    <a:pt x="1235" y="1042"/>
                    <a:pt x="1203" y="943"/>
                  </a:cubicBezTo>
                  <a:cubicBezTo>
                    <a:pt x="1255" y="937"/>
                    <a:pt x="1304" y="929"/>
                    <a:pt x="1351" y="920"/>
                  </a:cubicBezTo>
                  <a:cubicBezTo>
                    <a:pt x="1427" y="1013"/>
                    <a:pt x="1471" y="1128"/>
                    <a:pt x="1477" y="1248"/>
                  </a:cubicBezTo>
                  <a:lnTo>
                    <a:pt x="1254" y="1248"/>
                  </a:lnTo>
                  <a:close/>
                  <a:moveTo>
                    <a:pt x="1300" y="864"/>
                  </a:moveTo>
                  <a:cubicBezTo>
                    <a:pt x="1261" y="871"/>
                    <a:pt x="1221" y="877"/>
                    <a:pt x="1180" y="881"/>
                  </a:cubicBezTo>
                  <a:cubicBezTo>
                    <a:pt x="1158" y="829"/>
                    <a:pt x="1127" y="780"/>
                    <a:pt x="1090" y="736"/>
                  </a:cubicBezTo>
                  <a:cubicBezTo>
                    <a:pt x="1168" y="763"/>
                    <a:pt x="1240" y="807"/>
                    <a:pt x="1300" y="864"/>
                  </a:cubicBezTo>
                  <a:moveTo>
                    <a:pt x="455" y="920"/>
                  </a:moveTo>
                  <a:cubicBezTo>
                    <a:pt x="502" y="929"/>
                    <a:pt x="551" y="937"/>
                    <a:pt x="603" y="943"/>
                  </a:cubicBezTo>
                  <a:cubicBezTo>
                    <a:pt x="571" y="1042"/>
                    <a:pt x="554" y="1145"/>
                    <a:pt x="552" y="1248"/>
                  </a:cubicBezTo>
                  <a:cubicBezTo>
                    <a:pt x="329" y="1248"/>
                    <a:pt x="329" y="1248"/>
                    <a:pt x="329" y="1248"/>
                  </a:cubicBezTo>
                  <a:cubicBezTo>
                    <a:pt x="335" y="1128"/>
                    <a:pt x="379" y="1013"/>
                    <a:pt x="455" y="920"/>
                  </a:cubicBezTo>
                  <a:moveTo>
                    <a:pt x="1723" y="704"/>
                  </a:moveTo>
                  <a:cubicBezTo>
                    <a:pt x="1668" y="792"/>
                    <a:pt x="1600" y="870"/>
                    <a:pt x="1522" y="938"/>
                  </a:cubicBezTo>
                  <a:cubicBezTo>
                    <a:pt x="1505" y="953"/>
                    <a:pt x="1487" y="967"/>
                    <a:pt x="1468" y="981"/>
                  </a:cubicBezTo>
                  <a:cubicBezTo>
                    <a:pt x="1436" y="921"/>
                    <a:pt x="1396" y="867"/>
                    <a:pt x="1347" y="821"/>
                  </a:cubicBezTo>
                  <a:cubicBezTo>
                    <a:pt x="1350" y="803"/>
                    <a:pt x="1351" y="786"/>
                    <a:pt x="1351" y="768"/>
                  </a:cubicBezTo>
                  <a:cubicBezTo>
                    <a:pt x="1351" y="521"/>
                    <a:pt x="1150" y="320"/>
                    <a:pt x="903" y="320"/>
                  </a:cubicBezTo>
                  <a:cubicBezTo>
                    <a:pt x="722" y="320"/>
                    <a:pt x="559" y="429"/>
                    <a:pt x="489" y="596"/>
                  </a:cubicBezTo>
                  <a:cubicBezTo>
                    <a:pt x="548" y="621"/>
                    <a:pt x="548" y="621"/>
                    <a:pt x="548" y="621"/>
                  </a:cubicBezTo>
                  <a:cubicBezTo>
                    <a:pt x="630" y="425"/>
                    <a:pt x="854" y="333"/>
                    <a:pt x="1050" y="414"/>
                  </a:cubicBezTo>
                  <a:cubicBezTo>
                    <a:pt x="1060" y="418"/>
                    <a:pt x="1071" y="423"/>
                    <a:pt x="1081" y="429"/>
                  </a:cubicBezTo>
                  <a:cubicBezTo>
                    <a:pt x="1035" y="454"/>
                    <a:pt x="1018" y="512"/>
                    <a:pt x="1043" y="558"/>
                  </a:cubicBezTo>
                  <a:cubicBezTo>
                    <a:pt x="1068" y="605"/>
                    <a:pt x="1126" y="622"/>
                    <a:pt x="1173" y="597"/>
                  </a:cubicBezTo>
                  <a:cubicBezTo>
                    <a:pt x="1193" y="586"/>
                    <a:pt x="1208" y="568"/>
                    <a:pt x="1216" y="547"/>
                  </a:cubicBezTo>
                  <a:cubicBezTo>
                    <a:pt x="1262" y="612"/>
                    <a:pt x="1287" y="689"/>
                    <a:pt x="1287" y="768"/>
                  </a:cubicBezTo>
                  <a:cubicBezTo>
                    <a:pt x="1287" y="770"/>
                    <a:pt x="1287" y="770"/>
                    <a:pt x="1287" y="770"/>
                  </a:cubicBezTo>
                  <a:cubicBezTo>
                    <a:pt x="1060" y="597"/>
                    <a:pt x="746" y="597"/>
                    <a:pt x="519" y="770"/>
                  </a:cubicBezTo>
                  <a:cubicBezTo>
                    <a:pt x="519" y="768"/>
                    <a:pt x="519" y="768"/>
                    <a:pt x="519" y="768"/>
                  </a:cubicBezTo>
                  <a:cubicBezTo>
                    <a:pt x="519" y="739"/>
                    <a:pt x="522" y="709"/>
                    <a:pt x="529" y="680"/>
                  </a:cubicBezTo>
                  <a:cubicBezTo>
                    <a:pt x="467" y="665"/>
                    <a:pt x="467" y="665"/>
                    <a:pt x="467" y="665"/>
                  </a:cubicBezTo>
                  <a:cubicBezTo>
                    <a:pt x="459" y="699"/>
                    <a:pt x="455" y="734"/>
                    <a:pt x="455" y="768"/>
                  </a:cubicBezTo>
                  <a:cubicBezTo>
                    <a:pt x="455" y="786"/>
                    <a:pt x="456" y="803"/>
                    <a:pt x="459" y="821"/>
                  </a:cubicBezTo>
                  <a:cubicBezTo>
                    <a:pt x="410" y="867"/>
                    <a:pt x="369" y="922"/>
                    <a:pt x="338" y="981"/>
                  </a:cubicBezTo>
                  <a:cubicBezTo>
                    <a:pt x="232" y="907"/>
                    <a:pt x="141" y="813"/>
                    <a:pt x="71" y="704"/>
                  </a:cubicBezTo>
                  <a:cubicBezTo>
                    <a:pt x="267" y="403"/>
                    <a:pt x="532" y="256"/>
                    <a:pt x="881" y="256"/>
                  </a:cubicBezTo>
                  <a:cubicBezTo>
                    <a:pt x="1236" y="256"/>
                    <a:pt x="1534" y="415"/>
                    <a:pt x="1723" y="704"/>
                  </a:cubicBezTo>
                  <a:moveTo>
                    <a:pt x="1159" y="512"/>
                  </a:moveTo>
                  <a:cubicBezTo>
                    <a:pt x="1159" y="530"/>
                    <a:pt x="1145" y="544"/>
                    <a:pt x="1127" y="544"/>
                  </a:cubicBezTo>
                  <a:cubicBezTo>
                    <a:pt x="1109" y="544"/>
                    <a:pt x="1095" y="530"/>
                    <a:pt x="1095" y="512"/>
                  </a:cubicBezTo>
                  <a:cubicBezTo>
                    <a:pt x="1095" y="495"/>
                    <a:pt x="1109" y="480"/>
                    <a:pt x="1127" y="480"/>
                  </a:cubicBezTo>
                  <a:cubicBezTo>
                    <a:pt x="1145" y="480"/>
                    <a:pt x="1159" y="495"/>
                    <a:pt x="1159" y="5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2" name="Rectangle 349">
              <a:extLst>
                <a:ext uri="{FF2B5EF4-FFF2-40B4-BE49-F238E27FC236}">
                  <a16:creationId xmlns:a16="http://schemas.microsoft.com/office/drawing/2014/main" id="{ED5A4CC1-FC33-11E2-9F3C-31EC22EA67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6301" y="7143751"/>
              <a:ext cx="39688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3" name="Rectangle 350">
              <a:extLst>
                <a:ext uri="{FF2B5EF4-FFF2-40B4-BE49-F238E27FC236}">
                  <a16:creationId xmlns:a16="http://schemas.microsoft.com/office/drawing/2014/main" id="{143C020B-E460-6849-62BF-6B7E673393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6301" y="7223126"/>
              <a:ext cx="39688" cy="381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4" name="Rectangle 351">
              <a:extLst>
                <a:ext uri="{FF2B5EF4-FFF2-40B4-BE49-F238E27FC236}">
                  <a16:creationId xmlns:a16="http://schemas.microsoft.com/office/drawing/2014/main" id="{89BA007B-00D8-FAC0-B8FE-99C4BAA285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5988" y="7183438"/>
              <a:ext cx="38100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5" name="Rectangle 352">
              <a:extLst>
                <a:ext uri="{FF2B5EF4-FFF2-40B4-BE49-F238E27FC236}">
                  <a16:creationId xmlns:a16="http://schemas.microsoft.com/office/drawing/2014/main" id="{72440C6D-94E9-CD5C-3B4A-061E409837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6613" y="7183438"/>
              <a:ext cx="39688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6" name="Rectangle 353">
              <a:extLst>
                <a:ext uri="{FF2B5EF4-FFF2-40B4-BE49-F238E27FC236}">
                  <a16:creationId xmlns:a16="http://schemas.microsoft.com/office/drawing/2014/main" id="{B662C967-E5F0-7EB4-B465-7198E07206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0401" y="7143751"/>
              <a:ext cx="39688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7" name="Rectangle 354">
              <a:extLst>
                <a:ext uri="{FF2B5EF4-FFF2-40B4-BE49-F238E27FC236}">
                  <a16:creationId xmlns:a16="http://schemas.microsoft.com/office/drawing/2014/main" id="{87B937A3-B6C7-B8EB-7DE1-0D83D64DE0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0401" y="7223126"/>
              <a:ext cx="39688" cy="381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8" name="Rectangle 355">
              <a:extLst>
                <a:ext uri="{FF2B5EF4-FFF2-40B4-BE49-F238E27FC236}">
                  <a16:creationId xmlns:a16="http://schemas.microsoft.com/office/drawing/2014/main" id="{5D00A93A-9C5C-1C04-E9ED-FFB563F406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70088" y="7183438"/>
              <a:ext cx="38100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9" name="Rectangle 356">
              <a:extLst>
                <a:ext uri="{FF2B5EF4-FFF2-40B4-BE49-F238E27FC236}">
                  <a16:creationId xmlns:a16="http://schemas.microsoft.com/office/drawing/2014/main" id="{5648CCFA-BD1E-4412-8404-7B36640701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92301" y="7183438"/>
              <a:ext cx="38100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184631E1-BC69-6F0E-AC1D-E950F32DB2C0}"/>
              </a:ext>
            </a:extLst>
          </p:cNvPr>
          <p:cNvGrpSpPr/>
          <p:nvPr/>
        </p:nvGrpSpPr>
        <p:grpSpPr>
          <a:xfrm>
            <a:off x="6459352" y="5013181"/>
            <a:ext cx="463845" cy="417840"/>
            <a:chOff x="5070475" y="5924550"/>
            <a:chExt cx="576263" cy="519113"/>
          </a:xfrm>
          <a:solidFill>
            <a:schemeClr val="bg1"/>
          </a:solidFill>
        </p:grpSpPr>
        <p:sp>
          <p:nvSpPr>
            <p:cNvPr id="71" name="Freeform 6">
              <a:extLst>
                <a:ext uri="{FF2B5EF4-FFF2-40B4-BE49-F238E27FC236}">
                  <a16:creationId xmlns:a16="http://schemas.microsoft.com/office/drawing/2014/main" id="{2F71C2DA-C7D7-2738-DCC4-6E75683743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70475" y="6030913"/>
              <a:ext cx="538163" cy="412750"/>
            </a:xfrm>
            <a:custGeom>
              <a:avLst/>
              <a:gdLst>
                <a:gd name="T0" fmla="*/ 250 w 3498"/>
                <a:gd name="T1" fmla="*/ 2686 h 2686"/>
                <a:gd name="T2" fmla="*/ 3248 w 3498"/>
                <a:gd name="T3" fmla="*/ 2686 h 2686"/>
                <a:gd name="T4" fmla="*/ 3498 w 3498"/>
                <a:gd name="T5" fmla="*/ 2436 h 2686"/>
                <a:gd name="T6" fmla="*/ 3498 w 3498"/>
                <a:gd name="T7" fmla="*/ 2248 h 2686"/>
                <a:gd name="T8" fmla="*/ 3436 w 3498"/>
                <a:gd name="T9" fmla="*/ 2186 h 2686"/>
                <a:gd name="T10" fmla="*/ 3311 w 3498"/>
                <a:gd name="T11" fmla="*/ 2186 h 2686"/>
                <a:gd name="T12" fmla="*/ 3311 w 3498"/>
                <a:gd name="T13" fmla="*/ 1249 h 2686"/>
                <a:gd name="T14" fmla="*/ 3186 w 3498"/>
                <a:gd name="T15" fmla="*/ 1249 h 2686"/>
                <a:gd name="T16" fmla="*/ 3186 w 3498"/>
                <a:gd name="T17" fmla="*/ 2186 h 2686"/>
                <a:gd name="T18" fmla="*/ 3061 w 3498"/>
                <a:gd name="T19" fmla="*/ 2186 h 2686"/>
                <a:gd name="T20" fmla="*/ 3061 w 3498"/>
                <a:gd name="T21" fmla="*/ 1311 h 2686"/>
                <a:gd name="T22" fmla="*/ 2936 w 3498"/>
                <a:gd name="T23" fmla="*/ 1311 h 2686"/>
                <a:gd name="T24" fmla="*/ 2936 w 3498"/>
                <a:gd name="T25" fmla="*/ 2186 h 2686"/>
                <a:gd name="T26" fmla="*/ 2131 w 3498"/>
                <a:gd name="T27" fmla="*/ 2186 h 2686"/>
                <a:gd name="T28" fmla="*/ 1974 w 3498"/>
                <a:gd name="T29" fmla="*/ 2283 h 2686"/>
                <a:gd name="T30" fmla="*/ 1929 w 3498"/>
                <a:gd name="T31" fmla="*/ 2311 h 2686"/>
                <a:gd name="T32" fmla="*/ 1569 w 3498"/>
                <a:gd name="T33" fmla="*/ 2311 h 2686"/>
                <a:gd name="T34" fmla="*/ 1524 w 3498"/>
                <a:gd name="T35" fmla="*/ 2283 h 2686"/>
                <a:gd name="T36" fmla="*/ 1367 w 3498"/>
                <a:gd name="T37" fmla="*/ 2186 h 2686"/>
                <a:gd name="T38" fmla="*/ 562 w 3498"/>
                <a:gd name="T39" fmla="*/ 2186 h 2686"/>
                <a:gd name="T40" fmla="*/ 562 w 3498"/>
                <a:gd name="T41" fmla="*/ 374 h 2686"/>
                <a:gd name="T42" fmla="*/ 1749 w 3498"/>
                <a:gd name="T43" fmla="*/ 374 h 2686"/>
                <a:gd name="T44" fmla="*/ 1749 w 3498"/>
                <a:gd name="T45" fmla="*/ 249 h 2686"/>
                <a:gd name="T46" fmla="*/ 500 w 3498"/>
                <a:gd name="T47" fmla="*/ 249 h 2686"/>
                <a:gd name="T48" fmla="*/ 437 w 3498"/>
                <a:gd name="T49" fmla="*/ 312 h 2686"/>
                <a:gd name="T50" fmla="*/ 437 w 3498"/>
                <a:gd name="T51" fmla="*/ 2186 h 2686"/>
                <a:gd name="T52" fmla="*/ 312 w 3498"/>
                <a:gd name="T53" fmla="*/ 2186 h 2686"/>
                <a:gd name="T54" fmla="*/ 312 w 3498"/>
                <a:gd name="T55" fmla="*/ 312 h 2686"/>
                <a:gd name="T56" fmla="*/ 500 w 3498"/>
                <a:gd name="T57" fmla="*/ 125 h 2686"/>
                <a:gd name="T58" fmla="*/ 1749 w 3498"/>
                <a:gd name="T59" fmla="*/ 125 h 2686"/>
                <a:gd name="T60" fmla="*/ 1749 w 3498"/>
                <a:gd name="T61" fmla="*/ 0 h 2686"/>
                <a:gd name="T62" fmla="*/ 500 w 3498"/>
                <a:gd name="T63" fmla="*/ 0 h 2686"/>
                <a:gd name="T64" fmla="*/ 187 w 3498"/>
                <a:gd name="T65" fmla="*/ 312 h 2686"/>
                <a:gd name="T66" fmla="*/ 187 w 3498"/>
                <a:gd name="T67" fmla="*/ 2186 h 2686"/>
                <a:gd name="T68" fmla="*/ 62 w 3498"/>
                <a:gd name="T69" fmla="*/ 2186 h 2686"/>
                <a:gd name="T70" fmla="*/ 0 w 3498"/>
                <a:gd name="T71" fmla="*/ 2248 h 2686"/>
                <a:gd name="T72" fmla="*/ 0 w 3498"/>
                <a:gd name="T73" fmla="*/ 2436 h 2686"/>
                <a:gd name="T74" fmla="*/ 250 w 3498"/>
                <a:gd name="T75" fmla="*/ 2686 h 2686"/>
                <a:gd name="T76" fmla="*/ 125 w 3498"/>
                <a:gd name="T77" fmla="*/ 2311 h 2686"/>
                <a:gd name="T78" fmla="*/ 1367 w 3498"/>
                <a:gd name="T79" fmla="*/ 2311 h 2686"/>
                <a:gd name="T80" fmla="*/ 1412 w 3498"/>
                <a:gd name="T81" fmla="*/ 2339 h 2686"/>
                <a:gd name="T82" fmla="*/ 1569 w 3498"/>
                <a:gd name="T83" fmla="*/ 2436 h 2686"/>
                <a:gd name="T84" fmla="*/ 1929 w 3498"/>
                <a:gd name="T85" fmla="*/ 2436 h 2686"/>
                <a:gd name="T86" fmla="*/ 2086 w 3498"/>
                <a:gd name="T87" fmla="*/ 2339 h 2686"/>
                <a:gd name="T88" fmla="*/ 2131 w 3498"/>
                <a:gd name="T89" fmla="*/ 2311 h 2686"/>
                <a:gd name="T90" fmla="*/ 3373 w 3498"/>
                <a:gd name="T91" fmla="*/ 2311 h 2686"/>
                <a:gd name="T92" fmla="*/ 3373 w 3498"/>
                <a:gd name="T93" fmla="*/ 2436 h 2686"/>
                <a:gd name="T94" fmla="*/ 3248 w 3498"/>
                <a:gd name="T95" fmla="*/ 2561 h 2686"/>
                <a:gd name="T96" fmla="*/ 250 w 3498"/>
                <a:gd name="T97" fmla="*/ 2561 h 2686"/>
                <a:gd name="T98" fmla="*/ 125 w 3498"/>
                <a:gd name="T99" fmla="*/ 2436 h 2686"/>
                <a:gd name="T100" fmla="*/ 125 w 3498"/>
                <a:gd name="T101" fmla="*/ 2311 h 26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498" h="2686">
                  <a:moveTo>
                    <a:pt x="250" y="2686"/>
                  </a:moveTo>
                  <a:cubicBezTo>
                    <a:pt x="3248" y="2686"/>
                    <a:pt x="3248" y="2686"/>
                    <a:pt x="3248" y="2686"/>
                  </a:cubicBezTo>
                  <a:cubicBezTo>
                    <a:pt x="3386" y="2686"/>
                    <a:pt x="3498" y="2574"/>
                    <a:pt x="3498" y="2436"/>
                  </a:cubicBezTo>
                  <a:cubicBezTo>
                    <a:pt x="3498" y="2248"/>
                    <a:pt x="3498" y="2248"/>
                    <a:pt x="3498" y="2248"/>
                  </a:cubicBezTo>
                  <a:cubicBezTo>
                    <a:pt x="3498" y="2214"/>
                    <a:pt x="3470" y="2186"/>
                    <a:pt x="3436" y="2186"/>
                  </a:cubicBezTo>
                  <a:cubicBezTo>
                    <a:pt x="3311" y="2186"/>
                    <a:pt x="3311" y="2186"/>
                    <a:pt x="3311" y="2186"/>
                  </a:cubicBezTo>
                  <a:cubicBezTo>
                    <a:pt x="3311" y="1249"/>
                    <a:pt x="3311" y="1249"/>
                    <a:pt x="3311" y="1249"/>
                  </a:cubicBezTo>
                  <a:cubicBezTo>
                    <a:pt x="3186" y="1249"/>
                    <a:pt x="3186" y="1249"/>
                    <a:pt x="3186" y="1249"/>
                  </a:cubicBezTo>
                  <a:cubicBezTo>
                    <a:pt x="3186" y="2186"/>
                    <a:pt x="3186" y="2186"/>
                    <a:pt x="3186" y="2186"/>
                  </a:cubicBezTo>
                  <a:cubicBezTo>
                    <a:pt x="3061" y="2186"/>
                    <a:pt x="3061" y="2186"/>
                    <a:pt x="3061" y="2186"/>
                  </a:cubicBezTo>
                  <a:cubicBezTo>
                    <a:pt x="3061" y="1311"/>
                    <a:pt x="3061" y="1311"/>
                    <a:pt x="3061" y="1311"/>
                  </a:cubicBezTo>
                  <a:cubicBezTo>
                    <a:pt x="2936" y="1311"/>
                    <a:pt x="2936" y="1311"/>
                    <a:pt x="2936" y="1311"/>
                  </a:cubicBezTo>
                  <a:cubicBezTo>
                    <a:pt x="2936" y="2186"/>
                    <a:pt x="2936" y="2186"/>
                    <a:pt x="2936" y="2186"/>
                  </a:cubicBezTo>
                  <a:cubicBezTo>
                    <a:pt x="2131" y="2186"/>
                    <a:pt x="2131" y="2186"/>
                    <a:pt x="2131" y="2186"/>
                  </a:cubicBezTo>
                  <a:cubicBezTo>
                    <a:pt x="2065" y="2186"/>
                    <a:pt x="2004" y="2223"/>
                    <a:pt x="1974" y="2283"/>
                  </a:cubicBezTo>
                  <a:cubicBezTo>
                    <a:pt x="1966" y="2300"/>
                    <a:pt x="1948" y="2311"/>
                    <a:pt x="1929" y="2311"/>
                  </a:cubicBezTo>
                  <a:cubicBezTo>
                    <a:pt x="1569" y="2311"/>
                    <a:pt x="1569" y="2311"/>
                    <a:pt x="1569" y="2311"/>
                  </a:cubicBezTo>
                  <a:cubicBezTo>
                    <a:pt x="1550" y="2311"/>
                    <a:pt x="1532" y="2300"/>
                    <a:pt x="1524" y="2283"/>
                  </a:cubicBezTo>
                  <a:cubicBezTo>
                    <a:pt x="1494" y="2223"/>
                    <a:pt x="1433" y="2186"/>
                    <a:pt x="1367" y="2186"/>
                  </a:cubicBezTo>
                  <a:cubicBezTo>
                    <a:pt x="562" y="2186"/>
                    <a:pt x="562" y="2186"/>
                    <a:pt x="562" y="2186"/>
                  </a:cubicBezTo>
                  <a:cubicBezTo>
                    <a:pt x="562" y="374"/>
                    <a:pt x="562" y="374"/>
                    <a:pt x="562" y="374"/>
                  </a:cubicBezTo>
                  <a:cubicBezTo>
                    <a:pt x="1749" y="374"/>
                    <a:pt x="1749" y="374"/>
                    <a:pt x="1749" y="374"/>
                  </a:cubicBezTo>
                  <a:cubicBezTo>
                    <a:pt x="1749" y="249"/>
                    <a:pt x="1749" y="249"/>
                    <a:pt x="1749" y="249"/>
                  </a:cubicBezTo>
                  <a:cubicBezTo>
                    <a:pt x="500" y="249"/>
                    <a:pt x="500" y="249"/>
                    <a:pt x="500" y="249"/>
                  </a:cubicBezTo>
                  <a:cubicBezTo>
                    <a:pt x="465" y="249"/>
                    <a:pt x="437" y="277"/>
                    <a:pt x="437" y="312"/>
                  </a:cubicBezTo>
                  <a:cubicBezTo>
                    <a:pt x="437" y="2186"/>
                    <a:pt x="437" y="2186"/>
                    <a:pt x="437" y="2186"/>
                  </a:cubicBezTo>
                  <a:cubicBezTo>
                    <a:pt x="312" y="2186"/>
                    <a:pt x="312" y="2186"/>
                    <a:pt x="312" y="2186"/>
                  </a:cubicBezTo>
                  <a:cubicBezTo>
                    <a:pt x="312" y="312"/>
                    <a:pt x="312" y="312"/>
                    <a:pt x="312" y="312"/>
                  </a:cubicBezTo>
                  <a:cubicBezTo>
                    <a:pt x="312" y="208"/>
                    <a:pt x="396" y="125"/>
                    <a:pt x="500" y="125"/>
                  </a:cubicBezTo>
                  <a:cubicBezTo>
                    <a:pt x="1749" y="125"/>
                    <a:pt x="1749" y="125"/>
                    <a:pt x="1749" y="125"/>
                  </a:cubicBezTo>
                  <a:cubicBezTo>
                    <a:pt x="1749" y="0"/>
                    <a:pt x="1749" y="0"/>
                    <a:pt x="1749" y="0"/>
                  </a:cubicBezTo>
                  <a:cubicBezTo>
                    <a:pt x="500" y="0"/>
                    <a:pt x="500" y="0"/>
                    <a:pt x="500" y="0"/>
                  </a:cubicBezTo>
                  <a:cubicBezTo>
                    <a:pt x="327" y="0"/>
                    <a:pt x="188" y="140"/>
                    <a:pt x="187" y="312"/>
                  </a:cubicBezTo>
                  <a:cubicBezTo>
                    <a:pt x="187" y="2186"/>
                    <a:pt x="187" y="2186"/>
                    <a:pt x="187" y="2186"/>
                  </a:cubicBezTo>
                  <a:cubicBezTo>
                    <a:pt x="62" y="2186"/>
                    <a:pt x="62" y="2186"/>
                    <a:pt x="62" y="2186"/>
                  </a:cubicBezTo>
                  <a:cubicBezTo>
                    <a:pt x="28" y="2186"/>
                    <a:pt x="0" y="2214"/>
                    <a:pt x="0" y="2248"/>
                  </a:cubicBezTo>
                  <a:cubicBezTo>
                    <a:pt x="0" y="2436"/>
                    <a:pt x="0" y="2436"/>
                    <a:pt x="0" y="2436"/>
                  </a:cubicBezTo>
                  <a:cubicBezTo>
                    <a:pt x="0" y="2574"/>
                    <a:pt x="112" y="2686"/>
                    <a:pt x="250" y="2686"/>
                  </a:cubicBezTo>
                  <a:moveTo>
                    <a:pt x="125" y="2311"/>
                  </a:moveTo>
                  <a:cubicBezTo>
                    <a:pt x="1367" y="2311"/>
                    <a:pt x="1367" y="2311"/>
                    <a:pt x="1367" y="2311"/>
                  </a:cubicBezTo>
                  <a:cubicBezTo>
                    <a:pt x="1386" y="2311"/>
                    <a:pt x="1404" y="2322"/>
                    <a:pt x="1412" y="2339"/>
                  </a:cubicBezTo>
                  <a:cubicBezTo>
                    <a:pt x="1442" y="2398"/>
                    <a:pt x="1503" y="2436"/>
                    <a:pt x="1569" y="2436"/>
                  </a:cubicBezTo>
                  <a:cubicBezTo>
                    <a:pt x="1929" y="2436"/>
                    <a:pt x="1929" y="2436"/>
                    <a:pt x="1929" y="2436"/>
                  </a:cubicBezTo>
                  <a:cubicBezTo>
                    <a:pt x="1996" y="2436"/>
                    <a:pt x="2056" y="2398"/>
                    <a:pt x="2086" y="2339"/>
                  </a:cubicBezTo>
                  <a:cubicBezTo>
                    <a:pt x="2095" y="2322"/>
                    <a:pt x="2112" y="2311"/>
                    <a:pt x="2131" y="2311"/>
                  </a:cubicBezTo>
                  <a:cubicBezTo>
                    <a:pt x="3373" y="2311"/>
                    <a:pt x="3373" y="2311"/>
                    <a:pt x="3373" y="2311"/>
                  </a:cubicBezTo>
                  <a:cubicBezTo>
                    <a:pt x="3373" y="2436"/>
                    <a:pt x="3373" y="2436"/>
                    <a:pt x="3373" y="2436"/>
                  </a:cubicBezTo>
                  <a:cubicBezTo>
                    <a:pt x="3373" y="2505"/>
                    <a:pt x="3317" y="2561"/>
                    <a:pt x="3248" y="2561"/>
                  </a:cubicBezTo>
                  <a:cubicBezTo>
                    <a:pt x="250" y="2561"/>
                    <a:pt x="250" y="2561"/>
                    <a:pt x="250" y="2561"/>
                  </a:cubicBezTo>
                  <a:cubicBezTo>
                    <a:pt x="181" y="2561"/>
                    <a:pt x="125" y="2505"/>
                    <a:pt x="125" y="2436"/>
                  </a:cubicBezTo>
                  <a:lnTo>
                    <a:pt x="125" y="23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2" name="Rectangle 7">
              <a:extLst>
                <a:ext uri="{FF2B5EF4-FFF2-40B4-BE49-F238E27FC236}">
                  <a16:creationId xmlns:a16="http://schemas.microsoft.com/office/drawing/2014/main" id="{F21B0B7A-C6AD-99FE-A153-5F71592D3D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76838" y="6107113"/>
              <a:ext cx="19050" cy="190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3" name="Rectangle 8">
              <a:extLst>
                <a:ext uri="{FF2B5EF4-FFF2-40B4-BE49-F238E27FC236}">
                  <a16:creationId xmlns:a16="http://schemas.microsoft.com/office/drawing/2014/main" id="{80476E80-6CC7-0A43-E898-4ED7AFDE11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14938" y="6107113"/>
              <a:ext cx="19050" cy="190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4" name="Rectangle 9">
              <a:extLst>
                <a:ext uri="{FF2B5EF4-FFF2-40B4-BE49-F238E27FC236}">
                  <a16:creationId xmlns:a16="http://schemas.microsoft.com/office/drawing/2014/main" id="{2E685F5C-3BC7-D87D-73E1-D1C1F13E15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53038" y="6107113"/>
              <a:ext cx="19050" cy="190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5" name="Freeform 10">
              <a:extLst>
                <a:ext uri="{FF2B5EF4-FFF2-40B4-BE49-F238E27FC236}">
                  <a16:creationId xmlns:a16="http://schemas.microsoft.com/office/drawing/2014/main" id="{9C648CA4-A939-B78C-3A91-D9F194CAA332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6838" y="6145213"/>
              <a:ext cx="239713" cy="77788"/>
            </a:xfrm>
            <a:custGeom>
              <a:avLst/>
              <a:gdLst>
                <a:gd name="T0" fmla="*/ 1187 w 1562"/>
                <a:gd name="T1" fmla="*/ 125 h 500"/>
                <a:gd name="T2" fmla="*/ 1187 w 1562"/>
                <a:gd name="T3" fmla="*/ 0 h 500"/>
                <a:gd name="T4" fmla="*/ 63 w 1562"/>
                <a:gd name="T5" fmla="*/ 0 h 500"/>
                <a:gd name="T6" fmla="*/ 0 w 1562"/>
                <a:gd name="T7" fmla="*/ 63 h 500"/>
                <a:gd name="T8" fmla="*/ 0 w 1562"/>
                <a:gd name="T9" fmla="*/ 437 h 500"/>
                <a:gd name="T10" fmla="*/ 63 w 1562"/>
                <a:gd name="T11" fmla="*/ 500 h 500"/>
                <a:gd name="T12" fmla="*/ 1562 w 1562"/>
                <a:gd name="T13" fmla="*/ 500 h 500"/>
                <a:gd name="T14" fmla="*/ 1562 w 1562"/>
                <a:gd name="T15" fmla="*/ 375 h 500"/>
                <a:gd name="T16" fmla="*/ 125 w 1562"/>
                <a:gd name="T17" fmla="*/ 375 h 500"/>
                <a:gd name="T18" fmla="*/ 125 w 1562"/>
                <a:gd name="T19" fmla="*/ 125 h 500"/>
                <a:gd name="T20" fmla="*/ 1187 w 1562"/>
                <a:gd name="T21" fmla="*/ 125 h 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62" h="500">
                  <a:moveTo>
                    <a:pt x="1187" y="125"/>
                  </a:moveTo>
                  <a:cubicBezTo>
                    <a:pt x="1187" y="0"/>
                    <a:pt x="1187" y="0"/>
                    <a:pt x="1187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28" y="0"/>
                    <a:pt x="0" y="28"/>
                    <a:pt x="0" y="63"/>
                  </a:cubicBezTo>
                  <a:cubicBezTo>
                    <a:pt x="0" y="437"/>
                    <a:pt x="0" y="437"/>
                    <a:pt x="0" y="437"/>
                  </a:cubicBezTo>
                  <a:cubicBezTo>
                    <a:pt x="0" y="472"/>
                    <a:pt x="28" y="500"/>
                    <a:pt x="63" y="500"/>
                  </a:cubicBezTo>
                  <a:cubicBezTo>
                    <a:pt x="1562" y="500"/>
                    <a:pt x="1562" y="500"/>
                    <a:pt x="1562" y="500"/>
                  </a:cubicBezTo>
                  <a:cubicBezTo>
                    <a:pt x="1562" y="375"/>
                    <a:pt x="1562" y="375"/>
                    <a:pt x="1562" y="375"/>
                  </a:cubicBezTo>
                  <a:cubicBezTo>
                    <a:pt x="125" y="375"/>
                    <a:pt x="125" y="375"/>
                    <a:pt x="125" y="375"/>
                  </a:cubicBezTo>
                  <a:cubicBezTo>
                    <a:pt x="125" y="125"/>
                    <a:pt x="125" y="125"/>
                    <a:pt x="125" y="125"/>
                  </a:cubicBezTo>
                  <a:lnTo>
                    <a:pt x="1187" y="1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6" name="Rectangle 11">
              <a:extLst>
                <a:ext uri="{FF2B5EF4-FFF2-40B4-BE49-F238E27FC236}">
                  <a16:creationId xmlns:a16="http://schemas.microsoft.com/office/drawing/2014/main" id="{5BD4C369-32CE-8E42-D308-45CA2236C9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76838" y="6327775"/>
              <a:ext cx="66675" cy="190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7" name="Rectangle 12">
              <a:extLst>
                <a:ext uri="{FF2B5EF4-FFF2-40B4-BE49-F238E27FC236}">
                  <a16:creationId xmlns:a16="http://schemas.microsoft.com/office/drawing/2014/main" id="{7209AFCF-B841-5A6F-DB4C-4A82F1E6B2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62563" y="6327775"/>
              <a:ext cx="66675" cy="190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8" name="Rectangle 13">
              <a:extLst>
                <a:ext uri="{FF2B5EF4-FFF2-40B4-BE49-F238E27FC236}">
                  <a16:creationId xmlns:a16="http://schemas.microsoft.com/office/drawing/2014/main" id="{D9F0DA2A-A41C-C474-7481-A7F54E1C4C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49875" y="6327775"/>
              <a:ext cx="66675" cy="190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9" name="Rectangle 14">
              <a:extLst>
                <a:ext uri="{FF2B5EF4-FFF2-40B4-BE49-F238E27FC236}">
                  <a16:creationId xmlns:a16="http://schemas.microsoft.com/office/drawing/2014/main" id="{FFB089BD-4622-B91C-60D2-C684DF0C8F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35600" y="6327775"/>
              <a:ext cx="66675" cy="190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0" name="Freeform 15">
              <a:extLst>
                <a:ext uri="{FF2B5EF4-FFF2-40B4-BE49-F238E27FC236}">
                  <a16:creationId xmlns:a16="http://schemas.microsoft.com/office/drawing/2014/main" id="{9B70C932-A477-5FCD-4665-C33912BE66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62563" y="6242050"/>
              <a:ext cx="66675" cy="66675"/>
            </a:xfrm>
            <a:custGeom>
              <a:avLst/>
              <a:gdLst>
                <a:gd name="T0" fmla="*/ 438 w 438"/>
                <a:gd name="T1" fmla="*/ 62 h 437"/>
                <a:gd name="T2" fmla="*/ 375 w 438"/>
                <a:gd name="T3" fmla="*/ 0 h 437"/>
                <a:gd name="T4" fmla="*/ 63 w 438"/>
                <a:gd name="T5" fmla="*/ 0 h 437"/>
                <a:gd name="T6" fmla="*/ 0 w 438"/>
                <a:gd name="T7" fmla="*/ 62 h 437"/>
                <a:gd name="T8" fmla="*/ 0 w 438"/>
                <a:gd name="T9" fmla="*/ 375 h 437"/>
                <a:gd name="T10" fmla="*/ 63 w 438"/>
                <a:gd name="T11" fmla="*/ 437 h 437"/>
                <a:gd name="T12" fmla="*/ 375 w 438"/>
                <a:gd name="T13" fmla="*/ 437 h 437"/>
                <a:gd name="T14" fmla="*/ 438 w 438"/>
                <a:gd name="T15" fmla="*/ 375 h 437"/>
                <a:gd name="T16" fmla="*/ 438 w 438"/>
                <a:gd name="T17" fmla="*/ 62 h 437"/>
                <a:gd name="T18" fmla="*/ 313 w 438"/>
                <a:gd name="T19" fmla="*/ 312 h 437"/>
                <a:gd name="T20" fmla="*/ 125 w 438"/>
                <a:gd name="T21" fmla="*/ 312 h 437"/>
                <a:gd name="T22" fmla="*/ 125 w 438"/>
                <a:gd name="T23" fmla="*/ 125 h 437"/>
                <a:gd name="T24" fmla="*/ 313 w 438"/>
                <a:gd name="T25" fmla="*/ 125 h 437"/>
                <a:gd name="T26" fmla="*/ 313 w 438"/>
                <a:gd name="T27" fmla="*/ 312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38" h="437">
                  <a:moveTo>
                    <a:pt x="438" y="62"/>
                  </a:moveTo>
                  <a:cubicBezTo>
                    <a:pt x="438" y="28"/>
                    <a:pt x="410" y="0"/>
                    <a:pt x="375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28" y="0"/>
                    <a:pt x="0" y="28"/>
                    <a:pt x="0" y="62"/>
                  </a:cubicBezTo>
                  <a:cubicBezTo>
                    <a:pt x="0" y="375"/>
                    <a:pt x="0" y="375"/>
                    <a:pt x="0" y="375"/>
                  </a:cubicBezTo>
                  <a:cubicBezTo>
                    <a:pt x="0" y="409"/>
                    <a:pt x="28" y="437"/>
                    <a:pt x="63" y="437"/>
                  </a:cubicBezTo>
                  <a:cubicBezTo>
                    <a:pt x="375" y="437"/>
                    <a:pt x="375" y="437"/>
                    <a:pt x="375" y="437"/>
                  </a:cubicBezTo>
                  <a:cubicBezTo>
                    <a:pt x="410" y="437"/>
                    <a:pt x="438" y="409"/>
                    <a:pt x="438" y="375"/>
                  </a:cubicBezTo>
                  <a:lnTo>
                    <a:pt x="438" y="62"/>
                  </a:lnTo>
                  <a:close/>
                  <a:moveTo>
                    <a:pt x="313" y="312"/>
                  </a:moveTo>
                  <a:cubicBezTo>
                    <a:pt x="125" y="312"/>
                    <a:pt x="125" y="312"/>
                    <a:pt x="125" y="312"/>
                  </a:cubicBezTo>
                  <a:cubicBezTo>
                    <a:pt x="125" y="125"/>
                    <a:pt x="125" y="125"/>
                    <a:pt x="125" y="125"/>
                  </a:cubicBezTo>
                  <a:cubicBezTo>
                    <a:pt x="313" y="125"/>
                    <a:pt x="313" y="125"/>
                    <a:pt x="313" y="125"/>
                  </a:cubicBezTo>
                  <a:lnTo>
                    <a:pt x="313" y="3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1" name="Freeform 16">
              <a:extLst>
                <a:ext uri="{FF2B5EF4-FFF2-40B4-BE49-F238E27FC236}">
                  <a16:creationId xmlns:a16="http://schemas.microsoft.com/office/drawing/2014/main" id="{C1B53A4F-2C9C-6762-58A9-7A4474D76B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76838" y="6242050"/>
              <a:ext cx="66675" cy="66675"/>
            </a:xfrm>
            <a:custGeom>
              <a:avLst/>
              <a:gdLst>
                <a:gd name="T0" fmla="*/ 437 w 437"/>
                <a:gd name="T1" fmla="*/ 62 h 437"/>
                <a:gd name="T2" fmla="*/ 375 w 437"/>
                <a:gd name="T3" fmla="*/ 0 h 437"/>
                <a:gd name="T4" fmla="*/ 63 w 437"/>
                <a:gd name="T5" fmla="*/ 0 h 437"/>
                <a:gd name="T6" fmla="*/ 0 w 437"/>
                <a:gd name="T7" fmla="*/ 62 h 437"/>
                <a:gd name="T8" fmla="*/ 0 w 437"/>
                <a:gd name="T9" fmla="*/ 375 h 437"/>
                <a:gd name="T10" fmla="*/ 63 w 437"/>
                <a:gd name="T11" fmla="*/ 437 h 437"/>
                <a:gd name="T12" fmla="*/ 375 w 437"/>
                <a:gd name="T13" fmla="*/ 437 h 437"/>
                <a:gd name="T14" fmla="*/ 437 w 437"/>
                <a:gd name="T15" fmla="*/ 375 h 437"/>
                <a:gd name="T16" fmla="*/ 437 w 437"/>
                <a:gd name="T17" fmla="*/ 62 h 437"/>
                <a:gd name="T18" fmla="*/ 312 w 437"/>
                <a:gd name="T19" fmla="*/ 312 h 437"/>
                <a:gd name="T20" fmla="*/ 125 w 437"/>
                <a:gd name="T21" fmla="*/ 312 h 437"/>
                <a:gd name="T22" fmla="*/ 125 w 437"/>
                <a:gd name="T23" fmla="*/ 125 h 437"/>
                <a:gd name="T24" fmla="*/ 312 w 437"/>
                <a:gd name="T25" fmla="*/ 125 h 437"/>
                <a:gd name="T26" fmla="*/ 312 w 437"/>
                <a:gd name="T27" fmla="*/ 312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37" h="437">
                  <a:moveTo>
                    <a:pt x="437" y="62"/>
                  </a:moveTo>
                  <a:cubicBezTo>
                    <a:pt x="437" y="28"/>
                    <a:pt x="409" y="0"/>
                    <a:pt x="375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28" y="0"/>
                    <a:pt x="0" y="28"/>
                    <a:pt x="0" y="62"/>
                  </a:cubicBezTo>
                  <a:cubicBezTo>
                    <a:pt x="0" y="375"/>
                    <a:pt x="0" y="375"/>
                    <a:pt x="0" y="375"/>
                  </a:cubicBezTo>
                  <a:cubicBezTo>
                    <a:pt x="0" y="409"/>
                    <a:pt x="28" y="437"/>
                    <a:pt x="63" y="437"/>
                  </a:cubicBezTo>
                  <a:cubicBezTo>
                    <a:pt x="375" y="437"/>
                    <a:pt x="375" y="437"/>
                    <a:pt x="375" y="437"/>
                  </a:cubicBezTo>
                  <a:cubicBezTo>
                    <a:pt x="409" y="437"/>
                    <a:pt x="437" y="409"/>
                    <a:pt x="437" y="375"/>
                  </a:cubicBezTo>
                  <a:lnTo>
                    <a:pt x="437" y="62"/>
                  </a:lnTo>
                  <a:close/>
                  <a:moveTo>
                    <a:pt x="312" y="312"/>
                  </a:moveTo>
                  <a:cubicBezTo>
                    <a:pt x="125" y="312"/>
                    <a:pt x="125" y="312"/>
                    <a:pt x="125" y="312"/>
                  </a:cubicBezTo>
                  <a:cubicBezTo>
                    <a:pt x="125" y="125"/>
                    <a:pt x="125" y="125"/>
                    <a:pt x="125" y="125"/>
                  </a:cubicBezTo>
                  <a:cubicBezTo>
                    <a:pt x="312" y="125"/>
                    <a:pt x="312" y="125"/>
                    <a:pt x="312" y="125"/>
                  </a:cubicBezTo>
                  <a:lnTo>
                    <a:pt x="312" y="3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2" name="Freeform 17">
              <a:extLst>
                <a:ext uri="{FF2B5EF4-FFF2-40B4-BE49-F238E27FC236}">
                  <a16:creationId xmlns:a16="http://schemas.microsoft.com/office/drawing/2014/main" id="{C11569D5-715E-99D9-8462-6BE5AF32E5A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35600" y="6242050"/>
              <a:ext cx="66675" cy="66675"/>
            </a:xfrm>
            <a:custGeom>
              <a:avLst/>
              <a:gdLst>
                <a:gd name="T0" fmla="*/ 375 w 437"/>
                <a:gd name="T1" fmla="*/ 437 h 437"/>
                <a:gd name="T2" fmla="*/ 437 w 437"/>
                <a:gd name="T3" fmla="*/ 375 h 437"/>
                <a:gd name="T4" fmla="*/ 437 w 437"/>
                <a:gd name="T5" fmla="*/ 62 h 437"/>
                <a:gd name="T6" fmla="*/ 375 w 437"/>
                <a:gd name="T7" fmla="*/ 0 h 437"/>
                <a:gd name="T8" fmla="*/ 62 w 437"/>
                <a:gd name="T9" fmla="*/ 0 h 437"/>
                <a:gd name="T10" fmla="*/ 0 w 437"/>
                <a:gd name="T11" fmla="*/ 62 h 437"/>
                <a:gd name="T12" fmla="*/ 0 w 437"/>
                <a:gd name="T13" fmla="*/ 375 h 437"/>
                <a:gd name="T14" fmla="*/ 62 w 437"/>
                <a:gd name="T15" fmla="*/ 437 h 437"/>
                <a:gd name="T16" fmla="*/ 375 w 437"/>
                <a:gd name="T17" fmla="*/ 437 h 437"/>
                <a:gd name="T18" fmla="*/ 125 w 437"/>
                <a:gd name="T19" fmla="*/ 125 h 437"/>
                <a:gd name="T20" fmla="*/ 312 w 437"/>
                <a:gd name="T21" fmla="*/ 125 h 437"/>
                <a:gd name="T22" fmla="*/ 312 w 437"/>
                <a:gd name="T23" fmla="*/ 312 h 437"/>
                <a:gd name="T24" fmla="*/ 125 w 437"/>
                <a:gd name="T25" fmla="*/ 312 h 437"/>
                <a:gd name="T26" fmla="*/ 125 w 437"/>
                <a:gd name="T27" fmla="*/ 125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37" h="437">
                  <a:moveTo>
                    <a:pt x="375" y="437"/>
                  </a:moveTo>
                  <a:cubicBezTo>
                    <a:pt x="409" y="437"/>
                    <a:pt x="437" y="409"/>
                    <a:pt x="437" y="375"/>
                  </a:cubicBezTo>
                  <a:cubicBezTo>
                    <a:pt x="437" y="62"/>
                    <a:pt x="437" y="62"/>
                    <a:pt x="437" y="62"/>
                  </a:cubicBezTo>
                  <a:cubicBezTo>
                    <a:pt x="437" y="28"/>
                    <a:pt x="409" y="0"/>
                    <a:pt x="375" y="0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28" y="0"/>
                    <a:pt x="0" y="28"/>
                    <a:pt x="0" y="62"/>
                  </a:cubicBezTo>
                  <a:cubicBezTo>
                    <a:pt x="0" y="375"/>
                    <a:pt x="0" y="375"/>
                    <a:pt x="0" y="375"/>
                  </a:cubicBezTo>
                  <a:cubicBezTo>
                    <a:pt x="0" y="409"/>
                    <a:pt x="28" y="437"/>
                    <a:pt x="62" y="437"/>
                  </a:cubicBezTo>
                  <a:lnTo>
                    <a:pt x="375" y="437"/>
                  </a:lnTo>
                  <a:close/>
                  <a:moveTo>
                    <a:pt x="125" y="125"/>
                  </a:moveTo>
                  <a:cubicBezTo>
                    <a:pt x="312" y="125"/>
                    <a:pt x="312" y="125"/>
                    <a:pt x="312" y="125"/>
                  </a:cubicBezTo>
                  <a:cubicBezTo>
                    <a:pt x="312" y="312"/>
                    <a:pt x="312" y="312"/>
                    <a:pt x="312" y="312"/>
                  </a:cubicBezTo>
                  <a:cubicBezTo>
                    <a:pt x="125" y="312"/>
                    <a:pt x="125" y="312"/>
                    <a:pt x="125" y="312"/>
                  </a:cubicBezTo>
                  <a:lnTo>
                    <a:pt x="125" y="1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3" name="Freeform 18">
              <a:extLst>
                <a:ext uri="{FF2B5EF4-FFF2-40B4-BE49-F238E27FC236}">
                  <a16:creationId xmlns:a16="http://schemas.microsoft.com/office/drawing/2014/main" id="{F4224F93-D885-EC74-851A-1F8FA003EBA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49875" y="6242050"/>
              <a:ext cx="66675" cy="66675"/>
            </a:xfrm>
            <a:custGeom>
              <a:avLst/>
              <a:gdLst>
                <a:gd name="T0" fmla="*/ 437 w 437"/>
                <a:gd name="T1" fmla="*/ 62 h 437"/>
                <a:gd name="T2" fmla="*/ 374 w 437"/>
                <a:gd name="T3" fmla="*/ 0 h 437"/>
                <a:gd name="T4" fmla="*/ 62 w 437"/>
                <a:gd name="T5" fmla="*/ 0 h 437"/>
                <a:gd name="T6" fmla="*/ 0 w 437"/>
                <a:gd name="T7" fmla="*/ 62 h 437"/>
                <a:gd name="T8" fmla="*/ 0 w 437"/>
                <a:gd name="T9" fmla="*/ 375 h 437"/>
                <a:gd name="T10" fmla="*/ 62 w 437"/>
                <a:gd name="T11" fmla="*/ 437 h 437"/>
                <a:gd name="T12" fmla="*/ 374 w 437"/>
                <a:gd name="T13" fmla="*/ 437 h 437"/>
                <a:gd name="T14" fmla="*/ 437 w 437"/>
                <a:gd name="T15" fmla="*/ 375 h 437"/>
                <a:gd name="T16" fmla="*/ 437 w 437"/>
                <a:gd name="T17" fmla="*/ 62 h 437"/>
                <a:gd name="T18" fmla="*/ 312 w 437"/>
                <a:gd name="T19" fmla="*/ 312 h 437"/>
                <a:gd name="T20" fmla="*/ 124 w 437"/>
                <a:gd name="T21" fmla="*/ 312 h 437"/>
                <a:gd name="T22" fmla="*/ 124 w 437"/>
                <a:gd name="T23" fmla="*/ 125 h 437"/>
                <a:gd name="T24" fmla="*/ 312 w 437"/>
                <a:gd name="T25" fmla="*/ 125 h 437"/>
                <a:gd name="T26" fmla="*/ 312 w 437"/>
                <a:gd name="T27" fmla="*/ 312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37" h="437">
                  <a:moveTo>
                    <a:pt x="437" y="62"/>
                  </a:moveTo>
                  <a:cubicBezTo>
                    <a:pt x="437" y="28"/>
                    <a:pt x="409" y="0"/>
                    <a:pt x="374" y="0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27" y="0"/>
                    <a:pt x="0" y="28"/>
                    <a:pt x="0" y="62"/>
                  </a:cubicBezTo>
                  <a:cubicBezTo>
                    <a:pt x="0" y="375"/>
                    <a:pt x="0" y="375"/>
                    <a:pt x="0" y="375"/>
                  </a:cubicBezTo>
                  <a:cubicBezTo>
                    <a:pt x="0" y="409"/>
                    <a:pt x="27" y="437"/>
                    <a:pt x="62" y="437"/>
                  </a:cubicBezTo>
                  <a:cubicBezTo>
                    <a:pt x="374" y="437"/>
                    <a:pt x="374" y="437"/>
                    <a:pt x="374" y="437"/>
                  </a:cubicBezTo>
                  <a:cubicBezTo>
                    <a:pt x="409" y="437"/>
                    <a:pt x="437" y="409"/>
                    <a:pt x="437" y="375"/>
                  </a:cubicBezTo>
                  <a:lnTo>
                    <a:pt x="437" y="62"/>
                  </a:lnTo>
                  <a:close/>
                  <a:moveTo>
                    <a:pt x="312" y="312"/>
                  </a:moveTo>
                  <a:cubicBezTo>
                    <a:pt x="124" y="312"/>
                    <a:pt x="124" y="312"/>
                    <a:pt x="124" y="312"/>
                  </a:cubicBezTo>
                  <a:cubicBezTo>
                    <a:pt x="124" y="125"/>
                    <a:pt x="124" y="125"/>
                    <a:pt x="124" y="125"/>
                  </a:cubicBezTo>
                  <a:cubicBezTo>
                    <a:pt x="312" y="125"/>
                    <a:pt x="312" y="125"/>
                    <a:pt x="312" y="125"/>
                  </a:cubicBezTo>
                  <a:lnTo>
                    <a:pt x="312" y="3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4" name="Freeform 19">
              <a:extLst>
                <a:ext uri="{FF2B5EF4-FFF2-40B4-BE49-F238E27FC236}">
                  <a16:creationId xmlns:a16="http://schemas.microsoft.com/office/drawing/2014/main" id="{E63EB199-91E0-A80B-90A8-5463EB97D67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59400" y="5924550"/>
              <a:ext cx="287338" cy="288925"/>
            </a:xfrm>
            <a:custGeom>
              <a:avLst/>
              <a:gdLst>
                <a:gd name="T0" fmla="*/ 937 w 1874"/>
                <a:gd name="T1" fmla="*/ 0 h 1874"/>
                <a:gd name="T2" fmla="*/ 0 w 1874"/>
                <a:gd name="T3" fmla="*/ 937 h 1874"/>
                <a:gd name="T4" fmla="*/ 937 w 1874"/>
                <a:gd name="T5" fmla="*/ 1874 h 1874"/>
                <a:gd name="T6" fmla="*/ 1874 w 1874"/>
                <a:gd name="T7" fmla="*/ 937 h 1874"/>
                <a:gd name="T8" fmla="*/ 937 w 1874"/>
                <a:gd name="T9" fmla="*/ 0 h 1874"/>
                <a:gd name="T10" fmla="*/ 937 w 1874"/>
                <a:gd name="T11" fmla="*/ 1750 h 1874"/>
                <a:gd name="T12" fmla="*/ 125 w 1874"/>
                <a:gd name="T13" fmla="*/ 937 h 1874"/>
                <a:gd name="T14" fmla="*/ 937 w 1874"/>
                <a:gd name="T15" fmla="*/ 125 h 1874"/>
                <a:gd name="T16" fmla="*/ 1749 w 1874"/>
                <a:gd name="T17" fmla="*/ 937 h 1874"/>
                <a:gd name="T18" fmla="*/ 937 w 1874"/>
                <a:gd name="T19" fmla="*/ 1750 h 18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74" h="1874">
                  <a:moveTo>
                    <a:pt x="937" y="0"/>
                  </a:moveTo>
                  <a:cubicBezTo>
                    <a:pt x="420" y="0"/>
                    <a:pt x="0" y="420"/>
                    <a:pt x="0" y="937"/>
                  </a:cubicBezTo>
                  <a:cubicBezTo>
                    <a:pt x="0" y="1455"/>
                    <a:pt x="420" y="1874"/>
                    <a:pt x="937" y="1874"/>
                  </a:cubicBezTo>
                  <a:cubicBezTo>
                    <a:pt x="1455" y="1874"/>
                    <a:pt x="1874" y="1455"/>
                    <a:pt x="1874" y="937"/>
                  </a:cubicBezTo>
                  <a:cubicBezTo>
                    <a:pt x="1873" y="420"/>
                    <a:pt x="1454" y="1"/>
                    <a:pt x="937" y="0"/>
                  </a:cubicBezTo>
                  <a:moveTo>
                    <a:pt x="937" y="1750"/>
                  </a:moveTo>
                  <a:cubicBezTo>
                    <a:pt x="489" y="1750"/>
                    <a:pt x="125" y="1386"/>
                    <a:pt x="125" y="937"/>
                  </a:cubicBezTo>
                  <a:cubicBezTo>
                    <a:pt x="125" y="489"/>
                    <a:pt x="489" y="125"/>
                    <a:pt x="937" y="125"/>
                  </a:cubicBezTo>
                  <a:cubicBezTo>
                    <a:pt x="1386" y="125"/>
                    <a:pt x="1749" y="489"/>
                    <a:pt x="1749" y="937"/>
                  </a:cubicBezTo>
                  <a:cubicBezTo>
                    <a:pt x="1749" y="1386"/>
                    <a:pt x="1385" y="1749"/>
                    <a:pt x="937" y="175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5" name="Freeform 20">
              <a:extLst>
                <a:ext uri="{FF2B5EF4-FFF2-40B4-BE49-F238E27FC236}">
                  <a16:creationId xmlns:a16="http://schemas.microsoft.com/office/drawing/2014/main" id="{00AFC552-E171-3E1C-7200-6F19140AF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5416550" y="5961063"/>
              <a:ext cx="131763" cy="157163"/>
            </a:xfrm>
            <a:custGeom>
              <a:avLst/>
              <a:gdLst>
                <a:gd name="T0" fmla="*/ 563 w 862"/>
                <a:gd name="T1" fmla="*/ 260 h 1020"/>
                <a:gd name="T2" fmla="*/ 645 w 862"/>
                <a:gd name="T3" fmla="*/ 269 h 1020"/>
                <a:gd name="T4" fmla="*/ 553 w 862"/>
                <a:gd name="T5" fmla="*/ 327 h 1020"/>
                <a:gd name="T6" fmla="*/ 620 w 862"/>
                <a:gd name="T7" fmla="*/ 433 h 1020"/>
                <a:gd name="T8" fmla="*/ 831 w 862"/>
                <a:gd name="T9" fmla="*/ 300 h 1020"/>
                <a:gd name="T10" fmla="*/ 859 w 862"/>
                <a:gd name="T11" fmla="*/ 259 h 1020"/>
                <a:gd name="T12" fmla="*/ 848 w 862"/>
                <a:gd name="T13" fmla="*/ 210 h 1020"/>
                <a:gd name="T14" fmla="*/ 694 w 862"/>
                <a:gd name="T15" fmla="*/ 0 h 1020"/>
                <a:gd name="T16" fmla="*/ 593 w 862"/>
                <a:gd name="T17" fmla="*/ 73 h 1020"/>
                <a:gd name="T18" fmla="*/ 643 w 862"/>
                <a:gd name="T19" fmla="*/ 141 h 1020"/>
                <a:gd name="T20" fmla="*/ 194 w 862"/>
                <a:gd name="T21" fmla="*/ 272 h 1020"/>
                <a:gd name="T22" fmla="*/ 1 w 862"/>
                <a:gd name="T23" fmla="*/ 697 h 1020"/>
                <a:gd name="T24" fmla="*/ 103 w 862"/>
                <a:gd name="T25" fmla="*/ 1020 h 1020"/>
                <a:gd name="T26" fmla="*/ 205 w 862"/>
                <a:gd name="T27" fmla="*/ 948 h 1020"/>
                <a:gd name="T28" fmla="*/ 175 w 862"/>
                <a:gd name="T29" fmla="*/ 496 h 1020"/>
                <a:gd name="T30" fmla="*/ 563 w 862"/>
                <a:gd name="T31" fmla="*/ 260 h 10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62" h="1020">
                  <a:moveTo>
                    <a:pt x="563" y="260"/>
                  </a:moveTo>
                  <a:cubicBezTo>
                    <a:pt x="591" y="260"/>
                    <a:pt x="618" y="263"/>
                    <a:pt x="645" y="269"/>
                  </a:cubicBezTo>
                  <a:cubicBezTo>
                    <a:pt x="553" y="327"/>
                    <a:pt x="553" y="327"/>
                    <a:pt x="553" y="327"/>
                  </a:cubicBezTo>
                  <a:cubicBezTo>
                    <a:pt x="620" y="433"/>
                    <a:pt x="620" y="433"/>
                    <a:pt x="620" y="433"/>
                  </a:cubicBezTo>
                  <a:cubicBezTo>
                    <a:pt x="831" y="300"/>
                    <a:pt x="831" y="300"/>
                    <a:pt x="831" y="300"/>
                  </a:cubicBezTo>
                  <a:cubicBezTo>
                    <a:pt x="845" y="291"/>
                    <a:pt x="855" y="276"/>
                    <a:pt x="859" y="259"/>
                  </a:cubicBezTo>
                  <a:cubicBezTo>
                    <a:pt x="862" y="242"/>
                    <a:pt x="858" y="224"/>
                    <a:pt x="848" y="210"/>
                  </a:cubicBezTo>
                  <a:cubicBezTo>
                    <a:pt x="694" y="0"/>
                    <a:pt x="694" y="0"/>
                    <a:pt x="694" y="0"/>
                  </a:cubicBezTo>
                  <a:cubicBezTo>
                    <a:pt x="593" y="73"/>
                    <a:pt x="593" y="73"/>
                    <a:pt x="593" y="73"/>
                  </a:cubicBezTo>
                  <a:cubicBezTo>
                    <a:pt x="643" y="141"/>
                    <a:pt x="643" y="141"/>
                    <a:pt x="643" y="141"/>
                  </a:cubicBezTo>
                  <a:cubicBezTo>
                    <a:pt x="482" y="117"/>
                    <a:pt x="318" y="165"/>
                    <a:pt x="194" y="272"/>
                  </a:cubicBezTo>
                  <a:cubicBezTo>
                    <a:pt x="71" y="379"/>
                    <a:pt x="0" y="534"/>
                    <a:pt x="1" y="697"/>
                  </a:cubicBezTo>
                  <a:cubicBezTo>
                    <a:pt x="1" y="813"/>
                    <a:pt x="36" y="926"/>
                    <a:pt x="103" y="1020"/>
                  </a:cubicBezTo>
                  <a:cubicBezTo>
                    <a:pt x="205" y="948"/>
                    <a:pt x="205" y="948"/>
                    <a:pt x="205" y="948"/>
                  </a:cubicBezTo>
                  <a:cubicBezTo>
                    <a:pt x="111" y="815"/>
                    <a:pt x="100" y="640"/>
                    <a:pt x="175" y="496"/>
                  </a:cubicBezTo>
                  <a:cubicBezTo>
                    <a:pt x="250" y="351"/>
                    <a:pt x="400" y="260"/>
                    <a:pt x="563" y="26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6" name="Freeform 21">
              <a:extLst>
                <a:ext uri="{FF2B5EF4-FFF2-40B4-BE49-F238E27FC236}">
                  <a16:creationId xmlns:a16="http://schemas.microsoft.com/office/drawing/2014/main" id="{F6F19E9A-42F5-A732-3AED-B6AE63D5F8D2}"/>
                </a:ext>
              </a:extLst>
            </p:cNvPr>
            <p:cNvSpPr>
              <a:spLocks/>
            </p:cNvSpPr>
            <p:nvPr/>
          </p:nvSpPr>
          <p:spPr bwMode="auto">
            <a:xfrm>
              <a:off x="5456238" y="6018213"/>
              <a:ext cx="138113" cy="157163"/>
            </a:xfrm>
            <a:custGeom>
              <a:avLst/>
              <a:gdLst>
                <a:gd name="T0" fmla="*/ 657 w 894"/>
                <a:gd name="T1" fmla="*/ 72 h 1021"/>
                <a:gd name="T2" fmla="*/ 686 w 894"/>
                <a:gd name="T3" fmla="*/ 525 h 1021"/>
                <a:gd name="T4" fmla="*/ 298 w 894"/>
                <a:gd name="T5" fmla="*/ 760 h 1021"/>
                <a:gd name="T6" fmla="*/ 216 w 894"/>
                <a:gd name="T7" fmla="*/ 752 h 1021"/>
                <a:gd name="T8" fmla="*/ 308 w 894"/>
                <a:gd name="T9" fmla="*/ 694 h 1021"/>
                <a:gd name="T10" fmla="*/ 242 w 894"/>
                <a:gd name="T11" fmla="*/ 588 h 1021"/>
                <a:gd name="T12" fmla="*/ 31 w 894"/>
                <a:gd name="T13" fmla="*/ 721 h 1021"/>
                <a:gd name="T14" fmla="*/ 3 w 894"/>
                <a:gd name="T15" fmla="*/ 762 h 1021"/>
                <a:gd name="T16" fmla="*/ 14 w 894"/>
                <a:gd name="T17" fmla="*/ 810 h 1021"/>
                <a:gd name="T18" fmla="*/ 167 w 894"/>
                <a:gd name="T19" fmla="*/ 1021 h 1021"/>
                <a:gd name="T20" fmla="*/ 268 w 894"/>
                <a:gd name="T21" fmla="*/ 947 h 1021"/>
                <a:gd name="T22" fmla="*/ 218 w 894"/>
                <a:gd name="T23" fmla="*/ 879 h 1021"/>
                <a:gd name="T24" fmla="*/ 777 w 894"/>
                <a:gd name="T25" fmla="*/ 617 h 1021"/>
                <a:gd name="T26" fmla="*/ 759 w 894"/>
                <a:gd name="T27" fmla="*/ 0 h 1021"/>
                <a:gd name="T28" fmla="*/ 657 w 894"/>
                <a:gd name="T29" fmla="*/ 72 h 10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94" h="1021">
                  <a:moveTo>
                    <a:pt x="657" y="72"/>
                  </a:moveTo>
                  <a:cubicBezTo>
                    <a:pt x="750" y="206"/>
                    <a:pt x="762" y="380"/>
                    <a:pt x="686" y="525"/>
                  </a:cubicBezTo>
                  <a:cubicBezTo>
                    <a:pt x="611" y="670"/>
                    <a:pt x="462" y="761"/>
                    <a:pt x="298" y="760"/>
                  </a:cubicBezTo>
                  <a:cubicBezTo>
                    <a:pt x="271" y="760"/>
                    <a:pt x="243" y="757"/>
                    <a:pt x="216" y="752"/>
                  </a:cubicBezTo>
                  <a:cubicBezTo>
                    <a:pt x="308" y="694"/>
                    <a:pt x="308" y="694"/>
                    <a:pt x="308" y="694"/>
                  </a:cubicBezTo>
                  <a:cubicBezTo>
                    <a:pt x="242" y="588"/>
                    <a:pt x="242" y="588"/>
                    <a:pt x="242" y="588"/>
                  </a:cubicBezTo>
                  <a:cubicBezTo>
                    <a:pt x="31" y="721"/>
                    <a:pt x="31" y="721"/>
                    <a:pt x="31" y="721"/>
                  </a:cubicBezTo>
                  <a:cubicBezTo>
                    <a:pt x="16" y="730"/>
                    <a:pt x="6" y="745"/>
                    <a:pt x="3" y="762"/>
                  </a:cubicBezTo>
                  <a:cubicBezTo>
                    <a:pt x="0" y="779"/>
                    <a:pt x="3" y="796"/>
                    <a:pt x="14" y="810"/>
                  </a:cubicBezTo>
                  <a:cubicBezTo>
                    <a:pt x="167" y="1021"/>
                    <a:pt x="167" y="1021"/>
                    <a:pt x="167" y="1021"/>
                  </a:cubicBezTo>
                  <a:cubicBezTo>
                    <a:pt x="268" y="947"/>
                    <a:pt x="268" y="947"/>
                    <a:pt x="268" y="947"/>
                  </a:cubicBezTo>
                  <a:cubicBezTo>
                    <a:pt x="218" y="879"/>
                    <a:pt x="218" y="879"/>
                    <a:pt x="218" y="879"/>
                  </a:cubicBezTo>
                  <a:cubicBezTo>
                    <a:pt x="440" y="911"/>
                    <a:pt x="659" y="808"/>
                    <a:pt x="777" y="617"/>
                  </a:cubicBezTo>
                  <a:cubicBezTo>
                    <a:pt x="894" y="426"/>
                    <a:pt x="887" y="184"/>
                    <a:pt x="759" y="0"/>
                  </a:cubicBezTo>
                  <a:lnTo>
                    <a:pt x="657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95FFB2E9-59F9-CB5B-62B4-94E005241C0F}"/>
              </a:ext>
            </a:extLst>
          </p:cNvPr>
          <p:cNvGrpSpPr/>
          <p:nvPr/>
        </p:nvGrpSpPr>
        <p:grpSpPr>
          <a:xfrm>
            <a:off x="4515071" y="2376894"/>
            <a:ext cx="416963" cy="417819"/>
            <a:chOff x="2174875" y="4595813"/>
            <a:chExt cx="771525" cy="773113"/>
          </a:xfrm>
          <a:solidFill>
            <a:schemeClr val="bg1"/>
          </a:solidFill>
        </p:grpSpPr>
        <p:sp>
          <p:nvSpPr>
            <p:cNvPr id="88" name="Freeform 24">
              <a:extLst>
                <a:ext uri="{FF2B5EF4-FFF2-40B4-BE49-F238E27FC236}">
                  <a16:creationId xmlns:a16="http://schemas.microsoft.com/office/drawing/2014/main" id="{04C4BB72-19A7-5357-366C-898C0DDB57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17775" y="5100638"/>
              <a:ext cx="77788" cy="77788"/>
            </a:xfrm>
            <a:custGeom>
              <a:avLst/>
              <a:gdLst>
                <a:gd name="T0" fmla="*/ 121 w 242"/>
                <a:gd name="T1" fmla="*/ 0 h 242"/>
                <a:gd name="T2" fmla="*/ 0 w 242"/>
                <a:gd name="T3" fmla="*/ 121 h 242"/>
                <a:gd name="T4" fmla="*/ 121 w 242"/>
                <a:gd name="T5" fmla="*/ 242 h 242"/>
                <a:gd name="T6" fmla="*/ 242 w 242"/>
                <a:gd name="T7" fmla="*/ 121 h 242"/>
                <a:gd name="T8" fmla="*/ 121 w 242"/>
                <a:gd name="T9" fmla="*/ 0 h 242"/>
                <a:gd name="T10" fmla="*/ 121 w 242"/>
                <a:gd name="T11" fmla="*/ 149 h 242"/>
                <a:gd name="T12" fmla="*/ 93 w 242"/>
                <a:gd name="T13" fmla="*/ 121 h 242"/>
                <a:gd name="T14" fmla="*/ 121 w 242"/>
                <a:gd name="T15" fmla="*/ 93 h 242"/>
                <a:gd name="T16" fmla="*/ 149 w 242"/>
                <a:gd name="T17" fmla="*/ 121 h 242"/>
                <a:gd name="T18" fmla="*/ 121 w 242"/>
                <a:gd name="T19" fmla="*/ 149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2" h="242">
                  <a:moveTo>
                    <a:pt x="121" y="0"/>
                  </a:moveTo>
                  <a:cubicBezTo>
                    <a:pt x="54" y="0"/>
                    <a:pt x="0" y="54"/>
                    <a:pt x="0" y="121"/>
                  </a:cubicBezTo>
                  <a:cubicBezTo>
                    <a:pt x="0" y="188"/>
                    <a:pt x="54" y="242"/>
                    <a:pt x="121" y="242"/>
                  </a:cubicBezTo>
                  <a:cubicBezTo>
                    <a:pt x="188" y="242"/>
                    <a:pt x="242" y="188"/>
                    <a:pt x="242" y="121"/>
                  </a:cubicBezTo>
                  <a:cubicBezTo>
                    <a:pt x="242" y="54"/>
                    <a:pt x="188" y="0"/>
                    <a:pt x="121" y="0"/>
                  </a:cubicBezTo>
                  <a:close/>
                  <a:moveTo>
                    <a:pt x="121" y="149"/>
                  </a:moveTo>
                  <a:cubicBezTo>
                    <a:pt x="106" y="149"/>
                    <a:pt x="93" y="137"/>
                    <a:pt x="93" y="121"/>
                  </a:cubicBezTo>
                  <a:cubicBezTo>
                    <a:pt x="93" y="106"/>
                    <a:pt x="106" y="93"/>
                    <a:pt x="121" y="93"/>
                  </a:cubicBezTo>
                  <a:cubicBezTo>
                    <a:pt x="136" y="93"/>
                    <a:pt x="149" y="106"/>
                    <a:pt x="149" y="121"/>
                  </a:cubicBezTo>
                  <a:cubicBezTo>
                    <a:pt x="149" y="137"/>
                    <a:pt x="136" y="149"/>
                    <a:pt x="121" y="1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9" name="Freeform 25">
              <a:extLst>
                <a:ext uri="{FF2B5EF4-FFF2-40B4-BE49-F238E27FC236}">
                  <a16:creationId xmlns:a16="http://schemas.microsoft.com/office/drawing/2014/main" id="{F32CA96C-4523-A53C-44C8-C32368A1C96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2713" y="5046663"/>
              <a:ext cx="30163" cy="30163"/>
            </a:xfrm>
            <a:custGeom>
              <a:avLst/>
              <a:gdLst>
                <a:gd name="T0" fmla="*/ 79 w 93"/>
                <a:gd name="T1" fmla="*/ 14 h 93"/>
                <a:gd name="T2" fmla="*/ 46 w 93"/>
                <a:gd name="T3" fmla="*/ 0 h 93"/>
                <a:gd name="T4" fmla="*/ 13 w 93"/>
                <a:gd name="T5" fmla="*/ 14 h 93"/>
                <a:gd name="T6" fmla="*/ 0 w 93"/>
                <a:gd name="T7" fmla="*/ 47 h 93"/>
                <a:gd name="T8" fmla="*/ 13 w 93"/>
                <a:gd name="T9" fmla="*/ 80 h 93"/>
                <a:gd name="T10" fmla="*/ 46 w 93"/>
                <a:gd name="T11" fmla="*/ 93 h 93"/>
                <a:gd name="T12" fmla="*/ 79 w 93"/>
                <a:gd name="T13" fmla="*/ 80 h 93"/>
                <a:gd name="T14" fmla="*/ 93 w 93"/>
                <a:gd name="T15" fmla="*/ 47 h 93"/>
                <a:gd name="T16" fmla="*/ 79 w 93"/>
                <a:gd name="T17" fmla="*/ 14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3" h="93">
                  <a:moveTo>
                    <a:pt x="79" y="14"/>
                  </a:moveTo>
                  <a:cubicBezTo>
                    <a:pt x="71" y="5"/>
                    <a:pt x="59" y="0"/>
                    <a:pt x="46" y="0"/>
                  </a:cubicBezTo>
                  <a:cubicBezTo>
                    <a:pt x="34" y="0"/>
                    <a:pt x="22" y="5"/>
                    <a:pt x="13" y="14"/>
                  </a:cubicBezTo>
                  <a:cubicBezTo>
                    <a:pt x="5" y="23"/>
                    <a:pt x="0" y="35"/>
                    <a:pt x="0" y="47"/>
                  </a:cubicBezTo>
                  <a:cubicBezTo>
                    <a:pt x="0" y="59"/>
                    <a:pt x="5" y="71"/>
                    <a:pt x="13" y="80"/>
                  </a:cubicBezTo>
                  <a:cubicBezTo>
                    <a:pt x="22" y="89"/>
                    <a:pt x="34" y="93"/>
                    <a:pt x="46" y="93"/>
                  </a:cubicBezTo>
                  <a:cubicBezTo>
                    <a:pt x="59" y="93"/>
                    <a:pt x="71" y="89"/>
                    <a:pt x="79" y="80"/>
                  </a:cubicBezTo>
                  <a:cubicBezTo>
                    <a:pt x="88" y="71"/>
                    <a:pt x="93" y="59"/>
                    <a:pt x="93" y="47"/>
                  </a:cubicBezTo>
                  <a:cubicBezTo>
                    <a:pt x="93" y="35"/>
                    <a:pt x="88" y="23"/>
                    <a:pt x="79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0" name="Freeform 26">
              <a:extLst>
                <a:ext uri="{FF2B5EF4-FFF2-40B4-BE49-F238E27FC236}">
                  <a16:creationId xmlns:a16="http://schemas.microsoft.com/office/drawing/2014/main" id="{9CA5DD5D-78F2-7779-8FF9-3CAB083562C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74875" y="4595813"/>
              <a:ext cx="771525" cy="773113"/>
            </a:xfrm>
            <a:custGeom>
              <a:avLst/>
              <a:gdLst>
                <a:gd name="T0" fmla="*/ 2099 w 2382"/>
                <a:gd name="T1" fmla="*/ 675 h 2387"/>
                <a:gd name="T2" fmla="*/ 1377 w 2382"/>
                <a:gd name="T3" fmla="*/ 19 h 2387"/>
                <a:gd name="T4" fmla="*/ 537 w 2382"/>
                <a:gd name="T5" fmla="*/ 7 h 2387"/>
                <a:gd name="T6" fmla="*/ 310 w 2382"/>
                <a:gd name="T7" fmla="*/ 675 h 2387"/>
                <a:gd name="T8" fmla="*/ 0 w 2382"/>
                <a:gd name="T9" fmla="*/ 870 h 2387"/>
                <a:gd name="T10" fmla="*/ 0 w 2382"/>
                <a:gd name="T11" fmla="*/ 882 h 2387"/>
                <a:gd name="T12" fmla="*/ 233 w 2382"/>
                <a:gd name="T13" fmla="*/ 2387 h 2387"/>
                <a:gd name="T14" fmla="*/ 1900 w 2382"/>
                <a:gd name="T15" fmla="*/ 2387 h 2387"/>
                <a:gd name="T16" fmla="*/ 2382 w 2382"/>
                <a:gd name="T17" fmla="*/ 2154 h 2387"/>
                <a:gd name="T18" fmla="*/ 2149 w 2382"/>
                <a:gd name="T19" fmla="*/ 675 h 2387"/>
                <a:gd name="T20" fmla="*/ 2149 w 2382"/>
                <a:gd name="T21" fmla="*/ 768 h 2387"/>
                <a:gd name="T22" fmla="*/ 2289 w 2382"/>
                <a:gd name="T23" fmla="*/ 1280 h 2387"/>
                <a:gd name="T24" fmla="*/ 2130 w 2382"/>
                <a:gd name="T25" fmla="*/ 1391 h 2387"/>
                <a:gd name="T26" fmla="*/ 1903 w 2382"/>
                <a:gd name="T27" fmla="*/ 973 h 2387"/>
                <a:gd name="T28" fmla="*/ 1256 w 2382"/>
                <a:gd name="T29" fmla="*/ 272 h 2387"/>
                <a:gd name="T30" fmla="*/ 1410 w 2382"/>
                <a:gd name="T31" fmla="*/ 118 h 2387"/>
                <a:gd name="T32" fmla="*/ 1773 w 2382"/>
                <a:gd name="T33" fmla="*/ 971 h 2387"/>
                <a:gd name="T34" fmla="*/ 1799 w 2382"/>
                <a:gd name="T35" fmla="*/ 860 h 2387"/>
                <a:gd name="T36" fmla="*/ 1799 w 2382"/>
                <a:gd name="T37" fmla="*/ 658 h 2387"/>
                <a:gd name="T38" fmla="*/ 1544 w 2382"/>
                <a:gd name="T39" fmla="*/ 337 h 2387"/>
                <a:gd name="T40" fmla="*/ 1342 w 2382"/>
                <a:gd name="T41" fmla="*/ 337 h 2387"/>
                <a:gd name="T42" fmla="*/ 642 w 2382"/>
                <a:gd name="T43" fmla="*/ 971 h 2387"/>
                <a:gd name="T44" fmla="*/ 1256 w 2382"/>
                <a:gd name="T45" fmla="*/ 272 h 2387"/>
                <a:gd name="T46" fmla="*/ 902 w 2382"/>
                <a:gd name="T47" fmla="*/ 971 h 2387"/>
                <a:gd name="T48" fmla="*/ 1313 w 2382"/>
                <a:gd name="T49" fmla="*/ 431 h 2387"/>
                <a:gd name="T50" fmla="*/ 1704 w 2382"/>
                <a:gd name="T51" fmla="*/ 629 h 2387"/>
                <a:gd name="T52" fmla="*/ 1556 w 2382"/>
                <a:gd name="T53" fmla="*/ 971 h 2387"/>
                <a:gd name="T54" fmla="*/ 1119 w 2382"/>
                <a:gd name="T55" fmla="*/ 796 h 2387"/>
                <a:gd name="T56" fmla="*/ 999 w 2382"/>
                <a:gd name="T57" fmla="*/ 971 h 2387"/>
                <a:gd name="T58" fmla="*/ 1239 w 2382"/>
                <a:gd name="T59" fmla="*/ 971 h 2387"/>
                <a:gd name="T60" fmla="*/ 631 w 2382"/>
                <a:gd name="T61" fmla="*/ 429 h 2387"/>
                <a:gd name="T62" fmla="*/ 799 w 2382"/>
                <a:gd name="T63" fmla="*/ 332 h 2387"/>
                <a:gd name="T64" fmla="*/ 704 w 2382"/>
                <a:gd name="T65" fmla="*/ 692 h 2387"/>
                <a:gd name="T66" fmla="*/ 558 w 2382"/>
                <a:gd name="T67" fmla="*/ 109 h 2387"/>
                <a:gd name="T68" fmla="*/ 1084 w 2382"/>
                <a:gd name="T69" fmla="*/ 312 h 2387"/>
                <a:gd name="T70" fmla="*/ 748 w 2382"/>
                <a:gd name="T71" fmla="*/ 236 h 2387"/>
                <a:gd name="T72" fmla="*/ 681 w 2382"/>
                <a:gd name="T73" fmla="*/ 323 h 2387"/>
                <a:gd name="T74" fmla="*/ 551 w 2382"/>
                <a:gd name="T75" fmla="*/ 366 h 2387"/>
                <a:gd name="T76" fmla="*/ 326 w 2382"/>
                <a:gd name="T77" fmla="*/ 973 h 2387"/>
                <a:gd name="T78" fmla="*/ 196 w 2382"/>
                <a:gd name="T79" fmla="*/ 768 h 2387"/>
                <a:gd name="T80" fmla="*/ 230 w 2382"/>
                <a:gd name="T81" fmla="*/ 973 h 2387"/>
                <a:gd name="T82" fmla="*/ 93 w 2382"/>
                <a:gd name="T83" fmla="*/ 870 h 2387"/>
                <a:gd name="T84" fmla="*/ 2289 w 2382"/>
                <a:gd name="T85" fmla="*/ 2154 h 2387"/>
                <a:gd name="T86" fmla="*/ 2084 w 2382"/>
                <a:gd name="T87" fmla="*/ 2293 h 2387"/>
                <a:gd name="T88" fmla="*/ 2130 w 2382"/>
                <a:gd name="T89" fmla="*/ 1967 h 2387"/>
                <a:gd name="T90" fmla="*/ 2289 w 2382"/>
                <a:gd name="T91" fmla="*/ 1925 h 2387"/>
                <a:gd name="T92" fmla="*/ 2289 w 2382"/>
                <a:gd name="T93" fmla="*/ 1744 h 2387"/>
                <a:gd name="T94" fmla="*/ 1182 w 2382"/>
                <a:gd name="T95" fmla="*/ 1874 h 2387"/>
                <a:gd name="T96" fmla="*/ 1182 w 2382"/>
                <a:gd name="T97" fmla="*/ 1484 h 2387"/>
                <a:gd name="T98" fmla="*/ 1369 w 2382"/>
                <a:gd name="T99" fmla="*/ 1437 h 2387"/>
                <a:gd name="T100" fmla="*/ 1182 w 2382"/>
                <a:gd name="T101" fmla="*/ 1391 h 2387"/>
                <a:gd name="T102" fmla="*/ 1182 w 2382"/>
                <a:gd name="T103" fmla="*/ 1967 h 2387"/>
                <a:gd name="T104" fmla="*/ 2037 w 2382"/>
                <a:gd name="T105" fmla="*/ 2154 h 2387"/>
                <a:gd name="T106" fmla="*/ 317 w 2382"/>
                <a:gd name="T107" fmla="*/ 2294 h 2387"/>
                <a:gd name="T108" fmla="*/ 270 w 2382"/>
                <a:gd name="T109" fmla="*/ 1723 h 2387"/>
                <a:gd name="T110" fmla="*/ 224 w 2382"/>
                <a:gd name="T111" fmla="*/ 2293 h 2387"/>
                <a:gd name="T112" fmla="*/ 93 w 2382"/>
                <a:gd name="T113" fmla="*/ 1037 h 2387"/>
                <a:gd name="T114" fmla="*/ 1898 w 2382"/>
                <a:gd name="T115" fmla="*/ 1066 h 2387"/>
                <a:gd name="T116" fmla="*/ 2037 w 2382"/>
                <a:gd name="T117" fmla="*/ 1391 h 2387"/>
                <a:gd name="T118" fmla="*/ 1655 w 2382"/>
                <a:gd name="T119" fmla="*/ 1437 h 2387"/>
                <a:gd name="T120" fmla="*/ 2178 w 2382"/>
                <a:gd name="T121" fmla="*/ 1484 h 2387"/>
                <a:gd name="T122" fmla="*/ 2289 w 2382"/>
                <a:gd name="T123" fmla="*/ 1744 h 2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82" h="2387">
                  <a:moveTo>
                    <a:pt x="2149" y="675"/>
                  </a:moveTo>
                  <a:cubicBezTo>
                    <a:pt x="2099" y="675"/>
                    <a:pt x="2099" y="675"/>
                    <a:pt x="2099" y="675"/>
                  </a:cubicBezTo>
                  <a:cubicBezTo>
                    <a:pt x="1443" y="19"/>
                    <a:pt x="1443" y="19"/>
                    <a:pt x="1443" y="19"/>
                  </a:cubicBezTo>
                  <a:cubicBezTo>
                    <a:pt x="1425" y="1"/>
                    <a:pt x="1395" y="1"/>
                    <a:pt x="1377" y="19"/>
                  </a:cubicBezTo>
                  <a:cubicBezTo>
                    <a:pt x="1209" y="187"/>
                    <a:pt x="1209" y="187"/>
                    <a:pt x="1209" y="187"/>
                  </a:cubicBezTo>
                  <a:cubicBezTo>
                    <a:pt x="537" y="7"/>
                    <a:pt x="537" y="7"/>
                    <a:pt x="537" y="7"/>
                  </a:cubicBezTo>
                  <a:cubicBezTo>
                    <a:pt x="512" y="0"/>
                    <a:pt x="487" y="15"/>
                    <a:pt x="480" y="40"/>
                  </a:cubicBezTo>
                  <a:cubicBezTo>
                    <a:pt x="310" y="675"/>
                    <a:pt x="310" y="675"/>
                    <a:pt x="310" y="675"/>
                  </a:cubicBezTo>
                  <a:cubicBezTo>
                    <a:pt x="196" y="675"/>
                    <a:pt x="196" y="675"/>
                    <a:pt x="196" y="675"/>
                  </a:cubicBezTo>
                  <a:cubicBezTo>
                    <a:pt x="88" y="675"/>
                    <a:pt x="0" y="763"/>
                    <a:pt x="0" y="870"/>
                  </a:cubicBezTo>
                  <a:cubicBezTo>
                    <a:pt x="0" y="873"/>
                    <a:pt x="1" y="876"/>
                    <a:pt x="1" y="878"/>
                  </a:cubicBezTo>
                  <a:cubicBezTo>
                    <a:pt x="1" y="879"/>
                    <a:pt x="0" y="881"/>
                    <a:pt x="0" y="882"/>
                  </a:cubicBezTo>
                  <a:cubicBezTo>
                    <a:pt x="0" y="2154"/>
                    <a:pt x="0" y="2154"/>
                    <a:pt x="0" y="2154"/>
                  </a:cubicBezTo>
                  <a:cubicBezTo>
                    <a:pt x="0" y="2282"/>
                    <a:pt x="105" y="2387"/>
                    <a:pt x="233" y="2387"/>
                  </a:cubicBezTo>
                  <a:cubicBezTo>
                    <a:pt x="1898" y="2387"/>
                    <a:pt x="1898" y="2387"/>
                    <a:pt x="1898" y="2387"/>
                  </a:cubicBezTo>
                  <a:cubicBezTo>
                    <a:pt x="1899" y="2387"/>
                    <a:pt x="1899" y="2387"/>
                    <a:pt x="1900" y="2387"/>
                  </a:cubicBezTo>
                  <a:cubicBezTo>
                    <a:pt x="2149" y="2387"/>
                    <a:pt x="2149" y="2387"/>
                    <a:pt x="2149" y="2387"/>
                  </a:cubicBezTo>
                  <a:cubicBezTo>
                    <a:pt x="2277" y="2387"/>
                    <a:pt x="2382" y="2282"/>
                    <a:pt x="2382" y="2154"/>
                  </a:cubicBezTo>
                  <a:cubicBezTo>
                    <a:pt x="2382" y="908"/>
                    <a:pt x="2382" y="908"/>
                    <a:pt x="2382" y="908"/>
                  </a:cubicBezTo>
                  <a:cubicBezTo>
                    <a:pt x="2382" y="779"/>
                    <a:pt x="2277" y="675"/>
                    <a:pt x="2149" y="675"/>
                  </a:cubicBezTo>
                  <a:close/>
                  <a:moveTo>
                    <a:pt x="2107" y="768"/>
                  </a:moveTo>
                  <a:cubicBezTo>
                    <a:pt x="2149" y="768"/>
                    <a:pt x="2149" y="768"/>
                    <a:pt x="2149" y="768"/>
                  </a:cubicBezTo>
                  <a:cubicBezTo>
                    <a:pt x="2226" y="768"/>
                    <a:pt x="2289" y="831"/>
                    <a:pt x="2289" y="908"/>
                  </a:cubicBezTo>
                  <a:cubicBezTo>
                    <a:pt x="2289" y="1280"/>
                    <a:pt x="2289" y="1280"/>
                    <a:pt x="2289" y="1280"/>
                  </a:cubicBezTo>
                  <a:cubicBezTo>
                    <a:pt x="2289" y="1341"/>
                    <a:pt x="2239" y="1391"/>
                    <a:pt x="2178" y="1391"/>
                  </a:cubicBezTo>
                  <a:cubicBezTo>
                    <a:pt x="2130" y="1391"/>
                    <a:pt x="2130" y="1391"/>
                    <a:pt x="2130" y="1391"/>
                  </a:cubicBezTo>
                  <a:cubicBezTo>
                    <a:pt x="2130" y="1205"/>
                    <a:pt x="2130" y="1205"/>
                    <a:pt x="2130" y="1205"/>
                  </a:cubicBezTo>
                  <a:cubicBezTo>
                    <a:pt x="2130" y="1079"/>
                    <a:pt x="2029" y="975"/>
                    <a:pt x="1903" y="973"/>
                  </a:cubicBezTo>
                  <a:lnTo>
                    <a:pt x="2107" y="768"/>
                  </a:lnTo>
                  <a:close/>
                  <a:moveTo>
                    <a:pt x="1256" y="272"/>
                  </a:moveTo>
                  <a:cubicBezTo>
                    <a:pt x="1256" y="272"/>
                    <a:pt x="1256" y="272"/>
                    <a:pt x="1256" y="272"/>
                  </a:cubicBezTo>
                  <a:cubicBezTo>
                    <a:pt x="1410" y="118"/>
                    <a:pt x="1410" y="118"/>
                    <a:pt x="1410" y="118"/>
                  </a:cubicBezTo>
                  <a:cubicBezTo>
                    <a:pt x="2018" y="726"/>
                    <a:pt x="2018" y="726"/>
                    <a:pt x="2018" y="726"/>
                  </a:cubicBezTo>
                  <a:cubicBezTo>
                    <a:pt x="1773" y="971"/>
                    <a:pt x="1773" y="971"/>
                    <a:pt x="1773" y="971"/>
                  </a:cubicBezTo>
                  <a:cubicBezTo>
                    <a:pt x="1688" y="971"/>
                    <a:pt x="1688" y="971"/>
                    <a:pt x="1688" y="971"/>
                  </a:cubicBezTo>
                  <a:cubicBezTo>
                    <a:pt x="1799" y="860"/>
                    <a:pt x="1799" y="860"/>
                    <a:pt x="1799" y="860"/>
                  </a:cubicBezTo>
                  <a:cubicBezTo>
                    <a:pt x="1817" y="842"/>
                    <a:pt x="1817" y="812"/>
                    <a:pt x="1799" y="794"/>
                  </a:cubicBezTo>
                  <a:cubicBezTo>
                    <a:pt x="1761" y="756"/>
                    <a:pt x="1761" y="695"/>
                    <a:pt x="1799" y="658"/>
                  </a:cubicBezTo>
                  <a:cubicBezTo>
                    <a:pt x="1817" y="639"/>
                    <a:pt x="1817" y="610"/>
                    <a:pt x="1799" y="592"/>
                  </a:cubicBezTo>
                  <a:cubicBezTo>
                    <a:pt x="1544" y="337"/>
                    <a:pt x="1544" y="337"/>
                    <a:pt x="1544" y="337"/>
                  </a:cubicBezTo>
                  <a:cubicBezTo>
                    <a:pt x="1526" y="319"/>
                    <a:pt x="1496" y="319"/>
                    <a:pt x="1478" y="337"/>
                  </a:cubicBezTo>
                  <a:cubicBezTo>
                    <a:pt x="1441" y="374"/>
                    <a:pt x="1379" y="374"/>
                    <a:pt x="1342" y="337"/>
                  </a:cubicBezTo>
                  <a:cubicBezTo>
                    <a:pt x="1324" y="319"/>
                    <a:pt x="1294" y="319"/>
                    <a:pt x="1276" y="337"/>
                  </a:cubicBezTo>
                  <a:cubicBezTo>
                    <a:pt x="642" y="971"/>
                    <a:pt x="642" y="971"/>
                    <a:pt x="642" y="971"/>
                  </a:cubicBezTo>
                  <a:cubicBezTo>
                    <a:pt x="557" y="971"/>
                    <a:pt x="557" y="971"/>
                    <a:pt x="557" y="971"/>
                  </a:cubicBezTo>
                  <a:lnTo>
                    <a:pt x="1256" y="272"/>
                  </a:lnTo>
                  <a:close/>
                  <a:moveTo>
                    <a:pt x="1119" y="796"/>
                  </a:moveTo>
                  <a:cubicBezTo>
                    <a:pt x="1013" y="796"/>
                    <a:pt x="924" y="871"/>
                    <a:pt x="902" y="971"/>
                  </a:cubicBezTo>
                  <a:cubicBezTo>
                    <a:pt x="773" y="971"/>
                    <a:pt x="773" y="971"/>
                    <a:pt x="773" y="971"/>
                  </a:cubicBezTo>
                  <a:cubicBezTo>
                    <a:pt x="1313" y="431"/>
                    <a:pt x="1313" y="431"/>
                    <a:pt x="1313" y="431"/>
                  </a:cubicBezTo>
                  <a:cubicBezTo>
                    <a:pt x="1372" y="467"/>
                    <a:pt x="1447" y="467"/>
                    <a:pt x="1507" y="431"/>
                  </a:cubicBezTo>
                  <a:cubicBezTo>
                    <a:pt x="1704" y="629"/>
                    <a:pt x="1704" y="629"/>
                    <a:pt x="1704" y="629"/>
                  </a:cubicBezTo>
                  <a:cubicBezTo>
                    <a:pt x="1669" y="688"/>
                    <a:pt x="1669" y="763"/>
                    <a:pt x="1704" y="823"/>
                  </a:cubicBezTo>
                  <a:cubicBezTo>
                    <a:pt x="1556" y="971"/>
                    <a:pt x="1556" y="971"/>
                    <a:pt x="1556" y="971"/>
                  </a:cubicBezTo>
                  <a:cubicBezTo>
                    <a:pt x="1336" y="971"/>
                    <a:pt x="1336" y="971"/>
                    <a:pt x="1336" y="971"/>
                  </a:cubicBezTo>
                  <a:cubicBezTo>
                    <a:pt x="1314" y="871"/>
                    <a:pt x="1225" y="796"/>
                    <a:pt x="1119" y="796"/>
                  </a:cubicBezTo>
                  <a:close/>
                  <a:moveTo>
                    <a:pt x="1239" y="971"/>
                  </a:moveTo>
                  <a:cubicBezTo>
                    <a:pt x="999" y="971"/>
                    <a:pt x="999" y="971"/>
                    <a:pt x="999" y="971"/>
                  </a:cubicBezTo>
                  <a:cubicBezTo>
                    <a:pt x="1018" y="923"/>
                    <a:pt x="1065" y="889"/>
                    <a:pt x="1119" y="889"/>
                  </a:cubicBezTo>
                  <a:cubicBezTo>
                    <a:pt x="1173" y="889"/>
                    <a:pt x="1220" y="923"/>
                    <a:pt x="1239" y="971"/>
                  </a:cubicBezTo>
                  <a:close/>
                  <a:moveTo>
                    <a:pt x="507" y="889"/>
                  </a:moveTo>
                  <a:cubicBezTo>
                    <a:pt x="631" y="429"/>
                    <a:pt x="631" y="429"/>
                    <a:pt x="631" y="429"/>
                  </a:cubicBezTo>
                  <a:cubicBezTo>
                    <a:pt x="664" y="430"/>
                    <a:pt x="698" y="421"/>
                    <a:pt x="728" y="404"/>
                  </a:cubicBezTo>
                  <a:cubicBezTo>
                    <a:pt x="758" y="386"/>
                    <a:pt x="782" y="362"/>
                    <a:pt x="799" y="332"/>
                  </a:cubicBezTo>
                  <a:cubicBezTo>
                    <a:pt x="1008" y="388"/>
                    <a:pt x="1008" y="388"/>
                    <a:pt x="1008" y="388"/>
                  </a:cubicBezTo>
                  <a:cubicBezTo>
                    <a:pt x="704" y="692"/>
                    <a:pt x="704" y="692"/>
                    <a:pt x="704" y="692"/>
                  </a:cubicBezTo>
                  <a:lnTo>
                    <a:pt x="507" y="889"/>
                  </a:lnTo>
                  <a:close/>
                  <a:moveTo>
                    <a:pt x="558" y="109"/>
                  </a:moveTo>
                  <a:cubicBezTo>
                    <a:pt x="1133" y="263"/>
                    <a:pt x="1133" y="263"/>
                    <a:pt x="1133" y="263"/>
                  </a:cubicBezTo>
                  <a:cubicBezTo>
                    <a:pt x="1084" y="312"/>
                    <a:pt x="1084" y="312"/>
                    <a:pt x="1084" y="312"/>
                  </a:cubicBezTo>
                  <a:cubicBezTo>
                    <a:pt x="783" y="232"/>
                    <a:pt x="783" y="232"/>
                    <a:pt x="783" y="232"/>
                  </a:cubicBezTo>
                  <a:cubicBezTo>
                    <a:pt x="771" y="228"/>
                    <a:pt x="759" y="230"/>
                    <a:pt x="748" y="236"/>
                  </a:cubicBezTo>
                  <a:cubicBezTo>
                    <a:pt x="737" y="242"/>
                    <a:pt x="730" y="253"/>
                    <a:pt x="726" y="265"/>
                  </a:cubicBezTo>
                  <a:cubicBezTo>
                    <a:pt x="720" y="289"/>
                    <a:pt x="704" y="310"/>
                    <a:pt x="681" y="323"/>
                  </a:cubicBezTo>
                  <a:cubicBezTo>
                    <a:pt x="659" y="336"/>
                    <a:pt x="633" y="339"/>
                    <a:pt x="608" y="333"/>
                  </a:cubicBezTo>
                  <a:cubicBezTo>
                    <a:pt x="583" y="326"/>
                    <a:pt x="558" y="341"/>
                    <a:pt x="551" y="366"/>
                  </a:cubicBezTo>
                  <a:cubicBezTo>
                    <a:pt x="389" y="973"/>
                    <a:pt x="389" y="973"/>
                    <a:pt x="389" y="973"/>
                  </a:cubicBezTo>
                  <a:cubicBezTo>
                    <a:pt x="326" y="973"/>
                    <a:pt x="326" y="973"/>
                    <a:pt x="326" y="973"/>
                  </a:cubicBezTo>
                  <a:lnTo>
                    <a:pt x="558" y="109"/>
                  </a:lnTo>
                  <a:close/>
                  <a:moveTo>
                    <a:pt x="196" y="768"/>
                  </a:moveTo>
                  <a:cubicBezTo>
                    <a:pt x="285" y="768"/>
                    <a:pt x="285" y="768"/>
                    <a:pt x="285" y="768"/>
                  </a:cubicBezTo>
                  <a:cubicBezTo>
                    <a:pt x="230" y="973"/>
                    <a:pt x="230" y="973"/>
                    <a:pt x="230" y="973"/>
                  </a:cubicBezTo>
                  <a:cubicBezTo>
                    <a:pt x="196" y="973"/>
                    <a:pt x="196" y="973"/>
                    <a:pt x="196" y="973"/>
                  </a:cubicBezTo>
                  <a:cubicBezTo>
                    <a:pt x="139" y="973"/>
                    <a:pt x="93" y="927"/>
                    <a:pt x="93" y="870"/>
                  </a:cubicBezTo>
                  <a:cubicBezTo>
                    <a:pt x="93" y="814"/>
                    <a:pt x="139" y="768"/>
                    <a:pt x="196" y="768"/>
                  </a:cubicBezTo>
                  <a:close/>
                  <a:moveTo>
                    <a:pt x="2289" y="2154"/>
                  </a:moveTo>
                  <a:cubicBezTo>
                    <a:pt x="2289" y="2231"/>
                    <a:pt x="2226" y="2293"/>
                    <a:pt x="2149" y="2293"/>
                  </a:cubicBezTo>
                  <a:cubicBezTo>
                    <a:pt x="2084" y="2293"/>
                    <a:pt x="2084" y="2293"/>
                    <a:pt x="2084" y="2293"/>
                  </a:cubicBezTo>
                  <a:cubicBezTo>
                    <a:pt x="2113" y="2255"/>
                    <a:pt x="2130" y="2206"/>
                    <a:pt x="2130" y="2154"/>
                  </a:cubicBezTo>
                  <a:cubicBezTo>
                    <a:pt x="2130" y="1967"/>
                    <a:pt x="2130" y="1967"/>
                    <a:pt x="2130" y="1967"/>
                  </a:cubicBezTo>
                  <a:cubicBezTo>
                    <a:pt x="2158" y="1967"/>
                    <a:pt x="2158" y="1967"/>
                    <a:pt x="2158" y="1967"/>
                  </a:cubicBezTo>
                  <a:cubicBezTo>
                    <a:pt x="2207" y="1967"/>
                    <a:pt x="2252" y="1952"/>
                    <a:pt x="2289" y="1925"/>
                  </a:cubicBezTo>
                  <a:lnTo>
                    <a:pt x="2289" y="2154"/>
                  </a:lnTo>
                  <a:close/>
                  <a:moveTo>
                    <a:pt x="2289" y="1744"/>
                  </a:moveTo>
                  <a:cubicBezTo>
                    <a:pt x="2289" y="1816"/>
                    <a:pt x="2230" y="1874"/>
                    <a:pt x="2158" y="1874"/>
                  </a:cubicBezTo>
                  <a:cubicBezTo>
                    <a:pt x="1182" y="1874"/>
                    <a:pt x="1182" y="1874"/>
                    <a:pt x="1182" y="1874"/>
                  </a:cubicBezTo>
                  <a:cubicBezTo>
                    <a:pt x="1074" y="1874"/>
                    <a:pt x="986" y="1787"/>
                    <a:pt x="986" y="1679"/>
                  </a:cubicBezTo>
                  <a:cubicBezTo>
                    <a:pt x="986" y="1571"/>
                    <a:pt x="1074" y="1484"/>
                    <a:pt x="1182" y="1484"/>
                  </a:cubicBezTo>
                  <a:cubicBezTo>
                    <a:pt x="1323" y="1484"/>
                    <a:pt x="1323" y="1484"/>
                    <a:pt x="1323" y="1484"/>
                  </a:cubicBezTo>
                  <a:cubicBezTo>
                    <a:pt x="1348" y="1484"/>
                    <a:pt x="1369" y="1463"/>
                    <a:pt x="1369" y="1437"/>
                  </a:cubicBezTo>
                  <a:cubicBezTo>
                    <a:pt x="1369" y="1411"/>
                    <a:pt x="1348" y="1391"/>
                    <a:pt x="1323" y="1391"/>
                  </a:cubicBezTo>
                  <a:cubicBezTo>
                    <a:pt x="1182" y="1391"/>
                    <a:pt x="1182" y="1391"/>
                    <a:pt x="1182" y="1391"/>
                  </a:cubicBezTo>
                  <a:cubicBezTo>
                    <a:pt x="1023" y="1391"/>
                    <a:pt x="893" y="1520"/>
                    <a:pt x="893" y="1679"/>
                  </a:cubicBezTo>
                  <a:cubicBezTo>
                    <a:pt x="893" y="1838"/>
                    <a:pt x="1023" y="1967"/>
                    <a:pt x="1182" y="1967"/>
                  </a:cubicBezTo>
                  <a:cubicBezTo>
                    <a:pt x="2037" y="1967"/>
                    <a:pt x="2037" y="1967"/>
                    <a:pt x="2037" y="1967"/>
                  </a:cubicBezTo>
                  <a:cubicBezTo>
                    <a:pt x="2037" y="2154"/>
                    <a:pt x="2037" y="2154"/>
                    <a:pt x="2037" y="2154"/>
                  </a:cubicBezTo>
                  <a:cubicBezTo>
                    <a:pt x="2037" y="2230"/>
                    <a:pt x="1976" y="2292"/>
                    <a:pt x="1900" y="2294"/>
                  </a:cubicBezTo>
                  <a:cubicBezTo>
                    <a:pt x="317" y="2294"/>
                    <a:pt x="317" y="2294"/>
                    <a:pt x="317" y="2294"/>
                  </a:cubicBezTo>
                  <a:cubicBezTo>
                    <a:pt x="317" y="1770"/>
                    <a:pt x="317" y="1770"/>
                    <a:pt x="317" y="1770"/>
                  </a:cubicBezTo>
                  <a:cubicBezTo>
                    <a:pt x="317" y="1744"/>
                    <a:pt x="296" y="1723"/>
                    <a:pt x="270" y="1723"/>
                  </a:cubicBezTo>
                  <a:cubicBezTo>
                    <a:pt x="245" y="1723"/>
                    <a:pt x="224" y="1744"/>
                    <a:pt x="224" y="1770"/>
                  </a:cubicBezTo>
                  <a:cubicBezTo>
                    <a:pt x="224" y="2293"/>
                    <a:pt x="224" y="2293"/>
                    <a:pt x="224" y="2293"/>
                  </a:cubicBezTo>
                  <a:cubicBezTo>
                    <a:pt x="151" y="2288"/>
                    <a:pt x="93" y="2228"/>
                    <a:pt x="93" y="2154"/>
                  </a:cubicBezTo>
                  <a:cubicBezTo>
                    <a:pt x="93" y="1037"/>
                    <a:pt x="93" y="1037"/>
                    <a:pt x="93" y="1037"/>
                  </a:cubicBezTo>
                  <a:cubicBezTo>
                    <a:pt x="123" y="1055"/>
                    <a:pt x="158" y="1066"/>
                    <a:pt x="196" y="1066"/>
                  </a:cubicBezTo>
                  <a:cubicBezTo>
                    <a:pt x="1898" y="1066"/>
                    <a:pt x="1898" y="1066"/>
                    <a:pt x="1898" y="1066"/>
                  </a:cubicBezTo>
                  <a:cubicBezTo>
                    <a:pt x="1975" y="1066"/>
                    <a:pt x="2037" y="1128"/>
                    <a:pt x="2037" y="1205"/>
                  </a:cubicBezTo>
                  <a:cubicBezTo>
                    <a:pt x="2037" y="1391"/>
                    <a:pt x="2037" y="1391"/>
                    <a:pt x="2037" y="1391"/>
                  </a:cubicBezTo>
                  <a:cubicBezTo>
                    <a:pt x="1701" y="1391"/>
                    <a:pt x="1701" y="1391"/>
                    <a:pt x="1701" y="1391"/>
                  </a:cubicBezTo>
                  <a:cubicBezTo>
                    <a:pt x="1675" y="1391"/>
                    <a:pt x="1655" y="1411"/>
                    <a:pt x="1655" y="1437"/>
                  </a:cubicBezTo>
                  <a:cubicBezTo>
                    <a:pt x="1655" y="1463"/>
                    <a:pt x="1675" y="1484"/>
                    <a:pt x="1701" y="1484"/>
                  </a:cubicBezTo>
                  <a:cubicBezTo>
                    <a:pt x="2178" y="1484"/>
                    <a:pt x="2178" y="1484"/>
                    <a:pt x="2178" y="1484"/>
                  </a:cubicBezTo>
                  <a:cubicBezTo>
                    <a:pt x="2219" y="1484"/>
                    <a:pt x="2257" y="1472"/>
                    <a:pt x="2289" y="1451"/>
                  </a:cubicBezTo>
                  <a:cubicBezTo>
                    <a:pt x="2289" y="1744"/>
                    <a:pt x="2289" y="1744"/>
                    <a:pt x="2289" y="17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1" name="Freeform 27">
              <a:extLst>
                <a:ext uri="{FF2B5EF4-FFF2-40B4-BE49-F238E27FC236}">
                  <a16:creationId xmlns:a16="http://schemas.microsoft.com/office/drawing/2014/main" id="{5B097272-E991-B2F0-F65D-73F1817E3B81}"/>
                </a:ext>
              </a:extLst>
            </p:cNvPr>
            <p:cNvSpPr>
              <a:spLocks/>
            </p:cNvSpPr>
            <p:nvPr/>
          </p:nvSpPr>
          <p:spPr bwMode="auto">
            <a:xfrm>
              <a:off x="2247900" y="5095875"/>
              <a:ext cx="30163" cy="30163"/>
            </a:xfrm>
            <a:custGeom>
              <a:avLst/>
              <a:gdLst>
                <a:gd name="T0" fmla="*/ 79 w 93"/>
                <a:gd name="T1" fmla="*/ 14 h 93"/>
                <a:gd name="T2" fmla="*/ 46 w 93"/>
                <a:gd name="T3" fmla="*/ 0 h 93"/>
                <a:gd name="T4" fmla="*/ 13 w 93"/>
                <a:gd name="T5" fmla="*/ 14 h 93"/>
                <a:gd name="T6" fmla="*/ 0 w 93"/>
                <a:gd name="T7" fmla="*/ 46 h 93"/>
                <a:gd name="T8" fmla="*/ 13 w 93"/>
                <a:gd name="T9" fmla="*/ 79 h 93"/>
                <a:gd name="T10" fmla="*/ 46 w 93"/>
                <a:gd name="T11" fmla="*/ 93 h 93"/>
                <a:gd name="T12" fmla="*/ 79 w 93"/>
                <a:gd name="T13" fmla="*/ 79 h 93"/>
                <a:gd name="T14" fmla="*/ 93 w 93"/>
                <a:gd name="T15" fmla="*/ 46 h 93"/>
                <a:gd name="T16" fmla="*/ 79 w 93"/>
                <a:gd name="T17" fmla="*/ 14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3" h="93">
                  <a:moveTo>
                    <a:pt x="79" y="14"/>
                  </a:moveTo>
                  <a:cubicBezTo>
                    <a:pt x="70" y="5"/>
                    <a:pt x="58" y="0"/>
                    <a:pt x="46" y="0"/>
                  </a:cubicBezTo>
                  <a:cubicBezTo>
                    <a:pt x="34" y="0"/>
                    <a:pt x="22" y="5"/>
                    <a:pt x="13" y="14"/>
                  </a:cubicBezTo>
                  <a:cubicBezTo>
                    <a:pt x="5" y="22"/>
                    <a:pt x="0" y="34"/>
                    <a:pt x="0" y="46"/>
                  </a:cubicBezTo>
                  <a:cubicBezTo>
                    <a:pt x="0" y="59"/>
                    <a:pt x="5" y="71"/>
                    <a:pt x="13" y="79"/>
                  </a:cubicBezTo>
                  <a:cubicBezTo>
                    <a:pt x="22" y="88"/>
                    <a:pt x="34" y="93"/>
                    <a:pt x="46" y="93"/>
                  </a:cubicBezTo>
                  <a:cubicBezTo>
                    <a:pt x="58" y="93"/>
                    <a:pt x="70" y="88"/>
                    <a:pt x="79" y="79"/>
                  </a:cubicBezTo>
                  <a:cubicBezTo>
                    <a:pt x="88" y="71"/>
                    <a:pt x="93" y="59"/>
                    <a:pt x="93" y="46"/>
                  </a:cubicBezTo>
                  <a:cubicBezTo>
                    <a:pt x="93" y="34"/>
                    <a:pt x="88" y="22"/>
                    <a:pt x="79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0C73C537-D5A9-CCD2-AE1E-6BEFCABD047E}"/>
              </a:ext>
            </a:extLst>
          </p:cNvPr>
          <p:cNvGrpSpPr/>
          <p:nvPr/>
        </p:nvGrpSpPr>
        <p:grpSpPr>
          <a:xfrm>
            <a:off x="7368105" y="3847139"/>
            <a:ext cx="445867" cy="445803"/>
            <a:chOff x="-56745188" y="-7202488"/>
            <a:chExt cx="21274088" cy="21270914"/>
          </a:xfrm>
          <a:solidFill>
            <a:schemeClr val="bg1"/>
          </a:solidFill>
        </p:grpSpPr>
        <p:sp>
          <p:nvSpPr>
            <p:cNvPr id="93" name="Freeform 36">
              <a:extLst>
                <a:ext uri="{FF2B5EF4-FFF2-40B4-BE49-F238E27FC236}">
                  <a16:creationId xmlns:a16="http://schemas.microsoft.com/office/drawing/2014/main" id="{C9D084A5-8C89-AE00-8191-608561B24E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4689713" y="2014538"/>
              <a:ext cx="9218613" cy="12053888"/>
            </a:xfrm>
            <a:custGeom>
              <a:avLst/>
              <a:gdLst>
                <a:gd name="T0" fmla="*/ 2173 w 2457"/>
                <a:gd name="T1" fmla="*/ 0 h 3213"/>
                <a:gd name="T2" fmla="*/ 283 w 2457"/>
                <a:gd name="T3" fmla="*/ 0 h 3213"/>
                <a:gd name="T4" fmla="*/ 0 w 2457"/>
                <a:gd name="T5" fmla="*/ 284 h 3213"/>
                <a:gd name="T6" fmla="*/ 0 w 2457"/>
                <a:gd name="T7" fmla="*/ 2929 h 3213"/>
                <a:gd name="T8" fmla="*/ 283 w 2457"/>
                <a:gd name="T9" fmla="*/ 3213 h 3213"/>
                <a:gd name="T10" fmla="*/ 2173 w 2457"/>
                <a:gd name="T11" fmla="*/ 3213 h 3213"/>
                <a:gd name="T12" fmla="*/ 2457 w 2457"/>
                <a:gd name="T13" fmla="*/ 2929 h 3213"/>
                <a:gd name="T14" fmla="*/ 2457 w 2457"/>
                <a:gd name="T15" fmla="*/ 284 h 3213"/>
                <a:gd name="T16" fmla="*/ 2173 w 2457"/>
                <a:gd name="T17" fmla="*/ 0 h 3213"/>
                <a:gd name="T18" fmla="*/ 1134 w 2457"/>
                <a:gd name="T19" fmla="*/ 3024 h 3213"/>
                <a:gd name="T20" fmla="*/ 283 w 2457"/>
                <a:gd name="T21" fmla="*/ 3024 h 3213"/>
                <a:gd name="T22" fmla="*/ 189 w 2457"/>
                <a:gd name="T23" fmla="*/ 2929 h 3213"/>
                <a:gd name="T24" fmla="*/ 189 w 2457"/>
                <a:gd name="T25" fmla="*/ 2268 h 3213"/>
                <a:gd name="T26" fmla="*/ 1134 w 2457"/>
                <a:gd name="T27" fmla="*/ 2268 h 3213"/>
                <a:gd name="T28" fmla="*/ 1134 w 2457"/>
                <a:gd name="T29" fmla="*/ 3024 h 3213"/>
                <a:gd name="T30" fmla="*/ 1134 w 2457"/>
                <a:gd name="T31" fmla="*/ 2079 h 3213"/>
                <a:gd name="T32" fmla="*/ 189 w 2457"/>
                <a:gd name="T33" fmla="*/ 2079 h 3213"/>
                <a:gd name="T34" fmla="*/ 189 w 2457"/>
                <a:gd name="T35" fmla="*/ 1323 h 3213"/>
                <a:gd name="T36" fmla="*/ 1134 w 2457"/>
                <a:gd name="T37" fmla="*/ 1323 h 3213"/>
                <a:gd name="T38" fmla="*/ 1134 w 2457"/>
                <a:gd name="T39" fmla="*/ 2079 h 3213"/>
                <a:gd name="T40" fmla="*/ 2268 w 2457"/>
                <a:gd name="T41" fmla="*/ 2929 h 3213"/>
                <a:gd name="T42" fmla="*/ 2173 w 2457"/>
                <a:gd name="T43" fmla="*/ 3024 h 3213"/>
                <a:gd name="T44" fmla="*/ 1323 w 2457"/>
                <a:gd name="T45" fmla="*/ 3024 h 3213"/>
                <a:gd name="T46" fmla="*/ 1323 w 2457"/>
                <a:gd name="T47" fmla="*/ 2268 h 3213"/>
                <a:gd name="T48" fmla="*/ 2268 w 2457"/>
                <a:gd name="T49" fmla="*/ 2268 h 3213"/>
                <a:gd name="T50" fmla="*/ 2268 w 2457"/>
                <a:gd name="T51" fmla="*/ 2929 h 3213"/>
                <a:gd name="T52" fmla="*/ 2268 w 2457"/>
                <a:gd name="T53" fmla="*/ 2079 h 3213"/>
                <a:gd name="T54" fmla="*/ 1323 w 2457"/>
                <a:gd name="T55" fmla="*/ 2079 h 3213"/>
                <a:gd name="T56" fmla="*/ 1323 w 2457"/>
                <a:gd name="T57" fmla="*/ 1323 h 3213"/>
                <a:gd name="T58" fmla="*/ 2268 w 2457"/>
                <a:gd name="T59" fmla="*/ 1323 h 3213"/>
                <a:gd name="T60" fmla="*/ 2268 w 2457"/>
                <a:gd name="T61" fmla="*/ 2079 h 3213"/>
                <a:gd name="T62" fmla="*/ 2268 w 2457"/>
                <a:gd name="T63" fmla="*/ 1134 h 3213"/>
                <a:gd name="T64" fmla="*/ 189 w 2457"/>
                <a:gd name="T65" fmla="*/ 1134 h 3213"/>
                <a:gd name="T66" fmla="*/ 189 w 2457"/>
                <a:gd name="T67" fmla="*/ 284 h 3213"/>
                <a:gd name="T68" fmla="*/ 283 w 2457"/>
                <a:gd name="T69" fmla="*/ 189 h 3213"/>
                <a:gd name="T70" fmla="*/ 2173 w 2457"/>
                <a:gd name="T71" fmla="*/ 189 h 3213"/>
                <a:gd name="T72" fmla="*/ 2268 w 2457"/>
                <a:gd name="T73" fmla="*/ 284 h 3213"/>
                <a:gd name="T74" fmla="*/ 2268 w 2457"/>
                <a:gd name="T75" fmla="*/ 1134 h 3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457" h="3213">
                  <a:moveTo>
                    <a:pt x="2173" y="0"/>
                  </a:moveTo>
                  <a:cubicBezTo>
                    <a:pt x="283" y="0"/>
                    <a:pt x="283" y="0"/>
                    <a:pt x="283" y="0"/>
                  </a:cubicBezTo>
                  <a:cubicBezTo>
                    <a:pt x="127" y="0"/>
                    <a:pt x="0" y="127"/>
                    <a:pt x="0" y="284"/>
                  </a:cubicBezTo>
                  <a:cubicBezTo>
                    <a:pt x="0" y="2929"/>
                    <a:pt x="0" y="2929"/>
                    <a:pt x="0" y="2929"/>
                  </a:cubicBezTo>
                  <a:cubicBezTo>
                    <a:pt x="0" y="3086"/>
                    <a:pt x="127" y="3213"/>
                    <a:pt x="283" y="3213"/>
                  </a:cubicBezTo>
                  <a:cubicBezTo>
                    <a:pt x="2173" y="3213"/>
                    <a:pt x="2173" y="3213"/>
                    <a:pt x="2173" y="3213"/>
                  </a:cubicBezTo>
                  <a:cubicBezTo>
                    <a:pt x="2330" y="3213"/>
                    <a:pt x="2457" y="3086"/>
                    <a:pt x="2457" y="2929"/>
                  </a:cubicBezTo>
                  <a:cubicBezTo>
                    <a:pt x="2457" y="284"/>
                    <a:pt x="2457" y="284"/>
                    <a:pt x="2457" y="284"/>
                  </a:cubicBezTo>
                  <a:cubicBezTo>
                    <a:pt x="2457" y="127"/>
                    <a:pt x="2330" y="0"/>
                    <a:pt x="2173" y="0"/>
                  </a:cubicBezTo>
                  <a:close/>
                  <a:moveTo>
                    <a:pt x="1134" y="3024"/>
                  </a:moveTo>
                  <a:cubicBezTo>
                    <a:pt x="283" y="3024"/>
                    <a:pt x="283" y="3024"/>
                    <a:pt x="283" y="3024"/>
                  </a:cubicBezTo>
                  <a:cubicBezTo>
                    <a:pt x="231" y="3024"/>
                    <a:pt x="189" y="2981"/>
                    <a:pt x="189" y="2929"/>
                  </a:cubicBezTo>
                  <a:cubicBezTo>
                    <a:pt x="189" y="2268"/>
                    <a:pt x="189" y="2268"/>
                    <a:pt x="189" y="2268"/>
                  </a:cubicBezTo>
                  <a:cubicBezTo>
                    <a:pt x="1134" y="2268"/>
                    <a:pt x="1134" y="2268"/>
                    <a:pt x="1134" y="2268"/>
                  </a:cubicBezTo>
                  <a:lnTo>
                    <a:pt x="1134" y="3024"/>
                  </a:lnTo>
                  <a:close/>
                  <a:moveTo>
                    <a:pt x="1134" y="2079"/>
                  </a:moveTo>
                  <a:cubicBezTo>
                    <a:pt x="189" y="2079"/>
                    <a:pt x="189" y="2079"/>
                    <a:pt x="189" y="2079"/>
                  </a:cubicBezTo>
                  <a:cubicBezTo>
                    <a:pt x="189" y="1323"/>
                    <a:pt x="189" y="1323"/>
                    <a:pt x="189" y="1323"/>
                  </a:cubicBezTo>
                  <a:cubicBezTo>
                    <a:pt x="1134" y="1323"/>
                    <a:pt x="1134" y="1323"/>
                    <a:pt x="1134" y="1323"/>
                  </a:cubicBezTo>
                  <a:lnTo>
                    <a:pt x="1134" y="2079"/>
                  </a:lnTo>
                  <a:close/>
                  <a:moveTo>
                    <a:pt x="2268" y="2929"/>
                  </a:moveTo>
                  <a:cubicBezTo>
                    <a:pt x="2268" y="2981"/>
                    <a:pt x="2225" y="3024"/>
                    <a:pt x="2173" y="3024"/>
                  </a:cubicBezTo>
                  <a:cubicBezTo>
                    <a:pt x="1323" y="3024"/>
                    <a:pt x="1323" y="3024"/>
                    <a:pt x="1323" y="3024"/>
                  </a:cubicBezTo>
                  <a:cubicBezTo>
                    <a:pt x="1323" y="2268"/>
                    <a:pt x="1323" y="2268"/>
                    <a:pt x="1323" y="2268"/>
                  </a:cubicBezTo>
                  <a:cubicBezTo>
                    <a:pt x="2268" y="2268"/>
                    <a:pt x="2268" y="2268"/>
                    <a:pt x="2268" y="2268"/>
                  </a:cubicBezTo>
                  <a:lnTo>
                    <a:pt x="2268" y="2929"/>
                  </a:lnTo>
                  <a:close/>
                  <a:moveTo>
                    <a:pt x="2268" y="2079"/>
                  </a:moveTo>
                  <a:cubicBezTo>
                    <a:pt x="1323" y="2079"/>
                    <a:pt x="1323" y="2079"/>
                    <a:pt x="1323" y="2079"/>
                  </a:cubicBezTo>
                  <a:cubicBezTo>
                    <a:pt x="1323" y="1323"/>
                    <a:pt x="1323" y="1323"/>
                    <a:pt x="1323" y="1323"/>
                  </a:cubicBezTo>
                  <a:cubicBezTo>
                    <a:pt x="2268" y="1323"/>
                    <a:pt x="2268" y="1323"/>
                    <a:pt x="2268" y="1323"/>
                  </a:cubicBezTo>
                  <a:lnTo>
                    <a:pt x="2268" y="2079"/>
                  </a:lnTo>
                  <a:close/>
                  <a:moveTo>
                    <a:pt x="2268" y="1134"/>
                  </a:moveTo>
                  <a:cubicBezTo>
                    <a:pt x="189" y="1134"/>
                    <a:pt x="189" y="1134"/>
                    <a:pt x="189" y="1134"/>
                  </a:cubicBezTo>
                  <a:cubicBezTo>
                    <a:pt x="189" y="284"/>
                    <a:pt x="189" y="284"/>
                    <a:pt x="189" y="284"/>
                  </a:cubicBezTo>
                  <a:cubicBezTo>
                    <a:pt x="189" y="231"/>
                    <a:pt x="231" y="189"/>
                    <a:pt x="283" y="189"/>
                  </a:cubicBezTo>
                  <a:cubicBezTo>
                    <a:pt x="2173" y="189"/>
                    <a:pt x="2173" y="189"/>
                    <a:pt x="2173" y="189"/>
                  </a:cubicBezTo>
                  <a:cubicBezTo>
                    <a:pt x="2225" y="189"/>
                    <a:pt x="2268" y="231"/>
                    <a:pt x="2268" y="284"/>
                  </a:cubicBezTo>
                  <a:lnTo>
                    <a:pt x="2268" y="11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4" name="Freeform 37">
              <a:extLst>
                <a:ext uri="{FF2B5EF4-FFF2-40B4-BE49-F238E27FC236}">
                  <a16:creationId xmlns:a16="http://schemas.microsoft.com/office/drawing/2014/main" id="{6FA13708-7363-1C3F-76CA-9623BAF4C13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3272075" y="3432175"/>
              <a:ext cx="6381750" cy="2127250"/>
            </a:xfrm>
            <a:custGeom>
              <a:avLst/>
              <a:gdLst>
                <a:gd name="T0" fmla="*/ 1606 w 1701"/>
                <a:gd name="T1" fmla="*/ 0 h 567"/>
                <a:gd name="T2" fmla="*/ 94 w 1701"/>
                <a:gd name="T3" fmla="*/ 0 h 567"/>
                <a:gd name="T4" fmla="*/ 0 w 1701"/>
                <a:gd name="T5" fmla="*/ 94 h 567"/>
                <a:gd name="T6" fmla="*/ 0 w 1701"/>
                <a:gd name="T7" fmla="*/ 472 h 567"/>
                <a:gd name="T8" fmla="*/ 94 w 1701"/>
                <a:gd name="T9" fmla="*/ 567 h 567"/>
                <a:gd name="T10" fmla="*/ 1606 w 1701"/>
                <a:gd name="T11" fmla="*/ 567 h 567"/>
                <a:gd name="T12" fmla="*/ 1701 w 1701"/>
                <a:gd name="T13" fmla="*/ 472 h 567"/>
                <a:gd name="T14" fmla="*/ 1701 w 1701"/>
                <a:gd name="T15" fmla="*/ 94 h 567"/>
                <a:gd name="T16" fmla="*/ 1606 w 1701"/>
                <a:gd name="T17" fmla="*/ 0 h 567"/>
                <a:gd name="T18" fmla="*/ 1512 w 1701"/>
                <a:gd name="T19" fmla="*/ 378 h 567"/>
                <a:gd name="T20" fmla="*/ 189 w 1701"/>
                <a:gd name="T21" fmla="*/ 378 h 567"/>
                <a:gd name="T22" fmla="*/ 189 w 1701"/>
                <a:gd name="T23" fmla="*/ 189 h 567"/>
                <a:gd name="T24" fmla="*/ 1512 w 1701"/>
                <a:gd name="T25" fmla="*/ 189 h 567"/>
                <a:gd name="T26" fmla="*/ 1512 w 1701"/>
                <a:gd name="T27" fmla="*/ 378 h 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01" h="567">
                  <a:moveTo>
                    <a:pt x="1606" y="0"/>
                  </a:moveTo>
                  <a:cubicBezTo>
                    <a:pt x="94" y="0"/>
                    <a:pt x="94" y="0"/>
                    <a:pt x="94" y="0"/>
                  </a:cubicBezTo>
                  <a:cubicBezTo>
                    <a:pt x="42" y="0"/>
                    <a:pt x="0" y="42"/>
                    <a:pt x="0" y="94"/>
                  </a:cubicBezTo>
                  <a:cubicBezTo>
                    <a:pt x="0" y="472"/>
                    <a:pt x="0" y="472"/>
                    <a:pt x="0" y="472"/>
                  </a:cubicBezTo>
                  <a:cubicBezTo>
                    <a:pt x="0" y="525"/>
                    <a:pt x="42" y="567"/>
                    <a:pt x="94" y="567"/>
                  </a:cubicBezTo>
                  <a:cubicBezTo>
                    <a:pt x="1606" y="567"/>
                    <a:pt x="1606" y="567"/>
                    <a:pt x="1606" y="567"/>
                  </a:cubicBezTo>
                  <a:cubicBezTo>
                    <a:pt x="1658" y="567"/>
                    <a:pt x="1701" y="525"/>
                    <a:pt x="1701" y="472"/>
                  </a:cubicBezTo>
                  <a:cubicBezTo>
                    <a:pt x="1701" y="94"/>
                    <a:pt x="1701" y="94"/>
                    <a:pt x="1701" y="94"/>
                  </a:cubicBezTo>
                  <a:cubicBezTo>
                    <a:pt x="1701" y="42"/>
                    <a:pt x="1658" y="0"/>
                    <a:pt x="1606" y="0"/>
                  </a:cubicBezTo>
                  <a:close/>
                  <a:moveTo>
                    <a:pt x="1512" y="378"/>
                  </a:moveTo>
                  <a:cubicBezTo>
                    <a:pt x="189" y="378"/>
                    <a:pt x="189" y="378"/>
                    <a:pt x="189" y="378"/>
                  </a:cubicBezTo>
                  <a:cubicBezTo>
                    <a:pt x="189" y="189"/>
                    <a:pt x="189" y="189"/>
                    <a:pt x="189" y="189"/>
                  </a:cubicBezTo>
                  <a:cubicBezTo>
                    <a:pt x="1512" y="189"/>
                    <a:pt x="1512" y="189"/>
                    <a:pt x="1512" y="189"/>
                  </a:cubicBezTo>
                  <a:lnTo>
                    <a:pt x="1512" y="3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5" name="Freeform 38">
              <a:extLst>
                <a:ext uri="{FF2B5EF4-FFF2-40B4-BE49-F238E27FC236}">
                  <a16:creationId xmlns:a16="http://schemas.microsoft.com/office/drawing/2014/main" id="{A8F430F9-2DF4-9C47-695E-70EDC2C191BB}"/>
                </a:ext>
              </a:extLst>
            </p:cNvPr>
            <p:cNvSpPr>
              <a:spLocks/>
            </p:cNvSpPr>
            <p:nvPr/>
          </p:nvSpPr>
          <p:spPr bwMode="auto">
            <a:xfrm>
              <a:off x="-43272075" y="7331075"/>
              <a:ext cx="2127250" cy="2127250"/>
            </a:xfrm>
            <a:custGeom>
              <a:avLst/>
              <a:gdLst>
                <a:gd name="T0" fmla="*/ 893 w 1340"/>
                <a:gd name="T1" fmla="*/ 447 h 1340"/>
                <a:gd name="T2" fmla="*/ 893 w 1340"/>
                <a:gd name="T3" fmla="*/ 0 h 1340"/>
                <a:gd name="T4" fmla="*/ 447 w 1340"/>
                <a:gd name="T5" fmla="*/ 0 h 1340"/>
                <a:gd name="T6" fmla="*/ 447 w 1340"/>
                <a:gd name="T7" fmla="*/ 447 h 1340"/>
                <a:gd name="T8" fmla="*/ 0 w 1340"/>
                <a:gd name="T9" fmla="*/ 447 h 1340"/>
                <a:gd name="T10" fmla="*/ 0 w 1340"/>
                <a:gd name="T11" fmla="*/ 893 h 1340"/>
                <a:gd name="T12" fmla="*/ 447 w 1340"/>
                <a:gd name="T13" fmla="*/ 893 h 1340"/>
                <a:gd name="T14" fmla="*/ 447 w 1340"/>
                <a:gd name="T15" fmla="*/ 1340 h 1340"/>
                <a:gd name="T16" fmla="*/ 893 w 1340"/>
                <a:gd name="T17" fmla="*/ 1340 h 1340"/>
                <a:gd name="T18" fmla="*/ 893 w 1340"/>
                <a:gd name="T19" fmla="*/ 893 h 1340"/>
                <a:gd name="T20" fmla="*/ 1340 w 1340"/>
                <a:gd name="T21" fmla="*/ 893 h 1340"/>
                <a:gd name="T22" fmla="*/ 1340 w 1340"/>
                <a:gd name="T23" fmla="*/ 447 h 1340"/>
                <a:gd name="T24" fmla="*/ 893 w 1340"/>
                <a:gd name="T25" fmla="*/ 447 h 1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40" h="1340">
                  <a:moveTo>
                    <a:pt x="893" y="447"/>
                  </a:moveTo>
                  <a:lnTo>
                    <a:pt x="893" y="0"/>
                  </a:lnTo>
                  <a:lnTo>
                    <a:pt x="447" y="0"/>
                  </a:lnTo>
                  <a:lnTo>
                    <a:pt x="447" y="447"/>
                  </a:lnTo>
                  <a:lnTo>
                    <a:pt x="0" y="447"/>
                  </a:lnTo>
                  <a:lnTo>
                    <a:pt x="0" y="893"/>
                  </a:lnTo>
                  <a:lnTo>
                    <a:pt x="447" y="893"/>
                  </a:lnTo>
                  <a:lnTo>
                    <a:pt x="447" y="1340"/>
                  </a:lnTo>
                  <a:lnTo>
                    <a:pt x="893" y="1340"/>
                  </a:lnTo>
                  <a:lnTo>
                    <a:pt x="893" y="893"/>
                  </a:lnTo>
                  <a:lnTo>
                    <a:pt x="1340" y="893"/>
                  </a:lnTo>
                  <a:lnTo>
                    <a:pt x="1340" y="447"/>
                  </a:lnTo>
                  <a:lnTo>
                    <a:pt x="893" y="44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6" name="Rectangle 39">
              <a:extLst>
                <a:ext uri="{FF2B5EF4-FFF2-40B4-BE49-F238E27FC236}">
                  <a16:creationId xmlns:a16="http://schemas.microsoft.com/office/drawing/2014/main" id="{BD061886-6E03-68EB-0724-C7D1926C27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39017575" y="8040688"/>
              <a:ext cx="2127250" cy="7080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7" name="Freeform 40">
              <a:extLst>
                <a:ext uri="{FF2B5EF4-FFF2-40B4-BE49-F238E27FC236}">
                  <a16:creationId xmlns:a16="http://schemas.microsoft.com/office/drawing/2014/main" id="{3C9B4C8D-0969-C7B3-40AC-DED7CABE184B}"/>
                </a:ext>
              </a:extLst>
            </p:cNvPr>
            <p:cNvSpPr>
              <a:spLocks/>
            </p:cNvSpPr>
            <p:nvPr/>
          </p:nvSpPr>
          <p:spPr bwMode="auto">
            <a:xfrm>
              <a:off x="-43211750" y="10980738"/>
              <a:ext cx="2006600" cy="2003425"/>
            </a:xfrm>
            <a:custGeom>
              <a:avLst/>
              <a:gdLst>
                <a:gd name="T0" fmla="*/ 1264 w 1264"/>
                <a:gd name="T1" fmla="*/ 317 h 1262"/>
                <a:gd name="T2" fmla="*/ 947 w 1264"/>
                <a:gd name="T3" fmla="*/ 0 h 1262"/>
                <a:gd name="T4" fmla="*/ 631 w 1264"/>
                <a:gd name="T5" fmla="*/ 317 h 1262"/>
                <a:gd name="T6" fmla="*/ 316 w 1264"/>
                <a:gd name="T7" fmla="*/ 0 h 1262"/>
                <a:gd name="T8" fmla="*/ 0 w 1264"/>
                <a:gd name="T9" fmla="*/ 317 h 1262"/>
                <a:gd name="T10" fmla="*/ 316 w 1264"/>
                <a:gd name="T11" fmla="*/ 631 h 1262"/>
                <a:gd name="T12" fmla="*/ 0 w 1264"/>
                <a:gd name="T13" fmla="*/ 948 h 1262"/>
                <a:gd name="T14" fmla="*/ 316 w 1264"/>
                <a:gd name="T15" fmla="*/ 1262 h 1262"/>
                <a:gd name="T16" fmla="*/ 631 w 1264"/>
                <a:gd name="T17" fmla="*/ 948 h 1262"/>
                <a:gd name="T18" fmla="*/ 947 w 1264"/>
                <a:gd name="T19" fmla="*/ 1262 h 1262"/>
                <a:gd name="T20" fmla="*/ 1264 w 1264"/>
                <a:gd name="T21" fmla="*/ 948 h 1262"/>
                <a:gd name="T22" fmla="*/ 947 w 1264"/>
                <a:gd name="T23" fmla="*/ 631 h 1262"/>
                <a:gd name="T24" fmla="*/ 1264 w 1264"/>
                <a:gd name="T25" fmla="*/ 317 h 1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64" h="1262">
                  <a:moveTo>
                    <a:pt x="1264" y="317"/>
                  </a:moveTo>
                  <a:lnTo>
                    <a:pt x="947" y="0"/>
                  </a:lnTo>
                  <a:lnTo>
                    <a:pt x="631" y="317"/>
                  </a:lnTo>
                  <a:lnTo>
                    <a:pt x="316" y="0"/>
                  </a:lnTo>
                  <a:lnTo>
                    <a:pt x="0" y="317"/>
                  </a:lnTo>
                  <a:lnTo>
                    <a:pt x="316" y="631"/>
                  </a:lnTo>
                  <a:lnTo>
                    <a:pt x="0" y="948"/>
                  </a:lnTo>
                  <a:lnTo>
                    <a:pt x="316" y="1262"/>
                  </a:lnTo>
                  <a:lnTo>
                    <a:pt x="631" y="948"/>
                  </a:lnTo>
                  <a:lnTo>
                    <a:pt x="947" y="1262"/>
                  </a:lnTo>
                  <a:lnTo>
                    <a:pt x="1264" y="948"/>
                  </a:lnTo>
                  <a:lnTo>
                    <a:pt x="947" y="631"/>
                  </a:lnTo>
                  <a:lnTo>
                    <a:pt x="1264" y="3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8" name="Rectangle 41">
              <a:extLst>
                <a:ext uri="{FF2B5EF4-FFF2-40B4-BE49-F238E27FC236}">
                  <a16:creationId xmlns:a16="http://schemas.microsoft.com/office/drawing/2014/main" id="{551AF1F8-C1AB-9DD7-0940-6F12B1A8DE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39017575" y="11585575"/>
              <a:ext cx="2127250" cy="7096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9" name="Rectangle 42">
              <a:extLst>
                <a:ext uri="{FF2B5EF4-FFF2-40B4-BE49-F238E27FC236}">
                  <a16:creationId xmlns:a16="http://schemas.microsoft.com/office/drawing/2014/main" id="{DA4BD80D-1C31-80DC-253B-382D359A1A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38307963" y="12471400"/>
              <a:ext cx="708025" cy="3556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0" name="Rectangle 43">
              <a:extLst>
                <a:ext uri="{FF2B5EF4-FFF2-40B4-BE49-F238E27FC236}">
                  <a16:creationId xmlns:a16="http://schemas.microsoft.com/office/drawing/2014/main" id="{C6DCE27B-E9F2-B0AD-17AD-ABFF48461D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38307963" y="11052175"/>
              <a:ext cx="708025" cy="3571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1" name="Freeform 44">
              <a:extLst>
                <a:ext uri="{FF2B5EF4-FFF2-40B4-BE49-F238E27FC236}">
                  <a16:creationId xmlns:a16="http://schemas.microsoft.com/office/drawing/2014/main" id="{939D5F5C-0ED4-2964-8D51-0839A89189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6745188" y="-7202488"/>
              <a:ext cx="14890750" cy="21270913"/>
            </a:xfrm>
            <a:custGeom>
              <a:avLst/>
              <a:gdLst>
                <a:gd name="T0" fmla="*/ 1040 w 3969"/>
                <a:gd name="T1" fmla="*/ 0 h 5670"/>
                <a:gd name="T2" fmla="*/ 973 w 3969"/>
                <a:gd name="T3" fmla="*/ 28 h 5670"/>
                <a:gd name="T4" fmla="*/ 1 w 3969"/>
                <a:gd name="T5" fmla="*/ 1040 h 5670"/>
                <a:gd name="T6" fmla="*/ 0 w 3969"/>
                <a:gd name="T7" fmla="*/ 5481 h 5670"/>
                <a:gd name="T8" fmla="*/ 3024 w 3969"/>
                <a:gd name="T9" fmla="*/ 5670 h 5670"/>
                <a:gd name="T10" fmla="*/ 2457 w 3969"/>
                <a:gd name="T11" fmla="*/ 5481 h 5670"/>
                <a:gd name="T12" fmla="*/ 2646 w 3969"/>
                <a:gd name="T13" fmla="*/ 5197 h 5670"/>
                <a:gd name="T14" fmla="*/ 2741 w 3969"/>
                <a:gd name="T15" fmla="*/ 4630 h 5670"/>
                <a:gd name="T16" fmla="*/ 2457 w 3969"/>
                <a:gd name="T17" fmla="*/ 4536 h 5670"/>
                <a:gd name="T18" fmla="*/ 2646 w 3969"/>
                <a:gd name="T19" fmla="*/ 4252 h 5670"/>
                <a:gd name="T20" fmla="*/ 2741 w 3969"/>
                <a:gd name="T21" fmla="*/ 3685 h 5670"/>
                <a:gd name="T22" fmla="*/ 2644 w 3969"/>
                <a:gd name="T23" fmla="*/ 3591 h 5670"/>
                <a:gd name="T24" fmla="*/ 2081 w 3969"/>
                <a:gd name="T25" fmla="*/ 1888 h 5670"/>
                <a:gd name="T26" fmla="*/ 1515 w 3969"/>
                <a:gd name="T27" fmla="*/ 3591 h 5670"/>
                <a:gd name="T28" fmla="*/ 662 w 3969"/>
                <a:gd name="T29" fmla="*/ 3685 h 5670"/>
                <a:gd name="T30" fmla="*/ 473 w 3969"/>
                <a:gd name="T31" fmla="*/ 4063 h 5670"/>
                <a:gd name="T32" fmla="*/ 378 w 3969"/>
                <a:gd name="T33" fmla="*/ 4630 h 5670"/>
                <a:gd name="T34" fmla="*/ 662 w 3969"/>
                <a:gd name="T35" fmla="*/ 4725 h 5670"/>
                <a:gd name="T36" fmla="*/ 473 w 3969"/>
                <a:gd name="T37" fmla="*/ 5008 h 5670"/>
                <a:gd name="T38" fmla="*/ 378 w 3969"/>
                <a:gd name="T39" fmla="*/ 5481 h 5670"/>
                <a:gd name="T40" fmla="*/ 189 w 3969"/>
                <a:gd name="T41" fmla="*/ 1134 h 5670"/>
                <a:gd name="T42" fmla="*/ 1134 w 3969"/>
                <a:gd name="T43" fmla="*/ 945 h 5670"/>
                <a:gd name="T44" fmla="*/ 3780 w 3969"/>
                <a:gd name="T45" fmla="*/ 189 h 5670"/>
                <a:gd name="T46" fmla="*/ 3969 w 3969"/>
                <a:gd name="T47" fmla="*/ 2268 h 5670"/>
                <a:gd name="T48" fmla="*/ 3780 w 3969"/>
                <a:gd name="T49" fmla="*/ 0 h 5670"/>
                <a:gd name="T50" fmla="*/ 2552 w 3969"/>
                <a:gd name="T51" fmla="*/ 5008 h 5670"/>
                <a:gd name="T52" fmla="*/ 851 w 3969"/>
                <a:gd name="T53" fmla="*/ 4725 h 5670"/>
                <a:gd name="T54" fmla="*/ 1323 w 3969"/>
                <a:gd name="T55" fmla="*/ 2835 h 5670"/>
                <a:gd name="T56" fmla="*/ 2835 w 3969"/>
                <a:gd name="T57" fmla="*/ 2835 h 5670"/>
                <a:gd name="T58" fmla="*/ 1323 w 3969"/>
                <a:gd name="T59" fmla="*/ 2835 h 5670"/>
                <a:gd name="T60" fmla="*/ 2552 w 3969"/>
                <a:gd name="T61" fmla="*/ 3780 h 5670"/>
                <a:gd name="T62" fmla="*/ 851 w 3969"/>
                <a:gd name="T63" fmla="*/ 4063 h 5670"/>
                <a:gd name="T64" fmla="*/ 567 w 3969"/>
                <a:gd name="T65" fmla="*/ 4536 h 5670"/>
                <a:gd name="T66" fmla="*/ 2268 w 3969"/>
                <a:gd name="T67" fmla="*/ 4252 h 5670"/>
                <a:gd name="T68" fmla="*/ 756 w 3969"/>
                <a:gd name="T69" fmla="*/ 4536 h 5670"/>
                <a:gd name="T70" fmla="*/ 567 w 3969"/>
                <a:gd name="T71" fmla="*/ 5197 h 5670"/>
                <a:gd name="T72" fmla="*/ 2268 w 3969"/>
                <a:gd name="T73" fmla="*/ 5481 h 5670"/>
                <a:gd name="T74" fmla="*/ 567 w 3969"/>
                <a:gd name="T75" fmla="*/ 5197 h 5670"/>
                <a:gd name="T76" fmla="*/ 323 w 3969"/>
                <a:gd name="T77" fmla="*/ 945 h 5670"/>
                <a:gd name="T78" fmla="*/ 945 w 3969"/>
                <a:gd name="T79" fmla="*/ 945 h 56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969" h="5670">
                  <a:moveTo>
                    <a:pt x="3780" y="0"/>
                  </a:moveTo>
                  <a:cubicBezTo>
                    <a:pt x="1040" y="0"/>
                    <a:pt x="1040" y="0"/>
                    <a:pt x="1040" y="0"/>
                  </a:cubicBezTo>
                  <a:cubicBezTo>
                    <a:pt x="1040" y="1"/>
                    <a:pt x="1040" y="1"/>
                    <a:pt x="1040" y="1"/>
                  </a:cubicBezTo>
                  <a:cubicBezTo>
                    <a:pt x="1015" y="1"/>
                    <a:pt x="991" y="11"/>
                    <a:pt x="973" y="28"/>
                  </a:cubicBezTo>
                  <a:cubicBezTo>
                    <a:pt x="28" y="973"/>
                    <a:pt x="28" y="973"/>
                    <a:pt x="28" y="973"/>
                  </a:cubicBezTo>
                  <a:cubicBezTo>
                    <a:pt x="11" y="991"/>
                    <a:pt x="1" y="1015"/>
                    <a:pt x="1" y="1040"/>
                  </a:cubicBezTo>
                  <a:cubicBezTo>
                    <a:pt x="0" y="1040"/>
                    <a:pt x="0" y="1040"/>
                    <a:pt x="0" y="1040"/>
                  </a:cubicBezTo>
                  <a:cubicBezTo>
                    <a:pt x="0" y="5481"/>
                    <a:pt x="0" y="5481"/>
                    <a:pt x="0" y="5481"/>
                  </a:cubicBezTo>
                  <a:cubicBezTo>
                    <a:pt x="0" y="5585"/>
                    <a:pt x="85" y="5670"/>
                    <a:pt x="189" y="5670"/>
                  </a:cubicBezTo>
                  <a:cubicBezTo>
                    <a:pt x="3024" y="5670"/>
                    <a:pt x="3024" y="5670"/>
                    <a:pt x="3024" y="5670"/>
                  </a:cubicBezTo>
                  <a:cubicBezTo>
                    <a:pt x="3024" y="5481"/>
                    <a:pt x="3024" y="5481"/>
                    <a:pt x="3024" y="5481"/>
                  </a:cubicBezTo>
                  <a:cubicBezTo>
                    <a:pt x="2457" y="5481"/>
                    <a:pt x="2457" y="5481"/>
                    <a:pt x="2457" y="5481"/>
                  </a:cubicBezTo>
                  <a:cubicBezTo>
                    <a:pt x="2457" y="5197"/>
                    <a:pt x="2457" y="5197"/>
                    <a:pt x="2457" y="5197"/>
                  </a:cubicBezTo>
                  <a:cubicBezTo>
                    <a:pt x="2646" y="5197"/>
                    <a:pt x="2646" y="5197"/>
                    <a:pt x="2646" y="5197"/>
                  </a:cubicBezTo>
                  <a:cubicBezTo>
                    <a:pt x="2698" y="5197"/>
                    <a:pt x="2741" y="5155"/>
                    <a:pt x="2741" y="5103"/>
                  </a:cubicBezTo>
                  <a:cubicBezTo>
                    <a:pt x="2741" y="4630"/>
                    <a:pt x="2741" y="4630"/>
                    <a:pt x="2741" y="4630"/>
                  </a:cubicBezTo>
                  <a:cubicBezTo>
                    <a:pt x="2741" y="4578"/>
                    <a:pt x="2698" y="4536"/>
                    <a:pt x="2646" y="4536"/>
                  </a:cubicBezTo>
                  <a:cubicBezTo>
                    <a:pt x="2457" y="4536"/>
                    <a:pt x="2457" y="4536"/>
                    <a:pt x="2457" y="4536"/>
                  </a:cubicBezTo>
                  <a:cubicBezTo>
                    <a:pt x="2457" y="4252"/>
                    <a:pt x="2457" y="4252"/>
                    <a:pt x="2457" y="4252"/>
                  </a:cubicBezTo>
                  <a:cubicBezTo>
                    <a:pt x="2646" y="4252"/>
                    <a:pt x="2646" y="4252"/>
                    <a:pt x="2646" y="4252"/>
                  </a:cubicBezTo>
                  <a:cubicBezTo>
                    <a:pt x="2698" y="4252"/>
                    <a:pt x="2741" y="4210"/>
                    <a:pt x="2741" y="4158"/>
                  </a:cubicBezTo>
                  <a:cubicBezTo>
                    <a:pt x="2741" y="3685"/>
                    <a:pt x="2741" y="3685"/>
                    <a:pt x="2741" y="3685"/>
                  </a:cubicBezTo>
                  <a:cubicBezTo>
                    <a:pt x="2741" y="3633"/>
                    <a:pt x="2698" y="3591"/>
                    <a:pt x="2646" y="3591"/>
                  </a:cubicBezTo>
                  <a:cubicBezTo>
                    <a:pt x="2644" y="3591"/>
                    <a:pt x="2644" y="3591"/>
                    <a:pt x="2644" y="3591"/>
                  </a:cubicBezTo>
                  <a:cubicBezTo>
                    <a:pt x="2883" y="3413"/>
                    <a:pt x="3024" y="3133"/>
                    <a:pt x="3024" y="2835"/>
                  </a:cubicBezTo>
                  <a:cubicBezTo>
                    <a:pt x="3025" y="2313"/>
                    <a:pt x="2603" y="1889"/>
                    <a:pt x="2081" y="1888"/>
                  </a:cubicBezTo>
                  <a:cubicBezTo>
                    <a:pt x="1559" y="1887"/>
                    <a:pt x="1135" y="2309"/>
                    <a:pt x="1134" y="2831"/>
                  </a:cubicBezTo>
                  <a:cubicBezTo>
                    <a:pt x="1134" y="3130"/>
                    <a:pt x="1275" y="3412"/>
                    <a:pt x="1515" y="3591"/>
                  </a:cubicBezTo>
                  <a:cubicBezTo>
                    <a:pt x="756" y="3591"/>
                    <a:pt x="756" y="3591"/>
                    <a:pt x="756" y="3591"/>
                  </a:cubicBezTo>
                  <a:cubicBezTo>
                    <a:pt x="704" y="3591"/>
                    <a:pt x="662" y="3633"/>
                    <a:pt x="662" y="3685"/>
                  </a:cubicBezTo>
                  <a:cubicBezTo>
                    <a:pt x="662" y="4063"/>
                    <a:pt x="662" y="4063"/>
                    <a:pt x="662" y="4063"/>
                  </a:cubicBezTo>
                  <a:cubicBezTo>
                    <a:pt x="473" y="4063"/>
                    <a:pt x="473" y="4063"/>
                    <a:pt x="473" y="4063"/>
                  </a:cubicBezTo>
                  <a:cubicBezTo>
                    <a:pt x="421" y="4063"/>
                    <a:pt x="378" y="4106"/>
                    <a:pt x="378" y="4158"/>
                  </a:cubicBezTo>
                  <a:cubicBezTo>
                    <a:pt x="378" y="4630"/>
                    <a:pt x="378" y="4630"/>
                    <a:pt x="378" y="4630"/>
                  </a:cubicBezTo>
                  <a:cubicBezTo>
                    <a:pt x="378" y="4682"/>
                    <a:pt x="421" y="4725"/>
                    <a:pt x="473" y="4725"/>
                  </a:cubicBezTo>
                  <a:cubicBezTo>
                    <a:pt x="662" y="4725"/>
                    <a:pt x="662" y="4725"/>
                    <a:pt x="662" y="4725"/>
                  </a:cubicBezTo>
                  <a:cubicBezTo>
                    <a:pt x="662" y="5008"/>
                    <a:pt x="662" y="5008"/>
                    <a:pt x="662" y="5008"/>
                  </a:cubicBezTo>
                  <a:cubicBezTo>
                    <a:pt x="473" y="5008"/>
                    <a:pt x="473" y="5008"/>
                    <a:pt x="473" y="5008"/>
                  </a:cubicBezTo>
                  <a:cubicBezTo>
                    <a:pt x="421" y="5008"/>
                    <a:pt x="378" y="5051"/>
                    <a:pt x="378" y="5103"/>
                  </a:cubicBezTo>
                  <a:cubicBezTo>
                    <a:pt x="378" y="5481"/>
                    <a:pt x="378" y="5481"/>
                    <a:pt x="378" y="5481"/>
                  </a:cubicBezTo>
                  <a:cubicBezTo>
                    <a:pt x="189" y="5481"/>
                    <a:pt x="189" y="5481"/>
                    <a:pt x="189" y="5481"/>
                  </a:cubicBezTo>
                  <a:cubicBezTo>
                    <a:pt x="189" y="1134"/>
                    <a:pt x="189" y="1134"/>
                    <a:pt x="189" y="1134"/>
                  </a:cubicBezTo>
                  <a:cubicBezTo>
                    <a:pt x="945" y="1134"/>
                    <a:pt x="945" y="1134"/>
                    <a:pt x="945" y="1134"/>
                  </a:cubicBezTo>
                  <a:cubicBezTo>
                    <a:pt x="1050" y="1134"/>
                    <a:pt x="1134" y="1050"/>
                    <a:pt x="1134" y="945"/>
                  </a:cubicBezTo>
                  <a:cubicBezTo>
                    <a:pt x="1134" y="189"/>
                    <a:pt x="1134" y="189"/>
                    <a:pt x="1134" y="189"/>
                  </a:cubicBezTo>
                  <a:cubicBezTo>
                    <a:pt x="3780" y="189"/>
                    <a:pt x="3780" y="189"/>
                    <a:pt x="3780" y="189"/>
                  </a:cubicBezTo>
                  <a:cubicBezTo>
                    <a:pt x="3780" y="2268"/>
                    <a:pt x="3780" y="2268"/>
                    <a:pt x="3780" y="2268"/>
                  </a:cubicBezTo>
                  <a:cubicBezTo>
                    <a:pt x="3969" y="2268"/>
                    <a:pt x="3969" y="2268"/>
                    <a:pt x="3969" y="2268"/>
                  </a:cubicBezTo>
                  <a:cubicBezTo>
                    <a:pt x="3969" y="189"/>
                    <a:pt x="3969" y="189"/>
                    <a:pt x="3969" y="189"/>
                  </a:cubicBezTo>
                  <a:cubicBezTo>
                    <a:pt x="3969" y="85"/>
                    <a:pt x="3884" y="0"/>
                    <a:pt x="3780" y="0"/>
                  </a:cubicBezTo>
                  <a:close/>
                  <a:moveTo>
                    <a:pt x="2552" y="4725"/>
                  </a:moveTo>
                  <a:cubicBezTo>
                    <a:pt x="2552" y="5008"/>
                    <a:pt x="2552" y="5008"/>
                    <a:pt x="2552" y="5008"/>
                  </a:cubicBezTo>
                  <a:cubicBezTo>
                    <a:pt x="851" y="5008"/>
                    <a:pt x="851" y="5008"/>
                    <a:pt x="851" y="5008"/>
                  </a:cubicBezTo>
                  <a:cubicBezTo>
                    <a:pt x="851" y="4725"/>
                    <a:pt x="851" y="4725"/>
                    <a:pt x="851" y="4725"/>
                  </a:cubicBezTo>
                  <a:lnTo>
                    <a:pt x="2552" y="4725"/>
                  </a:lnTo>
                  <a:close/>
                  <a:moveTo>
                    <a:pt x="1323" y="2835"/>
                  </a:moveTo>
                  <a:cubicBezTo>
                    <a:pt x="1323" y="2418"/>
                    <a:pt x="1662" y="2079"/>
                    <a:pt x="2079" y="2079"/>
                  </a:cubicBezTo>
                  <a:cubicBezTo>
                    <a:pt x="2497" y="2079"/>
                    <a:pt x="2835" y="2418"/>
                    <a:pt x="2835" y="2835"/>
                  </a:cubicBezTo>
                  <a:cubicBezTo>
                    <a:pt x="2835" y="3252"/>
                    <a:pt x="2497" y="3591"/>
                    <a:pt x="2079" y="3591"/>
                  </a:cubicBezTo>
                  <a:cubicBezTo>
                    <a:pt x="1662" y="3590"/>
                    <a:pt x="1324" y="3252"/>
                    <a:pt x="1323" y="2835"/>
                  </a:cubicBezTo>
                  <a:close/>
                  <a:moveTo>
                    <a:pt x="851" y="3780"/>
                  </a:moveTo>
                  <a:cubicBezTo>
                    <a:pt x="2552" y="3780"/>
                    <a:pt x="2552" y="3780"/>
                    <a:pt x="2552" y="3780"/>
                  </a:cubicBezTo>
                  <a:cubicBezTo>
                    <a:pt x="2552" y="4063"/>
                    <a:pt x="2552" y="4063"/>
                    <a:pt x="2552" y="4063"/>
                  </a:cubicBezTo>
                  <a:cubicBezTo>
                    <a:pt x="851" y="4063"/>
                    <a:pt x="851" y="4063"/>
                    <a:pt x="851" y="4063"/>
                  </a:cubicBezTo>
                  <a:lnTo>
                    <a:pt x="851" y="3780"/>
                  </a:lnTo>
                  <a:close/>
                  <a:moveTo>
                    <a:pt x="567" y="4536"/>
                  </a:moveTo>
                  <a:cubicBezTo>
                    <a:pt x="567" y="4252"/>
                    <a:pt x="567" y="4252"/>
                    <a:pt x="567" y="4252"/>
                  </a:cubicBezTo>
                  <a:cubicBezTo>
                    <a:pt x="2268" y="4252"/>
                    <a:pt x="2268" y="4252"/>
                    <a:pt x="2268" y="4252"/>
                  </a:cubicBezTo>
                  <a:cubicBezTo>
                    <a:pt x="2268" y="4536"/>
                    <a:pt x="2268" y="4536"/>
                    <a:pt x="2268" y="4536"/>
                  </a:cubicBezTo>
                  <a:cubicBezTo>
                    <a:pt x="756" y="4536"/>
                    <a:pt x="756" y="4536"/>
                    <a:pt x="756" y="4536"/>
                  </a:cubicBezTo>
                  <a:lnTo>
                    <a:pt x="567" y="4536"/>
                  </a:lnTo>
                  <a:close/>
                  <a:moveTo>
                    <a:pt x="567" y="5197"/>
                  </a:moveTo>
                  <a:cubicBezTo>
                    <a:pt x="2268" y="5197"/>
                    <a:pt x="2268" y="5197"/>
                    <a:pt x="2268" y="5197"/>
                  </a:cubicBezTo>
                  <a:cubicBezTo>
                    <a:pt x="2268" y="5481"/>
                    <a:pt x="2268" y="5481"/>
                    <a:pt x="2268" y="5481"/>
                  </a:cubicBezTo>
                  <a:cubicBezTo>
                    <a:pt x="567" y="5481"/>
                    <a:pt x="567" y="5481"/>
                    <a:pt x="567" y="5481"/>
                  </a:cubicBezTo>
                  <a:lnTo>
                    <a:pt x="567" y="5197"/>
                  </a:lnTo>
                  <a:close/>
                  <a:moveTo>
                    <a:pt x="945" y="945"/>
                  </a:moveTo>
                  <a:cubicBezTo>
                    <a:pt x="323" y="945"/>
                    <a:pt x="323" y="945"/>
                    <a:pt x="323" y="945"/>
                  </a:cubicBezTo>
                  <a:cubicBezTo>
                    <a:pt x="945" y="323"/>
                    <a:pt x="945" y="323"/>
                    <a:pt x="945" y="323"/>
                  </a:cubicBezTo>
                  <a:lnTo>
                    <a:pt x="945" y="9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2" name="Freeform 45">
              <a:extLst>
                <a:ext uri="{FF2B5EF4-FFF2-40B4-BE49-F238E27FC236}">
                  <a16:creationId xmlns:a16="http://schemas.microsoft.com/office/drawing/2014/main" id="{F0610985-8E7F-984E-6FD1-01F60F8C1B77}"/>
                </a:ext>
              </a:extLst>
            </p:cNvPr>
            <p:cNvSpPr>
              <a:spLocks/>
            </p:cNvSpPr>
            <p:nvPr/>
          </p:nvSpPr>
          <p:spPr bwMode="auto">
            <a:xfrm>
              <a:off x="-50142775" y="1304925"/>
              <a:ext cx="2393950" cy="4254500"/>
            </a:xfrm>
            <a:custGeom>
              <a:avLst/>
              <a:gdLst>
                <a:gd name="T0" fmla="*/ 319 w 638"/>
                <a:gd name="T1" fmla="*/ 284 h 1134"/>
                <a:gd name="T2" fmla="*/ 603 w 638"/>
                <a:gd name="T3" fmla="*/ 284 h 1134"/>
                <a:gd name="T4" fmla="*/ 603 w 638"/>
                <a:gd name="T5" fmla="*/ 95 h 1134"/>
                <a:gd name="T6" fmla="*/ 414 w 638"/>
                <a:gd name="T7" fmla="*/ 95 h 1134"/>
                <a:gd name="T8" fmla="*/ 414 w 638"/>
                <a:gd name="T9" fmla="*/ 0 h 1134"/>
                <a:gd name="T10" fmla="*/ 225 w 638"/>
                <a:gd name="T11" fmla="*/ 0 h 1134"/>
                <a:gd name="T12" fmla="*/ 225 w 638"/>
                <a:gd name="T13" fmla="*/ 112 h 1134"/>
                <a:gd name="T14" fmla="*/ 52 w 638"/>
                <a:gd name="T15" fmla="*/ 473 h 1134"/>
                <a:gd name="T16" fmla="*/ 319 w 638"/>
                <a:gd name="T17" fmla="*/ 661 h 1134"/>
                <a:gd name="T18" fmla="*/ 414 w 638"/>
                <a:gd name="T19" fmla="*/ 756 h 1134"/>
                <a:gd name="T20" fmla="*/ 319 w 638"/>
                <a:gd name="T21" fmla="*/ 850 h 1134"/>
                <a:gd name="T22" fmla="*/ 36 w 638"/>
                <a:gd name="T23" fmla="*/ 850 h 1134"/>
                <a:gd name="T24" fmla="*/ 36 w 638"/>
                <a:gd name="T25" fmla="*/ 1039 h 1134"/>
                <a:gd name="T26" fmla="*/ 225 w 638"/>
                <a:gd name="T27" fmla="*/ 1039 h 1134"/>
                <a:gd name="T28" fmla="*/ 225 w 638"/>
                <a:gd name="T29" fmla="*/ 1134 h 1134"/>
                <a:gd name="T30" fmla="*/ 414 w 638"/>
                <a:gd name="T31" fmla="*/ 1134 h 1134"/>
                <a:gd name="T32" fmla="*/ 414 w 638"/>
                <a:gd name="T33" fmla="*/ 1022 h 1134"/>
                <a:gd name="T34" fmla="*/ 586 w 638"/>
                <a:gd name="T35" fmla="*/ 661 h 1134"/>
                <a:gd name="T36" fmla="*/ 319 w 638"/>
                <a:gd name="T37" fmla="*/ 473 h 1134"/>
                <a:gd name="T38" fmla="*/ 225 w 638"/>
                <a:gd name="T39" fmla="*/ 378 h 1134"/>
                <a:gd name="T40" fmla="*/ 319 w 638"/>
                <a:gd name="T41" fmla="*/ 284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38" h="1134">
                  <a:moveTo>
                    <a:pt x="319" y="284"/>
                  </a:moveTo>
                  <a:cubicBezTo>
                    <a:pt x="603" y="284"/>
                    <a:pt x="603" y="284"/>
                    <a:pt x="603" y="284"/>
                  </a:cubicBezTo>
                  <a:cubicBezTo>
                    <a:pt x="603" y="95"/>
                    <a:pt x="603" y="95"/>
                    <a:pt x="603" y="95"/>
                  </a:cubicBezTo>
                  <a:cubicBezTo>
                    <a:pt x="414" y="95"/>
                    <a:pt x="414" y="95"/>
                    <a:pt x="414" y="95"/>
                  </a:cubicBezTo>
                  <a:cubicBezTo>
                    <a:pt x="414" y="0"/>
                    <a:pt x="414" y="0"/>
                    <a:pt x="414" y="0"/>
                  </a:cubicBezTo>
                  <a:cubicBezTo>
                    <a:pt x="225" y="0"/>
                    <a:pt x="225" y="0"/>
                    <a:pt x="225" y="0"/>
                  </a:cubicBezTo>
                  <a:cubicBezTo>
                    <a:pt x="225" y="112"/>
                    <a:pt x="225" y="112"/>
                    <a:pt x="225" y="112"/>
                  </a:cubicBezTo>
                  <a:cubicBezTo>
                    <a:pt x="77" y="164"/>
                    <a:pt x="0" y="325"/>
                    <a:pt x="52" y="473"/>
                  </a:cubicBezTo>
                  <a:cubicBezTo>
                    <a:pt x="92" y="586"/>
                    <a:pt x="199" y="662"/>
                    <a:pt x="319" y="661"/>
                  </a:cubicBezTo>
                  <a:cubicBezTo>
                    <a:pt x="371" y="661"/>
                    <a:pt x="414" y="704"/>
                    <a:pt x="414" y="756"/>
                  </a:cubicBezTo>
                  <a:cubicBezTo>
                    <a:pt x="414" y="808"/>
                    <a:pt x="371" y="850"/>
                    <a:pt x="319" y="850"/>
                  </a:cubicBezTo>
                  <a:cubicBezTo>
                    <a:pt x="36" y="850"/>
                    <a:pt x="36" y="850"/>
                    <a:pt x="36" y="850"/>
                  </a:cubicBezTo>
                  <a:cubicBezTo>
                    <a:pt x="36" y="1039"/>
                    <a:pt x="36" y="1039"/>
                    <a:pt x="36" y="1039"/>
                  </a:cubicBezTo>
                  <a:cubicBezTo>
                    <a:pt x="225" y="1039"/>
                    <a:pt x="225" y="1039"/>
                    <a:pt x="225" y="1039"/>
                  </a:cubicBezTo>
                  <a:cubicBezTo>
                    <a:pt x="225" y="1134"/>
                    <a:pt x="225" y="1134"/>
                    <a:pt x="225" y="1134"/>
                  </a:cubicBezTo>
                  <a:cubicBezTo>
                    <a:pt x="414" y="1134"/>
                    <a:pt x="414" y="1134"/>
                    <a:pt x="414" y="1134"/>
                  </a:cubicBezTo>
                  <a:cubicBezTo>
                    <a:pt x="414" y="1022"/>
                    <a:pt x="414" y="1022"/>
                    <a:pt x="414" y="1022"/>
                  </a:cubicBezTo>
                  <a:cubicBezTo>
                    <a:pt x="561" y="970"/>
                    <a:pt x="638" y="809"/>
                    <a:pt x="586" y="661"/>
                  </a:cubicBezTo>
                  <a:cubicBezTo>
                    <a:pt x="546" y="548"/>
                    <a:pt x="439" y="472"/>
                    <a:pt x="319" y="473"/>
                  </a:cubicBezTo>
                  <a:cubicBezTo>
                    <a:pt x="267" y="473"/>
                    <a:pt x="225" y="430"/>
                    <a:pt x="225" y="378"/>
                  </a:cubicBezTo>
                  <a:cubicBezTo>
                    <a:pt x="225" y="326"/>
                    <a:pt x="267" y="284"/>
                    <a:pt x="319" y="2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3" name="Freeform 46">
              <a:extLst>
                <a:ext uri="{FF2B5EF4-FFF2-40B4-BE49-F238E27FC236}">
                  <a16:creationId xmlns:a16="http://schemas.microsoft.com/office/drawing/2014/main" id="{B30BBEC3-DB24-0534-749A-78BB9272267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1144825" y="-7202488"/>
              <a:ext cx="4964113" cy="8507413"/>
            </a:xfrm>
            <a:custGeom>
              <a:avLst/>
              <a:gdLst>
                <a:gd name="T0" fmla="*/ 1134 w 1323"/>
                <a:gd name="T1" fmla="*/ 473 h 2268"/>
                <a:gd name="T2" fmla="*/ 945 w 1323"/>
                <a:gd name="T3" fmla="*/ 473 h 2268"/>
                <a:gd name="T4" fmla="*/ 850 w 1323"/>
                <a:gd name="T5" fmla="*/ 378 h 2268"/>
                <a:gd name="T6" fmla="*/ 756 w 1323"/>
                <a:gd name="T7" fmla="*/ 378 h 2268"/>
                <a:gd name="T8" fmla="*/ 756 w 1323"/>
                <a:gd name="T9" fmla="*/ 95 h 2268"/>
                <a:gd name="T10" fmla="*/ 661 w 1323"/>
                <a:gd name="T11" fmla="*/ 0 h 2268"/>
                <a:gd name="T12" fmla="*/ 283 w 1323"/>
                <a:gd name="T13" fmla="*/ 0 h 2268"/>
                <a:gd name="T14" fmla="*/ 189 w 1323"/>
                <a:gd name="T15" fmla="*/ 95 h 2268"/>
                <a:gd name="T16" fmla="*/ 189 w 1323"/>
                <a:gd name="T17" fmla="*/ 378 h 2268"/>
                <a:gd name="T18" fmla="*/ 94 w 1323"/>
                <a:gd name="T19" fmla="*/ 378 h 2268"/>
                <a:gd name="T20" fmla="*/ 0 w 1323"/>
                <a:gd name="T21" fmla="*/ 473 h 2268"/>
                <a:gd name="T22" fmla="*/ 0 w 1323"/>
                <a:gd name="T23" fmla="*/ 2268 h 2268"/>
                <a:gd name="T24" fmla="*/ 189 w 1323"/>
                <a:gd name="T25" fmla="*/ 2268 h 2268"/>
                <a:gd name="T26" fmla="*/ 189 w 1323"/>
                <a:gd name="T27" fmla="*/ 567 h 2268"/>
                <a:gd name="T28" fmla="*/ 756 w 1323"/>
                <a:gd name="T29" fmla="*/ 567 h 2268"/>
                <a:gd name="T30" fmla="*/ 756 w 1323"/>
                <a:gd name="T31" fmla="*/ 2268 h 2268"/>
                <a:gd name="T32" fmla="*/ 945 w 1323"/>
                <a:gd name="T33" fmla="*/ 2268 h 2268"/>
                <a:gd name="T34" fmla="*/ 945 w 1323"/>
                <a:gd name="T35" fmla="*/ 662 h 2268"/>
                <a:gd name="T36" fmla="*/ 1134 w 1323"/>
                <a:gd name="T37" fmla="*/ 662 h 2268"/>
                <a:gd name="T38" fmla="*/ 1134 w 1323"/>
                <a:gd name="T39" fmla="*/ 1890 h 2268"/>
                <a:gd name="T40" fmla="*/ 1323 w 1323"/>
                <a:gd name="T41" fmla="*/ 1890 h 2268"/>
                <a:gd name="T42" fmla="*/ 1323 w 1323"/>
                <a:gd name="T43" fmla="*/ 662 h 2268"/>
                <a:gd name="T44" fmla="*/ 1134 w 1323"/>
                <a:gd name="T45" fmla="*/ 473 h 2268"/>
                <a:gd name="T46" fmla="*/ 567 w 1323"/>
                <a:gd name="T47" fmla="*/ 378 h 2268"/>
                <a:gd name="T48" fmla="*/ 378 w 1323"/>
                <a:gd name="T49" fmla="*/ 378 h 2268"/>
                <a:gd name="T50" fmla="*/ 378 w 1323"/>
                <a:gd name="T51" fmla="*/ 189 h 2268"/>
                <a:gd name="T52" fmla="*/ 567 w 1323"/>
                <a:gd name="T53" fmla="*/ 189 h 2268"/>
                <a:gd name="T54" fmla="*/ 567 w 1323"/>
                <a:gd name="T55" fmla="*/ 378 h 2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323" h="2268">
                  <a:moveTo>
                    <a:pt x="1134" y="473"/>
                  </a:moveTo>
                  <a:cubicBezTo>
                    <a:pt x="945" y="473"/>
                    <a:pt x="945" y="473"/>
                    <a:pt x="945" y="473"/>
                  </a:cubicBezTo>
                  <a:cubicBezTo>
                    <a:pt x="945" y="421"/>
                    <a:pt x="902" y="378"/>
                    <a:pt x="850" y="378"/>
                  </a:cubicBezTo>
                  <a:cubicBezTo>
                    <a:pt x="756" y="378"/>
                    <a:pt x="756" y="378"/>
                    <a:pt x="756" y="378"/>
                  </a:cubicBezTo>
                  <a:cubicBezTo>
                    <a:pt x="756" y="95"/>
                    <a:pt x="756" y="95"/>
                    <a:pt x="756" y="95"/>
                  </a:cubicBezTo>
                  <a:cubicBezTo>
                    <a:pt x="756" y="43"/>
                    <a:pt x="713" y="0"/>
                    <a:pt x="661" y="0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231" y="0"/>
                    <a:pt x="189" y="43"/>
                    <a:pt x="189" y="95"/>
                  </a:cubicBezTo>
                  <a:cubicBezTo>
                    <a:pt x="189" y="378"/>
                    <a:pt x="189" y="378"/>
                    <a:pt x="189" y="378"/>
                  </a:cubicBezTo>
                  <a:cubicBezTo>
                    <a:pt x="94" y="378"/>
                    <a:pt x="94" y="378"/>
                    <a:pt x="94" y="378"/>
                  </a:cubicBezTo>
                  <a:cubicBezTo>
                    <a:pt x="42" y="378"/>
                    <a:pt x="0" y="421"/>
                    <a:pt x="0" y="473"/>
                  </a:cubicBezTo>
                  <a:cubicBezTo>
                    <a:pt x="0" y="2268"/>
                    <a:pt x="0" y="2268"/>
                    <a:pt x="0" y="2268"/>
                  </a:cubicBezTo>
                  <a:cubicBezTo>
                    <a:pt x="189" y="2268"/>
                    <a:pt x="189" y="2268"/>
                    <a:pt x="189" y="2268"/>
                  </a:cubicBezTo>
                  <a:cubicBezTo>
                    <a:pt x="189" y="567"/>
                    <a:pt x="189" y="567"/>
                    <a:pt x="189" y="567"/>
                  </a:cubicBezTo>
                  <a:cubicBezTo>
                    <a:pt x="756" y="567"/>
                    <a:pt x="756" y="567"/>
                    <a:pt x="756" y="567"/>
                  </a:cubicBezTo>
                  <a:cubicBezTo>
                    <a:pt x="756" y="2268"/>
                    <a:pt x="756" y="2268"/>
                    <a:pt x="756" y="2268"/>
                  </a:cubicBezTo>
                  <a:cubicBezTo>
                    <a:pt x="945" y="2268"/>
                    <a:pt x="945" y="2268"/>
                    <a:pt x="945" y="2268"/>
                  </a:cubicBezTo>
                  <a:cubicBezTo>
                    <a:pt x="945" y="662"/>
                    <a:pt x="945" y="662"/>
                    <a:pt x="945" y="662"/>
                  </a:cubicBezTo>
                  <a:cubicBezTo>
                    <a:pt x="1134" y="662"/>
                    <a:pt x="1134" y="662"/>
                    <a:pt x="1134" y="662"/>
                  </a:cubicBezTo>
                  <a:cubicBezTo>
                    <a:pt x="1134" y="1890"/>
                    <a:pt x="1134" y="1890"/>
                    <a:pt x="1134" y="1890"/>
                  </a:cubicBezTo>
                  <a:cubicBezTo>
                    <a:pt x="1323" y="1890"/>
                    <a:pt x="1323" y="1890"/>
                    <a:pt x="1323" y="1890"/>
                  </a:cubicBezTo>
                  <a:cubicBezTo>
                    <a:pt x="1323" y="662"/>
                    <a:pt x="1323" y="662"/>
                    <a:pt x="1323" y="662"/>
                  </a:cubicBezTo>
                  <a:cubicBezTo>
                    <a:pt x="1323" y="557"/>
                    <a:pt x="1238" y="473"/>
                    <a:pt x="1134" y="473"/>
                  </a:cubicBezTo>
                  <a:close/>
                  <a:moveTo>
                    <a:pt x="567" y="378"/>
                  </a:moveTo>
                  <a:cubicBezTo>
                    <a:pt x="378" y="378"/>
                    <a:pt x="378" y="378"/>
                    <a:pt x="378" y="378"/>
                  </a:cubicBezTo>
                  <a:cubicBezTo>
                    <a:pt x="378" y="189"/>
                    <a:pt x="378" y="189"/>
                    <a:pt x="378" y="189"/>
                  </a:cubicBezTo>
                  <a:cubicBezTo>
                    <a:pt x="567" y="189"/>
                    <a:pt x="567" y="189"/>
                    <a:pt x="567" y="189"/>
                  </a:cubicBezTo>
                  <a:lnTo>
                    <a:pt x="567" y="3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4" name="Rectangle 47">
              <a:extLst>
                <a:ext uri="{FF2B5EF4-FFF2-40B4-BE49-F238E27FC236}">
                  <a16:creationId xmlns:a16="http://schemas.microsoft.com/office/drawing/2014/main" id="{BF47ADE0-61FC-B906-9603-45BBFA0237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1425475" y="-4367213"/>
              <a:ext cx="6026150" cy="7096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5" name="Rectangle 48">
              <a:extLst>
                <a:ext uri="{FF2B5EF4-FFF2-40B4-BE49-F238E27FC236}">
                  <a16:creationId xmlns:a16="http://schemas.microsoft.com/office/drawing/2014/main" id="{89780CE8-416E-5FB7-7558-7DA071C9A4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5327550" y="-2239963"/>
              <a:ext cx="12055475" cy="7096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6" name="Rectangle 49">
              <a:extLst>
                <a:ext uri="{FF2B5EF4-FFF2-40B4-BE49-F238E27FC236}">
                  <a16:creationId xmlns:a16="http://schemas.microsoft.com/office/drawing/2014/main" id="{D1F8C3D8-B386-B6AD-71A2-60D8E91841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5327550" y="-822325"/>
              <a:ext cx="4254500" cy="7096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7" name="Rectangle 50">
              <a:extLst>
                <a:ext uri="{FF2B5EF4-FFF2-40B4-BE49-F238E27FC236}">
                  <a16:creationId xmlns:a16="http://schemas.microsoft.com/office/drawing/2014/main" id="{653106BF-C95A-D259-522C-4257FDF65F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46461363" y="-822325"/>
              <a:ext cx="3189288" cy="7096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</p:spTree>
    <p:extLst>
      <p:ext uri="{BB962C8B-B14F-4D97-AF65-F5344CB8AC3E}">
        <p14:creationId xmlns:p14="http://schemas.microsoft.com/office/powerpoint/2010/main" val="391559807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A5BDA1-25BD-D2F5-401A-7BFE690851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think-cell data - do not delete" hidden="1">
            <a:extLst>
              <a:ext uri="{FF2B5EF4-FFF2-40B4-BE49-F238E27FC236}">
                <a16:creationId xmlns:a16="http://schemas.microsoft.com/office/drawing/2014/main" id="{271054BE-75C5-1CF1-3B0E-4F97BF0F90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41586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075E2A4-F97F-0318-946A-9157AE4D8C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x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9ED467F-B413-8804-E920-B9DD93108C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4DAD0F53-4C9D-0AAA-2330-47E43396A29F}"/>
              </a:ext>
            </a:extLst>
          </p:cNvPr>
          <p:cNvSpPr/>
          <p:nvPr/>
        </p:nvSpPr>
        <p:spPr>
          <a:xfrm rot="5400000">
            <a:off x="165699" y="1248757"/>
            <a:ext cx="8634" cy="307804"/>
          </a:xfrm>
          <a:custGeom>
            <a:avLst/>
            <a:gdLst>
              <a:gd name="connsiteX0" fmla="*/ 1768 w 5447"/>
              <a:gd name="connsiteY0" fmla="*/ 194178 h 194178"/>
              <a:gd name="connsiteX1" fmla="*/ 5341 w 5447"/>
              <a:gd name="connsiteY1" fmla="*/ 678 h 194178"/>
              <a:gd name="connsiteX2" fmla="*/ 5447 w 5447"/>
              <a:gd name="connsiteY2" fmla="*/ 0 h 194178"/>
              <a:gd name="connsiteX3" fmla="*/ 1861 w 5447"/>
              <a:gd name="connsiteY3" fmla="*/ 194178 h 194178"/>
              <a:gd name="connsiteX4" fmla="*/ 1768 w 5447"/>
              <a:gd name="connsiteY4" fmla="*/ 194178 h 1941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47" h="194178">
                <a:moveTo>
                  <a:pt x="1768" y="194178"/>
                </a:moveTo>
                <a:cubicBezTo>
                  <a:pt x="-1485" y="129113"/>
                  <a:pt x="-226" y="64485"/>
                  <a:pt x="5341" y="678"/>
                </a:cubicBezTo>
                <a:lnTo>
                  <a:pt x="5447" y="0"/>
                </a:lnTo>
                <a:lnTo>
                  <a:pt x="1861" y="194178"/>
                </a:lnTo>
                <a:lnTo>
                  <a:pt x="1768" y="19417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3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92345ADA-B2D7-89C6-773F-1228E9628860}"/>
              </a:ext>
            </a:extLst>
          </p:cNvPr>
          <p:cNvSpPr/>
          <p:nvPr/>
        </p:nvSpPr>
        <p:spPr>
          <a:xfrm rot="5400000">
            <a:off x="-1132419" y="2526764"/>
            <a:ext cx="4709511" cy="2444730"/>
          </a:xfrm>
          <a:custGeom>
            <a:avLst/>
            <a:gdLst>
              <a:gd name="connsiteX0" fmla="*/ 0 w 2970995"/>
              <a:gd name="connsiteY0" fmla="*/ 1560649 h 1560649"/>
              <a:gd name="connsiteX1" fmla="*/ 0 w 2970995"/>
              <a:gd name="connsiteY1" fmla="*/ 1560649 h 1560649"/>
              <a:gd name="connsiteX2" fmla="*/ 2820903 w 2970995"/>
              <a:gd name="connsiteY2" fmla="*/ 1558911 h 1560649"/>
              <a:gd name="connsiteX3" fmla="*/ 2135743 w 2970995"/>
              <a:gd name="connsiteY3" fmla="*/ 278443 h 1560649"/>
              <a:gd name="connsiteX4" fmla="*/ 1409492 w 2970995"/>
              <a:gd name="connsiteY4" fmla="*/ 77910 h 1560649"/>
              <a:gd name="connsiteX5" fmla="*/ 683489 w 2970995"/>
              <a:gd name="connsiteY5" fmla="*/ 279337 h 1560649"/>
              <a:gd name="connsiteX6" fmla="*/ 32901 w 2970995"/>
              <a:gd name="connsiteY6" fmla="*/ 1178572 h 1560649"/>
              <a:gd name="connsiteX7" fmla="*/ 3586 w 2970995"/>
              <a:gd name="connsiteY7" fmla="*/ 1366471 h 1560649"/>
              <a:gd name="connsiteX8" fmla="*/ 3761 w 2970995"/>
              <a:gd name="connsiteY8" fmla="*/ 1356982 h 1560649"/>
              <a:gd name="connsiteX9" fmla="*/ 719500 w 2970995"/>
              <a:gd name="connsiteY9" fmla="*/ 212011 h 1560649"/>
              <a:gd name="connsiteX10" fmla="*/ 1483651 w 2970995"/>
              <a:gd name="connsiteY10" fmla="*/ 0 h 1560649"/>
              <a:gd name="connsiteX11" fmla="*/ 2248063 w 2970995"/>
              <a:gd name="connsiteY11" fmla="*/ 211070 h 1560649"/>
              <a:gd name="connsiteX12" fmla="*/ 2969224 w 2970995"/>
              <a:gd name="connsiteY12" fmla="*/ 1558820 h 1560649"/>
              <a:gd name="connsiteX13" fmla="*/ 0 w 2970995"/>
              <a:gd name="connsiteY13" fmla="*/ 1560649 h 1560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970995" h="1560649">
                <a:moveTo>
                  <a:pt x="0" y="1560649"/>
                </a:moveTo>
                <a:lnTo>
                  <a:pt x="0" y="1560649"/>
                </a:lnTo>
                <a:lnTo>
                  <a:pt x="2820903" y="1558911"/>
                </a:lnTo>
                <a:cubicBezTo>
                  <a:pt x="2846287" y="1038360"/>
                  <a:pt x="2582908" y="546141"/>
                  <a:pt x="2135743" y="278443"/>
                </a:cubicBezTo>
                <a:cubicBezTo>
                  <a:pt x="1912161" y="144594"/>
                  <a:pt x="1660806" y="77756"/>
                  <a:pt x="1409492" y="77910"/>
                </a:cubicBezTo>
                <a:cubicBezTo>
                  <a:pt x="1158178" y="78065"/>
                  <a:pt x="906906" y="145213"/>
                  <a:pt x="683489" y="279337"/>
                </a:cubicBezTo>
                <a:cubicBezTo>
                  <a:pt x="348363" y="480523"/>
                  <a:pt x="116772" y="807876"/>
                  <a:pt x="32901" y="1178572"/>
                </a:cubicBezTo>
                <a:lnTo>
                  <a:pt x="3586" y="1366471"/>
                </a:lnTo>
                <a:lnTo>
                  <a:pt x="3761" y="1356982"/>
                </a:lnTo>
                <a:cubicBezTo>
                  <a:pt x="44779" y="886862"/>
                  <a:pt x="307976" y="459061"/>
                  <a:pt x="719500" y="212011"/>
                </a:cubicBezTo>
                <a:cubicBezTo>
                  <a:pt x="954657" y="70839"/>
                  <a:pt x="1219132" y="163"/>
                  <a:pt x="1483651" y="0"/>
                </a:cubicBezTo>
                <a:cubicBezTo>
                  <a:pt x="1748170" y="-163"/>
                  <a:pt x="2012733" y="70188"/>
                  <a:pt x="2248063" y="211070"/>
                </a:cubicBezTo>
                <a:cubicBezTo>
                  <a:pt x="2718724" y="492834"/>
                  <a:pt x="2995942" y="1010917"/>
                  <a:pt x="2969224" y="1558820"/>
                </a:cubicBezTo>
                <a:lnTo>
                  <a:pt x="0" y="156064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3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" name="Rectangle: Diagonal Corners Rounded 6">
            <a:extLst>
              <a:ext uri="{FF2B5EF4-FFF2-40B4-BE49-F238E27FC236}">
                <a16:creationId xmlns:a16="http://schemas.microsoft.com/office/drawing/2014/main" id="{776DD367-1103-E9C3-A922-2C36845564FD}"/>
              </a:ext>
            </a:extLst>
          </p:cNvPr>
          <p:cNvSpPr>
            <a:spLocks/>
          </p:cNvSpPr>
          <p:nvPr/>
        </p:nvSpPr>
        <p:spPr>
          <a:xfrm>
            <a:off x="3321684" y="1020145"/>
            <a:ext cx="8440778" cy="967067"/>
          </a:xfrm>
          <a:prstGeom prst="round2Diag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16000" rIns="45720" rtlCol="0" anchor="ctr">
            <a:noAutofit/>
          </a:bodyPr>
          <a:lstStyle/>
          <a:p>
            <a:pPr marL="114300" marR="0" lvl="0" indent="0" algn="l" defTabSz="91424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Insert Text Here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DD933738-5432-2210-06FB-EE72303D9DD9}"/>
              </a:ext>
            </a:extLst>
          </p:cNvPr>
          <p:cNvSpPr>
            <a:spLocks/>
          </p:cNvSpPr>
          <p:nvPr/>
        </p:nvSpPr>
        <p:spPr>
          <a:xfrm>
            <a:off x="1796719" y="1503200"/>
            <a:ext cx="1524966" cy="558090"/>
          </a:xfrm>
          <a:custGeom>
            <a:avLst/>
            <a:gdLst>
              <a:gd name="connsiteX0" fmla="*/ 0 w 457200"/>
              <a:gd name="connsiteY0" fmla="*/ 285750 h 285750"/>
              <a:gd name="connsiteX1" fmla="*/ 123825 w 457200"/>
              <a:gd name="connsiteY1" fmla="*/ 0 h 285750"/>
              <a:gd name="connsiteX2" fmla="*/ 457200 w 457200"/>
              <a:gd name="connsiteY2" fmla="*/ 0 h 285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57200" h="285750">
                <a:moveTo>
                  <a:pt x="0" y="285750"/>
                </a:moveTo>
                <a:lnTo>
                  <a:pt x="123825" y="0"/>
                </a:lnTo>
                <a:lnTo>
                  <a:pt x="457200" y="0"/>
                </a:lnTo>
              </a:path>
            </a:pathLst>
          </a:custGeom>
          <a:noFill/>
          <a:ln w="9525">
            <a:solidFill>
              <a:schemeClr val="accent1"/>
            </a:solidFill>
            <a:headEnd type="oval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7979AC2E-064F-AEEE-0361-CDCD8492CB0E}"/>
              </a:ext>
            </a:extLst>
          </p:cNvPr>
          <p:cNvSpPr/>
          <p:nvPr/>
        </p:nvSpPr>
        <p:spPr>
          <a:xfrm>
            <a:off x="3138119" y="1317691"/>
            <a:ext cx="376863" cy="371974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rIns="45720" rtlCol="0" anchor="ctr">
            <a:noAutofit/>
          </a:bodyPr>
          <a:lstStyle/>
          <a:p>
            <a:pPr marL="0" marR="0" lvl="0" indent="0" algn="ctr" defTabSz="91424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1</a:t>
            </a:r>
            <a:endParaRPr kumimoji="0" lang="en-IN" sz="16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" name="Rectangle: Diagonal Corners Rounded 9">
            <a:extLst>
              <a:ext uri="{FF2B5EF4-FFF2-40B4-BE49-F238E27FC236}">
                <a16:creationId xmlns:a16="http://schemas.microsoft.com/office/drawing/2014/main" id="{396CF5C3-B96E-2A14-0CFB-D7EC293318A8}"/>
              </a:ext>
            </a:extLst>
          </p:cNvPr>
          <p:cNvSpPr>
            <a:spLocks/>
          </p:cNvSpPr>
          <p:nvPr/>
        </p:nvSpPr>
        <p:spPr>
          <a:xfrm>
            <a:off x="3321684" y="2461789"/>
            <a:ext cx="8440778" cy="967067"/>
          </a:xfrm>
          <a:prstGeom prst="round2Diag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16000" rIns="45720" rtlCol="0" anchor="ctr">
            <a:noAutofit/>
          </a:bodyPr>
          <a:lstStyle/>
          <a:p>
            <a:pPr marL="114300" marR="0" lvl="0" indent="0" algn="l" defTabSz="91424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Insert Text Here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583B1CBE-40E4-655D-82CD-0C5A4A6D23C3}"/>
              </a:ext>
            </a:extLst>
          </p:cNvPr>
          <p:cNvSpPr>
            <a:spLocks/>
          </p:cNvSpPr>
          <p:nvPr/>
        </p:nvSpPr>
        <p:spPr>
          <a:xfrm>
            <a:off x="2457486" y="2979094"/>
            <a:ext cx="864200" cy="174247"/>
          </a:xfrm>
          <a:custGeom>
            <a:avLst/>
            <a:gdLst>
              <a:gd name="connsiteX0" fmla="*/ 0 w 457200"/>
              <a:gd name="connsiteY0" fmla="*/ 285750 h 285750"/>
              <a:gd name="connsiteX1" fmla="*/ 123825 w 457200"/>
              <a:gd name="connsiteY1" fmla="*/ 0 h 285750"/>
              <a:gd name="connsiteX2" fmla="*/ 457200 w 457200"/>
              <a:gd name="connsiteY2" fmla="*/ 0 h 285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57200" h="285750">
                <a:moveTo>
                  <a:pt x="0" y="285750"/>
                </a:moveTo>
                <a:lnTo>
                  <a:pt x="123825" y="0"/>
                </a:lnTo>
                <a:lnTo>
                  <a:pt x="457200" y="0"/>
                </a:lnTo>
              </a:path>
            </a:pathLst>
          </a:custGeom>
          <a:noFill/>
          <a:ln w="9525">
            <a:solidFill>
              <a:schemeClr val="accent1"/>
            </a:solidFill>
            <a:headEnd type="oval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0BCCF80E-A704-09A1-92EA-02600846B666}"/>
              </a:ext>
            </a:extLst>
          </p:cNvPr>
          <p:cNvSpPr/>
          <p:nvPr/>
        </p:nvSpPr>
        <p:spPr>
          <a:xfrm>
            <a:off x="3138119" y="2759335"/>
            <a:ext cx="376863" cy="371974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rIns="45720" rtlCol="0" anchor="ctr">
            <a:noAutofit/>
          </a:bodyPr>
          <a:lstStyle/>
          <a:p>
            <a:pPr marL="0" marR="0" lvl="0" indent="0" algn="ctr" defTabSz="91424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2</a:t>
            </a:r>
            <a:endParaRPr kumimoji="0" lang="en-IN" sz="16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" name="Rectangle: Diagonal Corners Rounded 12">
            <a:extLst>
              <a:ext uri="{FF2B5EF4-FFF2-40B4-BE49-F238E27FC236}">
                <a16:creationId xmlns:a16="http://schemas.microsoft.com/office/drawing/2014/main" id="{3D832554-FFBD-2907-AC24-D6E2B39ADF43}"/>
              </a:ext>
            </a:extLst>
          </p:cNvPr>
          <p:cNvSpPr>
            <a:spLocks/>
          </p:cNvSpPr>
          <p:nvPr/>
        </p:nvSpPr>
        <p:spPr>
          <a:xfrm>
            <a:off x="3321684" y="3903433"/>
            <a:ext cx="8440778" cy="967067"/>
          </a:xfrm>
          <a:prstGeom prst="round2Diag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16000" rIns="45720" rtlCol="0" anchor="ctr">
            <a:noAutofit/>
          </a:bodyPr>
          <a:lstStyle/>
          <a:p>
            <a:pPr marL="114300" marR="0" lvl="0" indent="0" algn="l" defTabSz="91424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Insert Text Here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AC477E5B-3B65-0F4A-4CEA-2953633BF627}"/>
              </a:ext>
            </a:extLst>
          </p:cNvPr>
          <p:cNvSpPr>
            <a:spLocks/>
          </p:cNvSpPr>
          <p:nvPr/>
        </p:nvSpPr>
        <p:spPr>
          <a:xfrm flipV="1">
            <a:off x="2457486" y="4239219"/>
            <a:ext cx="864200" cy="174247"/>
          </a:xfrm>
          <a:custGeom>
            <a:avLst/>
            <a:gdLst>
              <a:gd name="connsiteX0" fmla="*/ 0 w 457200"/>
              <a:gd name="connsiteY0" fmla="*/ 285750 h 285750"/>
              <a:gd name="connsiteX1" fmla="*/ 123825 w 457200"/>
              <a:gd name="connsiteY1" fmla="*/ 0 h 285750"/>
              <a:gd name="connsiteX2" fmla="*/ 457200 w 457200"/>
              <a:gd name="connsiteY2" fmla="*/ 0 h 285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57200" h="285750">
                <a:moveTo>
                  <a:pt x="0" y="285750"/>
                </a:moveTo>
                <a:lnTo>
                  <a:pt x="123825" y="0"/>
                </a:lnTo>
                <a:lnTo>
                  <a:pt x="457200" y="0"/>
                </a:lnTo>
              </a:path>
            </a:pathLst>
          </a:custGeom>
          <a:noFill/>
          <a:ln w="9525">
            <a:solidFill>
              <a:schemeClr val="accent1"/>
            </a:solidFill>
            <a:headEnd type="oval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545704C7-3103-3437-F9FD-F709EA3153FC}"/>
              </a:ext>
            </a:extLst>
          </p:cNvPr>
          <p:cNvSpPr/>
          <p:nvPr/>
        </p:nvSpPr>
        <p:spPr>
          <a:xfrm>
            <a:off x="3138119" y="4200979"/>
            <a:ext cx="376863" cy="371974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rIns="45720" rtlCol="0" anchor="ctr">
            <a:noAutofit/>
          </a:bodyPr>
          <a:lstStyle/>
          <a:p>
            <a:pPr marL="0" marR="0" lvl="0" indent="0" algn="ctr" defTabSz="91424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3</a:t>
            </a:r>
            <a:endParaRPr kumimoji="0" lang="en-IN" sz="16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6" name="Rectangle: Diagonal Corners Rounded 15">
            <a:extLst>
              <a:ext uri="{FF2B5EF4-FFF2-40B4-BE49-F238E27FC236}">
                <a16:creationId xmlns:a16="http://schemas.microsoft.com/office/drawing/2014/main" id="{57A207C1-D418-352D-2981-820B3D5CEF67}"/>
              </a:ext>
            </a:extLst>
          </p:cNvPr>
          <p:cNvSpPr>
            <a:spLocks/>
          </p:cNvSpPr>
          <p:nvPr/>
        </p:nvSpPr>
        <p:spPr>
          <a:xfrm>
            <a:off x="3321684" y="5345078"/>
            <a:ext cx="8440778" cy="967067"/>
          </a:xfrm>
          <a:prstGeom prst="round2Diag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16000" rIns="45720" rtlCol="0" anchor="ctr">
            <a:noAutofit/>
          </a:bodyPr>
          <a:lstStyle/>
          <a:p>
            <a:pPr marL="114300" marR="0" lvl="0" indent="0" algn="l" defTabSz="91424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Insert Text Here</a:t>
            </a: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0EA8B4E2-6971-4931-E98A-7A7596A8F412}"/>
              </a:ext>
            </a:extLst>
          </p:cNvPr>
          <p:cNvSpPr>
            <a:spLocks/>
          </p:cNvSpPr>
          <p:nvPr/>
        </p:nvSpPr>
        <p:spPr>
          <a:xfrm flipV="1">
            <a:off x="1908618" y="5345075"/>
            <a:ext cx="1413066" cy="517865"/>
          </a:xfrm>
          <a:custGeom>
            <a:avLst/>
            <a:gdLst>
              <a:gd name="connsiteX0" fmla="*/ 0 w 457200"/>
              <a:gd name="connsiteY0" fmla="*/ 285750 h 285750"/>
              <a:gd name="connsiteX1" fmla="*/ 123825 w 457200"/>
              <a:gd name="connsiteY1" fmla="*/ 0 h 285750"/>
              <a:gd name="connsiteX2" fmla="*/ 457200 w 457200"/>
              <a:gd name="connsiteY2" fmla="*/ 0 h 285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57200" h="285750">
                <a:moveTo>
                  <a:pt x="0" y="285750"/>
                </a:moveTo>
                <a:lnTo>
                  <a:pt x="123825" y="0"/>
                </a:lnTo>
                <a:lnTo>
                  <a:pt x="457200" y="0"/>
                </a:lnTo>
              </a:path>
            </a:pathLst>
          </a:custGeom>
          <a:noFill/>
          <a:ln w="9525">
            <a:solidFill>
              <a:schemeClr val="accent1"/>
            </a:solidFill>
            <a:headEnd type="oval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2DC5F72A-BB97-03B2-CD38-E24ED6DD27DF}"/>
              </a:ext>
            </a:extLst>
          </p:cNvPr>
          <p:cNvSpPr/>
          <p:nvPr/>
        </p:nvSpPr>
        <p:spPr>
          <a:xfrm>
            <a:off x="3138119" y="5642624"/>
            <a:ext cx="376863" cy="371974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rIns="45720" rtlCol="0" anchor="ctr">
            <a:noAutofit/>
          </a:bodyPr>
          <a:lstStyle/>
          <a:p>
            <a:pPr marL="0" marR="0" lvl="0" indent="0" algn="ctr" defTabSz="91424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4</a:t>
            </a:r>
            <a:endParaRPr kumimoji="0" lang="en-IN" sz="16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DC36197-E1D0-5972-4AEB-244812A86461}"/>
              </a:ext>
            </a:extLst>
          </p:cNvPr>
          <p:cNvSpPr/>
          <p:nvPr/>
        </p:nvSpPr>
        <p:spPr>
          <a:xfrm>
            <a:off x="375920" y="3549074"/>
            <a:ext cx="1526134" cy="4001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marL="0" marR="0" lvl="0" indent="0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0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917333091"/>
      </p:ext>
    </p:extLst>
  </p:cSld>
  <p:clrMapOvr>
    <a:masterClrMapping/>
  </p:clrMapOvr>
</p:sld>
</file>

<file path=ppt/slides/slide1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8CF62D-0FF6-03F9-46D2-EEAB18D8F4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5" name="think-cell data - do not delete" hidden="1">
            <a:extLst>
              <a:ext uri="{FF2B5EF4-FFF2-40B4-BE49-F238E27FC236}">
                <a16:creationId xmlns:a16="http://schemas.microsoft.com/office/drawing/2014/main" id="{67FB7B47-1DF3-B5FE-6797-56A644DD4E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0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7FB7B47-1DF3-B5FE-6797-56A644DD4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C5EA0D2-2997-49A9-44D9-56CD35E576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ircular layou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9CAA607-41F5-2075-63BF-680ADB1842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40</a:t>
            </a:fld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597BB0F6-5897-13CA-9509-CC2140DA6434}"/>
              </a:ext>
            </a:extLst>
          </p:cNvPr>
          <p:cNvGrpSpPr/>
          <p:nvPr/>
        </p:nvGrpSpPr>
        <p:grpSpPr>
          <a:xfrm>
            <a:off x="3871830" y="1578153"/>
            <a:ext cx="4448341" cy="4442475"/>
            <a:chOff x="9769476" y="1646238"/>
            <a:chExt cx="1204913" cy="1203325"/>
          </a:xfrm>
        </p:grpSpPr>
        <p:sp>
          <p:nvSpPr>
            <p:cNvPr id="6" name="Freeform 436">
              <a:extLst>
                <a:ext uri="{FF2B5EF4-FFF2-40B4-BE49-F238E27FC236}">
                  <a16:creationId xmlns:a16="http://schemas.microsoft.com/office/drawing/2014/main" id="{067C4A3B-3DC8-A02C-3320-9733868E683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0788" y="1646238"/>
              <a:ext cx="522288" cy="330200"/>
            </a:xfrm>
            <a:custGeom>
              <a:avLst/>
              <a:gdLst>
                <a:gd name="T0" fmla="*/ 185 w 670"/>
                <a:gd name="T1" fmla="*/ 416 h 424"/>
                <a:gd name="T2" fmla="*/ 335 w 670"/>
                <a:gd name="T3" fmla="*/ 386 h 424"/>
                <a:gd name="T4" fmla="*/ 486 w 670"/>
                <a:gd name="T5" fmla="*/ 416 h 424"/>
                <a:gd name="T6" fmla="*/ 503 w 670"/>
                <a:gd name="T7" fmla="*/ 424 h 424"/>
                <a:gd name="T8" fmla="*/ 670 w 670"/>
                <a:gd name="T9" fmla="*/ 76 h 424"/>
                <a:gd name="T10" fmla="*/ 335 w 670"/>
                <a:gd name="T11" fmla="*/ 0 h 424"/>
                <a:gd name="T12" fmla="*/ 0 w 670"/>
                <a:gd name="T13" fmla="*/ 76 h 424"/>
                <a:gd name="T14" fmla="*/ 168 w 670"/>
                <a:gd name="T15" fmla="*/ 424 h 424"/>
                <a:gd name="T16" fmla="*/ 185 w 670"/>
                <a:gd name="T17" fmla="*/ 416 h 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70" h="424">
                  <a:moveTo>
                    <a:pt x="185" y="416"/>
                  </a:moveTo>
                  <a:cubicBezTo>
                    <a:pt x="232" y="396"/>
                    <a:pt x="283" y="386"/>
                    <a:pt x="335" y="386"/>
                  </a:cubicBezTo>
                  <a:cubicBezTo>
                    <a:pt x="387" y="386"/>
                    <a:pt x="438" y="396"/>
                    <a:pt x="486" y="416"/>
                  </a:cubicBezTo>
                  <a:cubicBezTo>
                    <a:pt x="492" y="418"/>
                    <a:pt x="497" y="421"/>
                    <a:pt x="503" y="424"/>
                  </a:cubicBezTo>
                  <a:cubicBezTo>
                    <a:pt x="670" y="76"/>
                    <a:pt x="670" y="76"/>
                    <a:pt x="670" y="76"/>
                  </a:cubicBezTo>
                  <a:cubicBezTo>
                    <a:pt x="569" y="27"/>
                    <a:pt x="455" y="0"/>
                    <a:pt x="335" y="0"/>
                  </a:cubicBezTo>
                  <a:cubicBezTo>
                    <a:pt x="215" y="0"/>
                    <a:pt x="101" y="27"/>
                    <a:pt x="0" y="76"/>
                  </a:cubicBezTo>
                  <a:cubicBezTo>
                    <a:pt x="168" y="424"/>
                    <a:pt x="168" y="424"/>
                    <a:pt x="168" y="424"/>
                  </a:cubicBezTo>
                  <a:cubicBezTo>
                    <a:pt x="173" y="421"/>
                    <a:pt x="179" y="418"/>
                    <a:pt x="185" y="416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" name="Freeform 437">
              <a:extLst>
                <a:ext uri="{FF2B5EF4-FFF2-40B4-BE49-F238E27FC236}">
                  <a16:creationId xmlns:a16="http://schemas.microsoft.com/office/drawing/2014/main" id="{34A77E9A-B589-18F5-8FEA-BF100B2B5C12}"/>
                </a:ext>
              </a:extLst>
            </p:cNvPr>
            <p:cNvSpPr>
              <a:spLocks/>
            </p:cNvSpPr>
            <p:nvPr/>
          </p:nvSpPr>
          <p:spPr bwMode="auto">
            <a:xfrm>
              <a:off x="9785351" y="1704975"/>
              <a:ext cx="455613" cy="474663"/>
            </a:xfrm>
            <a:custGeom>
              <a:avLst/>
              <a:gdLst>
                <a:gd name="T0" fmla="*/ 397 w 585"/>
                <a:gd name="T1" fmla="*/ 546 h 610"/>
                <a:gd name="T2" fmla="*/ 480 w 585"/>
                <a:gd name="T3" fmla="*/ 423 h 610"/>
                <a:gd name="T4" fmla="*/ 585 w 585"/>
                <a:gd name="T5" fmla="*/ 348 h 610"/>
                <a:gd name="T6" fmla="*/ 418 w 585"/>
                <a:gd name="T7" fmla="*/ 0 h 610"/>
                <a:gd name="T8" fmla="*/ 0 w 585"/>
                <a:gd name="T9" fmla="*/ 524 h 610"/>
                <a:gd name="T10" fmla="*/ 376 w 585"/>
                <a:gd name="T11" fmla="*/ 610 h 610"/>
                <a:gd name="T12" fmla="*/ 397 w 585"/>
                <a:gd name="T13" fmla="*/ 546 h 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85" h="610">
                  <a:moveTo>
                    <a:pt x="397" y="546"/>
                  </a:moveTo>
                  <a:cubicBezTo>
                    <a:pt x="416" y="500"/>
                    <a:pt x="444" y="458"/>
                    <a:pt x="480" y="423"/>
                  </a:cubicBezTo>
                  <a:cubicBezTo>
                    <a:pt x="511" y="392"/>
                    <a:pt x="546" y="367"/>
                    <a:pt x="585" y="348"/>
                  </a:cubicBezTo>
                  <a:cubicBezTo>
                    <a:pt x="418" y="0"/>
                    <a:pt x="418" y="0"/>
                    <a:pt x="418" y="0"/>
                  </a:cubicBezTo>
                  <a:cubicBezTo>
                    <a:pt x="209" y="101"/>
                    <a:pt x="53" y="293"/>
                    <a:pt x="0" y="524"/>
                  </a:cubicBezTo>
                  <a:cubicBezTo>
                    <a:pt x="376" y="610"/>
                    <a:pt x="376" y="610"/>
                    <a:pt x="376" y="610"/>
                  </a:cubicBezTo>
                  <a:cubicBezTo>
                    <a:pt x="381" y="588"/>
                    <a:pt x="388" y="566"/>
                    <a:pt x="397" y="54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Freeform 438">
              <a:extLst>
                <a:ext uri="{FF2B5EF4-FFF2-40B4-BE49-F238E27FC236}">
                  <a16:creationId xmlns:a16="http://schemas.microsoft.com/office/drawing/2014/main" id="{BA733420-5656-2BE9-1D6A-F1DC874E3DC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71138" y="2435225"/>
              <a:ext cx="471488" cy="414338"/>
            </a:xfrm>
            <a:custGeom>
              <a:avLst/>
              <a:gdLst>
                <a:gd name="T0" fmla="*/ 274 w 604"/>
                <a:gd name="T1" fmla="*/ 33 h 532"/>
                <a:gd name="T2" fmla="*/ 151 w 604"/>
                <a:gd name="T3" fmla="*/ 115 h 532"/>
                <a:gd name="T4" fmla="*/ 0 w 604"/>
                <a:gd name="T5" fmla="*/ 146 h 532"/>
                <a:gd name="T6" fmla="*/ 0 w 604"/>
                <a:gd name="T7" fmla="*/ 532 h 532"/>
                <a:gd name="T8" fmla="*/ 604 w 604"/>
                <a:gd name="T9" fmla="*/ 241 h 532"/>
                <a:gd name="T10" fmla="*/ 302 w 604"/>
                <a:gd name="T11" fmla="*/ 0 h 532"/>
                <a:gd name="T12" fmla="*/ 274 w 604"/>
                <a:gd name="T13" fmla="*/ 33 h 5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4" h="532">
                  <a:moveTo>
                    <a:pt x="274" y="33"/>
                  </a:moveTo>
                  <a:cubicBezTo>
                    <a:pt x="238" y="68"/>
                    <a:pt x="197" y="96"/>
                    <a:pt x="151" y="115"/>
                  </a:cubicBezTo>
                  <a:cubicBezTo>
                    <a:pt x="103" y="135"/>
                    <a:pt x="53" y="146"/>
                    <a:pt x="0" y="146"/>
                  </a:cubicBezTo>
                  <a:cubicBezTo>
                    <a:pt x="0" y="532"/>
                    <a:pt x="0" y="532"/>
                    <a:pt x="0" y="532"/>
                  </a:cubicBezTo>
                  <a:cubicBezTo>
                    <a:pt x="244" y="532"/>
                    <a:pt x="462" y="418"/>
                    <a:pt x="604" y="241"/>
                  </a:cubicBezTo>
                  <a:cubicBezTo>
                    <a:pt x="302" y="0"/>
                    <a:pt x="302" y="0"/>
                    <a:pt x="302" y="0"/>
                  </a:cubicBezTo>
                  <a:cubicBezTo>
                    <a:pt x="293" y="12"/>
                    <a:pt x="284" y="22"/>
                    <a:pt x="274" y="33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439">
              <a:extLst>
                <a:ext uri="{FF2B5EF4-FFF2-40B4-BE49-F238E27FC236}">
                  <a16:creationId xmlns:a16="http://schemas.microsoft.com/office/drawing/2014/main" id="{7EDF46F1-6E01-8F4F-81AC-0ADFEA96EECD}"/>
                </a:ext>
              </a:extLst>
            </p:cNvPr>
            <p:cNvSpPr>
              <a:spLocks/>
            </p:cNvSpPr>
            <p:nvPr/>
          </p:nvSpPr>
          <p:spPr bwMode="auto">
            <a:xfrm>
              <a:off x="9769476" y="2112963"/>
              <a:ext cx="366713" cy="509588"/>
            </a:xfrm>
            <a:custGeom>
              <a:avLst/>
              <a:gdLst>
                <a:gd name="T0" fmla="*/ 416 w 470"/>
                <a:gd name="T1" fmla="*/ 323 h 654"/>
                <a:gd name="T2" fmla="*/ 386 w 470"/>
                <a:gd name="T3" fmla="*/ 172 h 654"/>
                <a:gd name="T4" fmla="*/ 395 w 470"/>
                <a:gd name="T5" fmla="*/ 86 h 654"/>
                <a:gd name="T6" fmla="*/ 19 w 470"/>
                <a:gd name="T7" fmla="*/ 0 h 654"/>
                <a:gd name="T8" fmla="*/ 0 w 470"/>
                <a:gd name="T9" fmla="*/ 172 h 654"/>
                <a:gd name="T10" fmla="*/ 168 w 470"/>
                <a:gd name="T11" fmla="*/ 654 h 654"/>
                <a:gd name="T12" fmla="*/ 470 w 470"/>
                <a:gd name="T13" fmla="*/ 413 h 654"/>
                <a:gd name="T14" fmla="*/ 416 w 470"/>
                <a:gd name="T15" fmla="*/ 323 h 6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0" h="654">
                  <a:moveTo>
                    <a:pt x="416" y="323"/>
                  </a:moveTo>
                  <a:cubicBezTo>
                    <a:pt x="396" y="275"/>
                    <a:pt x="386" y="224"/>
                    <a:pt x="386" y="172"/>
                  </a:cubicBezTo>
                  <a:cubicBezTo>
                    <a:pt x="386" y="143"/>
                    <a:pt x="389" y="114"/>
                    <a:pt x="395" y="86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6" y="56"/>
                    <a:pt x="0" y="113"/>
                    <a:pt x="0" y="172"/>
                  </a:cubicBezTo>
                  <a:cubicBezTo>
                    <a:pt x="0" y="354"/>
                    <a:pt x="63" y="521"/>
                    <a:pt x="168" y="654"/>
                  </a:cubicBezTo>
                  <a:cubicBezTo>
                    <a:pt x="470" y="413"/>
                    <a:pt x="470" y="413"/>
                    <a:pt x="470" y="413"/>
                  </a:cubicBezTo>
                  <a:cubicBezTo>
                    <a:pt x="448" y="386"/>
                    <a:pt x="430" y="355"/>
                    <a:pt x="416" y="323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440">
              <a:extLst>
                <a:ext uri="{FF2B5EF4-FFF2-40B4-BE49-F238E27FC236}">
                  <a16:creationId xmlns:a16="http://schemas.microsoft.com/office/drawing/2014/main" id="{013F45DC-4B61-5605-D5D2-CBE62DE7681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07676" y="2112963"/>
              <a:ext cx="366713" cy="509588"/>
            </a:xfrm>
            <a:custGeom>
              <a:avLst/>
              <a:gdLst>
                <a:gd name="T0" fmla="*/ 84 w 470"/>
                <a:gd name="T1" fmla="*/ 172 h 654"/>
                <a:gd name="T2" fmla="*/ 53 w 470"/>
                <a:gd name="T3" fmla="*/ 323 h 654"/>
                <a:gd name="T4" fmla="*/ 0 w 470"/>
                <a:gd name="T5" fmla="*/ 413 h 654"/>
                <a:gd name="T6" fmla="*/ 301 w 470"/>
                <a:gd name="T7" fmla="*/ 654 h 654"/>
                <a:gd name="T8" fmla="*/ 470 w 470"/>
                <a:gd name="T9" fmla="*/ 172 h 654"/>
                <a:gd name="T10" fmla="*/ 451 w 470"/>
                <a:gd name="T11" fmla="*/ 0 h 654"/>
                <a:gd name="T12" fmla="*/ 74 w 470"/>
                <a:gd name="T13" fmla="*/ 86 h 654"/>
                <a:gd name="T14" fmla="*/ 84 w 470"/>
                <a:gd name="T15" fmla="*/ 172 h 6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0" h="654">
                  <a:moveTo>
                    <a:pt x="84" y="172"/>
                  </a:moveTo>
                  <a:cubicBezTo>
                    <a:pt x="84" y="224"/>
                    <a:pt x="74" y="275"/>
                    <a:pt x="53" y="323"/>
                  </a:cubicBezTo>
                  <a:cubicBezTo>
                    <a:pt x="40" y="355"/>
                    <a:pt x="22" y="386"/>
                    <a:pt x="0" y="413"/>
                  </a:cubicBezTo>
                  <a:cubicBezTo>
                    <a:pt x="301" y="654"/>
                    <a:pt x="301" y="654"/>
                    <a:pt x="301" y="654"/>
                  </a:cubicBezTo>
                  <a:cubicBezTo>
                    <a:pt x="407" y="521"/>
                    <a:pt x="470" y="354"/>
                    <a:pt x="470" y="172"/>
                  </a:cubicBezTo>
                  <a:cubicBezTo>
                    <a:pt x="470" y="113"/>
                    <a:pt x="463" y="56"/>
                    <a:pt x="451" y="0"/>
                  </a:cubicBezTo>
                  <a:cubicBezTo>
                    <a:pt x="74" y="86"/>
                    <a:pt x="74" y="86"/>
                    <a:pt x="74" y="86"/>
                  </a:cubicBezTo>
                  <a:cubicBezTo>
                    <a:pt x="81" y="114"/>
                    <a:pt x="84" y="143"/>
                    <a:pt x="84" y="172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441">
              <a:extLst>
                <a:ext uri="{FF2B5EF4-FFF2-40B4-BE49-F238E27FC236}">
                  <a16:creationId xmlns:a16="http://schemas.microsoft.com/office/drawing/2014/main" id="{321D1330-5E25-41C2-1CE2-1C495BF60E5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2901" y="1704975"/>
              <a:ext cx="455613" cy="474663"/>
            </a:xfrm>
            <a:custGeom>
              <a:avLst/>
              <a:gdLst>
                <a:gd name="T0" fmla="*/ 106 w 585"/>
                <a:gd name="T1" fmla="*/ 423 h 610"/>
                <a:gd name="T2" fmla="*/ 188 w 585"/>
                <a:gd name="T3" fmla="*/ 546 h 610"/>
                <a:gd name="T4" fmla="*/ 209 w 585"/>
                <a:gd name="T5" fmla="*/ 610 h 610"/>
                <a:gd name="T6" fmla="*/ 585 w 585"/>
                <a:gd name="T7" fmla="*/ 524 h 610"/>
                <a:gd name="T8" fmla="*/ 168 w 585"/>
                <a:gd name="T9" fmla="*/ 0 h 610"/>
                <a:gd name="T10" fmla="*/ 0 w 585"/>
                <a:gd name="T11" fmla="*/ 348 h 610"/>
                <a:gd name="T12" fmla="*/ 106 w 585"/>
                <a:gd name="T13" fmla="*/ 423 h 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85" h="610">
                  <a:moveTo>
                    <a:pt x="106" y="423"/>
                  </a:moveTo>
                  <a:cubicBezTo>
                    <a:pt x="141" y="458"/>
                    <a:pt x="169" y="500"/>
                    <a:pt x="188" y="546"/>
                  </a:cubicBezTo>
                  <a:cubicBezTo>
                    <a:pt x="197" y="566"/>
                    <a:pt x="204" y="588"/>
                    <a:pt x="209" y="610"/>
                  </a:cubicBezTo>
                  <a:cubicBezTo>
                    <a:pt x="585" y="524"/>
                    <a:pt x="585" y="524"/>
                    <a:pt x="585" y="524"/>
                  </a:cubicBezTo>
                  <a:cubicBezTo>
                    <a:pt x="533" y="293"/>
                    <a:pt x="376" y="101"/>
                    <a:pt x="168" y="0"/>
                  </a:cubicBezTo>
                  <a:cubicBezTo>
                    <a:pt x="0" y="348"/>
                    <a:pt x="0" y="348"/>
                    <a:pt x="0" y="348"/>
                  </a:cubicBezTo>
                  <a:cubicBezTo>
                    <a:pt x="39" y="367"/>
                    <a:pt x="75" y="392"/>
                    <a:pt x="106" y="423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442">
              <a:extLst>
                <a:ext uri="{FF2B5EF4-FFF2-40B4-BE49-F238E27FC236}">
                  <a16:creationId xmlns:a16="http://schemas.microsoft.com/office/drawing/2014/main" id="{D8A6253C-23D8-A633-31CF-84837CCC15F0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1238" y="2435225"/>
              <a:ext cx="469900" cy="414338"/>
            </a:xfrm>
            <a:custGeom>
              <a:avLst/>
              <a:gdLst>
                <a:gd name="T0" fmla="*/ 453 w 603"/>
                <a:gd name="T1" fmla="*/ 115 h 532"/>
                <a:gd name="T2" fmla="*/ 330 w 603"/>
                <a:gd name="T3" fmla="*/ 33 h 532"/>
                <a:gd name="T4" fmla="*/ 301 w 603"/>
                <a:gd name="T5" fmla="*/ 0 h 532"/>
                <a:gd name="T6" fmla="*/ 0 w 603"/>
                <a:gd name="T7" fmla="*/ 241 h 532"/>
                <a:gd name="T8" fmla="*/ 603 w 603"/>
                <a:gd name="T9" fmla="*/ 532 h 532"/>
                <a:gd name="T10" fmla="*/ 603 w 603"/>
                <a:gd name="T11" fmla="*/ 146 h 532"/>
                <a:gd name="T12" fmla="*/ 453 w 603"/>
                <a:gd name="T13" fmla="*/ 115 h 5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3" h="532">
                  <a:moveTo>
                    <a:pt x="453" y="115"/>
                  </a:moveTo>
                  <a:cubicBezTo>
                    <a:pt x="407" y="96"/>
                    <a:pt x="365" y="68"/>
                    <a:pt x="330" y="33"/>
                  </a:cubicBezTo>
                  <a:cubicBezTo>
                    <a:pt x="320" y="22"/>
                    <a:pt x="310" y="12"/>
                    <a:pt x="301" y="0"/>
                  </a:cubicBezTo>
                  <a:cubicBezTo>
                    <a:pt x="0" y="241"/>
                    <a:pt x="0" y="241"/>
                    <a:pt x="0" y="241"/>
                  </a:cubicBezTo>
                  <a:cubicBezTo>
                    <a:pt x="141" y="418"/>
                    <a:pt x="359" y="532"/>
                    <a:pt x="603" y="532"/>
                  </a:cubicBezTo>
                  <a:cubicBezTo>
                    <a:pt x="603" y="146"/>
                    <a:pt x="603" y="146"/>
                    <a:pt x="603" y="146"/>
                  </a:cubicBezTo>
                  <a:cubicBezTo>
                    <a:pt x="551" y="146"/>
                    <a:pt x="500" y="135"/>
                    <a:pt x="453" y="115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3" name="Rectangle 12">
            <a:extLst>
              <a:ext uri="{FF2B5EF4-FFF2-40B4-BE49-F238E27FC236}">
                <a16:creationId xmlns:a16="http://schemas.microsoft.com/office/drawing/2014/main" id="{CB218A4C-6A2F-83EE-848E-D44C61C892D9}"/>
              </a:ext>
            </a:extLst>
          </p:cNvPr>
          <p:cNvSpPr/>
          <p:nvPr/>
        </p:nvSpPr>
        <p:spPr>
          <a:xfrm>
            <a:off x="517567" y="1612304"/>
            <a:ext cx="3003923" cy="89255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>
              <a:lnSpc>
                <a:spcPct val="150000"/>
              </a:lnSpc>
            </a:pPr>
            <a:r>
              <a:rPr lang="en-US" sz="1600" dirty="0">
                <a:solidFill>
                  <a:schemeClr val="accent1"/>
                </a:solidFill>
              </a:rPr>
              <a:t>Enter Your Title</a:t>
            </a:r>
          </a:p>
          <a:p>
            <a:pPr algn="r">
              <a:lnSpc>
                <a:spcPct val="150000"/>
              </a:lnSpc>
            </a:pPr>
            <a:r>
              <a:rPr lang="en-US" sz="1200" dirty="0"/>
              <a:t>This is a sample text. You simply add your own text and description here. 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4E86E1A-1ABD-0614-193C-AD7ADD564E54}"/>
              </a:ext>
            </a:extLst>
          </p:cNvPr>
          <p:cNvSpPr/>
          <p:nvPr/>
        </p:nvSpPr>
        <p:spPr>
          <a:xfrm>
            <a:off x="517567" y="3310748"/>
            <a:ext cx="3003923" cy="89255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>
              <a:lnSpc>
                <a:spcPct val="150000"/>
              </a:lnSpc>
            </a:pPr>
            <a:r>
              <a:rPr lang="en-US" sz="1600" b="1" dirty="0">
                <a:solidFill>
                  <a:schemeClr val="accent3"/>
                </a:solidFill>
              </a:rPr>
              <a:t>Enter Your Title</a:t>
            </a:r>
            <a:endParaRPr lang="en-US" sz="1600" dirty="0">
              <a:solidFill>
                <a:schemeClr val="accent3"/>
              </a:solidFill>
            </a:endParaRPr>
          </a:p>
          <a:p>
            <a:pPr algn="r">
              <a:lnSpc>
                <a:spcPct val="150000"/>
              </a:lnSpc>
            </a:pPr>
            <a:r>
              <a:rPr lang="en-US" sz="1200" dirty="0"/>
              <a:t>This is a sample text. You simply add your own text and description here. 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38745C4-2EFD-88BB-BDC0-ABE83705E2AD}"/>
              </a:ext>
            </a:extLst>
          </p:cNvPr>
          <p:cNvSpPr/>
          <p:nvPr/>
        </p:nvSpPr>
        <p:spPr>
          <a:xfrm>
            <a:off x="517567" y="5009193"/>
            <a:ext cx="3003923" cy="89255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>
              <a:lnSpc>
                <a:spcPct val="150000"/>
              </a:lnSpc>
            </a:pPr>
            <a:r>
              <a:rPr lang="en-US" sz="1600" b="1" dirty="0">
                <a:solidFill>
                  <a:schemeClr val="accent6"/>
                </a:solidFill>
              </a:rPr>
              <a:t>Enter Your Title</a:t>
            </a:r>
            <a:endParaRPr lang="en-US" sz="1600" dirty="0">
              <a:solidFill>
                <a:schemeClr val="accent6"/>
              </a:solidFill>
            </a:endParaRPr>
          </a:p>
          <a:p>
            <a:pPr algn="r">
              <a:lnSpc>
                <a:spcPct val="150000"/>
              </a:lnSpc>
            </a:pPr>
            <a:r>
              <a:rPr lang="en-US" sz="1200" dirty="0"/>
              <a:t>This is a sample text. You simply add your own text and description here. 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56C0C32-ADB4-5635-3FD8-4AF188FC47A1}"/>
              </a:ext>
            </a:extLst>
          </p:cNvPr>
          <p:cNvSpPr/>
          <p:nvPr/>
        </p:nvSpPr>
        <p:spPr>
          <a:xfrm>
            <a:off x="8670511" y="1612304"/>
            <a:ext cx="3003923" cy="89255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600" b="1" dirty="0">
                <a:solidFill>
                  <a:schemeClr val="accent2"/>
                </a:solidFill>
              </a:rPr>
              <a:t>Enter Your Title</a:t>
            </a:r>
            <a:endParaRPr lang="en-US" sz="1600" dirty="0">
              <a:solidFill>
                <a:schemeClr val="accent2"/>
              </a:solidFill>
            </a:endParaRPr>
          </a:p>
          <a:p>
            <a:pPr>
              <a:lnSpc>
                <a:spcPct val="150000"/>
              </a:lnSpc>
            </a:pPr>
            <a:r>
              <a:rPr lang="en-US" sz="1200" dirty="0"/>
              <a:t>This is a sample text. You simply add your own text and description here. 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03F885B-83F9-C2A9-D5A2-D1273BBF1C3D}"/>
              </a:ext>
            </a:extLst>
          </p:cNvPr>
          <p:cNvSpPr/>
          <p:nvPr/>
        </p:nvSpPr>
        <p:spPr>
          <a:xfrm>
            <a:off x="8670511" y="2744600"/>
            <a:ext cx="3003923" cy="89255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600" b="1" dirty="0">
                <a:solidFill>
                  <a:schemeClr val="accent3"/>
                </a:solidFill>
              </a:rPr>
              <a:t>Enter Your Title</a:t>
            </a:r>
            <a:endParaRPr lang="en-US" sz="1600" dirty="0">
              <a:solidFill>
                <a:schemeClr val="accent3"/>
              </a:solidFill>
            </a:endParaRPr>
          </a:p>
          <a:p>
            <a:pPr>
              <a:lnSpc>
                <a:spcPct val="150000"/>
              </a:lnSpc>
            </a:pPr>
            <a:r>
              <a:rPr lang="en-US" sz="1200" dirty="0"/>
              <a:t>This is a sample text. You simply add your own text and description here. 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3DFBB21-E442-23D1-83EE-02D7C8DD6CDC}"/>
              </a:ext>
            </a:extLst>
          </p:cNvPr>
          <p:cNvSpPr/>
          <p:nvPr/>
        </p:nvSpPr>
        <p:spPr>
          <a:xfrm>
            <a:off x="8670511" y="3876896"/>
            <a:ext cx="3003923" cy="89255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600" b="1" dirty="0">
                <a:solidFill>
                  <a:schemeClr val="accent4"/>
                </a:solidFill>
              </a:rPr>
              <a:t>Enter Your Title</a:t>
            </a:r>
            <a:endParaRPr lang="en-US" sz="1600" dirty="0">
              <a:solidFill>
                <a:schemeClr val="accent4"/>
              </a:solidFill>
            </a:endParaRPr>
          </a:p>
          <a:p>
            <a:pPr>
              <a:lnSpc>
                <a:spcPct val="150000"/>
              </a:lnSpc>
            </a:pPr>
            <a:r>
              <a:rPr lang="en-US" sz="1200" dirty="0"/>
              <a:t>This is a sample text. You simply add your own text and description here. 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C28728A-14CD-1114-2542-822062C01E45}"/>
              </a:ext>
            </a:extLst>
          </p:cNvPr>
          <p:cNvSpPr/>
          <p:nvPr/>
        </p:nvSpPr>
        <p:spPr>
          <a:xfrm>
            <a:off x="8670511" y="5009193"/>
            <a:ext cx="3003923" cy="89255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600" b="1" dirty="0">
                <a:solidFill>
                  <a:schemeClr val="accent5"/>
                </a:solidFill>
              </a:rPr>
              <a:t>Enter Your Title</a:t>
            </a:r>
            <a:endParaRPr lang="en-US" sz="1600" dirty="0">
              <a:solidFill>
                <a:schemeClr val="accent5"/>
              </a:solidFill>
            </a:endParaRPr>
          </a:p>
          <a:p>
            <a:pPr>
              <a:lnSpc>
                <a:spcPct val="150000"/>
              </a:lnSpc>
            </a:pPr>
            <a:r>
              <a:rPr lang="en-US" sz="1200" dirty="0"/>
              <a:t>This is a sample text. You simply add your own text and description here. 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DB90C23B-22CE-95A2-8D12-B4B7666A443C}"/>
              </a:ext>
            </a:extLst>
          </p:cNvPr>
          <p:cNvGrpSpPr/>
          <p:nvPr/>
        </p:nvGrpSpPr>
        <p:grpSpPr>
          <a:xfrm>
            <a:off x="6525387" y="5043035"/>
            <a:ext cx="531221" cy="531936"/>
            <a:chOff x="2897188" y="4360862"/>
            <a:chExt cx="1173162" cy="1174751"/>
          </a:xfrm>
          <a:solidFill>
            <a:schemeClr val="bg1"/>
          </a:solidFill>
        </p:grpSpPr>
        <p:sp>
          <p:nvSpPr>
            <p:cNvPr id="21" name="Freeform 202">
              <a:extLst>
                <a:ext uri="{FF2B5EF4-FFF2-40B4-BE49-F238E27FC236}">
                  <a16:creationId xmlns:a16="http://schemas.microsoft.com/office/drawing/2014/main" id="{86BB4DAB-2AA9-CD89-DD70-D0F87DF687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52775" y="4635500"/>
              <a:ext cx="625475" cy="625475"/>
            </a:xfrm>
            <a:custGeom>
              <a:avLst/>
              <a:gdLst>
                <a:gd name="T0" fmla="*/ 1024 w 1024"/>
                <a:gd name="T1" fmla="*/ 512 h 1024"/>
                <a:gd name="T2" fmla="*/ 0 w 1024"/>
                <a:gd name="T3" fmla="*/ 512 h 1024"/>
                <a:gd name="T4" fmla="*/ 958 w 1024"/>
                <a:gd name="T5" fmla="*/ 480 h 1024"/>
                <a:gd name="T6" fmla="*/ 750 w 1024"/>
                <a:gd name="T7" fmla="*/ 288 h 1024"/>
                <a:gd name="T8" fmla="*/ 958 w 1024"/>
                <a:gd name="T9" fmla="*/ 480 h 1024"/>
                <a:gd name="T10" fmla="*/ 480 w 1024"/>
                <a:gd name="T11" fmla="*/ 953 h 1024"/>
                <a:gd name="T12" fmla="*/ 480 w 1024"/>
                <a:gd name="T13" fmla="*/ 800 h 1024"/>
                <a:gd name="T14" fmla="*/ 313 w 1024"/>
                <a:gd name="T15" fmla="*/ 544 h 1024"/>
                <a:gd name="T16" fmla="*/ 480 w 1024"/>
                <a:gd name="T17" fmla="*/ 736 h 1024"/>
                <a:gd name="T18" fmla="*/ 544 w 1024"/>
                <a:gd name="T19" fmla="*/ 953 h 1024"/>
                <a:gd name="T20" fmla="*/ 664 w 1024"/>
                <a:gd name="T21" fmla="*/ 800 h 1024"/>
                <a:gd name="T22" fmla="*/ 544 w 1024"/>
                <a:gd name="T23" fmla="*/ 736 h 1024"/>
                <a:gd name="T24" fmla="*/ 711 w 1024"/>
                <a:gd name="T25" fmla="*/ 544 h 1024"/>
                <a:gd name="T26" fmla="*/ 544 w 1024"/>
                <a:gd name="T27" fmla="*/ 736 h 1024"/>
                <a:gd name="T28" fmla="*/ 958 w 1024"/>
                <a:gd name="T29" fmla="*/ 544 h 1024"/>
                <a:gd name="T30" fmla="*/ 750 w 1024"/>
                <a:gd name="T31" fmla="*/ 736 h 1024"/>
                <a:gd name="T32" fmla="*/ 711 w 1024"/>
                <a:gd name="T33" fmla="*/ 480 h 1024"/>
                <a:gd name="T34" fmla="*/ 544 w 1024"/>
                <a:gd name="T35" fmla="*/ 288 h 1024"/>
                <a:gd name="T36" fmla="*/ 711 w 1024"/>
                <a:gd name="T37" fmla="*/ 480 h 1024"/>
                <a:gd name="T38" fmla="*/ 544 w 1024"/>
                <a:gd name="T39" fmla="*/ 70 h 1024"/>
                <a:gd name="T40" fmla="*/ 544 w 1024"/>
                <a:gd name="T41" fmla="*/ 224 h 1024"/>
                <a:gd name="T42" fmla="*/ 480 w 1024"/>
                <a:gd name="T43" fmla="*/ 224 h 1024"/>
                <a:gd name="T44" fmla="*/ 480 w 1024"/>
                <a:gd name="T45" fmla="*/ 70 h 1024"/>
                <a:gd name="T46" fmla="*/ 480 w 1024"/>
                <a:gd name="T47" fmla="*/ 480 h 1024"/>
                <a:gd name="T48" fmla="*/ 339 w 1024"/>
                <a:gd name="T49" fmla="*/ 288 h 1024"/>
                <a:gd name="T50" fmla="*/ 249 w 1024"/>
                <a:gd name="T51" fmla="*/ 480 h 1024"/>
                <a:gd name="T52" fmla="*/ 125 w 1024"/>
                <a:gd name="T53" fmla="*/ 288 h 1024"/>
                <a:gd name="T54" fmla="*/ 249 w 1024"/>
                <a:gd name="T55" fmla="*/ 480 h 1024"/>
                <a:gd name="T56" fmla="*/ 274 w 1024"/>
                <a:gd name="T57" fmla="*/ 736 h 1024"/>
                <a:gd name="T58" fmla="*/ 66 w 1024"/>
                <a:gd name="T59" fmla="*/ 544 h 1024"/>
                <a:gd name="T60" fmla="*/ 169 w 1024"/>
                <a:gd name="T61" fmla="*/ 800 h 1024"/>
                <a:gd name="T62" fmla="*/ 360 w 1024"/>
                <a:gd name="T63" fmla="*/ 933 h 1024"/>
                <a:gd name="T64" fmla="*/ 664 w 1024"/>
                <a:gd name="T65" fmla="*/ 933 h 1024"/>
                <a:gd name="T66" fmla="*/ 855 w 1024"/>
                <a:gd name="T67" fmla="*/ 800 h 1024"/>
                <a:gd name="T68" fmla="*/ 855 w 1024"/>
                <a:gd name="T69" fmla="*/ 224 h 1024"/>
                <a:gd name="T70" fmla="*/ 664 w 1024"/>
                <a:gd name="T71" fmla="*/ 91 h 1024"/>
                <a:gd name="T72" fmla="*/ 360 w 1024"/>
                <a:gd name="T73" fmla="*/ 91 h 1024"/>
                <a:gd name="T74" fmla="*/ 169 w 1024"/>
                <a:gd name="T75" fmla="*/ 224 h 10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024" h="1024">
                  <a:moveTo>
                    <a:pt x="512" y="1024"/>
                  </a:moveTo>
                  <a:cubicBezTo>
                    <a:pt x="795" y="1024"/>
                    <a:pt x="1024" y="794"/>
                    <a:pt x="1024" y="512"/>
                  </a:cubicBezTo>
                  <a:cubicBezTo>
                    <a:pt x="1024" y="229"/>
                    <a:pt x="795" y="0"/>
                    <a:pt x="512" y="0"/>
                  </a:cubicBezTo>
                  <a:cubicBezTo>
                    <a:pt x="229" y="0"/>
                    <a:pt x="0" y="229"/>
                    <a:pt x="0" y="512"/>
                  </a:cubicBezTo>
                  <a:cubicBezTo>
                    <a:pt x="0" y="794"/>
                    <a:pt x="229" y="1023"/>
                    <a:pt x="512" y="1024"/>
                  </a:cubicBezTo>
                  <a:moveTo>
                    <a:pt x="958" y="480"/>
                  </a:moveTo>
                  <a:cubicBezTo>
                    <a:pt x="775" y="480"/>
                    <a:pt x="775" y="480"/>
                    <a:pt x="775" y="480"/>
                  </a:cubicBezTo>
                  <a:cubicBezTo>
                    <a:pt x="773" y="415"/>
                    <a:pt x="765" y="351"/>
                    <a:pt x="750" y="288"/>
                  </a:cubicBezTo>
                  <a:cubicBezTo>
                    <a:pt x="899" y="288"/>
                    <a:pt x="899" y="288"/>
                    <a:pt x="899" y="288"/>
                  </a:cubicBezTo>
                  <a:cubicBezTo>
                    <a:pt x="933" y="346"/>
                    <a:pt x="954" y="412"/>
                    <a:pt x="958" y="480"/>
                  </a:cubicBezTo>
                  <a:moveTo>
                    <a:pt x="480" y="800"/>
                  </a:moveTo>
                  <a:cubicBezTo>
                    <a:pt x="480" y="953"/>
                    <a:pt x="480" y="953"/>
                    <a:pt x="480" y="953"/>
                  </a:cubicBezTo>
                  <a:cubicBezTo>
                    <a:pt x="435" y="935"/>
                    <a:pt x="392" y="881"/>
                    <a:pt x="360" y="800"/>
                  </a:cubicBezTo>
                  <a:lnTo>
                    <a:pt x="480" y="800"/>
                  </a:lnTo>
                  <a:close/>
                  <a:moveTo>
                    <a:pt x="339" y="736"/>
                  </a:moveTo>
                  <a:cubicBezTo>
                    <a:pt x="323" y="673"/>
                    <a:pt x="314" y="608"/>
                    <a:pt x="313" y="544"/>
                  </a:cubicBezTo>
                  <a:cubicBezTo>
                    <a:pt x="480" y="544"/>
                    <a:pt x="480" y="544"/>
                    <a:pt x="480" y="544"/>
                  </a:cubicBezTo>
                  <a:cubicBezTo>
                    <a:pt x="480" y="736"/>
                    <a:pt x="480" y="736"/>
                    <a:pt x="480" y="736"/>
                  </a:cubicBezTo>
                  <a:lnTo>
                    <a:pt x="339" y="736"/>
                  </a:lnTo>
                  <a:close/>
                  <a:moveTo>
                    <a:pt x="544" y="953"/>
                  </a:moveTo>
                  <a:cubicBezTo>
                    <a:pt x="544" y="800"/>
                    <a:pt x="544" y="800"/>
                    <a:pt x="544" y="800"/>
                  </a:cubicBezTo>
                  <a:cubicBezTo>
                    <a:pt x="664" y="800"/>
                    <a:pt x="664" y="800"/>
                    <a:pt x="664" y="800"/>
                  </a:cubicBezTo>
                  <a:cubicBezTo>
                    <a:pt x="632" y="881"/>
                    <a:pt x="589" y="935"/>
                    <a:pt x="544" y="953"/>
                  </a:cubicBezTo>
                  <a:moveTo>
                    <a:pt x="544" y="736"/>
                  </a:moveTo>
                  <a:cubicBezTo>
                    <a:pt x="544" y="544"/>
                    <a:pt x="544" y="544"/>
                    <a:pt x="544" y="544"/>
                  </a:cubicBezTo>
                  <a:cubicBezTo>
                    <a:pt x="711" y="544"/>
                    <a:pt x="711" y="544"/>
                    <a:pt x="711" y="544"/>
                  </a:cubicBezTo>
                  <a:cubicBezTo>
                    <a:pt x="710" y="608"/>
                    <a:pt x="701" y="673"/>
                    <a:pt x="685" y="736"/>
                  </a:cubicBezTo>
                  <a:lnTo>
                    <a:pt x="544" y="736"/>
                  </a:lnTo>
                  <a:close/>
                  <a:moveTo>
                    <a:pt x="775" y="544"/>
                  </a:moveTo>
                  <a:cubicBezTo>
                    <a:pt x="958" y="544"/>
                    <a:pt x="958" y="544"/>
                    <a:pt x="958" y="544"/>
                  </a:cubicBezTo>
                  <a:cubicBezTo>
                    <a:pt x="954" y="611"/>
                    <a:pt x="933" y="677"/>
                    <a:pt x="899" y="736"/>
                  </a:cubicBezTo>
                  <a:cubicBezTo>
                    <a:pt x="750" y="736"/>
                    <a:pt x="750" y="736"/>
                    <a:pt x="750" y="736"/>
                  </a:cubicBezTo>
                  <a:cubicBezTo>
                    <a:pt x="765" y="673"/>
                    <a:pt x="773" y="608"/>
                    <a:pt x="775" y="544"/>
                  </a:cubicBezTo>
                  <a:moveTo>
                    <a:pt x="711" y="480"/>
                  </a:moveTo>
                  <a:cubicBezTo>
                    <a:pt x="544" y="480"/>
                    <a:pt x="544" y="480"/>
                    <a:pt x="544" y="480"/>
                  </a:cubicBezTo>
                  <a:cubicBezTo>
                    <a:pt x="544" y="288"/>
                    <a:pt x="544" y="288"/>
                    <a:pt x="544" y="288"/>
                  </a:cubicBezTo>
                  <a:cubicBezTo>
                    <a:pt x="685" y="288"/>
                    <a:pt x="685" y="288"/>
                    <a:pt x="685" y="288"/>
                  </a:cubicBezTo>
                  <a:cubicBezTo>
                    <a:pt x="701" y="350"/>
                    <a:pt x="710" y="415"/>
                    <a:pt x="711" y="480"/>
                  </a:cubicBezTo>
                  <a:moveTo>
                    <a:pt x="544" y="224"/>
                  </a:moveTo>
                  <a:cubicBezTo>
                    <a:pt x="544" y="70"/>
                    <a:pt x="544" y="70"/>
                    <a:pt x="544" y="70"/>
                  </a:cubicBezTo>
                  <a:cubicBezTo>
                    <a:pt x="589" y="88"/>
                    <a:pt x="632" y="142"/>
                    <a:pt x="664" y="224"/>
                  </a:cubicBezTo>
                  <a:lnTo>
                    <a:pt x="544" y="224"/>
                  </a:lnTo>
                  <a:close/>
                  <a:moveTo>
                    <a:pt x="480" y="70"/>
                  </a:moveTo>
                  <a:cubicBezTo>
                    <a:pt x="480" y="224"/>
                    <a:pt x="480" y="224"/>
                    <a:pt x="480" y="224"/>
                  </a:cubicBezTo>
                  <a:cubicBezTo>
                    <a:pt x="360" y="224"/>
                    <a:pt x="360" y="224"/>
                    <a:pt x="360" y="224"/>
                  </a:cubicBezTo>
                  <a:cubicBezTo>
                    <a:pt x="392" y="142"/>
                    <a:pt x="435" y="88"/>
                    <a:pt x="480" y="70"/>
                  </a:cubicBezTo>
                  <a:moveTo>
                    <a:pt x="480" y="288"/>
                  </a:moveTo>
                  <a:cubicBezTo>
                    <a:pt x="480" y="480"/>
                    <a:pt x="480" y="480"/>
                    <a:pt x="480" y="480"/>
                  </a:cubicBezTo>
                  <a:cubicBezTo>
                    <a:pt x="313" y="480"/>
                    <a:pt x="313" y="480"/>
                    <a:pt x="313" y="480"/>
                  </a:cubicBezTo>
                  <a:cubicBezTo>
                    <a:pt x="314" y="415"/>
                    <a:pt x="323" y="350"/>
                    <a:pt x="339" y="288"/>
                  </a:cubicBezTo>
                  <a:lnTo>
                    <a:pt x="480" y="288"/>
                  </a:lnTo>
                  <a:close/>
                  <a:moveTo>
                    <a:pt x="249" y="480"/>
                  </a:moveTo>
                  <a:cubicBezTo>
                    <a:pt x="66" y="480"/>
                    <a:pt x="66" y="480"/>
                    <a:pt x="66" y="480"/>
                  </a:cubicBezTo>
                  <a:cubicBezTo>
                    <a:pt x="70" y="412"/>
                    <a:pt x="91" y="346"/>
                    <a:pt x="125" y="288"/>
                  </a:cubicBezTo>
                  <a:cubicBezTo>
                    <a:pt x="274" y="288"/>
                    <a:pt x="274" y="288"/>
                    <a:pt x="274" y="288"/>
                  </a:cubicBezTo>
                  <a:cubicBezTo>
                    <a:pt x="259" y="351"/>
                    <a:pt x="251" y="415"/>
                    <a:pt x="249" y="480"/>
                  </a:cubicBezTo>
                  <a:moveTo>
                    <a:pt x="249" y="544"/>
                  </a:moveTo>
                  <a:cubicBezTo>
                    <a:pt x="251" y="608"/>
                    <a:pt x="259" y="673"/>
                    <a:pt x="274" y="736"/>
                  </a:cubicBezTo>
                  <a:cubicBezTo>
                    <a:pt x="125" y="736"/>
                    <a:pt x="125" y="736"/>
                    <a:pt x="125" y="736"/>
                  </a:cubicBezTo>
                  <a:cubicBezTo>
                    <a:pt x="91" y="677"/>
                    <a:pt x="70" y="611"/>
                    <a:pt x="66" y="544"/>
                  </a:cubicBezTo>
                  <a:lnTo>
                    <a:pt x="249" y="544"/>
                  </a:lnTo>
                  <a:close/>
                  <a:moveTo>
                    <a:pt x="169" y="800"/>
                  </a:moveTo>
                  <a:cubicBezTo>
                    <a:pt x="293" y="800"/>
                    <a:pt x="293" y="800"/>
                    <a:pt x="293" y="800"/>
                  </a:cubicBezTo>
                  <a:cubicBezTo>
                    <a:pt x="308" y="847"/>
                    <a:pt x="331" y="892"/>
                    <a:pt x="360" y="933"/>
                  </a:cubicBezTo>
                  <a:cubicBezTo>
                    <a:pt x="286" y="906"/>
                    <a:pt x="220" y="860"/>
                    <a:pt x="169" y="800"/>
                  </a:cubicBezTo>
                  <a:moveTo>
                    <a:pt x="664" y="933"/>
                  </a:moveTo>
                  <a:cubicBezTo>
                    <a:pt x="693" y="892"/>
                    <a:pt x="716" y="847"/>
                    <a:pt x="731" y="800"/>
                  </a:cubicBezTo>
                  <a:cubicBezTo>
                    <a:pt x="855" y="800"/>
                    <a:pt x="855" y="800"/>
                    <a:pt x="855" y="800"/>
                  </a:cubicBezTo>
                  <a:cubicBezTo>
                    <a:pt x="804" y="860"/>
                    <a:pt x="738" y="906"/>
                    <a:pt x="664" y="933"/>
                  </a:cubicBezTo>
                  <a:moveTo>
                    <a:pt x="855" y="224"/>
                  </a:moveTo>
                  <a:cubicBezTo>
                    <a:pt x="731" y="224"/>
                    <a:pt x="731" y="224"/>
                    <a:pt x="731" y="224"/>
                  </a:cubicBezTo>
                  <a:cubicBezTo>
                    <a:pt x="716" y="176"/>
                    <a:pt x="693" y="131"/>
                    <a:pt x="664" y="91"/>
                  </a:cubicBezTo>
                  <a:cubicBezTo>
                    <a:pt x="738" y="117"/>
                    <a:pt x="804" y="163"/>
                    <a:pt x="855" y="224"/>
                  </a:cubicBezTo>
                  <a:moveTo>
                    <a:pt x="360" y="91"/>
                  </a:moveTo>
                  <a:cubicBezTo>
                    <a:pt x="331" y="131"/>
                    <a:pt x="308" y="176"/>
                    <a:pt x="293" y="224"/>
                  </a:cubicBezTo>
                  <a:cubicBezTo>
                    <a:pt x="169" y="224"/>
                    <a:pt x="169" y="224"/>
                    <a:pt x="169" y="224"/>
                  </a:cubicBezTo>
                  <a:cubicBezTo>
                    <a:pt x="220" y="163"/>
                    <a:pt x="286" y="117"/>
                    <a:pt x="360" y="9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2" name="Freeform 203">
              <a:extLst>
                <a:ext uri="{FF2B5EF4-FFF2-40B4-BE49-F238E27FC236}">
                  <a16:creationId xmlns:a16="http://schemas.microsoft.com/office/drawing/2014/main" id="{27D87AED-C9EC-98D4-B321-377541D54F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90875" y="5280025"/>
              <a:ext cx="590550" cy="255588"/>
            </a:xfrm>
            <a:custGeom>
              <a:avLst/>
              <a:gdLst>
                <a:gd name="T0" fmla="*/ 32 w 966"/>
                <a:gd name="T1" fmla="*/ 320 h 416"/>
                <a:gd name="T2" fmla="*/ 160 w 966"/>
                <a:gd name="T3" fmla="*/ 320 h 416"/>
                <a:gd name="T4" fmla="*/ 192 w 966"/>
                <a:gd name="T5" fmla="*/ 288 h 416"/>
                <a:gd name="T6" fmla="*/ 192 w 966"/>
                <a:gd name="T7" fmla="*/ 288 h 416"/>
                <a:gd name="T8" fmla="*/ 216 w 966"/>
                <a:gd name="T9" fmla="*/ 288 h 416"/>
                <a:gd name="T10" fmla="*/ 463 w 966"/>
                <a:gd name="T11" fmla="*/ 412 h 416"/>
                <a:gd name="T12" fmla="*/ 478 w 966"/>
                <a:gd name="T13" fmla="*/ 416 h 416"/>
                <a:gd name="T14" fmla="*/ 494 w 966"/>
                <a:gd name="T15" fmla="*/ 411 h 416"/>
                <a:gd name="T16" fmla="*/ 926 w 966"/>
                <a:gd name="T17" fmla="*/ 144 h 416"/>
                <a:gd name="T18" fmla="*/ 958 w 966"/>
                <a:gd name="T19" fmla="*/ 71 h 416"/>
                <a:gd name="T20" fmla="*/ 891 w 966"/>
                <a:gd name="T21" fmla="*/ 22 h 416"/>
                <a:gd name="T22" fmla="*/ 890 w 966"/>
                <a:gd name="T23" fmla="*/ 22 h 416"/>
                <a:gd name="T24" fmla="*/ 414 w 966"/>
                <a:gd name="T25" fmla="*/ 64 h 416"/>
                <a:gd name="T26" fmla="*/ 368 w 966"/>
                <a:gd name="T27" fmla="*/ 36 h 416"/>
                <a:gd name="T28" fmla="*/ 352 w 966"/>
                <a:gd name="T29" fmla="*/ 32 h 416"/>
                <a:gd name="T30" fmla="*/ 192 w 966"/>
                <a:gd name="T31" fmla="*/ 32 h 416"/>
                <a:gd name="T32" fmla="*/ 160 w 966"/>
                <a:gd name="T33" fmla="*/ 0 h 416"/>
                <a:gd name="T34" fmla="*/ 160 w 966"/>
                <a:gd name="T35" fmla="*/ 0 h 416"/>
                <a:gd name="T36" fmla="*/ 32 w 966"/>
                <a:gd name="T37" fmla="*/ 0 h 416"/>
                <a:gd name="T38" fmla="*/ 0 w 966"/>
                <a:gd name="T39" fmla="*/ 32 h 416"/>
                <a:gd name="T40" fmla="*/ 0 w 966"/>
                <a:gd name="T41" fmla="*/ 32 h 416"/>
                <a:gd name="T42" fmla="*/ 0 w 966"/>
                <a:gd name="T43" fmla="*/ 288 h 416"/>
                <a:gd name="T44" fmla="*/ 32 w 966"/>
                <a:gd name="T45" fmla="*/ 320 h 416"/>
                <a:gd name="T46" fmla="*/ 343 w 966"/>
                <a:gd name="T47" fmla="*/ 96 h 416"/>
                <a:gd name="T48" fmla="*/ 445 w 966"/>
                <a:gd name="T49" fmla="*/ 157 h 416"/>
                <a:gd name="T50" fmla="*/ 453 w 966"/>
                <a:gd name="T51" fmla="*/ 190 h 416"/>
                <a:gd name="T52" fmla="*/ 453 w 966"/>
                <a:gd name="T53" fmla="*/ 191 h 416"/>
                <a:gd name="T54" fmla="*/ 419 w 966"/>
                <a:gd name="T55" fmla="*/ 198 h 416"/>
                <a:gd name="T56" fmla="*/ 370 w 966"/>
                <a:gd name="T57" fmla="*/ 165 h 416"/>
                <a:gd name="T58" fmla="*/ 334 w 966"/>
                <a:gd name="T59" fmla="*/ 218 h 416"/>
                <a:gd name="T60" fmla="*/ 383 w 966"/>
                <a:gd name="T61" fmla="*/ 251 h 416"/>
                <a:gd name="T62" fmla="*/ 432 w 966"/>
                <a:gd name="T63" fmla="*/ 266 h 416"/>
                <a:gd name="T64" fmla="*/ 450 w 966"/>
                <a:gd name="T65" fmla="*/ 264 h 416"/>
                <a:gd name="T66" fmla="*/ 506 w 966"/>
                <a:gd name="T67" fmla="*/ 226 h 416"/>
                <a:gd name="T68" fmla="*/ 519 w 966"/>
                <a:gd name="T69" fmla="*/ 158 h 416"/>
                <a:gd name="T70" fmla="*/ 499 w 966"/>
                <a:gd name="T71" fmla="*/ 120 h 416"/>
                <a:gd name="T72" fmla="*/ 895 w 966"/>
                <a:gd name="T73" fmla="*/ 86 h 416"/>
                <a:gd name="T74" fmla="*/ 894 w 966"/>
                <a:gd name="T75" fmla="*/ 89 h 416"/>
                <a:gd name="T76" fmla="*/ 476 w 966"/>
                <a:gd name="T77" fmla="*/ 347 h 416"/>
                <a:gd name="T78" fmla="*/ 238 w 966"/>
                <a:gd name="T79" fmla="*/ 227 h 416"/>
                <a:gd name="T80" fmla="*/ 224 w 966"/>
                <a:gd name="T81" fmla="*/ 224 h 416"/>
                <a:gd name="T82" fmla="*/ 192 w 966"/>
                <a:gd name="T83" fmla="*/ 224 h 416"/>
                <a:gd name="T84" fmla="*/ 192 w 966"/>
                <a:gd name="T85" fmla="*/ 96 h 416"/>
                <a:gd name="T86" fmla="*/ 343 w 966"/>
                <a:gd name="T87" fmla="*/ 96 h 416"/>
                <a:gd name="T88" fmla="*/ 64 w 966"/>
                <a:gd name="T89" fmla="*/ 64 h 416"/>
                <a:gd name="T90" fmla="*/ 128 w 966"/>
                <a:gd name="T91" fmla="*/ 64 h 416"/>
                <a:gd name="T92" fmla="*/ 128 w 966"/>
                <a:gd name="T93" fmla="*/ 256 h 416"/>
                <a:gd name="T94" fmla="*/ 64 w 966"/>
                <a:gd name="T95" fmla="*/ 256 h 416"/>
                <a:gd name="T96" fmla="*/ 64 w 966"/>
                <a:gd name="T97" fmla="*/ 64 h 4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966" h="416">
                  <a:moveTo>
                    <a:pt x="32" y="320"/>
                  </a:moveTo>
                  <a:cubicBezTo>
                    <a:pt x="160" y="320"/>
                    <a:pt x="160" y="320"/>
                    <a:pt x="160" y="320"/>
                  </a:cubicBezTo>
                  <a:cubicBezTo>
                    <a:pt x="178" y="320"/>
                    <a:pt x="192" y="305"/>
                    <a:pt x="192" y="288"/>
                  </a:cubicBezTo>
                  <a:cubicBezTo>
                    <a:pt x="192" y="288"/>
                    <a:pt x="192" y="288"/>
                    <a:pt x="192" y="288"/>
                  </a:cubicBezTo>
                  <a:cubicBezTo>
                    <a:pt x="216" y="288"/>
                    <a:pt x="216" y="288"/>
                    <a:pt x="216" y="288"/>
                  </a:cubicBezTo>
                  <a:cubicBezTo>
                    <a:pt x="463" y="412"/>
                    <a:pt x="463" y="412"/>
                    <a:pt x="463" y="412"/>
                  </a:cubicBezTo>
                  <a:cubicBezTo>
                    <a:pt x="468" y="414"/>
                    <a:pt x="473" y="416"/>
                    <a:pt x="478" y="416"/>
                  </a:cubicBezTo>
                  <a:cubicBezTo>
                    <a:pt x="484" y="416"/>
                    <a:pt x="489" y="414"/>
                    <a:pt x="494" y="411"/>
                  </a:cubicBezTo>
                  <a:cubicBezTo>
                    <a:pt x="926" y="144"/>
                    <a:pt x="926" y="144"/>
                    <a:pt x="926" y="144"/>
                  </a:cubicBezTo>
                  <a:cubicBezTo>
                    <a:pt x="953" y="130"/>
                    <a:pt x="966" y="100"/>
                    <a:pt x="958" y="71"/>
                  </a:cubicBezTo>
                  <a:cubicBezTo>
                    <a:pt x="950" y="41"/>
                    <a:pt x="922" y="20"/>
                    <a:pt x="891" y="22"/>
                  </a:cubicBezTo>
                  <a:cubicBezTo>
                    <a:pt x="890" y="22"/>
                    <a:pt x="890" y="22"/>
                    <a:pt x="890" y="22"/>
                  </a:cubicBezTo>
                  <a:cubicBezTo>
                    <a:pt x="414" y="64"/>
                    <a:pt x="414" y="64"/>
                    <a:pt x="414" y="64"/>
                  </a:cubicBezTo>
                  <a:cubicBezTo>
                    <a:pt x="368" y="36"/>
                    <a:pt x="368" y="36"/>
                    <a:pt x="368" y="36"/>
                  </a:cubicBezTo>
                  <a:cubicBezTo>
                    <a:pt x="364" y="33"/>
                    <a:pt x="358" y="32"/>
                    <a:pt x="352" y="32"/>
                  </a:cubicBezTo>
                  <a:cubicBezTo>
                    <a:pt x="192" y="32"/>
                    <a:pt x="192" y="32"/>
                    <a:pt x="192" y="32"/>
                  </a:cubicBezTo>
                  <a:cubicBezTo>
                    <a:pt x="192" y="14"/>
                    <a:pt x="178" y="0"/>
                    <a:pt x="160" y="0"/>
                  </a:cubicBezTo>
                  <a:cubicBezTo>
                    <a:pt x="160" y="0"/>
                    <a:pt x="160" y="0"/>
                    <a:pt x="160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14" y="0"/>
                    <a:pt x="0" y="14"/>
                    <a:pt x="0" y="32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288"/>
                    <a:pt x="0" y="288"/>
                    <a:pt x="0" y="288"/>
                  </a:cubicBezTo>
                  <a:cubicBezTo>
                    <a:pt x="0" y="305"/>
                    <a:pt x="14" y="320"/>
                    <a:pt x="32" y="320"/>
                  </a:cubicBezTo>
                  <a:close/>
                  <a:moveTo>
                    <a:pt x="343" y="96"/>
                  </a:moveTo>
                  <a:cubicBezTo>
                    <a:pt x="445" y="157"/>
                    <a:pt x="445" y="157"/>
                    <a:pt x="445" y="157"/>
                  </a:cubicBezTo>
                  <a:cubicBezTo>
                    <a:pt x="456" y="164"/>
                    <a:pt x="460" y="179"/>
                    <a:pt x="453" y="190"/>
                  </a:cubicBezTo>
                  <a:cubicBezTo>
                    <a:pt x="453" y="190"/>
                    <a:pt x="453" y="191"/>
                    <a:pt x="453" y="191"/>
                  </a:cubicBezTo>
                  <a:cubicBezTo>
                    <a:pt x="445" y="202"/>
                    <a:pt x="430" y="205"/>
                    <a:pt x="419" y="198"/>
                  </a:cubicBezTo>
                  <a:cubicBezTo>
                    <a:pt x="370" y="165"/>
                    <a:pt x="370" y="165"/>
                    <a:pt x="370" y="165"/>
                  </a:cubicBezTo>
                  <a:cubicBezTo>
                    <a:pt x="334" y="218"/>
                    <a:pt x="334" y="218"/>
                    <a:pt x="334" y="218"/>
                  </a:cubicBezTo>
                  <a:cubicBezTo>
                    <a:pt x="383" y="251"/>
                    <a:pt x="383" y="251"/>
                    <a:pt x="383" y="251"/>
                  </a:cubicBezTo>
                  <a:cubicBezTo>
                    <a:pt x="398" y="261"/>
                    <a:pt x="415" y="266"/>
                    <a:pt x="432" y="266"/>
                  </a:cubicBezTo>
                  <a:cubicBezTo>
                    <a:pt x="438" y="266"/>
                    <a:pt x="444" y="265"/>
                    <a:pt x="450" y="264"/>
                  </a:cubicBezTo>
                  <a:cubicBezTo>
                    <a:pt x="473" y="260"/>
                    <a:pt x="493" y="246"/>
                    <a:pt x="506" y="226"/>
                  </a:cubicBezTo>
                  <a:cubicBezTo>
                    <a:pt x="519" y="206"/>
                    <a:pt x="524" y="182"/>
                    <a:pt x="519" y="158"/>
                  </a:cubicBezTo>
                  <a:cubicBezTo>
                    <a:pt x="515" y="144"/>
                    <a:pt x="509" y="131"/>
                    <a:pt x="499" y="120"/>
                  </a:cubicBezTo>
                  <a:cubicBezTo>
                    <a:pt x="895" y="86"/>
                    <a:pt x="895" y="86"/>
                    <a:pt x="895" y="86"/>
                  </a:cubicBezTo>
                  <a:cubicBezTo>
                    <a:pt x="894" y="89"/>
                    <a:pt x="894" y="89"/>
                    <a:pt x="894" y="89"/>
                  </a:cubicBezTo>
                  <a:cubicBezTo>
                    <a:pt x="476" y="347"/>
                    <a:pt x="476" y="347"/>
                    <a:pt x="476" y="347"/>
                  </a:cubicBezTo>
                  <a:cubicBezTo>
                    <a:pt x="238" y="227"/>
                    <a:pt x="238" y="227"/>
                    <a:pt x="238" y="227"/>
                  </a:cubicBezTo>
                  <a:cubicBezTo>
                    <a:pt x="234" y="225"/>
                    <a:pt x="229" y="224"/>
                    <a:pt x="224" y="224"/>
                  </a:cubicBezTo>
                  <a:cubicBezTo>
                    <a:pt x="192" y="224"/>
                    <a:pt x="192" y="224"/>
                    <a:pt x="192" y="224"/>
                  </a:cubicBezTo>
                  <a:cubicBezTo>
                    <a:pt x="192" y="96"/>
                    <a:pt x="192" y="96"/>
                    <a:pt x="192" y="96"/>
                  </a:cubicBezTo>
                  <a:lnTo>
                    <a:pt x="343" y="96"/>
                  </a:lnTo>
                  <a:close/>
                  <a:moveTo>
                    <a:pt x="64" y="64"/>
                  </a:moveTo>
                  <a:cubicBezTo>
                    <a:pt x="128" y="64"/>
                    <a:pt x="128" y="64"/>
                    <a:pt x="128" y="64"/>
                  </a:cubicBezTo>
                  <a:cubicBezTo>
                    <a:pt x="128" y="256"/>
                    <a:pt x="128" y="256"/>
                    <a:pt x="128" y="256"/>
                  </a:cubicBezTo>
                  <a:cubicBezTo>
                    <a:pt x="64" y="256"/>
                    <a:pt x="64" y="256"/>
                    <a:pt x="64" y="256"/>
                  </a:cubicBezTo>
                  <a:lnTo>
                    <a:pt x="64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3" name="Freeform 204">
              <a:extLst>
                <a:ext uri="{FF2B5EF4-FFF2-40B4-BE49-F238E27FC236}">
                  <a16:creationId xmlns:a16="http://schemas.microsoft.com/office/drawing/2014/main" id="{91D963A7-5D81-4E1C-F35E-3A8F9A74B7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87700" y="4360862"/>
              <a:ext cx="590550" cy="255588"/>
            </a:xfrm>
            <a:custGeom>
              <a:avLst/>
              <a:gdLst>
                <a:gd name="T0" fmla="*/ 774 w 966"/>
                <a:gd name="T1" fmla="*/ 130 h 418"/>
                <a:gd name="T2" fmla="*/ 750 w 966"/>
                <a:gd name="T3" fmla="*/ 130 h 418"/>
                <a:gd name="T4" fmla="*/ 503 w 966"/>
                <a:gd name="T5" fmla="*/ 5 h 418"/>
                <a:gd name="T6" fmla="*/ 472 w 966"/>
                <a:gd name="T7" fmla="*/ 6 h 418"/>
                <a:gd name="T8" fmla="*/ 40 w 966"/>
                <a:gd name="T9" fmla="*/ 273 h 418"/>
                <a:gd name="T10" fmla="*/ 8 w 966"/>
                <a:gd name="T11" fmla="*/ 346 h 418"/>
                <a:gd name="T12" fmla="*/ 75 w 966"/>
                <a:gd name="T13" fmla="*/ 395 h 418"/>
                <a:gd name="T14" fmla="*/ 76 w 966"/>
                <a:gd name="T15" fmla="*/ 395 h 418"/>
                <a:gd name="T16" fmla="*/ 552 w 966"/>
                <a:gd name="T17" fmla="*/ 354 h 418"/>
                <a:gd name="T18" fmla="*/ 598 w 966"/>
                <a:gd name="T19" fmla="*/ 381 h 418"/>
                <a:gd name="T20" fmla="*/ 614 w 966"/>
                <a:gd name="T21" fmla="*/ 386 h 418"/>
                <a:gd name="T22" fmla="*/ 774 w 966"/>
                <a:gd name="T23" fmla="*/ 386 h 418"/>
                <a:gd name="T24" fmla="*/ 806 w 966"/>
                <a:gd name="T25" fmla="*/ 418 h 418"/>
                <a:gd name="T26" fmla="*/ 806 w 966"/>
                <a:gd name="T27" fmla="*/ 418 h 418"/>
                <a:gd name="T28" fmla="*/ 934 w 966"/>
                <a:gd name="T29" fmla="*/ 418 h 418"/>
                <a:gd name="T30" fmla="*/ 966 w 966"/>
                <a:gd name="T31" fmla="*/ 386 h 418"/>
                <a:gd name="T32" fmla="*/ 966 w 966"/>
                <a:gd name="T33" fmla="*/ 386 h 418"/>
                <a:gd name="T34" fmla="*/ 966 w 966"/>
                <a:gd name="T35" fmla="*/ 130 h 418"/>
                <a:gd name="T36" fmla="*/ 934 w 966"/>
                <a:gd name="T37" fmla="*/ 98 h 418"/>
                <a:gd name="T38" fmla="*/ 934 w 966"/>
                <a:gd name="T39" fmla="*/ 98 h 418"/>
                <a:gd name="T40" fmla="*/ 806 w 966"/>
                <a:gd name="T41" fmla="*/ 98 h 418"/>
                <a:gd name="T42" fmla="*/ 774 w 966"/>
                <a:gd name="T43" fmla="*/ 130 h 418"/>
                <a:gd name="T44" fmla="*/ 623 w 966"/>
                <a:gd name="T45" fmla="*/ 322 h 418"/>
                <a:gd name="T46" fmla="*/ 521 w 966"/>
                <a:gd name="T47" fmla="*/ 260 h 418"/>
                <a:gd name="T48" fmla="*/ 513 w 966"/>
                <a:gd name="T49" fmla="*/ 227 h 418"/>
                <a:gd name="T50" fmla="*/ 513 w 966"/>
                <a:gd name="T51" fmla="*/ 226 h 418"/>
                <a:gd name="T52" fmla="*/ 547 w 966"/>
                <a:gd name="T53" fmla="*/ 219 h 418"/>
                <a:gd name="T54" fmla="*/ 596 w 966"/>
                <a:gd name="T55" fmla="*/ 252 h 418"/>
                <a:gd name="T56" fmla="*/ 632 w 966"/>
                <a:gd name="T57" fmla="*/ 199 h 418"/>
                <a:gd name="T58" fmla="*/ 583 w 966"/>
                <a:gd name="T59" fmla="*/ 166 h 418"/>
                <a:gd name="T60" fmla="*/ 460 w 966"/>
                <a:gd name="T61" fmla="*/ 191 h 418"/>
                <a:gd name="T62" fmla="*/ 447 w 966"/>
                <a:gd name="T63" fmla="*/ 259 h 418"/>
                <a:gd name="T64" fmla="*/ 467 w 966"/>
                <a:gd name="T65" fmla="*/ 297 h 418"/>
                <a:gd name="T66" fmla="*/ 71 w 966"/>
                <a:gd name="T67" fmla="*/ 331 h 418"/>
                <a:gd name="T68" fmla="*/ 72 w 966"/>
                <a:gd name="T69" fmla="*/ 328 h 418"/>
                <a:gd name="T70" fmla="*/ 490 w 966"/>
                <a:gd name="T71" fmla="*/ 70 h 418"/>
                <a:gd name="T72" fmla="*/ 728 w 966"/>
                <a:gd name="T73" fmla="*/ 190 h 418"/>
                <a:gd name="T74" fmla="*/ 742 w 966"/>
                <a:gd name="T75" fmla="*/ 194 h 418"/>
                <a:gd name="T76" fmla="*/ 774 w 966"/>
                <a:gd name="T77" fmla="*/ 194 h 418"/>
                <a:gd name="T78" fmla="*/ 774 w 966"/>
                <a:gd name="T79" fmla="*/ 322 h 418"/>
                <a:gd name="T80" fmla="*/ 623 w 966"/>
                <a:gd name="T81" fmla="*/ 322 h 418"/>
                <a:gd name="T82" fmla="*/ 838 w 966"/>
                <a:gd name="T83" fmla="*/ 162 h 418"/>
                <a:gd name="T84" fmla="*/ 902 w 966"/>
                <a:gd name="T85" fmla="*/ 162 h 418"/>
                <a:gd name="T86" fmla="*/ 902 w 966"/>
                <a:gd name="T87" fmla="*/ 354 h 418"/>
                <a:gd name="T88" fmla="*/ 838 w 966"/>
                <a:gd name="T89" fmla="*/ 354 h 418"/>
                <a:gd name="T90" fmla="*/ 838 w 966"/>
                <a:gd name="T91" fmla="*/ 162 h 4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966" h="418">
                  <a:moveTo>
                    <a:pt x="774" y="130"/>
                  </a:moveTo>
                  <a:cubicBezTo>
                    <a:pt x="750" y="130"/>
                    <a:pt x="750" y="130"/>
                    <a:pt x="750" y="130"/>
                  </a:cubicBezTo>
                  <a:cubicBezTo>
                    <a:pt x="503" y="5"/>
                    <a:pt x="503" y="5"/>
                    <a:pt x="503" y="5"/>
                  </a:cubicBezTo>
                  <a:cubicBezTo>
                    <a:pt x="493" y="0"/>
                    <a:pt x="481" y="0"/>
                    <a:pt x="472" y="6"/>
                  </a:cubicBezTo>
                  <a:cubicBezTo>
                    <a:pt x="40" y="273"/>
                    <a:pt x="40" y="273"/>
                    <a:pt x="40" y="273"/>
                  </a:cubicBezTo>
                  <a:cubicBezTo>
                    <a:pt x="13" y="287"/>
                    <a:pt x="0" y="317"/>
                    <a:pt x="8" y="346"/>
                  </a:cubicBezTo>
                  <a:cubicBezTo>
                    <a:pt x="16" y="376"/>
                    <a:pt x="44" y="397"/>
                    <a:pt x="75" y="395"/>
                  </a:cubicBezTo>
                  <a:cubicBezTo>
                    <a:pt x="76" y="395"/>
                    <a:pt x="76" y="395"/>
                    <a:pt x="76" y="395"/>
                  </a:cubicBezTo>
                  <a:cubicBezTo>
                    <a:pt x="552" y="354"/>
                    <a:pt x="552" y="354"/>
                    <a:pt x="552" y="354"/>
                  </a:cubicBezTo>
                  <a:cubicBezTo>
                    <a:pt x="598" y="381"/>
                    <a:pt x="598" y="381"/>
                    <a:pt x="598" y="381"/>
                  </a:cubicBezTo>
                  <a:cubicBezTo>
                    <a:pt x="603" y="384"/>
                    <a:pt x="608" y="386"/>
                    <a:pt x="614" y="386"/>
                  </a:cubicBezTo>
                  <a:cubicBezTo>
                    <a:pt x="774" y="386"/>
                    <a:pt x="774" y="386"/>
                    <a:pt x="774" y="386"/>
                  </a:cubicBezTo>
                  <a:cubicBezTo>
                    <a:pt x="774" y="403"/>
                    <a:pt x="788" y="418"/>
                    <a:pt x="806" y="418"/>
                  </a:cubicBezTo>
                  <a:cubicBezTo>
                    <a:pt x="806" y="418"/>
                    <a:pt x="806" y="418"/>
                    <a:pt x="806" y="418"/>
                  </a:cubicBezTo>
                  <a:cubicBezTo>
                    <a:pt x="934" y="418"/>
                    <a:pt x="934" y="418"/>
                    <a:pt x="934" y="418"/>
                  </a:cubicBezTo>
                  <a:cubicBezTo>
                    <a:pt x="952" y="418"/>
                    <a:pt x="966" y="403"/>
                    <a:pt x="966" y="386"/>
                  </a:cubicBezTo>
                  <a:cubicBezTo>
                    <a:pt x="966" y="386"/>
                    <a:pt x="966" y="386"/>
                    <a:pt x="966" y="386"/>
                  </a:cubicBezTo>
                  <a:cubicBezTo>
                    <a:pt x="966" y="130"/>
                    <a:pt x="966" y="130"/>
                    <a:pt x="966" y="130"/>
                  </a:cubicBezTo>
                  <a:cubicBezTo>
                    <a:pt x="966" y="112"/>
                    <a:pt x="952" y="98"/>
                    <a:pt x="934" y="98"/>
                  </a:cubicBezTo>
                  <a:cubicBezTo>
                    <a:pt x="934" y="98"/>
                    <a:pt x="934" y="98"/>
                    <a:pt x="934" y="98"/>
                  </a:cubicBezTo>
                  <a:cubicBezTo>
                    <a:pt x="806" y="98"/>
                    <a:pt x="806" y="98"/>
                    <a:pt x="806" y="98"/>
                  </a:cubicBezTo>
                  <a:cubicBezTo>
                    <a:pt x="788" y="98"/>
                    <a:pt x="774" y="112"/>
                    <a:pt x="774" y="130"/>
                  </a:cubicBezTo>
                  <a:close/>
                  <a:moveTo>
                    <a:pt x="623" y="322"/>
                  </a:moveTo>
                  <a:cubicBezTo>
                    <a:pt x="521" y="260"/>
                    <a:pt x="521" y="260"/>
                    <a:pt x="521" y="260"/>
                  </a:cubicBezTo>
                  <a:cubicBezTo>
                    <a:pt x="510" y="254"/>
                    <a:pt x="506" y="239"/>
                    <a:pt x="513" y="227"/>
                  </a:cubicBezTo>
                  <a:cubicBezTo>
                    <a:pt x="513" y="227"/>
                    <a:pt x="513" y="226"/>
                    <a:pt x="513" y="226"/>
                  </a:cubicBezTo>
                  <a:cubicBezTo>
                    <a:pt x="521" y="215"/>
                    <a:pt x="536" y="212"/>
                    <a:pt x="547" y="219"/>
                  </a:cubicBezTo>
                  <a:cubicBezTo>
                    <a:pt x="596" y="252"/>
                    <a:pt x="596" y="252"/>
                    <a:pt x="596" y="252"/>
                  </a:cubicBezTo>
                  <a:cubicBezTo>
                    <a:pt x="632" y="199"/>
                    <a:pt x="632" y="199"/>
                    <a:pt x="632" y="199"/>
                  </a:cubicBezTo>
                  <a:cubicBezTo>
                    <a:pt x="583" y="166"/>
                    <a:pt x="583" y="166"/>
                    <a:pt x="583" y="166"/>
                  </a:cubicBezTo>
                  <a:cubicBezTo>
                    <a:pt x="542" y="139"/>
                    <a:pt x="487" y="150"/>
                    <a:pt x="460" y="191"/>
                  </a:cubicBezTo>
                  <a:cubicBezTo>
                    <a:pt x="447" y="211"/>
                    <a:pt x="442" y="236"/>
                    <a:pt x="447" y="259"/>
                  </a:cubicBezTo>
                  <a:cubicBezTo>
                    <a:pt x="451" y="273"/>
                    <a:pt x="457" y="286"/>
                    <a:pt x="467" y="297"/>
                  </a:cubicBezTo>
                  <a:cubicBezTo>
                    <a:pt x="71" y="331"/>
                    <a:pt x="71" y="331"/>
                    <a:pt x="71" y="331"/>
                  </a:cubicBezTo>
                  <a:cubicBezTo>
                    <a:pt x="72" y="328"/>
                    <a:pt x="72" y="328"/>
                    <a:pt x="72" y="328"/>
                  </a:cubicBezTo>
                  <a:cubicBezTo>
                    <a:pt x="490" y="70"/>
                    <a:pt x="490" y="70"/>
                    <a:pt x="490" y="70"/>
                  </a:cubicBezTo>
                  <a:cubicBezTo>
                    <a:pt x="728" y="190"/>
                    <a:pt x="728" y="190"/>
                    <a:pt x="728" y="190"/>
                  </a:cubicBezTo>
                  <a:cubicBezTo>
                    <a:pt x="732" y="192"/>
                    <a:pt x="737" y="194"/>
                    <a:pt x="742" y="194"/>
                  </a:cubicBezTo>
                  <a:cubicBezTo>
                    <a:pt x="774" y="194"/>
                    <a:pt x="774" y="194"/>
                    <a:pt x="774" y="194"/>
                  </a:cubicBezTo>
                  <a:cubicBezTo>
                    <a:pt x="774" y="322"/>
                    <a:pt x="774" y="322"/>
                    <a:pt x="774" y="322"/>
                  </a:cubicBezTo>
                  <a:lnTo>
                    <a:pt x="623" y="322"/>
                  </a:lnTo>
                  <a:close/>
                  <a:moveTo>
                    <a:pt x="838" y="162"/>
                  </a:moveTo>
                  <a:cubicBezTo>
                    <a:pt x="902" y="162"/>
                    <a:pt x="902" y="162"/>
                    <a:pt x="902" y="162"/>
                  </a:cubicBezTo>
                  <a:cubicBezTo>
                    <a:pt x="902" y="354"/>
                    <a:pt x="902" y="354"/>
                    <a:pt x="902" y="354"/>
                  </a:cubicBezTo>
                  <a:cubicBezTo>
                    <a:pt x="838" y="354"/>
                    <a:pt x="838" y="354"/>
                    <a:pt x="838" y="354"/>
                  </a:cubicBezTo>
                  <a:lnTo>
                    <a:pt x="838" y="1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4" name="Rectangle 205">
              <a:extLst>
                <a:ext uri="{FF2B5EF4-FFF2-40B4-BE49-F238E27FC236}">
                  <a16:creationId xmlns:a16="http://schemas.microsoft.com/office/drawing/2014/main" id="{BDDF9931-025E-F08C-9DFA-937D13A0CE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36875" y="4362450"/>
              <a:ext cx="39687" cy="381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5" name="Rectangle 206">
              <a:extLst>
                <a:ext uri="{FF2B5EF4-FFF2-40B4-BE49-F238E27FC236}">
                  <a16:creationId xmlns:a16="http://schemas.microsoft.com/office/drawing/2014/main" id="{359C21A4-BAA7-1AAA-B683-B6A7F53E9A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36875" y="4440238"/>
              <a:ext cx="39687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6" name="Rectangle 207">
              <a:extLst>
                <a:ext uri="{FF2B5EF4-FFF2-40B4-BE49-F238E27FC236}">
                  <a16:creationId xmlns:a16="http://schemas.microsoft.com/office/drawing/2014/main" id="{FB4AA947-7B65-AB04-F8CF-0E21087C5C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76563" y="4400550"/>
              <a:ext cx="38100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7" name="Rectangle 208">
              <a:extLst>
                <a:ext uri="{FF2B5EF4-FFF2-40B4-BE49-F238E27FC236}">
                  <a16:creationId xmlns:a16="http://schemas.microsoft.com/office/drawing/2014/main" id="{A0142D4F-6A4D-3DBE-0044-AD427D583B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97188" y="4400550"/>
              <a:ext cx="39687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8" name="Rectangle 209">
              <a:extLst>
                <a:ext uri="{FF2B5EF4-FFF2-40B4-BE49-F238E27FC236}">
                  <a16:creationId xmlns:a16="http://schemas.microsoft.com/office/drawing/2014/main" id="{AB76D108-B013-4A08-DF6E-2D76EF4616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92563" y="4362450"/>
              <a:ext cx="39687" cy="381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9" name="Rectangle 210">
              <a:extLst>
                <a:ext uri="{FF2B5EF4-FFF2-40B4-BE49-F238E27FC236}">
                  <a16:creationId xmlns:a16="http://schemas.microsoft.com/office/drawing/2014/main" id="{9B1A20DD-7E1E-5C2E-283B-FF075A7FEB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92563" y="4440238"/>
              <a:ext cx="39687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0" name="Rectangle 211">
              <a:extLst>
                <a:ext uri="{FF2B5EF4-FFF2-40B4-BE49-F238E27FC236}">
                  <a16:creationId xmlns:a16="http://schemas.microsoft.com/office/drawing/2014/main" id="{7C85C7F5-7521-4309-3BE5-0163D7DB44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32250" y="4400550"/>
              <a:ext cx="38100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1" name="Rectangle 212">
              <a:extLst>
                <a:ext uri="{FF2B5EF4-FFF2-40B4-BE49-F238E27FC236}">
                  <a16:creationId xmlns:a16="http://schemas.microsoft.com/office/drawing/2014/main" id="{2C131C44-D1C0-3884-1295-4C201DC48A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54463" y="4400550"/>
              <a:ext cx="38100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2" name="Rectangle 213">
              <a:extLst>
                <a:ext uri="{FF2B5EF4-FFF2-40B4-BE49-F238E27FC236}">
                  <a16:creationId xmlns:a16="http://schemas.microsoft.com/office/drawing/2014/main" id="{89302B30-CFB5-2CCA-364B-91F8F8B615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92563" y="5418138"/>
              <a:ext cx="39687" cy="381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3" name="Rectangle 214">
              <a:extLst>
                <a:ext uri="{FF2B5EF4-FFF2-40B4-BE49-F238E27FC236}">
                  <a16:creationId xmlns:a16="http://schemas.microsoft.com/office/drawing/2014/main" id="{62E502BF-D23B-F225-801A-9A926F5362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92563" y="5495925"/>
              <a:ext cx="39687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4" name="Rectangle 215">
              <a:extLst>
                <a:ext uri="{FF2B5EF4-FFF2-40B4-BE49-F238E27FC236}">
                  <a16:creationId xmlns:a16="http://schemas.microsoft.com/office/drawing/2014/main" id="{D5B7029A-2610-22EC-4656-7E0FDD4890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32250" y="5456238"/>
              <a:ext cx="38100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5" name="Rectangle 216">
              <a:extLst>
                <a:ext uri="{FF2B5EF4-FFF2-40B4-BE49-F238E27FC236}">
                  <a16:creationId xmlns:a16="http://schemas.microsoft.com/office/drawing/2014/main" id="{E2A09AA2-0499-EE92-7B37-A69CFC72CC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54463" y="5456238"/>
              <a:ext cx="38100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6" name="Rectangle 217">
              <a:extLst>
                <a:ext uri="{FF2B5EF4-FFF2-40B4-BE49-F238E27FC236}">
                  <a16:creationId xmlns:a16="http://schemas.microsoft.com/office/drawing/2014/main" id="{049D86D5-5A54-DB53-AC29-55BAF55677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36875" y="5418138"/>
              <a:ext cx="39687" cy="381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7" name="Rectangle 218">
              <a:extLst>
                <a:ext uri="{FF2B5EF4-FFF2-40B4-BE49-F238E27FC236}">
                  <a16:creationId xmlns:a16="http://schemas.microsoft.com/office/drawing/2014/main" id="{7E207F50-9094-7945-7E9D-86EF6D1DA1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36875" y="5495925"/>
              <a:ext cx="39687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8" name="Rectangle 219">
              <a:extLst>
                <a:ext uri="{FF2B5EF4-FFF2-40B4-BE49-F238E27FC236}">
                  <a16:creationId xmlns:a16="http://schemas.microsoft.com/office/drawing/2014/main" id="{F2BC6122-35FD-9181-5521-53C982CA02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76563" y="5456238"/>
              <a:ext cx="38100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9" name="Rectangle 220">
              <a:extLst>
                <a:ext uri="{FF2B5EF4-FFF2-40B4-BE49-F238E27FC236}">
                  <a16:creationId xmlns:a16="http://schemas.microsoft.com/office/drawing/2014/main" id="{F859837E-A7B0-028C-455C-558A38BEF7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97188" y="5456238"/>
              <a:ext cx="39687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0" name="Freeform 221">
              <a:extLst>
                <a:ext uri="{FF2B5EF4-FFF2-40B4-BE49-F238E27FC236}">
                  <a16:creationId xmlns:a16="http://schemas.microsoft.com/office/drawing/2014/main" id="{AD79B893-E91E-839C-C002-9BF60DED3A7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3488" y="4632325"/>
              <a:ext cx="204787" cy="642938"/>
            </a:xfrm>
            <a:custGeom>
              <a:avLst/>
              <a:gdLst>
                <a:gd name="T0" fmla="*/ 14 w 335"/>
                <a:gd name="T1" fmla="*/ 43 h 1052"/>
                <a:gd name="T2" fmla="*/ 0 w 335"/>
                <a:gd name="T3" fmla="*/ 1007 h 1052"/>
                <a:gd name="T4" fmla="*/ 46 w 335"/>
                <a:gd name="T5" fmla="*/ 1052 h 1052"/>
                <a:gd name="T6" fmla="*/ 62 w 335"/>
                <a:gd name="T7" fmla="*/ 0 h 1052"/>
                <a:gd name="T8" fmla="*/ 14 w 335"/>
                <a:gd name="T9" fmla="*/ 43 h 10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5" h="1052">
                  <a:moveTo>
                    <a:pt x="14" y="43"/>
                  </a:moveTo>
                  <a:cubicBezTo>
                    <a:pt x="265" y="318"/>
                    <a:pt x="258" y="740"/>
                    <a:pt x="0" y="1007"/>
                  </a:cubicBezTo>
                  <a:cubicBezTo>
                    <a:pt x="46" y="1052"/>
                    <a:pt x="46" y="1052"/>
                    <a:pt x="46" y="1052"/>
                  </a:cubicBezTo>
                  <a:cubicBezTo>
                    <a:pt x="328" y="760"/>
                    <a:pt x="335" y="300"/>
                    <a:pt x="62" y="0"/>
                  </a:cubicBezTo>
                  <a:lnTo>
                    <a:pt x="14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1" name="Freeform 222">
              <a:extLst>
                <a:ext uri="{FF2B5EF4-FFF2-40B4-BE49-F238E27FC236}">
                  <a16:creationId xmlns:a16="http://schemas.microsoft.com/office/drawing/2014/main" id="{226FCF6C-7826-760F-AB40-F4BD2A4248A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1163" y="4621213"/>
              <a:ext cx="204787" cy="654050"/>
            </a:xfrm>
            <a:custGeom>
              <a:avLst/>
              <a:gdLst>
                <a:gd name="T0" fmla="*/ 334 w 334"/>
                <a:gd name="T1" fmla="*/ 45 h 1069"/>
                <a:gd name="T2" fmla="*/ 288 w 334"/>
                <a:gd name="T3" fmla="*/ 0 h 1069"/>
                <a:gd name="T4" fmla="*/ 288 w 334"/>
                <a:gd name="T5" fmla="*/ 1069 h 1069"/>
                <a:gd name="T6" fmla="*/ 334 w 334"/>
                <a:gd name="T7" fmla="*/ 1024 h 1069"/>
                <a:gd name="T8" fmla="*/ 334 w 334"/>
                <a:gd name="T9" fmla="*/ 45 h 10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4" h="1069">
                  <a:moveTo>
                    <a:pt x="334" y="45"/>
                  </a:moveTo>
                  <a:cubicBezTo>
                    <a:pt x="288" y="0"/>
                    <a:pt x="288" y="0"/>
                    <a:pt x="288" y="0"/>
                  </a:cubicBezTo>
                  <a:cubicBezTo>
                    <a:pt x="0" y="298"/>
                    <a:pt x="0" y="771"/>
                    <a:pt x="288" y="1069"/>
                  </a:cubicBezTo>
                  <a:cubicBezTo>
                    <a:pt x="334" y="1024"/>
                    <a:pt x="334" y="1024"/>
                    <a:pt x="334" y="1024"/>
                  </a:cubicBezTo>
                  <a:cubicBezTo>
                    <a:pt x="70" y="751"/>
                    <a:pt x="70" y="318"/>
                    <a:pt x="334" y="4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B467EFBB-4FD4-F894-2A83-2C5D23F3683F}"/>
              </a:ext>
            </a:extLst>
          </p:cNvPr>
          <p:cNvGrpSpPr/>
          <p:nvPr/>
        </p:nvGrpSpPr>
        <p:grpSpPr>
          <a:xfrm>
            <a:off x="4586724" y="2456291"/>
            <a:ext cx="487064" cy="472181"/>
            <a:chOff x="10982325" y="6362701"/>
            <a:chExt cx="779463" cy="755649"/>
          </a:xfrm>
          <a:solidFill>
            <a:schemeClr val="bg1"/>
          </a:solidFill>
        </p:grpSpPr>
        <p:sp>
          <p:nvSpPr>
            <p:cNvPr id="43" name="Freeform 289">
              <a:extLst>
                <a:ext uri="{FF2B5EF4-FFF2-40B4-BE49-F238E27FC236}">
                  <a16:creationId xmlns:a16="http://schemas.microsoft.com/office/drawing/2014/main" id="{DD4B7E62-33CA-2122-3A88-22AAF678D91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96650" y="6653213"/>
              <a:ext cx="465138" cy="465137"/>
            </a:xfrm>
            <a:custGeom>
              <a:avLst/>
              <a:gdLst>
                <a:gd name="T0" fmla="*/ 579 w 1230"/>
                <a:gd name="T1" fmla="*/ 2 h 1229"/>
                <a:gd name="T2" fmla="*/ 3 w 1230"/>
                <a:gd name="T3" fmla="*/ 578 h 1229"/>
                <a:gd name="T4" fmla="*/ 40 w 1230"/>
                <a:gd name="T5" fmla="*/ 781 h 1229"/>
                <a:gd name="T6" fmla="*/ 100 w 1230"/>
                <a:gd name="T7" fmla="*/ 758 h 1229"/>
                <a:gd name="T8" fmla="*/ 398 w 1230"/>
                <a:gd name="T9" fmla="*/ 99 h 1229"/>
                <a:gd name="T10" fmla="*/ 1057 w 1230"/>
                <a:gd name="T11" fmla="*/ 398 h 1229"/>
                <a:gd name="T12" fmla="*/ 759 w 1230"/>
                <a:gd name="T13" fmla="*/ 1057 h 1229"/>
                <a:gd name="T14" fmla="*/ 398 w 1230"/>
                <a:gd name="T15" fmla="*/ 1057 h 1229"/>
                <a:gd name="T16" fmla="*/ 376 w 1230"/>
                <a:gd name="T17" fmla="*/ 1117 h 1229"/>
                <a:gd name="T18" fmla="*/ 1118 w 1230"/>
                <a:gd name="T19" fmla="*/ 780 h 1229"/>
                <a:gd name="T20" fmla="*/ 782 w 1230"/>
                <a:gd name="T21" fmla="*/ 38 h 1229"/>
                <a:gd name="T22" fmla="*/ 579 w 1230"/>
                <a:gd name="T23" fmla="*/ 2 h 1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30" h="1229">
                  <a:moveTo>
                    <a:pt x="579" y="2"/>
                  </a:moveTo>
                  <a:cubicBezTo>
                    <a:pt x="261" y="2"/>
                    <a:pt x="3" y="260"/>
                    <a:pt x="3" y="578"/>
                  </a:cubicBezTo>
                  <a:cubicBezTo>
                    <a:pt x="3" y="647"/>
                    <a:pt x="16" y="716"/>
                    <a:pt x="40" y="781"/>
                  </a:cubicBezTo>
                  <a:cubicBezTo>
                    <a:pt x="100" y="758"/>
                    <a:pt x="100" y="758"/>
                    <a:pt x="100" y="758"/>
                  </a:cubicBezTo>
                  <a:cubicBezTo>
                    <a:pt x="0" y="494"/>
                    <a:pt x="134" y="199"/>
                    <a:pt x="398" y="99"/>
                  </a:cubicBezTo>
                  <a:cubicBezTo>
                    <a:pt x="663" y="0"/>
                    <a:pt x="958" y="133"/>
                    <a:pt x="1057" y="398"/>
                  </a:cubicBezTo>
                  <a:cubicBezTo>
                    <a:pt x="1157" y="662"/>
                    <a:pt x="1023" y="957"/>
                    <a:pt x="759" y="1057"/>
                  </a:cubicBezTo>
                  <a:cubicBezTo>
                    <a:pt x="643" y="1101"/>
                    <a:pt x="515" y="1101"/>
                    <a:pt x="398" y="1057"/>
                  </a:cubicBezTo>
                  <a:cubicBezTo>
                    <a:pt x="376" y="1117"/>
                    <a:pt x="376" y="1117"/>
                    <a:pt x="376" y="1117"/>
                  </a:cubicBezTo>
                  <a:cubicBezTo>
                    <a:pt x="674" y="1229"/>
                    <a:pt x="1006" y="1078"/>
                    <a:pt x="1118" y="780"/>
                  </a:cubicBezTo>
                  <a:cubicBezTo>
                    <a:pt x="1230" y="483"/>
                    <a:pt x="1079" y="151"/>
                    <a:pt x="782" y="38"/>
                  </a:cubicBezTo>
                  <a:cubicBezTo>
                    <a:pt x="717" y="14"/>
                    <a:pt x="648" y="2"/>
                    <a:pt x="579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4" name="Freeform 290">
              <a:extLst>
                <a:ext uri="{FF2B5EF4-FFF2-40B4-BE49-F238E27FC236}">
                  <a16:creationId xmlns:a16="http://schemas.microsoft.com/office/drawing/2014/main" id="{DF4A05ED-A344-B467-0EF6-EC7BF0FBBF8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01425" y="6748463"/>
              <a:ext cx="238125" cy="247650"/>
            </a:xfrm>
            <a:custGeom>
              <a:avLst/>
              <a:gdLst>
                <a:gd name="T0" fmla="*/ 301 w 630"/>
                <a:gd name="T1" fmla="*/ 553 h 657"/>
                <a:gd name="T2" fmla="*/ 189 w 630"/>
                <a:gd name="T3" fmla="*/ 523 h 657"/>
                <a:gd name="T4" fmla="*/ 157 w 630"/>
                <a:gd name="T5" fmla="*/ 578 h 657"/>
                <a:gd name="T6" fmla="*/ 550 w 630"/>
                <a:gd name="T7" fmla="*/ 472 h 657"/>
                <a:gd name="T8" fmla="*/ 445 w 630"/>
                <a:gd name="T9" fmla="*/ 79 h 657"/>
                <a:gd name="T10" fmla="*/ 52 w 630"/>
                <a:gd name="T11" fmla="*/ 185 h 657"/>
                <a:gd name="T12" fmla="*/ 52 w 630"/>
                <a:gd name="T13" fmla="*/ 472 h 657"/>
                <a:gd name="T14" fmla="*/ 107 w 630"/>
                <a:gd name="T15" fmla="*/ 440 h 657"/>
                <a:gd name="T16" fmla="*/ 189 w 630"/>
                <a:gd name="T17" fmla="*/ 134 h 657"/>
                <a:gd name="T18" fmla="*/ 495 w 630"/>
                <a:gd name="T19" fmla="*/ 217 h 657"/>
                <a:gd name="T20" fmla="*/ 413 w 630"/>
                <a:gd name="T21" fmla="*/ 523 h 657"/>
                <a:gd name="T22" fmla="*/ 301 w 630"/>
                <a:gd name="T23" fmla="*/ 553 h 6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30" h="657">
                  <a:moveTo>
                    <a:pt x="301" y="553"/>
                  </a:moveTo>
                  <a:cubicBezTo>
                    <a:pt x="262" y="553"/>
                    <a:pt x="223" y="542"/>
                    <a:pt x="189" y="523"/>
                  </a:cubicBezTo>
                  <a:cubicBezTo>
                    <a:pt x="157" y="578"/>
                    <a:pt x="157" y="578"/>
                    <a:pt x="157" y="578"/>
                  </a:cubicBezTo>
                  <a:cubicBezTo>
                    <a:pt x="295" y="657"/>
                    <a:pt x="471" y="610"/>
                    <a:pt x="550" y="472"/>
                  </a:cubicBezTo>
                  <a:cubicBezTo>
                    <a:pt x="630" y="335"/>
                    <a:pt x="583" y="159"/>
                    <a:pt x="445" y="79"/>
                  </a:cubicBezTo>
                  <a:cubicBezTo>
                    <a:pt x="307" y="0"/>
                    <a:pt x="131" y="47"/>
                    <a:pt x="52" y="185"/>
                  </a:cubicBezTo>
                  <a:cubicBezTo>
                    <a:pt x="0" y="274"/>
                    <a:pt x="0" y="383"/>
                    <a:pt x="52" y="472"/>
                  </a:cubicBezTo>
                  <a:cubicBezTo>
                    <a:pt x="107" y="440"/>
                    <a:pt x="107" y="440"/>
                    <a:pt x="107" y="440"/>
                  </a:cubicBezTo>
                  <a:cubicBezTo>
                    <a:pt x="45" y="333"/>
                    <a:pt x="82" y="196"/>
                    <a:pt x="189" y="134"/>
                  </a:cubicBezTo>
                  <a:cubicBezTo>
                    <a:pt x="296" y="73"/>
                    <a:pt x="433" y="110"/>
                    <a:pt x="495" y="217"/>
                  </a:cubicBezTo>
                  <a:cubicBezTo>
                    <a:pt x="557" y="324"/>
                    <a:pt x="520" y="461"/>
                    <a:pt x="413" y="523"/>
                  </a:cubicBezTo>
                  <a:cubicBezTo>
                    <a:pt x="379" y="542"/>
                    <a:pt x="340" y="553"/>
                    <a:pt x="301" y="55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5" name="Freeform 291">
              <a:extLst>
                <a:ext uri="{FF2B5EF4-FFF2-40B4-BE49-F238E27FC236}">
                  <a16:creationId xmlns:a16="http://schemas.microsoft.com/office/drawing/2014/main" id="{638139AA-5D7E-7B7F-ABEA-94C16EF878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42688" y="6680200"/>
              <a:ext cx="365125" cy="384175"/>
            </a:xfrm>
            <a:custGeom>
              <a:avLst/>
              <a:gdLst>
                <a:gd name="T0" fmla="*/ 287 w 967"/>
                <a:gd name="T1" fmla="*/ 921 h 1016"/>
                <a:gd name="T2" fmla="*/ 872 w 967"/>
                <a:gd name="T3" fmla="*/ 680 h 1016"/>
                <a:gd name="T4" fmla="*/ 630 w 967"/>
                <a:gd name="T5" fmla="*/ 95 h 1016"/>
                <a:gd name="T6" fmla="*/ 45 w 967"/>
                <a:gd name="T7" fmla="*/ 336 h 1016"/>
                <a:gd name="T8" fmla="*/ 46 w 967"/>
                <a:gd name="T9" fmla="*/ 680 h 1016"/>
                <a:gd name="T10" fmla="*/ 105 w 967"/>
                <a:gd name="T11" fmla="*/ 656 h 1016"/>
                <a:gd name="T12" fmla="*/ 311 w 967"/>
                <a:gd name="T13" fmla="*/ 154 h 1016"/>
                <a:gd name="T14" fmla="*/ 813 w 967"/>
                <a:gd name="T15" fmla="*/ 361 h 1016"/>
                <a:gd name="T16" fmla="*/ 606 w 967"/>
                <a:gd name="T17" fmla="*/ 862 h 1016"/>
                <a:gd name="T18" fmla="*/ 311 w 967"/>
                <a:gd name="T19" fmla="*/ 862 h 1016"/>
                <a:gd name="T20" fmla="*/ 287 w 967"/>
                <a:gd name="T21" fmla="*/ 921 h 10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67" h="1016">
                  <a:moveTo>
                    <a:pt x="287" y="921"/>
                  </a:moveTo>
                  <a:cubicBezTo>
                    <a:pt x="515" y="1016"/>
                    <a:pt x="777" y="908"/>
                    <a:pt x="872" y="680"/>
                  </a:cubicBezTo>
                  <a:cubicBezTo>
                    <a:pt x="967" y="451"/>
                    <a:pt x="859" y="190"/>
                    <a:pt x="630" y="95"/>
                  </a:cubicBezTo>
                  <a:cubicBezTo>
                    <a:pt x="402" y="0"/>
                    <a:pt x="140" y="108"/>
                    <a:pt x="45" y="336"/>
                  </a:cubicBezTo>
                  <a:cubicBezTo>
                    <a:pt x="0" y="446"/>
                    <a:pt x="0" y="570"/>
                    <a:pt x="46" y="680"/>
                  </a:cubicBezTo>
                  <a:cubicBezTo>
                    <a:pt x="105" y="656"/>
                    <a:pt x="105" y="656"/>
                    <a:pt x="105" y="656"/>
                  </a:cubicBezTo>
                  <a:cubicBezTo>
                    <a:pt x="23" y="460"/>
                    <a:pt x="116" y="236"/>
                    <a:pt x="311" y="154"/>
                  </a:cubicBezTo>
                  <a:cubicBezTo>
                    <a:pt x="507" y="73"/>
                    <a:pt x="731" y="165"/>
                    <a:pt x="813" y="361"/>
                  </a:cubicBezTo>
                  <a:cubicBezTo>
                    <a:pt x="894" y="556"/>
                    <a:pt x="802" y="781"/>
                    <a:pt x="606" y="862"/>
                  </a:cubicBezTo>
                  <a:cubicBezTo>
                    <a:pt x="512" y="902"/>
                    <a:pt x="406" y="902"/>
                    <a:pt x="311" y="862"/>
                  </a:cubicBezTo>
                  <a:lnTo>
                    <a:pt x="287" y="9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6" name="Freeform 292">
              <a:extLst>
                <a:ext uri="{FF2B5EF4-FFF2-40B4-BE49-F238E27FC236}">
                  <a16:creationId xmlns:a16="http://schemas.microsoft.com/office/drawing/2014/main" id="{BCE4FFAF-9D0B-0A32-326D-C92C26876D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982325" y="6362701"/>
              <a:ext cx="582613" cy="752474"/>
            </a:xfrm>
            <a:custGeom>
              <a:avLst/>
              <a:gdLst>
                <a:gd name="T0" fmla="*/ 66 w 1538"/>
                <a:gd name="T1" fmla="*/ 1891 h 1987"/>
                <a:gd name="T2" fmla="*/ 880 w 1538"/>
                <a:gd name="T3" fmla="*/ 1905 h 1987"/>
                <a:gd name="T4" fmla="*/ 949 w 1538"/>
                <a:gd name="T5" fmla="*/ 1981 h 1987"/>
                <a:gd name="T6" fmla="*/ 1157 w 1538"/>
                <a:gd name="T7" fmla="*/ 1645 h 1987"/>
                <a:gd name="T8" fmla="*/ 1538 w 1538"/>
                <a:gd name="T9" fmla="*/ 1347 h 1987"/>
                <a:gd name="T10" fmla="*/ 1300 w 1538"/>
                <a:gd name="T11" fmla="*/ 1411 h 1987"/>
                <a:gd name="T12" fmla="*/ 936 w 1538"/>
                <a:gd name="T13" fmla="*/ 1584 h 1987"/>
                <a:gd name="T14" fmla="*/ 792 w 1538"/>
                <a:gd name="T15" fmla="*/ 1857 h 1987"/>
                <a:gd name="T16" fmla="*/ 162 w 1538"/>
                <a:gd name="T17" fmla="*/ 1923 h 1987"/>
                <a:gd name="T18" fmla="*/ 610 w 1538"/>
                <a:gd name="T19" fmla="*/ 1859 h 1987"/>
                <a:gd name="T20" fmla="*/ 162 w 1538"/>
                <a:gd name="T21" fmla="*/ 1667 h 1987"/>
                <a:gd name="T22" fmla="*/ 386 w 1538"/>
                <a:gd name="T23" fmla="*/ 1603 h 1987"/>
                <a:gd name="T24" fmla="*/ 642 w 1538"/>
                <a:gd name="T25" fmla="*/ 1315 h 1987"/>
                <a:gd name="T26" fmla="*/ 986 w 1538"/>
                <a:gd name="T27" fmla="*/ 354 h 1987"/>
                <a:gd name="T28" fmla="*/ 354 w 1538"/>
                <a:gd name="T29" fmla="*/ 986 h 1987"/>
                <a:gd name="T30" fmla="*/ 450 w 1538"/>
                <a:gd name="T31" fmla="*/ 1347 h 1987"/>
                <a:gd name="T32" fmla="*/ 162 w 1538"/>
                <a:gd name="T33" fmla="*/ 1539 h 1987"/>
                <a:gd name="T34" fmla="*/ 610 w 1538"/>
                <a:gd name="T35" fmla="*/ 1731 h 1987"/>
                <a:gd name="T36" fmla="*/ 1119 w 1538"/>
                <a:gd name="T37" fmla="*/ 1781 h 1987"/>
                <a:gd name="T38" fmla="*/ 1102 w 1538"/>
                <a:gd name="T39" fmla="*/ 1700 h 1987"/>
                <a:gd name="T40" fmla="*/ 1410 w 1538"/>
                <a:gd name="T41" fmla="*/ 1283 h 1987"/>
                <a:gd name="T42" fmla="*/ 1394 w 1538"/>
                <a:gd name="T43" fmla="*/ 1408 h 1987"/>
                <a:gd name="T44" fmla="*/ 1349 w 1538"/>
                <a:gd name="T45" fmla="*/ 1363 h 1987"/>
                <a:gd name="T46" fmla="*/ 1057 w 1538"/>
                <a:gd name="T47" fmla="*/ 1654 h 1987"/>
                <a:gd name="T48" fmla="*/ 976 w 1538"/>
                <a:gd name="T49" fmla="*/ 1638 h 1987"/>
                <a:gd name="T50" fmla="*/ 674 w 1538"/>
                <a:gd name="T51" fmla="*/ 1155 h 1987"/>
                <a:gd name="T52" fmla="*/ 130 w 1538"/>
                <a:gd name="T53" fmla="*/ 547 h 1987"/>
                <a:gd name="T54" fmla="*/ 613 w 1538"/>
                <a:gd name="T55" fmla="*/ 957 h 1987"/>
                <a:gd name="T56" fmla="*/ 834 w 1538"/>
                <a:gd name="T57" fmla="*/ 611 h 1987"/>
                <a:gd name="T58" fmla="*/ 573 w 1538"/>
                <a:gd name="T59" fmla="*/ 675 h 1987"/>
                <a:gd name="T60" fmla="*/ 386 w 1538"/>
                <a:gd name="T61" fmla="*/ 483 h 1987"/>
                <a:gd name="T62" fmla="*/ 461 w 1538"/>
                <a:gd name="T63" fmla="*/ 739 h 1987"/>
                <a:gd name="T64" fmla="*/ 544 w 1538"/>
                <a:gd name="T65" fmla="*/ 963 h 1987"/>
                <a:gd name="T66" fmla="*/ 549 w 1538"/>
                <a:gd name="T67" fmla="*/ 963 h 1987"/>
                <a:gd name="T68" fmla="*/ 637 w 1538"/>
                <a:gd name="T69" fmla="*/ 675 h 1987"/>
                <a:gd name="T70" fmla="*/ 770 w 1538"/>
                <a:gd name="T71" fmla="*/ 611 h 1987"/>
                <a:gd name="T72" fmla="*/ 455 w 1538"/>
                <a:gd name="T73" fmla="*/ 675 h 1987"/>
                <a:gd name="T74" fmla="*/ 386 w 1538"/>
                <a:gd name="T75" fmla="*/ 547 h 1987"/>
                <a:gd name="T76" fmla="*/ 455 w 1538"/>
                <a:gd name="T77" fmla="*/ 675 h 1987"/>
                <a:gd name="T78" fmla="*/ 674 w 1538"/>
                <a:gd name="T79" fmla="*/ 1059 h 1987"/>
                <a:gd name="T80" fmla="*/ 546 w 1538"/>
                <a:gd name="T81" fmla="*/ 1027 h 1987"/>
                <a:gd name="T82" fmla="*/ 642 w 1538"/>
                <a:gd name="T83" fmla="*/ 1251 h 1987"/>
                <a:gd name="T84" fmla="*/ 578 w 1538"/>
                <a:gd name="T85" fmla="*/ 1315 h 1987"/>
                <a:gd name="T86" fmla="*/ 514 w 1538"/>
                <a:gd name="T87" fmla="*/ 1347 h 19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538" h="1987">
                  <a:moveTo>
                    <a:pt x="610" y="1795"/>
                  </a:moveTo>
                  <a:cubicBezTo>
                    <a:pt x="162" y="1795"/>
                    <a:pt x="162" y="1795"/>
                    <a:pt x="162" y="1795"/>
                  </a:cubicBezTo>
                  <a:cubicBezTo>
                    <a:pt x="109" y="1795"/>
                    <a:pt x="66" y="1838"/>
                    <a:pt x="66" y="1891"/>
                  </a:cubicBezTo>
                  <a:cubicBezTo>
                    <a:pt x="66" y="1944"/>
                    <a:pt x="109" y="1987"/>
                    <a:pt x="162" y="1987"/>
                  </a:cubicBezTo>
                  <a:cubicBezTo>
                    <a:pt x="552" y="1987"/>
                    <a:pt x="552" y="1987"/>
                    <a:pt x="552" y="1987"/>
                  </a:cubicBezTo>
                  <a:cubicBezTo>
                    <a:pt x="666" y="1986"/>
                    <a:pt x="779" y="1959"/>
                    <a:pt x="880" y="1905"/>
                  </a:cubicBezTo>
                  <a:cubicBezTo>
                    <a:pt x="900" y="1965"/>
                    <a:pt x="900" y="1965"/>
                    <a:pt x="900" y="1965"/>
                  </a:cubicBezTo>
                  <a:cubicBezTo>
                    <a:pt x="904" y="1978"/>
                    <a:pt x="916" y="1987"/>
                    <a:pt x="930" y="1987"/>
                  </a:cubicBezTo>
                  <a:cubicBezTo>
                    <a:pt x="937" y="1987"/>
                    <a:pt x="943" y="1984"/>
                    <a:pt x="949" y="1981"/>
                  </a:cubicBezTo>
                  <a:cubicBezTo>
                    <a:pt x="1173" y="1821"/>
                    <a:pt x="1173" y="1821"/>
                    <a:pt x="1173" y="1821"/>
                  </a:cubicBezTo>
                  <a:cubicBezTo>
                    <a:pt x="1183" y="1813"/>
                    <a:pt x="1188" y="1801"/>
                    <a:pt x="1186" y="1788"/>
                  </a:cubicBezTo>
                  <a:cubicBezTo>
                    <a:pt x="1157" y="1645"/>
                    <a:pt x="1157" y="1645"/>
                    <a:pt x="1157" y="1645"/>
                  </a:cubicBezTo>
                  <a:cubicBezTo>
                    <a:pt x="1346" y="1456"/>
                    <a:pt x="1346" y="1456"/>
                    <a:pt x="1346" y="1456"/>
                  </a:cubicBezTo>
                  <a:cubicBezTo>
                    <a:pt x="1365" y="1468"/>
                    <a:pt x="1387" y="1474"/>
                    <a:pt x="1410" y="1475"/>
                  </a:cubicBezTo>
                  <a:cubicBezTo>
                    <a:pt x="1481" y="1475"/>
                    <a:pt x="1538" y="1417"/>
                    <a:pt x="1538" y="1347"/>
                  </a:cubicBezTo>
                  <a:cubicBezTo>
                    <a:pt x="1538" y="1276"/>
                    <a:pt x="1481" y="1219"/>
                    <a:pt x="1410" y="1219"/>
                  </a:cubicBezTo>
                  <a:cubicBezTo>
                    <a:pt x="1339" y="1219"/>
                    <a:pt x="1282" y="1276"/>
                    <a:pt x="1282" y="1347"/>
                  </a:cubicBezTo>
                  <a:cubicBezTo>
                    <a:pt x="1282" y="1369"/>
                    <a:pt x="1289" y="1392"/>
                    <a:pt x="1300" y="1411"/>
                  </a:cubicBezTo>
                  <a:cubicBezTo>
                    <a:pt x="1111" y="1600"/>
                    <a:pt x="1111" y="1600"/>
                    <a:pt x="1111" y="1600"/>
                  </a:cubicBezTo>
                  <a:cubicBezTo>
                    <a:pt x="969" y="1571"/>
                    <a:pt x="969" y="1571"/>
                    <a:pt x="969" y="1571"/>
                  </a:cubicBezTo>
                  <a:cubicBezTo>
                    <a:pt x="956" y="1569"/>
                    <a:pt x="944" y="1574"/>
                    <a:pt x="936" y="1584"/>
                  </a:cubicBezTo>
                  <a:cubicBezTo>
                    <a:pt x="776" y="1808"/>
                    <a:pt x="776" y="1808"/>
                    <a:pt x="776" y="1808"/>
                  </a:cubicBezTo>
                  <a:cubicBezTo>
                    <a:pt x="766" y="1822"/>
                    <a:pt x="769" y="1842"/>
                    <a:pt x="784" y="1853"/>
                  </a:cubicBezTo>
                  <a:cubicBezTo>
                    <a:pt x="786" y="1855"/>
                    <a:pt x="789" y="1856"/>
                    <a:pt x="792" y="1857"/>
                  </a:cubicBezTo>
                  <a:cubicBezTo>
                    <a:pt x="817" y="1865"/>
                    <a:pt x="817" y="1865"/>
                    <a:pt x="817" y="1865"/>
                  </a:cubicBezTo>
                  <a:cubicBezTo>
                    <a:pt x="733" y="1903"/>
                    <a:pt x="643" y="1922"/>
                    <a:pt x="552" y="1923"/>
                  </a:cubicBezTo>
                  <a:cubicBezTo>
                    <a:pt x="162" y="1923"/>
                    <a:pt x="162" y="1923"/>
                    <a:pt x="162" y="1923"/>
                  </a:cubicBezTo>
                  <a:cubicBezTo>
                    <a:pt x="144" y="1923"/>
                    <a:pt x="130" y="1908"/>
                    <a:pt x="130" y="1891"/>
                  </a:cubicBezTo>
                  <a:cubicBezTo>
                    <a:pt x="130" y="1873"/>
                    <a:pt x="144" y="1859"/>
                    <a:pt x="162" y="1859"/>
                  </a:cubicBezTo>
                  <a:cubicBezTo>
                    <a:pt x="610" y="1859"/>
                    <a:pt x="610" y="1859"/>
                    <a:pt x="610" y="1859"/>
                  </a:cubicBezTo>
                  <a:cubicBezTo>
                    <a:pt x="663" y="1859"/>
                    <a:pt x="706" y="1816"/>
                    <a:pt x="706" y="1763"/>
                  </a:cubicBezTo>
                  <a:cubicBezTo>
                    <a:pt x="706" y="1710"/>
                    <a:pt x="663" y="1667"/>
                    <a:pt x="610" y="1667"/>
                  </a:cubicBezTo>
                  <a:cubicBezTo>
                    <a:pt x="162" y="1667"/>
                    <a:pt x="162" y="1667"/>
                    <a:pt x="162" y="1667"/>
                  </a:cubicBezTo>
                  <a:cubicBezTo>
                    <a:pt x="144" y="1667"/>
                    <a:pt x="130" y="1652"/>
                    <a:pt x="130" y="1635"/>
                  </a:cubicBezTo>
                  <a:cubicBezTo>
                    <a:pt x="130" y="1617"/>
                    <a:pt x="144" y="1603"/>
                    <a:pt x="162" y="1603"/>
                  </a:cubicBezTo>
                  <a:cubicBezTo>
                    <a:pt x="386" y="1603"/>
                    <a:pt x="386" y="1603"/>
                    <a:pt x="386" y="1603"/>
                  </a:cubicBezTo>
                  <a:cubicBezTo>
                    <a:pt x="482" y="1602"/>
                    <a:pt x="563" y="1532"/>
                    <a:pt x="576" y="1437"/>
                  </a:cubicBezTo>
                  <a:cubicBezTo>
                    <a:pt x="615" y="1425"/>
                    <a:pt x="642" y="1388"/>
                    <a:pt x="642" y="1347"/>
                  </a:cubicBezTo>
                  <a:cubicBezTo>
                    <a:pt x="642" y="1315"/>
                    <a:pt x="642" y="1315"/>
                    <a:pt x="642" y="1315"/>
                  </a:cubicBezTo>
                  <a:cubicBezTo>
                    <a:pt x="695" y="1315"/>
                    <a:pt x="738" y="1272"/>
                    <a:pt x="738" y="1219"/>
                  </a:cubicBezTo>
                  <a:cubicBezTo>
                    <a:pt x="738" y="986"/>
                    <a:pt x="738" y="986"/>
                    <a:pt x="738" y="986"/>
                  </a:cubicBezTo>
                  <a:cubicBezTo>
                    <a:pt x="981" y="880"/>
                    <a:pt x="1092" y="597"/>
                    <a:pt x="986" y="354"/>
                  </a:cubicBezTo>
                  <a:cubicBezTo>
                    <a:pt x="880" y="111"/>
                    <a:pt x="597" y="0"/>
                    <a:pt x="354" y="106"/>
                  </a:cubicBezTo>
                  <a:cubicBezTo>
                    <a:pt x="111" y="212"/>
                    <a:pt x="0" y="495"/>
                    <a:pt x="106" y="738"/>
                  </a:cubicBezTo>
                  <a:cubicBezTo>
                    <a:pt x="155" y="849"/>
                    <a:pt x="243" y="938"/>
                    <a:pt x="354" y="986"/>
                  </a:cubicBezTo>
                  <a:cubicBezTo>
                    <a:pt x="354" y="1219"/>
                    <a:pt x="354" y="1219"/>
                    <a:pt x="354" y="1219"/>
                  </a:cubicBezTo>
                  <a:cubicBezTo>
                    <a:pt x="354" y="1272"/>
                    <a:pt x="397" y="1315"/>
                    <a:pt x="450" y="1315"/>
                  </a:cubicBezTo>
                  <a:cubicBezTo>
                    <a:pt x="450" y="1347"/>
                    <a:pt x="450" y="1347"/>
                    <a:pt x="450" y="1347"/>
                  </a:cubicBezTo>
                  <a:cubicBezTo>
                    <a:pt x="450" y="1386"/>
                    <a:pt x="475" y="1422"/>
                    <a:pt x="512" y="1436"/>
                  </a:cubicBezTo>
                  <a:cubicBezTo>
                    <a:pt x="499" y="1496"/>
                    <a:pt x="447" y="1538"/>
                    <a:pt x="386" y="1539"/>
                  </a:cubicBezTo>
                  <a:cubicBezTo>
                    <a:pt x="162" y="1539"/>
                    <a:pt x="162" y="1539"/>
                    <a:pt x="162" y="1539"/>
                  </a:cubicBezTo>
                  <a:cubicBezTo>
                    <a:pt x="109" y="1539"/>
                    <a:pt x="66" y="1582"/>
                    <a:pt x="66" y="1635"/>
                  </a:cubicBezTo>
                  <a:cubicBezTo>
                    <a:pt x="66" y="1688"/>
                    <a:pt x="109" y="1731"/>
                    <a:pt x="162" y="1731"/>
                  </a:cubicBezTo>
                  <a:cubicBezTo>
                    <a:pt x="610" y="1731"/>
                    <a:pt x="610" y="1731"/>
                    <a:pt x="610" y="1731"/>
                  </a:cubicBezTo>
                  <a:cubicBezTo>
                    <a:pt x="628" y="1731"/>
                    <a:pt x="642" y="1745"/>
                    <a:pt x="642" y="1763"/>
                  </a:cubicBezTo>
                  <a:cubicBezTo>
                    <a:pt x="642" y="1780"/>
                    <a:pt x="628" y="1795"/>
                    <a:pt x="610" y="1795"/>
                  </a:cubicBezTo>
                  <a:moveTo>
                    <a:pt x="1119" y="1781"/>
                  </a:moveTo>
                  <a:cubicBezTo>
                    <a:pt x="947" y="1903"/>
                    <a:pt x="947" y="1903"/>
                    <a:pt x="947" y="1903"/>
                  </a:cubicBezTo>
                  <a:cubicBezTo>
                    <a:pt x="935" y="1867"/>
                    <a:pt x="935" y="1867"/>
                    <a:pt x="935" y="1867"/>
                  </a:cubicBezTo>
                  <a:cubicBezTo>
                    <a:pt x="1102" y="1700"/>
                    <a:pt x="1102" y="1700"/>
                    <a:pt x="1102" y="1700"/>
                  </a:cubicBezTo>
                  <a:lnTo>
                    <a:pt x="1119" y="1781"/>
                  </a:lnTo>
                  <a:close/>
                  <a:moveTo>
                    <a:pt x="1346" y="1347"/>
                  </a:moveTo>
                  <a:cubicBezTo>
                    <a:pt x="1346" y="1311"/>
                    <a:pt x="1375" y="1283"/>
                    <a:pt x="1410" y="1283"/>
                  </a:cubicBezTo>
                  <a:cubicBezTo>
                    <a:pt x="1445" y="1283"/>
                    <a:pt x="1474" y="1311"/>
                    <a:pt x="1474" y="1347"/>
                  </a:cubicBezTo>
                  <a:cubicBezTo>
                    <a:pt x="1474" y="1382"/>
                    <a:pt x="1445" y="1411"/>
                    <a:pt x="1410" y="1411"/>
                  </a:cubicBezTo>
                  <a:cubicBezTo>
                    <a:pt x="1405" y="1410"/>
                    <a:pt x="1399" y="1410"/>
                    <a:pt x="1394" y="1408"/>
                  </a:cubicBezTo>
                  <a:cubicBezTo>
                    <a:pt x="1433" y="1369"/>
                    <a:pt x="1433" y="1369"/>
                    <a:pt x="1433" y="1369"/>
                  </a:cubicBezTo>
                  <a:cubicBezTo>
                    <a:pt x="1387" y="1324"/>
                    <a:pt x="1387" y="1324"/>
                    <a:pt x="1387" y="1324"/>
                  </a:cubicBezTo>
                  <a:cubicBezTo>
                    <a:pt x="1349" y="1363"/>
                    <a:pt x="1349" y="1363"/>
                    <a:pt x="1349" y="1363"/>
                  </a:cubicBezTo>
                  <a:cubicBezTo>
                    <a:pt x="1347" y="1358"/>
                    <a:pt x="1346" y="1352"/>
                    <a:pt x="1346" y="1347"/>
                  </a:cubicBezTo>
                  <a:moveTo>
                    <a:pt x="976" y="1638"/>
                  </a:moveTo>
                  <a:cubicBezTo>
                    <a:pt x="1057" y="1654"/>
                    <a:pt x="1057" y="1654"/>
                    <a:pt x="1057" y="1654"/>
                  </a:cubicBezTo>
                  <a:cubicBezTo>
                    <a:pt x="889" y="1822"/>
                    <a:pt x="889" y="1822"/>
                    <a:pt x="889" y="1822"/>
                  </a:cubicBezTo>
                  <a:cubicBezTo>
                    <a:pt x="853" y="1810"/>
                    <a:pt x="853" y="1810"/>
                    <a:pt x="853" y="1810"/>
                  </a:cubicBezTo>
                  <a:lnTo>
                    <a:pt x="976" y="1638"/>
                  </a:lnTo>
                  <a:close/>
                  <a:moveTo>
                    <a:pt x="418" y="1123"/>
                  </a:moveTo>
                  <a:cubicBezTo>
                    <a:pt x="674" y="1123"/>
                    <a:pt x="674" y="1123"/>
                    <a:pt x="674" y="1123"/>
                  </a:cubicBezTo>
                  <a:cubicBezTo>
                    <a:pt x="674" y="1155"/>
                    <a:pt x="674" y="1155"/>
                    <a:pt x="674" y="1155"/>
                  </a:cubicBezTo>
                  <a:cubicBezTo>
                    <a:pt x="418" y="1155"/>
                    <a:pt x="418" y="1155"/>
                    <a:pt x="418" y="1155"/>
                  </a:cubicBezTo>
                  <a:lnTo>
                    <a:pt x="418" y="1123"/>
                  </a:lnTo>
                  <a:close/>
                  <a:moveTo>
                    <a:pt x="130" y="547"/>
                  </a:moveTo>
                  <a:cubicBezTo>
                    <a:pt x="130" y="317"/>
                    <a:pt x="316" y="130"/>
                    <a:pt x="546" y="130"/>
                  </a:cubicBezTo>
                  <a:cubicBezTo>
                    <a:pt x="775" y="130"/>
                    <a:pt x="962" y="316"/>
                    <a:pt x="962" y="546"/>
                  </a:cubicBezTo>
                  <a:cubicBezTo>
                    <a:pt x="962" y="750"/>
                    <a:pt x="815" y="924"/>
                    <a:pt x="613" y="957"/>
                  </a:cubicBezTo>
                  <a:cubicBezTo>
                    <a:pt x="631" y="739"/>
                    <a:pt x="631" y="739"/>
                    <a:pt x="631" y="739"/>
                  </a:cubicBezTo>
                  <a:cubicBezTo>
                    <a:pt x="706" y="739"/>
                    <a:pt x="706" y="739"/>
                    <a:pt x="706" y="739"/>
                  </a:cubicBezTo>
                  <a:cubicBezTo>
                    <a:pt x="777" y="739"/>
                    <a:pt x="834" y="681"/>
                    <a:pt x="834" y="611"/>
                  </a:cubicBezTo>
                  <a:cubicBezTo>
                    <a:pt x="834" y="540"/>
                    <a:pt x="777" y="483"/>
                    <a:pt x="706" y="483"/>
                  </a:cubicBezTo>
                  <a:cubicBezTo>
                    <a:pt x="636" y="483"/>
                    <a:pt x="580" y="538"/>
                    <a:pt x="578" y="608"/>
                  </a:cubicBezTo>
                  <a:cubicBezTo>
                    <a:pt x="573" y="675"/>
                    <a:pt x="573" y="675"/>
                    <a:pt x="573" y="675"/>
                  </a:cubicBezTo>
                  <a:cubicBezTo>
                    <a:pt x="519" y="675"/>
                    <a:pt x="519" y="675"/>
                    <a:pt x="519" y="675"/>
                  </a:cubicBezTo>
                  <a:cubicBezTo>
                    <a:pt x="514" y="611"/>
                    <a:pt x="514" y="611"/>
                    <a:pt x="514" y="611"/>
                  </a:cubicBezTo>
                  <a:cubicBezTo>
                    <a:pt x="514" y="540"/>
                    <a:pt x="457" y="483"/>
                    <a:pt x="386" y="483"/>
                  </a:cubicBezTo>
                  <a:cubicBezTo>
                    <a:pt x="315" y="483"/>
                    <a:pt x="258" y="540"/>
                    <a:pt x="258" y="611"/>
                  </a:cubicBezTo>
                  <a:cubicBezTo>
                    <a:pt x="258" y="681"/>
                    <a:pt x="315" y="739"/>
                    <a:pt x="386" y="739"/>
                  </a:cubicBezTo>
                  <a:cubicBezTo>
                    <a:pt x="461" y="739"/>
                    <a:pt x="461" y="739"/>
                    <a:pt x="461" y="739"/>
                  </a:cubicBezTo>
                  <a:cubicBezTo>
                    <a:pt x="479" y="957"/>
                    <a:pt x="479" y="957"/>
                    <a:pt x="479" y="957"/>
                  </a:cubicBezTo>
                  <a:cubicBezTo>
                    <a:pt x="278" y="924"/>
                    <a:pt x="130" y="750"/>
                    <a:pt x="130" y="547"/>
                  </a:cubicBezTo>
                  <a:moveTo>
                    <a:pt x="544" y="963"/>
                  </a:moveTo>
                  <a:cubicBezTo>
                    <a:pt x="525" y="739"/>
                    <a:pt x="525" y="739"/>
                    <a:pt x="525" y="739"/>
                  </a:cubicBezTo>
                  <a:cubicBezTo>
                    <a:pt x="567" y="739"/>
                    <a:pt x="567" y="739"/>
                    <a:pt x="567" y="739"/>
                  </a:cubicBezTo>
                  <a:cubicBezTo>
                    <a:pt x="549" y="963"/>
                    <a:pt x="549" y="963"/>
                    <a:pt x="549" y="963"/>
                  </a:cubicBezTo>
                  <a:cubicBezTo>
                    <a:pt x="546" y="963"/>
                    <a:pt x="546" y="963"/>
                    <a:pt x="546" y="963"/>
                  </a:cubicBezTo>
                  <a:lnTo>
                    <a:pt x="544" y="963"/>
                  </a:lnTo>
                  <a:close/>
                  <a:moveTo>
                    <a:pt x="637" y="675"/>
                  </a:moveTo>
                  <a:cubicBezTo>
                    <a:pt x="642" y="611"/>
                    <a:pt x="642" y="611"/>
                    <a:pt x="642" y="611"/>
                  </a:cubicBezTo>
                  <a:cubicBezTo>
                    <a:pt x="642" y="575"/>
                    <a:pt x="671" y="547"/>
                    <a:pt x="706" y="547"/>
                  </a:cubicBezTo>
                  <a:cubicBezTo>
                    <a:pt x="741" y="547"/>
                    <a:pt x="770" y="575"/>
                    <a:pt x="770" y="611"/>
                  </a:cubicBezTo>
                  <a:cubicBezTo>
                    <a:pt x="770" y="646"/>
                    <a:pt x="741" y="675"/>
                    <a:pt x="706" y="675"/>
                  </a:cubicBezTo>
                  <a:lnTo>
                    <a:pt x="637" y="675"/>
                  </a:lnTo>
                  <a:close/>
                  <a:moveTo>
                    <a:pt x="455" y="675"/>
                  </a:moveTo>
                  <a:cubicBezTo>
                    <a:pt x="386" y="675"/>
                    <a:pt x="386" y="675"/>
                    <a:pt x="386" y="675"/>
                  </a:cubicBezTo>
                  <a:cubicBezTo>
                    <a:pt x="351" y="675"/>
                    <a:pt x="322" y="646"/>
                    <a:pt x="322" y="611"/>
                  </a:cubicBezTo>
                  <a:cubicBezTo>
                    <a:pt x="322" y="575"/>
                    <a:pt x="351" y="547"/>
                    <a:pt x="386" y="547"/>
                  </a:cubicBezTo>
                  <a:cubicBezTo>
                    <a:pt x="422" y="547"/>
                    <a:pt x="451" y="576"/>
                    <a:pt x="450" y="612"/>
                  </a:cubicBezTo>
                  <a:cubicBezTo>
                    <a:pt x="450" y="613"/>
                    <a:pt x="450" y="613"/>
                    <a:pt x="450" y="613"/>
                  </a:cubicBezTo>
                  <a:lnTo>
                    <a:pt x="455" y="675"/>
                  </a:lnTo>
                  <a:close/>
                  <a:moveTo>
                    <a:pt x="546" y="1027"/>
                  </a:moveTo>
                  <a:cubicBezTo>
                    <a:pt x="589" y="1026"/>
                    <a:pt x="632" y="1020"/>
                    <a:pt x="674" y="1009"/>
                  </a:cubicBezTo>
                  <a:cubicBezTo>
                    <a:pt x="674" y="1059"/>
                    <a:pt x="674" y="1059"/>
                    <a:pt x="674" y="1059"/>
                  </a:cubicBezTo>
                  <a:cubicBezTo>
                    <a:pt x="418" y="1059"/>
                    <a:pt x="418" y="1059"/>
                    <a:pt x="418" y="1059"/>
                  </a:cubicBezTo>
                  <a:cubicBezTo>
                    <a:pt x="418" y="1009"/>
                    <a:pt x="418" y="1009"/>
                    <a:pt x="418" y="1009"/>
                  </a:cubicBezTo>
                  <a:cubicBezTo>
                    <a:pt x="460" y="1020"/>
                    <a:pt x="503" y="1026"/>
                    <a:pt x="546" y="1027"/>
                  </a:cubicBezTo>
                  <a:moveTo>
                    <a:pt x="418" y="1219"/>
                  </a:moveTo>
                  <a:cubicBezTo>
                    <a:pt x="674" y="1219"/>
                    <a:pt x="674" y="1219"/>
                    <a:pt x="674" y="1219"/>
                  </a:cubicBezTo>
                  <a:cubicBezTo>
                    <a:pt x="674" y="1236"/>
                    <a:pt x="660" y="1251"/>
                    <a:pt x="642" y="1251"/>
                  </a:cubicBezTo>
                  <a:cubicBezTo>
                    <a:pt x="450" y="1251"/>
                    <a:pt x="450" y="1251"/>
                    <a:pt x="450" y="1251"/>
                  </a:cubicBezTo>
                  <a:cubicBezTo>
                    <a:pt x="432" y="1251"/>
                    <a:pt x="418" y="1236"/>
                    <a:pt x="418" y="1219"/>
                  </a:cubicBezTo>
                  <a:moveTo>
                    <a:pt x="578" y="1315"/>
                  </a:moveTo>
                  <a:cubicBezTo>
                    <a:pt x="578" y="1347"/>
                    <a:pt x="578" y="1347"/>
                    <a:pt x="578" y="1347"/>
                  </a:cubicBezTo>
                  <a:cubicBezTo>
                    <a:pt x="578" y="1364"/>
                    <a:pt x="564" y="1379"/>
                    <a:pt x="546" y="1379"/>
                  </a:cubicBezTo>
                  <a:cubicBezTo>
                    <a:pt x="528" y="1379"/>
                    <a:pt x="514" y="1364"/>
                    <a:pt x="514" y="1347"/>
                  </a:cubicBezTo>
                  <a:cubicBezTo>
                    <a:pt x="514" y="1315"/>
                    <a:pt x="514" y="1315"/>
                    <a:pt x="514" y="1315"/>
                  </a:cubicBezTo>
                  <a:lnTo>
                    <a:pt x="578" y="13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7" name="Freeform 293">
              <a:extLst>
                <a:ext uri="{FF2B5EF4-FFF2-40B4-BE49-F238E27FC236}">
                  <a16:creationId xmlns:a16="http://schemas.microsoft.com/office/drawing/2014/main" id="{1084067D-F8C0-6553-8AE6-DB3ADBC95A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87138" y="6403975"/>
              <a:ext cx="279400" cy="227012"/>
            </a:xfrm>
            <a:custGeom>
              <a:avLst/>
              <a:gdLst>
                <a:gd name="T0" fmla="*/ 119 w 739"/>
                <a:gd name="T1" fmla="*/ 517 h 597"/>
                <a:gd name="T2" fmla="*/ 149 w 739"/>
                <a:gd name="T3" fmla="*/ 524 h 597"/>
                <a:gd name="T4" fmla="*/ 707 w 739"/>
                <a:gd name="T5" fmla="*/ 597 h 597"/>
                <a:gd name="T6" fmla="*/ 739 w 739"/>
                <a:gd name="T7" fmla="*/ 542 h 597"/>
                <a:gd name="T8" fmla="*/ 177 w 739"/>
                <a:gd name="T9" fmla="*/ 451 h 597"/>
                <a:gd name="T10" fmla="*/ 179 w 739"/>
                <a:gd name="T11" fmla="*/ 403 h 597"/>
                <a:gd name="T12" fmla="*/ 53 w 739"/>
                <a:gd name="T13" fmla="*/ 0 h 597"/>
                <a:gd name="T14" fmla="*/ 0 w 739"/>
                <a:gd name="T15" fmla="*/ 37 h 597"/>
                <a:gd name="T16" fmla="*/ 109 w 739"/>
                <a:gd name="T17" fmla="*/ 488 h 597"/>
                <a:gd name="T18" fmla="*/ 119 w 739"/>
                <a:gd name="T19" fmla="*/ 517 h 5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39" h="597">
                  <a:moveTo>
                    <a:pt x="119" y="517"/>
                  </a:moveTo>
                  <a:cubicBezTo>
                    <a:pt x="127" y="524"/>
                    <a:pt x="138" y="526"/>
                    <a:pt x="149" y="524"/>
                  </a:cubicBezTo>
                  <a:cubicBezTo>
                    <a:pt x="337" y="474"/>
                    <a:pt x="538" y="500"/>
                    <a:pt x="707" y="597"/>
                  </a:cubicBezTo>
                  <a:cubicBezTo>
                    <a:pt x="739" y="542"/>
                    <a:pt x="739" y="542"/>
                    <a:pt x="739" y="542"/>
                  </a:cubicBezTo>
                  <a:cubicBezTo>
                    <a:pt x="569" y="444"/>
                    <a:pt x="369" y="412"/>
                    <a:pt x="177" y="451"/>
                  </a:cubicBezTo>
                  <a:cubicBezTo>
                    <a:pt x="178" y="434"/>
                    <a:pt x="179" y="418"/>
                    <a:pt x="179" y="403"/>
                  </a:cubicBezTo>
                  <a:cubicBezTo>
                    <a:pt x="179" y="259"/>
                    <a:pt x="135" y="118"/>
                    <a:pt x="53" y="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93" y="168"/>
                    <a:pt x="132" y="330"/>
                    <a:pt x="109" y="488"/>
                  </a:cubicBezTo>
                  <a:cubicBezTo>
                    <a:pt x="107" y="499"/>
                    <a:pt x="111" y="510"/>
                    <a:pt x="119" y="51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8" name="Freeform 294">
              <a:extLst>
                <a:ext uri="{FF2B5EF4-FFF2-40B4-BE49-F238E27FC236}">
                  <a16:creationId xmlns:a16="http://schemas.microsoft.com/office/drawing/2014/main" id="{1661114A-2D57-6F06-92E5-7998B93B176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99875" y="6645275"/>
              <a:ext cx="42863" cy="42862"/>
            </a:xfrm>
            <a:custGeom>
              <a:avLst/>
              <a:gdLst>
                <a:gd name="T0" fmla="*/ 42 w 113"/>
                <a:gd name="T1" fmla="*/ 0 h 113"/>
                <a:gd name="T2" fmla="*/ 0 w 113"/>
                <a:gd name="T3" fmla="*/ 48 h 113"/>
                <a:gd name="T4" fmla="*/ 65 w 113"/>
                <a:gd name="T5" fmla="*/ 113 h 113"/>
                <a:gd name="T6" fmla="*/ 113 w 113"/>
                <a:gd name="T7" fmla="*/ 70 h 113"/>
                <a:gd name="T8" fmla="*/ 42 w 113"/>
                <a:gd name="T9" fmla="*/ 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3" h="113">
                  <a:moveTo>
                    <a:pt x="42" y="0"/>
                  </a:moveTo>
                  <a:cubicBezTo>
                    <a:pt x="0" y="48"/>
                    <a:pt x="0" y="48"/>
                    <a:pt x="0" y="48"/>
                  </a:cubicBezTo>
                  <a:cubicBezTo>
                    <a:pt x="23" y="68"/>
                    <a:pt x="45" y="90"/>
                    <a:pt x="65" y="113"/>
                  </a:cubicBezTo>
                  <a:cubicBezTo>
                    <a:pt x="113" y="70"/>
                    <a:pt x="113" y="70"/>
                    <a:pt x="113" y="70"/>
                  </a:cubicBezTo>
                  <a:cubicBezTo>
                    <a:pt x="91" y="45"/>
                    <a:pt x="67" y="22"/>
                    <a:pt x="4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AF6F0887-66C1-CE91-465A-A1002EAD848D}"/>
              </a:ext>
            </a:extLst>
          </p:cNvPr>
          <p:cNvGrpSpPr/>
          <p:nvPr/>
        </p:nvGrpSpPr>
        <p:grpSpPr>
          <a:xfrm>
            <a:off x="5898648" y="1886100"/>
            <a:ext cx="453901" cy="462264"/>
            <a:chOff x="9164638" y="5856288"/>
            <a:chExt cx="1292226" cy="1316037"/>
          </a:xfrm>
          <a:solidFill>
            <a:schemeClr val="bg1"/>
          </a:solidFill>
        </p:grpSpPr>
        <p:sp>
          <p:nvSpPr>
            <p:cNvPr id="50" name="Freeform 298">
              <a:extLst>
                <a:ext uri="{FF2B5EF4-FFF2-40B4-BE49-F238E27FC236}">
                  <a16:creationId xmlns:a16="http://schemas.microsoft.com/office/drawing/2014/main" id="{ADB7D69B-92A0-FC37-7180-ED6E1FAA2F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725026" y="6311900"/>
              <a:ext cx="731838" cy="731837"/>
            </a:xfrm>
            <a:custGeom>
              <a:avLst/>
              <a:gdLst>
                <a:gd name="T0" fmla="*/ 544 w 1088"/>
                <a:gd name="T1" fmla="*/ 0 h 1088"/>
                <a:gd name="T2" fmla="*/ 512 w 1088"/>
                <a:gd name="T3" fmla="*/ 160 h 1088"/>
                <a:gd name="T4" fmla="*/ 640 w 1088"/>
                <a:gd name="T5" fmla="*/ 192 h 1088"/>
                <a:gd name="T6" fmla="*/ 640 w 1088"/>
                <a:gd name="T7" fmla="*/ 320 h 1088"/>
                <a:gd name="T8" fmla="*/ 512 w 1088"/>
                <a:gd name="T9" fmla="*/ 352 h 1088"/>
                <a:gd name="T10" fmla="*/ 32 w 1088"/>
                <a:gd name="T11" fmla="*/ 512 h 1088"/>
                <a:gd name="T12" fmla="*/ 0 w 1088"/>
                <a:gd name="T13" fmla="*/ 960 h 1088"/>
                <a:gd name="T14" fmla="*/ 960 w 1088"/>
                <a:gd name="T15" fmla="*/ 1088 h 1088"/>
                <a:gd name="T16" fmla="*/ 1088 w 1088"/>
                <a:gd name="T17" fmla="*/ 128 h 1088"/>
                <a:gd name="T18" fmla="*/ 640 w 1088"/>
                <a:gd name="T19" fmla="*/ 384 h 1088"/>
                <a:gd name="T20" fmla="*/ 640 w 1088"/>
                <a:gd name="T21" fmla="*/ 128 h 1088"/>
                <a:gd name="T22" fmla="*/ 576 w 1088"/>
                <a:gd name="T23" fmla="*/ 64 h 1088"/>
                <a:gd name="T24" fmla="*/ 1024 w 1088"/>
                <a:gd name="T25" fmla="*/ 128 h 1088"/>
                <a:gd name="T26" fmla="*/ 896 w 1088"/>
                <a:gd name="T27" fmla="*/ 512 h 1088"/>
                <a:gd name="T28" fmla="*/ 864 w 1088"/>
                <a:gd name="T29" fmla="*/ 640 h 1088"/>
                <a:gd name="T30" fmla="*/ 736 w 1088"/>
                <a:gd name="T31" fmla="*/ 640 h 1088"/>
                <a:gd name="T32" fmla="*/ 704 w 1088"/>
                <a:gd name="T33" fmla="*/ 512 h 1088"/>
                <a:gd name="T34" fmla="*/ 576 w 1088"/>
                <a:gd name="T35" fmla="*/ 384 h 1088"/>
                <a:gd name="T36" fmla="*/ 512 w 1088"/>
                <a:gd name="T37" fmla="*/ 1024 h 1088"/>
                <a:gd name="T38" fmla="*/ 64 w 1088"/>
                <a:gd name="T39" fmla="*/ 960 h 1088"/>
                <a:gd name="T40" fmla="*/ 512 w 1088"/>
                <a:gd name="T41" fmla="*/ 576 h 1088"/>
                <a:gd name="T42" fmla="*/ 448 w 1088"/>
                <a:gd name="T43" fmla="*/ 640 h 1088"/>
                <a:gd name="T44" fmla="*/ 448 w 1088"/>
                <a:gd name="T45" fmla="*/ 896 h 1088"/>
                <a:gd name="T46" fmla="*/ 512 w 1088"/>
                <a:gd name="T47" fmla="*/ 1024 h 1088"/>
                <a:gd name="T48" fmla="*/ 960 w 1088"/>
                <a:gd name="T49" fmla="*/ 1024 h 1088"/>
                <a:gd name="T50" fmla="*/ 576 w 1088"/>
                <a:gd name="T51" fmla="*/ 864 h 1088"/>
                <a:gd name="T52" fmla="*/ 448 w 1088"/>
                <a:gd name="T53" fmla="*/ 832 h 1088"/>
                <a:gd name="T54" fmla="*/ 448 w 1088"/>
                <a:gd name="T55" fmla="*/ 704 h 1088"/>
                <a:gd name="T56" fmla="*/ 576 w 1088"/>
                <a:gd name="T57" fmla="*/ 672 h 1088"/>
                <a:gd name="T58" fmla="*/ 672 w 1088"/>
                <a:gd name="T59" fmla="*/ 576 h 1088"/>
                <a:gd name="T60" fmla="*/ 800 w 1088"/>
                <a:gd name="T61" fmla="*/ 768 h 1088"/>
                <a:gd name="T62" fmla="*/ 928 w 1088"/>
                <a:gd name="T63" fmla="*/ 576 h 1088"/>
                <a:gd name="T64" fmla="*/ 1024 w 1088"/>
                <a:gd name="T65" fmla="*/ 960 h 10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88" h="1088">
                  <a:moveTo>
                    <a:pt x="960" y="0"/>
                  </a:moveTo>
                  <a:cubicBezTo>
                    <a:pt x="544" y="0"/>
                    <a:pt x="544" y="0"/>
                    <a:pt x="544" y="0"/>
                  </a:cubicBezTo>
                  <a:cubicBezTo>
                    <a:pt x="526" y="0"/>
                    <a:pt x="512" y="14"/>
                    <a:pt x="512" y="32"/>
                  </a:cubicBezTo>
                  <a:cubicBezTo>
                    <a:pt x="512" y="160"/>
                    <a:pt x="512" y="160"/>
                    <a:pt x="512" y="160"/>
                  </a:cubicBezTo>
                  <a:cubicBezTo>
                    <a:pt x="512" y="177"/>
                    <a:pt x="526" y="192"/>
                    <a:pt x="544" y="192"/>
                  </a:cubicBezTo>
                  <a:cubicBezTo>
                    <a:pt x="640" y="192"/>
                    <a:pt x="640" y="192"/>
                    <a:pt x="640" y="192"/>
                  </a:cubicBezTo>
                  <a:cubicBezTo>
                    <a:pt x="675" y="192"/>
                    <a:pt x="704" y="220"/>
                    <a:pt x="704" y="256"/>
                  </a:cubicBezTo>
                  <a:cubicBezTo>
                    <a:pt x="704" y="291"/>
                    <a:pt x="675" y="320"/>
                    <a:pt x="640" y="320"/>
                  </a:cubicBezTo>
                  <a:cubicBezTo>
                    <a:pt x="544" y="320"/>
                    <a:pt x="544" y="320"/>
                    <a:pt x="544" y="320"/>
                  </a:cubicBezTo>
                  <a:cubicBezTo>
                    <a:pt x="526" y="320"/>
                    <a:pt x="512" y="334"/>
                    <a:pt x="512" y="352"/>
                  </a:cubicBezTo>
                  <a:cubicBezTo>
                    <a:pt x="512" y="512"/>
                    <a:pt x="512" y="512"/>
                    <a:pt x="512" y="512"/>
                  </a:cubicBezTo>
                  <a:cubicBezTo>
                    <a:pt x="32" y="512"/>
                    <a:pt x="32" y="512"/>
                    <a:pt x="32" y="512"/>
                  </a:cubicBezTo>
                  <a:cubicBezTo>
                    <a:pt x="14" y="512"/>
                    <a:pt x="0" y="526"/>
                    <a:pt x="0" y="544"/>
                  </a:cubicBezTo>
                  <a:cubicBezTo>
                    <a:pt x="0" y="960"/>
                    <a:pt x="0" y="960"/>
                    <a:pt x="0" y="960"/>
                  </a:cubicBezTo>
                  <a:cubicBezTo>
                    <a:pt x="0" y="1030"/>
                    <a:pt x="57" y="1088"/>
                    <a:pt x="128" y="1088"/>
                  </a:cubicBezTo>
                  <a:cubicBezTo>
                    <a:pt x="960" y="1088"/>
                    <a:pt x="960" y="1088"/>
                    <a:pt x="960" y="1088"/>
                  </a:cubicBezTo>
                  <a:cubicBezTo>
                    <a:pt x="1030" y="1088"/>
                    <a:pt x="1088" y="1030"/>
                    <a:pt x="1088" y="960"/>
                  </a:cubicBezTo>
                  <a:cubicBezTo>
                    <a:pt x="1088" y="128"/>
                    <a:pt x="1088" y="128"/>
                    <a:pt x="1088" y="128"/>
                  </a:cubicBezTo>
                  <a:cubicBezTo>
                    <a:pt x="1088" y="57"/>
                    <a:pt x="1030" y="0"/>
                    <a:pt x="960" y="0"/>
                  </a:cubicBezTo>
                  <a:moveTo>
                    <a:pt x="640" y="384"/>
                  </a:moveTo>
                  <a:cubicBezTo>
                    <a:pt x="710" y="384"/>
                    <a:pt x="768" y="326"/>
                    <a:pt x="768" y="256"/>
                  </a:cubicBezTo>
                  <a:cubicBezTo>
                    <a:pt x="768" y="185"/>
                    <a:pt x="710" y="128"/>
                    <a:pt x="640" y="128"/>
                  </a:cubicBezTo>
                  <a:cubicBezTo>
                    <a:pt x="576" y="128"/>
                    <a:pt x="576" y="128"/>
                    <a:pt x="576" y="128"/>
                  </a:cubicBezTo>
                  <a:cubicBezTo>
                    <a:pt x="576" y="64"/>
                    <a:pt x="576" y="64"/>
                    <a:pt x="576" y="64"/>
                  </a:cubicBezTo>
                  <a:cubicBezTo>
                    <a:pt x="960" y="64"/>
                    <a:pt x="960" y="64"/>
                    <a:pt x="960" y="64"/>
                  </a:cubicBezTo>
                  <a:cubicBezTo>
                    <a:pt x="995" y="64"/>
                    <a:pt x="1024" y="92"/>
                    <a:pt x="1024" y="128"/>
                  </a:cubicBezTo>
                  <a:cubicBezTo>
                    <a:pt x="1024" y="512"/>
                    <a:pt x="1024" y="512"/>
                    <a:pt x="1024" y="512"/>
                  </a:cubicBezTo>
                  <a:cubicBezTo>
                    <a:pt x="896" y="512"/>
                    <a:pt x="896" y="512"/>
                    <a:pt x="896" y="512"/>
                  </a:cubicBezTo>
                  <a:cubicBezTo>
                    <a:pt x="878" y="512"/>
                    <a:pt x="864" y="526"/>
                    <a:pt x="864" y="544"/>
                  </a:cubicBezTo>
                  <a:cubicBezTo>
                    <a:pt x="864" y="640"/>
                    <a:pt x="864" y="640"/>
                    <a:pt x="864" y="640"/>
                  </a:cubicBezTo>
                  <a:cubicBezTo>
                    <a:pt x="864" y="675"/>
                    <a:pt x="835" y="704"/>
                    <a:pt x="800" y="704"/>
                  </a:cubicBezTo>
                  <a:cubicBezTo>
                    <a:pt x="764" y="704"/>
                    <a:pt x="736" y="675"/>
                    <a:pt x="736" y="640"/>
                  </a:cubicBezTo>
                  <a:cubicBezTo>
                    <a:pt x="736" y="544"/>
                    <a:pt x="736" y="544"/>
                    <a:pt x="736" y="544"/>
                  </a:cubicBezTo>
                  <a:cubicBezTo>
                    <a:pt x="736" y="526"/>
                    <a:pt x="721" y="512"/>
                    <a:pt x="704" y="512"/>
                  </a:cubicBezTo>
                  <a:cubicBezTo>
                    <a:pt x="576" y="512"/>
                    <a:pt x="576" y="512"/>
                    <a:pt x="576" y="512"/>
                  </a:cubicBezTo>
                  <a:cubicBezTo>
                    <a:pt x="576" y="384"/>
                    <a:pt x="576" y="384"/>
                    <a:pt x="576" y="384"/>
                  </a:cubicBezTo>
                  <a:lnTo>
                    <a:pt x="640" y="384"/>
                  </a:lnTo>
                  <a:close/>
                  <a:moveTo>
                    <a:pt x="512" y="1024"/>
                  </a:moveTo>
                  <a:cubicBezTo>
                    <a:pt x="128" y="1024"/>
                    <a:pt x="128" y="1024"/>
                    <a:pt x="128" y="1024"/>
                  </a:cubicBezTo>
                  <a:cubicBezTo>
                    <a:pt x="92" y="1024"/>
                    <a:pt x="64" y="995"/>
                    <a:pt x="64" y="960"/>
                  </a:cubicBezTo>
                  <a:cubicBezTo>
                    <a:pt x="64" y="576"/>
                    <a:pt x="64" y="576"/>
                    <a:pt x="64" y="576"/>
                  </a:cubicBezTo>
                  <a:cubicBezTo>
                    <a:pt x="512" y="576"/>
                    <a:pt x="512" y="576"/>
                    <a:pt x="512" y="576"/>
                  </a:cubicBezTo>
                  <a:cubicBezTo>
                    <a:pt x="512" y="640"/>
                    <a:pt x="512" y="640"/>
                    <a:pt x="512" y="640"/>
                  </a:cubicBezTo>
                  <a:cubicBezTo>
                    <a:pt x="448" y="640"/>
                    <a:pt x="448" y="640"/>
                    <a:pt x="448" y="640"/>
                  </a:cubicBezTo>
                  <a:cubicBezTo>
                    <a:pt x="377" y="640"/>
                    <a:pt x="320" y="697"/>
                    <a:pt x="320" y="768"/>
                  </a:cubicBezTo>
                  <a:cubicBezTo>
                    <a:pt x="320" y="838"/>
                    <a:pt x="377" y="896"/>
                    <a:pt x="448" y="896"/>
                  </a:cubicBezTo>
                  <a:cubicBezTo>
                    <a:pt x="512" y="896"/>
                    <a:pt x="512" y="896"/>
                    <a:pt x="512" y="896"/>
                  </a:cubicBezTo>
                  <a:lnTo>
                    <a:pt x="512" y="1024"/>
                  </a:lnTo>
                  <a:close/>
                  <a:moveTo>
                    <a:pt x="1024" y="960"/>
                  </a:moveTo>
                  <a:cubicBezTo>
                    <a:pt x="1024" y="995"/>
                    <a:pt x="995" y="1024"/>
                    <a:pt x="960" y="1024"/>
                  </a:cubicBezTo>
                  <a:cubicBezTo>
                    <a:pt x="576" y="1024"/>
                    <a:pt x="576" y="1024"/>
                    <a:pt x="576" y="1024"/>
                  </a:cubicBezTo>
                  <a:cubicBezTo>
                    <a:pt x="576" y="864"/>
                    <a:pt x="576" y="864"/>
                    <a:pt x="576" y="864"/>
                  </a:cubicBezTo>
                  <a:cubicBezTo>
                    <a:pt x="576" y="846"/>
                    <a:pt x="561" y="832"/>
                    <a:pt x="544" y="832"/>
                  </a:cubicBezTo>
                  <a:cubicBezTo>
                    <a:pt x="448" y="832"/>
                    <a:pt x="448" y="832"/>
                    <a:pt x="448" y="832"/>
                  </a:cubicBezTo>
                  <a:cubicBezTo>
                    <a:pt x="412" y="832"/>
                    <a:pt x="384" y="803"/>
                    <a:pt x="384" y="768"/>
                  </a:cubicBezTo>
                  <a:cubicBezTo>
                    <a:pt x="384" y="732"/>
                    <a:pt x="412" y="704"/>
                    <a:pt x="448" y="704"/>
                  </a:cubicBezTo>
                  <a:cubicBezTo>
                    <a:pt x="544" y="704"/>
                    <a:pt x="544" y="704"/>
                    <a:pt x="544" y="704"/>
                  </a:cubicBezTo>
                  <a:cubicBezTo>
                    <a:pt x="561" y="704"/>
                    <a:pt x="576" y="689"/>
                    <a:pt x="576" y="672"/>
                  </a:cubicBezTo>
                  <a:cubicBezTo>
                    <a:pt x="576" y="576"/>
                    <a:pt x="576" y="576"/>
                    <a:pt x="576" y="576"/>
                  </a:cubicBezTo>
                  <a:cubicBezTo>
                    <a:pt x="672" y="576"/>
                    <a:pt x="672" y="576"/>
                    <a:pt x="672" y="576"/>
                  </a:cubicBezTo>
                  <a:cubicBezTo>
                    <a:pt x="672" y="640"/>
                    <a:pt x="672" y="640"/>
                    <a:pt x="672" y="640"/>
                  </a:cubicBezTo>
                  <a:cubicBezTo>
                    <a:pt x="672" y="710"/>
                    <a:pt x="729" y="768"/>
                    <a:pt x="800" y="768"/>
                  </a:cubicBezTo>
                  <a:cubicBezTo>
                    <a:pt x="870" y="768"/>
                    <a:pt x="928" y="710"/>
                    <a:pt x="928" y="640"/>
                  </a:cubicBezTo>
                  <a:cubicBezTo>
                    <a:pt x="928" y="576"/>
                    <a:pt x="928" y="576"/>
                    <a:pt x="928" y="576"/>
                  </a:cubicBezTo>
                  <a:cubicBezTo>
                    <a:pt x="1024" y="576"/>
                    <a:pt x="1024" y="576"/>
                    <a:pt x="1024" y="576"/>
                  </a:cubicBezTo>
                  <a:lnTo>
                    <a:pt x="1024" y="9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1" name="Freeform 299">
              <a:extLst>
                <a:ext uri="{FF2B5EF4-FFF2-40B4-BE49-F238E27FC236}">
                  <a16:creationId xmlns:a16="http://schemas.microsoft.com/office/drawing/2014/main" id="{B09D3212-E143-3C40-57C5-3044E0184FE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164638" y="5856288"/>
              <a:ext cx="1033463" cy="1316037"/>
            </a:xfrm>
            <a:custGeom>
              <a:avLst/>
              <a:gdLst>
                <a:gd name="T0" fmla="*/ 389 w 1541"/>
                <a:gd name="T1" fmla="*/ 1957 h 1957"/>
                <a:gd name="T2" fmla="*/ 335 w 1541"/>
                <a:gd name="T3" fmla="*/ 1783 h 1957"/>
                <a:gd name="T4" fmla="*/ 393 w 1541"/>
                <a:gd name="T5" fmla="*/ 1452 h 1957"/>
                <a:gd name="T6" fmla="*/ 395 w 1541"/>
                <a:gd name="T7" fmla="*/ 1285 h 1957"/>
                <a:gd name="T8" fmla="*/ 431 w 1541"/>
                <a:gd name="T9" fmla="*/ 1310 h 1957"/>
                <a:gd name="T10" fmla="*/ 485 w 1541"/>
                <a:gd name="T11" fmla="*/ 1667 h 1957"/>
                <a:gd name="T12" fmla="*/ 517 w 1541"/>
                <a:gd name="T13" fmla="*/ 1957 h 1957"/>
                <a:gd name="T14" fmla="*/ 901 w 1541"/>
                <a:gd name="T15" fmla="*/ 1925 h 1957"/>
                <a:gd name="T16" fmla="*/ 821 w 1541"/>
                <a:gd name="T17" fmla="*/ 1795 h 1957"/>
                <a:gd name="T18" fmla="*/ 727 w 1541"/>
                <a:gd name="T19" fmla="*/ 1678 h 1957"/>
                <a:gd name="T20" fmla="*/ 741 w 1541"/>
                <a:gd name="T21" fmla="*/ 1250 h 1957"/>
                <a:gd name="T22" fmla="*/ 925 w 1541"/>
                <a:gd name="T23" fmla="*/ 715 h 1957"/>
                <a:gd name="T24" fmla="*/ 1317 w 1541"/>
                <a:gd name="T25" fmla="*/ 613 h 1957"/>
                <a:gd name="T26" fmla="*/ 1349 w 1541"/>
                <a:gd name="T27" fmla="*/ 421 h 1957"/>
                <a:gd name="T28" fmla="*/ 1541 w 1541"/>
                <a:gd name="T29" fmla="*/ 293 h 1957"/>
                <a:gd name="T30" fmla="*/ 1349 w 1541"/>
                <a:gd name="T31" fmla="*/ 165 h 1957"/>
                <a:gd name="T32" fmla="*/ 1317 w 1541"/>
                <a:gd name="T33" fmla="*/ 37 h 1957"/>
                <a:gd name="T34" fmla="*/ 773 w 1541"/>
                <a:gd name="T35" fmla="*/ 165 h 1957"/>
                <a:gd name="T36" fmla="*/ 640 w 1541"/>
                <a:gd name="T37" fmla="*/ 587 h 1957"/>
                <a:gd name="T38" fmla="*/ 682 w 1541"/>
                <a:gd name="T39" fmla="*/ 178 h 1957"/>
                <a:gd name="T40" fmla="*/ 224 w 1541"/>
                <a:gd name="T41" fmla="*/ 407 h 1957"/>
                <a:gd name="T42" fmla="*/ 186 w 1541"/>
                <a:gd name="T43" fmla="*/ 677 h 1957"/>
                <a:gd name="T44" fmla="*/ 79 w 1541"/>
                <a:gd name="T45" fmla="*/ 1423 h 1957"/>
                <a:gd name="T46" fmla="*/ 8 w 1541"/>
                <a:gd name="T47" fmla="*/ 1910 h 1957"/>
                <a:gd name="T48" fmla="*/ 37 w 1541"/>
                <a:gd name="T49" fmla="*/ 1957 h 1957"/>
                <a:gd name="T50" fmla="*/ 898 w 1541"/>
                <a:gd name="T51" fmla="*/ 657 h 1957"/>
                <a:gd name="T52" fmla="*/ 394 w 1541"/>
                <a:gd name="T53" fmla="*/ 837 h 1957"/>
                <a:gd name="T54" fmla="*/ 420 w 1541"/>
                <a:gd name="T55" fmla="*/ 764 h 1957"/>
                <a:gd name="T56" fmla="*/ 907 w 1541"/>
                <a:gd name="T57" fmla="*/ 559 h 1957"/>
                <a:gd name="T58" fmla="*/ 899 w 1541"/>
                <a:gd name="T59" fmla="*/ 657 h 1957"/>
                <a:gd name="T60" fmla="*/ 1285 w 1541"/>
                <a:gd name="T61" fmla="*/ 101 h 1957"/>
                <a:gd name="T62" fmla="*/ 1317 w 1541"/>
                <a:gd name="T63" fmla="*/ 229 h 1957"/>
                <a:gd name="T64" fmla="*/ 1477 w 1541"/>
                <a:gd name="T65" fmla="*/ 293 h 1957"/>
                <a:gd name="T66" fmla="*/ 1317 w 1541"/>
                <a:gd name="T67" fmla="*/ 357 h 1957"/>
                <a:gd name="T68" fmla="*/ 1285 w 1541"/>
                <a:gd name="T69" fmla="*/ 549 h 1957"/>
                <a:gd name="T70" fmla="*/ 837 w 1541"/>
                <a:gd name="T71" fmla="*/ 493 h 1957"/>
                <a:gd name="T72" fmla="*/ 901 w 1541"/>
                <a:gd name="T73" fmla="*/ 101 h 1957"/>
                <a:gd name="T74" fmla="*/ 453 w 1541"/>
                <a:gd name="T75" fmla="*/ 101 h 1957"/>
                <a:gd name="T76" fmla="*/ 453 w 1541"/>
                <a:gd name="T77" fmla="*/ 485 h 1957"/>
                <a:gd name="T78" fmla="*/ 129 w 1541"/>
                <a:gd name="T79" fmla="*/ 1810 h 1957"/>
                <a:gd name="T80" fmla="*/ 119 w 1541"/>
                <a:gd name="T81" fmla="*/ 1098 h 1957"/>
                <a:gd name="T82" fmla="*/ 474 w 1541"/>
                <a:gd name="T83" fmla="*/ 552 h 1957"/>
                <a:gd name="T84" fmla="*/ 392 w 1541"/>
                <a:gd name="T85" fmla="*/ 707 h 1957"/>
                <a:gd name="T86" fmla="*/ 443 w 1541"/>
                <a:gd name="T87" fmla="*/ 933 h 1957"/>
                <a:gd name="T88" fmla="*/ 642 w 1541"/>
                <a:gd name="T89" fmla="*/ 851 h 1957"/>
                <a:gd name="T90" fmla="*/ 677 w 1541"/>
                <a:gd name="T91" fmla="*/ 1536 h 1957"/>
                <a:gd name="T92" fmla="*/ 630 w 1541"/>
                <a:gd name="T93" fmla="*/ 1836 h 1957"/>
                <a:gd name="T94" fmla="*/ 677 w 1541"/>
                <a:gd name="T95" fmla="*/ 1870 h 1957"/>
                <a:gd name="T96" fmla="*/ 792 w 1541"/>
                <a:gd name="T97" fmla="*/ 1852 h 1957"/>
                <a:gd name="T98" fmla="*/ 549 w 1541"/>
                <a:gd name="T99" fmla="*/ 1893 h 1957"/>
                <a:gd name="T100" fmla="*/ 537 w 1541"/>
                <a:gd name="T101" fmla="*/ 1538 h 1957"/>
                <a:gd name="T102" fmla="*/ 384 w 1541"/>
                <a:gd name="T103" fmla="*/ 1221 h 1957"/>
                <a:gd name="T104" fmla="*/ 307 w 1541"/>
                <a:gd name="T105" fmla="*/ 1333 h 1957"/>
                <a:gd name="T106" fmla="*/ 293 w 1541"/>
                <a:gd name="T107" fmla="*/ 1724 h 1957"/>
                <a:gd name="T108" fmla="*/ 276 w 1541"/>
                <a:gd name="T109" fmla="*/ 1829 h 1957"/>
                <a:gd name="T110" fmla="*/ 351 w 1541"/>
                <a:gd name="T111" fmla="*/ 1893 h 1957"/>
                <a:gd name="T112" fmla="*/ 129 w 1541"/>
                <a:gd name="T113" fmla="*/ 1810 h 19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41" h="1957">
                  <a:moveTo>
                    <a:pt x="37" y="1957"/>
                  </a:moveTo>
                  <a:cubicBezTo>
                    <a:pt x="389" y="1957"/>
                    <a:pt x="389" y="1957"/>
                    <a:pt x="389" y="1957"/>
                  </a:cubicBezTo>
                  <a:cubicBezTo>
                    <a:pt x="406" y="1957"/>
                    <a:pt x="421" y="1942"/>
                    <a:pt x="421" y="1925"/>
                  </a:cubicBezTo>
                  <a:cubicBezTo>
                    <a:pt x="421" y="1865"/>
                    <a:pt x="388" y="1811"/>
                    <a:pt x="335" y="1783"/>
                  </a:cubicBezTo>
                  <a:cubicBezTo>
                    <a:pt x="350" y="1753"/>
                    <a:pt x="350" y="1753"/>
                    <a:pt x="350" y="1753"/>
                  </a:cubicBezTo>
                  <a:cubicBezTo>
                    <a:pt x="397" y="1660"/>
                    <a:pt x="412" y="1554"/>
                    <a:pt x="393" y="1452"/>
                  </a:cubicBezTo>
                  <a:cubicBezTo>
                    <a:pt x="370" y="1321"/>
                    <a:pt x="370" y="1321"/>
                    <a:pt x="370" y="1321"/>
                  </a:cubicBezTo>
                  <a:cubicBezTo>
                    <a:pt x="367" y="1304"/>
                    <a:pt x="378" y="1288"/>
                    <a:pt x="395" y="1285"/>
                  </a:cubicBezTo>
                  <a:cubicBezTo>
                    <a:pt x="396" y="1285"/>
                    <a:pt x="398" y="1285"/>
                    <a:pt x="400" y="1285"/>
                  </a:cubicBezTo>
                  <a:cubicBezTo>
                    <a:pt x="415" y="1285"/>
                    <a:pt x="428" y="1295"/>
                    <a:pt x="431" y="1310"/>
                  </a:cubicBezTo>
                  <a:cubicBezTo>
                    <a:pt x="474" y="1549"/>
                    <a:pt x="474" y="1549"/>
                    <a:pt x="474" y="1549"/>
                  </a:cubicBezTo>
                  <a:cubicBezTo>
                    <a:pt x="481" y="1588"/>
                    <a:pt x="485" y="1627"/>
                    <a:pt x="485" y="1667"/>
                  </a:cubicBezTo>
                  <a:cubicBezTo>
                    <a:pt x="485" y="1925"/>
                    <a:pt x="485" y="1925"/>
                    <a:pt x="485" y="1925"/>
                  </a:cubicBezTo>
                  <a:cubicBezTo>
                    <a:pt x="485" y="1942"/>
                    <a:pt x="499" y="1957"/>
                    <a:pt x="517" y="1957"/>
                  </a:cubicBezTo>
                  <a:cubicBezTo>
                    <a:pt x="869" y="1957"/>
                    <a:pt x="869" y="1957"/>
                    <a:pt x="869" y="1957"/>
                  </a:cubicBezTo>
                  <a:cubicBezTo>
                    <a:pt x="886" y="1957"/>
                    <a:pt x="901" y="1942"/>
                    <a:pt x="901" y="1925"/>
                  </a:cubicBezTo>
                  <a:cubicBezTo>
                    <a:pt x="901" y="1918"/>
                    <a:pt x="900" y="1912"/>
                    <a:pt x="900" y="1906"/>
                  </a:cubicBezTo>
                  <a:cubicBezTo>
                    <a:pt x="894" y="1858"/>
                    <a:pt x="864" y="1816"/>
                    <a:pt x="821" y="1795"/>
                  </a:cubicBezTo>
                  <a:cubicBezTo>
                    <a:pt x="785" y="1776"/>
                    <a:pt x="744" y="1773"/>
                    <a:pt x="705" y="1784"/>
                  </a:cubicBezTo>
                  <a:cubicBezTo>
                    <a:pt x="727" y="1678"/>
                    <a:pt x="727" y="1678"/>
                    <a:pt x="727" y="1678"/>
                  </a:cubicBezTo>
                  <a:cubicBezTo>
                    <a:pt x="736" y="1631"/>
                    <a:pt x="741" y="1584"/>
                    <a:pt x="741" y="1536"/>
                  </a:cubicBezTo>
                  <a:cubicBezTo>
                    <a:pt x="741" y="1250"/>
                    <a:pt x="741" y="1250"/>
                    <a:pt x="741" y="1250"/>
                  </a:cubicBezTo>
                  <a:cubicBezTo>
                    <a:pt x="703" y="821"/>
                    <a:pt x="703" y="821"/>
                    <a:pt x="703" y="821"/>
                  </a:cubicBezTo>
                  <a:cubicBezTo>
                    <a:pt x="925" y="715"/>
                    <a:pt x="925" y="715"/>
                    <a:pt x="925" y="715"/>
                  </a:cubicBezTo>
                  <a:cubicBezTo>
                    <a:pt x="966" y="697"/>
                    <a:pt x="994" y="657"/>
                    <a:pt x="996" y="613"/>
                  </a:cubicBezTo>
                  <a:cubicBezTo>
                    <a:pt x="1317" y="613"/>
                    <a:pt x="1317" y="613"/>
                    <a:pt x="1317" y="613"/>
                  </a:cubicBezTo>
                  <a:cubicBezTo>
                    <a:pt x="1334" y="613"/>
                    <a:pt x="1349" y="598"/>
                    <a:pt x="1349" y="581"/>
                  </a:cubicBezTo>
                  <a:cubicBezTo>
                    <a:pt x="1349" y="421"/>
                    <a:pt x="1349" y="421"/>
                    <a:pt x="1349" y="421"/>
                  </a:cubicBezTo>
                  <a:cubicBezTo>
                    <a:pt x="1413" y="421"/>
                    <a:pt x="1413" y="421"/>
                    <a:pt x="1413" y="421"/>
                  </a:cubicBezTo>
                  <a:cubicBezTo>
                    <a:pt x="1483" y="421"/>
                    <a:pt x="1541" y="363"/>
                    <a:pt x="1541" y="293"/>
                  </a:cubicBezTo>
                  <a:cubicBezTo>
                    <a:pt x="1541" y="222"/>
                    <a:pt x="1483" y="165"/>
                    <a:pt x="1413" y="165"/>
                  </a:cubicBezTo>
                  <a:cubicBezTo>
                    <a:pt x="1349" y="165"/>
                    <a:pt x="1349" y="165"/>
                    <a:pt x="1349" y="165"/>
                  </a:cubicBezTo>
                  <a:cubicBezTo>
                    <a:pt x="1349" y="69"/>
                    <a:pt x="1349" y="69"/>
                    <a:pt x="1349" y="69"/>
                  </a:cubicBezTo>
                  <a:cubicBezTo>
                    <a:pt x="1349" y="51"/>
                    <a:pt x="1334" y="37"/>
                    <a:pt x="1317" y="37"/>
                  </a:cubicBezTo>
                  <a:cubicBezTo>
                    <a:pt x="901" y="37"/>
                    <a:pt x="901" y="37"/>
                    <a:pt x="901" y="37"/>
                  </a:cubicBezTo>
                  <a:cubicBezTo>
                    <a:pt x="830" y="37"/>
                    <a:pt x="773" y="94"/>
                    <a:pt x="773" y="165"/>
                  </a:cubicBezTo>
                  <a:cubicBezTo>
                    <a:pt x="773" y="523"/>
                    <a:pt x="773" y="523"/>
                    <a:pt x="773" y="523"/>
                  </a:cubicBezTo>
                  <a:cubicBezTo>
                    <a:pt x="640" y="587"/>
                    <a:pt x="640" y="587"/>
                    <a:pt x="640" y="587"/>
                  </a:cubicBezTo>
                  <a:cubicBezTo>
                    <a:pt x="620" y="561"/>
                    <a:pt x="596" y="538"/>
                    <a:pt x="567" y="521"/>
                  </a:cubicBezTo>
                  <a:cubicBezTo>
                    <a:pt x="694" y="458"/>
                    <a:pt x="745" y="304"/>
                    <a:pt x="682" y="178"/>
                  </a:cubicBezTo>
                  <a:cubicBezTo>
                    <a:pt x="618" y="51"/>
                    <a:pt x="464" y="0"/>
                    <a:pt x="338" y="64"/>
                  </a:cubicBezTo>
                  <a:cubicBezTo>
                    <a:pt x="212" y="127"/>
                    <a:pt x="161" y="281"/>
                    <a:pt x="224" y="407"/>
                  </a:cubicBezTo>
                  <a:cubicBezTo>
                    <a:pt x="246" y="451"/>
                    <a:pt x="280" y="487"/>
                    <a:pt x="321" y="512"/>
                  </a:cubicBezTo>
                  <a:cubicBezTo>
                    <a:pt x="254" y="545"/>
                    <a:pt x="205" y="605"/>
                    <a:pt x="186" y="677"/>
                  </a:cubicBezTo>
                  <a:cubicBezTo>
                    <a:pt x="58" y="1078"/>
                    <a:pt x="58" y="1078"/>
                    <a:pt x="58" y="1078"/>
                  </a:cubicBezTo>
                  <a:cubicBezTo>
                    <a:pt x="22" y="1192"/>
                    <a:pt x="30" y="1315"/>
                    <a:pt x="79" y="1423"/>
                  </a:cubicBezTo>
                  <a:cubicBezTo>
                    <a:pt x="131" y="1537"/>
                    <a:pt x="129" y="1669"/>
                    <a:pt x="72" y="1782"/>
                  </a:cubicBezTo>
                  <a:cubicBezTo>
                    <a:pt x="8" y="1910"/>
                    <a:pt x="8" y="1910"/>
                    <a:pt x="8" y="1910"/>
                  </a:cubicBezTo>
                  <a:cubicBezTo>
                    <a:pt x="0" y="1926"/>
                    <a:pt x="7" y="1945"/>
                    <a:pt x="22" y="1953"/>
                  </a:cubicBezTo>
                  <a:cubicBezTo>
                    <a:pt x="27" y="1955"/>
                    <a:pt x="32" y="1957"/>
                    <a:pt x="37" y="1957"/>
                  </a:cubicBezTo>
                  <a:moveTo>
                    <a:pt x="899" y="657"/>
                  </a:moveTo>
                  <a:cubicBezTo>
                    <a:pt x="898" y="657"/>
                    <a:pt x="898" y="657"/>
                    <a:pt x="898" y="657"/>
                  </a:cubicBezTo>
                  <a:cubicBezTo>
                    <a:pt x="467" y="863"/>
                    <a:pt x="467" y="863"/>
                    <a:pt x="467" y="863"/>
                  </a:cubicBezTo>
                  <a:cubicBezTo>
                    <a:pt x="440" y="876"/>
                    <a:pt x="407" y="865"/>
                    <a:pt x="394" y="837"/>
                  </a:cubicBezTo>
                  <a:cubicBezTo>
                    <a:pt x="390" y="830"/>
                    <a:pt x="389" y="822"/>
                    <a:pt x="389" y="814"/>
                  </a:cubicBezTo>
                  <a:cubicBezTo>
                    <a:pt x="389" y="793"/>
                    <a:pt x="401" y="774"/>
                    <a:pt x="420" y="764"/>
                  </a:cubicBezTo>
                  <a:cubicBezTo>
                    <a:pt x="854" y="554"/>
                    <a:pt x="854" y="554"/>
                    <a:pt x="854" y="554"/>
                  </a:cubicBezTo>
                  <a:cubicBezTo>
                    <a:pt x="872" y="547"/>
                    <a:pt x="892" y="548"/>
                    <a:pt x="907" y="559"/>
                  </a:cubicBezTo>
                  <a:cubicBezTo>
                    <a:pt x="923" y="569"/>
                    <a:pt x="933" y="587"/>
                    <a:pt x="933" y="606"/>
                  </a:cubicBezTo>
                  <a:cubicBezTo>
                    <a:pt x="933" y="628"/>
                    <a:pt x="919" y="648"/>
                    <a:pt x="899" y="657"/>
                  </a:cubicBezTo>
                  <a:moveTo>
                    <a:pt x="901" y="101"/>
                  </a:moveTo>
                  <a:cubicBezTo>
                    <a:pt x="1285" y="101"/>
                    <a:pt x="1285" y="101"/>
                    <a:pt x="1285" y="101"/>
                  </a:cubicBezTo>
                  <a:cubicBezTo>
                    <a:pt x="1285" y="197"/>
                    <a:pt x="1285" y="197"/>
                    <a:pt x="1285" y="197"/>
                  </a:cubicBezTo>
                  <a:cubicBezTo>
                    <a:pt x="1285" y="214"/>
                    <a:pt x="1299" y="229"/>
                    <a:pt x="1317" y="229"/>
                  </a:cubicBezTo>
                  <a:cubicBezTo>
                    <a:pt x="1413" y="229"/>
                    <a:pt x="1413" y="229"/>
                    <a:pt x="1413" y="229"/>
                  </a:cubicBezTo>
                  <a:cubicBezTo>
                    <a:pt x="1448" y="229"/>
                    <a:pt x="1477" y="257"/>
                    <a:pt x="1477" y="293"/>
                  </a:cubicBezTo>
                  <a:cubicBezTo>
                    <a:pt x="1477" y="328"/>
                    <a:pt x="1448" y="357"/>
                    <a:pt x="1413" y="357"/>
                  </a:cubicBezTo>
                  <a:cubicBezTo>
                    <a:pt x="1317" y="357"/>
                    <a:pt x="1317" y="357"/>
                    <a:pt x="1317" y="357"/>
                  </a:cubicBezTo>
                  <a:cubicBezTo>
                    <a:pt x="1299" y="357"/>
                    <a:pt x="1285" y="371"/>
                    <a:pt x="1285" y="389"/>
                  </a:cubicBezTo>
                  <a:cubicBezTo>
                    <a:pt x="1285" y="549"/>
                    <a:pt x="1285" y="549"/>
                    <a:pt x="1285" y="549"/>
                  </a:cubicBezTo>
                  <a:cubicBezTo>
                    <a:pt x="982" y="549"/>
                    <a:pt x="982" y="549"/>
                    <a:pt x="982" y="549"/>
                  </a:cubicBezTo>
                  <a:cubicBezTo>
                    <a:pt x="954" y="497"/>
                    <a:pt x="892" y="473"/>
                    <a:pt x="837" y="493"/>
                  </a:cubicBezTo>
                  <a:cubicBezTo>
                    <a:pt x="837" y="165"/>
                    <a:pt x="837" y="165"/>
                    <a:pt x="837" y="165"/>
                  </a:cubicBezTo>
                  <a:cubicBezTo>
                    <a:pt x="837" y="129"/>
                    <a:pt x="865" y="101"/>
                    <a:pt x="901" y="101"/>
                  </a:cubicBezTo>
                  <a:moveTo>
                    <a:pt x="261" y="293"/>
                  </a:moveTo>
                  <a:cubicBezTo>
                    <a:pt x="261" y="187"/>
                    <a:pt x="347" y="101"/>
                    <a:pt x="453" y="101"/>
                  </a:cubicBezTo>
                  <a:cubicBezTo>
                    <a:pt x="559" y="101"/>
                    <a:pt x="645" y="187"/>
                    <a:pt x="645" y="293"/>
                  </a:cubicBezTo>
                  <a:cubicBezTo>
                    <a:pt x="645" y="399"/>
                    <a:pt x="559" y="485"/>
                    <a:pt x="453" y="485"/>
                  </a:cubicBezTo>
                  <a:cubicBezTo>
                    <a:pt x="347" y="484"/>
                    <a:pt x="261" y="399"/>
                    <a:pt x="261" y="293"/>
                  </a:cubicBezTo>
                  <a:moveTo>
                    <a:pt x="129" y="1810"/>
                  </a:moveTo>
                  <a:cubicBezTo>
                    <a:pt x="195" y="1681"/>
                    <a:pt x="197" y="1528"/>
                    <a:pt x="137" y="1396"/>
                  </a:cubicBezTo>
                  <a:cubicBezTo>
                    <a:pt x="94" y="1303"/>
                    <a:pt x="88" y="1196"/>
                    <a:pt x="119" y="1098"/>
                  </a:cubicBezTo>
                  <a:cubicBezTo>
                    <a:pt x="247" y="695"/>
                    <a:pt x="247" y="695"/>
                    <a:pt x="247" y="695"/>
                  </a:cubicBezTo>
                  <a:cubicBezTo>
                    <a:pt x="274" y="595"/>
                    <a:pt x="373" y="533"/>
                    <a:pt x="474" y="552"/>
                  </a:cubicBezTo>
                  <a:cubicBezTo>
                    <a:pt x="516" y="561"/>
                    <a:pt x="553" y="583"/>
                    <a:pt x="581" y="615"/>
                  </a:cubicBezTo>
                  <a:cubicBezTo>
                    <a:pt x="392" y="707"/>
                    <a:pt x="392" y="707"/>
                    <a:pt x="392" y="707"/>
                  </a:cubicBezTo>
                  <a:cubicBezTo>
                    <a:pt x="351" y="727"/>
                    <a:pt x="325" y="768"/>
                    <a:pt x="325" y="814"/>
                  </a:cubicBezTo>
                  <a:cubicBezTo>
                    <a:pt x="324" y="879"/>
                    <a:pt x="377" y="932"/>
                    <a:pt x="443" y="933"/>
                  </a:cubicBezTo>
                  <a:cubicBezTo>
                    <a:pt x="461" y="933"/>
                    <a:pt x="478" y="929"/>
                    <a:pt x="495" y="921"/>
                  </a:cubicBezTo>
                  <a:cubicBezTo>
                    <a:pt x="642" y="851"/>
                    <a:pt x="642" y="851"/>
                    <a:pt x="642" y="851"/>
                  </a:cubicBezTo>
                  <a:cubicBezTo>
                    <a:pt x="677" y="1253"/>
                    <a:pt x="677" y="1253"/>
                    <a:pt x="677" y="1253"/>
                  </a:cubicBezTo>
                  <a:cubicBezTo>
                    <a:pt x="677" y="1536"/>
                    <a:pt x="677" y="1536"/>
                    <a:pt x="677" y="1536"/>
                  </a:cubicBezTo>
                  <a:cubicBezTo>
                    <a:pt x="677" y="1580"/>
                    <a:pt x="672" y="1623"/>
                    <a:pt x="664" y="1665"/>
                  </a:cubicBezTo>
                  <a:cubicBezTo>
                    <a:pt x="630" y="1836"/>
                    <a:pt x="630" y="1836"/>
                    <a:pt x="630" y="1836"/>
                  </a:cubicBezTo>
                  <a:cubicBezTo>
                    <a:pt x="626" y="1853"/>
                    <a:pt x="637" y="1870"/>
                    <a:pt x="655" y="1873"/>
                  </a:cubicBezTo>
                  <a:cubicBezTo>
                    <a:pt x="662" y="1875"/>
                    <a:pt x="670" y="1874"/>
                    <a:pt x="677" y="1870"/>
                  </a:cubicBezTo>
                  <a:cubicBezTo>
                    <a:pt x="705" y="1854"/>
                    <a:pt x="705" y="1854"/>
                    <a:pt x="705" y="1854"/>
                  </a:cubicBezTo>
                  <a:cubicBezTo>
                    <a:pt x="732" y="1838"/>
                    <a:pt x="764" y="1838"/>
                    <a:pt x="792" y="1852"/>
                  </a:cubicBezTo>
                  <a:cubicBezTo>
                    <a:pt x="809" y="1860"/>
                    <a:pt x="823" y="1875"/>
                    <a:pt x="831" y="1893"/>
                  </a:cubicBezTo>
                  <a:cubicBezTo>
                    <a:pt x="549" y="1893"/>
                    <a:pt x="549" y="1893"/>
                    <a:pt x="549" y="1893"/>
                  </a:cubicBezTo>
                  <a:cubicBezTo>
                    <a:pt x="549" y="1667"/>
                    <a:pt x="549" y="1667"/>
                    <a:pt x="549" y="1667"/>
                  </a:cubicBezTo>
                  <a:cubicBezTo>
                    <a:pt x="549" y="1623"/>
                    <a:pt x="545" y="1580"/>
                    <a:pt x="537" y="1538"/>
                  </a:cubicBezTo>
                  <a:cubicBezTo>
                    <a:pt x="494" y="1299"/>
                    <a:pt x="494" y="1299"/>
                    <a:pt x="494" y="1299"/>
                  </a:cubicBezTo>
                  <a:cubicBezTo>
                    <a:pt x="485" y="1247"/>
                    <a:pt x="435" y="1212"/>
                    <a:pt x="384" y="1221"/>
                  </a:cubicBezTo>
                  <a:cubicBezTo>
                    <a:pt x="332" y="1230"/>
                    <a:pt x="297" y="1279"/>
                    <a:pt x="306" y="1331"/>
                  </a:cubicBezTo>
                  <a:cubicBezTo>
                    <a:pt x="306" y="1331"/>
                    <a:pt x="307" y="1332"/>
                    <a:pt x="307" y="1333"/>
                  </a:cubicBezTo>
                  <a:cubicBezTo>
                    <a:pt x="330" y="1463"/>
                    <a:pt x="330" y="1463"/>
                    <a:pt x="330" y="1463"/>
                  </a:cubicBezTo>
                  <a:cubicBezTo>
                    <a:pt x="346" y="1552"/>
                    <a:pt x="333" y="1643"/>
                    <a:pt x="293" y="1724"/>
                  </a:cubicBezTo>
                  <a:cubicBezTo>
                    <a:pt x="262" y="1786"/>
                    <a:pt x="262" y="1786"/>
                    <a:pt x="262" y="1786"/>
                  </a:cubicBezTo>
                  <a:cubicBezTo>
                    <a:pt x="254" y="1802"/>
                    <a:pt x="260" y="1821"/>
                    <a:pt x="276" y="1829"/>
                  </a:cubicBezTo>
                  <a:cubicBezTo>
                    <a:pt x="278" y="1830"/>
                    <a:pt x="281" y="1831"/>
                    <a:pt x="283" y="1832"/>
                  </a:cubicBezTo>
                  <a:cubicBezTo>
                    <a:pt x="315" y="1839"/>
                    <a:pt x="340" y="1862"/>
                    <a:pt x="351" y="1893"/>
                  </a:cubicBezTo>
                  <a:cubicBezTo>
                    <a:pt x="88" y="1893"/>
                    <a:pt x="88" y="1893"/>
                    <a:pt x="88" y="1893"/>
                  </a:cubicBezTo>
                  <a:lnTo>
                    <a:pt x="129" y="18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2" name="Freeform 300">
              <a:extLst>
                <a:ext uri="{FF2B5EF4-FFF2-40B4-BE49-F238E27FC236}">
                  <a16:creationId xmlns:a16="http://schemas.microsoft.com/office/drawing/2014/main" id="{AD435ED2-EFD2-9740-25E5-BE01D5AFC65D}"/>
                </a:ext>
              </a:extLst>
            </p:cNvPr>
            <p:cNvSpPr>
              <a:spLocks/>
            </p:cNvSpPr>
            <p:nvPr/>
          </p:nvSpPr>
          <p:spPr bwMode="auto">
            <a:xfrm>
              <a:off x="9731376" y="6397625"/>
              <a:ext cx="331788" cy="239712"/>
            </a:xfrm>
            <a:custGeom>
              <a:avLst/>
              <a:gdLst>
                <a:gd name="T0" fmla="*/ 151 w 493"/>
                <a:gd name="T1" fmla="*/ 178 h 355"/>
                <a:gd name="T2" fmla="*/ 45 w 493"/>
                <a:gd name="T3" fmla="*/ 73 h 355"/>
                <a:gd name="T4" fmla="*/ 0 w 493"/>
                <a:gd name="T5" fmla="*/ 118 h 355"/>
                <a:gd name="T6" fmla="*/ 224 w 493"/>
                <a:gd name="T7" fmla="*/ 342 h 355"/>
                <a:gd name="T8" fmla="*/ 269 w 493"/>
                <a:gd name="T9" fmla="*/ 342 h 355"/>
                <a:gd name="T10" fmla="*/ 493 w 493"/>
                <a:gd name="T11" fmla="*/ 118 h 355"/>
                <a:gd name="T12" fmla="*/ 448 w 493"/>
                <a:gd name="T13" fmla="*/ 73 h 355"/>
                <a:gd name="T14" fmla="*/ 343 w 493"/>
                <a:gd name="T15" fmla="*/ 178 h 355"/>
                <a:gd name="T16" fmla="*/ 343 w 493"/>
                <a:gd name="T17" fmla="*/ 0 h 355"/>
                <a:gd name="T18" fmla="*/ 279 w 493"/>
                <a:gd name="T19" fmla="*/ 0 h 355"/>
                <a:gd name="T20" fmla="*/ 279 w 493"/>
                <a:gd name="T21" fmla="*/ 242 h 355"/>
                <a:gd name="T22" fmla="*/ 247 w 493"/>
                <a:gd name="T23" fmla="*/ 274 h 355"/>
                <a:gd name="T24" fmla="*/ 215 w 493"/>
                <a:gd name="T25" fmla="*/ 242 h 355"/>
                <a:gd name="T26" fmla="*/ 215 w 493"/>
                <a:gd name="T27" fmla="*/ 128 h 355"/>
                <a:gd name="T28" fmla="*/ 151 w 493"/>
                <a:gd name="T29" fmla="*/ 128 h 355"/>
                <a:gd name="T30" fmla="*/ 151 w 493"/>
                <a:gd name="T31" fmla="*/ 178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93" h="355">
                  <a:moveTo>
                    <a:pt x="151" y="178"/>
                  </a:moveTo>
                  <a:cubicBezTo>
                    <a:pt x="45" y="73"/>
                    <a:pt x="45" y="73"/>
                    <a:pt x="45" y="73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224" y="342"/>
                    <a:pt x="224" y="342"/>
                    <a:pt x="224" y="342"/>
                  </a:cubicBezTo>
                  <a:cubicBezTo>
                    <a:pt x="237" y="355"/>
                    <a:pt x="257" y="355"/>
                    <a:pt x="269" y="342"/>
                  </a:cubicBezTo>
                  <a:cubicBezTo>
                    <a:pt x="493" y="118"/>
                    <a:pt x="493" y="118"/>
                    <a:pt x="493" y="118"/>
                  </a:cubicBezTo>
                  <a:cubicBezTo>
                    <a:pt x="448" y="73"/>
                    <a:pt x="448" y="73"/>
                    <a:pt x="448" y="73"/>
                  </a:cubicBezTo>
                  <a:cubicBezTo>
                    <a:pt x="343" y="178"/>
                    <a:pt x="343" y="178"/>
                    <a:pt x="343" y="178"/>
                  </a:cubicBezTo>
                  <a:cubicBezTo>
                    <a:pt x="343" y="0"/>
                    <a:pt x="343" y="0"/>
                    <a:pt x="343" y="0"/>
                  </a:cubicBezTo>
                  <a:cubicBezTo>
                    <a:pt x="279" y="0"/>
                    <a:pt x="279" y="0"/>
                    <a:pt x="279" y="0"/>
                  </a:cubicBezTo>
                  <a:cubicBezTo>
                    <a:pt x="279" y="242"/>
                    <a:pt x="279" y="242"/>
                    <a:pt x="279" y="242"/>
                  </a:cubicBezTo>
                  <a:cubicBezTo>
                    <a:pt x="247" y="274"/>
                    <a:pt x="247" y="274"/>
                    <a:pt x="247" y="274"/>
                  </a:cubicBezTo>
                  <a:cubicBezTo>
                    <a:pt x="215" y="242"/>
                    <a:pt x="215" y="242"/>
                    <a:pt x="215" y="242"/>
                  </a:cubicBezTo>
                  <a:cubicBezTo>
                    <a:pt x="215" y="128"/>
                    <a:pt x="215" y="128"/>
                    <a:pt x="215" y="128"/>
                  </a:cubicBezTo>
                  <a:cubicBezTo>
                    <a:pt x="151" y="128"/>
                    <a:pt x="151" y="128"/>
                    <a:pt x="151" y="128"/>
                  </a:cubicBezTo>
                  <a:lnTo>
                    <a:pt x="151" y="1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3" name="Rectangle 301">
              <a:extLst>
                <a:ext uri="{FF2B5EF4-FFF2-40B4-BE49-F238E27FC236}">
                  <a16:creationId xmlns:a16="http://schemas.microsoft.com/office/drawing/2014/main" id="{EA2652AC-79C7-02AF-5824-9EC91FF310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32976" y="6397625"/>
              <a:ext cx="42863" cy="4286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4" name="Rectangle 302">
              <a:extLst>
                <a:ext uri="{FF2B5EF4-FFF2-40B4-BE49-F238E27FC236}">
                  <a16:creationId xmlns:a16="http://schemas.microsoft.com/office/drawing/2014/main" id="{36F597E3-9867-55F9-8430-8E7DE08D62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32976" y="6311900"/>
              <a:ext cx="42863" cy="4286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5" name="Rectangle 303">
              <a:extLst>
                <a:ext uri="{FF2B5EF4-FFF2-40B4-BE49-F238E27FC236}">
                  <a16:creationId xmlns:a16="http://schemas.microsoft.com/office/drawing/2014/main" id="{CD1C3959-F703-D889-29AC-9EDAE3F1105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918701" y="6311900"/>
              <a:ext cx="42863" cy="4286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42129020-E69C-3858-CB0D-DF4EE2EABD3B}"/>
              </a:ext>
            </a:extLst>
          </p:cNvPr>
          <p:cNvGrpSpPr/>
          <p:nvPr/>
        </p:nvGrpSpPr>
        <p:grpSpPr>
          <a:xfrm>
            <a:off x="5116417" y="5107459"/>
            <a:ext cx="411523" cy="431037"/>
            <a:chOff x="836613" y="6088063"/>
            <a:chExt cx="1171575" cy="1227138"/>
          </a:xfrm>
          <a:solidFill>
            <a:schemeClr val="bg1"/>
          </a:solidFill>
        </p:grpSpPr>
        <p:sp>
          <p:nvSpPr>
            <p:cNvPr id="57" name="Freeform 348">
              <a:extLst>
                <a:ext uri="{FF2B5EF4-FFF2-40B4-BE49-F238E27FC236}">
                  <a16:creationId xmlns:a16="http://schemas.microsoft.com/office/drawing/2014/main" id="{3FD45C8A-1906-218F-C7F4-633EF633D6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71538" y="6088063"/>
              <a:ext cx="1095375" cy="1227138"/>
            </a:xfrm>
            <a:custGeom>
              <a:avLst/>
              <a:gdLst>
                <a:gd name="T0" fmla="*/ 470 w 1795"/>
                <a:gd name="T1" fmla="*/ 273 h 2008"/>
                <a:gd name="T2" fmla="*/ 52 w 1795"/>
                <a:gd name="T3" fmla="*/ 346 h 2008"/>
                <a:gd name="T4" fmla="*/ 6 w 1795"/>
                <a:gd name="T5" fmla="*/ 721 h 2008"/>
                <a:gd name="T6" fmla="*/ 1496 w 1795"/>
                <a:gd name="T7" fmla="*/ 1523 h 2008"/>
                <a:gd name="T8" fmla="*/ 1788 w 1795"/>
                <a:gd name="T9" fmla="*/ 721 h 2008"/>
                <a:gd name="T10" fmla="*/ 1756 w 1795"/>
                <a:gd name="T11" fmla="*/ 345 h 2008"/>
                <a:gd name="T12" fmla="*/ 1321 w 1795"/>
                <a:gd name="T13" fmla="*/ 280 h 2008"/>
                <a:gd name="T14" fmla="*/ 1261 w 1795"/>
                <a:gd name="T15" fmla="*/ 257 h 2008"/>
                <a:gd name="T16" fmla="*/ 871 w 1795"/>
                <a:gd name="T17" fmla="*/ 0 h 2008"/>
                <a:gd name="T18" fmla="*/ 446 w 1795"/>
                <a:gd name="T19" fmla="*/ 82 h 2008"/>
                <a:gd name="T20" fmla="*/ 506 w 1795"/>
                <a:gd name="T21" fmla="*/ 864 h 2008"/>
                <a:gd name="T22" fmla="*/ 603 w 1795"/>
                <a:gd name="T23" fmla="*/ 1618 h 2008"/>
                <a:gd name="T24" fmla="*/ 552 w 1795"/>
                <a:gd name="T25" fmla="*/ 1312 h 2008"/>
                <a:gd name="T26" fmla="*/ 871 w 1795"/>
                <a:gd name="T27" fmla="*/ 1665 h 2008"/>
                <a:gd name="T28" fmla="*/ 1111 w 1795"/>
                <a:gd name="T29" fmla="*/ 1673 h 2008"/>
                <a:gd name="T30" fmla="*/ 935 w 1795"/>
                <a:gd name="T31" fmla="*/ 1601 h 2008"/>
                <a:gd name="T32" fmla="*/ 1137 w 1795"/>
                <a:gd name="T33" fmla="*/ 1611 h 2008"/>
                <a:gd name="T34" fmla="*/ 935 w 1795"/>
                <a:gd name="T35" fmla="*/ 960 h 2008"/>
                <a:gd name="T36" fmla="*/ 935 w 1795"/>
                <a:gd name="T37" fmla="*/ 1248 h 2008"/>
                <a:gd name="T38" fmla="*/ 1111 w 1795"/>
                <a:gd name="T39" fmla="*/ 888 h 2008"/>
                <a:gd name="T40" fmla="*/ 871 w 1795"/>
                <a:gd name="T41" fmla="*/ 896 h 2008"/>
                <a:gd name="T42" fmla="*/ 871 w 1795"/>
                <a:gd name="T43" fmla="*/ 960 h 2008"/>
                <a:gd name="T44" fmla="*/ 669 w 1795"/>
                <a:gd name="T45" fmla="*/ 950 h 2008"/>
                <a:gd name="T46" fmla="*/ 871 w 1795"/>
                <a:gd name="T47" fmla="*/ 1601 h 2008"/>
                <a:gd name="T48" fmla="*/ 871 w 1795"/>
                <a:gd name="T49" fmla="*/ 1312 h 2008"/>
                <a:gd name="T50" fmla="*/ 506 w 1795"/>
                <a:gd name="T51" fmla="*/ 1697 h 2008"/>
                <a:gd name="T52" fmla="*/ 1300 w 1795"/>
                <a:gd name="T53" fmla="*/ 1697 h 2008"/>
                <a:gd name="T54" fmla="*/ 1203 w 1795"/>
                <a:gd name="T55" fmla="*/ 1618 h 2008"/>
                <a:gd name="T56" fmla="*/ 1351 w 1795"/>
                <a:gd name="T57" fmla="*/ 1641 h 2008"/>
                <a:gd name="T58" fmla="*/ 1203 w 1795"/>
                <a:gd name="T59" fmla="*/ 943 h 2008"/>
                <a:gd name="T60" fmla="*/ 1254 w 1795"/>
                <a:gd name="T61" fmla="*/ 1248 h 2008"/>
                <a:gd name="T62" fmla="*/ 1090 w 1795"/>
                <a:gd name="T63" fmla="*/ 736 h 2008"/>
                <a:gd name="T64" fmla="*/ 603 w 1795"/>
                <a:gd name="T65" fmla="*/ 943 h 2008"/>
                <a:gd name="T66" fmla="*/ 455 w 1795"/>
                <a:gd name="T67" fmla="*/ 920 h 2008"/>
                <a:gd name="T68" fmla="*/ 1468 w 1795"/>
                <a:gd name="T69" fmla="*/ 981 h 2008"/>
                <a:gd name="T70" fmla="*/ 903 w 1795"/>
                <a:gd name="T71" fmla="*/ 320 h 2008"/>
                <a:gd name="T72" fmla="*/ 1050 w 1795"/>
                <a:gd name="T73" fmla="*/ 414 h 2008"/>
                <a:gd name="T74" fmla="*/ 1173 w 1795"/>
                <a:gd name="T75" fmla="*/ 597 h 2008"/>
                <a:gd name="T76" fmla="*/ 1287 w 1795"/>
                <a:gd name="T77" fmla="*/ 770 h 2008"/>
                <a:gd name="T78" fmla="*/ 529 w 1795"/>
                <a:gd name="T79" fmla="*/ 680 h 2008"/>
                <a:gd name="T80" fmla="*/ 459 w 1795"/>
                <a:gd name="T81" fmla="*/ 821 h 2008"/>
                <a:gd name="T82" fmla="*/ 881 w 1795"/>
                <a:gd name="T83" fmla="*/ 256 h 2008"/>
                <a:gd name="T84" fmla="*/ 1127 w 1795"/>
                <a:gd name="T85" fmla="*/ 544 h 2008"/>
                <a:gd name="T86" fmla="*/ 1159 w 1795"/>
                <a:gd name="T87" fmla="*/ 512 h 20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795" h="2008">
                  <a:moveTo>
                    <a:pt x="446" y="82"/>
                  </a:moveTo>
                  <a:cubicBezTo>
                    <a:pt x="389" y="111"/>
                    <a:pt x="389" y="111"/>
                    <a:pt x="389" y="111"/>
                  </a:cubicBezTo>
                  <a:cubicBezTo>
                    <a:pt x="470" y="273"/>
                    <a:pt x="470" y="273"/>
                    <a:pt x="470" y="273"/>
                  </a:cubicBezTo>
                  <a:cubicBezTo>
                    <a:pt x="389" y="308"/>
                    <a:pt x="313" y="355"/>
                    <a:pt x="245" y="411"/>
                  </a:cubicBezTo>
                  <a:cubicBezTo>
                    <a:pt x="90" y="295"/>
                    <a:pt x="90" y="295"/>
                    <a:pt x="90" y="295"/>
                  </a:cubicBezTo>
                  <a:cubicBezTo>
                    <a:pt x="52" y="346"/>
                    <a:pt x="52" y="346"/>
                    <a:pt x="52" y="346"/>
                  </a:cubicBezTo>
                  <a:cubicBezTo>
                    <a:pt x="196" y="454"/>
                    <a:pt x="196" y="454"/>
                    <a:pt x="196" y="454"/>
                  </a:cubicBezTo>
                  <a:cubicBezTo>
                    <a:pt x="123" y="523"/>
                    <a:pt x="59" y="602"/>
                    <a:pt x="6" y="687"/>
                  </a:cubicBezTo>
                  <a:cubicBezTo>
                    <a:pt x="0" y="698"/>
                    <a:pt x="0" y="711"/>
                    <a:pt x="6" y="721"/>
                  </a:cubicBezTo>
                  <a:cubicBezTo>
                    <a:pt x="84" y="848"/>
                    <a:pt x="188" y="956"/>
                    <a:pt x="310" y="1040"/>
                  </a:cubicBezTo>
                  <a:cubicBezTo>
                    <a:pt x="177" y="1367"/>
                    <a:pt x="334" y="1740"/>
                    <a:pt x="661" y="1874"/>
                  </a:cubicBezTo>
                  <a:cubicBezTo>
                    <a:pt x="988" y="2008"/>
                    <a:pt x="1362" y="1850"/>
                    <a:pt x="1496" y="1523"/>
                  </a:cubicBezTo>
                  <a:cubicBezTo>
                    <a:pt x="1559" y="1368"/>
                    <a:pt x="1559" y="1195"/>
                    <a:pt x="1496" y="1040"/>
                  </a:cubicBezTo>
                  <a:cubicBezTo>
                    <a:pt x="1519" y="1023"/>
                    <a:pt x="1542" y="1006"/>
                    <a:pt x="1564" y="987"/>
                  </a:cubicBezTo>
                  <a:cubicBezTo>
                    <a:pt x="1652" y="910"/>
                    <a:pt x="1727" y="821"/>
                    <a:pt x="1788" y="721"/>
                  </a:cubicBezTo>
                  <a:cubicBezTo>
                    <a:pt x="1795" y="711"/>
                    <a:pt x="1795" y="698"/>
                    <a:pt x="1788" y="687"/>
                  </a:cubicBezTo>
                  <a:cubicBezTo>
                    <a:pt x="1739" y="608"/>
                    <a:pt x="1679" y="535"/>
                    <a:pt x="1611" y="471"/>
                  </a:cubicBezTo>
                  <a:cubicBezTo>
                    <a:pt x="1756" y="345"/>
                    <a:pt x="1756" y="345"/>
                    <a:pt x="1756" y="345"/>
                  </a:cubicBezTo>
                  <a:cubicBezTo>
                    <a:pt x="1714" y="296"/>
                    <a:pt x="1714" y="296"/>
                    <a:pt x="1714" y="296"/>
                  </a:cubicBezTo>
                  <a:cubicBezTo>
                    <a:pt x="1563" y="428"/>
                    <a:pt x="1563" y="428"/>
                    <a:pt x="1563" y="428"/>
                  </a:cubicBezTo>
                  <a:cubicBezTo>
                    <a:pt x="1490" y="368"/>
                    <a:pt x="1408" y="318"/>
                    <a:pt x="1321" y="280"/>
                  </a:cubicBezTo>
                  <a:cubicBezTo>
                    <a:pt x="1406" y="111"/>
                    <a:pt x="1406" y="111"/>
                    <a:pt x="1406" y="111"/>
                  </a:cubicBezTo>
                  <a:cubicBezTo>
                    <a:pt x="1349" y="82"/>
                    <a:pt x="1349" y="82"/>
                    <a:pt x="1349" y="82"/>
                  </a:cubicBezTo>
                  <a:cubicBezTo>
                    <a:pt x="1261" y="257"/>
                    <a:pt x="1261" y="257"/>
                    <a:pt x="1261" y="257"/>
                  </a:cubicBezTo>
                  <a:cubicBezTo>
                    <a:pt x="1156" y="220"/>
                    <a:pt x="1046" y="198"/>
                    <a:pt x="935" y="194"/>
                  </a:cubicBezTo>
                  <a:cubicBezTo>
                    <a:pt x="935" y="0"/>
                    <a:pt x="935" y="0"/>
                    <a:pt x="935" y="0"/>
                  </a:cubicBezTo>
                  <a:cubicBezTo>
                    <a:pt x="871" y="0"/>
                    <a:pt x="871" y="0"/>
                    <a:pt x="871" y="0"/>
                  </a:cubicBezTo>
                  <a:cubicBezTo>
                    <a:pt x="871" y="193"/>
                    <a:pt x="871" y="193"/>
                    <a:pt x="871" y="193"/>
                  </a:cubicBezTo>
                  <a:cubicBezTo>
                    <a:pt x="755" y="193"/>
                    <a:pt x="640" y="212"/>
                    <a:pt x="530" y="250"/>
                  </a:cubicBezTo>
                  <a:lnTo>
                    <a:pt x="446" y="82"/>
                  </a:lnTo>
                  <a:close/>
                  <a:moveTo>
                    <a:pt x="716" y="736"/>
                  </a:moveTo>
                  <a:cubicBezTo>
                    <a:pt x="679" y="780"/>
                    <a:pt x="648" y="829"/>
                    <a:pt x="626" y="881"/>
                  </a:cubicBezTo>
                  <a:cubicBezTo>
                    <a:pt x="585" y="877"/>
                    <a:pt x="545" y="871"/>
                    <a:pt x="506" y="864"/>
                  </a:cubicBezTo>
                  <a:cubicBezTo>
                    <a:pt x="566" y="807"/>
                    <a:pt x="638" y="763"/>
                    <a:pt x="716" y="736"/>
                  </a:cubicBezTo>
                  <a:moveTo>
                    <a:pt x="552" y="1312"/>
                  </a:moveTo>
                  <a:cubicBezTo>
                    <a:pt x="554" y="1416"/>
                    <a:pt x="571" y="1519"/>
                    <a:pt x="603" y="1618"/>
                  </a:cubicBezTo>
                  <a:cubicBezTo>
                    <a:pt x="551" y="1624"/>
                    <a:pt x="502" y="1632"/>
                    <a:pt x="455" y="1641"/>
                  </a:cubicBezTo>
                  <a:cubicBezTo>
                    <a:pt x="379" y="1548"/>
                    <a:pt x="335" y="1433"/>
                    <a:pt x="329" y="1312"/>
                  </a:cubicBezTo>
                  <a:lnTo>
                    <a:pt x="552" y="1312"/>
                  </a:lnTo>
                  <a:close/>
                  <a:moveTo>
                    <a:pt x="871" y="1852"/>
                  </a:moveTo>
                  <a:cubicBezTo>
                    <a:pt x="803" y="1836"/>
                    <a:pt x="741" y="1770"/>
                    <a:pt x="695" y="1673"/>
                  </a:cubicBezTo>
                  <a:cubicBezTo>
                    <a:pt x="752" y="1668"/>
                    <a:pt x="811" y="1666"/>
                    <a:pt x="871" y="1665"/>
                  </a:cubicBezTo>
                  <a:lnTo>
                    <a:pt x="871" y="1852"/>
                  </a:lnTo>
                  <a:close/>
                  <a:moveTo>
                    <a:pt x="935" y="1665"/>
                  </a:moveTo>
                  <a:cubicBezTo>
                    <a:pt x="995" y="1666"/>
                    <a:pt x="1054" y="1668"/>
                    <a:pt x="1111" y="1673"/>
                  </a:cubicBezTo>
                  <a:cubicBezTo>
                    <a:pt x="1065" y="1770"/>
                    <a:pt x="1003" y="1836"/>
                    <a:pt x="935" y="1852"/>
                  </a:cubicBezTo>
                  <a:lnTo>
                    <a:pt x="935" y="1665"/>
                  </a:lnTo>
                  <a:close/>
                  <a:moveTo>
                    <a:pt x="935" y="1601"/>
                  </a:moveTo>
                  <a:cubicBezTo>
                    <a:pt x="935" y="1312"/>
                    <a:pt x="935" y="1312"/>
                    <a:pt x="935" y="1312"/>
                  </a:cubicBezTo>
                  <a:cubicBezTo>
                    <a:pt x="1190" y="1312"/>
                    <a:pt x="1190" y="1312"/>
                    <a:pt x="1190" y="1312"/>
                  </a:cubicBezTo>
                  <a:cubicBezTo>
                    <a:pt x="1188" y="1414"/>
                    <a:pt x="1170" y="1515"/>
                    <a:pt x="1137" y="1611"/>
                  </a:cubicBezTo>
                  <a:cubicBezTo>
                    <a:pt x="1072" y="1605"/>
                    <a:pt x="1004" y="1602"/>
                    <a:pt x="935" y="1601"/>
                  </a:cubicBezTo>
                  <a:moveTo>
                    <a:pt x="935" y="1248"/>
                  </a:moveTo>
                  <a:cubicBezTo>
                    <a:pt x="935" y="960"/>
                    <a:pt x="935" y="960"/>
                    <a:pt x="935" y="960"/>
                  </a:cubicBezTo>
                  <a:cubicBezTo>
                    <a:pt x="1004" y="959"/>
                    <a:pt x="1072" y="956"/>
                    <a:pt x="1137" y="950"/>
                  </a:cubicBezTo>
                  <a:cubicBezTo>
                    <a:pt x="1170" y="1046"/>
                    <a:pt x="1188" y="1147"/>
                    <a:pt x="1190" y="1248"/>
                  </a:cubicBezTo>
                  <a:lnTo>
                    <a:pt x="935" y="1248"/>
                  </a:lnTo>
                  <a:close/>
                  <a:moveTo>
                    <a:pt x="935" y="896"/>
                  </a:moveTo>
                  <a:cubicBezTo>
                    <a:pt x="935" y="708"/>
                    <a:pt x="935" y="708"/>
                    <a:pt x="935" y="708"/>
                  </a:cubicBezTo>
                  <a:cubicBezTo>
                    <a:pt x="1003" y="724"/>
                    <a:pt x="1065" y="791"/>
                    <a:pt x="1111" y="888"/>
                  </a:cubicBezTo>
                  <a:cubicBezTo>
                    <a:pt x="1054" y="893"/>
                    <a:pt x="995" y="895"/>
                    <a:pt x="935" y="896"/>
                  </a:cubicBezTo>
                  <a:moveTo>
                    <a:pt x="871" y="708"/>
                  </a:moveTo>
                  <a:cubicBezTo>
                    <a:pt x="871" y="896"/>
                    <a:pt x="871" y="896"/>
                    <a:pt x="871" y="896"/>
                  </a:cubicBezTo>
                  <a:cubicBezTo>
                    <a:pt x="811" y="895"/>
                    <a:pt x="752" y="893"/>
                    <a:pt x="695" y="888"/>
                  </a:cubicBezTo>
                  <a:cubicBezTo>
                    <a:pt x="741" y="791"/>
                    <a:pt x="803" y="724"/>
                    <a:pt x="871" y="708"/>
                  </a:cubicBezTo>
                  <a:moveTo>
                    <a:pt x="871" y="960"/>
                  </a:moveTo>
                  <a:cubicBezTo>
                    <a:pt x="871" y="1248"/>
                    <a:pt x="871" y="1248"/>
                    <a:pt x="871" y="1248"/>
                  </a:cubicBezTo>
                  <a:cubicBezTo>
                    <a:pt x="616" y="1248"/>
                    <a:pt x="616" y="1248"/>
                    <a:pt x="616" y="1248"/>
                  </a:cubicBezTo>
                  <a:cubicBezTo>
                    <a:pt x="618" y="1147"/>
                    <a:pt x="636" y="1046"/>
                    <a:pt x="669" y="950"/>
                  </a:cubicBezTo>
                  <a:cubicBezTo>
                    <a:pt x="734" y="956"/>
                    <a:pt x="802" y="959"/>
                    <a:pt x="871" y="960"/>
                  </a:cubicBezTo>
                  <a:moveTo>
                    <a:pt x="871" y="1312"/>
                  </a:moveTo>
                  <a:cubicBezTo>
                    <a:pt x="871" y="1601"/>
                    <a:pt x="871" y="1601"/>
                    <a:pt x="871" y="1601"/>
                  </a:cubicBezTo>
                  <a:cubicBezTo>
                    <a:pt x="802" y="1602"/>
                    <a:pt x="734" y="1605"/>
                    <a:pt x="669" y="1611"/>
                  </a:cubicBezTo>
                  <a:cubicBezTo>
                    <a:pt x="636" y="1515"/>
                    <a:pt x="618" y="1414"/>
                    <a:pt x="616" y="1312"/>
                  </a:cubicBezTo>
                  <a:lnTo>
                    <a:pt x="871" y="1312"/>
                  </a:lnTo>
                  <a:close/>
                  <a:moveTo>
                    <a:pt x="626" y="1680"/>
                  </a:moveTo>
                  <a:cubicBezTo>
                    <a:pt x="648" y="1732"/>
                    <a:pt x="679" y="1781"/>
                    <a:pt x="716" y="1825"/>
                  </a:cubicBezTo>
                  <a:cubicBezTo>
                    <a:pt x="638" y="1798"/>
                    <a:pt x="566" y="1754"/>
                    <a:pt x="506" y="1697"/>
                  </a:cubicBezTo>
                  <a:cubicBezTo>
                    <a:pt x="545" y="1690"/>
                    <a:pt x="585" y="1684"/>
                    <a:pt x="626" y="1680"/>
                  </a:cubicBezTo>
                  <a:moveTo>
                    <a:pt x="1180" y="1680"/>
                  </a:moveTo>
                  <a:cubicBezTo>
                    <a:pt x="1221" y="1684"/>
                    <a:pt x="1261" y="1690"/>
                    <a:pt x="1300" y="1697"/>
                  </a:cubicBezTo>
                  <a:cubicBezTo>
                    <a:pt x="1240" y="1754"/>
                    <a:pt x="1168" y="1798"/>
                    <a:pt x="1090" y="1825"/>
                  </a:cubicBezTo>
                  <a:cubicBezTo>
                    <a:pt x="1127" y="1781"/>
                    <a:pt x="1158" y="1732"/>
                    <a:pt x="1180" y="1680"/>
                  </a:cubicBezTo>
                  <a:moveTo>
                    <a:pt x="1203" y="1618"/>
                  </a:moveTo>
                  <a:cubicBezTo>
                    <a:pt x="1235" y="1519"/>
                    <a:pt x="1252" y="1416"/>
                    <a:pt x="1254" y="1312"/>
                  </a:cubicBezTo>
                  <a:cubicBezTo>
                    <a:pt x="1477" y="1312"/>
                    <a:pt x="1477" y="1312"/>
                    <a:pt x="1477" y="1312"/>
                  </a:cubicBezTo>
                  <a:cubicBezTo>
                    <a:pt x="1471" y="1433"/>
                    <a:pt x="1427" y="1548"/>
                    <a:pt x="1351" y="1641"/>
                  </a:cubicBezTo>
                  <a:cubicBezTo>
                    <a:pt x="1304" y="1632"/>
                    <a:pt x="1255" y="1624"/>
                    <a:pt x="1203" y="1618"/>
                  </a:cubicBezTo>
                  <a:moveTo>
                    <a:pt x="1254" y="1248"/>
                  </a:moveTo>
                  <a:cubicBezTo>
                    <a:pt x="1252" y="1145"/>
                    <a:pt x="1235" y="1042"/>
                    <a:pt x="1203" y="943"/>
                  </a:cubicBezTo>
                  <a:cubicBezTo>
                    <a:pt x="1255" y="937"/>
                    <a:pt x="1304" y="929"/>
                    <a:pt x="1351" y="920"/>
                  </a:cubicBezTo>
                  <a:cubicBezTo>
                    <a:pt x="1427" y="1013"/>
                    <a:pt x="1471" y="1128"/>
                    <a:pt x="1477" y="1248"/>
                  </a:cubicBezTo>
                  <a:lnTo>
                    <a:pt x="1254" y="1248"/>
                  </a:lnTo>
                  <a:close/>
                  <a:moveTo>
                    <a:pt x="1300" y="864"/>
                  </a:moveTo>
                  <a:cubicBezTo>
                    <a:pt x="1261" y="871"/>
                    <a:pt x="1221" y="877"/>
                    <a:pt x="1180" y="881"/>
                  </a:cubicBezTo>
                  <a:cubicBezTo>
                    <a:pt x="1158" y="829"/>
                    <a:pt x="1127" y="780"/>
                    <a:pt x="1090" y="736"/>
                  </a:cubicBezTo>
                  <a:cubicBezTo>
                    <a:pt x="1168" y="763"/>
                    <a:pt x="1240" y="807"/>
                    <a:pt x="1300" y="864"/>
                  </a:cubicBezTo>
                  <a:moveTo>
                    <a:pt x="455" y="920"/>
                  </a:moveTo>
                  <a:cubicBezTo>
                    <a:pt x="502" y="929"/>
                    <a:pt x="551" y="937"/>
                    <a:pt x="603" y="943"/>
                  </a:cubicBezTo>
                  <a:cubicBezTo>
                    <a:pt x="571" y="1042"/>
                    <a:pt x="554" y="1145"/>
                    <a:pt x="552" y="1248"/>
                  </a:cubicBezTo>
                  <a:cubicBezTo>
                    <a:pt x="329" y="1248"/>
                    <a:pt x="329" y="1248"/>
                    <a:pt x="329" y="1248"/>
                  </a:cubicBezTo>
                  <a:cubicBezTo>
                    <a:pt x="335" y="1128"/>
                    <a:pt x="379" y="1013"/>
                    <a:pt x="455" y="920"/>
                  </a:cubicBezTo>
                  <a:moveTo>
                    <a:pt x="1723" y="704"/>
                  </a:moveTo>
                  <a:cubicBezTo>
                    <a:pt x="1668" y="792"/>
                    <a:pt x="1600" y="870"/>
                    <a:pt x="1522" y="938"/>
                  </a:cubicBezTo>
                  <a:cubicBezTo>
                    <a:pt x="1505" y="953"/>
                    <a:pt x="1487" y="967"/>
                    <a:pt x="1468" y="981"/>
                  </a:cubicBezTo>
                  <a:cubicBezTo>
                    <a:pt x="1436" y="921"/>
                    <a:pt x="1396" y="867"/>
                    <a:pt x="1347" y="821"/>
                  </a:cubicBezTo>
                  <a:cubicBezTo>
                    <a:pt x="1350" y="803"/>
                    <a:pt x="1351" y="786"/>
                    <a:pt x="1351" y="768"/>
                  </a:cubicBezTo>
                  <a:cubicBezTo>
                    <a:pt x="1351" y="521"/>
                    <a:pt x="1150" y="320"/>
                    <a:pt x="903" y="320"/>
                  </a:cubicBezTo>
                  <a:cubicBezTo>
                    <a:pt x="722" y="320"/>
                    <a:pt x="559" y="429"/>
                    <a:pt x="489" y="596"/>
                  </a:cubicBezTo>
                  <a:cubicBezTo>
                    <a:pt x="548" y="621"/>
                    <a:pt x="548" y="621"/>
                    <a:pt x="548" y="621"/>
                  </a:cubicBezTo>
                  <a:cubicBezTo>
                    <a:pt x="630" y="425"/>
                    <a:pt x="854" y="333"/>
                    <a:pt x="1050" y="414"/>
                  </a:cubicBezTo>
                  <a:cubicBezTo>
                    <a:pt x="1060" y="418"/>
                    <a:pt x="1071" y="423"/>
                    <a:pt x="1081" y="429"/>
                  </a:cubicBezTo>
                  <a:cubicBezTo>
                    <a:pt x="1035" y="454"/>
                    <a:pt x="1018" y="512"/>
                    <a:pt x="1043" y="558"/>
                  </a:cubicBezTo>
                  <a:cubicBezTo>
                    <a:pt x="1068" y="605"/>
                    <a:pt x="1126" y="622"/>
                    <a:pt x="1173" y="597"/>
                  </a:cubicBezTo>
                  <a:cubicBezTo>
                    <a:pt x="1193" y="586"/>
                    <a:pt x="1208" y="568"/>
                    <a:pt x="1216" y="547"/>
                  </a:cubicBezTo>
                  <a:cubicBezTo>
                    <a:pt x="1262" y="612"/>
                    <a:pt x="1287" y="689"/>
                    <a:pt x="1287" y="768"/>
                  </a:cubicBezTo>
                  <a:cubicBezTo>
                    <a:pt x="1287" y="770"/>
                    <a:pt x="1287" y="770"/>
                    <a:pt x="1287" y="770"/>
                  </a:cubicBezTo>
                  <a:cubicBezTo>
                    <a:pt x="1060" y="597"/>
                    <a:pt x="746" y="597"/>
                    <a:pt x="519" y="770"/>
                  </a:cubicBezTo>
                  <a:cubicBezTo>
                    <a:pt x="519" y="768"/>
                    <a:pt x="519" y="768"/>
                    <a:pt x="519" y="768"/>
                  </a:cubicBezTo>
                  <a:cubicBezTo>
                    <a:pt x="519" y="739"/>
                    <a:pt x="522" y="709"/>
                    <a:pt x="529" y="680"/>
                  </a:cubicBezTo>
                  <a:cubicBezTo>
                    <a:pt x="467" y="665"/>
                    <a:pt x="467" y="665"/>
                    <a:pt x="467" y="665"/>
                  </a:cubicBezTo>
                  <a:cubicBezTo>
                    <a:pt x="459" y="699"/>
                    <a:pt x="455" y="734"/>
                    <a:pt x="455" y="768"/>
                  </a:cubicBezTo>
                  <a:cubicBezTo>
                    <a:pt x="455" y="786"/>
                    <a:pt x="456" y="803"/>
                    <a:pt x="459" y="821"/>
                  </a:cubicBezTo>
                  <a:cubicBezTo>
                    <a:pt x="410" y="867"/>
                    <a:pt x="369" y="922"/>
                    <a:pt x="338" y="981"/>
                  </a:cubicBezTo>
                  <a:cubicBezTo>
                    <a:pt x="232" y="907"/>
                    <a:pt x="141" y="813"/>
                    <a:pt x="71" y="704"/>
                  </a:cubicBezTo>
                  <a:cubicBezTo>
                    <a:pt x="267" y="403"/>
                    <a:pt x="532" y="256"/>
                    <a:pt x="881" y="256"/>
                  </a:cubicBezTo>
                  <a:cubicBezTo>
                    <a:pt x="1236" y="256"/>
                    <a:pt x="1534" y="415"/>
                    <a:pt x="1723" y="704"/>
                  </a:cubicBezTo>
                  <a:moveTo>
                    <a:pt x="1159" y="512"/>
                  </a:moveTo>
                  <a:cubicBezTo>
                    <a:pt x="1159" y="530"/>
                    <a:pt x="1145" y="544"/>
                    <a:pt x="1127" y="544"/>
                  </a:cubicBezTo>
                  <a:cubicBezTo>
                    <a:pt x="1109" y="544"/>
                    <a:pt x="1095" y="530"/>
                    <a:pt x="1095" y="512"/>
                  </a:cubicBezTo>
                  <a:cubicBezTo>
                    <a:pt x="1095" y="495"/>
                    <a:pt x="1109" y="480"/>
                    <a:pt x="1127" y="480"/>
                  </a:cubicBezTo>
                  <a:cubicBezTo>
                    <a:pt x="1145" y="480"/>
                    <a:pt x="1159" y="495"/>
                    <a:pt x="1159" y="5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8" name="Rectangle 349">
              <a:extLst>
                <a:ext uri="{FF2B5EF4-FFF2-40B4-BE49-F238E27FC236}">
                  <a16:creationId xmlns:a16="http://schemas.microsoft.com/office/drawing/2014/main" id="{15F727A6-685C-0377-E9FA-C28A00BB5C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6301" y="7143751"/>
              <a:ext cx="39688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9" name="Rectangle 350">
              <a:extLst>
                <a:ext uri="{FF2B5EF4-FFF2-40B4-BE49-F238E27FC236}">
                  <a16:creationId xmlns:a16="http://schemas.microsoft.com/office/drawing/2014/main" id="{44C15689-C4CD-244D-0D4E-B096EA9E53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6301" y="7223126"/>
              <a:ext cx="39688" cy="381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0" name="Rectangle 351">
              <a:extLst>
                <a:ext uri="{FF2B5EF4-FFF2-40B4-BE49-F238E27FC236}">
                  <a16:creationId xmlns:a16="http://schemas.microsoft.com/office/drawing/2014/main" id="{82F8821F-6406-3C1C-29CF-525C1AB72D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5988" y="7183438"/>
              <a:ext cx="38100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1" name="Rectangle 352">
              <a:extLst>
                <a:ext uri="{FF2B5EF4-FFF2-40B4-BE49-F238E27FC236}">
                  <a16:creationId xmlns:a16="http://schemas.microsoft.com/office/drawing/2014/main" id="{9849E622-3EF4-5437-51C6-D61DACAAD2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6613" y="7183438"/>
              <a:ext cx="39688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2" name="Rectangle 353">
              <a:extLst>
                <a:ext uri="{FF2B5EF4-FFF2-40B4-BE49-F238E27FC236}">
                  <a16:creationId xmlns:a16="http://schemas.microsoft.com/office/drawing/2014/main" id="{86E936A9-DAE9-BAFC-77E3-2028D051F1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0401" y="7143751"/>
              <a:ext cx="39688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3" name="Rectangle 354">
              <a:extLst>
                <a:ext uri="{FF2B5EF4-FFF2-40B4-BE49-F238E27FC236}">
                  <a16:creationId xmlns:a16="http://schemas.microsoft.com/office/drawing/2014/main" id="{FEE99A75-9CCA-3EA8-4B46-7B49AFAB6E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0401" y="7223126"/>
              <a:ext cx="39688" cy="381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4" name="Rectangle 355">
              <a:extLst>
                <a:ext uri="{FF2B5EF4-FFF2-40B4-BE49-F238E27FC236}">
                  <a16:creationId xmlns:a16="http://schemas.microsoft.com/office/drawing/2014/main" id="{509148A6-8601-C84F-F28F-83B4539901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70088" y="7183438"/>
              <a:ext cx="38100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5" name="Rectangle 356">
              <a:extLst>
                <a:ext uri="{FF2B5EF4-FFF2-40B4-BE49-F238E27FC236}">
                  <a16:creationId xmlns:a16="http://schemas.microsoft.com/office/drawing/2014/main" id="{867D31CA-0AE2-ABAE-3F98-B527C3C615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92301" y="7183438"/>
              <a:ext cx="38100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4D1F1D5C-B8D4-8C1B-74E6-33F88623546B}"/>
              </a:ext>
            </a:extLst>
          </p:cNvPr>
          <p:cNvGrpSpPr/>
          <p:nvPr/>
        </p:nvGrpSpPr>
        <p:grpSpPr>
          <a:xfrm>
            <a:off x="7440515" y="3979211"/>
            <a:ext cx="463845" cy="417840"/>
            <a:chOff x="5070475" y="5924550"/>
            <a:chExt cx="576263" cy="519113"/>
          </a:xfrm>
          <a:solidFill>
            <a:schemeClr val="bg1"/>
          </a:solidFill>
        </p:grpSpPr>
        <p:sp>
          <p:nvSpPr>
            <p:cNvPr id="67" name="Freeform 6">
              <a:extLst>
                <a:ext uri="{FF2B5EF4-FFF2-40B4-BE49-F238E27FC236}">
                  <a16:creationId xmlns:a16="http://schemas.microsoft.com/office/drawing/2014/main" id="{1B0526A5-99D8-89BF-4438-7536E96F8F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70475" y="6030913"/>
              <a:ext cx="538163" cy="412750"/>
            </a:xfrm>
            <a:custGeom>
              <a:avLst/>
              <a:gdLst>
                <a:gd name="T0" fmla="*/ 250 w 3498"/>
                <a:gd name="T1" fmla="*/ 2686 h 2686"/>
                <a:gd name="T2" fmla="*/ 3248 w 3498"/>
                <a:gd name="T3" fmla="*/ 2686 h 2686"/>
                <a:gd name="T4" fmla="*/ 3498 w 3498"/>
                <a:gd name="T5" fmla="*/ 2436 h 2686"/>
                <a:gd name="T6" fmla="*/ 3498 w 3498"/>
                <a:gd name="T7" fmla="*/ 2248 h 2686"/>
                <a:gd name="T8" fmla="*/ 3436 w 3498"/>
                <a:gd name="T9" fmla="*/ 2186 h 2686"/>
                <a:gd name="T10" fmla="*/ 3311 w 3498"/>
                <a:gd name="T11" fmla="*/ 2186 h 2686"/>
                <a:gd name="T12" fmla="*/ 3311 w 3498"/>
                <a:gd name="T13" fmla="*/ 1249 h 2686"/>
                <a:gd name="T14" fmla="*/ 3186 w 3498"/>
                <a:gd name="T15" fmla="*/ 1249 h 2686"/>
                <a:gd name="T16" fmla="*/ 3186 w 3498"/>
                <a:gd name="T17" fmla="*/ 2186 h 2686"/>
                <a:gd name="T18" fmla="*/ 3061 w 3498"/>
                <a:gd name="T19" fmla="*/ 2186 h 2686"/>
                <a:gd name="T20" fmla="*/ 3061 w 3498"/>
                <a:gd name="T21" fmla="*/ 1311 h 2686"/>
                <a:gd name="T22" fmla="*/ 2936 w 3498"/>
                <a:gd name="T23" fmla="*/ 1311 h 2686"/>
                <a:gd name="T24" fmla="*/ 2936 w 3498"/>
                <a:gd name="T25" fmla="*/ 2186 h 2686"/>
                <a:gd name="T26" fmla="*/ 2131 w 3498"/>
                <a:gd name="T27" fmla="*/ 2186 h 2686"/>
                <a:gd name="T28" fmla="*/ 1974 w 3498"/>
                <a:gd name="T29" fmla="*/ 2283 h 2686"/>
                <a:gd name="T30" fmla="*/ 1929 w 3498"/>
                <a:gd name="T31" fmla="*/ 2311 h 2686"/>
                <a:gd name="T32" fmla="*/ 1569 w 3498"/>
                <a:gd name="T33" fmla="*/ 2311 h 2686"/>
                <a:gd name="T34" fmla="*/ 1524 w 3498"/>
                <a:gd name="T35" fmla="*/ 2283 h 2686"/>
                <a:gd name="T36" fmla="*/ 1367 w 3498"/>
                <a:gd name="T37" fmla="*/ 2186 h 2686"/>
                <a:gd name="T38" fmla="*/ 562 w 3498"/>
                <a:gd name="T39" fmla="*/ 2186 h 2686"/>
                <a:gd name="T40" fmla="*/ 562 w 3498"/>
                <a:gd name="T41" fmla="*/ 374 h 2686"/>
                <a:gd name="T42" fmla="*/ 1749 w 3498"/>
                <a:gd name="T43" fmla="*/ 374 h 2686"/>
                <a:gd name="T44" fmla="*/ 1749 w 3498"/>
                <a:gd name="T45" fmla="*/ 249 h 2686"/>
                <a:gd name="T46" fmla="*/ 500 w 3498"/>
                <a:gd name="T47" fmla="*/ 249 h 2686"/>
                <a:gd name="T48" fmla="*/ 437 w 3498"/>
                <a:gd name="T49" fmla="*/ 312 h 2686"/>
                <a:gd name="T50" fmla="*/ 437 w 3498"/>
                <a:gd name="T51" fmla="*/ 2186 h 2686"/>
                <a:gd name="T52" fmla="*/ 312 w 3498"/>
                <a:gd name="T53" fmla="*/ 2186 h 2686"/>
                <a:gd name="T54" fmla="*/ 312 w 3498"/>
                <a:gd name="T55" fmla="*/ 312 h 2686"/>
                <a:gd name="T56" fmla="*/ 500 w 3498"/>
                <a:gd name="T57" fmla="*/ 125 h 2686"/>
                <a:gd name="T58" fmla="*/ 1749 w 3498"/>
                <a:gd name="T59" fmla="*/ 125 h 2686"/>
                <a:gd name="T60" fmla="*/ 1749 w 3498"/>
                <a:gd name="T61" fmla="*/ 0 h 2686"/>
                <a:gd name="T62" fmla="*/ 500 w 3498"/>
                <a:gd name="T63" fmla="*/ 0 h 2686"/>
                <a:gd name="T64" fmla="*/ 187 w 3498"/>
                <a:gd name="T65" fmla="*/ 312 h 2686"/>
                <a:gd name="T66" fmla="*/ 187 w 3498"/>
                <a:gd name="T67" fmla="*/ 2186 h 2686"/>
                <a:gd name="T68" fmla="*/ 62 w 3498"/>
                <a:gd name="T69" fmla="*/ 2186 h 2686"/>
                <a:gd name="T70" fmla="*/ 0 w 3498"/>
                <a:gd name="T71" fmla="*/ 2248 h 2686"/>
                <a:gd name="T72" fmla="*/ 0 w 3498"/>
                <a:gd name="T73" fmla="*/ 2436 h 2686"/>
                <a:gd name="T74" fmla="*/ 250 w 3498"/>
                <a:gd name="T75" fmla="*/ 2686 h 2686"/>
                <a:gd name="T76" fmla="*/ 125 w 3498"/>
                <a:gd name="T77" fmla="*/ 2311 h 2686"/>
                <a:gd name="T78" fmla="*/ 1367 w 3498"/>
                <a:gd name="T79" fmla="*/ 2311 h 2686"/>
                <a:gd name="T80" fmla="*/ 1412 w 3498"/>
                <a:gd name="T81" fmla="*/ 2339 h 2686"/>
                <a:gd name="T82" fmla="*/ 1569 w 3498"/>
                <a:gd name="T83" fmla="*/ 2436 h 2686"/>
                <a:gd name="T84" fmla="*/ 1929 w 3498"/>
                <a:gd name="T85" fmla="*/ 2436 h 2686"/>
                <a:gd name="T86" fmla="*/ 2086 w 3498"/>
                <a:gd name="T87" fmla="*/ 2339 h 2686"/>
                <a:gd name="T88" fmla="*/ 2131 w 3498"/>
                <a:gd name="T89" fmla="*/ 2311 h 2686"/>
                <a:gd name="T90" fmla="*/ 3373 w 3498"/>
                <a:gd name="T91" fmla="*/ 2311 h 2686"/>
                <a:gd name="T92" fmla="*/ 3373 w 3498"/>
                <a:gd name="T93" fmla="*/ 2436 h 2686"/>
                <a:gd name="T94" fmla="*/ 3248 w 3498"/>
                <a:gd name="T95" fmla="*/ 2561 h 2686"/>
                <a:gd name="T96" fmla="*/ 250 w 3498"/>
                <a:gd name="T97" fmla="*/ 2561 h 2686"/>
                <a:gd name="T98" fmla="*/ 125 w 3498"/>
                <a:gd name="T99" fmla="*/ 2436 h 2686"/>
                <a:gd name="T100" fmla="*/ 125 w 3498"/>
                <a:gd name="T101" fmla="*/ 2311 h 26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498" h="2686">
                  <a:moveTo>
                    <a:pt x="250" y="2686"/>
                  </a:moveTo>
                  <a:cubicBezTo>
                    <a:pt x="3248" y="2686"/>
                    <a:pt x="3248" y="2686"/>
                    <a:pt x="3248" y="2686"/>
                  </a:cubicBezTo>
                  <a:cubicBezTo>
                    <a:pt x="3386" y="2686"/>
                    <a:pt x="3498" y="2574"/>
                    <a:pt x="3498" y="2436"/>
                  </a:cubicBezTo>
                  <a:cubicBezTo>
                    <a:pt x="3498" y="2248"/>
                    <a:pt x="3498" y="2248"/>
                    <a:pt x="3498" y="2248"/>
                  </a:cubicBezTo>
                  <a:cubicBezTo>
                    <a:pt x="3498" y="2214"/>
                    <a:pt x="3470" y="2186"/>
                    <a:pt x="3436" y="2186"/>
                  </a:cubicBezTo>
                  <a:cubicBezTo>
                    <a:pt x="3311" y="2186"/>
                    <a:pt x="3311" y="2186"/>
                    <a:pt x="3311" y="2186"/>
                  </a:cubicBezTo>
                  <a:cubicBezTo>
                    <a:pt x="3311" y="1249"/>
                    <a:pt x="3311" y="1249"/>
                    <a:pt x="3311" y="1249"/>
                  </a:cubicBezTo>
                  <a:cubicBezTo>
                    <a:pt x="3186" y="1249"/>
                    <a:pt x="3186" y="1249"/>
                    <a:pt x="3186" y="1249"/>
                  </a:cubicBezTo>
                  <a:cubicBezTo>
                    <a:pt x="3186" y="2186"/>
                    <a:pt x="3186" y="2186"/>
                    <a:pt x="3186" y="2186"/>
                  </a:cubicBezTo>
                  <a:cubicBezTo>
                    <a:pt x="3061" y="2186"/>
                    <a:pt x="3061" y="2186"/>
                    <a:pt x="3061" y="2186"/>
                  </a:cubicBezTo>
                  <a:cubicBezTo>
                    <a:pt x="3061" y="1311"/>
                    <a:pt x="3061" y="1311"/>
                    <a:pt x="3061" y="1311"/>
                  </a:cubicBezTo>
                  <a:cubicBezTo>
                    <a:pt x="2936" y="1311"/>
                    <a:pt x="2936" y="1311"/>
                    <a:pt x="2936" y="1311"/>
                  </a:cubicBezTo>
                  <a:cubicBezTo>
                    <a:pt x="2936" y="2186"/>
                    <a:pt x="2936" y="2186"/>
                    <a:pt x="2936" y="2186"/>
                  </a:cubicBezTo>
                  <a:cubicBezTo>
                    <a:pt x="2131" y="2186"/>
                    <a:pt x="2131" y="2186"/>
                    <a:pt x="2131" y="2186"/>
                  </a:cubicBezTo>
                  <a:cubicBezTo>
                    <a:pt x="2065" y="2186"/>
                    <a:pt x="2004" y="2223"/>
                    <a:pt x="1974" y="2283"/>
                  </a:cubicBezTo>
                  <a:cubicBezTo>
                    <a:pt x="1966" y="2300"/>
                    <a:pt x="1948" y="2311"/>
                    <a:pt x="1929" y="2311"/>
                  </a:cubicBezTo>
                  <a:cubicBezTo>
                    <a:pt x="1569" y="2311"/>
                    <a:pt x="1569" y="2311"/>
                    <a:pt x="1569" y="2311"/>
                  </a:cubicBezTo>
                  <a:cubicBezTo>
                    <a:pt x="1550" y="2311"/>
                    <a:pt x="1532" y="2300"/>
                    <a:pt x="1524" y="2283"/>
                  </a:cubicBezTo>
                  <a:cubicBezTo>
                    <a:pt x="1494" y="2223"/>
                    <a:pt x="1433" y="2186"/>
                    <a:pt x="1367" y="2186"/>
                  </a:cubicBezTo>
                  <a:cubicBezTo>
                    <a:pt x="562" y="2186"/>
                    <a:pt x="562" y="2186"/>
                    <a:pt x="562" y="2186"/>
                  </a:cubicBezTo>
                  <a:cubicBezTo>
                    <a:pt x="562" y="374"/>
                    <a:pt x="562" y="374"/>
                    <a:pt x="562" y="374"/>
                  </a:cubicBezTo>
                  <a:cubicBezTo>
                    <a:pt x="1749" y="374"/>
                    <a:pt x="1749" y="374"/>
                    <a:pt x="1749" y="374"/>
                  </a:cubicBezTo>
                  <a:cubicBezTo>
                    <a:pt x="1749" y="249"/>
                    <a:pt x="1749" y="249"/>
                    <a:pt x="1749" y="249"/>
                  </a:cubicBezTo>
                  <a:cubicBezTo>
                    <a:pt x="500" y="249"/>
                    <a:pt x="500" y="249"/>
                    <a:pt x="500" y="249"/>
                  </a:cubicBezTo>
                  <a:cubicBezTo>
                    <a:pt x="465" y="249"/>
                    <a:pt x="437" y="277"/>
                    <a:pt x="437" y="312"/>
                  </a:cubicBezTo>
                  <a:cubicBezTo>
                    <a:pt x="437" y="2186"/>
                    <a:pt x="437" y="2186"/>
                    <a:pt x="437" y="2186"/>
                  </a:cubicBezTo>
                  <a:cubicBezTo>
                    <a:pt x="312" y="2186"/>
                    <a:pt x="312" y="2186"/>
                    <a:pt x="312" y="2186"/>
                  </a:cubicBezTo>
                  <a:cubicBezTo>
                    <a:pt x="312" y="312"/>
                    <a:pt x="312" y="312"/>
                    <a:pt x="312" y="312"/>
                  </a:cubicBezTo>
                  <a:cubicBezTo>
                    <a:pt x="312" y="208"/>
                    <a:pt x="396" y="125"/>
                    <a:pt x="500" y="125"/>
                  </a:cubicBezTo>
                  <a:cubicBezTo>
                    <a:pt x="1749" y="125"/>
                    <a:pt x="1749" y="125"/>
                    <a:pt x="1749" y="125"/>
                  </a:cubicBezTo>
                  <a:cubicBezTo>
                    <a:pt x="1749" y="0"/>
                    <a:pt x="1749" y="0"/>
                    <a:pt x="1749" y="0"/>
                  </a:cubicBezTo>
                  <a:cubicBezTo>
                    <a:pt x="500" y="0"/>
                    <a:pt x="500" y="0"/>
                    <a:pt x="500" y="0"/>
                  </a:cubicBezTo>
                  <a:cubicBezTo>
                    <a:pt x="327" y="0"/>
                    <a:pt x="188" y="140"/>
                    <a:pt x="187" y="312"/>
                  </a:cubicBezTo>
                  <a:cubicBezTo>
                    <a:pt x="187" y="2186"/>
                    <a:pt x="187" y="2186"/>
                    <a:pt x="187" y="2186"/>
                  </a:cubicBezTo>
                  <a:cubicBezTo>
                    <a:pt x="62" y="2186"/>
                    <a:pt x="62" y="2186"/>
                    <a:pt x="62" y="2186"/>
                  </a:cubicBezTo>
                  <a:cubicBezTo>
                    <a:pt x="28" y="2186"/>
                    <a:pt x="0" y="2214"/>
                    <a:pt x="0" y="2248"/>
                  </a:cubicBezTo>
                  <a:cubicBezTo>
                    <a:pt x="0" y="2436"/>
                    <a:pt x="0" y="2436"/>
                    <a:pt x="0" y="2436"/>
                  </a:cubicBezTo>
                  <a:cubicBezTo>
                    <a:pt x="0" y="2574"/>
                    <a:pt x="112" y="2686"/>
                    <a:pt x="250" y="2686"/>
                  </a:cubicBezTo>
                  <a:moveTo>
                    <a:pt x="125" y="2311"/>
                  </a:moveTo>
                  <a:cubicBezTo>
                    <a:pt x="1367" y="2311"/>
                    <a:pt x="1367" y="2311"/>
                    <a:pt x="1367" y="2311"/>
                  </a:cubicBezTo>
                  <a:cubicBezTo>
                    <a:pt x="1386" y="2311"/>
                    <a:pt x="1404" y="2322"/>
                    <a:pt x="1412" y="2339"/>
                  </a:cubicBezTo>
                  <a:cubicBezTo>
                    <a:pt x="1442" y="2398"/>
                    <a:pt x="1503" y="2436"/>
                    <a:pt x="1569" y="2436"/>
                  </a:cubicBezTo>
                  <a:cubicBezTo>
                    <a:pt x="1929" y="2436"/>
                    <a:pt x="1929" y="2436"/>
                    <a:pt x="1929" y="2436"/>
                  </a:cubicBezTo>
                  <a:cubicBezTo>
                    <a:pt x="1996" y="2436"/>
                    <a:pt x="2056" y="2398"/>
                    <a:pt x="2086" y="2339"/>
                  </a:cubicBezTo>
                  <a:cubicBezTo>
                    <a:pt x="2095" y="2322"/>
                    <a:pt x="2112" y="2311"/>
                    <a:pt x="2131" y="2311"/>
                  </a:cubicBezTo>
                  <a:cubicBezTo>
                    <a:pt x="3373" y="2311"/>
                    <a:pt x="3373" y="2311"/>
                    <a:pt x="3373" y="2311"/>
                  </a:cubicBezTo>
                  <a:cubicBezTo>
                    <a:pt x="3373" y="2436"/>
                    <a:pt x="3373" y="2436"/>
                    <a:pt x="3373" y="2436"/>
                  </a:cubicBezTo>
                  <a:cubicBezTo>
                    <a:pt x="3373" y="2505"/>
                    <a:pt x="3317" y="2561"/>
                    <a:pt x="3248" y="2561"/>
                  </a:cubicBezTo>
                  <a:cubicBezTo>
                    <a:pt x="250" y="2561"/>
                    <a:pt x="250" y="2561"/>
                    <a:pt x="250" y="2561"/>
                  </a:cubicBezTo>
                  <a:cubicBezTo>
                    <a:pt x="181" y="2561"/>
                    <a:pt x="125" y="2505"/>
                    <a:pt x="125" y="2436"/>
                  </a:cubicBezTo>
                  <a:lnTo>
                    <a:pt x="125" y="23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8" name="Rectangle 7">
              <a:extLst>
                <a:ext uri="{FF2B5EF4-FFF2-40B4-BE49-F238E27FC236}">
                  <a16:creationId xmlns:a16="http://schemas.microsoft.com/office/drawing/2014/main" id="{66294D7F-D199-824F-B335-B4A75B463FA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76838" y="6107113"/>
              <a:ext cx="19050" cy="190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9" name="Rectangle 8">
              <a:extLst>
                <a:ext uri="{FF2B5EF4-FFF2-40B4-BE49-F238E27FC236}">
                  <a16:creationId xmlns:a16="http://schemas.microsoft.com/office/drawing/2014/main" id="{AC4E5451-11D7-DCAA-FBEA-8F2E2C6F6E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14938" y="6107113"/>
              <a:ext cx="19050" cy="190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0" name="Rectangle 9">
              <a:extLst>
                <a:ext uri="{FF2B5EF4-FFF2-40B4-BE49-F238E27FC236}">
                  <a16:creationId xmlns:a16="http://schemas.microsoft.com/office/drawing/2014/main" id="{FE520B7A-3593-EA1E-BC08-167AB68B81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53038" y="6107113"/>
              <a:ext cx="19050" cy="190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1" name="Freeform 10">
              <a:extLst>
                <a:ext uri="{FF2B5EF4-FFF2-40B4-BE49-F238E27FC236}">
                  <a16:creationId xmlns:a16="http://schemas.microsoft.com/office/drawing/2014/main" id="{FDB0AA71-048F-F8BC-7B38-8D3727D8FF93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6838" y="6145213"/>
              <a:ext cx="239713" cy="77788"/>
            </a:xfrm>
            <a:custGeom>
              <a:avLst/>
              <a:gdLst>
                <a:gd name="T0" fmla="*/ 1187 w 1562"/>
                <a:gd name="T1" fmla="*/ 125 h 500"/>
                <a:gd name="T2" fmla="*/ 1187 w 1562"/>
                <a:gd name="T3" fmla="*/ 0 h 500"/>
                <a:gd name="T4" fmla="*/ 63 w 1562"/>
                <a:gd name="T5" fmla="*/ 0 h 500"/>
                <a:gd name="T6" fmla="*/ 0 w 1562"/>
                <a:gd name="T7" fmla="*/ 63 h 500"/>
                <a:gd name="T8" fmla="*/ 0 w 1562"/>
                <a:gd name="T9" fmla="*/ 437 h 500"/>
                <a:gd name="T10" fmla="*/ 63 w 1562"/>
                <a:gd name="T11" fmla="*/ 500 h 500"/>
                <a:gd name="T12" fmla="*/ 1562 w 1562"/>
                <a:gd name="T13" fmla="*/ 500 h 500"/>
                <a:gd name="T14" fmla="*/ 1562 w 1562"/>
                <a:gd name="T15" fmla="*/ 375 h 500"/>
                <a:gd name="T16" fmla="*/ 125 w 1562"/>
                <a:gd name="T17" fmla="*/ 375 h 500"/>
                <a:gd name="T18" fmla="*/ 125 w 1562"/>
                <a:gd name="T19" fmla="*/ 125 h 500"/>
                <a:gd name="T20" fmla="*/ 1187 w 1562"/>
                <a:gd name="T21" fmla="*/ 125 h 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62" h="500">
                  <a:moveTo>
                    <a:pt x="1187" y="125"/>
                  </a:moveTo>
                  <a:cubicBezTo>
                    <a:pt x="1187" y="0"/>
                    <a:pt x="1187" y="0"/>
                    <a:pt x="1187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28" y="0"/>
                    <a:pt x="0" y="28"/>
                    <a:pt x="0" y="63"/>
                  </a:cubicBezTo>
                  <a:cubicBezTo>
                    <a:pt x="0" y="437"/>
                    <a:pt x="0" y="437"/>
                    <a:pt x="0" y="437"/>
                  </a:cubicBezTo>
                  <a:cubicBezTo>
                    <a:pt x="0" y="472"/>
                    <a:pt x="28" y="500"/>
                    <a:pt x="63" y="500"/>
                  </a:cubicBezTo>
                  <a:cubicBezTo>
                    <a:pt x="1562" y="500"/>
                    <a:pt x="1562" y="500"/>
                    <a:pt x="1562" y="500"/>
                  </a:cubicBezTo>
                  <a:cubicBezTo>
                    <a:pt x="1562" y="375"/>
                    <a:pt x="1562" y="375"/>
                    <a:pt x="1562" y="375"/>
                  </a:cubicBezTo>
                  <a:cubicBezTo>
                    <a:pt x="125" y="375"/>
                    <a:pt x="125" y="375"/>
                    <a:pt x="125" y="375"/>
                  </a:cubicBezTo>
                  <a:cubicBezTo>
                    <a:pt x="125" y="125"/>
                    <a:pt x="125" y="125"/>
                    <a:pt x="125" y="125"/>
                  </a:cubicBezTo>
                  <a:lnTo>
                    <a:pt x="1187" y="1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2" name="Rectangle 11">
              <a:extLst>
                <a:ext uri="{FF2B5EF4-FFF2-40B4-BE49-F238E27FC236}">
                  <a16:creationId xmlns:a16="http://schemas.microsoft.com/office/drawing/2014/main" id="{7616C574-8E7A-7A74-BE32-0BF5DE7BE4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76838" y="6327775"/>
              <a:ext cx="66675" cy="190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3" name="Rectangle 12">
              <a:extLst>
                <a:ext uri="{FF2B5EF4-FFF2-40B4-BE49-F238E27FC236}">
                  <a16:creationId xmlns:a16="http://schemas.microsoft.com/office/drawing/2014/main" id="{C1F5600B-D813-C535-EB02-EBA0D10626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62563" y="6327775"/>
              <a:ext cx="66675" cy="190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4" name="Rectangle 13">
              <a:extLst>
                <a:ext uri="{FF2B5EF4-FFF2-40B4-BE49-F238E27FC236}">
                  <a16:creationId xmlns:a16="http://schemas.microsoft.com/office/drawing/2014/main" id="{53551253-3529-F164-AA07-99B1963CD6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49875" y="6327775"/>
              <a:ext cx="66675" cy="190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5" name="Rectangle 14">
              <a:extLst>
                <a:ext uri="{FF2B5EF4-FFF2-40B4-BE49-F238E27FC236}">
                  <a16:creationId xmlns:a16="http://schemas.microsoft.com/office/drawing/2014/main" id="{B363772D-5279-52D7-7818-93BBAE25CB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35600" y="6327775"/>
              <a:ext cx="66675" cy="190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6" name="Freeform 15">
              <a:extLst>
                <a:ext uri="{FF2B5EF4-FFF2-40B4-BE49-F238E27FC236}">
                  <a16:creationId xmlns:a16="http://schemas.microsoft.com/office/drawing/2014/main" id="{739856F0-DB5A-F88C-689B-BC22427C65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62563" y="6242050"/>
              <a:ext cx="66675" cy="66675"/>
            </a:xfrm>
            <a:custGeom>
              <a:avLst/>
              <a:gdLst>
                <a:gd name="T0" fmla="*/ 438 w 438"/>
                <a:gd name="T1" fmla="*/ 62 h 437"/>
                <a:gd name="T2" fmla="*/ 375 w 438"/>
                <a:gd name="T3" fmla="*/ 0 h 437"/>
                <a:gd name="T4" fmla="*/ 63 w 438"/>
                <a:gd name="T5" fmla="*/ 0 h 437"/>
                <a:gd name="T6" fmla="*/ 0 w 438"/>
                <a:gd name="T7" fmla="*/ 62 h 437"/>
                <a:gd name="T8" fmla="*/ 0 w 438"/>
                <a:gd name="T9" fmla="*/ 375 h 437"/>
                <a:gd name="T10" fmla="*/ 63 w 438"/>
                <a:gd name="T11" fmla="*/ 437 h 437"/>
                <a:gd name="T12" fmla="*/ 375 w 438"/>
                <a:gd name="T13" fmla="*/ 437 h 437"/>
                <a:gd name="T14" fmla="*/ 438 w 438"/>
                <a:gd name="T15" fmla="*/ 375 h 437"/>
                <a:gd name="T16" fmla="*/ 438 w 438"/>
                <a:gd name="T17" fmla="*/ 62 h 437"/>
                <a:gd name="T18" fmla="*/ 313 w 438"/>
                <a:gd name="T19" fmla="*/ 312 h 437"/>
                <a:gd name="T20" fmla="*/ 125 w 438"/>
                <a:gd name="T21" fmla="*/ 312 h 437"/>
                <a:gd name="T22" fmla="*/ 125 w 438"/>
                <a:gd name="T23" fmla="*/ 125 h 437"/>
                <a:gd name="T24" fmla="*/ 313 w 438"/>
                <a:gd name="T25" fmla="*/ 125 h 437"/>
                <a:gd name="T26" fmla="*/ 313 w 438"/>
                <a:gd name="T27" fmla="*/ 312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38" h="437">
                  <a:moveTo>
                    <a:pt x="438" y="62"/>
                  </a:moveTo>
                  <a:cubicBezTo>
                    <a:pt x="438" y="28"/>
                    <a:pt x="410" y="0"/>
                    <a:pt x="375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28" y="0"/>
                    <a:pt x="0" y="28"/>
                    <a:pt x="0" y="62"/>
                  </a:cubicBezTo>
                  <a:cubicBezTo>
                    <a:pt x="0" y="375"/>
                    <a:pt x="0" y="375"/>
                    <a:pt x="0" y="375"/>
                  </a:cubicBezTo>
                  <a:cubicBezTo>
                    <a:pt x="0" y="409"/>
                    <a:pt x="28" y="437"/>
                    <a:pt x="63" y="437"/>
                  </a:cubicBezTo>
                  <a:cubicBezTo>
                    <a:pt x="375" y="437"/>
                    <a:pt x="375" y="437"/>
                    <a:pt x="375" y="437"/>
                  </a:cubicBezTo>
                  <a:cubicBezTo>
                    <a:pt x="410" y="437"/>
                    <a:pt x="438" y="409"/>
                    <a:pt x="438" y="375"/>
                  </a:cubicBezTo>
                  <a:lnTo>
                    <a:pt x="438" y="62"/>
                  </a:lnTo>
                  <a:close/>
                  <a:moveTo>
                    <a:pt x="313" y="312"/>
                  </a:moveTo>
                  <a:cubicBezTo>
                    <a:pt x="125" y="312"/>
                    <a:pt x="125" y="312"/>
                    <a:pt x="125" y="312"/>
                  </a:cubicBezTo>
                  <a:cubicBezTo>
                    <a:pt x="125" y="125"/>
                    <a:pt x="125" y="125"/>
                    <a:pt x="125" y="125"/>
                  </a:cubicBezTo>
                  <a:cubicBezTo>
                    <a:pt x="313" y="125"/>
                    <a:pt x="313" y="125"/>
                    <a:pt x="313" y="125"/>
                  </a:cubicBezTo>
                  <a:lnTo>
                    <a:pt x="313" y="3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7" name="Freeform 16">
              <a:extLst>
                <a:ext uri="{FF2B5EF4-FFF2-40B4-BE49-F238E27FC236}">
                  <a16:creationId xmlns:a16="http://schemas.microsoft.com/office/drawing/2014/main" id="{03B60B80-1504-6E98-1942-F436E62BCC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76838" y="6242050"/>
              <a:ext cx="66675" cy="66675"/>
            </a:xfrm>
            <a:custGeom>
              <a:avLst/>
              <a:gdLst>
                <a:gd name="T0" fmla="*/ 437 w 437"/>
                <a:gd name="T1" fmla="*/ 62 h 437"/>
                <a:gd name="T2" fmla="*/ 375 w 437"/>
                <a:gd name="T3" fmla="*/ 0 h 437"/>
                <a:gd name="T4" fmla="*/ 63 w 437"/>
                <a:gd name="T5" fmla="*/ 0 h 437"/>
                <a:gd name="T6" fmla="*/ 0 w 437"/>
                <a:gd name="T7" fmla="*/ 62 h 437"/>
                <a:gd name="T8" fmla="*/ 0 w 437"/>
                <a:gd name="T9" fmla="*/ 375 h 437"/>
                <a:gd name="T10" fmla="*/ 63 w 437"/>
                <a:gd name="T11" fmla="*/ 437 h 437"/>
                <a:gd name="T12" fmla="*/ 375 w 437"/>
                <a:gd name="T13" fmla="*/ 437 h 437"/>
                <a:gd name="T14" fmla="*/ 437 w 437"/>
                <a:gd name="T15" fmla="*/ 375 h 437"/>
                <a:gd name="T16" fmla="*/ 437 w 437"/>
                <a:gd name="T17" fmla="*/ 62 h 437"/>
                <a:gd name="T18" fmla="*/ 312 w 437"/>
                <a:gd name="T19" fmla="*/ 312 h 437"/>
                <a:gd name="T20" fmla="*/ 125 w 437"/>
                <a:gd name="T21" fmla="*/ 312 h 437"/>
                <a:gd name="T22" fmla="*/ 125 w 437"/>
                <a:gd name="T23" fmla="*/ 125 h 437"/>
                <a:gd name="T24" fmla="*/ 312 w 437"/>
                <a:gd name="T25" fmla="*/ 125 h 437"/>
                <a:gd name="T26" fmla="*/ 312 w 437"/>
                <a:gd name="T27" fmla="*/ 312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37" h="437">
                  <a:moveTo>
                    <a:pt x="437" y="62"/>
                  </a:moveTo>
                  <a:cubicBezTo>
                    <a:pt x="437" y="28"/>
                    <a:pt x="409" y="0"/>
                    <a:pt x="375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28" y="0"/>
                    <a:pt x="0" y="28"/>
                    <a:pt x="0" y="62"/>
                  </a:cubicBezTo>
                  <a:cubicBezTo>
                    <a:pt x="0" y="375"/>
                    <a:pt x="0" y="375"/>
                    <a:pt x="0" y="375"/>
                  </a:cubicBezTo>
                  <a:cubicBezTo>
                    <a:pt x="0" y="409"/>
                    <a:pt x="28" y="437"/>
                    <a:pt x="63" y="437"/>
                  </a:cubicBezTo>
                  <a:cubicBezTo>
                    <a:pt x="375" y="437"/>
                    <a:pt x="375" y="437"/>
                    <a:pt x="375" y="437"/>
                  </a:cubicBezTo>
                  <a:cubicBezTo>
                    <a:pt x="409" y="437"/>
                    <a:pt x="437" y="409"/>
                    <a:pt x="437" y="375"/>
                  </a:cubicBezTo>
                  <a:lnTo>
                    <a:pt x="437" y="62"/>
                  </a:lnTo>
                  <a:close/>
                  <a:moveTo>
                    <a:pt x="312" y="312"/>
                  </a:moveTo>
                  <a:cubicBezTo>
                    <a:pt x="125" y="312"/>
                    <a:pt x="125" y="312"/>
                    <a:pt x="125" y="312"/>
                  </a:cubicBezTo>
                  <a:cubicBezTo>
                    <a:pt x="125" y="125"/>
                    <a:pt x="125" y="125"/>
                    <a:pt x="125" y="125"/>
                  </a:cubicBezTo>
                  <a:cubicBezTo>
                    <a:pt x="312" y="125"/>
                    <a:pt x="312" y="125"/>
                    <a:pt x="312" y="125"/>
                  </a:cubicBezTo>
                  <a:lnTo>
                    <a:pt x="312" y="3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8" name="Freeform 17">
              <a:extLst>
                <a:ext uri="{FF2B5EF4-FFF2-40B4-BE49-F238E27FC236}">
                  <a16:creationId xmlns:a16="http://schemas.microsoft.com/office/drawing/2014/main" id="{989C5CD0-B4ED-FFF3-0260-22890AEF4B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35600" y="6242050"/>
              <a:ext cx="66675" cy="66675"/>
            </a:xfrm>
            <a:custGeom>
              <a:avLst/>
              <a:gdLst>
                <a:gd name="T0" fmla="*/ 375 w 437"/>
                <a:gd name="T1" fmla="*/ 437 h 437"/>
                <a:gd name="T2" fmla="*/ 437 w 437"/>
                <a:gd name="T3" fmla="*/ 375 h 437"/>
                <a:gd name="T4" fmla="*/ 437 w 437"/>
                <a:gd name="T5" fmla="*/ 62 h 437"/>
                <a:gd name="T6" fmla="*/ 375 w 437"/>
                <a:gd name="T7" fmla="*/ 0 h 437"/>
                <a:gd name="T8" fmla="*/ 62 w 437"/>
                <a:gd name="T9" fmla="*/ 0 h 437"/>
                <a:gd name="T10" fmla="*/ 0 w 437"/>
                <a:gd name="T11" fmla="*/ 62 h 437"/>
                <a:gd name="T12" fmla="*/ 0 w 437"/>
                <a:gd name="T13" fmla="*/ 375 h 437"/>
                <a:gd name="T14" fmla="*/ 62 w 437"/>
                <a:gd name="T15" fmla="*/ 437 h 437"/>
                <a:gd name="T16" fmla="*/ 375 w 437"/>
                <a:gd name="T17" fmla="*/ 437 h 437"/>
                <a:gd name="T18" fmla="*/ 125 w 437"/>
                <a:gd name="T19" fmla="*/ 125 h 437"/>
                <a:gd name="T20" fmla="*/ 312 w 437"/>
                <a:gd name="T21" fmla="*/ 125 h 437"/>
                <a:gd name="T22" fmla="*/ 312 w 437"/>
                <a:gd name="T23" fmla="*/ 312 h 437"/>
                <a:gd name="T24" fmla="*/ 125 w 437"/>
                <a:gd name="T25" fmla="*/ 312 h 437"/>
                <a:gd name="T26" fmla="*/ 125 w 437"/>
                <a:gd name="T27" fmla="*/ 125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37" h="437">
                  <a:moveTo>
                    <a:pt x="375" y="437"/>
                  </a:moveTo>
                  <a:cubicBezTo>
                    <a:pt x="409" y="437"/>
                    <a:pt x="437" y="409"/>
                    <a:pt x="437" y="375"/>
                  </a:cubicBezTo>
                  <a:cubicBezTo>
                    <a:pt x="437" y="62"/>
                    <a:pt x="437" y="62"/>
                    <a:pt x="437" y="62"/>
                  </a:cubicBezTo>
                  <a:cubicBezTo>
                    <a:pt x="437" y="28"/>
                    <a:pt x="409" y="0"/>
                    <a:pt x="375" y="0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28" y="0"/>
                    <a:pt x="0" y="28"/>
                    <a:pt x="0" y="62"/>
                  </a:cubicBezTo>
                  <a:cubicBezTo>
                    <a:pt x="0" y="375"/>
                    <a:pt x="0" y="375"/>
                    <a:pt x="0" y="375"/>
                  </a:cubicBezTo>
                  <a:cubicBezTo>
                    <a:pt x="0" y="409"/>
                    <a:pt x="28" y="437"/>
                    <a:pt x="62" y="437"/>
                  </a:cubicBezTo>
                  <a:lnTo>
                    <a:pt x="375" y="437"/>
                  </a:lnTo>
                  <a:close/>
                  <a:moveTo>
                    <a:pt x="125" y="125"/>
                  </a:moveTo>
                  <a:cubicBezTo>
                    <a:pt x="312" y="125"/>
                    <a:pt x="312" y="125"/>
                    <a:pt x="312" y="125"/>
                  </a:cubicBezTo>
                  <a:cubicBezTo>
                    <a:pt x="312" y="312"/>
                    <a:pt x="312" y="312"/>
                    <a:pt x="312" y="312"/>
                  </a:cubicBezTo>
                  <a:cubicBezTo>
                    <a:pt x="125" y="312"/>
                    <a:pt x="125" y="312"/>
                    <a:pt x="125" y="312"/>
                  </a:cubicBezTo>
                  <a:lnTo>
                    <a:pt x="125" y="1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9" name="Freeform 18">
              <a:extLst>
                <a:ext uri="{FF2B5EF4-FFF2-40B4-BE49-F238E27FC236}">
                  <a16:creationId xmlns:a16="http://schemas.microsoft.com/office/drawing/2014/main" id="{E4B9B035-2894-1264-610E-244D47C6D7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49875" y="6242050"/>
              <a:ext cx="66675" cy="66675"/>
            </a:xfrm>
            <a:custGeom>
              <a:avLst/>
              <a:gdLst>
                <a:gd name="T0" fmla="*/ 437 w 437"/>
                <a:gd name="T1" fmla="*/ 62 h 437"/>
                <a:gd name="T2" fmla="*/ 374 w 437"/>
                <a:gd name="T3" fmla="*/ 0 h 437"/>
                <a:gd name="T4" fmla="*/ 62 w 437"/>
                <a:gd name="T5" fmla="*/ 0 h 437"/>
                <a:gd name="T6" fmla="*/ 0 w 437"/>
                <a:gd name="T7" fmla="*/ 62 h 437"/>
                <a:gd name="T8" fmla="*/ 0 w 437"/>
                <a:gd name="T9" fmla="*/ 375 h 437"/>
                <a:gd name="T10" fmla="*/ 62 w 437"/>
                <a:gd name="T11" fmla="*/ 437 h 437"/>
                <a:gd name="T12" fmla="*/ 374 w 437"/>
                <a:gd name="T13" fmla="*/ 437 h 437"/>
                <a:gd name="T14" fmla="*/ 437 w 437"/>
                <a:gd name="T15" fmla="*/ 375 h 437"/>
                <a:gd name="T16" fmla="*/ 437 w 437"/>
                <a:gd name="T17" fmla="*/ 62 h 437"/>
                <a:gd name="T18" fmla="*/ 312 w 437"/>
                <a:gd name="T19" fmla="*/ 312 h 437"/>
                <a:gd name="T20" fmla="*/ 124 w 437"/>
                <a:gd name="T21" fmla="*/ 312 h 437"/>
                <a:gd name="T22" fmla="*/ 124 w 437"/>
                <a:gd name="T23" fmla="*/ 125 h 437"/>
                <a:gd name="T24" fmla="*/ 312 w 437"/>
                <a:gd name="T25" fmla="*/ 125 h 437"/>
                <a:gd name="T26" fmla="*/ 312 w 437"/>
                <a:gd name="T27" fmla="*/ 312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37" h="437">
                  <a:moveTo>
                    <a:pt x="437" y="62"/>
                  </a:moveTo>
                  <a:cubicBezTo>
                    <a:pt x="437" y="28"/>
                    <a:pt x="409" y="0"/>
                    <a:pt x="374" y="0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27" y="0"/>
                    <a:pt x="0" y="28"/>
                    <a:pt x="0" y="62"/>
                  </a:cubicBezTo>
                  <a:cubicBezTo>
                    <a:pt x="0" y="375"/>
                    <a:pt x="0" y="375"/>
                    <a:pt x="0" y="375"/>
                  </a:cubicBezTo>
                  <a:cubicBezTo>
                    <a:pt x="0" y="409"/>
                    <a:pt x="27" y="437"/>
                    <a:pt x="62" y="437"/>
                  </a:cubicBezTo>
                  <a:cubicBezTo>
                    <a:pt x="374" y="437"/>
                    <a:pt x="374" y="437"/>
                    <a:pt x="374" y="437"/>
                  </a:cubicBezTo>
                  <a:cubicBezTo>
                    <a:pt x="409" y="437"/>
                    <a:pt x="437" y="409"/>
                    <a:pt x="437" y="375"/>
                  </a:cubicBezTo>
                  <a:lnTo>
                    <a:pt x="437" y="62"/>
                  </a:lnTo>
                  <a:close/>
                  <a:moveTo>
                    <a:pt x="312" y="312"/>
                  </a:moveTo>
                  <a:cubicBezTo>
                    <a:pt x="124" y="312"/>
                    <a:pt x="124" y="312"/>
                    <a:pt x="124" y="312"/>
                  </a:cubicBezTo>
                  <a:cubicBezTo>
                    <a:pt x="124" y="125"/>
                    <a:pt x="124" y="125"/>
                    <a:pt x="124" y="125"/>
                  </a:cubicBezTo>
                  <a:cubicBezTo>
                    <a:pt x="312" y="125"/>
                    <a:pt x="312" y="125"/>
                    <a:pt x="312" y="125"/>
                  </a:cubicBezTo>
                  <a:lnTo>
                    <a:pt x="312" y="3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0" name="Freeform 19">
              <a:extLst>
                <a:ext uri="{FF2B5EF4-FFF2-40B4-BE49-F238E27FC236}">
                  <a16:creationId xmlns:a16="http://schemas.microsoft.com/office/drawing/2014/main" id="{DD307DF4-9BDD-9CB6-E6FD-FF1DA7226F5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59400" y="5924550"/>
              <a:ext cx="287338" cy="288925"/>
            </a:xfrm>
            <a:custGeom>
              <a:avLst/>
              <a:gdLst>
                <a:gd name="T0" fmla="*/ 937 w 1874"/>
                <a:gd name="T1" fmla="*/ 0 h 1874"/>
                <a:gd name="T2" fmla="*/ 0 w 1874"/>
                <a:gd name="T3" fmla="*/ 937 h 1874"/>
                <a:gd name="T4" fmla="*/ 937 w 1874"/>
                <a:gd name="T5" fmla="*/ 1874 h 1874"/>
                <a:gd name="T6" fmla="*/ 1874 w 1874"/>
                <a:gd name="T7" fmla="*/ 937 h 1874"/>
                <a:gd name="T8" fmla="*/ 937 w 1874"/>
                <a:gd name="T9" fmla="*/ 0 h 1874"/>
                <a:gd name="T10" fmla="*/ 937 w 1874"/>
                <a:gd name="T11" fmla="*/ 1750 h 1874"/>
                <a:gd name="T12" fmla="*/ 125 w 1874"/>
                <a:gd name="T13" fmla="*/ 937 h 1874"/>
                <a:gd name="T14" fmla="*/ 937 w 1874"/>
                <a:gd name="T15" fmla="*/ 125 h 1874"/>
                <a:gd name="T16" fmla="*/ 1749 w 1874"/>
                <a:gd name="T17" fmla="*/ 937 h 1874"/>
                <a:gd name="T18" fmla="*/ 937 w 1874"/>
                <a:gd name="T19" fmla="*/ 1750 h 18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74" h="1874">
                  <a:moveTo>
                    <a:pt x="937" y="0"/>
                  </a:moveTo>
                  <a:cubicBezTo>
                    <a:pt x="420" y="0"/>
                    <a:pt x="0" y="420"/>
                    <a:pt x="0" y="937"/>
                  </a:cubicBezTo>
                  <a:cubicBezTo>
                    <a:pt x="0" y="1455"/>
                    <a:pt x="420" y="1874"/>
                    <a:pt x="937" y="1874"/>
                  </a:cubicBezTo>
                  <a:cubicBezTo>
                    <a:pt x="1455" y="1874"/>
                    <a:pt x="1874" y="1455"/>
                    <a:pt x="1874" y="937"/>
                  </a:cubicBezTo>
                  <a:cubicBezTo>
                    <a:pt x="1873" y="420"/>
                    <a:pt x="1454" y="1"/>
                    <a:pt x="937" y="0"/>
                  </a:cubicBezTo>
                  <a:moveTo>
                    <a:pt x="937" y="1750"/>
                  </a:moveTo>
                  <a:cubicBezTo>
                    <a:pt x="489" y="1750"/>
                    <a:pt x="125" y="1386"/>
                    <a:pt x="125" y="937"/>
                  </a:cubicBezTo>
                  <a:cubicBezTo>
                    <a:pt x="125" y="489"/>
                    <a:pt x="489" y="125"/>
                    <a:pt x="937" y="125"/>
                  </a:cubicBezTo>
                  <a:cubicBezTo>
                    <a:pt x="1386" y="125"/>
                    <a:pt x="1749" y="489"/>
                    <a:pt x="1749" y="937"/>
                  </a:cubicBezTo>
                  <a:cubicBezTo>
                    <a:pt x="1749" y="1386"/>
                    <a:pt x="1385" y="1749"/>
                    <a:pt x="937" y="175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1" name="Freeform 20">
              <a:extLst>
                <a:ext uri="{FF2B5EF4-FFF2-40B4-BE49-F238E27FC236}">
                  <a16:creationId xmlns:a16="http://schemas.microsoft.com/office/drawing/2014/main" id="{067F4B04-393E-C249-61AC-5D434D9B4D2B}"/>
                </a:ext>
              </a:extLst>
            </p:cNvPr>
            <p:cNvSpPr>
              <a:spLocks/>
            </p:cNvSpPr>
            <p:nvPr/>
          </p:nvSpPr>
          <p:spPr bwMode="auto">
            <a:xfrm>
              <a:off x="5416550" y="5961063"/>
              <a:ext cx="131763" cy="157163"/>
            </a:xfrm>
            <a:custGeom>
              <a:avLst/>
              <a:gdLst>
                <a:gd name="T0" fmla="*/ 563 w 862"/>
                <a:gd name="T1" fmla="*/ 260 h 1020"/>
                <a:gd name="T2" fmla="*/ 645 w 862"/>
                <a:gd name="T3" fmla="*/ 269 h 1020"/>
                <a:gd name="T4" fmla="*/ 553 w 862"/>
                <a:gd name="T5" fmla="*/ 327 h 1020"/>
                <a:gd name="T6" fmla="*/ 620 w 862"/>
                <a:gd name="T7" fmla="*/ 433 h 1020"/>
                <a:gd name="T8" fmla="*/ 831 w 862"/>
                <a:gd name="T9" fmla="*/ 300 h 1020"/>
                <a:gd name="T10" fmla="*/ 859 w 862"/>
                <a:gd name="T11" fmla="*/ 259 h 1020"/>
                <a:gd name="T12" fmla="*/ 848 w 862"/>
                <a:gd name="T13" fmla="*/ 210 h 1020"/>
                <a:gd name="T14" fmla="*/ 694 w 862"/>
                <a:gd name="T15" fmla="*/ 0 h 1020"/>
                <a:gd name="T16" fmla="*/ 593 w 862"/>
                <a:gd name="T17" fmla="*/ 73 h 1020"/>
                <a:gd name="T18" fmla="*/ 643 w 862"/>
                <a:gd name="T19" fmla="*/ 141 h 1020"/>
                <a:gd name="T20" fmla="*/ 194 w 862"/>
                <a:gd name="T21" fmla="*/ 272 h 1020"/>
                <a:gd name="T22" fmla="*/ 1 w 862"/>
                <a:gd name="T23" fmla="*/ 697 h 1020"/>
                <a:gd name="T24" fmla="*/ 103 w 862"/>
                <a:gd name="T25" fmla="*/ 1020 h 1020"/>
                <a:gd name="T26" fmla="*/ 205 w 862"/>
                <a:gd name="T27" fmla="*/ 948 h 1020"/>
                <a:gd name="T28" fmla="*/ 175 w 862"/>
                <a:gd name="T29" fmla="*/ 496 h 1020"/>
                <a:gd name="T30" fmla="*/ 563 w 862"/>
                <a:gd name="T31" fmla="*/ 260 h 10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62" h="1020">
                  <a:moveTo>
                    <a:pt x="563" y="260"/>
                  </a:moveTo>
                  <a:cubicBezTo>
                    <a:pt x="591" y="260"/>
                    <a:pt x="618" y="263"/>
                    <a:pt x="645" y="269"/>
                  </a:cubicBezTo>
                  <a:cubicBezTo>
                    <a:pt x="553" y="327"/>
                    <a:pt x="553" y="327"/>
                    <a:pt x="553" y="327"/>
                  </a:cubicBezTo>
                  <a:cubicBezTo>
                    <a:pt x="620" y="433"/>
                    <a:pt x="620" y="433"/>
                    <a:pt x="620" y="433"/>
                  </a:cubicBezTo>
                  <a:cubicBezTo>
                    <a:pt x="831" y="300"/>
                    <a:pt x="831" y="300"/>
                    <a:pt x="831" y="300"/>
                  </a:cubicBezTo>
                  <a:cubicBezTo>
                    <a:pt x="845" y="291"/>
                    <a:pt x="855" y="276"/>
                    <a:pt x="859" y="259"/>
                  </a:cubicBezTo>
                  <a:cubicBezTo>
                    <a:pt x="862" y="242"/>
                    <a:pt x="858" y="224"/>
                    <a:pt x="848" y="210"/>
                  </a:cubicBezTo>
                  <a:cubicBezTo>
                    <a:pt x="694" y="0"/>
                    <a:pt x="694" y="0"/>
                    <a:pt x="694" y="0"/>
                  </a:cubicBezTo>
                  <a:cubicBezTo>
                    <a:pt x="593" y="73"/>
                    <a:pt x="593" y="73"/>
                    <a:pt x="593" y="73"/>
                  </a:cubicBezTo>
                  <a:cubicBezTo>
                    <a:pt x="643" y="141"/>
                    <a:pt x="643" y="141"/>
                    <a:pt x="643" y="141"/>
                  </a:cubicBezTo>
                  <a:cubicBezTo>
                    <a:pt x="482" y="117"/>
                    <a:pt x="318" y="165"/>
                    <a:pt x="194" y="272"/>
                  </a:cubicBezTo>
                  <a:cubicBezTo>
                    <a:pt x="71" y="379"/>
                    <a:pt x="0" y="534"/>
                    <a:pt x="1" y="697"/>
                  </a:cubicBezTo>
                  <a:cubicBezTo>
                    <a:pt x="1" y="813"/>
                    <a:pt x="36" y="926"/>
                    <a:pt x="103" y="1020"/>
                  </a:cubicBezTo>
                  <a:cubicBezTo>
                    <a:pt x="205" y="948"/>
                    <a:pt x="205" y="948"/>
                    <a:pt x="205" y="948"/>
                  </a:cubicBezTo>
                  <a:cubicBezTo>
                    <a:pt x="111" y="815"/>
                    <a:pt x="100" y="640"/>
                    <a:pt x="175" y="496"/>
                  </a:cubicBezTo>
                  <a:cubicBezTo>
                    <a:pt x="250" y="351"/>
                    <a:pt x="400" y="260"/>
                    <a:pt x="563" y="26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2" name="Freeform 21">
              <a:extLst>
                <a:ext uri="{FF2B5EF4-FFF2-40B4-BE49-F238E27FC236}">
                  <a16:creationId xmlns:a16="http://schemas.microsoft.com/office/drawing/2014/main" id="{83521879-138B-868E-167E-AEC5AA2B7CD0}"/>
                </a:ext>
              </a:extLst>
            </p:cNvPr>
            <p:cNvSpPr>
              <a:spLocks/>
            </p:cNvSpPr>
            <p:nvPr/>
          </p:nvSpPr>
          <p:spPr bwMode="auto">
            <a:xfrm>
              <a:off x="5456238" y="6018213"/>
              <a:ext cx="138113" cy="157163"/>
            </a:xfrm>
            <a:custGeom>
              <a:avLst/>
              <a:gdLst>
                <a:gd name="T0" fmla="*/ 657 w 894"/>
                <a:gd name="T1" fmla="*/ 72 h 1021"/>
                <a:gd name="T2" fmla="*/ 686 w 894"/>
                <a:gd name="T3" fmla="*/ 525 h 1021"/>
                <a:gd name="T4" fmla="*/ 298 w 894"/>
                <a:gd name="T5" fmla="*/ 760 h 1021"/>
                <a:gd name="T6" fmla="*/ 216 w 894"/>
                <a:gd name="T7" fmla="*/ 752 h 1021"/>
                <a:gd name="T8" fmla="*/ 308 w 894"/>
                <a:gd name="T9" fmla="*/ 694 h 1021"/>
                <a:gd name="T10" fmla="*/ 242 w 894"/>
                <a:gd name="T11" fmla="*/ 588 h 1021"/>
                <a:gd name="T12" fmla="*/ 31 w 894"/>
                <a:gd name="T13" fmla="*/ 721 h 1021"/>
                <a:gd name="T14" fmla="*/ 3 w 894"/>
                <a:gd name="T15" fmla="*/ 762 h 1021"/>
                <a:gd name="T16" fmla="*/ 14 w 894"/>
                <a:gd name="T17" fmla="*/ 810 h 1021"/>
                <a:gd name="T18" fmla="*/ 167 w 894"/>
                <a:gd name="T19" fmla="*/ 1021 h 1021"/>
                <a:gd name="T20" fmla="*/ 268 w 894"/>
                <a:gd name="T21" fmla="*/ 947 h 1021"/>
                <a:gd name="T22" fmla="*/ 218 w 894"/>
                <a:gd name="T23" fmla="*/ 879 h 1021"/>
                <a:gd name="T24" fmla="*/ 777 w 894"/>
                <a:gd name="T25" fmla="*/ 617 h 1021"/>
                <a:gd name="T26" fmla="*/ 759 w 894"/>
                <a:gd name="T27" fmla="*/ 0 h 1021"/>
                <a:gd name="T28" fmla="*/ 657 w 894"/>
                <a:gd name="T29" fmla="*/ 72 h 10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94" h="1021">
                  <a:moveTo>
                    <a:pt x="657" y="72"/>
                  </a:moveTo>
                  <a:cubicBezTo>
                    <a:pt x="750" y="206"/>
                    <a:pt x="762" y="380"/>
                    <a:pt x="686" y="525"/>
                  </a:cubicBezTo>
                  <a:cubicBezTo>
                    <a:pt x="611" y="670"/>
                    <a:pt x="462" y="761"/>
                    <a:pt x="298" y="760"/>
                  </a:cubicBezTo>
                  <a:cubicBezTo>
                    <a:pt x="271" y="760"/>
                    <a:pt x="243" y="757"/>
                    <a:pt x="216" y="752"/>
                  </a:cubicBezTo>
                  <a:cubicBezTo>
                    <a:pt x="308" y="694"/>
                    <a:pt x="308" y="694"/>
                    <a:pt x="308" y="694"/>
                  </a:cubicBezTo>
                  <a:cubicBezTo>
                    <a:pt x="242" y="588"/>
                    <a:pt x="242" y="588"/>
                    <a:pt x="242" y="588"/>
                  </a:cubicBezTo>
                  <a:cubicBezTo>
                    <a:pt x="31" y="721"/>
                    <a:pt x="31" y="721"/>
                    <a:pt x="31" y="721"/>
                  </a:cubicBezTo>
                  <a:cubicBezTo>
                    <a:pt x="16" y="730"/>
                    <a:pt x="6" y="745"/>
                    <a:pt x="3" y="762"/>
                  </a:cubicBezTo>
                  <a:cubicBezTo>
                    <a:pt x="0" y="779"/>
                    <a:pt x="3" y="796"/>
                    <a:pt x="14" y="810"/>
                  </a:cubicBezTo>
                  <a:cubicBezTo>
                    <a:pt x="167" y="1021"/>
                    <a:pt x="167" y="1021"/>
                    <a:pt x="167" y="1021"/>
                  </a:cubicBezTo>
                  <a:cubicBezTo>
                    <a:pt x="268" y="947"/>
                    <a:pt x="268" y="947"/>
                    <a:pt x="268" y="947"/>
                  </a:cubicBezTo>
                  <a:cubicBezTo>
                    <a:pt x="218" y="879"/>
                    <a:pt x="218" y="879"/>
                    <a:pt x="218" y="879"/>
                  </a:cubicBezTo>
                  <a:cubicBezTo>
                    <a:pt x="440" y="911"/>
                    <a:pt x="659" y="808"/>
                    <a:pt x="777" y="617"/>
                  </a:cubicBezTo>
                  <a:cubicBezTo>
                    <a:pt x="894" y="426"/>
                    <a:pt x="887" y="184"/>
                    <a:pt x="759" y="0"/>
                  </a:cubicBezTo>
                  <a:lnTo>
                    <a:pt x="657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83" name="Group 82">
            <a:extLst>
              <a:ext uri="{FF2B5EF4-FFF2-40B4-BE49-F238E27FC236}">
                <a16:creationId xmlns:a16="http://schemas.microsoft.com/office/drawing/2014/main" id="{D29D7A34-CC81-264D-FBA6-C7B883D71347}"/>
              </a:ext>
            </a:extLst>
          </p:cNvPr>
          <p:cNvGrpSpPr/>
          <p:nvPr/>
        </p:nvGrpSpPr>
        <p:grpSpPr>
          <a:xfrm>
            <a:off x="4233603" y="3981185"/>
            <a:ext cx="416963" cy="417819"/>
            <a:chOff x="2174875" y="4595813"/>
            <a:chExt cx="771525" cy="773113"/>
          </a:xfrm>
          <a:solidFill>
            <a:schemeClr val="bg1"/>
          </a:solidFill>
        </p:grpSpPr>
        <p:sp>
          <p:nvSpPr>
            <p:cNvPr id="84" name="Freeform 24">
              <a:extLst>
                <a:ext uri="{FF2B5EF4-FFF2-40B4-BE49-F238E27FC236}">
                  <a16:creationId xmlns:a16="http://schemas.microsoft.com/office/drawing/2014/main" id="{67B1FF32-14F3-D979-1F40-FB1315BA83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17775" y="5100638"/>
              <a:ext cx="77788" cy="77788"/>
            </a:xfrm>
            <a:custGeom>
              <a:avLst/>
              <a:gdLst>
                <a:gd name="T0" fmla="*/ 121 w 242"/>
                <a:gd name="T1" fmla="*/ 0 h 242"/>
                <a:gd name="T2" fmla="*/ 0 w 242"/>
                <a:gd name="T3" fmla="*/ 121 h 242"/>
                <a:gd name="T4" fmla="*/ 121 w 242"/>
                <a:gd name="T5" fmla="*/ 242 h 242"/>
                <a:gd name="T6" fmla="*/ 242 w 242"/>
                <a:gd name="T7" fmla="*/ 121 h 242"/>
                <a:gd name="T8" fmla="*/ 121 w 242"/>
                <a:gd name="T9" fmla="*/ 0 h 242"/>
                <a:gd name="T10" fmla="*/ 121 w 242"/>
                <a:gd name="T11" fmla="*/ 149 h 242"/>
                <a:gd name="T12" fmla="*/ 93 w 242"/>
                <a:gd name="T13" fmla="*/ 121 h 242"/>
                <a:gd name="T14" fmla="*/ 121 w 242"/>
                <a:gd name="T15" fmla="*/ 93 h 242"/>
                <a:gd name="T16" fmla="*/ 149 w 242"/>
                <a:gd name="T17" fmla="*/ 121 h 242"/>
                <a:gd name="T18" fmla="*/ 121 w 242"/>
                <a:gd name="T19" fmla="*/ 149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2" h="242">
                  <a:moveTo>
                    <a:pt x="121" y="0"/>
                  </a:moveTo>
                  <a:cubicBezTo>
                    <a:pt x="54" y="0"/>
                    <a:pt x="0" y="54"/>
                    <a:pt x="0" y="121"/>
                  </a:cubicBezTo>
                  <a:cubicBezTo>
                    <a:pt x="0" y="188"/>
                    <a:pt x="54" y="242"/>
                    <a:pt x="121" y="242"/>
                  </a:cubicBezTo>
                  <a:cubicBezTo>
                    <a:pt x="188" y="242"/>
                    <a:pt x="242" y="188"/>
                    <a:pt x="242" y="121"/>
                  </a:cubicBezTo>
                  <a:cubicBezTo>
                    <a:pt x="242" y="54"/>
                    <a:pt x="188" y="0"/>
                    <a:pt x="121" y="0"/>
                  </a:cubicBezTo>
                  <a:close/>
                  <a:moveTo>
                    <a:pt x="121" y="149"/>
                  </a:moveTo>
                  <a:cubicBezTo>
                    <a:pt x="106" y="149"/>
                    <a:pt x="93" y="137"/>
                    <a:pt x="93" y="121"/>
                  </a:cubicBezTo>
                  <a:cubicBezTo>
                    <a:pt x="93" y="106"/>
                    <a:pt x="106" y="93"/>
                    <a:pt x="121" y="93"/>
                  </a:cubicBezTo>
                  <a:cubicBezTo>
                    <a:pt x="136" y="93"/>
                    <a:pt x="149" y="106"/>
                    <a:pt x="149" y="121"/>
                  </a:cubicBezTo>
                  <a:cubicBezTo>
                    <a:pt x="149" y="137"/>
                    <a:pt x="136" y="149"/>
                    <a:pt x="121" y="1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5" name="Freeform 25">
              <a:extLst>
                <a:ext uri="{FF2B5EF4-FFF2-40B4-BE49-F238E27FC236}">
                  <a16:creationId xmlns:a16="http://schemas.microsoft.com/office/drawing/2014/main" id="{2465C1DA-27A4-1B79-CE56-AFCC7EBDC13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2713" y="5046663"/>
              <a:ext cx="30163" cy="30163"/>
            </a:xfrm>
            <a:custGeom>
              <a:avLst/>
              <a:gdLst>
                <a:gd name="T0" fmla="*/ 79 w 93"/>
                <a:gd name="T1" fmla="*/ 14 h 93"/>
                <a:gd name="T2" fmla="*/ 46 w 93"/>
                <a:gd name="T3" fmla="*/ 0 h 93"/>
                <a:gd name="T4" fmla="*/ 13 w 93"/>
                <a:gd name="T5" fmla="*/ 14 h 93"/>
                <a:gd name="T6" fmla="*/ 0 w 93"/>
                <a:gd name="T7" fmla="*/ 47 h 93"/>
                <a:gd name="T8" fmla="*/ 13 w 93"/>
                <a:gd name="T9" fmla="*/ 80 h 93"/>
                <a:gd name="T10" fmla="*/ 46 w 93"/>
                <a:gd name="T11" fmla="*/ 93 h 93"/>
                <a:gd name="T12" fmla="*/ 79 w 93"/>
                <a:gd name="T13" fmla="*/ 80 h 93"/>
                <a:gd name="T14" fmla="*/ 93 w 93"/>
                <a:gd name="T15" fmla="*/ 47 h 93"/>
                <a:gd name="T16" fmla="*/ 79 w 93"/>
                <a:gd name="T17" fmla="*/ 14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3" h="93">
                  <a:moveTo>
                    <a:pt x="79" y="14"/>
                  </a:moveTo>
                  <a:cubicBezTo>
                    <a:pt x="71" y="5"/>
                    <a:pt x="59" y="0"/>
                    <a:pt x="46" y="0"/>
                  </a:cubicBezTo>
                  <a:cubicBezTo>
                    <a:pt x="34" y="0"/>
                    <a:pt x="22" y="5"/>
                    <a:pt x="13" y="14"/>
                  </a:cubicBezTo>
                  <a:cubicBezTo>
                    <a:pt x="5" y="23"/>
                    <a:pt x="0" y="35"/>
                    <a:pt x="0" y="47"/>
                  </a:cubicBezTo>
                  <a:cubicBezTo>
                    <a:pt x="0" y="59"/>
                    <a:pt x="5" y="71"/>
                    <a:pt x="13" y="80"/>
                  </a:cubicBezTo>
                  <a:cubicBezTo>
                    <a:pt x="22" y="89"/>
                    <a:pt x="34" y="93"/>
                    <a:pt x="46" y="93"/>
                  </a:cubicBezTo>
                  <a:cubicBezTo>
                    <a:pt x="59" y="93"/>
                    <a:pt x="71" y="89"/>
                    <a:pt x="79" y="80"/>
                  </a:cubicBezTo>
                  <a:cubicBezTo>
                    <a:pt x="88" y="71"/>
                    <a:pt x="93" y="59"/>
                    <a:pt x="93" y="47"/>
                  </a:cubicBezTo>
                  <a:cubicBezTo>
                    <a:pt x="93" y="35"/>
                    <a:pt x="88" y="23"/>
                    <a:pt x="79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6" name="Freeform 26">
              <a:extLst>
                <a:ext uri="{FF2B5EF4-FFF2-40B4-BE49-F238E27FC236}">
                  <a16:creationId xmlns:a16="http://schemas.microsoft.com/office/drawing/2014/main" id="{FC0E819A-7454-7734-ED4A-36583876686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74875" y="4595813"/>
              <a:ext cx="771525" cy="773113"/>
            </a:xfrm>
            <a:custGeom>
              <a:avLst/>
              <a:gdLst>
                <a:gd name="T0" fmla="*/ 2099 w 2382"/>
                <a:gd name="T1" fmla="*/ 675 h 2387"/>
                <a:gd name="T2" fmla="*/ 1377 w 2382"/>
                <a:gd name="T3" fmla="*/ 19 h 2387"/>
                <a:gd name="T4" fmla="*/ 537 w 2382"/>
                <a:gd name="T5" fmla="*/ 7 h 2387"/>
                <a:gd name="T6" fmla="*/ 310 w 2382"/>
                <a:gd name="T7" fmla="*/ 675 h 2387"/>
                <a:gd name="T8" fmla="*/ 0 w 2382"/>
                <a:gd name="T9" fmla="*/ 870 h 2387"/>
                <a:gd name="T10" fmla="*/ 0 w 2382"/>
                <a:gd name="T11" fmla="*/ 882 h 2387"/>
                <a:gd name="T12" fmla="*/ 233 w 2382"/>
                <a:gd name="T13" fmla="*/ 2387 h 2387"/>
                <a:gd name="T14" fmla="*/ 1900 w 2382"/>
                <a:gd name="T15" fmla="*/ 2387 h 2387"/>
                <a:gd name="T16" fmla="*/ 2382 w 2382"/>
                <a:gd name="T17" fmla="*/ 2154 h 2387"/>
                <a:gd name="T18" fmla="*/ 2149 w 2382"/>
                <a:gd name="T19" fmla="*/ 675 h 2387"/>
                <a:gd name="T20" fmla="*/ 2149 w 2382"/>
                <a:gd name="T21" fmla="*/ 768 h 2387"/>
                <a:gd name="T22" fmla="*/ 2289 w 2382"/>
                <a:gd name="T23" fmla="*/ 1280 h 2387"/>
                <a:gd name="T24" fmla="*/ 2130 w 2382"/>
                <a:gd name="T25" fmla="*/ 1391 h 2387"/>
                <a:gd name="T26" fmla="*/ 1903 w 2382"/>
                <a:gd name="T27" fmla="*/ 973 h 2387"/>
                <a:gd name="T28" fmla="*/ 1256 w 2382"/>
                <a:gd name="T29" fmla="*/ 272 h 2387"/>
                <a:gd name="T30" fmla="*/ 1410 w 2382"/>
                <a:gd name="T31" fmla="*/ 118 h 2387"/>
                <a:gd name="T32" fmla="*/ 1773 w 2382"/>
                <a:gd name="T33" fmla="*/ 971 h 2387"/>
                <a:gd name="T34" fmla="*/ 1799 w 2382"/>
                <a:gd name="T35" fmla="*/ 860 h 2387"/>
                <a:gd name="T36" fmla="*/ 1799 w 2382"/>
                <a:gd name="T37" fmla="*/ 658 h 2387"/>
                <a:gd name="T38" fmla="*/ 1544 w 2382"/>
                <a:gd name="T39" fmla="*/ 337 h 2387"/>
                <a:gd name="T40" fmla="*/ 1342 w 2382"/>
                <a:gd name="T41" fmla="*/ 337 h 2387"/>
                <a:gd name="T42" fmla="*/ 642 w 2382"/>
                <a:gd name="T43" fmla="*/ 971 h 2387"/>
                <a:gd name="T44" fmla="*/ 1256 w 2382"/>
                <a:gd name="T45" fmla="*/ 272 h 2387"/>
                <a:gd name="T46" fmla="*/ 902 w 2382"/>
                <a:gd name="T47" fmla="*/ 971 h 2387"/>
                <a:gd name="T48" fmla="*/ 1313 w 2382"/>
                <a:gd name="T49" fmla="*/ 431 h 2387"/>
                <a:gd name="T50" fmla="*/ 1704 w 2382"/>
                <a:gd name="T51" fmla="*/ 629 h 2387"/>
                <a:gd name="T52" fmla="*/ 1556 w 2382"/>
                <a:gd name="T53" fmla="*/ 971 h 2387"/>
                <a:gd name="T54" fmla="*/ 1119 w 2382"/>
                <a:gd name="T55" fmla="*/ 796 h 2387"/>
                <a:gd name="T56" fmla="*/ 999 w 2382"/>
                <a:gd name="T57" fmla="*/ 971 h 2387"/>
                <a:gd name="T58" fmla="*/ 1239 w 2382"/>
                <a:gd name="T59" fmla="*/ 971 h 2387"/>
                <a:gd name="T60" fmla="*/ 631 w 2382"/>
                <a:gd name="T61" fmla="*/ 429 h 2387"/>
                <a:gd name="T62" fmla="*/ 799 w 2382"/>
                <a:gd name="T63" fmla="*/ 332 h 2387"/>
                <a:gd name="T64" fmla="*/ 704 w 2382"/>
                <a:gd name="T65" fmla="*/ 692 h 2387"/>
                <a:gd name="T66" fmla="*/ 558 w 2382"/>
                <a:gd name="T67" fmla="*/ 109 h 2387"/>
                <a:gd name="T68" fmla="*/ 1084 w 2382"/>
                <a:gd name="T69" fmla="*/ 312 h 2387"/>
                <a:gd name="T70" fmla="*/ 748 w 2382"/>
                <a:gd name="T71" fmla="*/ 236 h 2387"/>
                <a:gd name="T72" fmla="*/ 681 w 2382"/>
                <a:gd name="T73" fmla="*/ 323 h 2387"/>
                <a:gd name="T74" fmla="*/ 551 w 2382"/>
                <a:gd name="T75" fmla="*/ 366 h 2387"/>
                <a:gd name="T76" fmla="*/ 326 w 2382"/>
                <a:gd name="T77" fmla="*/ 973 h 2387"/>
                <a:gd name="T78" fmla="*/ 196 w 2382"/>
                <a:gd name="T79" fmla="*/ 768 h 2387"/>
                <a:gd name="T80" fmla="*/ 230 w 2382"/>
                <a:gd name="T81" fmla="*/ 973 h 2387"/>
                <a:gd name="T82" fmla="*/ 93 w 2382"/>
                <a:gd name="T83" fmla="*/ 870 h 2387"/>
                <a:gd name="T84" fmla="*/ 2289 w 2382"/>
                <a:gd name="T85" fmla="*/ 2154 h 2387"/>
                <a:gd name="T86" fmla="*/ 2084 w 2382"/>
                <a:gd name="T87" fmla="*/ 2293 h 2387"/>
                <a:gd name="T88" fmla="*/ 2130 w 2382"/>
                <a:gd name="T89" fmla="*/ 1967 h 2387"/>
                <a:gd name="T90" fmla="*/ 2289 w 2382"/>
                <a:gd name="T91" fmla="*/ 1925 h 2387"/>
                <a:gd name="T92" fmla="*/ 2289 w 2382"/>
                <a:gd name="T93" fmla="*/ 1744 h 2387"/>
                <a:gd name="T94" fmla="*/ 1182 w 2382"/>
                <a:gd name="T95" fmla="*/ 1874 h 2387"/>
                <a:gd name="T96" fmla="*/ 1182 w 2382"/>
                <a:gd name="T97" fmla="*/ 1484 h 2387"/>
                <a:gd name="T98" fmla="*/ 1369 w 2382"/>
                <a:gd name="T99" fmla="*/ 1437 h 2387"/>
                <a:gd name="T100" fmla="*/ 1182 w 2382"/>
                <a:gd name="T101" fmla="*/ 1391 h 2387"/>
                <a:gd name="T102" fmla="*/ 1182 w 2382"/>
                <a:gd name="T103" fmla="*/ 1967 h 2387"/>
                <a:gd name="T104" fmla="*/ 2037 w 2382"/>
                <a:gd name="T105" fmla="*/ 2154 h 2387"/>
                <a:gd name="T106" fmla="*/ 317 w 2382"/>
                <a:gd name="T107" fmla="*/ 2294 h 2387"/>
                <a:gd name="T108" fmla="*/ 270 w 2382"/>
                <a:gd name="T109" fmla="*/ 1723 h 2387"/>
                <a:gd name="T110" fmla="*/ 224 w 2382"/>
                <a:gd name="T111" fmla="*/ 2293 h 2387"/>
                <a:gd name="T112" fmla="*/ 93 w 2382"/>
                <a:gd name="T113" fmla="*/ 1037 h 2387"/>
                <a:gd name="T114" fmla="*/ 1898 w 2382"/>
                <a:gd name="T115" fmla="*/ 1066 h 2387"/>
                <a:gd name="T116" fmla="*/ 2037 w 2382"/>
                <a:gd name="T117" fmla="*/ 1391 h 2387"/>
                <a:gd name="T118" fmla="*/ 1655 w 2382"/>
                <a:gd name="T119" fmla="*/ 1437 h 2387"/>
                <a:gd name="T120" fmla="*/ 2178 w 2382"/>
                <a:gd name="T121" fmla="*/ 1484 h 2387"/>
                <a:gd name="T122" fmla="*/ 2289 w 2382"/>
                <a:gd name="T123" fmla="*/ 1744 h 2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82" h="2387">
                  <a:moveTo>
                    <a:pt x="2149" y="675"/>
                  </a:moveTo>
                  <a:cubicBezTo>
                    <a:pt x="2099" y="675"/>
                    <a:pt x="2099" y="675"/>
                    <a:pt x="2099" y="675"/>
                  </a:cubicBezTo>
                  <a:cubicBezTo>
                    <a:pt x="1443" y="19"/>
                    <a:pt x="1443" y="19"/>
                    <a:pt x="1443" y="19"/>
                  </a:cubicBezTo>
                  <a:cubicBezTo>
                    <a:pt x="1425" y="1"/>
                    <a:pt x="1395" y="1"/>
                    <a:pt x="1377" y="19"/>
                  </a:cubicBezTo>
                  <a:cubicBezTo>
                    <a:pt x="1209" y="187"/>
                    <a:pt x="1209" y="187"/>
                    <a:pt x="1209" y="187"/>
                  </a:cubicBezTo>
                  <a:cubicBezTo>
                    <a:pt x="537" y="7"/>
                    <a:pt x="537" y="7"/>
                    <a:pt x="537" y="7"/>
                  </a:cubicBezTo>
                  <a:cubicBezTo>
                    <a:pt x="512" y="0"/>
                    <a:pt x="487" y="15"/>
                    <a:pt x="480" y="40"/>
                  </a:cubicBezTo>
                  <a:cubicBezTo>
                    <a:pt x="310" y="675"/>
                    <a:pt x="310" y="675"/>
                    <a:pt x="310" y="675"/>
                  </a:cubicBezTo>
                  <a:cubicBezTo>
                    <a:pt x="196" y="675"/>
                    <a:pt x="196" y="675"/>
                    <a:pt x="196" y="675"/>
                  </a:cubicBezTo>
                  <a:cubicBezTo>
                    <a:pt x="88" y="675"/>
                    <a:pt x="0" y="763"/>
                    <a:pt x="0" y="870"/>
                  </a:cubicBezTo>
                  <a:cubicBezTo>
                    <a:pt x="0" y="873"/>
                    <a:pt x="1" y="876"/>
                    <a:pt x="1" y="878"/>
                  </a:cubicBezTo>
                  <a:cubicBezTo>
                    <a:pt x="1" y="879"/>
                    <a:pt x="0" y="881"/>
                    <a:pt x="0" y="882"/>
                  </a:cubicBezTo>
                  <a:cubicBezTo>
                    <a:pt x="0" y="2154"/>
                    <a:pt x="0" y="2154"/>
                    <a:pt x="0" y="2154"/>
                  </a:cubicBezTo>
                  <a:cubicBezTo>
                    <a:pt x="0" y="2282"/>
                    <a:pt x="105" y="2387"/>
                    <a:pt x="233" y="2387"/>
                  </a:cubicBezTo>
                  <a:cubicBezTo>
                    <a:pt x="1898" y="2387"/>
                    <a:pt x="1898" y="2387"/>
                    <a:pt x="1898" y="2387"/>
                  </a:cubicBezTo>
                  <a:cubicBezTo>
                    <a:pt x="1899" y="2387"/>
                    <a:pt x="1899" y="2387"/>
                    <a:pt x="1900" y="2387"/>
                  </a:cubicBezTo>
                  <a:cubicBezTo>
                    <a:pt x="2149" y="2387"/>
                    <a:pt x="2149" y="2387"/>
                    <a:pt x="2149" y="2387"/>
                  </a:cubicBezTo>
                  <a:cubicBezTo>
                    <a:pt x="2277" y="2387"/>
                    <a:pt x="2382" y="2282"/>
                    <a:pt x="2382" y="2154"/>
                  </a:cubicBezTo>
                  <a:cubicBezTo>
                    <a:pt x="2382" y="908"/>
                    <a:pt x="2382" y="908"/>
                    <a:pt x="2382" y="908"/>
                  </a:cubicBezTo>
                  <a:cubicBezTo>
                    <a:pt x="2382" y="779"/>
                    <a:pt x="2277" y="675"/>
                    <a:pt x="2149" y="675"/>
                  </a:cubicBezTo>
                  <a:close/>
                  <a:moveTo>
                    <a:pt x="2107" y="768"/>
                  </a:moveTo>
                  <a:cubicBezTo>
                    <a:pt x="2149" y="768"/>
                    <a:pt x="2149" y="768"/>
                    <a:pt x="2149" y="768"/>
                  </a:cubicBezTo>
                  <a:cubicBezTo>
                    <a:pt x="2226" y="768"/>
                    <a:pt x="2289" y="831"/>
                    <a:pt x="2289" y="908"/>
                  </a:cubicBezTo>
                  <a:cubicBezTo>
                    <a:pt x="2289" y="1280"/>
                    <a:pt x="2289" y="1280"/>
                    <a:pt x="2289" y="1280"/>
                  </a:cubicBezTo>
                  <a:cubicBezTo>
                    <a:pt x="2289" y="1341"/>
                    <a:pt x="2239" y="1391"/>
                    <a:pt x="2178" y="1391"/>
                  </a:cubicBezTo>
                  <a:cubicBezTo>
                    <a:pt x="2130" y="1391"/>
                    <a:pt x="2130" y="1391"/>
                    <a:pt x="2130" y="1391"/>
                  </a:cubicBezTo>
                  <a:cubicBezTo>
                    <a:pt x="2130" y="1205"/>
                    <a:pt x="2130" y="1205"/>
                    <a:pt x="2130" y="1205"/>
                  </a:cubicBezTo>
                  <a:cubicBezTo>
                    <a:pt x="2130" y="1079"/>
                    <a:pt x="2029" y="975"/>
                    <a:pt x="1903" y="973"/>
                  </a:cubicBezTo>
                  <a:lnTo>
                    <a:pt x="2107" y="768"/>
                  </a:lnTo>
                  <a:close/>
                  <a:moveTo>
                    <a:pt x="1256" y="272"/>
                  </a:moveTo>
                  <a:cubicBezTo>
                    <a:pt x="1256" y="272"/>
                    <a:pt x="1256" y="272"/>
                    <a:pt x="1256" y="272"/>
                  </a:cubicBezTo>
                  <a:cubicBezTo>
                    <a:pt x="1410" y="118"/>
                    <a:pt x="1410" y="118"/>
                    <a:pt x="1410" y="118"/>
                  </a:cubicBezTo>
                  <a:cubicBezTo>
                    <a:pt x="2018" y="726"/>
                    <a:pt x="2018" y="726"/>
                    <a:pt x="2018" y="726"/>
                  </a:cubicBezTo>
                  <a:cubicBezTo>
                    <a:pt x="1773" y="971"/>
                    <a:pt x="1773" y="971"/>
                    <a:pt x="1773" y="971"/>
                  </a:cubicBezTo>
                  <a:cubicBezTo>
                    <a:pt x="1688" y="971"/>
                    <a:pt x="1688" y="971"/>
                    <a:pt x="1688" y="971"/>
                  </a:cubicBezTo>
                  <a:cubicBezTo>
                    <a:pt x="1799" y="860"/>
                    <a:pt x="1799" y="860"/>
                    <a:pt x="1799" y="860"/>
                  </a:cubicBezTo>
                  <a:cubicBezTo>
                    <a:pt x="1817" y="842"/>
                    <a:pt x="1817" y="812"/>
                    <a:pt x="1799" y="794"/>
                  </a:cubicBezTo>
                  <a:cubicBezTo>
                    <a:pt x="1761" y="756"/>
                    <a:pt x="1761" y="695"/>
                    <a:pt x="1799" y="658"/>
                  </a:cubicBezTo>
                  <a:cubicBezTo>
                    <a:pt x="1817" y="639"/>
                    <a:pt x="1817" y="610"/>
                    <a:pt x="1799" y="592"/>
                  </a:cubicBezTo>
                  <a:cubicBezTo>
                    <a:pt x="1544" y="337"/>
                    <a:pt x="1544" y="337"/>
                    <a:pt x="1544" y="337"/>
                  </a:cubicBezTo>
                  <a:cubicBezTo>
                    <a:pt x="1526" y="319"/>
                    <a:pt x="1496" y="319"/>
                    <a:pt x="1478" y="337"/>
                  </a:cubicBezTo>
                  <a:cubicBezTo>
                    <a:pt x="1441" y="374"/>
                    <a:pt x="1379" y="374"/>
                    <a:pt x="1342" y="337"/>
                  </a:cubicBezTo>
                  <a:cubicBezTo>
                    <a:pt x="1324" y="319"/>
                    <a:pt x="1294" y="319"/>
                    <a:pt x="1276" y="337"/>
                  </a:cubicBezTo>
                  <a:cubicBezTo>
                    <a:pt x="642" y="971"/>
                    <a:pt x="642" y="971"/>
                    <a:pt x="642" y="971"/>
                  </a:cubicBezTo>
                  <a:cubicBezTo>
                    <a:pt x="557" y="971"/>
                    <a:pt x="557" y="971"/>
                    <a:pt x="557" y="971"/>
                  </a:cubicBezTo>
                  <a:lnTo>
                    <a:pt x="1256" y="272"/>
                  </a:lnTo>
                  <a:close/>
                  <a:moveTo>
                    <a:pt x="1119" y="796"/>
                  </a:moveTo>
                  <a:cubicBezTo>
                    <a:pt x="1013" y="796"/>
                    <a:pt x="924" y="871"/>
                    <a:pt x="902" y="971"/>
                  </a:cubicBezTo>
                  <a:cubicBezTo>
                    <a:pt x="773" y="971"/>
                    <a:pt x="773" y="971"/>
                    <a:pt x="773" y="971"/>
                  </a:cubicBezTo>
                  <a:cubicBezTo>
                    <a:pt x="1313" y="431"/>
                    <a:pt x="1313" y="431"/>
                    <a:pt x="1313" y="431"/>
                  </a:cubicBezTo>
                  <a:cubicBezTo>
                    <a:pt x="1372" y="467"/>
                    <a:pt x="1447" y="467"/>
                    <a:pt x="1507" y="431"/>
                  </a:cubicBezTo>
                  <a:cubicBezTo>
                    <a:pt x="1704" y="629"/>
                    <a:pt x="1704" y="629"/>
                    <a:pt x="1704" y="629"/>
                  </a:cubicBezTo>
                  <a:cubicBezTo>
                    <a:pt x="1669" y="688"/>
                    <a:pt x="1669" y="763"/>
                    <a:pt x="1704" y="823"/>
                  </a:cubicBezTo>
                  <a:cubicBezTo>
                    <a:pt x="1556" y="971"/>
                    <a:pt x="1556" y="971"/>
                    <a:pt x="1556" y="971"/>
                  </a:cubicBezTo>
                  <a:cubicBezTo>
                    <a:pt x="1336" y="971"/>
                    <a:pt x="1336" y="971"/>
                    <a:pt x="1336" y="971"/>
                  </a:cubicBezTo>
                  <a:cubicBezTo>
                    <a:pt x="1314" y="871"/>
                    <a:pt x="1225" y="796"/>
                    <a:pt x="1119" y="796"/>
                  </a:cubicBezTo>
                  <a:close/>
                  <a:moveTo>
                    <a:pt x="1239" y="971"/>
                  </a:moveTo>
                  <a:cubicBezTo>
                    <a:pt x="999" y="971"/>
                    <a:pt x="999" y="971"/>
                    <a:pt x="999" y="971"/>
                  </a:cubicBezTo>
                  <a:cubicBezTo>
                    <a:pt x="1018" y="923"/>
                    <a:pt x="1065" y="889"/>
                    <a:pt x="1119" y="889"/>
                  </a:cubicBezTo>
                  <a:cubicBezTo>
                    <a:pt x="1173" y="889"/>
                    <a:pt x="1220" y="923"/>
                    <a:pt x="1239" y="971"/>
                  </a:cubicBezTo>
                  <a:close/>
                  <a:moveTo>
                    <a:pt x="507" y="889"/>
                  </a:moveTo>
                  <a:cubicBezTo>
                    <a:pt x="631" y="429"/>
                    <a:pt x="631" y="429"/>
                    <a:pt x="631" y="429"/>
                  </a:cubicBezTo>
                  <a:cubicBezTo>
                    <a:pt x="664" y="430"/>
                    <a:pt x="698" y="421"/>
                    <a:pt x="728" y="404"/>
                  </a:cubicBezTo>
                  <a:cubicBezTo>
                    <a:pt x="758" y="386"/>
                    <a:pt x="782" y="362"/>
                    <a:pt x="799" y="332"/>
                  </a:cubicBezTo>
                  <a:cubicBezTo>
                    <a:pt x="1008" y="388"/>
                    <a:pt x="1008" y="388"/>
                    <a:pt x="1008" y="388"/>
                  </a:cubicBezTo>
                  <a:cubicBezTo>
                    <a:pt x="704" y="692"/>
                    <a:pt x="704" y="692"/>
                    <a:pt x="704" y="692"/>
                  </a:cubicBezTo>
                  <a:lnTo>
                    <a:pt x="507" y="889"/>
                  </a:lnTo>
                  <a:close/>
                  <a:moveTo>
                    <a:pt x="558" y="109"/>
                  </a:moveTo>
                  <a:cubicBezTo>
                    <a:pt x="1133" y="263"/>
                    <a:pt x="1133" y="263"/>
                    <a:pt x="1133" y="263"/>
                  </a:cubicBezTo>
                  <a:cubicBezTo>
                    <a:pt x="1084" y="312"/>
                    <a:pt x="1084" y="312"/>
                    <a:pt x="1084" y="312"/>
                  </a:cubicBezTo>
                  <a:cubicBezTo>
                    <a:pt x="783" y="232"/>
                    <a:pt x="783" y="232"/>
                    <a:pt x="783" y="232"/>
                  </a:cubicBezTo>
                  <a:cubicBezTo>
                    <a:pt x="771" y="228"/>
                    <a:pt x="759" y="230"/>
                    <a:pt x="748" y="236"/>
                  </a:cubicBezTo>
                  <a:cubicBezTo>
                    <a:pt x="737" y="242"/>
                    <a:pt x="730" y="253"/>
                    <a:pt x="726" y="265"/>
                  </a:cubicBezTo>
                  <a:cubicBezTo>
                    <a:pt x="720" y="289"/>
                    <a:pt x="704" y="310"/>
                    <a:pt x="681" y="323"/>
                  </a:cubicBezTo>
                  <a:cubicBezTo>
                    <a:pt x="659" y="336"/>
                    <a:pt x="633" y="339"/>
                    <a:pt x="608" y="333"/>
                  </a:cubicBezTo>
                  <a:cubicBezTo>
                    <a:pt x="583" y="326"/>
                    <a:pt x="558" y="341"/>
                    <a:pt x="551" y="366"/>
                  </a:cubicBezTo>
                  <a:cubicBezTo>
                    <a:pt x="389" y="973"/>
                    <a:pt x="389" y="973"/>
                    <a:pt x="389" y="973"/>
                  </a:cubicBezTo>
                  <a:cubicBezTo>
                    <a:pt x="326" y="973"/>
                    <a:pt x="326" y="973"/>
                    <a:pt x="326" y="973"/>
                  </a:cubicBezTo>
                  <a:lnTo>
                    <a:pt x="558" y="109"/>
                  </a:lnTo>
                  <a:close/>
                  <a:moveTo>
                    <a:pt x="196" y="768"/>
                  </a:moveTo>
                  <a:cubicBezTo>
                    <a:pt x="285" y="768"/>
                    <a:pt x="285" y="768"/>
                    <a:pt x="285" y="768"/>
                  </a:cubicBezTo>
                  <a:cubicBezTo>
                    <a:pt x="230" y="973"/>
                    <a:pt x="230" y="973"/>
                    <a:pt x="230" y="973"/>
                  </a:cubicBezTo>
                  <a:cubicBezTo>
                    <a:pt x="196" y="973"/>
                    <a:pt x="196" y="973"/>
                    <a:pt x="196" y="973"/>
                  </a:cubicBezTo>
                  <a:cubicBezTo>
                    <a:pt x="139" y="973"/>
                    <a:pt x="93" y="927"/>
                    <a:pt x="93" y="870"/>
                  </a:cubicBezTo>
                  <a:cubicBezTo>
                    <a:pt x="93" y="814"/>
                    <a:pt x="139" y="768"/>
                    <a:pt x="196" y="768"/>
                  </a:cubicBezTo>
                  <a:close/>
                  <a:moveTo>
                    <a:pt x="2289" y="2154"/>
                  </a:moveTo>
                  <a:cubicBezTo>
                    <a:pt x="2289" y="2231"/>
                    <a:pt x="2226" y="2293"/>
                    <a:pt x="2149" y="2293"/>
                  </a:cubicBezTo>
                  <a:cubicBezTo>
                    <a:pt x="2084" y="2293"/>
                    <a:pt x="2084" y="2293"/>
                    <a:pt x="2084" y="2293"/>
                  </a:cubicBezTo>
                  <a:cubicBezTo>
                    <a:pt x="2113" y="2255"/>
                    <a:pt x="2130" y="2206"/>
                    <a:pt x="2130" y="2154"/>
                  </a:cubicBezTo>
                  <a:cubicBezTo>
                    <a:pt x="2130" y="1967"/>
                    <a:pt x="2130" y="1967"/>
                    <a:pt x="2130" y="1967"/>
                  </a:cubicBezTo>
                  <a:cubicBezTo>
                    <a:pt x="2158" y="1967"/>
                    <a:pt x="2158" y="1967"/>
                    <a:pt x="2158" y="1967"/>
                  </a:cubicBezTo>
                  <a:cubicBezTo>
                    <a:pt x="2207" y="1967"/>
                    <a:pt x="2252" y="1952"/>
                    <a:pt x="2289" y="1925"/>
                  </a:cubicBezTo>
                  <a:lnTo>
                    <a:pt x="2289" y="2154"/>
                  </a:lnTo>
                  <a:close/>
                  <a:moveTo>
                    <a:pt x="2289" y="1744"/>
                  </a:moveTo>
                  <a:cubicBezTo>
                    <a:pt x="2289" y="1816"/>
                    <a:pt x="2230" y="1874"/>
                    <a:pt x="2158" y="1874"/>
                  </a:cubicBezTo>
                  <a:cubicBezTo>
                    <a:pt x="1182" y="1874"/>
                    <a:pt x="1182" y="1874"/>
                    <a:pt x="1182" y="1874"/>
                  </a:cubicBezTo>
                  <a:cubicBezTo>
                    <a:pt x="1074" y="1874"/>
                    <a:pt x="986" y="1787"/>
                    <a:pt x="986" y="1679"/>
                  </a:cubicBezTo>
                  <a:cubicBezTo>
                    <a:pt x="986" y="1571"/>
                    <a:pt x="1074" y="1484"/>
                    <a:pt x="1182" y="1484"/>
                  </a:cubicBezTo>
                  <a:cubicBezTo>
                    <a:pt x="1323" y="1484"/>
                    <a:pt x="1323" y="1484"/>
                    <a:pt x="1323" y="1484"/>
                  </a:cubicBezTo>
                  <a:cubicBezTo>
                    <a:pt x="1348" y="1484"/>
                    <a:pt x="1369" y="1463"/>
                    <a:pt x="1369" y="1437"/>
                  </a:cubicBezTo>
                  <a:cubicBezTo>
                    <a:pt x="1369" y="1411"/>
                    <a:pt x="1348" y="1391"/>
                    <a:pt x="1323" y="1391"/>
                  </a:cubicBezTo>
                  <a:cubicBezTo>
                    <a:pt x="1182" y="1391"/>
                    <a:pt x="1182" y="1391"/>
                    <a:pt x="1182" y="1391"/>
                  </a:cubicBezTo>
                  <a:cubicBezTo>
                    <a:pt x="1023" y="1391"/>
                    <a:pt x="893" y="1520"/>
                    <a:pt x="893" y="1679"/>
                  </a:cubicBezTo>
                  <a:cubicBezTo>
                    <a:pt x="893" y="1838"/>
                    <a:pt x="1023" y="1967"/>
                    <a:pt x="1182" y="1967"/>
                  </a:cubicBezTo>
                  <a:cubicBezTo>
                    <a:pt x="2037" y="1967"/>
                    <a:pt x="2037" y="1967"/>
                    <a:pt x="2037" y="1967"/>
                  </a:cubicBezTo>
                  <a:cubicBezTo>
                    <a:pt x="2037" y="2154"/>
                    <a:pt x="2037" y="2154"/>
                    <a:pt x="2037" y="2154"/>
                  </a:cubicBezTo>
                  <a:cubicBezTo>
                    <a:pt x="2037" y="2230"/>
                    <a:pt x="1976" y="2292"/>
                    <a:pt x="1900" y="2294"/>
                  </a:cubicBezTo>
                  <a:cubicBezTo>
                    <a:pt x="317" y="2294"/>
                    <a:pt x="317" y="2294"/>
                    <a:pt x="317" y="2294"/>
                  </a:cubicBezTo>
                  <a:cubicBezTo>
                    <a:pt x="317" y="1770"/>
                    <a:pt x="317" y="1770"/>
                    <a:pt x="317" y="1770"/>
                  </a:cubicBezTo>
                  <a:cubicBezTo>
                    <a:pt x="317" y="1744"/>
                    <a:pt x="296" y="1723"/>
                    <a:pt x="270" y="1723"/>
                  </a:cubicBezTo>
                  <a:cubicBezTo>
                    <a:pt x="245" y="1723"/>
                    <a:pt x="224" y="1744"/>
                    <a:pt x="224" y="1770"/>
                  </a:cubicBezTo>
                  <a:cubicBezTo>
                    <a:pt x="224" y="2293"/>
                    <a:pt x="224" y="2293"/>
                    <a:pt x="224" y="2293"/>
                  </a:cubicBezTo>
                  <a:cubicBezTo>
                    <a:pt x="151" y="2288"/>
                    <a:pt x="93" y="2228"/>
                    <a:pt x="93" y="2154"/>
                  </a:cubicBezTo>
                  <a:cubicBezTo>
                    <a:pt x="93" y="1037"/>
                    <a:pt x="93" y="1037"/>
                    <a:pt x="93" y="1037"/>
                  </a:cubicBezTo>
                  <a:cubicBezTo>
                    <a:pt x="123" y="1055"/>
                    <a:pt x="158" y="1066"/>
                    <a:pt x="196" y="1066"/>
                  </a:cubicBezTo>
                  <a:cubicBezTo>
                    <a:pt x="1898" y="1066"/>
                    <a:pt x="1898" y="1066"/>
                    <a:pt x="1898" y="1066"/>
                  </a:cubicBezTo>
                  <a:cubicBezTo>
                    <a:pt x="1975" y="1066"/>
                    <a:pt x="2037" y="1128"/>
                    <a:pt x="2037" y="1205"/>
                  </a:cubicBezTo>
                  <a:cubicBezTo>
                    <a:pt x="2037" y="1391"/>
                    <a:pt x="2037" y="1391"/>
                    <a:pt x="2037" y="1391"/>
                  </a:cubicBezTo>
                  <a:cubicBezTo>
                    <a:pt x="1701" y="1391"/>
                    <a:pt x="1701" y="1391"/>
                    <a:pt x="1701" y="1391"/>
                  </a:cubicBezTo>
                  <a:cubicBezTo>
                    <a:pt x="1675" y="1391"/>
                    <a:pt x="1655" y="1411"/>
                    <a:pt x="1655" y="1437"/>
                  </a:cubicBezTo>
                  <a:cubicBezTo>
                    <a:pt x="1655" y="1463"/>
                    <a:pt x="1675" y="1484"/>
                    <a:pt x="1701" y="1484"/>
                  </a:cubicBezTo>
                  <a:cubicBezTo>
                    <a:pt x="2178" y="1484"/>
                    <a:pt x="2178" y="1484"/>
                    <a:pt x="2178" y="1484"/>
                  </a:cubicBezTo>
                  <a:cubicBezTo>
                    <a:pt x="2219" y="1484"/>
                    <a:pt x="2257" y="1472"/>
                    <a:pt x="2289" y="1451"/>
                  </a:cubicBezTo>
                  <a:cubicBezTo>
                    <a:pt x="2289" y="1744"/>
                    <a:pt x="2289" y="1744"/>
                    <a:pt x="2289" y="17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7" name="Freeform 27">
              <a:extLst>
                <a:ext uri="{FF2B5EF4-FFF2-40B4-BE49-F238E27FC236}">
                  <a16:creationId xmlns:a16="http://schemas.microsoft.com/office/drawing/2014/main" id="{D190AE6C-CF6C-AEDC-9A9E-3115BD657D85}"/>
                </a:ext>
              </a:extLst>
            </p:cNvPr>
            <p:cNvSpPr>
              <a:spLocks/>
            </p:cNvSpPr>
            <p:nvPr/>
          </p:nvSpPr>
          <p:spPr bwMode="auto">
            <a:xfrm>
              <a:off x="2247900" y="5095875"/>
              <a:ext cx="30163" cy="30163"/>
            </a:xfrm>
            <a:custGeom>
              <a:avLst/>
              <a:gdLst>
                <a:gd name="T0" fmla="*/ 79 w 93"/>
                <a:gd name="T1" fmla="*/ 14 h 93"/>
                <a:gd name="T2" fmla="*/ 46 w 93"/>
                <a:gd name="T3" fmla="*/ 0 h 93"/>
                <a:gd name="T4" fmla="*/ 13 w 93"/>
                <a:gd name="T5" fmla="*/ 14 h 93"/>
                <a:gd name="T6" fmla="*/ 0 w 93"/>
                <a:gd name="T7" fmla="*/ 46 h 93"/>
                <a:gd name="T8" fmla="*/ 13 w 93"/>
                <a:gd name="T9" fmla="*/ 79 h 93"/>
                <a:gd name="T10" fmla="*/ 46 w 93"/>
                <a:gd name="T11" fmla="*/ 93 h 93"/>
                <a:gd name="T12" fmla="*/ 79 w 93"/>
                <a:gd name="T13" fmla="*/ 79 h 93"/>
                <a:gd name="T14" fmla="*/ 93 w 93"/>
                <a:gd name="T15" fmla="*/ 46 h 93"/>
                <a:gd name="T16" fmla="*/ 79 w 93"/>
                <a:gd name="T17" fmla="*/ 14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3" h="93">
                  <a:moveTo>
                    <a:pt x="79" y="14"/>
                  </a:moveTo>
                  <a:cubicBezTo>
                    <a:pt x="70" y="5"/>
                    <a:pt x="58" y="0"/>
                    <a:pt x="46" y="0"/>
                  </a:cubicBezTo>
                  <a:cubicBezTo>
                    <a:pt x="34" y="0"/>
                    <a:pt x="22" y="5"/>
                    <a:pt x="13" y="14"/>
                  </a:cubicBezTo>
                  <a:cubicBezTo>
                    <a:pt x="5" y="22"/>
                    <a:pt x="0" y="34"/>
                    <a:pt x="0" y="46"/>
                  </a:cubicBezTo>
                  <a:cubicBezTo>
                    <a:pt x="0" y="59"/>
                    <a:pt x="5" y="71"/>
                    <a:pt x="13" y="79"/>
                  </a:cubicBezTo>
                  <a:cubicBezTo>
                    <a:pt x="22" y="88"/>
                    <a:pt x="34" y="93"/>
                    <a:pt x="46" y="93"/>
                  </a:cubicBezTo>
                  <a:cubicBezTo>
                    <a:pt x="58" y="93"/>
                    <a:pt x="70" y="88"/>
                    <a:pt x="79" y="79"/>
                  </a:cubicBezTo>
                  <a:cubicBezTo>
                    <a:pt x="88" y="71"/>
                    <a:pt x="93" y="59"/>
                    <a:pt x="93" y="46"/>
                  </a:cubicBezTo>
                  <a:cubicBezTo>
                    <a:pt x="93" y="34"/>
                    <a:pt x="88" y="22"/>
                    <a:pt x="79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8B9A9864-3D98-F25D-F8FB-74099ABC19DB}"/>
              </a:ext>
            </a:extLst>
          </p:cNvPr>
          <p:cNvGrpSpPr/>
          <p:nvPr/>
        </p:nvGrpSpPr>
        <p:grpSpPr>
          <a:xfrm>
            <a:off x="7156843" y="2539617"/>
            <a:ext cx="445867" cy="445803"/>
            <a:chOff x="-56745188" y="-7202488"/>
            <a:chExt cx="21274088" cy="21270914"/>
          </a:xfrm>
          <a:solidFill>
            <a:schemeClr val="bg1"/>
          </a:solidFill>
        </p:grpSpPr>
        <p:sp>
          <p:nvSpPr>
            <p:cNvPr id="89" name="Freeform 36">
              <a:extLst>
                <a:ext uri="{FF2B5EF4-FFF2-40B4-BE49-F238E27FC236}">
                  <a16:creationId xmlns:a16="http://schemas.microsoft.com/office/drawing/2014/main" id="{6955EBD8-92C5-EFCC-927C-EFB670FF7F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4689713" y="2014538"/>
              <a:ext cx="9218613" cy="12053888"/>
            </a:xfrm>
            <a:custGeom>
              <a:avLst/>
              <a:gdLst>
                <a:gd name="T0" fmla="*/ 2173 w 2457"/>
                <a:gd name="T1" fmla="*/ 0 h 3213"/>
                <a:gd name="T2" fmla="*/ 283 w 2457"/>
                <a:gd name="T3" fmla="*/ 0 h 3213"/>
                <a:gd name="T4" fmla="*/ 0 w 2457"/>
                <a:gd name="T5" fmla="*/ 284 h 3213"/>
                <a:gd name="T6" fmla="*/ 0 w 2457"/>
                <a:gd name="T7" fmla="*/ 2929 h 3213"/>
                <a:gd name="T8" fmla="*/ 283 w 2457"/>
                <a:gd name="T9" fmla="*/ 3213 h 3213"/>
                <a:gd name="T10" fmla="*/ 2173 w 2457"/>
                <a:gd name="T11" fmla="*/ 3213 h 3213"/>
                <a:gd name="T12" fmla="*/ 2457 w 2457"/>
                <a:gd name="T13" fmla="*/ 2929 h 3213"/>
                <a:gd name="T14" fmla="*/ 2457 w 2457"/>
                <a:gd name="T15" fmla="*/ 284 h 3213"/>
                <a:gd name="T16" fmla="*/ 2173 w 2457"/>
                <a:gd name="T17" fmla="*/ 0 h 3213"/>
                <a:gd name="T18" fmla="*/ 1134 w 2457"/>
                <a:gd name="T19" fmla="*/ 3024 h 3213"/>
                <a:gd name="T20" fmla="*/ 283 w 2457"/>
                <a:gd name="T21" fmla="*/ 3024 h 3213"/>
                <a:gd name="T22" fmla="*/ 189 w 2457"/>
                <a:gd name="T23" fmla="*/ 2929 h 3213"/>
                <a:gd name="T24" fmla="*/ 189 w 2457"/>
                <a:gd name="T25" fmla="*/ 2268 h 3213"/>
                <a:gd name="T26" fmla="*/ 1134 w 2457"/>
                <a:gd name="T27" fmla="*/ 2268 h 3213"/>
                <a:gd name="T28" fmla="*/ 1134 w 2457"/>
                <a:gd name="T29" fmla="*/ 3024 h 3213"/>
                <a:gd name="T30" fmla="*/ 1134 w 2457"/>
                <a:gd name="T31" fmla="*/ 2079 h 3213"/>
                <a:gd name="T32" fmla="*/ 189 w 2457"/>
                <a:gd name="T33" fmla="*/ 2079 h 3213"/>
                <a:gd name="T34" fmla="*/ 189 w 2457"/>
                <a:gd name="T35" fmla="*/ 1323 h 3213"/>
                <a:gd name="T36" fmla="*/ 1134 w 2457"/>
                <a:gd name="T37" fmla="*/ 1323 h 3213"/>
                <a:gd name="T38" fmla="*/ 1134 w 2457"/>
                <a:gd name="T39" fmla="*/ 2079 h 3213"/>
                <a:gd name="T40" fmla="*/ 2268 w 2457"/>
                <a:gd name="T41" fmla="*/ 2929 h 3213"/>
                <a:gd name="T42" fmla="*/ 2173 w 2457"/>
                <a:gd name="T43" fmla="*/ 3024 h 3213"/>
                <a:gd name="T44" fmla="*/ 1323 w 2457"/>
                <a:gd name="T45" fmla="*/ 3024 h 3213"/>
                <a:gd name="T46" fmla="*/ 1323 w 2457"/>
                <a:gd name="T47" fmla="*/ 2268 h 3213"/>
                <a:gd name="T48" fmla="*/ 2268 w 2457"/>
                <a:gd name="T49" fmla="*/ 2268 h 3213"/>
                <a:gd name="T50" fmla="*/ 2268 w 2457"/>
                <a:gd name="T51" fmla="*/ 2929 h 3213"/>
                <a:gd name="T52" fmla="*/ 2268 w 2457"/>
                <a:gd name="T53" fmla="*/ 2079 h 3213"/>
                <a:gd name="T54" fmla="*/ 1323 w 2457"/>
                <a:gd name="T55" fmla="*/ 2079 h 3213"/>
                <a:gd name="T56" fmla="*/ 1323 w 2457"/>
                <a:gd name="T57" fmla="*/ 1323 h 3213"/>
                <a:gd name="T58" fmla="*/ 2268 w 2457"/>
                <a:gd name="T59" fmla="*/ 1323 h 3213"/>
                <a:gd name="T60" fmla="*/ 2268 w 2457"/>
                <a:gd name="T61" fmla="*/ 2079 h 3213"/>
                <a:gd name="T62" fmla="*/ 2268 w 2457"/>
                <a:gd name="T63" fmla="*/ 1134 h 3213"/>
                <a:gd name="T64" fmla="*/ 189 w 2457"/>
                <a:gd name="T65" fmla="*/ 1134 h 3213"/>
                <a:gd name="T66" fmla="*/ 189 w 2457"/>
                <a:gd name="T67" fmla="*/ 284 h 3213"/>
                <a:gd name="T68" fmla="*/ 283 w 2457"/>
                <a:gd name="T69" fmla="*/ 189 h 3213"/>
                <a:gd name="T70" fmla="*/ 2173 w 2457"/>
                <a:gd name="T71" fmla="*/ 189 h 3213"/>
                <a:gd name="T72" fmla="*/ 2268 w 2457"/>
                <a:gd name="T73" fmla="*/ 284 h 3213"/>
                <a:gd name="T74" fmla="*/ 2268 w 2457"/>
                <a:gd name="T75" fmla="*/ 1134 h 3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457" h="3213">
                  <a:moveTo>
                    <a:pt x="2173" y="0"/>
                  </a:moveTo>
                  <a:cubicBezTo>
                    <a:pt x="283" y="0"/>
                    <a:pt x="283" y="0"/>
                    <a:pt x="283" y="0"/>
                  </a:cubicBezTo>
                  <a:cubicBezTo>
                    <a:pt x="127" y="0"/>
                    <a:pt x="0" y="127"/>
                    <a:pt x="0" y="284"/>
                  </a:cubicBezTo>
                  <a:cubicBezTo>
                    <a:pt x="0" y="2929"/>
                    <a:pt x="0" y="2929"/>
                    <a:pt x="0" y="2929"/>
                  </a:cubicBezTo>
                  <a:cubicBezTo>
                    <a:pt x="0" y="3086"/>
                    <a:pt x="127" y="3213"/>
                    <a:pt x="283" y="3213"/>
                  </a:cubicBezTo>
                  <a:cubicBezTo>
                    <a:pt x="2173" y="3213"/>
                    <a:pt x="2173" y="3213"/>
                    <a:pt x="2173" y="3213"/>
                  </a:cubicBezTo>
                  <a:cubicBezTo>
                    <a:pt x="2330" y="3213"/>
                    <a:pt x="2457" y="3086"/>
                    <a:pt x="2457" y="2929"/>
                  </a:cubicBezTo>
                  <a:cubicBezTo>
                    <a:pt x="2457" y="284"/>
                    <a:pt x="2457" y="284"/>
                    <a:pt x="2457" y="284"/>
                  </a:cubicBezTo>
                  <a:cubicBezTo>
                    <a:pt x="2457" y="127"/>
                    <a:pt x="2330" y="0"/>
                    <a:pt x="2173" y="0"/>
                  </a:cubicBezTo>
                  <a:close/>
                  <a:moveTo>
                    <a:pt x="1134" y="3024"/>
                  </a:moveTo>
                  <a:cubicBezTo>
                    <a:pt x="283" y="3024"/>
                    <a:pt x="283" y="3024"/>
                    <a:pt x="283" y="3024"/>
                  </a:cubicBezTo>
                  <a:cubicBezTo>
                    <a:pt x="231" y="3024"/>
                    <a:pt x="189" y="2981"/>
                    <a:pt x="189" y="2929"/>
                  </a:cubicBezTo>
                  <a:cubicBezTo>
                    <a:pt x="189" y="2268"/>
                    <a:pt x="189" y="2268"/>
                    <a:pt x="189" y="2268"/>
                  </a:cubicBezTo>
                  <a:cubicBezTo>
                    <a:pt x="1134" y="2268"/>
                    <a:pt x="1134" y="2268"/>
                    <a:pt x="1134" y="2268"/>
                  </a:cubicBezTo>
                  <a:lnTo>
                    <a:pt x="1134" y="3024"/>
                  </a:lnTo>
                  <a:close/>
                  <a:moveTo>
                    <a:pt x="1134" y="2079"/>
                  </a:moveTo>
                  <a:cubicBezTo>
                    <a:pt x="189" y="2079"/>
                    <a:pt x="189" y="2079"/>
                    <a:pt x="189" y="2079"/>
                  </a:cubicBezTo>
                  <a:cubicBezTo>
                    <a:pt x="189" y="1323"/>
                    <a:pt x="189" y="1323"/>
                    <a:pt x="189" y="1323"/>
                  </a:cubicBezTo>
                  <a:cubicBezTo>
                    <a:pt x="1134" y="1323"/>
                    <a:pt x="1134" y="1323"/>
                    <a:pt x="1134" y="1323"/>
                  </a:cubicBezTo>
                  <a:lnTo>
                    <a:pt x="1134" y="2079"/>
                  </a:lnTo>
                  <a:close/>
                  <a:moveTo>
                    <a:pt x="2268" y="2929"/>
                  </a:moveTo>
                  <a:cubicBezTo>
                    <a:pt x="2268" y="2981"/>
                    <a:pt x="2225" y="3024"/>
                    <a:pt x="2173" y="3024"/>
                  </a:cubicBezTo>
                  <a:cubicBezTo>
                    <a:pt x="1323" y="3024"/>
                    <a:pt x="1323" y="3024"/>
                    <a:pt x="1323" y="3024"/>
                  </a:cubicBezTo>
                  <a:cubicBezTo>
                    <a:pt x="1323" y="2268"/>
                    <a:pt x="1323" y="2268"/>
                    <a:pt x="1323" y="2268"/>
                  </a:cubicBezTo>
                  <a:cubicBezTo>
                    <a:pt x="2268" y="2268"/>
                    <a:pt x="2268" y="2268"/>
                    <a:pt x="2268" y="2268"/>
                  </a:cubicBezTo>
                  <a:lnTo>
                    <a:pt x="2268" y="2929"/>
                  </a:lnTo>
                  <a:close/>
                  <a:moveTo>
                    <a:pt x="2268" y="2079"/>
                  </a:moveTo>
                  <a:cubicBezTo>
                    <a:pt x="1323" y="2079"/>
                    <a:pt x="1323" y="2079"/>
                    <a:pt x="1323" y="2079"/>
                  </a:cubicBezTo>
                  <a:cubicBezTo>
                    <a:pt x="1323" y="1323"/>
                    <a:pt x="1323" y="1323"/>
                    <a:pt x="1323" y="1323"/>
                  </a:cubicBezTo>
                  <a:cubicBezTo>
                    <a:pt x="2268" y="1323"/>
                    <a:pt x="2268" y="1323"/>
                    <a:pt x="2268" y="1323"/>
                  </a:cubicBezTo>
                  <a:lnTo>
                    <a:pt x="2268" y="2079"/>
                  </a:lnTo>
                  <a:close/>
                  <a:moveTo>
                    <a:pt x="2268" y="1134"/>
                  </a:moveTo>
                  <a:cubicBezTo>
                    <a:pt x="189" y="1134"/>
                    <a:pt x="189" y="1134"/>
                    <a:pt x="189" y="1134"/>
                  </a:cubicBezTo>
                  <a:cubicBezTo>
                    <a:pt x="189" y="284"/>
                    <a:pt x="189" y="284"/>
                    <a:pt x="189" y="284"/>
                  </a:cubicBezTo>
                  <a:cubicBezTo>
                    <a:pt x="189" y="231"/>
                    <a:pt x="231" y="189"/>
                    <a:pt x="283" y="189"/>
                  </a:cubicBezTo>
                  <a:cubicBezTo>
                    <a:pt x="2173" y="189"/>
                    <a:pt x="2173" y="189"/>
                    <a:pt x="2173" y="189"/>
                  </a:cubicBezTo>
                  <a:cubicBezTo>
                    <a:pt x="2225" y="189"/>
                    <a:pt x="2268" y="231"/>
                    <a:pt x="2268" y="284"/>
                  </a:cubicBezTo>
                  <a:lnTo>
                    <a:pt x="2268" y="11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0" name="Freeform 37">
              <a:extLst>
                <a:ext uri="{FF2B5EF4-FFF2-40B4-BE49-F238E27FC236}">
                  <a16:creationId xmlns:a16="http://schemas.microsoft.com/office/drawing/2014/main" id="{E1FC806B-F305-FDD4-B0D9-61760FCC369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3272075" y="3432175"/>
              <a:ext cx="6381750" cy="2127250"/>
            </a:xfrm>
            <a:custGeom>
              <a:avLst/>
              <a:gdLst>
                <a:gd name="T0" fmla="*/ 1606 w 1701"/>
                <a:gd name="T1" fmla="*/ 0 h 567"/>
                <a:gd name="T2" fmla="*/ 94 w 1701"/>
                <a:gd name="T3" fmla="*/ 0 h 567"/>
                <a:gd name="T4" fmla="*/ 0 w 1701"/>
                <a:gd name="T5" fmla="*/ 94 h 567"/>
                <a:gd name="T6" fmla="*/ 0 w 1701"/>
                <a:gd name="T7" fmla="*/ 472 h 567"/>
                <a:gd name="T8" fmla="*/ 94 w 1701"/>
                <a:gd name="T9" fmla="*/ 567 h 567"/>
                <a:gd name="T10" fmla="*/ 1606 w 1701"/>
                <a:gd name="T11" fmla="*/ 567 h 567"/>
                <a:gd name="T12" fmla="*/ 1701 w 1701"/>
                <a:gd name="T13" fmla="*/ 472 h 567"/>
                <a:gd name="T14" fmla="*/ 1701 w 1701"/>
                <a:gd name="T15" fmla="*/ 94 h 567"/>
                <a:gd name="T16" fmla="*/ 1606 w 1701"/>
                <a:gd name="T17" fmla="*/ 0 h 567"/>
                <a:gd name="T18" fmla="*/ 1512 w 1701"/>
                <a:gd name="T19" fmla="*/ 378 h 567"/>
                <a:gd name="T20" fmla="*/ 189 w 1701"/>
                <a:gd name="T21" fmla="*/ 378 h 567"/>
                <a:gd name="T22" fmla="*/ 189 w 1701"/>
                <a:gd name="T23" fmla="*/ 189 h 567"/>
                <a:gd name="T24" fmla="*/ 1512 w 1701"/>
                <a:gd name="T25" fmla="*/ 189 h 567"/>
                <a:gd name="T26" fmla="*/ 1512 w 1701"/>
                <a:gd name="T27" fmla="*/ 378 h 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01" h="567">
                  <a:moveTo>
                    <a:pt x="1606" y="0"/>
                  </a:moveTo>
                  <a:cubicBezTo>
                    <a:pt x="94" y="0"/>
                    <a:pt x="94" y="0"/>
                    <a:pt x="94" y="0"/>
                  </a:cubicBezTo>
                  <a:cubicBezTo>
                    <a:pt x="42" y="0"/>
                    <a:pt x="0" y="42"/>
                    <a:pt x="0" y="94"/>
                  </a:cubicBezTo>
                  <a:cubicBezTo>
                    <a:pt x="0" y="472"/>
                    <a:pt x="0" y="472"/>
                    <a:pt x="0" y="472"/>
                  </a:cubicBezTo>
                  <a:cubicBezTo>
                    <a:pt x="0" y="525"/>
                    <a:pt x="42" y="567"/>
                    <a:pt x="94" y="567"/>
                  </a:cubicBezTo>
                  <a:cubicBezTo>
                    <a:pt x="1606" y="567"/>
                    <a:pt x="1606" y="567"/>
                    <a:pt x="1606" y="567"/>
                  </a:cubicBezTo>
                  <a:cubicBezTo>
                    <a:pt x="1658" y="567"/>
                    <a:pt x="1701" y="525"/>
                    <a:pt x="1701" y="472"/>
                  </a:cubicBezTo>
                  <a:cubicBezTo>
                    <a:pt x="1701" y="94"/>
                    <a:pt x="1701" y="94"/>
                    <a:pt x="1701" y="94"/>
                  </a:cubicBezTo>
                  <a:cubicBezTo>
                    <a:pt x="1701" y="42"/>
                    <a:pt x="1658" y="0"/>
                    <a:pt x="1606" y="0"/>
                  </a:cubicBezTo>
                  <a:close/>
                  <a:moveTo>
                    <a:pt x="1512" y="378"/>
                  </a:moveTo>
                  <a:cubicBezTo>
                    <a:pt x="189" y="378"/>
                    <a:pt x="189" y="378"/>
                    <a:pt x="189" y="378"/>
                  </a:cubicBezTo>
                  <a:cubicBezTo>
                    <a:pt x="189" y="189"/>
                    <a:pt x="189" y="189"/>
                    <a:pt x="189" y="189"/>
                  </a:cubicBezTo>
                  <a:cubicBezTo>
                    <a:pt x="1512" y="189"/>
                    <a:pt x="1512" y="189"/>
                    <a:pt x="1512" y="189"/>
                  </a:cubicBezTo>
                  <a:lnTo>
                    <a:pt x="1512" y="3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1" name="Freeform 38">
              <a:extLst>
                <a:ext uri="{FF2B5EF4-FFF2-40B4-BE49-F238E27FC236}">
                  <a16:creationId xmlns:a16="http://schemas.microsoft.com/office/drawing/2014/main" id="{BF032936-D164-5060-4C7A-5D09DD2F1631}"/>
                </a:ext>
              </a:extLst>
            </p:cNvPr>
            <p:cNvSpPr>
              <a:spLocks/>
            </p:cNvSpPr>
            <p:nvPr/>
          </p:nvSpPr>
          <p:spPr bwMode="auto">
            <a:xfrm>
              <a:off x="-43272075" y="7331075"/>
              <a:ext cx="2127250" cy="2127250"/>
            </a:xfrm>
            <a:custGeom>
              <a:avLst/>
              <a:gdLst>
                <a:gd name="T0" fmla="*/ 893 w 1340"/>
                <a:gd name="T1" fmla="*/ 447 h 1340"/>
                <a:gd name="T2" fmla="*/ 893 w 1340"/>
                <a:gd name="T3" fmla="*/ 0 h 1340"/>
                <a:gd name="T4" fmla="*/ 447 w 1340"/>
                <a:gd name="T5" fmla="*/ 0 h 1340"/>
                <a:gd name="T6" fmla="*/ 447 w 1340"/>
                <a:gd name="T7" fmla="*/ 447 h 1340"/>
                <a:gd name="T8" fmla="*/ 0 w 1340"/>
                <a:gd name="T9" fmla="*/ 447 h 1340"/>
                <a:gd name="T10" fmla="*/ 0 w 1340"/>
                <a:gd name="T11" fmla="*/ 893 h 1340"/>
                <a:gd name="T12" fmla="*/ 447 w 1340"/>
                <a:gd name="T13" fmla="*/ 893 h 1340"/>
                <a:gd name="T14" fmla="*/ 447 w 1340"/>
                <a:gd name="T15" fmla="*/ 1340 h 1340"/>
                <a:gd name="T16" fmla="*/ 893 w 1340"/>
                <a:gd name="T17" fmla="*/ 1340 h 1340"/>
                <a:gd name="T18" fmla="*/ 893 w 1340"/>
                <a:gd name="T19" fmla="*/ 893 h 1340"/>
                <a:gd name="T20" fmla="*/ 1340 w 1340"/>
                <a:gd name="T21" fmla="*/ 893 h 1340"/>
                <a:gd name="T22" fmla="*/ 1340 w 1340"/>
                <a:gd name="T23" fmla="*/ 447 h 1340"/>
                <a:gd name="T24" fmla="*/ 893 w 1340"/>
                <a:gd name="T25" fmla="*/ 447 h 1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40" h="1340">
                  <a:moveTo>
                    <a:pt x="893" y="447"/>
                  </a:moveTo>
                  <a:lnTo>
                    <a:pt x="893" y="0"/>
                  </a:lnTo>
                  <a:lnTo>
                    <a:pt x="447" y="0"/>
                  </a:lnTo>
                  <a:lnTo>
                    <a:pt x="447" y="447"/>
                  </a:lnTo>
                  <a:lnTo>
                    <a:pt x="0" y="447"/>
                  </a:lnTo>
                  <a:lnTo>
                    <a:pt x="0" y="893"/>
                  </a:lnTo>
                  <a:lnTo>
                    <a:pt x="447" y="893"/>
                  </a:lnTo>
                  <a:lnTo>
                    <a:pt x="447" y="1340"/>
                  </a:lnTo>
                  <a:lnTo>
                    <a:pt x="893" y="1340"/>
                  </a:lnTo>
                  <a:lnTo>
                    <a:pt x="893" y="893"/>
                  </a:lnTo>
                  <a:lnTo>
                    <a:pt x="1340" y="893"/>
                  </a:lnTo>
                  <a:lnTo>
                    <a:pt x="1340" y="447"/>
                  </a:lnTo>
                  <a:lnTo>
                    <a:pt x="893" y="44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2" name="Rectangle 39">
              <a:extLst>
                <a:ext uri="{FF2B5EF4-FFF2-40B4-BE49-F238E27FC236}">
                  <a16:creationId xmlns:a16="http://schemas.microsoft.com/office/drawing/2014/main" id="{C70AE873-5B03-C849-71CE-A3DCFF18A2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39017575" y="8040688"/>
              <a:ext cx="2127250" cy="7080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3" name="Freeform 40">
              <a:extLst>
                <a:ext uri="{FF2B5EF4-FFF2-40B4-BE49-F238E27FC236}">
                  <a16:creationId xmlns:a16="http://schemas.microsoft.com/office/drawing/2014/main" id="{F54A9A64-BABA-2C36-D644-797160587B80}"/>
                </a:ext>
              </a:extLst>
            </p:cNvPr>
            <p:cNvSpPr>
              <a:spLocks/>
            </p:cNvSpPr>
            <p:nvPr/>
          </p:nvSpPr>
          <p:spPr bwMode="auto">
            <a:xfrm>
              <a:off x="-43211750" y="10980738"/>
              <a:ext cx="2006600" cy="2003425"/>
            </a:xfrm>
            <a:custGeom>
              <a:avLst/>
              <a:gdLst>
                <a:gd name="T0" fmla="*/ 1264 w 1264"/>
                <a:gd name="T1" fmla="*/ 317 h 1262"/>
                <a:gd name="T2" fmla="*/ 947 w 1264"/>
                <a:gd name="T3" fmla="*/ 0 h 1262"/>
                <a:gd name="T4" fmla="*/ 631 w 1264"/>
                <a:gd name="T5" fmla="*/ 317 h 1262"/>
                <a:gd name="T6" fmla="*/ 316 w 1264"/>
                <a:gd name="T7" fmla="*/ 0 h 1262"/>
                <a:gd name="T8" fmla="*/ 0 w 1264"/>
                <a:gd name="T9" fmla="*/ 317 h 1262"/>
                <a:gd name="T10" fmla="*/ 316 w 1264"/>
                <a:gd name="T11" fmla="*/ 631 h 1262"/>
                <a:gd name="T12" fmla="*/ 0 w 1264"/>
                <a:gd name="T13" fmla="*/ 948 h 1262"/>
                <a:gd name="T14" fmla="*/ 316 w 1264"/>
                <a:gd name="T15" fmla="*/ 1262 h 1262"/>
                <a:gd name="T16" fmla="*/ 631 w 1264"/>
                <a:gd name="T17" fmla="*/ 948 h 1262"/>
                <a:gd name="T18" fmla="*/ 947 w 1264"/>
                <a:gd name="T19" fmla="*/ 1262 h 1262"/>
                <a:gd name="T20" fmla="*/ 1264 w 1264"/>
                <a:gd name="T21" fmla="*/ 948 h 1262"/>
                <a:gd name="T22" fmla="*/ 947 w 1264"/>
                <a:gd name="T23" fmla="*/ 631 h 1262"/>
                <a:gd name="T24" fmla="*/ 1264 w 1264"/>
                <a:gd name="T25" fmla="*/ 317 h 1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64" h="1262">
                  <a:moveTo>
                    <a:pt x="1264" y="317"/>
                  </a:moveTo>
                  <a:lnTo>
                    <a:pt x="947" y="0"/>
                  </a:lnTo>
                  <a:lnTo>
                    <a:pt x="631" y="317"/>
                  </a:lnTo>
                  <a:lnTo>
                    <a:pt x="316" y="0"/>
                  </a:lnTo>
                  <a:lnTo>
                    <a:pt x="0" y="317"/>
                  </a:lnTo>
                  <a:lnTo>
                    <a:pt x="316" y="631"/>
                  </a:lnTo>
                  <a:lnTo>
                    <a:pt x="0" y="948"/>
                  </a:lnTo>
                  <a:lnTo>
                    <a:pt x="316" y="1262"/>
                  </a:lnTo>
                  <a:lnTo>
                    <a:pt x="631" y="948"/>
                  </a:lnTo>
                  <a:lnTo>
                    <a:pt x="947" y="1262"/>
                  </a:lnTo>
                  <a:lnTo>
                    <a:pt x="1264" y="948"/>
                  </a:lnTo>
                  <a:lnTo>
                    <a:pt x="947" y="631"/>
                  </a:lnTo>
                  <a:lnTo>
                    <a:pt x="1264" y="3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4" name="Rectangle 41">
              <a:extLst>
                <a:ext uri="{FF2B5EF4-FFF2-40B4-BE49-F238E27FC236}">
                  <a16:creationId xmlns:a16="http://schemas.microsoft.com/office/drawing/2014/main" id="{493359B4-4EBC-E0B7-3B88-FB131D584D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39017575" y="11585575"/>
              <a:ext cx="2127250" cy="7096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5" name="Rectangle 42">
              <a:extLst>
                <a:ext uri="{FF2B5EF4-FFF2-40B4-BE49-F238E27FC236}">
                  <a16:creationId xmlns:a16="http://schemas.microsoft.com/office/drawing/2014/main" id="{F74607AE-B27D-68CE-C937-D66345DC65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38307963" y="12471400"/>
              <a:ext cx="708025" cy="3556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6" name="Rectangle 43">
              <a:extLst>
                <a:ext uri="{FF2B5EF4-FFF2-40B4-BE49-F238E27FC236}">
                  <a16:creationId xmlns:a16="http://schemas.microsoft.com/office/drawing/2014/main" id="{7B7E8482-1C45-2F16-7443-02CA6A3E45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38307963" y="11052175"/>
              <a:ext cx="708025" cy="3571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7" name="Freeform 44">
              <a:extLst>
                <a:ext uri="{FF2B5EF4-FFF2-40B4-BE49-F238E27FC236}">
                  <a16:creationId xmlns:a16="http://schemas.microsoft.com/office/drawing/2014/main" id="{944A8A0B-7A4F-03C6-08CD-59990C4B11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6745188" y="-7202488"/>
              <a:ext cx="14890750" cy="21270913"/>
            </a:xfrm>
            <a:custGeom>
              <a:avLst/>
              <a:gdLst>
                <a:gd name="T0" fmla="*/ 1040 w 3969"/>
                <a:gd name="T1" fmla="*/ 0 h 5670"/>
                <a:gd name="T2" fmla="*/ 973 w 3969"/>
                <a:gd name="T3" fmla="*/ 28 h 5670"/>
                <a:gd name="T4" fmla="*/ 1 w 3969"/>
                <a:gd name="T5" fmla="*/ 1040 h 5670"/>
                <a:gd name="T6" fmla="*/ 0 w 3969"/>
                <a:gd name="T7" fmla="*/ 5481 h 5670"/>
                <a:gd name="T8" fmla="*/ 3024 w 3969"/>
                <a:gd name="T9" fmla="*/ 5670 h 5670"/>
                <a:gd name="T10" fmla="*/ 2457 w 3969"/>
                <a:gd name="T11" fmla="*/ 5481 h 5670"/>
                <a:gd name="T12" fmla="*/ 2646 w 3969"/>
                <a:gd name="T13" fmla="*/ 5197 h 5670"/>
                <a:gd name="T14" fmla="*/ 2741 w 3969"/>
                <a:gd name="T15" fmla="*/ 4630 h 5670"/>
                <a:gd name="T16" fmla="*/ 2457 w 3969"/>
                <a:gd name="T17" fmla="*/ 4536 h 5670"/>
                <a:gd name="T18" fmla="*/ 2646 w 3969"/>
                <a:gd name="T19" fmla="*/ 4252 h 5670"/>
                <a:gd name="T20" fmla="*/ 2741 w 3969"/>
                <a:gd name="T21" fmla="*/ 3685 h 5670"/>
                <a:gd name="T22" fmla="*/ 2644 w 3969"/>
                <a:gd name="T23" fmla="*/ 3591 h 5670"/>
                <a:gd name="T24" fmla="*/ 2081 w 3969"/>
                <a:gd name="T25" fmla="*/ 1888 h 5670"/>
                <a:gd name="T26" fmla="*/ 1515 w 3969"/>
                <a:gd name="T27" fmla="*/ 3591 h 5670"/>
                <a:gd name="T28" fmla="*/ 662 w 3969"/>
                <a:gd name="T29" fmla="*/ 3685 h 5670"/>
                <a:gd name="T30" fmla="*/ 473 w 3969"/>
                <a:gd name="T31" fmla="*/ 4063 h 5670"/>
                <a:gd name="T32" fmla="*/ 378 w 3969"/>
                <a:gd name="T33" fmla="*/ 4630 h 5670"/>
                <a:gd name="T34" fmla="*/ 662 w 3969"/>
                <a:gd name="T35" fmla="*/ 4725 h 5670"/>
                <a:gd name="T36" fmla="*/ 473 w 3969"/>
                <a:gd name="T37" fmla="*/ 5008 h 5670"/>
                <a:gd name="T38" fmla="*/ 378 w 3969"/>
                <a:gd name="T39" fmla="*/ 5481 h 5670"/>
                <a:gd name="T40" fmla="*/ 189 w 3969"/>
                <a:gd name="T41" fmla="*/ 1134 h 5670"/>
                <a:gd name="T42" fmla="*/ 1134 w 3969"/>
                <a:gd name="T43" fmla="*/ 945 h 5670"/>
                <a:gd name="T44" fmla="*/ 3780 w 3969"/>
                <a:gd name="T45" fmla="*/ 189 h 5670"/>
                <a:gd name="T46" fmla="*/ 3969 w 3969"/>
                <a:gd name="T47" fmla="*/ 2268 h 5670"/>
                <a:gd name="T48" fmla="*/ 3780 w 3969"/>
                <a:gd name="T49" fmla="*/ 0 h 5670"/>
                <a:gd name="T50" fmla="*/ 2552 w 3969"/>
                <a:gd name="T51" fmla="*/ 5008 h 5670"/>
                <a:gd name="T52" fmla="*/ 851 w 3969"/>
                <a:gd name="T53" fmla="*/ 4725 h 5670"/>
                <a:gd name="T54" fmla="*/ 1323 w 3969"/>
                <a:gd name="T55" fmla="*/ 2835 h 5670"/>
                <a:gd name="T56" fmla="*/ 2835 w 3969"/>
                <a:gd name="T57" fmla="*/ 2835 h 5670"/>
                <a:gd name="T58" fmla="*/ 1323 w 3969"/>
                <a:gd name="T59" fmla="*/ 2835 h 5670"/>
                <a:gd name="T60" fmla="*/ 2552 w 3969"/>
                <a:gd name="T61" fmla="*/ 3780 h 5670"/>
                <a:gd name="T62" fmla="*/ 851 w 3969"/>
                <a:gd name="T63" fmla="*/ 4063 h 5670"/>
                <a:gd name="T64" fmla="*/ 567 w 3969"/>
                <a:gd name="T65" fmla="*/ 4536 h 5670"/>
                <a:gd name="T66" fmla="*/ 2268 w 3969"/>
                <a:gd name="T67" fmla="*/ 4252 h 5670"/>
                <a:gd name="T68" fmla="*/ 756 w 3969"/>
                <a:gd name="T69" fmla="*/ 4536 h 5670"/>
                <a:gd name="T70" fmla="*/ 567 w 3969"/>
                <a:gd name="T71" fmla="*/ 5197 h 5670"/>
                <a:gd name="T72" fmla="*/ 2268 w 3969"/>
                <a:gd name="T73" fmla="*/ 5481 h 5670"/>
                <a:gd name="T74" fmla="*/ 567 w 3969"/>
                <a:gd name="T75" fmla="*/ 5197 h 5670"/>
                <a:gd name="T76" fmla="*/ 323 w 3969"/>
                <a:gd name="T77" fmla="*/ 945 h 5670"/>
                <a:gd name="T78" fmla="*/ 945 w 3969"/>
                <a:gd name="T79" fmla="*/ 945 h 56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969" h="5670">
                  <a:moveTo>
                    <a:pt x="3780" y="0"/>
                  </a:moveTo>
                  <a:cubicBezTo>
                    <a:pt x="1040" y="0"/>
                    <a:pt x="1040" y="0"/>
                    <a:pt x="1040" y="0"/>
                  </a:cubicBezTo>
                  <a:cubicBezTo>
                    <a:pt x="1040" y="1"/>
                    <a:pt x="1040" y="1"/>
                    <a:pt x="1040" y="1"/>
                  </a:cubicBezTo>
                  <a:cubicBezTo>
                    <a:pt x="1015" y="1"/>
                    <a:pt x="991" y="11"/>
                    <a:pt x="973" y="28"/>
                  </a:cubicBezTo>
                  <a:cubicBezTo>
                    <a:pt x="28" y="973"/>
                    <a:pt x="28" y="973"/>
                    <a:pt x="28" y="973"/>
                  </a:cubicBezTo>
                  <a:cubicBezTo>
                    <a:pt x="11" y="991"/>
                    <a:pt x="1" y="1015"/>
                    <a:pt x="1" y="1040"/>
                  </a:cubicBezTo>
                  <a:cubicBezTo>
                    <a:pt x="0" y="1040"/>
                    <a:pt x="0" y="1040"/>
                    <a:pt x="0" y="1040"/>
                  </a:cubicBezTo>
                  <a:cubicBezTo>
                    <a:pt x="0" y="5481"/>
                    <a:pt x="0" y="5481"/>
                    <a:pt x="0" y="5481"/>
                  </a:cubicBezTo>
                  <a:cubicBezTo>
                    <a:pt x="0" y="5585"/>
                    <a:pt x="85" y="5670"/>
                    <a:pt x="189" y="5670"/>
                  </a:cubicBezTo>
                  <a:cubicBezTo>
                    <a:pt x="3024" y="5670"/>
                    <a:pt x="3024" y="5670"/>
                    <a:pt x="3024" y="5670"/>
                  </a:cubicBezTo>
                  <a:cubicBezTo>
                    <a:pt x="3024" y="5481"/>
                    <a:pt x="3024" y="5481"/>
                    <a:pt x="3024" y="5481"/>
                  </a:cubicBezTo>
                  <a:cubicBezTo>
                    <a:pt x="2457" y="5481"/>
                    <a:pt x="2457" y="5481"/>
                    <a:pt x="2457" y="5481"/>
                  </a:cubicBezTo>
                  <a:cubicBezTo>
                    <a:pt x="2457" y="5197"/>
                    <a:pt x="2457" y="5197"/>
                    <a:pt x="2457" y="5197"/>
                  </a:cubicBezTo>
                  <a:cubicBezTo>
                    <a:pt x="2646" y="5197"/>
                    <a:pt x="2646" y="5197"/>
                    <a:pt x="2646" y="5197"/>
                  </a:cubicBezTo>
                  <a:cubicBezTo>
                    <a:pt x="2698" y="5197"/>
                    <a:pt x="2741" y="5155"/>
                    <a:pt x="2741" y="5103"/>
                  </a:cubicBezTo>
                  <a:cubicBezTo>
                    <a:pt x="2741" y="4630"/>
                    <a:pt x="2741" y="4630"/>
                    <a:pt x="2741" y="4630"/>
                  </a:cubicBezTo>
                  <a:cubicBezTo>
                    <a:pt x="2741" y="4578"/>
                    <a:pt x="2698" y="4536"/>
                    <a:pt x="2646" y="4536"/>
                  </a:cubicBezTo>
                  <a:cubicBezTo>
                    <a:pt x="2457" y="4536"/>
                    <a:pt x="2457" y="4536"/>
                    <a:pt x="2457" y="4536"/>
                  </a:cubicBezTo>
                  <a:cubicBezTo>
                    <a:pt x="2457" y="4252"/>
                    <a:pt x="2457" y="4252"/>
                    <a:pt x="2457" y="4252"/>
                  </a:cubicBezTo>
                  <a:cubicBezTo>
                    <a:pt x="2646" y="4252"/>
                    <a:pt x="2646" y="4252"/>
                    <a:pt x="2646" y="4252"/>
                  </a:cubicBezTo>
                  <a:cubicBezTo>
                    <a:pt x="2698" y="4252"/>
                    <a:pt x="2741" y="4210"/>
                    <a:pt x="2741" y="4158"/>
                  </a:cubicBezTo>
                  <a:cubicBezTo>
                    <a:pt x="2741" y="3685"/>
                    <a:pt x="2741" y="3685"/>
                    <a:pt x="2741" y="3685"/>
                  </a:cubicBezTo>
                  <a:cubicBezTo>
                    <a:pt x="2741" y="3633"/>
                    <a:pt x="2698" y="3591"/>
                    <a:pt x="2646" y="3591"/>
                  </a:cubicBezTo>
                  <a:cubicBezTo>
                    <a:pt x="2644" y="3591"/>
                    <a:pt x="2644" y="3591"/>
                    <a:pt x="2644" y="3591"/>
                  </a:cubicBezTo>
                  <a:cubicBezTo>
                    <a:pt x="2883" y="3413"/>
                    <a:pt x="3024" y="3133"/>
                    <a:pt x="3024" y="2835"/>
                  </a:cubicBezTo>
                  <a:cubicBezTo>
                    <a:pt x="3025" y="2313"/>
                    <a:pt x="2603" y="1889"/>
                    <a:pt x="2081" y="1888"/>
                  </a:cubicBezTo>
                  <a:cubicBezTo>
                    <a:pt x="1559" y="1887"/>
                    <a:pt x="1135" y="2309"/>
                    <a:pt x="1134" y="2831"/>
                  </a:cubicBezTo>
                  <a:cubicBezTo>
                    <a:pt x="1134" y="3130"/>
                    <a:pt x="1275" y="3412"/>
                    <a:pt x="1515" y="3591"/>
                  </a:cubicBezTo>
                  <a:cubicBezTo>
                    <a:pt x="756" y="3591"/>
                    <a:pt x="756" y="3591"/>
                    <a:pt x="756" y="3591"/>
                  </a:cubicBezTo>
                  <a:cubicBezTo>
                    <a:pt x="704" y="3591"/>
                    <a:pt x="662" y="3633"/>
                    <a:pt x="662" y="3685"/>
                  </a:cubicBezTo>
                  <a:cubicBezTo>
                    <a:pt x="662" y="4063"/>
                    <a:pt x="662" y="4063"/>
                    <a:pt x="662" y="4063"/>
                  </a:cubicBezTo>
                  <a:cubicBezTo>
                    <a:pt x="473" y="4063"/>
                    <a:pt x="473" y="4063"/>
                    <a:pt x="473" y="4063"/>
                  </a:cubicBezTo>
                  <a:cubicBezTo>
                    <a:pt x="421" y="4063"/>
                    <a:pt x="378" y="4106"/>
                    <a:pt x="378" y="4158"/>
                  </a:cubicBezTo>
                  <a:cubicBezTo>
                    <a:pt x="378" y="4630"/>
                    <a:pt x="378" y="4630"/>
                    <a:pt x="378" y="4630"/>
                  </a:cubicBezTo>
                  <a:cubicBezTo>
                    <a:pt x="378" y="4682"/>
                    <a:pt x="421" y="4725"/>
                    <a:pt x="473" y="4725"/>
                  </a:cubicBezTo>
                  <a:cubicBezTo>
                    <a:pt x="662" y="4725"/>
                    <a:pt x="662" y="4725"/>
                    <a:pt x="662" y="4725"/>
                  </a:cubicBezTo>
                  <a:cubicBezTo>
                    <a:pt x="662" y="5008"/>
                    <a:pt x="662" y="5008"/>
                    <a:pt x="662" y="5008"/>
                  </a:cubicBezTo>
                  <a:cubicBezTo>
                    <a:pt x="473" y="5008"/>
                    <a:pt x="473" y="5008"/>
                    <a:pt x="473" y="5008"/>
                  </a:cubicBezTo>
                  <a:cubicBezTo>
                    <a:pt x="421" y="5008"/>
                    <a:pt x="378" y="5051"/>
                    <a:pt x="378" y="5103"/>
                  </a:cubicBezTo>
                  <a:cubicBezTo>
                    <a:pt x="378" y="5481"/>
                    <a:pt x="378" y="5481"/>
                    <a:pt x="378" y="5481"/>
                  </a:cubicBezTo>
                  <a:cubicBezTo>
                    <a:pt x="189" y="5481"/>
                    <a:pt x="189" y="5481"/>
                    <a:pt x="189" y="5481"/>
                  </a:cubicBezTo>
                  <a:cubicBezTo>
                    <a:pt x="189" y="1134"/>
                    <a:pt x="189" y="1134"/>
                    <a:pt x="189" y="1134"/>
                  </a:cubicBezTo>
                  <a:cubicBezTo>
                    <a:pt x="945" y="1134"/>
                    <a:pt x="945" y="1134"/>
                    <a:pt x="945" y="1134"/>
                  </a:cubicBezTo>
                  <a:cubicBezTo>
                    <a:pt x="1050" y="1134"/>
                    <a:pt x="1134" y="1050"/>
                    <a:pt x="1134" y="945"/>
                  </a:cubicBezTo>
                  <a:cubicBezTo>
                    <a:pt x="1134" y="189"/>
                    <a:pt x="1134" y="189"/>
                    <a:pt x="1134" y="189"/>
                  </a:cubicBezTo>
                  <a:cubicBezTo>
                    <a:pt x="3780" y="189"/>
                    <a:pt x="3780" y="189"/>
                    <a:pt x="3780" y="189"/>
                  </a:cubicBezTo>
                  <a:cubicBezTo>
                    <a:pt x="3780" y="2268"/>
                    <a:pt x="3780" y="2268"/>
                    <a:pt x="3780" y="2268"/>
                  </a:cubicBezTo>
                  <a:cubicBezTo>
                    <a:pt x="3969" y="2268"/>
                    <a:pt x="3969" y="2268"/>
                    <a:pt x="3969" y="2268"/>
                  </a:cubicBezTo>
                  <a:cubicBezTo>
                    <a:pt x="3969" y="189"/>
                    <a:pt x="3969" y="189"/>
                    <a:pt x="3969" y="189"/>
                  </a:cubicBezTo>
                  <a:cubicBezTo>
                    <a:pt x="3969" y="85"/>
                    <a:pt x="3884" y="0"/>
                    <a:pt x="3780" y="0"/>
                  </a:cubicBezTo>
                  <a:close/>
                  <a:moveTo>
                    <a:pt x="2552" y="4725"/>
                  </a:moveTo>
                  <a:cubicBezTo>
                    <a:pt x="2552" y="5008"/>
                    <a:pt x="2552" y="5008"/>
                    <a:pt x="2552" y="5008"/>
                  </a:cubicBezTo>
                  <a:cubicBezTo>
                    <a:pt x="851" y="5008"/>
                    <a:pt x="851" y="5008"/>
                    <a:pt x="851" y="5008"/>
                  </a:cubicBezTo>
                  <a:cubicBezTo>
                    <a:pt x="851" y="4725"/>
                    <a:pt x="851" y="4725"/>
                    <a:pt x="851" y="4725"/>
                  </a:cubicBezTo>
                  <a:lnTo>
                    <a:pt x="2552" y="4725"/>
                  </a:lnTo>
                  <a:close/>
                  <a:moveTo>
                    <a:pt x="1323" y="2835"/>
                  </a:moveTo>
                  <a:cubicBezTo>
                    <a:pt x="1323" y="2418"/>
                    <a:pt x="1662" y="2079"/>
                    <a:pt x="2079" y="2079"/>
                  </a:cubicBezTo>
                  <a:cubicBezTo>
                    <a:pt x="2497" y="2079"/>
                    <a:pt x="2835" y="2418"/>
                    <a:pt x="2835" y="2835"/>
                  </a:cubicBezTo>
                  <a:cubicBezTo>
                    <a:pt x="2835" y="3252"/>
                    <a:pt x="2497" y="3591"/>
                    <a:pt x="2079" y="3591"/>
                  </a:cubicBezTo>
                  <a:cubicBezTo>
                    <a:pt x="1662" y="3590"/>
                    <a:pt x="1324" y="3252"/>
                    <a:pt x="1323" y="2835"/>
                  </a:cubicBezTo>
                  <a:close/>
                  <a:moveTo>
                    <a:pt x="851" y="3780"/>
                  </a:moveTo>
                  <a:cubicBezTo>
                    <a:pt x="2552" y="3780"/>
                    <a:pt x="2552" y="3780"/>
                    <a:pt x="2552" y="3780"/>
                  </a:cubicBezTo>
                  <a:cubicBezTo>
                    <a:pt x="2552" y="4063"/>
                    <a:pt x="2552" y="4063"/>
                    <a:pt x="2552" y="4063"/>
                  </a:cubicBezTo>
                  <a:cubicBezTo>
                    <a:pt x="851" y="4063"/>
                    <a:pt x="851" y="4063"/>
                    <a:pt x="851" y="4063"/>
                  </a:cubicBezTo>
                  <a:lnTo>
                    <a:pt x="851" y="3780"/>
                  </a:lnTo>
                  <a:close/>
                  <a:moveTo>
                    <a:pt x="567" y="4536"/>
                  </a:moveTo>
                  <a:cubicBezTo>
                    <a:pt x="567" y="4252"/>
                    <a:pt x="567" y="4252"/>
                    <a:pt x="567" y="4252"/>
                  </a:cubicBezTo>
                  <a:cubicBezTo>
                    <a:pt x="2268" y="4252"/>
                    <a:pt x="2268" y="4252"/>
                    <a:pt x="2268" y="4252"/>
                  </a:cubicBezTo>
                  <a:cubicBezTo>
                    <a:pt x="2268" y="4536"/>
                    <a:pt x="2268" y="4536"/>
                    <a:pt x="2268" y="4536"/>
                  </a:cubicBezTo>
                  <a:cubicBezTo>
                    <a:pt x="756" y="4536"/>
                    <a:pt x="756" y="4536"/>
                    <a:pt x="756" y="4536"/>
                  </a:cubicBezTo>
                  <a:lnTo>
                    <a:pt x="567" y="4536"/>
                  </a:lnTo>
                  <a:close/>
                  <a:moveTo>
                    <a:pt x="567" y="5197"/>
                  </a:moveTo>
                  <a:cubicBezTo>
                    <a:pt x="2268" y="5197"/>
                    <a:pt x="2268" y="5197"/>
                    <a:pt x="2268" y="5197"/>
                  </a:cubicBezTo>
                  <a:cubicBezTo>
                    <a:pt x="2268" y="5481"/>
                    <a:pt x="2268" y="5481"/>
                    <a:pt x="2268" y="5481"/>
                  </a:cubicBezTo>
                  <a:cubicBezTo>
                    <a:pt x="567" y="5481"/>
                    <a:pt x="567" y="5481"/>
                    <a:pt x="567" y="5481"/>
                  </a:cubicBezTo>
                  <a:lnTo>
                    <a:pt x="567" y="5197"/>
                  </a:lnTo>
                  <a:close/>
                  <a:moveTo>
                    <a:pt x="945" y="945"/>
                  </a:moveTo>
                  <a:cubicBezTo>
                    <a:pt x="323" y="945"/>
                    <a:pt x="323" y="945"/>
                    <a:pt x="323" y="945"/>
                  </a:cubicBezTo>
                  <a:cubicBezTo>
                    <a:pt x="945" y="323"/>
                    <a:pt x="945" y="323"/>
                    <a:pt x="945" y="323"/>
                  </a:cubicBezTo>
                  <a:lnTo>
                    <a:pt x="945" y="9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8" name="Freeform 45">
              <a:extLst>
                <a:ext uri="{FF2B5EF4-FFF2-40B4-BE49-F238E27FC236}">
                  <a16:creationId xmlns:a16="http://schemas.microsoft.com/office/drawing/2014/main" id="{AD99365A-9ABA-50A9-5AE2-340E8899583D}"/>
                </a:ext>
              </a:extLst>
            </p:cNvPr>
            <p:cNvSpPr>
              <a:spLocks/>
            </p:cNvSpPr>
            <p:nvPr/>
          </p:nvSpPr>
          <p:spPr bwMode="auto">
            <a:xfrm>
              <a:off x="-50142775" y="1304925"/>
              <a:ext cx="2393950" cy="4254500"/>
            </a:xfrm>
            <a:custGeom>
              <a:avLst/>
              <a:gdLst>
                <a:gd name="T0" fmla="*/ 319 w 638"/>
                <a:gd name="T1" fmla="*/ 284 h 1134"/>
                <a:gd name="T2" fmla="*/ 603 w 638"/>
                <a:gd name="T3" fmla="*/ 284 h 1134"/>
                <a:gd name="T4" fmla="*/ 603 w 638"/>
                <a:gd name="T5" fmla="*/ 95 h 1134"/>
                <a:gd name="T6" fmla="*/ 414 w 638"/>
                <a:gd name="T7" fmla="*/ 95 h 1134"/>
                <a:gd name="T8" fmla="*/ 414 w 638"/>
                <a:gd name="T9" fmla="*/ 0 h 1134"/>
                <a:gd name="T10" fmla="*/ 225 w 638"/>
                <a:gd name="T11" fmla="*/ 0 h 1134"/>
                <a:gd name="T12" fmla="*/ 225 w 638"/>
                <a:gd name="T13" fmla="*/ 112 h 1134"/>
                <a:gd name="T14" fmla="*/ 52 w 638"/>
                <a:gd name="T15" fmla="*/ 473 h 1134"/>
                <a:gd name="T16" fmla="*/ 319 w 638"/>
                <a:gd name="T17" fmla="*/ 661 h 1134"/>
                <a:gd name="T18" fmla="*/ 414 w 638"/>
                <a:gd name="T19" fmla="*/ 756 h 1134"/>
                <a:gd name="T20" fmla="*/ 319 w 638"/>
                <a:gd name="T21" fmla="*/ 850 h 1134"/>
                <a:gd name="T22" fmla="*/ 36 w 638"/>
                <a:gd name="T23" fmla="*/ 850 h 1134"/>
                <a:gd name="T24" fmla="*/ 36 w 638"/>
                <a:gd name="T25" fmla="*/ 1039 h 1134"/>
                <a:gd name="T26" fmla="*/ 225 w 638"/>
                <a:gd name="T27" fmla="*/ 1039 h 1134"/>
                <a:gd name="T28" fmla="*/ 225 w 638"/>
                <a:gd name="T29" fmla="*/ 1134 h 1134"/>
                <a:gd name="T30" fmla="*/ 414 w 638"/>
                <a:gd name="T31" fmla="*/ 1134 h 1134"/>
                <a:gd name="T32" fmla="*/ 414 w 638"/>
                <a:gd name="T33" fmla="*/ 1022 h 1134"/>
                <a:gd name="T34" fmla="*/ 586 w 638"/>
                <a:gd name="T35" fmla="*/ 661 h 1134"/>
                <a:gd name="T36" fmla="*/ 319 w 638"/>
                <a:gd name="T37" fmla="*/ 473 h 1134"/>
                <a:gd name="T38" fmla="*/ 225 w 638"/>
                <a:gd name="T39" fmla="*/ 378 h 1134"/>
                <a:gd name="T40" fmla="*/ 319 w 638"/>
                <a:gd name="T41" fmla="*/ 284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38" h="1134">
                  <a:moveTo>
                    <a:pt x="319" y="284"/>
                  </a:moveTo>
                  <a:cubicBezTo>
                    <a:pt x="603" y="284"/>
                    <a:pt x="603" y="284"/>
                    <a:pt x="603" y="284"/>
                  </a:cubicBezTo>
                  <a:cubicBezTo>
                    <a:pt x="603" y="95"/>
                    <a:pt x="603" y="95"/>
                    <a:pt x="603" y="95"/>
                  </a:cubicBezTo>
                  <a:cubicBezTo>
                    <a:pt x="414" y="95"/>
                    <a:pt x="414" y="95"/>
                    <a:pt x="414" y="95"/>
                  </a:cubicBezTo>
                  <a:cubicBezTo>
                    <a:pt x="414" y="0"/>
                    <a:pt x="414" y="0"/>
                    <a:pt x="414" y="0"/>
                  </a:cubicBezTo>
                  <a:cubicBezTo>
                    <a:pt x="225" y="0"/>
                    <a:pt x="225" y="0"/>
                    <a:pt x="225" y="0"/>
                  </a:cubicBezTo>
                  <a:cubicBezTo>
                    <a:pt x="225" y="112"/>
                    <a:pt x="225" y="112"/>
                    <a:pt x="225" y="112"/>
                  </a:cubicBezTo>
                  <a:cubicBezTo>
                    <a:pt x="77" y="164"/>
                    <a:pt x="0" y="325"/>
                    <a:pt x="52" y="473"/>
                  </a:cubicBezTo>
                  <a:cubicBezTo>
                    <a:pt x="92" y="586"/>
                    <a:pt x="199" y="662"/>
                    <a:pt x="319" y="661"/>
                  </a:cubicBezTo>
                  <a:cubicBezTo>
                    <a:pt x="371" y="661"/>
                    <a:pt x="414" y="704"/>
                    <a:pt x="414" y="756"/>
                  </a:cubicBezTo>
                  <a:cubicBezTo>
                    <a:pt x="414" y="808"/>
                    <a:pt x="371" y="850"/>
                    <a:pt x="319" y="850"/>
                  </a:cubicBezTo>
                  <a:cubicBezTo>
                    <a:pt x="36" y="850"/>
                    <a:pt x="36" y="850"/>
                    <a:pt x="36" y="850"/>
                  </a:cubicBezTo>
                  <a:cubicBezTo>
                    <a:pt x="36" y="1039"/>
                    <a:pt x="36" y="1039"/>
                    <a:pt x="36" y="1039"/>
                  </a:cubicBezTo>
                  <a:cubicBezTo>
                    <a:pt x="225" y="1039"/>
                    <a:pt x="225" y="1039"/>
                    <a:pt x="225" y="1039"/>
                  </a:cubicBezTo>
                  <a:cubicBezTo>
                    <a:pt x="225" y="1134"/>
                    <a:pt x="225" y="1134"/>
                    <a:pt x="225" y="1134"/>
                  </a:cubicBezTo>
                  <a:cubicBezTo>
                    <a:pt x="414" y="1134"/>
                    <a:pt x="414" y="1134"/>
                    <a:pt x="414" y="1134"/>
                  </a:cubicBezTo>
                  <a:cubicBezTo>
                    <a:pt x="414" y="1022"/>
                    <a:pt x="414" y="1022"/>
                    <a:pt x="414" y="1022"/>
                  </a:cubicBezTo>
                  <a:cubicBezTo>
                    <a:pt x="561" y="970"/>
                    <a:pt x="638" y="809"/>
                    <a:pt x="586" y="661"/>
                  </a:cubicBezTo>
                  <a:cubicBezTo>
                    <a:pt x="546" y="548"/>
                    <a:pt x="439" y="472"/>
                    <a:pt x="319" y="473"/>
                  </a:cubicBezTo>
                  <a:cubicBezTo>
                    <a:pt x="267" y="473"/>
                    <a:pt x="225" y="430"/>
                    <a:pt x="225" y="378"/>
                  </a:cubicBezTo>
                  <a:cubicBezTo>
                    <a:pt x="225" y="326"/>
                    <a:pt x="267" y="284"/>
                    <a:pt x="319" y="2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9" name="Freeform 46">
              <a:extLst>
                <a:ext uri="{FF2B5EF4-FFF2-40B4-BE49-F238E27FC236}">
                  <a16:creationId xmlns:a16="http://schemas.microsoft.com/office/drawing/2014/main" id="{ED2A192F-5E9E-894B-2B91-B2851912AB5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1144825" y="-7202488"/>
              <a:ext cx="4964113" cy="8507413"/>
            </a:xfrm>
            <a:custGeom>
              <a:avLst/>
              <a:gdLst>
                <a:gd name="T0" fmla="*/ 1134 w 1323"/>
                <a:gd name="T1" fmla="*/ 473 h 2268"/>
                <a:gd name="T2" fmla="*/ 945 w 1323"/>
                <a:gd name="T3" fmla="*/ 473 h 2268"/>
                <a:gd name="T4" fmla="*/ 850 w 1323"/>
                <a:gd name="T5" fmla="*/ 378 h 2268"/>
                <a:gd name="T6" fmla="*/ 756 w 1323"/>
                <a:gd name="T7" fmla="*/ 378 h 2268"/>
                <a:gd name="T8" fmla="*/ 756 w 1323"/>
                <a:gd name="T9" fmla="*/ 95 h 2268"/>
                <a:gd name="T10" fmla="*/ 661 w 1323"/>
                <a:gd name="T11" fmla="*/ 0 h 2268"/>
                <a:gd name="T12" fmla="*/ 283 w 1323"/>
                <a:gd name="T13" fmla="*/ 0 h 2268"/>
                <a:gd name="T14" fmla="*/ 189 w 1323"/>
                <a:gd name="T15" fmla="*/ 95 h 2268"/>
                <a:gd name="T16" fmla="*/ 189 w 1323"/>
                <a:gd name="T17" fmla="*/ 378 h 2268"/>
                <a:gd name="T18" fmla="*/ 94 w 1323"/>
                <a:gd name="T19" fmla="*/ 378 h 2268"/>
                <a:gd name="T20" fmla="*/ 0 w 1323"/>
                <a:gd name="T21" fmla="*/ 473 h 2268"/>
                <a:gd name="T22" fmla="*/ 0 w 1323"/>
                <a:gd name="T23" fmla="*/ 2268 h 2268"/>
                <a:gd name="T24" fmla="*/ 189 w 1323"/>
                <a:gd name="T25" fmla="*/ 2268 h 2268"/>
                <a:gd name="T26" fmla="*/ 189 w 1323"/>
                <a:gd name="T27" fmla="*/ 567 h 2268"/>
                <a:gd name="T28" fmla="*/ 756 w 1323"/>
                <a:gd name="T29" fmla="*/ 567 h 2268"/>
                <a:gd name="T30" fmla="*/ 756 w 1323"/>
                <a:gd name="T31" fmla="*/ 2268 h 2268"/>
                <a:gd name="T32" fmla="*/ 945 w 1323"/>
                <a:gd name="T33" fmla="*/ 2268 h 2268"/>
                <a:gd name="T34" fmla="*/ 945 w 1323"/>
                <a:gd name="T35" fmla="*/ 662 h 2268"/>
                <a:gd name="T36" fmla="*/ 1134 w 1323"/>
                <a:gd name="T37" fmla="*/ 662 h 2268"/>
                <a:gd name="T38" fmla="*/ 1134 w 1323"/>
                <a:gd name="T39" fmla="*/ 1890 h 2268"/>
                <a:gd name="T40" fmla="*/ 1323 w 1323"/>
                <a:gd name="T41" fmla="*/ 1890 h 2268"/>
                <a:gd name="T42" fmla="*/ 1323 w 1323"/>
                <a:gd name="T43" fmla="*/ 662 h 2268"/>
                <a:gd name="T44" fmla="*/ 1134 w 1323"/>
                <a:gd name="T45" fmla="*/ 473 h 2268"/>
                <a:gd name="T46" fmla="*/ 567 w 1323"/>
                <a:gd name="T47" fmla="*/ 378 h 2268"/>
                <a:gd name="T48" fmla="*/ 378 w 1323"/>
                <a:gd name="T49" fmla="*/ 378 h 2268"/>
                <a:gd name="T50" fmla="*/ 378 w 1323"/>
                <a:gd name="T51" fmla="*/ 189 h 2268"/>
                <a:gd name="T52" fmla="*/ 567 w 1323"/>
                <a:gd name="T53" fmla="*/ 189 h 2268"/>
                <a:gd name="T54" fmla="*/ 567 w 1323"/>
                <a:gd name="T55" fmla="*/ 378 h 2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323" h="2268">
                  <a:moveTo>
                    <a:pt x="1134" y="473"/>
                  </a:moveTo>
                  <a:cubicBezTo>
                    <a:pt x="945" y="473"/>
                    <a:pt x="945" y="473"/>
                    <a:pt x="945" y="473"/>
                  </a:cubicBezTo>
                  <a:cubicBezTo>
                    <a:pt x="945" y="421"/>
                    <a:pt x="902" y="378"/>
                    <a:pt x="850" y="378"/>
                  </a:cubicBezTo>
                  <a:cubicBezTo>
                    <a:pt x="756" y="378"/>
                    <a:pt x="756" y="378"/>
                    <a:pt x="756" y="378"/>
                  </a:cubicBezTo>
                  <a:cubicBezTo>
                    <a:pt x="756" y="95"/>
                    <a:pt x="756" y="95"/>
                    <a:pt x="756" y="95"/>
                  </a:cubicBezTo>
                  <a:cubicBezTo>
                    <a:pt x="756" y="43"/>
                    <a:pt x="713" y="0"/>
                    <a:pt x="661" y="0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231" y="0"/>
                    <a:pt x="189" y="43"/>
                    <a:pt x="189" y="95"/>
                  </a:cubicBezTo>
                  <a:cubicBezTo>
                    <a:pt x="189" y="378"/>
                    <a:pt x="189" y="378"/>
                    <a:pt x="189" y="378"/>
                  </a:cubicBezTo>
                  <a:cubicBezTo>
                    <a:pt x="94" y="378"/>
                    <a:pt x="94" y="378"/>
                    <a:pt x="94" y="378"/>
                  </a:cubicBezTo>
                  <a:cubicBezTo>
                    <a:pt x="42" y="378"/>
                    <a:pt x="0" y="421"/>
                    <a:pt x="0" y="473"/>
                  </a:cubicBezTo>
                  <a:cubicBezTo>
                    <a:pt x="0" y="2268"/>
                    <a:pt x="0" y="2268"/>
                    <a:pt x="0" y="2268"/>
                  </a:cubicBezTo>
                  <a:cubicBezTo>
                    <a:pt x="189" y="2268"/>
                    <a:pt x="189" y="2268"/>
                    <a:pt x="189" y="2268"/>
                  </a:cubicBezTo>
                  <a:cubicBezTo>
                    <a:pt x="189" y="567"/>
                    <a:pt x="189" y="567"/>
                    <a:pt x="189" y="567"/>
                  </a:cubicBezTo>
                  <a:cubicBezTo>
                    <a:pt x="756" y="567"/>
                    <a:pt x="756" y="567"/>
                    <a:pt x="756" y="567"/>
                  </a:cubicBezTo>
                  <a:cubicBezTo>
                    <a:pt x="756" y="2268"/>
                    <a:pt x="756" y="2268"/>
                    <a:pt x="756" y="2268"/>
                  </a:cubicBezTo>
                  <a:cubicBezTo>
                    <a:pt x="945" y="2268"/>
                    <a:pt x="945" y="2268"/>
                    <a:pt x="945" y="2268"/>
                  </a:cubicBezTo>
                  <a:cubicBezTo>
                    <a:pt x="945" y="662"/>
                    <a:pt x="945" y="662"/>
                    <a:pt x="945" y="662"/>
                  </a:cubicBezTo>
                  <a:cubicBezTo>
                    <a:pt x="1134" y="662"/>
                    <a:pt x="1134" y="662"/>
                    <a:pt x="1134" y="662"/>
                  </a:cubicBezTo>
                  <a:cubicBezTo>
                    <a:pt x="1134" y="1890"/>
                    <a:pt x="1134" y="1890"/>
                    <a:pt x="1134" y="1890"/>
                  </a:cubicBezTo>
                  <a:cubicBezTo>
                    <a:pt x="1323" y="1890"/>
                    <a:pt x="1323" y="1890"/>
                    <a:pt x="1323" y="1890"/>
                  </a:cubicBezTo>
                  <a:cubicBezTo>
                    <a:pt x="1323" y="662"/>
                    <a:pt x="1323" y="662"/>
                    <a:pt x="1323" y="662"/>
                  </a:cubicBezTo>
                  <a:cubicBezTo>
                    <a:pt x="1323" y="557"/>
                    <a:pt x="1238" y="473"/>
                    <a:pt x="1134" y="473"/>
                  </a:cubicBezTo>
                  <a:close/>
                  <a:moveTo>
                    <a:pt x="567" y="378"/>
                  </a:moveTo>
                  <a:cubicBezTo>
                    <a:pt x="378" y="378"/>
                    <a:pt x="378" y="378"/>
                    <a:pt x="378" y="378"/>
                  </a:cubicBezTo>
                  <a:cubicBezTo>
                    <a:pt x="378" y="189"/>
                    <a:pt x="378" y="189"/>
                    <a:pt x="378" y="189"/>
                  </a:cubicBezTo>
                  <a:cubicBezTo>
                    <a:pt x="567" y="189"/>
                    <a:pt x="567" y="189"/>
                    <a:pt x="567" y="189"/>
                  </a:cubicBezTo>
                  <a:lnTo>
                    <a:pt x="567" y="3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0" name="Rectangle 47">
              <a:extLst>
                <a:ext uri="{FF2B5EF4-FFF2-40B4-BE49-F238E27FC236}">
                  <a16:creationId xmlns:a16="http://schemas.microsoft.com/office/drawing/2014/main" id="{CF6EFED6-9F14-6BBD-2615-05760DA6D5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1425475" y="-4367213"/>
              <a:ext cx="6026150" cy="7096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1" name="Rectangle 48">
              <a:extLst>
                <a:ext uri="{FF2B5EF4-FFF2-40B4-BE49-F238E27FC236}">
                  <a16:creationId xmlns:a16="http://schemas.microsoft.com/office/drawing/2014/main" id="{317D1994-EE8F-EFDC-6145-3B87D2D63F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5327550" y="-2239963"/>
              <a:ext cx="12055475" cy="7096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2" name="Rectangle 49">
              <a:extLst>
                <a:ext uri="{FF2B5EF4-FFF2-40B4-BE49-F238E27FC236}">
                  <a16:creationId xmlns:a16="http://schemas.microsoft.com/office/drawing/2014/main" id="{E8B5B6A0-9C02-E6A8-3FD1-1FAA94B5D3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5327550" y="-822325"/>
              <a:ext cx="4254500" cy="7096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3" name="Rectangle 50">
              <a:extLst>
                <a:ext uri="{FF2B5EF4-FFF2-40B4-BE49-F238E27FC236}">
                  <a16:creationId xmlns:a16="http://schemas.microsoft.com/office/drawing/2014/main" id="{C513E8C1-B440-F3B5-E0E5-064933FEE8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46461363" y="-822325"/>
              <a:ext cx="3189288" cy="7096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</p:spTree>
    <p:extLst>
      <p:ext uri="{BB962C8B-B14F-4D97-AF65-F5344CB8AC3E}">
        <p14:creationId xmlns:p14="http://schemas.microsoft.com/office/powerpoint/2010/main" val="1482363660"/>
      </p:ext>
    </p:extLst>
  </p:cSld>
  <p:clrMapOvr>
    <a:masterClrMapping/>
  </p:clrMapOvr>
</p:sld>
</file>

<file path=ppt/slides/slide1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45422A-D659-233A-0BF4-66952B03E2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think-cell data - do not delete" hidden="1">
            <a:extLst>
              <a:ext uri="{FF2B5EF4-FFF2-40B4-BE49-F238E27FC236}">
                <a16:creationId xmlns:a16="http://schemas.microsoft.com/office/drawing/2014/main" id="{CC573F72-4E96-91B6-7004-AF5018994A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2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C573F72-4E96-91B6-7004-AF5018994A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ACAD51A-99F2-D372-94CF-1BF6338597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ircular layou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8EF198-AC19-DD04-49A4-ADDDB9C9FF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41</a:t>
            </a:fld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94809C7-9AA8-AE32-B866-FC7186C89342}"/>
              </a:ext>
            </a:extLst>
          </p:cNvPr>
          <p:cNvGrpSpPr/>
          <p:nvPr/>
        </p:nvGrpSpPr>
        <p:grpSpPr>
          <a:xfrm>
            <a:off x="3803650" y="1371600"/>
            <a:ext cx="4343399" cy="4348052"/>
            <a:chOff x="-7225901" y="433387"/>
            <a:chExt cx="4343399" cy="4348052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152C5861-9F1C-3A03-700B-54A0B1FF7FB6}"/>
                </a:ext>
              </a:extLst>
            </p:cNvPr>
            <p:cNvGrpSpPr>
              <a:grpSpLocks/>
            </p:cNvGrpSpPr>
            <p:nvPr/>
          </p:nvGrpSpPr>
          <p:grpSpPr>
            <a:xfrm>
              <a:off x="-7225901" y="433387"/>
              <a:ext cx="4343399" cy="4348052"/>
              <a:chOff x="-7654925" y="433388"/>
              <a:chExt cx="4094162" cy="4098925"/>
            </a:xfrm>
          </p:grpSpPr>
          <p:sp>
            <p:nvSpPr>
              <p:cNvPr id="10" name="Freeform 5">
                <a:extLst>
                  <a:ext uri="{FF2B5EF4-FFF2-40B4-BE49-F238E27FC236}">
                    <a16:creationId xmlns:a16="http://schemas.microsoft.com/office/drawing/2014/main" id="{D2FB9549-4CC0-B50E-497C-12E9AF46EA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603875" y="433388"/>
                <a:ext cx="2043112" cy="4098925"/>
              </a:xfrm>
              <a:custGeom>
                <a:avLst/>
                <a:gdLst>
                  <a:gd name="T0" fmla="*/ 0 w 1287"/>
                  <a:gd name="T1" fmla="*/ 0 h 2582"/>
                  <a:gd name="T2" fmla="*/ 132 w 1287"/>
                  <a:gd name="T3" fmla="*/ 6 h 2582"/>
                  <a:gd name="T4" fmla="*/ 258 w 1287"/>
                  <a:gd name="T5" fmla="*/ 23 h 2582"/>
                  <a:gd name="T6" fmla="*/ 384 w 1287"/>
                  <a:gd name="T7" fmla="*/ 57 h 2582"/>
                  <a:gd name="T8" fmla="*/ 498 w 1287"/>
                  <a:gd name="T9" fmla="*/ 98 h 2582"/>
                  <a:gd name="T10" fmla="*/ 612 w 1287"/>
                  <a:gd name="T11" fmla="*/ 155 h 2582"/>
                  <a:gd name="T12" fmla="*/ 721 w 1287"/>
                  <a:gd name="T13" fmla="*/ 218 h 2582"/>
                  <a:gd name="T14" fmla="*/ 818 w 1287"/>
                  <a:gd name="T15" fmla="*/ 293 h 2582"/>
                  <a:gd name="T16" fmla="*/ 910 w 1287"/>
                  <a:gd name="T17" fmla="*/ 379 h 2582"/>
                  <a:gd name="T18" fmla="*/ 995 w 1287"/>
                  <a:gd name="T19" fmla="*/ 471 h 2582"/>
                  <a:gd name="T20" fmla="*/ 1070 w 1287"/>
                  <a:gd name="T21" fmla="*/ 568 h 2582"/>
                  <a:gd name="T22" fmla="*/ 1133 w 1287"/>
                  <a:gd name="T23" fmla="*/ 677 h 2582"/>
                  <a:gd name="T24" fmla="*/ 1184 w 1287"/>
                  <a:gd name="T25" fmla="*/ 786 h 2582"/>
                  <a:gd name="T26" fmla="*/ 1230 w 1287"/>
                  <a:gd name="T27" fmla="*/ 907 h 2582"/>
                  <a:gd name="T28" fmla="*/ 1264 w 1287"/>
                  <a:gd name="T29" fmla="*/ 1027 h 2582"/>
                  <a:gd name="T30" fmla="*/ 1281 w 1287"/>
                  <a:gd name="T31" fmla="*/ 1159 h 2582"/>
                  <a:gd name="T32" fmla="*/ 1287 w 1287"/>
                  <a:gd name="T33" fmla="*/ 1291 h 2582"/>
                  <a:gd name="T34" fmla="*/ 1281 w 1287"/>
                  <a:gd name="T35" fmla="*/ 1423 h 2582"/>
                  <a:gd name="T36" fmla="*/ 1264 w 1287"/>
                  <a:gd name="T37" fmla="*/ 1549 h 2582"/>
                  <a:gd name="T38" fmla="*/ 1230 w 1287"/>
                  <a:gd name="T39" fmla="*/ 1676 h 2582"/>
                  <a:gd name="T40" fmla="*/ 1184 w 1287"/>
                  <a:gd name="T41" fmla="*/ 1796 h 2582"/>
                  <a:gd name="T42" fmla="*/ 1133 w 1287"/>
                  <a:gd name="T43" fmla="*/ 1905 h 2582"/>
                  <a:gd name="T44" fmla="*/ 1070 w 1287"/>
                  <a:gd name="T45" fmla="*/ 2014 h 2582"/>
                  <a:gd name="T46" fmla="*/ 995 w 1287"/>
                  <a:gd name="T47" fmla="*/ 2112 h 2582"/>
                  <a:gd name="T48" fmla="*/ 910 w 1287"/>
                  <a:gd name="T49" fmla="*/ 2203 h 2582"/>
                  <a:gd name="T50" fmla="*/ 818 w 1287"/>
                  <a:gd name="T51" fmla="*/ 2289 h 2582"/>
                  <a:gd name="T52" fmla="*/ 721 w 1287"/>
                  <a:gd name="T53" fmla="*/ 2364 h 2582"/>
                  <a:gd name="T54" fmla="*/ 612 w 1287"/>
                  <a:gd name="T55" fmla="*/ 2427 h 2582"/>
                  <a:gd name="T56" fmla="*/ 498 w 1287"/>
                  <a:gd name="T57" fmla="*/ 2485 h 2582"/>
                  <a:gd name="T58" fmla="*/ 384 w 1287"/>
                  <a:gd name="T59" fmla="*/ 2525 h 2582"/>
                  <a:gd name="T60" fmla="*/ 258 w 1287"/>
                  <a:gd name="T61" fmla="*/ 2559 h 2582"/>
                  <a:gd name="T62" fmla="*/ 132 w 1287"/>
                  <a:gd name="T63" fmla="*/ 2576 h 2582"/>
                  <a:gd name="T64" fmla="*/ 0 w 1287"/>
                  <a:gd name="T65" fmla="*/ 2582 h 2582"/>
                  <a:gd name="T66" fmla="*/ 0 w 1287"/>
                  <a:gd name="T67" fmla="*/ 1291 h 2582"/>
                  <a:gd name="T68" fmla="*/ 0 w 1287"/>
                  <a:gd name="T69" fmla="*/ 0 h 25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287" h="2582">
                    <a:moveTo>
                      <a:pt x="0" y="0"/>
                    </a:moveTo>
                    <a:lnTo>
                      <a:pt x="132" y="6"/>
                    </a:lnTo>
                    <a:lnTo>
                      <a:pt x="258" y="23"/>
                    </a:lnTo>
                    <a:lnTo>
                      <a:pt x="384" y="57"/>
                    </a:lnTo>
                    <a:lnTo>
                      <a:pt x="498" y="98"/>
                    </a:lnTo>
                    <a:lnTo>
                      <a:pt x="612" y="155"/>
                    </a:lnTo>
                    <a:lnTo>
                      <a:pt x="721" y="218"/>
                    </a:lnTo>
                    <a:lnTo>
                      <a:pt x="818" y="293"/>
                    </a:lnTo>
                    <a:lnTo>
                      <a:pt x="910" y="379"/>
                    </a:lnTo>
                    <a:lnTo>
                      <a:pt x="995" y="471"/>
                    </a:lnTo>
                    <a:lnTo>
                      <a:pt x="1070" y="568"/>
                    </a:lnTo>
                    <a:lnTo>
                      <a:pt x="1133" y="677"/>
                    </a:lnTo>
                    <a:lnTo>
                      <a:pt x="1184" y="786"/>
                    </a:lnTo>
                    <a:lnTo>
                      <a:pt x="1230" y="907"/>
                    </a:lnTo>
                    <a:lnTo>
                      <a:pt x="1264" y="1027"/>
                    </a:lnTo>
                    <a:lnTo>
                      <a:pt x="1281" y="1159"/>
                    </a:lnTo>
                    <a:lnTo>
                      <a:pt x="1287" y="1291"/>
                    </a:lnTo>
                    <a:lnTo>
                      <a:pt x="1281" y="1423"/>
                    </a:lnTo>
                    <a:lnTo>
                      <a:pt x="1264" y="1549"/>
                    </a:lnTo>
                    <a:lnTo>
                      <a:pt x="1230" y="1676"/>
                    </a:lnTo>
                    <a:lnTo>
                      <a:pt x="1184" y="1796"/>
                    </a:lnTo>
                    <a:lnTo>
                      <a:pt x="1133" y="1905"/>
                    </a:lnTo>
                    <a:lnTo>
                      <a:pt x="1070" y="2014"/>
                    </a:lnTo>
                    <a:lnTo>
                      <a:pt x="995" y="2112"/>
                    </a:lnTo>
                    <a:lnTo>
                      <a:pt x="910" y="2203"/>
                    </a:lnTo>
                    <a:lnTo>
                      <a:pt x="818" y="2289"/>
                    </a:lnTo>
                    <a:lnTo>
                      <a:pt x="721" y="2364"/>
                    </a:lnTo>
                    <a:lnTo>
                      <a:pt x="612" y="2427"/>
                    </a:lnTo>
                    <a:lnTo>
                      <a:pt x="498" y="2485"/>
                    </a:lnTo>
                    <a:lnTo>
                      <a:pt x="384" y="2525"/>
                    </a:lnTo>
                    <a:lnTo>
                      <a:pt x="258" y="2559"/>
                    </a:lnTo>
                    <a:lnTo>
                      <a:pt x="132" y="2576"/>
                    </a:lnTo>
                    <a:lnTo>
                      <a:pt x="0" y="2582"/>
                    </a:lnTo>
                    <a:lnTo>
                      <a:pt x="0" y="129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2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" name="Freeform 7">
                <a:extLst>
                  <a:ext uri="{FF2B5EF4-FFF2-40B4-BE49-F238E27FC236}">
                    <a16:creationId xmlns:a16="http://schemas.microsoft.com/office/drawing/2014/main" id="{0347D660-091D-8F0D-5D70-535DC98FCC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654925" y="433388"/>
                <a:ext cx="2051050" cy="4098925"/>
              </a:xfrm>
              <a:custGeom>
                <a:avLst/>
                <a:gdLst>
                  <a:gd name="T0" fmla="*/ 1292 w 1292"/>
                  <a:gd name="T1" fmla="*/ 2582 h 2582"/>
                  <a:gd name="T2" fmla="*/ 1161 w 1292"/>
                  <a:gd name="T3" fmla="*/ 2576 h 2582"/>
                  <a:gd name="T4" fmla="*/ 1029 w 1292"/>
                  <a:gd name="T5" fmla="*/ 2559 h 2582"/>
                  <a:gd name="T6" fmla="*/ 909 w 1292"/>
                  <a:gd name="T7" fmla="*/ 2525 h 2582"/>
                  <a:gd name="T8" fmla="*/ 789 w 1292"/>
                  <a:gd name="T9" fmla="*/ 2485 h 2582"/>
                  <a:gd name="T10" fmla="*/ 675 w 1292"/>
                  <a:gd name="T11" fmla="*/ 2427 h 2582"/>
                  <a:gd name="T12" fmla="*/ 572 w 1292"/>
                  <a:gd name="T13" fmla="*/ 2364 h 2582"/>
                  <a:gd name="T14" fmla="*/ 469 w 1292"/>
                  <a:gd name="T15" fmla="*/ 2289 h 2582"/>
                  <a:gd name="T16" fmla="*/ 377 w 1292"/>
                  <a:gd name="T17" fmla="*/ 2203 h 2582"/>
                  <a:gd name="T18" fmla="*/ 297 w 1292"/>
                  <a:gd name="T19" fmla="*/ 2112 h 2582"/>
                  <a:gd name="T20" fmla="*/ 223 w 1292"/>
                  <a:gd name="T21" fmla="*/ 2014 h 2582"/>
                  <a:gd name="T22" fmla="*/ 160 w 1292"/>
                  <a:gd name="T23" fmla="*/ 1905 h 2582"/>
                  <a:gd name="T24" fmla="*/ 103 w 1292"/>
                  <a:gd name="T25" fmla="*/ 1796 h 2582"/>
                  <a:gd name="T26" fmla="*/ 63 w 1292"/>
                  <a:gd name="T27" fmla="*/ 1676 h 2582"/>
                  <a:gd name="T28" fmla="*/ 29 w 1292"/>
                  <a:gd name="T29" fmla="*/ 1549 h 2582"/>
                  <a:gd name="T30" fmla="*/ 11 w 1292"/>
                  <a:gd name="T31" fmla="*/ 1423 h 2582"/>
                  <a:gd name="T32" fmla="*/ 0 w 1292"/>
                  <a:gd name="T33" fmla="*/ 1291 h 2582"/>
                  <a:gd name="T34" fmla="*/ 11 w 1292"/>
                  <a:gd name="T35" fmla="*/ 1159 h 2582"/>
                  <a:gd name="T36" fmla="*/ 29 w 1292"/>
                  <a:gd name="T37" fmla="*/ 1027 h 2582"/>
                  <a:gd name="T38" fmla="*/ 63 w 1292"/>
                  <a:gd name="T39" fmla="*/ 907 h 2582"/>
                  <a:gd name="T40" fmla="*/ 103 w 1292"/>
                  <a:gd name="T41" fmla="*/ 786 h 2582"/>
                  <a:gd name="T42" fmla="*/ 160 w 1292"/>
                  <a:gd name="T43" fmla="*/ 677 h 2582"/>
                  <a:gd name="T44" fmla="*/ 223 w 1292"/>
                  <a:gd name="T45" fmla="*/ 568 h 2582"/>
                  <a:gd name="T46" fmla="*/ 297 w 1292"/>
                  <a:gd name="T47" fmla="*/ 471 h 2582"/>
                  <a:gd name="T48" fmla="*/ 377 w 1292"/>
                  <a:gd name="T49" fmla="*/ 379 h 2582"/>
                  <a:gd name="T50" fmla="*/ 469 w 1292"/>
                  <a:gd name="T51" fmla="*/ 293 h 2582"/>
                  <a:gd name="T52" fmla="*/ 572 w 1292"/>
                  <a:gd name="T53" fmla="*/ 218 h 2582"/>
                  <a:gd name="T54" fmla="*/ 675 w 1292"/>
                  <a:gd name="T55" fmla="*/ 155 h 2582"/>
                  <a:gd name="T56" fmla="*/ 789 w 1292"/>
                  <a:gd name="T57" fmla="*/ 98 h 2582"/>
                  <a:gd name="T58" fmla="*/ 909 w 1292"/>
                  <a:gd name="T59" fmla="*/ 57 h 2582"/>
                  <a:gd name="T60" fmla="*/ 1029 w 1292"/>
                  <a:gd name="T61" fmla="*/ 23 h 2582"/>
                  <a:gd name="T62" fmla="*/ 1161 w 1292"/>
                  <a:gd name="T63" fmla="*/ 6 h 2582"/>
                  <a:gd name="T64" fmla="*/ 1292 w 1292"/>
                  <a:gd name="T65" fmla="*/ 0 h 2582"/>
                  <a:gd name="T66" fmla="*/ 1292 w 1292"/>
                  <a:gd name="T67" fmla="*/ 1291 h 2582"/>
                  <a:gd name="T68" fmla="*/ 1292 w 1292"/>
                  <a:gd name="T69" fmla="*/ 2582 h 25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292" h="2582">
                    <a:moveTo>
                      <a:pt x="1292" y="2582"/>
                    </a:moveTo>
                    <a:lnTo>
                      <a:pt x="1161" y="2576"/>
                    </a:lnTo>
                    <a:lnTo>
                      <a:pt x="1029" y="2559"/>
                    </a:lnTo>
                    <a:lnTo>
                      <a:pt x="909" y="2525"/>
                    </a:lnTo>
                    <a:lnTo>
                      <a:pt x="789" y="2485"/>
                    </a:lnTo>
                    <a:lnTo>
                      <a:pt x="675" y="2427"/>
                    </a:lnTo>
                    <a:lnTo>
                      <a:pt x="572" y="2364"/>
                    </a:lnTo>
                    <a:lnTo>
                      <a:pt x="469" y="2289"/>
                    </a:lnTo>
                    <a:lnTo>
                      <a:pt x="377" y="2203"/>
                    </a:lnTo>
                    <a:lnTo>
                      <a:pt x="297" y="2112"/>
                    </a:lnTo>
                    <a:lnTo>
                      <a:pt x="223" y="2014"/>
                    </a:lnTo>
                    <a:lnTo>
                      <a:pt x="160" y="1905"/>
                    </a:lnTo>
                    <a:lnTo>
                      <a:pt x="103" y="1796"/>
                    </a:lnTo>
                    <a:lnTo>
                      <a:pt x="63" y="1676"/>
                    </a:lnTo>
                    <a:lnTo>
                      <a:pt x="29" y="1549"/>
                    </a:lnTo>
                    <a:lnTo>
                      <a:pt x="11" y="1423"/>
                    </a:lnTo>
                    <a:lnTo>
                      <a:pt x="0" y="1291"/>
                    </a:lnTo>
                    <a:lnTo>
                      <a:pt x="11" y="1159"/>
                    </a:lnTo>
                    <a:lnTo>
                      <a:pt x="29" y="1027"/>
                    </a:lnTo>
                    <a:lnTo>
                      <a:pt x="63" y="907"/>
                    </a:lnTo>
                    <a:lnTo>
                      <a:pt x="103" y="786"/>
                    </a:lnTo>
                    <a:lnTo>
                      <a:pt x="160" y="677"/>
                    </a:lnTo>
                    <a:lnTo>
                      <a:pt x="223" y="568"/>
                    </a:lnTo>
                    <a:lnTo>
                      <a:pt x="297" y="471"/>
                    </a:lnTo>
                    <a:lnTo>
                      <a:pt x="377" y="379"/>
                    </a:lnTo>
                    <a:lnTo>
                      <a:pt x="469" y="293"/>
                    </a:lnTo>
                    <a:lnTo>
                      <a:pt x="572" y="218"/>
                    </a:lnTo>
                    <a:lnTo>
                      <a:pt x="675" y="155"/>
                    </a:lnTo>
                    <a:lnTo>
                      <a:pt x="789" y="98"/>
                    </a:lnTo>
                    <a:lnTo>
                      <a:pt x="909" y="57"/>
                    </a:lnTo>
                    <a:lnTo>
                      <a:pt x="1029" y="23"/>
                    </a:lnTo>
                    <a:lnTo>
                      <a:pt x="1161" y="6"/>
                    </a:lnTo>
                    <a:lnTo>
                      <a:pt x="1292" y="0"/>
                    </a:lnTo>
                    <a:lnTo>
                      <a:pt x="1292" y="1291"/>
                    </a:lnTo>
                    <a:lnTo>
                      <a:pt x="1292" y="2582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6A1EE6E6-BB3D-9F80-CB94-E598A378E356}"/>
                </a:ext>
              </a:extLst>
            </p:cNvPr>
            <p:cNvGrpSpPr>
              <a:grpSpLocks/>
            </p:cNvGrpSpPr>
            <p:nvPr/>
          </p:nvGrpSpPr>
          <p:grpSpPr>
            <a:xfrm>
              <a:off x="-6721989" y="936154"/>
              <a:ext cx="3335575" cy="3342519"/>
              <a:chOff x="-5789054" y="433388"/>
              <a:chExt cx="4094162" cy="4098925"/>
            </a:xfrm>
          </p:grpSpPr>
          <p:sp>
            <p:nvSpPr>
              <p:cNvPr id="8" name="Freeform 5">
                <a:extLst>
                  <a:ext uri="{FF2B5EF4-FFF2-40B4-BE49-F238E27FC236}">
                    <a16:creationId xmlns:a16="http://schemas.microsoft.com/office/drawing/2014/main" id="{FC917218-D5DC-8F62-FC61-5EBAD7DF2D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738004" y="433388"/>
                <a:ext cx="2043112" cy="4098925"/>
              </a:xfrm>
              <a:custGeom>
                <a:avLst/>
                <a:gdLst>
                  <a:gd name="T0" fmla="*/ 0 w 1287"/>
                  <a:gd name="T1" fmla="*/ 0 h 2582"/>
                  <a:gd name="T2" fmla="*/ 132 w 1287"/>
                  <a:gd name="T3" fmla="*/ 6 h 2582"/>
                  <a:gd name="T4" fmla="*/ 258 w 1287"/>
                  <a:gd name="T5" fmla="*/ 23 h 2582"/>
                  <a:gd name="T6" fmla="*/ 384 w 1287"/>
                  <a:gd name="T7" fmla="*/ 57 h 2582"/>
                  <a:gd name="T8" fmla="*/ 498 w 1287"/>
                  <a:gd name="T9" fmla="*/ 98 h 2582"/>
                  <a:gd name="T10" fmla="*/ 612 w 1287"/>
                  <a:gd name="T11" fmla="*/ 155 h 2582"/>
                  <a:gd name="T12" fmla="*/ 721 w 1287"/>
                  <a:gd name="T13" fmla="*/ 218 h 2582"/>
                  <a:gd name="T14" fmla="*/ 818 w 1287"/>
                  <a:gd name="T15" fmla="*/ 293 h 2582"/>
                  <a:gd name="T16" fmla="*/ 910 w 1287"/>
                  <a:gd name="T17" fmla="*/ 379 h 2582"/>
                  <a:gd name="T18" fmla="*/ 995 w 1287"/>
                  <a:gd name="T19" fmla="*/ 471 h 2582"/>
                  <a:gd name="T20" fmla="*/ 1070 w 1287"/>
                  <a:gd name="T21" fmla="*/ 568 h 2582"/>
                  <a:gd name="T22" fmla="*/ 1133 w 1287"/>
                  <a:gd name="T23" fmla="*/ 677 h 2582"/>
                  <a:gd name="T24" fmla="*/ 1184 w 1287"/>
                  <a:gd name="T25" fmla="*/ 786 h 2582"/>
                  <a:gd name="T26" fmla="*/ 1230 w 1287"/>
                  <a:gd name="T27" fmla="*/ 907 h 2582"/>
                  <a:gd name="T28" fmla="*/ 1264 w 1287"/>
                  <a:gd name="T29" fmla="*/ 1027 h 2582"/>
                  <a:gd name="T30" fmla="*/ 1281 w 1287"/>
                  <a:gd name="T31" fmla="*/ 1159 h 2582"/>
                  <a:gd name="T32" fmla="*/ 1287 w 1287"/>
                  <a:gd name="T33" fmla="*/ 1291 h 2582"/>
                  <a:gd name="T34" fmla="*/ 1281 w 1287"/>
                  <a:gd name="T35" fmla="*/ 1423 h 2582"/>
                  <a:gd name="T36" fmla="*/ 1264 w 1287"/>
                  <a:gd name="T37" fmla="*/ 1549 h 2582"/>
                  <a:gd name="T38" fmla="*/ 1230 w 1287"/>
                  <a:gd name="T39" fmla="*/ 1676 h 2582"/>
                  <a:gd name="T40" fmla="*/ 1184 w 1287"/>
                  <a:gd name="T41" fmla="*/ 1796 h 2582"/>
                  <a:gd name="T42" fmla="*/ 1133 w 1287"/>
                  <a:gd name="T43" fmla="*/ 1905 h 2582"/>
                  <a:gd name="T44" fmla="*/ 1070 w 1287"/>
                  <a:gd name="T45" fmla="*/ 2014 h 2582"/>
                  <a:gd name="T46" fmla="*/ 995 w 1287"/>
                  <a:gd name="T47" fmla="*/ 2112 h 2582"/>
                  <a:gd name="T48" fmla="*/ 910 w 1287"/>
                  <a:gd name="T49" fmla="*/ 2203 h 2582"/>
                  <a:gd name="T50" fmla="*/ 818 w 1287"/>
                  <a:gd name="T51" fmla="*/ 2289 h 2582"/>
                  <a:gd name="T52" fmla="*/ 721 w 1287"/>
                  <a:gd name="T53" fmla="*/ 2364 h 2582"/>
                  <a:gd name="T54" fmla="*/ 612 w 1287"/>
                  <a:gd name="T55" fmla="*/ 2427 h 2582"/>
                  <a:gd name="T56" fmla="*/ 498 w 1287"/>
                  <a:gd name="T57" fmla="*/ 2485 h 2582"/>
                  <a:gd name="T58" fmla="*/ 384 w 1287"/>
                  <a:gd name="T59" fmla="*/ 2525 h 2582"/>
                  <a:gd name="T60" fmla="*/ 258 w 1287"/>
                  <a:gd name="T61" fmla="*/ 2559 h 2582"/>
                  <a:gd name="T62" fmla="*/ 132 w 1287"/>
                  <a:gd name="T63" fmla="*/ 2576 h 2582"/>
                  <a:gd name="T64" fmla="*/ 0 w 1287"/>
                  <a:gd name="T65" fmla="*/ 2582 h 2582"/>
                  <a:gd name="T66" fmla="*/ 0 w 1287"/>
                  <a:gd name="T67" fmla="*/ 1291 h 2582"/>
                  <a:gd name="T68" fmla="*/ 0 w 1287"/>
                  <a:gd name="T69" fmla="*/ 0 h 25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287" h="2582">
                    <a:moveTo>
                      <a:pt x="0" y="0"/>
                    </a:moveTo>
                    <a:lnTo>
                      <a:pt x="132" y="6"/>
                    </a:lnTo>
                    <a:lnTo>
                      <a:pt x="258" y="23"/>
                    </a:lnTo>
                    <a:lnTo>
                      <a:pt x="384" y="57"/>
                    </a:lnTo>
                    <a:lnTo>
                      <a:pt x="498" y="98"/>
                    </a:lnTo>
                    <a:lnTo>
                      <a:pt x="612" y="155"/>
                    </a:lnTo>
                    <a:lnTo>
                      <a:pt x="721" y="218"/>
                    </a:lnTo>
                    <a:lnTo>
                      <a:pt x="818" y="293"/>
                    </a:lnTo>
                    <a:lnTo>
                      <a:pt x="910" y="379"/>
                    </a:lnTo>
                    <a:lnTo>
                      <a:pt x="995" y="471"/>
                    </a:lnTo>
                    <a:lnTo>
                      <a:pt x="1070" y="568"/>
                    </a:lnTo>
                    <a:lnTo>
                      <a:pt x="1133" y="677"/>
                    </a:lnTo>
                    <a:lnTo>
                      <a:pt x="1184" y="786"/>
                    </a:lnTo>
                    <a:lnTo>
                      <a:pt x="1230" y="907"/>
                    </a:lnTo>
                    <a:lnTo>
                      <a:pt x="1264" y="1027"/>
                    </a:lnTo>
                    <a:lnTo>
                      <a:pt x="1281" y="1159"/>
                    </a:lnTo>
                    <a:lnTo>
                      <a:pt x="1287" y="1291"/>
                    </a:lnTo>
                    <a:lnTo>
                      <a:pt x="1281" y="1423"/>
                    </a:lnTo>
                    <a:lnTo>
                      <a:pt x="1264" y="1549"/>
                    </a:lnTo>
                    <a:lnTo>
                      <a:pt x="1230" y="1676"/>
                    </a:lnTo>
                    <a:lnTo>
                      <a:pt x="1184" y="1796"/>
                    </a:lnTo>
                    <a:lnTo>
                      <a:pt x="1133" y="1905"/>
                    </a:lnTo>
                    <a:lnTo>
                      <a:pt x="1070" y="2014"/>
                    </a:lnTo>
                    <a:lnTo>
                      <a:pt x="995" y="2112"/>
                    </a:lnTo>
                    <a:lnTo>
                      <a:pt x="910" y="2203"/>
                    </a:lnTo>
                    <a:lnTo>
                      <a:pt x="818" y="2289"/>
                    </a:lnTo>
                    <a:lnTo>
                      <a:pt x="721" y="2364"/>
                    </a:lnTo>
                    <a:lnTo>
                      <a:pt x="612" y="2427"/>
                    </a:lnTo>
                    <a:lnTo>
                      <a:pt x="498" y="2485"/>
                    </a:lnTo>
                    <a:lnTo>
                      <a:pt x="384" y="2525"/>
                    </a:lnTo>
                    <a:lnTo>
                      <a:pt x="258" y="2559"/>
                    </a:lnTo>
                    <a:lnTo>
                      <a:pt x="132" y="2576"/>
                    </a:lnTo>
                    <a:lnTo>
                      <a:pt x="0" y="2582"/>
                    </a:lnTo>
                    <a:lnTo>
                      <a:pt x="0" y="129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2">
                  <a:lumMod val="60000"/>
                  <a:lumOff val="40000"/>
                </a:schemeClr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" name="Freeform 7">
                <a:extLst>
                  <a:ext uri="{FF2B5EF4-FFF2-40B4-BE49-F238E27FC236}">
                    <a16:creationId xmlns:a16="http://schemas.microsoft.com/office/drawing/2014/main" id="{BAD315FE-DC24-F78B-71AC-DCA08DF68D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789054" y="433388"/>
                <a:ext cx="2051050" cy="4098925"/>
              </a:xfrm>
              <a:custGeom>
                <a:avLst/>
                <a:gdLst>
                  <a:gd name="T0" fmla="*/ 1292 w 1292"/>
                  <a:gd name="T1" fmla="*/ 2582 h 2582"/>
                  <a:gd name="T2" fmla="*/ 1161 w 1292"/>
                  <a:gd name="T3" fmla="*/ 2576 h 2582"/>
                  <a:gd name="T4" fmla="*/ 1029 w 1292"/>
                  <a:gd name="T5" fmla="*/ 2559 h 2582"/>
                  <a:gd name="T6" fmla="*/ 909 w 1292"/>
                  <a:gd name="T7" fmla="*/ 2525 h 2582"/>
                  <a:gd name="T8" fmla="*/ 789 w 1292"/>
                  <a:gd name="T9" fmla="*/ 2485 h 2582"/>
                  <a:gd name="T10" fmla="*/ 675 w 1292"/>
                  <a:gd name="T11" fmla="*/ 2427 h 2582"/>
                  <a:gd name="T12" fmla="*/ 572 w 1292"/>
                  <a:gd name="T13" fmla="*/ 2364 h 2582"/>
                  <a:gd name="T14" fmla="*/ 469 w 1292"/>
                  <a:gd name="T15" fmla="*/ 2289 h 2582"/>
                  <a:gd name="T16" fmla="*/ 377 w 1292"/>
                  <a:gd name="T17" fmla="*/ 2203 h 2582"/>
                  <a:gd name="T18" fmla="*/ 297 w 1292"/>
                  <a:gd name="T19" fmla="*/ 2112 h 2582"/>
                  <a:gd name="T20" fmla="*/ 223 w 1292"/>
                  <a:gd name="T21" fmla="*/ 2014 h 2582"/>
                  <a:gd name="T22" fmla="*/ 160 w 1292"/>
                  <a:gd name="T23" fmla="*/ 1905 h 2582"/>
                  <a:gd name="T24" fmla="*/ 103 w 1292"/>
                  <a:gd name="T25" fmla="*/ 1796 h 2582"/>
                  <a:gd name="T26" fmla="*/ 63 w 1292"/>
                  <a:gd name="T27" fmla="*/ 1676 h 2582"/>
                  <a:gd name="T28" fmla="*/ 29 w 1292"/>
                  <a:gd name="T29" fmla="*/ 1549 h 2582"/>
                  <a:gd name="T30" fmla="*/ 11 w 1292"/>
                  <a:gd name="T31" fmla="*/ 1423 h 2582"/>
                  <a:gd name="T32" fmla="*/ 0 w 1292"/>
                  <a:gd name="T33" fmla="*/ 1291 h 2582"/>
                  <a:gd name="T34" fmla="*/ 11 w 1292"/>
                  <a:gd name="T35" fmla="*/ 1159 h 2582"/>
                  <a:gd name="T36" fmla="*/ 29 w 1292"/>
                  <a:gd name="T37" fmla="*/ 1027 h 2582"/>
                  <a:gd name="T38" fmla="*/ 63 w 1292"/>
                  <a:gd name="T39" fmla="*/ 907 h 2582"/>
                  <a:gd name="T40" fmla="*/ 103 w 1292"/>
                  <a:gd name="T41" fmla="*/ 786 h 2582"/>
                  <a:gd name="T42" fmla="*/ 160 w 1292"/>
                  <a:gd name="T43" fmla="*/ 677 h 2582"/>
                  <a:gd name="T44" fmla="*/ 223 w 1292"/>
                  <a:gd name="T45" fmla="*/ 568 h 2582"/>
                  <a:gd name="T46" fmla="*/ 297 w 1292"/>
                  <a:gd name="T47" fmla="*/ 471 h 2582"/>
                  <a:gd name="T48" fmla="*/ 377 w 1292"/>
                  <a:gd name="T49" fmla="*/ 379 h 2582"/>
                  <a:gd name="T50" fmla="*/ 469 w 1292"/>
                  <a:gd name="T51" fmla="*/ 293 h 2582"/>
                  <a:gd name="T52" fmla="*/ 572 w 1292"/>
                  <a:gd name="T53" fmla="*/ 218 h 2582"/>
                  <a:gd name="T54" fmla="*/ 675 w 1292"/>
                  <a:gd name="T55" fmla="*/ 155 h 2582"/>
                  <a:gd name="T56" fmla="*/ 789 w 1292"/>
                  <a:gd name="T57" fmla="*/ 98 h 2582"/>
                  <a:gd name="T58" fmla="*/ 909 w 1292"/>
                  <a:gd name="T59" fmla="*/ 57 h 2582"/>
                  <a:gd name="T60" fmla="*/ 1029 w 1292"/>
                  <a:gd name="T61" fmla="*/ 23 h 2582"/>
                  <a:gd name="T62" fmla="*/ 1161 w 1292"/>
                  <a:gd name="T63" fmla="*/ 6 h 2582"/>
                  <a:gd name="T64" fmla="*/ 1292 w 1292"/>
                  <a:gd name="T65" fmla="*/ 0 h 2582"/>
                  <a:gd name="T66" fmla="*/ 1292 w 1292"/>
                  <a:gd name="T67" fmla="*/ 1291 h 2582"/>
                  <a:gd name="T68" fmla="*/ 1292 w 1292"/>
                  <a:gd name="T69" fmla="*/ 2582 h 25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292" h="2582">
                    <a:moveTo>
                      <a:pt x="1292" y="2582"/>
                    </a:moveTo>
                    <a:lnTo>
                      <a:pt x="1161" y="2576"/>
                    </a:lnTo>
                    <a:lnTo>
                      <a:pt x="1029" y="2559"/>
                    </a:lnTo>
                    <a:lnTo>
                      <a:pt x="909" y="2525"/>
                    </a:lnTo>
                    <a:lnTo>
                      <a:pt x="789" y="2485"/>
                    </a:lnTo>
                    <a:lnTo>
                      <a:pt x="675" y="2427"/>
                    </a:lnTo>
                    <a:lnTo>
                      <a:pt x="572" y="2364"/>
                    </a:lnTo>
                    <a:lnTo>
                      <a:pt x="469" y="2289"/>
                    </a:lnTo>
                    <a:lnTo>
                      <a:pt x="377" y="2203"/>
                    </a:lnTo>
                    <a:lnTo>
                      <a:pt x="297" y="2112"/>
                    </a:lnTo>
                    <a:lnTo>
                      <a:pt x="223" y="2014"/>
                    </a:lnTo>
                    <a:lnTo>
                      <a:pt x="160" y="1905"/>
                    </a:lnTo>
                    <a:lnTo>
                      <a:pt x="103" y="1796"/>
                    </a:lnTo>
                    <a:lnTo>
                      <a:pt x="63" y="1676"/>
                    </a:lnTo>
                    <a:lnTo>
                      <a:pt x="29" y="1549"/>
                    </a:lnTo>
                    <a:lnTo>
                      <a:pt x="11" y="1423"/>
                    </a:lnTo>
                    <a:lnTo>
                      <a:pt x="0" y="1291"/>
                    </a:lnTo>
                    <a:lnTo>
                      <a:pt x="11" y="1159"/>
                    </a:lnTo>
                    <a:lnTo>
                      <a:pt x="29" y="1027"/>
                    </a:lnTo>
                    <a:lnTo>
                      <a:pt x="63" y="907"/>
                    </a:lnTo>
                    <a:lnTo>
                      <a:pt x="103" y="786"/>
                    </a:lnTo>
                    <a:lnTo>
                      <a:pt x="160" y="677"/>
                    </a:lnTo>
                    <a:lnTo>
                      <a:pt x="223" y="568"/>
                    </a:lnTo>
                    <a:lnTo>
                      <a:pt x="297" y="471"/>
                    </a:lnTo>
                    <a:lnTo>
                      <a:pt x="377" y="379"/>
                    </a:lnTo>
                    <a:lnTo>
                      <a:pt x="469" y="293"/>
                    </a:lnTo>
                    <a:lnTo>
                      <a:pt x="572" y="218"/>
                    </a:lnTo>
                    <a:lnTo>
                      <a:pt x="675" y="155"/>
                    </a:lnTo>
                    <a:lnTo>
                      <a:pt x="789" y="98"/>
                    </a:lnTo>
                    <a:lnTo>
                      <a:pt x="909" y="57"/>
                    </a:lnTo>
                    <a:lnTo>
                      <a:pt x="1029" y="23"/>
                    </a:lnTo>
                    <a:lnTo>
                      <a:pt x="1161" y="6"/>
                    </a:lnTo>
                    <a:lnTo>
                      <a:pt x="1292" y="0"/>
                    </a:lnTo>
                    <a:lnTo>
                      <a:pt x="1292" y="1291"/>
                    </a:lnTo>
                    <a:lnTo>
                      <a:pt x="1292" y="2582"/>
                    </a:ln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sp>
        <p:nvSpPr>
          <p:cNvPr id="12" name="Inhaltsplatzhalter 4">
            <a:extLst>
              <a:ext uri="{FF2B5EF4-FFF2-40B4-BE49-F238E27FC236}">
                <a16:creationId xmlns:a16="http://schemas.microsoft.com/office/drawing/2014/main" id="{93CCDEEC-D571-A7A9-5BD7-3A5978B2E43E}"/>
              </a:ext>
            </a:extLst>
          </p:cNvPr>
          <p:cNvSpPr txBox="1">
            <a:spLocks/>
          </p:cNvSpPr>
          <p:nvPr/>
        </p:nvSpPr>
        <p:spPr>
          <a:xfrm>
            <a:off x="8359319" y="3420977"/>
            <a:ext cx="3095119" cy="24929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300"/>
              </a:spcAft>
              <a:buNone/>
            </a:pPr>
            <a:r>
              <a:rPr lang="en-US" sz="1800" b="1" dirty="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INSERT HEADING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C4D93C99-BAFE-BD48-3CB8-EF01AA15DB65}"/>
              </a:ext>
            </a:extLst>
          </p:cNvPr>
          <p:cNvSpPr/>
          <p:nvPr/>
        </p:nvSpPr>
        <p:spPr>
          <a:xfrm>
            <a:off x="5325433" y="2908357"/>
            <a:ext cx="1298246" cy="1285391"/>
          </a:xfrm>
          <a:prstGeom prst="ellipse">
            <a:avLst/>
          </a:prstGeom>
          <a:solidFill>
            <a:schemeClr val="bg1"/>
          </a:solidFill>
          <a:ln w="76200">
            <a:solidFill>
              <a:schemeClr val="bg1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0" tIns="0" rIns="0" bIns="0" anchor="ctr" anchorCtr="1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280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</a:p>
        </p:txBody>
      </p:sp>
      <p:grpSp>
        <p:nvGrpSpPr>
          <p:cNvPr id="14" name="Shape0_20180718_204234">
            <a:extLst>
              <a:ext uri="{FF2B5EF4-FFF2-40B4-BE49-F238E27FC236}">
                <a16:creationId xmlns:a16="http://schemas.microsoft.com/office/drawing/2014/main" id="{C285BB01-31E8-0ED0-2190-B5923F5E1DE1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6899670" y="3292195"/>
            <a:ext cx="506863" cy="506863"/>
            <a:chOff x="5712408" y="975680"/>
            <a:chExt cx="671729" cy="639391"/>
          </a:xfrm>
        </p:grpSpPr>
        <p:sp>
          <p:nvSpPr>
            <p:cNvPr id="15" name="Freeform 26">
              <a:extLst>
                <a:ext uri="{FF2B5EF4-FFF2-40B4-BE49-F238E27FC236}">
                  <a16:creationId xmlns:a16="http://schemas.microsoft.com/office/drawing/2014/main" id="{3FADDFB7-DD57-2345-A369-1EFE37F811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12408" y="975680"/>
              <a:ext cx="671729" cy="639391"/>
            </a:xfrm>
            <a:custGeom>
              <a:avLst/>
              <a:gdLst>
                <a:gd name="T0" fmla="*/ 117 w 128"/>
                <a:gd name="T1" fmla="*/ 0 h 122"/>
                <a:gd name="T2" fmla="*/ 11 w 128"/>
                <a:gd name="T3" fmla="*/ 0 h 122"/>
                <a:gd name="T4" fmla="*/ 0 w 128"/>
                <a:gd name="T5" fmla="*/ 11 h 122"/>
                <a:gd name="T6" fmla="*/ 0 w 128"/>
                <a:gd name="T7" fmla="*/ 93 h 122"/>
                <a:gd name="T8" fmla="*/ 11 w 128"/>
                <a:gd name="T9" fmla="*/ 104 h 122"/>
                <a:gd name="T10" fmla="*/ 43 w 128"/>
                <a:gd name="T11" fmla="*/ 104 h 122"/>
                <a:gd name="T12" fmla="*/ 38 w 128"/>
                <a:gd name="T13" fmla="*/ 110 h 122"/>
                <a:gd name="T14" fmla="*/ 35 w 128"/>
                <a:gd name="T15" fmla="*/ 113 h 122"/>
                <a:gd name="T16" fmla="*/ 34 w 128"/>
                <a:gd name="T17" fmla="*/ 118 h 122"/>
                <a:gd name="T18" fmla="*/ 42 w 128"/>
                <a:gd name="T19" fmla="*/ 122 h 122"/>
                <a:gd name="T20" fmla="*/ 86 w 128"/>
                <a:gd name="T21" fmla="*/ 122 h 122"/>
                <a:gd name="T22" fmla="*/ 94 w 128"/>
                <a:gd name="T23" fmla="*/ 118 h 122"/>
                <a:gd name="T24" fmla="*/ 94 w 128"/>
                <a:gd name="T25" fmla="*/ 113 h 122"/>
                <a:gd name="T26" fmla="*/ 91 w 128"/>
                <a:gd name="T27" fmla="*/ 110 h 122"/>
                <a:gd name="T28" fmla="*/ 85 w 128"/>
                <a:gd name="T29" fmla="*/ 104 h 122"/>
                <a:gd name="T30" fmla="*/ 117 w 128"/>
                <a:gd name="T31" fmla="*/ 104 h 122"/>
                <a:gd name="T32" fmla="*/ 128 w 128"/>
                <a:gd name="T33" fmla="*/ 93 h 122"/>
                <a:gd name="T34" fmla="*/ 128 w 128"/>
                <a:gd name="T35" fmla="*/ 11 h 122"/>
                <a:gd name="T36" fmla="*/ 117 w 128"/>
                <a:gd name="T37" fmla="*/ 0 h 122"/>
                <a:gd name="T38" fmla="*/ 88 w 128"/>
                <a:gd name="T39" fmla="*/ 113 h 122"/>
                <a:gd name="T40" fmla="*/ 90 w 128"/>
                <a:gd name="T41" fmla="*/ 116 h 122"/>
                <a:gd name="T42" fmla="*/ 90 w 128"/>
                <a:gd name="T43" fmla="*/ 116 h 122"/>
                <a:gd name="T44" fmla="*/ 86 w 128"/>
                <a:gd name="T45" fmla="*/ 118 h 122"/>
                <a:gd name="T46" fmla="*/ 42 w 128"/>
                <a:gd name="T47" fmla="*/ 118 h 122"/>
                <a:gd name="T48" fmla="*/ 38 w 128"/>
                <a:gd name="T49" fmla="*/ 116 h 122"/>
                <a:gd name="T50" fmla="*/ 38 w 128"/>
                <a:gd name="T51" fmla="*/ 116 h 122"/>
                <a:gd name="T52" fmla="*/ 38 w 128"/>
                <a:gd name="T53" fmla="*/ 116 h 122"/>
                <a:gd name="T54" fmla="*/ 40 w 128"/>
                <a:gd name="T55" fmla="*/ 113 h 122"/>
                <a:gd name="T56" fmla="*/ 48 w 128"/>
                <a:gd name="T57" fmla="*/ 104 h 122"/>
                <a:gd name="T58" fmla="*/ 80 w 128"/>
                <a:gd name="T59" fmla="*/ 104 h 122"/>
                <a:gd name="T60" fmla="*/ 88 w 128"/>
                <a:gd name="T61" fmla="*/ 113 h 122"/>
                <a:gd name="T62" fmla="*/ 120 w 128"/>
                <a:gd name="T63" fmla="*/ 93 h 122"/>
                <a:gd name="T64" fmla="*/ 117 w 128"/>
                <a:gd name="T65" fmla="*/ 96 h 122"/>
                <a:gd name="T66" fmla="*/ 11 w 128"/>
                <a:gd name="T67" fmla="*/ 96 h 122"/>
                <a:gd name="T68" fmla="*/ 8 w 128"/>
                <a:gd name="T69" fmla="*/ 93 h 122"/>
                <a:gd name="T70" fmla="*/ 8 w 128"/>
                <a:gd name="T71" fmla="*/ 11 h 122"/>
                <a:gd name="T72" fmla="*/ 11 w 128"/>
                <a:gd name="T73" fmla="*/ 8 h 122"/>
                <a:gd name="T74" fmla="*/ 117 w 128"/>
                <a:gd name="T75" fmla="*/ 8 h 122"/>
                <a:gd name="T76" fmla="*/ 120 w 128"/>
                <a:gd name="T77" fmla="*/ 11 h 122"/>
                <a:gd name="T78" fmla="*/ 120 w 128"/>
                <a:gd name="T79" fmla="*/ 93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8" h="122">
                  <a:moveTo>
                    <a:pt x="117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99"/>
                    <a:pt x="5" y="104"/>
                    <a:pt x="11" y="104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42" y="106"/>
                    <a:pt x="39" y="109"/>
                    <a:pt x="38" y="110"/>
                  </a:cubicBezTo>
                  <a:cubicBezTo>
                    <a:pt x="36" y="111"/>
                    <a:pt x="35" y="112"/>
                    <a:pt x="35" y="113"/>
                  </a:cubicBezTo>
                  <a:cubicBezTo>
                    <a:pt x="34" y="114"/>
                    <a:pt x="33" y="116"/>
                    <a:pt x="34" y="118"/>
                  </a:cubicBezTo>
                  <a:cubicBezTo>
                    <a:pt x="35" y="120"/>
                    <a:pt x="37" y="122"/>
                    <a:pt x="42" y="122"/>
                  </a:cubicBezTo>
                  <a:cubicBezTo>
                    <a:pt x="86" y="122"/>
                    <a:pt x="86" y="122"/>
                    <a:pt x="86" y="122"/>
                  </a:cubicBezTo>
                  <a:cubicBezTo>
                    <a:pt x="91" y="122"/>
                    <a:pt x="93" y="120"/>
                    <a:pt x="94" y="118"/>
                  </a:cubicBezTo>
                  <a:cubicBezTo>
                    <a:pt x="95" y="116"/>
                    <a:pt x="95" y="114"/>
                    <a:pt x="94" y="113"/>
                  </a:cubicBezTo>
                  <a:cubicBezTo>
                    <a:pt x="93" y="112"/>
                    <a:pt x="92" y="111"/>
                    <a:pt x="91" y="110"/>
                  </a:cubicBezTo>
                  <a:cubicBezTo>
                    <a:pt x="89" y="109"/>
                    <a:pt x="87" y="106"/>
                    <a:pt x="85" y="104"/>
                  </a:cubicBezTo>
                  <a:cubicBezTo>
                    <a:pt x="117" y="104"/>
                    <a:pt x="117" y="104"/>
                    <a:pt x="117" y="104"/>
                  </a:cubicBezTo>
                  <a:cubicBezTo>
                    <a:pt x="123" y="104"/>
                    <a:pt x="128" y="99"/>
                    <a:pt x="128" y="93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28" y="5"/>
                    <a:pt x="123" y="0"/>
                    <a:pt x="117" y="0"/>
                  </a:cubicBezTo>
                  <a:close/>
                  <a:moveTo>
                    <a:pt x="88" y="113"/>
                  </a:moveTo>
                  <a:cubicBezTo>
                    <a:pt x="89" y="114"/>
                    <a:pt x="90" y="115"/>
                    <a:pt x="90" y="116"/>
                  </a:cubicBezTo>
                  <a:cubicBezTo>
                    <a:pt x="90" y="116"/>
                    <a:pt x="91" y="116"/>
                    <a:pt x="90" y="116"/>
                  </a:cubicBezTo>
                  <a:cubicBezTo>
                    <a:pt x="90" y="117"/>
                    <a:pt x="88" y="118"/>
                    <a:pt x="86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0" y="118"/>
                    <a:pt x="38" y="117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5"/>
                    <a:pt x="39" y="114"/>
                    <a:pt x="40" y="113"/>
                  </a:cubicBezTo>
                  <a:cubicBezTo>
                    <a:pt x="44" y="109"/>
                    <a:pt x="47" y="106"/>
                    <a:pt x="48" y="104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82" y="106"/>
                    <a:pt x="84" y="109"/>
                    <a:pt x="88" y="113"/>
                  </a:cubicBezTo>
                  <a:close/>
                  <a:moveTo>
                    <a:pt x="120" y="93"/>
                  </a:moveTo>
                  <a:cubicBezTo>
                    <a:pt x="120" y="95"/>
                    <a:pt x="119" y="96"/>
                    <a:pt x="117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9" y="96"/>
                    <a:pt x="8" y="95"/>
                    <a:pt x="8" y="93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9"/>
                    <a:pt x="9" y="8"/>
                    <a:pt x="11" y="8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9" y="8"/>
                    <a:pt x="120" y="9"/>
                    <a:pt x="120" y="11"/>
                  </a:cubicBezTo>
                  <a:lnTo>
                    <a:pt x="120" y="9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16" name="Freeform 27">
              <a:extLst>
                <a:ext uri="{FF2B5EF4-FFF2-40B4-BE49-F238E27FC236}">
                  <a16:creationId xmlns:a16="http://schemas.microsoft.com/office/drawing/2014/main" id="{F01D2568-FA2C-7D7E-FBFA-EECC47262A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96917" y="1058042"/>
              <a:ext cx="502713" cy="338119"/>
            </a:xfrm>
            <a:custGeom>
              <a:avLst/>
              <a:gdLst>
                <a:gd name="T0" fmla="*/ 89 w 96"/>
                <a:gd name="T1" fmla="*/ 0 h 64"/>
                <a:gd name="T2" fmla="*/ 7 w 96"/>
                <a:gd name="T3" fmla="*/ 0 h 64"/>
                <a:gd name="T4" fmla="*/ 0 w 96"/>
                <a:gd name="T5" fmla="*/ 7 h 64"/>
                <a:gd name="T6" fmla="*/ 0 w 96"/>
                <a:gd name="T7" fmla="*/ 57 h 64"/>
                <a:gd name="T8" fmla="*/ 7 w 96"/>
                <a:gd name="T9" fmla="*/ 64 h 64"/>
                <a:gd name="T10" fmla="*/ 89 w 96"/>
                <a:gd name="T11" fmla="*/ 64 h 64"/>
                <a:gd name="T12" fmla="*/ 96 w 96"/>
                <a:gd name="T13" fmla="*/ 57 h 64"/>
                <a:gd name="T14" fmla="*/ 96 w 96"/>
                <a:gd name="T15" fmla="*/ 7 h 64"/>
                <a:gd name="T16" fmla="*/ 89 w 96"/>
                <a:gd name="T17" fmla="*/ 0 h 64"/>
                <a:gd name="T18" fmla="*/ 92 w 96"/>
                <a:gd name="T19" fmla="*/ 57 h 64"/>
                <a:gd name="T20" fmla="*/ 89 w 96"/>
                <a:gd name="T21" fmla="*/ 60 h 64"/>
                <a:gd name="T22" fmla="*/ 7 w 96"/>
                <a:gd name="T23" fmla="*/ 60 h 64"/>
                <a:gd name="T24" fmla="*/ 4 w 96"/>
                <a:gd name="T25" fmla="*/ 57 h 64"/>
                <a:gd name="T26" fmla="*/ 4 w 96"/>
                <a:gd name="T27" fmla="*/ 7 h 64"/>
                <a:gd name="T28" fmla="*/ 7 w 96"/>
                <a:gd name="T29" fmla="*/ 4 h 64"/>
                <a:gd name="T30" fmla="*/ 89 w 96"/>
                <a:gd name="T31" fmla="*/ 4 h 64"/>
                <a:gd name="T32" fmla="*/ 92 w 96"/>
                <a:gd name="T33" fmla="*/ 7 h 64"/>
                <a:gd name="T34" fmla="*/ 92 w 96"/>
                <a:gd name="T35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6" h="64">
                  <a:moveTo>
                    <a:pt x="89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1"/>
                    <a:pt x="3" y="64"/>
                    <a:pt x="7" y="64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93" y="64"/>
                    <a:pt x="96" y="61"/>
                    <a:pt x="96" y="5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3"/>
                    <a:pt x="93" y="0"/>
                    <a:pt x="89" y="0"/>
                  </a:cubicBezTo>
                  <a:close/>
                  <a:moveTo>
                    <a:pt x="92" y="57"/>
                  </a:moveTo>
                  <a:cubicBezTo>
                    <a:pt x="92" y="59"/>
                    <a:pt x="91" y="60"/>
                    <a:pt x="89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5" y="60"/>
                    <a:pt x="4" y="59"/>
                    <a:pt x="4" y="5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5" y="4"/>
                    <a:pt x="7" y="4"/>
                  </a:cubicBezTo>
                  <a:cubicBezTo>
                    <a:pt x="89" y="4"/>
                    <a:pt x="89" y="4"/>
                    <a:pt x="89" y="4"/>
                  </a:cubicBezTo>
                  <a:cubicBezTo>
                    <a:pt x="91" y="4"/>
                    <a:pt x="92" y="5"/>
                    <a:pt x="92" y="7"/>
                  </a:cubicBezTo>
                  <a:lnTo>
                    <a:pt x="92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17" name="Freeform 28">
              <a:extLst>
                <a:ext uri="{FF2B5EF4-FFF2-40B4-BE49-F238E27FC236}">
                  <a16:creationId xmlns:a16="http://schemas.microsoft.com/office/drawing/2014/main" id="{C03E70C4-6445-0177-ECD7-69B48762D5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17937" y="1404831"/>
              <a:ext cx="62840" cy="65023"/>
            </a:xfrm>
            <a:custGeom>
              <a:avLst/>
              <a:gdLst>
                <a:gd name="T0" fmla="*/ 6 w 12"/>
                <a:gd name="T1" fmla="*/ 0 h 12"/>
                <a:gd name="T2" fmla="*/ 0 w 12"/>
                <a:gd name="T3" fmla="*/ 6 h 12"/>
                <a:gd name="T4" fmla="*/ 6 w 12"/>
                <a:gd name="T5" fmla="*/ 12 h 12"/>
                <a:gd name="T6" fmla="*/ 12 w 12"/>
                <a:gd name="T7" fmla="*/ 6 h 12"/>
                <a:gd name="T8" fmla="*/ 6 w 12"/>
                <a:gd name="T9" fmla="*/ 0 h 12"/>
                <a:gd name="T10" fmla="*/ 6 w 12"/>
                <a:gd name="T11" fmla="*/ 8 h 12"/>
                <a:gd name="T12" fmla="*/ 4 w 12"/>
                <a:gd name="T13" fmla="*/ 6 h 12"/>
                <a:gd name="T14" fmla="*/ 6 w 12"/>
                <a:gd name="T15" fmla="*/ 4 h 12"/>
                <a:gd name="T16" fmla="*/ 8 w 12"/>
                <a:gd name="T17" fmla="*/ 6 h 12"/>
                <a:gd name="T18" fmla="*/ 6 w 12"/>
                <a:gd name="T1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9" y="12"/>
                    <a:pt x="12" y="9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lose/>
                  <a:moveTo>
                    <a:pt x="6" y="8"/>
                  </a:moveTo>
                  <a:cubicBezTo>
                    <a:pt x="5" y="8"/>
                    <a:pt x="4" y="7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7" y="4"/>
                    <a:pt x="8" y="5"/>
                    <a:pt x="8" y="6"/>
                  </a:cubicBezTo>
                  <a:cubicBezTo>
                    <a:pt x="8" y="7"/>
                    <a:pt x="7" y="8"/>
                    <a:pt x="6" y="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18" name="Freeform 29">
              <a:extLst>
                <a:ext uri="{FF2B5EF4-FFF2-40B4-BE49-F238E27FC236}">
                  <a16:creationId xmlns:a16="http://schemas.microsoft.com/office/drawing/2014/main" id="{9FBCF39C-39B2-05AE-FEDF-0BF737A9FFA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3429" y="1190255"/>
              <a:ext cx="84509" cy="88864"/>
            </a:xfrm>
            <a:custGeom>
              <a:avLst/>
              <a:gdLst>
                <a:gd name="T0" fmla="*/ 0 w 39"/>
                <a:gd name="T1" fmla="*/ 24 h 41"/>
                <a:gd name="T2" fmla="*/ 39 w 39"/>
                <a:gd name="T3" fmla="*/ 41 h 41"/>
                <a:gd name="T4" fmla="*/ 39 w 39"/>
                <a:gd name="T5" fmla="*/ 32 h 41"/>
                <a:gd name="T6" fmla="*/ 12 w 39"/>
                <a:gd name="T7" fmla="*/ 19 h 41"/>
                <a:gd name="T8" fmla="*/ 39 w 39"/>
                <a:gd name="T9" fmla="*/ 10 h 41"/>
                <a:gd name="T10" fmla="*/ 39 w 39"/>
                <a:gd name="T11" fmla="*/ 0 h 41"/>
                <a:gd name="T12" fmla="*/ 0 w 39"/>
                <a:gd name="T13" fmla="*/ 17 h 41"/>
                <a:gd name="T14" fmla="*/ 0 w 39"/>
                <a:gd name="T15" fmla="*/ 2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41">
                  <a:moveTo>
                    <a:pt x="0" y="24"/>
                  </a:moveTo>
                  <a:lnTo>
                    <a:pt x="39" y="41"/>
                  </a:lnTo>
                  <a:lnTo>
                    <a:pt x="39" y="32"/>
                  </a:lnTo>
                  <a:lnTo>
                    <a:pt x="12" y="19"/>
                  </a:lnTo>
                  <a:lnTo>
                    <a:pt x="39" y="10"/>
                  </a:lnTo>
                  <a:lnTo>
                    <a:pt x="39" y="0"/>
                  </a:lnTo>
                  <a:lnTo>
                    <a:pt x="0" y="17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19" name="Freeform 30">
              <a:extLst>
                <a:ext uri="{FF2B5EF4-FFF2-40B4-BE49-F238E27FC236}">
                  <a16:creationId xmlns:a16="http://schemas.microsoft.com/office/drawing/2014/main" id="{170EABE9-2753-94B7-887B-CDEABE352F27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6605" y="1175084"/>
              <a:ext cx="43337" cy="119208"/>
            </a:xfrm>
            <a:custGeom>
              <a:avLst/>
              <a:gdLst>
                <a:gd name="T0" fmla="*/ 7 w 8"/>
                <a:gd name="T1" fmla="*/ 0 h 23"/>
                <a:gd name="T2" fmla="*/ 5 w 8"/>
                <a:gd name="T3" fmla="*/ 0 h 23"/>
                <a:gd name="T4" fmla="*/ 5 w 8"/>
                <a:gd name="T5" fmla="*/ 2 h 23"/>
                <a:gd name="T6" fmla="*/ 0 w 8"/>
                <a:gd name="T7" fmla="*/ 20 h 23"/>
                <a:gd name="T8" fmla="*/ 0 w 8"/>
                <a:gd name="T9" fmla="*/ 22 h 23"/>
                <a:gd name="T10" fmla="*/ 2 w 8"/>
                <a:gd name="T11" fmla="*/ 23 h 23"/>
                <a:gd name="T12" fmla="*/ 3 w 8"/>
                <a:gd name="T13" fmla="*/ 23 h 23"/>
                <a:gd name="T14" fmla="*/ 3 w 8"/>
                <a:gd name="T15" fmla="*/ 22 h 23"/>
                <a:gd name="T16" fmla="*/ 4 w 8"/>
                <a:gd name="T17" fmla="*/ 21 h 23"/>
                <a:gd name="T18" fmla="*/ 8 w 8"/>
                <a:gd name="T19" fmla="*/ 3 h 23"/>
                <a:gd name="T20" fmla="*/ 8 w 8"/>
                <a:gd name="T21" fmla="*/ 1 h 23"/>
                <a:gd name="T22" fmla="*/ 8 w 8"/>
                <a:gd name="T23" fmla="*/ 0 h 23"/>
                <a:gd name="T24" fmla="*/ 7 w 8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3">
                  <a:moveTo>
                    <a:pt x="7" y="0"/>
                  </a:move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1"/>
                    <a:pt x="5" y="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0" y="23"/>
                    <a:pt x="1" y="23"/>
                    <a:pt x="2" y="23"/>
                  </a:cubicBezTo>
                  <a:cubicBezTo>
                    <a:pt x="2" y="23"/>
                    <a:pt x="2" y="23"/>
                    <a:pt x="3" y="23"/>
                  </a:cubicBezTo>
                  <a:cubicBezTo>
                    <a:pt x="3" y="23"/>
                    <a:pt x="3" y="22"/>
                    <a:pt x="3" y="22"/>
                  </a:cubicBezTo>
                  <a:cubicBezTo>
                    <a:pt x="3" y="22"/>
                    <a:pt x="3" y="21"/>
                    <a:pt x="4" y="2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20" name="Freeform 31">
              <a:extLst>
                <a:ext uri="{FF2B5EF4-FFF2-40B4-BE49-F238E27FC236}">
                  <a16:creationId xmlns:a16="http://schemas.microsoft.com/office/drawing/2014/main" id="{FCDF9CD6-72DE-FD61-4E26-53F2905CE1F1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0776" y="1190255"/>
              <a:ext cx="82341" cy="88864"/>
            </a:xfrm>
            <a:custGeom>
              <a:avLst/>
              <a:gdLst>
                <a:gd name="T0" fmla="*/ 0 w 38"/>
                <a:gd name="T1" fmla="*/ 10 h 41"/>
                <a:gd name="T2" fmla="*/ 26 w 38"/>
                <a:gd name="T3" fmla="*/ 19 h 41"/>
                <a:gd name="T4" fmla="*/ 0 w 38"/>
                <a:gd name="T5" fmla="*/ 32 h 41"/>
                <a:gd name="T6" fmla="*/ 0 w 38"/>
                <a:gd name="T7" fmla="*/ 41 h 41"/>
                <a:gd name="T8" fmla="*/ 38 w 38"/>
                <a:gd name="T9" fmla="*/ 24 h 41"/>
                <a:gd name="T10" fmla="*/ 38 w 38"/>
                <a:gd name="T11" fmla="*/ 17 h 41"/>
                <a:gd name="T12" fmla="*/ 0 w 38"/>
                <a:gd name="T13" fmla="*/ 0 h 41"/>
                <a:gd name="T14" fmla="*/ 0 w 38"/>
                <a:gd name="T15" fmla="*/ 1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41">
                  <a:moveTo>
                    <a:pt x="0" y="10"/>
                  </a:moveTo>
                  <a:lnTo>
                    <a:pt x="26" y="19"/>
                  </a:lnTo>
                  <a:lnTo>
                    <a:pt x="0" y="32"/>
                  </a:lnTo>
                  <a:lnTo>
                    <a:pt x="0" y="41"/>
                  </a:lnTo>
                  <a:lnTo>
                    <a:pt x="38" y="24"/>
                  </a:lnTo>
                  <a:lnTo>
                    <a:pt x="38" y="17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</p:grpSp>
      <p:sp>
        <p:nvSpPr>
          <p:cNvPr id="21" name="Shape2_20180718_204234">
            <a:extLst>
              <a:ext uri="{FF2B5EF4-FFF2-40B4-BE49-F238E27FC236}">
                <a16:creationId xmlns:a16="http://schemas.microsoft.com/office/drawing/2014/main" id="{A95491B3-1DEE-B068-A547-440C8577F477}"/>
              </a:ext>
            </a:extLst>
          </p:cNvPr>
          <p:cNvSpPr>
            <a:spLocks noChangeAspect="1" noEditPoints="1"/>
          </p:cNvSpPr>
          <p:nvPr>
            <p:custDataLst>
              <p:tags r:id="rId3"/>
            </p:custDataLst>
          </p:nvPr>
        </p:nvSpPr>
        <p:spPr bwMode="auto">
          <a:xfrm>
            <a:off x="4553706" y="3292195"/>
            <a:ext cx="506863" cy="506863"/>
          </a:xfrm>
          <a:custGeom>
            <a:avLst/>
            <a:gdLst>
              <a:gd name="T0" fmla="*/ 232 w 256"/>
              <a:gd name="T1" fmla="*/ 84 h 227"/>
              <a:gd name="T2" fmla="*/ 172 w 256"/>
              <a:gd name="T3" fmla="*/ 44 h 227"/>
              <a:gd name="T4" fmla="*/ 120 w 256"/>
              <a:gd name="T5" fmla="*/ 48 h 227"/>
              <a:gd name="T6" fmla="*/ 64 w 256"/>
              <a:gd name="T7" fmla="*/ 107 h 227"/>
              <a:gd name="T8" fmla="*/ 0 w 256"/>
              <a:gd name="T9" fmla="*/ 131 h 227"/>
              <a:gd name="T10" fmla="*/ 32 w 256"/>
              <a:gd name="T11" fmla="*/ 227 h 227"/>
              <a:gd name="T12" fmla="*/ 87 w 256"/>
              <a:gd name="T13" fmla="*/ 212 h 227"/>
              <a:gd name="T14" fmla="*/ 103 w 256"/>
              <a:gd name="T15" fmla="*/ 219 h 227"/>
              <a:gd name="T16" fmla="*/ 232 w 256"/>
              <a:gd name="T17" fmla="*/ 197 h 227"/>
              <a:gd name="T18" fmla="*/ 240 w 256"/>
              <a:gd name="T19" fmla="*/ 169 h 227"/>
              <a:gd name="T20" fmla="*/ 248 w 256"/>
              <a:gd name="T21" fmla="*/ 140 h 227"/>
              <a:gd name="T22" fmla="*/ 256 w 256"/>
              <a:gd name="T23" fmla="*/ 108 h 227"/>
              <a:gd name="T24" fmla="*/ 32 w 256"/>
              <a:gd name="T25" fmla="*/ 211 h 227"/>
              <a:gd name="T26" fmla="*/ 16 w 256"/>
              <a:gd name="T27" fmla="*/ 131 h 227"/>
              <a:gd name="T28" fmla="*/ 64 w 256"/>
              <a:gd name="T29" fmla="*/ 123 h 227"/>
              <a:gd name="T30" fmla="*/ 72 w 256"/>
              <a:gd name="T31" fmla="*/ 198 h 227"/>
              <a:gd name="T32" fmla="*/ 72 w 256"/>
              <a:gd name="T33" fmla="*/ 203 h 227"/>
              <a:gd name="T34" fmla="*/ 210 w 256"/>
              <a:gd name="T35" fmla="*/ 203 h 227"/>
              <a:gd name="T36" fmla="*/ 88 w 256"/>
              <a:gd name="T37" fmla="*/ 194 h 227"/>
              <a:gd name="T38" fmla="*/ 86 w 256"/>
              <a:gd name="T39" fmla="*/ 121 h 227"/>
              <a:gd name="T40" fmla="*/ 140 w 256"/>
              <a:gd name="T41" fmla="*/ 16 h 227"/>
              <a:gd name="T42" fmla="*/ 152 w 256"/>
              <a:gd name="T43" fmla="*/ 90 h 227"/>
              <a:gd name="T44" fmla="*/ 160 w 256"/>
              <a:gd name="T45" fmla="*/ 100 h 227"/>
              <a:gd name="T46" fmla="*/ 240 w 256"/>
              <a:gd name="T47" fmla="*/ 108 h 227"/>
              <a:gd name="T48" fmla="*/ 223 w 256"/>
              <a:gd name="T49" fmla="*/ 116 h 227"/>
              <a:gd name="T50" fmla="*/ 223 w 256"/>
              <a:gd name="T51" fmla="*/ 132 h 227"/>
              <a:gd name="T52" fmla="*/ 224 w 256"/>
              <a:gd name="T53" fmla="*/ 132 h 227"/>
              <a:gd name="T54" fmla="*/ 224 w 256"/>
              <a:gd name="T55" fmla="*/ 148 h 227"/>
              <a:gd name="T56" fmla="*/ 218 w 256"/>
              <a:gd name="T57" fmla="*/ 147 h 227"/>
              <a:gd name="T58" fmla="*/ 215 w 256"/>
              <a:gd name="T59" fmla="*/ 148 h 227"/>
              <a:gd name="T60" fmla="*/ 215 w 256"/>
              <a:gd name="T61" fmla="*/ 164 h 227"/>
              <a:gd name="T62" fmla="*/ 224 w 256"/>
              <a:gd name="T63" fmla="*/ 169 h 227"/>
              <a:gd name="T64" fmla="*/ 210 w 256"/>
              <a:gd name="T65" fmla="*/ 175 h 227"/>
              <a:gd name="T66" fmla="*/ 210 w 256"/>
              <a:gd name="T67" fmla="*/ 175 h 227"/>
              <a:gd name="T68" fmla="*/ 210 w 256"/>
              <a:gd name="T69" fmla="*/ 191 h 227"/>
              <a:gd name="T70" fmla="*/ 210 w 256"/>
              <a:gd name="T71" fmla="*/ 203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56" h="227">
                <a:moveTo>
                  <a:pt x="256" y="108"/>
                </a:moveTo>
                <a:cubicBezTo>
                  <a:pt x="256" y="94"/>
                  <a:pt x="245" y="84"/>
                  <a:pt x="232" y="84"/>
                </a:cubicBezTo>
                <a:cubicBezTo>
                  <a:pt x="169" y="84"/>
                  <a:pt x="169" y="84"/>
                  <a:pt x="169" y="84"/>
                </a:cubicBezTo>
                <a:cubicBezTo>
                  <a:pt x="171" y="74"/>
                  <a:pt x="172" y="59"/>
                  <a:pt x="172" y="44"/>
                </a:cubicBezTo>
                <a:cubicBezTo>
                  <a:pt x="172" y="13"/>
                  <a:pt x="156" y="0"/>
                  <a:pt x="140" y="0"/>
                </a:cubicBezTo>
                <a:cubicBezTo>
                  <a:pt x="120" y="0"/>
                  <a:pt x="120" y="21"/>
                  <a:pt x="120" y="48"/>
                </a:cubicBezTo>
                <a:cubicBezTo>
                  <a:pt x="120" y="67"/>
                  <a:pt x="90" y="97"/>
                  <a:pt x="75" y="110"/>
                </a:cubicBezTo>
                <a:cubicBezTo>
                  <a:pt x="71" y="108"/>
                  <a:pt x="68" y="107"/>
                  <a:pt x="64" y="107"/>
                </a:cubicBezTo>
                <a:cubicBezTo>
                  <a:pt x="24" y="107"/>
                  <a:pt x="24" y="107"/>
                  <a:pt x="24" y="107"/>
                </a:cubicBezTo>
                <a:cubicBezTo>
                  <a:pt x="11" y="107"/>
                  <a:pt x="0" y="118"/>
                  <a:pt x="0" y="131"/>
                </a:cubicBezTo>
                <a:cubicBezTo>
                  <a:pt x="8" y="203"/>
                  <a:pt x="8" y="203"/>
                  <a:pt x="8" y="203"/>
                </a:cubicBezTo>
                <a:cubicBezTo>
                  <a:pt x="10" y="216"/>
                  <a:pt x="19" y="227"/>
                  <a:pt x="32" y="227"/>
                </a:cubicBezTo>
                <a:cubicBezTo>
                  <a:pt x="64" y="227"/>
                  <a:pt x="64" y="227"/>
                  <a:pt x="64" y="227"/>
                </a:cubicBezTo>
                <a:cubicBezTo>
                  <a:pt x="74" y="227"/>
                  <a:pt x="83" y="221"/>
                  <a:pt x="87" y="212"/>
                </a:cubicBezTo>
                <a:cubicBezTo>
                  <a:pt x="100" y="219"/>
                  <a:pt x="100" y="219"/>
                  <a:pt x="100" y="219"/>
                </a:cubicBezTo>
                <a:cubicBezTo>
                  <a:pt x="101" y="219"/>
                  <a:pt x="102" y="219"/>
                  <a:pt x="103" y="219"/>
                </a:cubicBezTo>
                <a:cubicBezTo>
                  <a:pt x="210" y="219"/>
                  <a:pt x="210" y="219"/>
                  <a:pt x="210" y="219"/>
                </a:cubicBezTo>
                <a:cubicBezTo>
                  <a:pt x="222" y="219"/>
                  <a:pt x="232" y="210"/>
                  <a:pt x="232" y="197"/>
                </a:cubicBezTo>
                <a:cubicBezTo>
                  <a:pt x="232" y="194"/>
                  <a:pt x="231" y="191"/>
                  <a:pt x="230" y="188"/>
                </a:cubicBezTo>
                <a:cubicBezTo>
                  <a:pt x="236" y="184"/>
                  <a:pt x="240" y="177"/>
                  <a:pt x="240" y="169"/>
                </a:cubicBezTo>
                <a:cubicBezTo>
                  <a:pt x="240" y="166"/>
                  <a:pt x="239" y="162"/>
                  <a:pt x="238" y="159"/>
                </a:cubicBezTo>
                <a:cubicBezTo>
                  <a:pt x="244" y="155"/>
                  <a:pt x="248" y="148"/>
                  <a:pt x="248" y="140"/>
                </a:cubicBezTo>
                <a:cubicBezTo>
                  <a:pt x="248" y="135"/>
                  <a:pt x="247" y="131"/>
                  <a:pt x="245" y="128"/>
                </a:cubicBezTo>
                <a:cubicBezTo>
                  <a:pt x="252" y="123"/>
                  <a:pt x="256" y="116"/>
                  <a:pt x="256" y="108"/>
                </a:cubicBezTo>
                <a:close/>
                <a:moveTo>
                  <a:pt x="64" y="211"/>
                </a:moveTo>
                <a:cubicBezTo>
                  <a:pt x="32" y="211"/>
                  <a:pt x="32" y="211"/>
                  <a:pt x="32" y="211"/>
                </a:cubicBezTo>
                <a:cubicBezTo>
                  <a:pt x="28" y="211"/>
                  <a:pt x="25" y="206"/>
                  <a:pt x="24" y="202"/>
                </a:cubicBezTo>
                <a:cubicBezTo>
                  <a:pt x="16" y="131"/>
                  <a:pt x="16" y="131"/>
                  <a:pt x="16" y="131"/>
                </a:cubicBezTo>
                <a:cubicBezTo>
                  <a:pt x="17" y="127"/>
                  <a:pt x="20" y="123"/>
                  <a:pt x="24" y="123"/>
                </a:cubicBezTo>
                <a:cubicBezTo>
                  <a:pt x="64" y="123"/>
                  <a:pt x="64" y="123"/>
                  <a:pt x="64" y="123"/>
                </a:cubicBezTo>
                <a:cubicBezTo>
                  <a:pt x="69" y="123"/>
                  <a:pt x="72" y="127"/>
                  <a:pt x="72" y="131"/>
                </a:cubicBezTo>
                <a:cubicBezTo>
                  <a:pt x="72" y="198"/>
                  <a:pt x="72" y="198"/>
                  <a:pt x="72" y="198"/>
                </a:cubicBezTo>
                <a:cubicBezTo>
                  <a:pt x="72" y="199"/>
                  <a:pt x="72" y="200"/>
                  <a:pt x="72" y="201"/>
                </a:cubicBezTo>
                <a:cubicBezTo>
                  <a:pt x="72" y="203"/>
                  <a:pt x="72" y="203"/>
                  <a:pt x="72" y="203"/>
                </a:cubicBezTo>
                <a:cubicBezTo>
                  <a:pt x="72" y="208"/>
                  <a:pt x="69" y="211"/>
                  <a:pt x="64" y="211"/>
                </a:cubicBezTo>
                <a:close/>
                <a:moveTo>
                  <a:pt x="210" y="203"/>
                </a:moveTo>
                <a:cubicBezTo>
                  <a:pt x="105" y="203"/>
                  <a:pt x="105" y="203"/>
                  <a:pt x="105" y="203"/>
                </a:cubicBezTo>
                <a:cubicBezTo>
                  <a:pt x="88" y="194"/>
                  <a:pt x="88" y="194"/>
                  <a:pt x="88" y="194"/>
                </a:cubicBezTo>
                <a:cubicBezTo>
                  <a:pt x="88" y="131"/>
                  <a:pt x="88" y="131"/>
                  <a:pt x="88" y="131"/>
                </a:cubicBezTo>
                <a:cubicBezTo>
                  <a:pt x="88" y="128"/>
                  <a:pt x="87" y="124"/>
                  <a:pt x="86" y="121"/>
                </a:cubicBezTo>
                <a:cubicBezTo>
                  <a:pt x="100" y="109"/>
                  <a:pt x="136" y="75"/>
                  <a:pt x="136" y="48"/>
                </a:cubicBezTo>
                <a:cubicBezTo>
                  <a:pt x="136" y="31"/>
                  <a:pt x="136" y="16"/>
                  <a:pt x="140" y="16"/>
                </a:cubicBezTo>
                <a:cubicBezTo>
                  <a:pt x="148" y="16"/>
                  <a:pt x="156" y="25"/>
                  <a:pt x="156" y="44"/>
                </a:cubicBezTo>
                <a:cubicBezTo>
                  <a:pt x="156" y="67"/>
                  <a:pt x="152" y="90"/>
                  <a:pt x="152" y="90"/>
                </a:cubicBezTo>
                <a:cubicBezTo>
                  <a:pt x="152" y="93"/>
                  <a:pt x="153" y="95"/>
                  <a:pt x="154" y="97"/>
                </a:cubicBezTo>
                <a:cubicBezTo>
                  <a:pt x="156" y="98"/>
                  <a:pt x="158" y="100"/>
                  <a:pt x="160" y="100"/>
                </a:cubicBezTo>
                <a:cubicBezTo>
                  <a:pt x="232" y="100"/>
                  <a:pt x="232" y="100"/>
                  <a:pt x="232" y="100"/>
                </a:cubicBezTo>
                <a:cubicBezTo>
                  <a:pt x="237" y="100"/>
                  <a:pt x="240" y="103"/>
                  <a:pt x="240" y="108"/>
                </a:cubicBezTo>
                <a:cubicBezTo>
                  <a:pt x="240" y="112"/>
                  <a:pt x="237" y="116"/>
                  <a:pt x="232" y="116"/>
                </a:cubicBezTo>
                <a:cubicBezTo>
                  <a:pt x="223" y="116"/>
                  <a:pt x="223" y="116"/>
                  <a:pt x="223" y="116"/>
                </a:cubicBezTo>
                <a:cubicBezTo>
                  <a:pt x="219" y="116"/>
                  <a:pt x="215" y="119"/>
                  <a:pt x="215" y="124"/>
                </a:cubicBezTo>
                <a:cubicBezTo>
                  <a:pt x="215" y="128"/>
                  <a:pt x="219" y="132"/>
                  <a:pt x="223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9" y="132"/>
                  <a:pt x="232" y="135"/>
                  <a:pt x="232" y="140"/>
                </a:cubicBezTo>
                <a:cubicBezTo>
                  <a:pt x="232" y="144"/>
                  <a:pt x="229" y="148"/>
                  <a:pt x="224" y="148"/>
                </a:cubicBezTo>
                <a:cubicBezTo>
                  <a:pt x="219" y="148"/>
                  <a:pt x="219" y="148"/>
                  <a:pt x="219" y="148"/>
                </a:cubicBezTo>
                <a:cubicBezTo>
                  <a:pt x="219" y="148"/>
                  <a:pt x="218" y="147"/>
                  <a:pt x="218" y="147"/>
                </a:cubicBezTo>
                <a:cubicBezTo>
                  <a:pt x="218" y="147"/>
                  <a:pt x="218" y="148"/>
                  <a:pt x="218" y="148"/>
                </a:cubicBezTo>
                <a:cubicBezTo>
                  <a:pt x="215" y="148"/>
                  <a:pt x="215" y="148"/>
                  <a:pt x="215" y="148"/>
                </a:cubicBezTo>
                <a:cubicBezTo>
                  <a:pt x="211" y="148"/>
                  <a:pt x="207" y="151"/>
                  <a:pt x="207" y="156"/>
                </a:cubicBezTo>
                <a:cubicBezTo>
                  <a:pt x="207" y="160"/>
                  <a:pt x="211" y="164"/>
                  <a:pt x="215" y="164"/>
                </a:cubicBezTo>
                <a:cubicBezTo>
                  <a:pt x="218" y="164"/>
                  <a:pt x="218" y="164"/>
                  <a:pt x="218" y="164"/>
                </a:cubicBezTo>
                <a:cubicBezTo>
                  <a:pt x="222" y="164"/>
                  <a:pt x="224" y="166"/>
                  <a:pt x="224" y="169"/>
                </a:cubicBezTo>
                <a:cubicBezTo>
                  <a:pt x="224" y="173"/>
                  <a:pt x="221" y="175"/>
                  <a:pt x="218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06" y="175"/>
                  <a:pt x="202" y="179"/>
                  <a:pt x="202" y="183"/>
                </a:cubicBezTo>
                <a:cubicBezTo>
                  <a:pt x="202" y="188"/>
                  <a:pt x="206" y="191"/>
                  <a:pt x="210" y="191"/>
                </a:cubicBezTo>
                <a:cubicBezTo>
                  <a:pt x="213" y="191"/>
                  <a:pt x="216" y="194"/>
                  <a:pt x="216" y="197"/>
                </a:cubicBezTo>
                <a:cubicBezTo>
                  <a:pt x="216" y="201"/>
                  <a:pt x="213" y="203"/>
                  <a:pt x="210" y="20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US" sz="840"/>
          </a:p>
        </p:txBody>
      </p:sp>
      <p:sp>
        <p:nvSpPr>
          <p:cNvPr id="22" name="Inhaltsplatzhalter 4">
            <a:extLst>
              <a:ext uri="{FF2B5EF4-FFF2-40B4-BE49-F238E27FC236}">
                <a16:creationId xmlns:a16="http://schemas.microsoft.com/office/drawing/2014/main" id="{54E8351C-7AA5-D5E2-19E8-2DB893389C9D}"/>
              </a:ext>
            </a:extLst>
          </p:cNvPr>
          <p:cNvSpPr txBox="1">
            <a:spLocks/>
          </p:cNvSpPr>
          <p:nvPr/>
        </p:nvSpPr>
        <p:spPr>
          <a:xfrm>
            <a:off x="498132" y="3420977"/>
            <a:ext cx="3095119" cy="24929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 fontAlgn="auto">
              <a:spcAft>
                <a:spcPts val="300"/>
              </a:spcAft>
              <a:buNone/>
            </a:pPr>
            <a:r>
              <a:rPr lang="en-US" sz="1800" b="1" dirty="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INSERT HEADING</a:t>
            </a:r>
          </a:p>
        </p:txBody>
      </p:sp>
    </p:spTree>
    <p:extLst>
      <p:ext uri="{BB962C8B-B14F-4D97-AF65-F5344CB8AC3E}">
        <p14:creationId xmlns:p14="http://schemas.microsoft.com/office/powerpoint/2010/main" val="1599186842"/>
      </p:ext>
    </p:extLst>
  </p:cSld>
  <p:clrMapOvr>
    <a:masterClrMapping/>
  </p:clrMapOvr>
</p:sld>
</file>

<file path=ppt/slides/slide1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FFDD91-CFDB-E70F-A3F2-B957E02B85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9" name="think-cell data - do not delete" hidden="1">
            <a:extLst>
              <a:ext uri="{FF2B5EF4-FFF2-40B4-BE49-F238E27FC236}">
                <a16:creationId xmlns:a16="http://schemas.microsoft.com/office/drawing/2014/main" id="{1E3DEFC1-E25D-5250-C16D-124591C8F95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25" imgH="426" progId="TCLayout.ActiveDocument.1">
                  <p:embed/>
                </p:oleObj>
              </mc:Choice>
              <mc:Fallback>
                <p:oleObj name="think-cell Slide" r:id="rId6" imgW="425" imgH="426" progId="TCLayout.ActiveDocument.1">
                  <p:embed/>
                  <p:pic>
                    <p:nvPicPr>
                      <p:cNvPr id="8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3DEFC1-E25D-5250-C16D-124591C8F9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FA01FE4-FFC2-28D5-B97E-494F08ECC8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ircular layou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208445B-C37A-1790-FDEF-CB1BC39F4C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42</a:t>
            </a:fld>
            <a:endParaRPr lang="en-US" dirty="0"/>
          </a:p>
        </p:txBody>
      </p:sp>
      <p:grpSp>
        <p:nvGrpSpPr>
          <p:cNvPr id="61" name="Group 60">
            <a:extLst>
              <a:ext uri="{FF2B5EF4-FFF2-40B4-BE49-F238E27FC236}">
                <a16:creationId xmlns:a16="http://schemas.microsoft.com/office/drawing/2014/main" id="{05209B8B-84EE-9D2D-863D-4E56425028A7}"/>
              </a:ext>
            </a:extLst>
          </p:cNvPr>
          <p:cNvGrpSpPr/>
          <p:nvPr/>
        </p:nvGrpSpPr>
        <p:grpSpPr>
          <a:xfrm>
            <a:off x="3803650" y="1371600"/>
            <a:ext cx="4343399" cy="4348052"/>
            <a:chOff x="-1025525" y="1961100"/>
            <a:chExt cx="4343399" cy="4348052"/>
          </a:xfrm>
        </p:grpSpPr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5BE5F753-9AAE-6F35-92BB-5D2F78EEDD8C}"/>
                </a:ext>
              </a:extLst>
            </p:cNvPr>
            <p:cNvGrpSpPr>
              <a:grpSpLocks/>
            </p:cNvGrpSpPr>
            <p:nvPr/>
          </p:nvGrpSpPr>
          <p:grpSpPr>
            <a:xfrm>
              <a:off x="-1025525" y="1961100"/>
              <a:ext cx="4343399" cy="4348052"/>
              <a:chOff x="-3741738" y="484188"/>
              <a:chExt cx="4792664" cy="4811712"/>
            </a:xfrm>
          </p:grpSpPr>
          <p:sp>
            <p:nvSpPr>
              <p:cNvPr id="67" name="Freeform 14">
                <a:extLst>
                  <a:ext uri="{FF2B5EF4-FFF2-40B4-BE49-F238E27FC236}">
                    <a16:creationId xmlns:a16="http://schemas.microsoft.com/office/drawing/2014/main" id="{F78F8642-CC99-A7B1-DA0E-2DE3AF2122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344612" y="484188"/>
                <a:ext cx="2395538" cy="3608387"/>
              </a:xfrm>
              <a:custGeom>
                <a:avLst/>
                <a:gdLst>
                  <a:gd name="T0" fmla="*/ 0 w 1509"/>
                  <a:gd name="T1" fmla="*/ 0 h 2273"/>
                  <a:gd name="T2" fmla="*/ 154 w 1509"/>
                  <a:gd name="T3" fmla="*/ 12 h 2273"/>
                  <a:gd name="T4" fmla="*/ 303 w 1509"/>
                  <a:gd name="T5" fmla="*/ 35 h 2273"/>
                  <a:gd name="T6" fmla="*/ 446 w 1509"/>
                  <a:gd name="T7" fmla="*/ 69 h 2273"/>
                  <a:gd name="T8" fmla="*/ 589 w 1509"/>
                  <a:gd name="T9" fmla="*/ 121 h 2273"/>
                  <a:gd name="T10" fmla="*/ 720 w 1509"/>
                  <a:gd name="T11" fmla="*/ 184 h 2273"/>
                  <a:gd name="T12" fmla="*/ 840 w 1509"/>
                  <a:gd name="T13" fmla="*/ 259 h 2273"/>
                  <a:gd name="T14" fmla="*/ 960 w 1509"/>
                  <a:gd name="T15" fmla="*/ 350 h 2273"/>
                  <a:gd name="T16" fmla="*/ 1069 w 1509"/>
                  <a:gd name="T17" fmla="*/ 448 h 2273"/>
                  <a:gd name="T18" fmla="*/ 1166 w 1509"/>
                  <a:gd name="T19" fmla="*/ 551 h 2273"/>
                  <a:gd name="T20" fmla="*/ 1252 w 1509"/>
                  <a:gd name="T21" fmla="*/ 672 h 2273"/>
                  <a:gd name="T22" fmla="*/ 1326 w 1509"/>
                  <a:gd name="T23" fmla="*/ 798 h 2273"/>
                  <a:gd name="T24" fmla="*/ 1389 w 1509"/>
                  <a:gd name="T25" fmla="*/ 930 h 2273"/>
                  <a:gd name="T26" fmla="*/ 1441 w 1509"/>
                  <a:gd name="T27" fmla="*/ 1068 h 2273"/>
                  <a:gd name="T28" fmla="*/ 1481 w 1509"/>
                  <a:gd name="T29" fmla="*/ 1211 h 2273"/>
                  <a:gd name="T30" fmla="*/ 1504 w 1509"/>
                  <a:gd name="T31" fmla="*/ 1361 h 2273"/>
                  <a:gd name="T32" fmla="*/ 1509 w 1509"/>
                  <a:gd name="T33" fmla="*/ 1516 h 2273"/>
                  <a:gd name="T34" fmla="*/ 1504 w 1509"/>
                  <a:gd name="T35" fmla="*/ 1619 h 2273"/>
                  <a:gd name="T36" fmla="*/ 1498 w 1509"/>
                  <a:gd name="T37" fmla="*/ 1717 h 2273"/>
                  <a:gd name="T38" fmla="*/ 1481 w 1509"/>
                  <a:gd name="T39" fmla="*/ 1814 h 2273"/>
                  <a:gd name="T40" fmla="*/ 1458 w 1509"/>
                  <a:gd name="T41" fmla="*/ 1912 h 2273"/>
                  <a:gd name="T42" fmla="*/ 1429 w 1509"/>
                  <a:gd name="T43" fmla="*/ 2004 h 2273"/>
                  <a:gd name="T44" fmla="*/ 1395 w 1509"/>
                  <a:gd name="T45" fmla="*/ 2095 h 2273"/>
                  <a:gd name="T46" fmla="*/ 1355 w 1509"/>
                  <a:gd name="T47" fmla="*/ 2187 h 2273"/>
                  <a:gd name="T48" fmla="*/ 1309 w 1509"/>
                  <a:gd name="T49" fmla="*/ 2273 h 2273"/>
                  <a:gd name="T50" fmla="*/ 0 w 1509"/>
                  <a:gd name="T51" fmla="*/ 1516 h 2273"/>
                  <a:gd name="T52" fmla="*/ 0 w 1509"/>
                  <a:gd name="T53" fmla="*/ 0 h 22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509" h="2273">
                    <a:moveTo>
                      <a:pt x="0" y="0"/>
                    </a:moveTo>
                    <a:lnTo>
                      <a:pt x="154" y="12"/>
                    </a:lnTo>
                    <a:lnTo>
                      <a:pt x="303" y="35"/>
                    </a:lnTo>
                    <a:lnTo>
                      <a:pt x="446" y="69"/>
                    </a:lnTo>
                    <a:lnTo>
                      <a:pt x="589" y="121"/>
                    </a:lnTo>
                    <a:lnTo>
                      <a:pt x="720" y="184"/>
                    </a:lnTo>
                    <a:lnTo>
                      <a:pt x="840" y="259"/>
                    </a:lnTo>
                    <a:lnTo>
                      <a:pt x="960" y="350"/>
                    </a:lnTo>
                    <a:lnTo>
                      <a:pt x="1069" y="448"/>
                    </a:lnTo>
                    <a:lnTo>
                      <a:pt x="1166" y="551"/>
                    </a:lnTo>
                    <a:lnTo>
                      <a:pt x="1252" y="672"/>
                    </a:lnTo>
                    <a:lnTo>
                      <a:pt x="1326" y="798"/>
                    </a:lnTo>
                    <a:lnTo>
                      <a:pt x="1389" y="930"/>
                    </a:lnTo>
                    <a:lnTo>
                      <a:pt x="1441" y="1068"/>
                    </a:lnTo>
                    <a:lnTo>
                      <a:pt x="1481" y="1211"/>
                    </a:lnTo>
                    <a:lnTo>
                      <a:pt x="1504" y="1361"/>
                    </a:lnTo>
                    <a:lnTo>
                      <a:pt x="1509" y="1516"/>
                    </a:lnTo>
                    <a:lnTo>
                      <a:pt x="1504" y="1619"/>
                    </a:lnTo>
                    <a:lnTo>
                      <a:pt x="1498" y="1717"/>
                    </a:lnTo>
                    <a:lnTo>
                      <a:pt x="1481" y="1814"/>
                    </a:lnTo>
                    <a:lnTo>
                      <a:pt x="1458" y="1912"/>
                    </a:lnTo>
                    <a:lnTo>
                      <a:pt x="1429" y="2004"/>
                    </a:lnTo>
                    <a:lnTo>
                      <a:pt x="1395" y="2095"/>
                    </a:lnTo>
                    <a:lnTo>
                      <a:pt x="1355" y="2187"/>
                    </a:lnTo>
                    <a:lnTo>
                      <a:pt x="1309" y="2273"/>
                    </a:lnTo>
                    <a:lnTo>
                      <a:pt x="0" y="151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8" name="Freeform 16">
                <a:extLst>
                  <a:ext uri="{FF2B5EF4-FFF2-40B4-BE49-F238E27FC236}">
                    <a16:creationId xmlns:a16="http://schemas.microsoft.com/office/drawing/2014/main" id="{3331A005-3881-D32B-FB4A-65DD2E4E99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422650" y="2890838"/>
                <a:ext cx="4156076" cy="2405062"/>
              </a:xfrm>
              <a:custGeom>
                <a:avLst/>
                <a:gdLst>
                  <a:gd name="T0" fmla="*/ 2618 w 2618"/>
                  <a:gd name="T1" fmla="*/ 757 h 1515"/>
                  <a:gd name="T2" fmla="*/ 2532 w 2618"/>
                  <a:gd name="T3" fmla="*/ 889 h 1515"/>
                  <a:gd name="T4" fmla="*/ 2435 w 2618"/>
                  <a:gd name="T5" fmla="*/ 1010 h 1515"/>
                  <a:gd name="T6" fmla="*/ 2332 w 2618"/>
                  <a:gd name="T7" fmla="*/ 1119 h 1515"/>
                  <a:gd name="T8" fmla="*/ 2218 w 2618"/>
                  <a:gd name="T9" fmla="*/ 1211 h 1515"/>
                  <a:gd name="T10" fmla="*/ 2098 w 2618"/>
                  <a:gd name="T11" fmla="*/ 1297 h 1515"/>
                  <a:gd name="T12" fmla="*/ 1972 w 2618"/>
                  <a:gd name="T13" fmla="*/ 1366 h 1515"/>
                  <a:gd name="T14" fmla="*/ 1835 w 2618"/>
                  <a:gd name="T15" fmla="*/ 1423 h 1515"/>
                  <a:gd name="T16" fmla="*/ 1698 w 2618"/>
                  <a:gd name="T17" fmla="*/ 1463 h 1515"/>
                  <a:gd name="T18" fmla="*/ 1555 w 2618"/>
                  <a:gd name="T19" fmla="*/ 1498 h 1515"/>
                  <a:gd name="T20" fmla="*/ 1412 w 2618"/>
                  <a:gd name="T21" fmla="*/ 1515 h 1515"/>
                  <a:gd name="T22" fmla="*/ 1269 w 2618"/>
                  <a:gd name="T23" fmla="*/ 1515 h 1515"/>
                  <a:gd name="T24" fmla="*/ 1120 w 2618"/>
                  <a:gd name="T25" fmla="*/ 1509 h 1515"/>
                  <a:gd name="T26" fmla="*/ 977 w 2618"/>
                  <a:gd name="T27" fmla="*/ 1480 h 1515"/>
                  <a:gd name="T28" fmla="*/ 834 w 2618"/>
                  <a:gd name="T29" fmla="*/ 1440 h 1515"/>
                  <a:gd name="T30" fmla="*/ 691 w 2618"/>
                  <a:gd name="T31" fmla="*/ 1383 h 1515"/>
                  <a:gd name="T32" fmla="*/ 554 w 2618"/>
                  <a:gd name="T33" fmla="*/ 1314 h 1515"/>
                  <a:gd name="T34" fmla="*/ 388 w 2618"/>
                  <a:gd name="T35" fmla="*/ 1205 h 1515"/>
                  <a:gd name="T36" fmla="*/ 240 w 2618"/>
                  <a:gd name="T37" fmla="*/ 1073 h 1515"/>
                  <a:gd name="T38" fmla="*/ 108 w 2618"/>
                  <a:gd name="T39" fmla="*/ 924 h 1515"/>
                  <a:gd name="T40" fmla="*/ 0 w 2618"/>
                  <a:gd name="T41" fmla="*/ 757 h 1515"/>
                  <a:gd name="T42" fmla="*/ 1309 w 2618"/>
                  <a:gd name="T43" fmla="*/ 0 h 1515"/>
                  <a:gd name="T44" fmla="*/ 2618 w 2618"/>
                  <a:gd name="T45" fmla="*/ 757 h 15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618" h="1515">
                    <a:moveTo>
                      <a:pt x="2618" y="757"/>
                    </a:moveTo>
                    <a:lnTo>
                      <a:pt x="2532" y="889"/>
                    </a:lnTo>
                    <a:lnTo>
                      <a:pt x="2435" y="1010"/>
                    </a:lnTo>
                    <a:lnTo>
                      <a:pt x="2332" y="1119"/>
                    </a:lnTo>
                    <a:lnTo>
                      <a:pt x="2218" y="1211"/>
                    </a:lnTo>
                    <a:lnTo>
                      <a:pt x="2098" y="1297"/>
                    </a:lnTo>
                    <a:lnTo>
                      <a:pt x="1972" y="1366"/>
                    </a:lnTo>
                    <a:lnTo>
                      <a:pt x="1835" y="1423"/>
                    </a:lnTo>
                    <a:lnTo>
                      <a:pt x="1698" y="1463"/>
                    </a:lnTo>
                    <a:lnTo>
                      <a:pt x="1555" y="1498"/>
                    </a:lnTo>
                    <a:lnTo>
                      <a:pt x="1412" y="1515"/>
                    </a:lnTo>
                    <a:lnTo>
                      <a:pt x="1269" y="1515"/>
                    </a:lnTo>
                    <a:lnTo>
                      <a:pt x="1120" y="1509"/>
                    </a:lnTo>
                    <a:lnTo>
                      <a:pt x="977" y="1480"/>
                    </a:lnTo>
                    <a:lnTo>
                      <a:pt x="834" y="1440"/>
                    </a:lnTo>
                    <a:lnTo>
                      <a:pt x="691" y="1383"/>
                    </a:lnTo>
                    <a:lnTo>
                      <a:pt x="554" y="1314"/>
                    </a:lnTo>
                    <a:lnTo>
                      <a:pt x="388" y="1205"/>
                    </a:lnTo>
                    <a:lnTo>
                      <a:pt x="240" y="1073"/>
                    </a:lnTo>
                    <a:lnTo>
                      <a:pt x="108" y="924"/>
                    </a:lnTo>
                    <a:lnTo>
                      <a:pt x="0" y="757"/>
                    </a:lnTo>
                    <a:lnTo>
                      <a:pt x="1309" y="0"/>
                    </a:lnTo>
                    <a:lnTo>
                      <a:pt x="2618" y="757"/>
                    </a:lnTo>
                    <a:close/>
                  </a:path>
                </a:pathLst>
              </a:custGeom>
              <a:solidFill>
                <a:schemeClr val="accent2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9" name="Freeform 18">
                <a:extLst>
                  <a:ext uri="{FF2B5EF4-FFF2-40B4-BE49-F238E27FC236}">
                    <a16:creationId xmlns:a16="http://schemas.microsoft.com/office/drawing/2014/main" id="{F0EB306E-7BFE-6767-B174-21D84B97C5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741738" y="484188"/>
                <a:ext cx="2397125" cy="3608387"/>
              </a:xfrm>
              <a:custGeom>
                <a:avLst/>
                <a:gdLst>
                  <a:gd name="T0" fmla="*/ 201 w 1510"/>
                  <a:gd name="T1" fmla="*/ 2273 h 2273"/>
                  <a:gd name="T2" fmla="*/ 132 w 1510"/>
                  <a:gd name="T3" fmla="*/ 2136 h 2273"/>
                  <a:gd name="T4" fmla="*/ 75 w 1510"/>
                  <a:gd name="T5" fmla="*/ 1998 h 2273"/>
                  <a:gd name="T6" fmla="*/ 35 w 1510"/>
                  <a:gd name="T7" fmla="*/ 1854 h 2273"/>
                  <a:gd name="T8" fmla="*/ 12 w 1510"/>
                  <a:gd name="T9" fmla="*/ 1705 h 2273"/>
                  <a:gd name="T10" fmla="*/ 0 w 1510"/>
                  <a:gd name="T11" fmla="*/ 1562 h 2273"/>
                  <a:gd name="T12" fmla="*/ 0 w 1510"/>
                  <a:gd name="T13" fmla="*/ 1412 h 2273"/>
                  <a:gd name="T14" fmla="*/ 18 w 1510"/>
                  <a:gd name="T15" fmla="*/ 1269 h 2273"/>
                  <a:gd name="T16" fmla="*/ 52 w 1510"/>
                  <a:gd name="T17" fmla="*/ 1125 h 2273"/>
                  <a:gd name="T18" fmla="*/ 92 w 1510"/>
                  <a:gd name="T19" fmla="*/ 988 h 2273"/>
                  <a:gd name="T20" fmla="*/ 149 w 1510"/>
                  <a:gd name="T21" fmla="*/ 856 h 2273"/>
                  <a:gd name="T22" fmla="*/ 223 w 1510"/>
                  <a:gd name="T23" fmla="*/ 724 h 2273"/>
                  <a:gd name="T24" fmla="*/ 303 w 1510"/>
                  <a:gd name="T25" fmla="*/ 603 h 2273"/>
                  <a:gd name="T26" fmla="*/ 401 w 1510"/>
                  <a:gd name="T27" fmla="*/ 488 h 2273"/>
                  <a:gd name="T28" fmla="*/ 504 w 1510"/>
                  <a:gd name="T29" fmla="*/ 385 h 2273"/>
                  <a:gd name="T30" fmla="*/ 624 w 1510"/>
                  <a:gd name="T31" fmla="*/ 287 h 2273"/>
                  <a:gd name="T32" fmla="*/ 755 w 1510"/>
                  <a:gd name="T33" fmla="*/ 207 h 2273"/>
                  <a:gd name="T34" fmla="*/ 841 w 1510"/>
                  <a:gd name="T35" fmla="*/ 155 h 2273"/>
                  <a:gd name="T36" fmla="*/ 932 w 1510"/>
                  <a:gd name="T37" fmla="*/ 115 h 2273"/>
                  <a:gd name="T38" fmla="*/ 1024 w 1510"/>
                  <a:gd name="T39" fmla="*/ 81 h 2273"/>
                  <a:gd name="T40" fmla="*/ 1115 w 1510"/>
                  <a:gd name="T41" fmla="*/ 52 h 2273"/>
                  <a:gd name="T42" fmla="*/ 1213 w 1510"/>
                  <a:gd name="T43" fmla="*/ 29 h 2273"/>
                  <a:gd name="T44" fmla="*/ 1310 w 1510"/>
                  <a:gd name="T45" fmla="*/ 18 h 2273"/>
                  <a:gd name="T46" fmla="*/ 1407 w 1510"/>
                  <a:gd name="T47" fmla="*/ 6 h 2273"/>
                  <a:gd name="T48" fmla="*/ 1510 w 1510"/>
                  <a:gd name="T49" fmla="*/ 0 h 2273"/>
                  <a:gd name="T50" fmla="*/ 1510 w 1510"/>
                  <a:gd name="T51" fmla="*/ 1516 h 2273"/>
                  <a:gd name="T52" fmla="*/ 201 w 1510"/>
                  <a:gd name="T53" fmla="*/ 2273 h 22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510" h="2273">
                    <a:moveTo>
                      <a:pt x="201" y="2273"/>
                    </a:moveTo>
                    <a:lnTo>
                      <a:pt x="132" y="2136"/>
                    </a:lnTo>
                    <a:lnTo>
                      <a:pt x="75" y="1998"/>
                    </a:lnTo>
                    <a:lnTo>
                      <a:pt x="35" y="1854"/>
                    </a:lnTo>
                    <a:lnTo>
                      <a:pt x="12" y="1705"/>
                    </a:lnTo>
                    <a:lnTo>
                      <a:pt x="0" y="1562"/>
                    </a:lnTo>
                    <a:lnTo>
                      <a:pt x="0" y="1412"/>
                    </a:lnTo>
                    <a:lnTo>
                      <a:pt x="18" y="1269"/>
                    </a:lnTo>
                    <a:lnTo>
                      <a:pt x="52" y="1125"/>
                    </a:lnTo>
                    <a:lnTo>
                      <a:pt x="92" y="988"/>
                    </a:lnTo>
                    <a:lnTo>
                      <a:pt x="149" y="856"/>
                    </a:lnTo>
                    <a:lnTo>
                      <a:pt x="223" y="724"/>
                    </a:lnTo>
                    <a:lnTo>
                      <a:pt x="303" y="603"/>
                    </a:lnTo>
                    <a:lnTo>
                      <a:pt x="401" y="488"/>
                    </a:lnTo>
                    <a:lnTo>
                      <a:pt x="504" y="385"/>
                    </a:lnTo>
                    <a:lnTo>
                      <a:pt x="624" y="287"/>
                    </a:lnTo>
                    <a:lnTo>
                      <a:pt x="755" y="207"/>
                    </a:lnTo>
                    <a:lnTo>
                      <a:pt x="841" y="155"/>
                    </a:lnTo>
                    <a:lnTo>
                      <a:pt x="932" y="115"/>
                    </a:lnTo>
                    <a:lnTo>
                      <a:pt x="1024" y="81"/>
                    </a:lnTo>
                    <a:lnTo>
                      <a:pt x="1115" y="52"/>
                    </a:lnTo>
                    <a:lnTo>
                      <a:pt x="1213" y="29"/>
                    </a:lnTo>
                    <a:lnTo>
                      <a:pt x="1310" y="18"/>
                    </a:lnTo>
                    <a:lnTo>
                      <a:pt x="1407" y="6"/>
                    </a:lnTo>
                    <a:lnTo>
                      <a:pt x="1510" y="0"/>
                    </a:lnTo>
                    <a:lnTo>
                      <a:pt x="1510" y="1516"/>
                    </a:lnTo>
                    <a:lnTo>
                      <a:pt x="201" y="2273"/>
                    </a:lnTo>
                    <a:close/>
                  </a:path>
                </a:pathLst>
              </a:custGeom>
              <a:solidFill>
                <a:schemeClr val="accent3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D0D02583-AFD1-E221-352D-F24A90F16375}"/>
                </a:ext>
              </a:extLst>
            </p:cNvPr>
            <p:cNvGrpSpPr>
              <a:grpSpLocks/>
            </p:cNvGrpSpPr>
            <p:nvPr/>
          </p:nvGrpSpPr>
          <p:grpSpPr>
            <a:xfrm>
              <a:off x="-521613" y="2463867"/>
              <a:ext cx="3335575" cy="3342519"/>
              <a:chOff x="-3741738" y="484188"/>
              <a:chExt cx="4792664" cy="4811712"/>
            </a:xfrm>
          </p:grpSpPr>
          <p:sp>
            <p:nvSpPr>
              <p:cNvPr id="64" name="Freeform 14">
                <a:extLst>
                  <a:ext uri="{FF2B5EF4-FFF2-40B4-BE49-F238E27FC236}">
                    <a16:creationId xmlns:a16="http://schemas.microsoft.com/office/drawing/2014/main" id="{5ED456B9-485F-9050-7151-49C0E293FE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344612" y="484188"/>
                <a:ext cx="2395538" cy="3608387"/>
              </a:xfrm>
              <a:custGeom>
                <a:avLst/>
                <a:gdLst>
                  <a:gd name="T0" fmla="*/ 0 w 1509"/>
                  <a:gd name="T1" fmla="*/ 0 h 2273"/>
                  <a:gd name="T2" fmla="*/ 154 w 1509"/>
                  <a:gd name="T3" fmla="*/ 12 h 2273"/>
                  <a:gd name="T4" fmla="*/ 303 w 1509"/>
                  <a:gd name="T5" fmla="*/ 35 h 2273"/>
                  <a:gd name="T6" fmla="*/ 446 w 1509"/>
                  <a:gd name="T7" fmla="*/ 69 h 2273"/>
                  <a:gd name="T8" fmla="*/ 589 w 1509"/>
                  <a:gd name="T9" fmla="*/ 121 h 2273"/>
                  <a:gd name="T10" fmla="*/ 720 w 1509"/>
                  <a:gd name="T11" fmla="*/ 184 h 2273"/>
                  <a:gd name="T12" fmla="*/ 840 w 1509"/>
                  <a:gd name="T13" fmla="*/ 259 h 2273"/>
                  <a:gd name="T14" fmla="*/ 960 w 1509"/>
                  <a:gd name="T15" fmla="*/ 350 h 2273"/>
                  <a:gd name="T16" fmla="*/ 1069 w 1509"/>
                  <a:gd name="T17" fmla="*/ 448 h 2273"/>
                  <a:gd name="T18" fmla="*/ 1166 w 1509"/>
                  <a:gd name="T19" fmla="*/ 551 h 2273"/>
                  <a:gd name="T20" fmla="*/ 1252 w 1509"/>
                  <a:gd name="T21" fmla="*/ 672 h 2273"/>
                  <a:gd name="T22" fmla="*/ 1326 w 1509"/>
                  <a:gd name="T23" fmla="*/ 798 h 2273"/>
                  <a:gd name="T24" fmla="*/ 1389 w 1509"/>
                  <a:gd name="T25" fmla="*/ 930 h 2273"/>
                  <a:gd name="T26" fmla="*/ 1441 w 1509"/>
                  <a:gd name="T27" fmla="*/ 1068 h 2273"/>
                  <a:gd name="T28" fmla="*/ 1481 w 1509"/>
                  <a:gd name="T29" fmla="*/ 1211 h 2273"/>
                  <a:gd name="T30" fmla="*/ 1504 w 1509"/>
                  <a:gd name="T31" fmla="*/ 1361 h 2273"/>
                  <a:gd name="T32" fmla="*/ 1509 w 1509"/>
                  <a:gd name="T33" fmla="*/ 1516 h 2273"/>
                  <a:gd name="T34" fmla="*/ 1504 w 1509"/>
                  <a:gd name="T35" fmla="*/ 1619 h 2273"/>
                  <a:gd name="T36" fmla="*/ 1498 w 1509"/>
                  <a:gd name="T37" fmla="*/ 1717 h 2273"/>
                  <a:gd name="T38" fmla="*/ 1481 w 1509"/>
                  <a:gd name="T39" fmla="*/ 1814 h 2273"/>
                  <a:gd name="T40" fmla="*/ 1458 w 1509"/>
                  <a:gd name="T41" fmla="*/ 1912 h 2273"/>
                  <a:gd name="T42" fmla="*/ 1429 w 1509"/>
                  <a:gd name="T43" fmla="*/ 2004 h 2273"/>
                  <a:gd name="T44" fmla="*/ 1395 w 1509"/>
                  <a:gd name="T45" fmla="*/ 2095 h 2273"/>
                  <a:gd name="T46" fmla="*/ 1355 w 1509"/>
                  <a:gd name="T47" fmla="*/ 2187 h 2273"/>
                  <a:gd name="T48" fmla="*/ 1309 w 1509"/>
                  <a:gd name="T49" fmla="*/ 2273 h 2273"/>
                  <a:gd name="T50" fmla="*/ 0 w 1509"/>
                  <a:gd name="T51" fmla="*/ 1516 h 2273"/>
                  <a:gd name="T52" fmla="*/ 0 w 1509"/>
                  <a:gd name="T53" fmla="*/ 0 h 22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509" h="2273">
                    <a:moveTo>
                      <a:pt x="0" y="0"/>
                    </a:moveTo>
                    <a:lnTo>
                      <a:pt x="154" y="12"/>
                    </a:lnTo>
                    <a:lnTo>
                      <a:pt x="303" y="35"/>
                    </a:lnTo>
                    <a:lnTo>
                      <a:pt x="446" y="69"/>
                    </a:lnTo>
                    <a:lnTo>
                      <a:pt x="589" y="121"/>
                    </a:lnTo>
                    <a:lnTo>
                      <a:pt x="720" y="184"/>
                    </a:lnTo>
                    <a:lnTo>
                      <a:pt x="840" y="259"/>
                    </a:lnTo>
                    <a:lnTo>
                      <a:pt x="960" y="350"/>
                    </a:lnTo>
                    <a:lnTo>
                      <a:pt x="1069" y="448"/>
                    </a:lnTo>
                    <a:lnTo>
                      <a:pt x="1166" y="551"/>
                    </a:lnTo>
                    <a:lnTo>
                      <a:pt x="1252" y="672"/>
                    </a:lnTo>
                    <a:lnTo>
                      <a:pt x="1326" y="798"/>
                    </a:lnTo>
                    <a:lnTo>
                      <a:pt x="1389" y="930"/>
                    </a:lnTo>
                    <a:lnTo>
                      <a:pt x="1441" y="1068"/>
                    </a:lnTo>
                    <a:lnTo>
                      <a:pt x="1481" y="1211"/>
                    </a:lnTo>
                    <a:lnTo>
                      <a:pt x="1504" y="1361"/>
                    </a:lnTo>
                    <a:lnTo>
                      <a:pt x="1509" y="1516"/>
                    </a:lnTo>
                    <a:lnTo>
                      <a:pt x="1504" y="1619"/>
                    </a:lnTo>
                    <a:lnTo>
                      <a:pt x="1498" y="1717"/>
                    </a:lnTo>
                    <a:lnTo>
                      <a:pt x="1481" y="1814"/>
                    </a:lnTo>
                    <a:lnTo>
                      <a:pt x="1458" y="1912"/>
                    </a:lnTo>
                    <a:lnTo>
                      <a:pt x="1429" y="2004"/>
                    </a:lnTo>
                    <a:lnTo>
                      <a:pt x="1395" y="2095"/>
                    </a:lnTo>
                    <a:lnTo>
                      <a:pt x="1355" y="2187"/>
                    </a:lnTo>
                    <a:lnTo>
                      <a:pt x="1309" y="2273"/>
                    </a:lnTo>
                    <a:lnTo>
                      <a:pt x="0" y="151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16">
                <a:extLst>
                  <a:ext uri="{FF2B5EF4-FFF2-40B4-BE49-F238E27FC236}">
                    <a16:creationId xmlns:a16="http://schemas.microsoft.com/office/drawing/2014/main" id="{31771228-A0D1-2BE9-C3D3-7F6E9B55EA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422650" y="2890838"/>
                <a:ext cx="4156076" cy="2405062"/>
              </a:xfrm>
              <a:custGeom>
                <a:avLst/>
                <a:gdLst>
                  <a:gd name="T0" fmla="*/ 2618 w 2618"/>
                  <a:gd name="T1" fmla="*/ 757 h 1515"/>
                  <a:gd name="T2" fmla="*/ 2532 w 2618"/>
                  <a:gd name="T3" fmla="*/ 889 h 1515"/>
                  <a:gd name="T4" fmla="*/ 2435 w 2618"/>
                  <a:gd name="T5" fmla="*/ 1010 h 1515"/>
                  <a:gd name="T6" fmla="*/ 2332 w 2618"/>
                  <a:gd name="T7" fmla="*/ 1119 h 1515"/>
                  <a:gd name="T8" fmla="*/ 2218 w 2618"/>
                  <a:gd name="T9" fmla="*/ 1211 h 1515"/>
                  <a:gd name="T10" fmla="*/ 2098 w 2618"/>
                  <a:gd name="T11" fmla="*/ 1297 h 1515"/>
                  <a:gd name="T12" fmla="*/ 1972 w 2618"/>
                  <a:gd name="T13" fmla="*/ 1366 h 1515"/>
                  <a:gd name="T14" fmla="*/ 1835 w 2618"/>
                  <a:gd name="T15" fmla="*/ 1423 h 1515"/>
                  <a:gd name="T16" fmla="*/ 1698 w 2618"/>
                  <a:gd name="T17" fmla="*/ 1463 h 1515"/>
                  <a:gd name="T18" fmla="*/ 1555 w 2618"/>
                  <a:gd name="T19" fmla="*/ 1498 h 1515"/>
                  <a:gd name="T20" fmla="*/ 1412 w 2618"/>
                  <a:gd name="T21" fmla="*/ 1515 h 1515"/>
                  <a:gd name="T22" fmla="*/ 1269 w 2618"/>
                  <a:gd name="T23" fmla="*/ 1515 h 1515"/>
                  <a:gd name="T24" fmla="*/ 1120 w 2618"/>
                  <a:gd name="T25" fmla="*/ 1509 h 1515"/>
                  <a:gd name="T26" fmla="*/ 977 w 2618"/>
                  <a:gd name="T27" fmla="*/ 1480 h 1515"/>
                  <a:gd name="T28" fmla="*/ 834 w 2618"/>
                  <a:gd name="T29" fmla="*/ 1440 h 1515"/>
                  <a:gd name="T30" fmla="*/ 691 w 2618"/>
                  <a:gd name="T31" fmla="*/ 1383 h 1515"/>
                  <a:gd name="T32" fmla="*/ 554 w 2618"/>
                  <a:gd name="T33" fmla="*/ 1314 h 1515"/>
                  <a:gd name="T34" fmla="*/ 388 w 2618"/>
                  <a:gd name="T35" fmla="*/ 1205 h 1515"/>
                  <a:gd name="T36" fmla="*/ 240 w 2618"/>
                  <a:gd name="T37" fmla="*/ 1073 h 1515"/>
                  <a:gd name="T38" fmla="*/ 108 w 2618"/>
                  <a:gd name="T39" fmla="*/ 924 h 1515"/>
                  <a:gd name="T40" fmla="*/ 0 w 2618"/>
                  <a:gd name="T41" fmla="*/ 757 h 1515"/>
                  <a:gd name="T42" fmla="*/ 1309 w 2618"/>
                  <a:gd name="T43" fmla="*/ 0 h 1515"/>
                  <a:gd name="T44" fmla="*/ 2618 w 2618"/>
                  <a:gd name="T45" fmla="*/ 757 h 15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618" h="1515">
                    <a:moveTo>
                      <a:pt x="2618" y="757"/>
                    </a:moveTo>
                    <a:lnTo>
                      <a:pt x="2532" y="889"/>
                    </a:lnTo>
                    <a:lnTo>
                      <a:pt x="2435" y="1010"/>
                    </a:lnTo>
                    <a:lnTo>
                      <a:pt x="2332" y="1119"/>
                    </a:lnTo>
                    <a:lnTo>
                      <a:pt x="2218" y="1211"/>
                    </a:lnTo>
                    <a:lnTo>
                      <a:pt x="2098" y="1297"/>
                    </a:lnTo>
                    <a:lnTo>
                      <a:pt x="1972" y="1366"/>
                    </a:lnTo>
                    <a:lnTo>
                      <a:pt x="1835" y="1423"/>
                    </a:lnTo>
                    <a:lnTo>
                      <a:pt x="1698" y="1463"/>
                    </a:lnTo>
                    <a:lnTo>
                      <a:pt x="1555" y="1498"/>
                    </a:lnTo>
                    <a:lnTo>
                      <a:pt x="1412" y="1515"/>
                    </a:lnTo>
                    <a:lnTo>
                      <a:pt x="1269" y="1515"/>
                    </a:lnTo>
                    <a:lnTo>
                      <a:pt x="1120" y="1509"/>
                    </a:lnTo>
                    <a:lnTo>
                      <a:pt x="977" y="1480"/>
                    </a:lnTo>
                    <a:lnTo>
                      <a:pt x="834" y="1440"/>
                    </a:lnTo>
                    <a:lnTo>
                      <a:pt x="691" y="1383"/>
                    </a:lnTo>
                    <a:lnTo>
                      <a:pt x="554" y="1314"/>
                    </a:lnTo>
                    <a:lnTo>
                      <a:pt x="388" y="1205"/>
                    </a:lnTo>
                    <a:lnTo>
                      <a:pt x="240" y="1073"/>
                    </a:lnTo>
                    <a:lnTo>
                      <a:pt x="108" y="924"/>
                    </a:lnTo>
                    <a:lnTo>
                      <a:pt x="0" y="757"/>
                    </a:lnTo>
                    <a:lnTo>
                      <a:pt x="1309" y="0"/>
                    </a:lnTo>
                    <a:lnTo>
                      <a:pt x="2618" y="757"/>
                    </a:lnTo>
                    <a:close/>
                  </a:path>
                </a:pathLst>
              </a:custGeom>
              <a:solidFill>
                <a:schemeClr val="accent2">
                  <a:lumMod val="60000"/>
                  <a:lumOff val="40000"/>
                </a:schemeClr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18">
                <a:extLst>
                  <a:ext uri="{FF2B5EF4-FFF2-40B4-BE49-F238E27FC236}">
                    <a16:creationId xmlns:a16="http://schemas.microsoft.com/office/drawing/2014/main" id="{8D460C35-0387-CE79-C0DE-F3A3D0A421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741738" y="484188"/>
                <a:ext cx="2397125" cy="3608387"/>
              </a:xfrm>
              <a:custGeom>
                <a:avLst/>
                <a:gdLst>
                  <a:gd name="T0" fmla="*/ 201 w 1510"/>
                  <a:gd name="T1" fmla="*/ 2273 h 2273"/>
                  <a:gd name="T2" fmla="*/ 132 w 1510"/>
                  <a:gd name="T3" fmla="*/ 2136 h 2273"/>
                  <a:gd name="T4" fmla="*/ 75 w 1510"/>
                  <a:gd name="T5" fmla="*/ 1998 h 2273"/>
                  <a:gd name="T6" fmla="*/ 35 w 1510"/>
                  <a:gd name="T7" fmla="*/ 1854 h 2273"/>
                  <a:gd name="T8" fmla="*/ 12 w 1510"/>
                  <a:gd name="T9" fmla="*/ 1705 h 2273"/>
                  <a:gd name="T10" fmla="*/ 0 w 1510"/>
                  <a:gd name="T11" fmla="*/ 1562 h 2273"/>
                  <a:gd name="T12" fmla="*/ 0 w 1510"/>
                  <a:gd name="T13" fmla="*/ 1412 h 2273"/>
                  <a:gd name="T14" fmla="*/ 18 w 1510"/>
                  <a:gd name="T15" fmla="*/ 1269 h 2273"/>
                  <a:gd name="T16" fmla="*/ 52 w 1510"/>
                  <a:gd name="T17" fmla="*/ 1125 h 2273"/>
                  <a:gd name="T18" fmla="*/ 92 w 1510"/>
                  <a:gd name="T19" fmla="*/ 988 h 2273"/>
                  <a:gd name="T20" fmla="*/ 149 w 1510"/>
                  <a:gd name="T21" fmla="*/ 856 h 2273"/>
                  <a:gd name="T22" fmla="*/ 223 w 1510"/>
                  <a:gd name="T23" fmla="*/ 724 h 2273"/>
                  <a:gd name="T24" fmla="*/ 303 w 1510"/>
                  <a:gd name="T25" fmla="*/ 603 h 2273"/>
                  <a:gd name="T26" fmla="*/ 401 w 1510"/>
                  <a:gd name="T27" fmla="*/ 488 h 2273"/>
                  <a:gd name="T28" fmla="*/ 504 w 1510"/>
                  <a:gd name="T29" fmla="*/ 385 h 2273"/>
                  <a:gd name="T30" fmla="*/ 624 w 1510"/>
                  <a:gd name="T31" fmla="*/ 287 h 2273"/>
                  <a:gd name="T32" fmla="*/ 755 w 1510"/>
                  <a:gd name="T33" fmla="*/ 207 h 2273"/>
                  <a:gd name="T34" fmla="*/ 841 w 1510"/>
                  <a:gd name="T35" fmla="*/ 155 h 2273"/>
                  <a:gd name="T36" fmla="*/ 932 w 1510"/>
                  <a:gd name="T37" fmla="*/ 115 h 2273"/>
                  <a:gd name="T38" fmla="*/ 1024 w 1510"/>
                  <a:gd name="T39" fmla="*/ 81 h 2273"/>
                  <a:gd name="T40" fmla="*/ 1115 w 1510"/>
                  <a:gd name="T41" fmla="*/ 52 h 2273"/>
                  <a:gd name="T42" fmla="*/ 1213 w 1510"/>
                  <a:gd name="T43" fmla="*/ 29 h 2273"/>
                  <a:gd name="T44" fmla="*/ 1310 w 1510"/>
                  <a:gd name="T45" fmla="*/ 18 h 2273"/>
                  <a:gd name="T46" fmla="*/ 1407 w 1510"/>
                  <a:gd name="T47" fmla="*/ 6 h 2273"/>
                  <a:gd name="T48" fmla="*/ 1510 w 1510"/>
                  <a:gd name="T49" fmla="*/ 0 h 2273"/>
                  <a:gd name="T50" fmla="*/ 1510 w 1510"/>
                  <a:gd name="T51" fmla="*/ 1516 h 2273"/>
                  <a:gd name="T52" fmla="*/ 201 w 1510"/>
                  <a:gd name="T53" fmla="*/ 2273 h 22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510" h="2273">
                    <a:moveTo>
                      <a:pt x="201" y="2273"/>
                    </a:moveTo>
                    <a:lnTo>
                      <a:pt x="132" y="2136"/>
                    </a:lnTo>
                    <a:lnTo>
                      <a:pt x="75" y="1998"/>
                    </a:lnTo>
                    <a:lnTo>
                      <a:pt x="35" y="1854"/>
                    </a:lnTo>
                    <a:lnTo>
                      <a:pt x="12" y="1705"/>
                    </a:lnTo>
                    <a:lnTo>
                      <a:pt x="0" y="1562"/>
                    </a:lnTo>
                    <a:lnTo>
                      <a:pt x="0" y="1412"/>
                    </a:lnTo>
                    <a:lnTo>
                      <a:pt x="18" y="1269"/>
                    </a:lnTo>
                    <a:lnTo>
                      <a:pt x="52" y="1125"/>
                    </a:lnTo>
                    <a:lnTo>
                      <a:pt x="92" y="988"/>
                    </a:lnTo>
                    <a:lnTo>
                      <a:pt x="149" y="856"/>
                    </a:lnTo>
                    <a:lnTo>
                      <a:pt x="223" y="724"/>
                    </a:lnTo>
                    <a:lnTo>
                      <a:pt x="303" y="603"/>
                    </a:lnTo>
                    <a:lnTo>
                      <a:pt x="401" y="488"/>
                    </a:lnTo>
                    <a:lnTo>
                      <a:pt x="504" y="385"/>
                    </a:lnTo>
                    <a:lnTo>
                      <a:pt x="624" y="287"/>
                    </a:lnTo>
                    <a:lnTo>
                      <a:pt x="755" y="207"/>
                    </a:lnTo>
                    <a:lnTo>
                      <a:pt x="841" y="155"/>
                    </a:lnTo>
                    <a:lnTo>
                      <a:pt x="932" y="115"/>
                    </a:lnTo>
                    <a:lnTo>
                      <a:pt x="1024" y="81"/>
                    </a:lnTo>
                    <a:lnTo>
                      <a:pt x="1115" y="52"/>
                    </a:lnTo>
                    <a:lnTo>
                      <a:pt x="1213" y="29"/>
                    </a:lnTo>
                    <a:lnTo>
                      <a:pt x="1310" y="18"/>
                    </a:lnTo>
                    <a:lnTo>
                      <a:pt x="1407" y="6"/>
                    </a:lnTo>
                    <a:lnTo>
                      <a:pt x="1510" y="0"/>
                    </a:lnTo>
                    <a:lnTo>
                      <a:pt x="1510" y="1516"/>
                    </a:lnTo>
                    <a:lnTo>
                      <a:pt x="201" y="2273"/>
                    </a:lnTo>
                    <a:close/>
                  </a:path>
                </a:pathLst>
              </a:custGeom>
              <a:solidFill>
                <a:schemeClr val="accent3">
                  <a:lumMod val="60000"/>
                  <a:lumOff val="40000"/>
                </a:schemeClr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70" name="Inhaltsplatzhalter 4">
            <a:extLst>
              <a:ext uri="{FF2B5EF4-FFF2-40B4-BE49-F238E27FC236}">
                <a16:creationId xmlns:a16="http://schemas.microsoft.com/office/drawing/2014/main" id="{7CE4F98E-8B26-B528-E579-CC2C7A65A073}"/>
              </a:ext>
            </a:extLst>
          </p:cNvPr>
          <p:cNvSpPr txBox="1">
            <a:spLocks/>
          </p:cNvSpPr>
          <p:nvPr/>
        </p:nvSpPr>
        <p:spPr>
          <a:xfrm>
            <a:off x="4439092" y="5880005"/>
            <a:ext cx="3095119" cy="24929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auto">
              <a:spcAft>
                <a:spcPts val="300"/>
              </a:spcAft>
              <a:buNone/>
            </a:pPr>
            <a:r>
              <a:rPr lang="en-US" sz="1800" b="1" dirty="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INSERT HEADING</a:t>
            </a:r>
          </a:p>
        </p:txBody>
      </p:sp>
      <p:sp>
        <p:nvSpPr>
          <p:cNvPr id="71" name="Inhaltsplatzhalter 4">
            <a:extLst>
              <a:ext uri="{FF2B5EF4-FFF2-40B4-BE49-F238E27FC236}">
                <a16:creationId xmlns:a16="http://schemas.microsoft.com/office/drawing/2014/main" id="{D929CB8F-351A-F5A0-5B36-648CA115B535}"/>
              </a:ext>
            </a:extLst>
          </p:cNvPr>
          <p:cNvSpPr txBox="1">
            <a:spLocks/>
          </p:cNvSpPr>
          <p:nvPr/>
        </p:nvSpPr>
        <p:spPr>
          <a:xfrm>
            <a:off x="8219619" y="2768958"/>
            <a:ext cx="3095119" cy="24929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300"/>
              </a:spcAft>
              <a:buNone/>
            </a:pPr>
            <a:r>
              <a:rPr lang="en-US" sz="1800" b="1" dirty="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INSERT HEADING</a:t>
            </a:r>
          </a:p>
        </p:txBody>
      </p:sp>
      <p:sp>
        <p:nvSpPr>
          <p:cNvPr id="72" name="Inhaltsplatzhalter 4">
            <a:extLst>
              <a:ext uri="{FF2B5EF4-FFF2-40B4-BE49-F238E27FC236}">
                <a16:creationId xmlns:a16="http://schemas.microsoft.com/office/drawing/2014/main" id="{47A229F9-14A1-D219-F4ED-38CA7DB5258D}"/>
              </a:ext>
            </a:extLst>
          </p:cNvPr>
          <p:cNvSpPr txBox="1">
            <a:spLocks/>
          </p:cNvSpPr>
          <p:nvPr/>
        </p:nvSpPr>
        <p:spPr>
          <a:xfrm>
            <a:off x="601163" y="2768958"/>
            <a:ext cx="3095119" cy="24929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 fontAlgn="auto">
              <a:spcAft>
                <a:spcPts val="300"/>
              </a:spcAft>
              <a:buNone/>
            </a:pPr>
            <a:r>
              <a:rPr lang="en-US" sz="1800" b="1" dirty="0">
                <a:solidFill>
                  <a:schemeClr val="accent3"/>
                </a:solidFill>
                <a:latin typeface="+mj-lt"/>
                <a:cs typeface="Calibri" panose="020F0502020204030204" pitchFamily="34" charset="0"/>
              </a:rPr>
              <a:t>INSERT HEADING</a:t>
            </a:r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BCA97D84-8BA9-8F19-1A4F-8547095F828A}"/>
              </a:ext>
            </a:extLst>
          </p:cNvPr>
          <p:cNvSpPr/>
          <p:nvPr/>
        </p:nvSpPr>
        <p:spPr>
          <a:xfrm>
            <a:off x="5325433" y="2908357"/>
            <a:ext cx="1298246" cy="1285391"/>
          </a:xfrm>
          <a:prstGeom prst="ellipse">
            <a:avLst/>
          </a:prstGeom>
          <a:solidFill>
            <a:schemeClr val="bg1"/>
          </a:solidFill>
          <a:ln w="76200">
            <a:solidFill>
              <a:schemeClr val="bg1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0" tIns="0" rIns="0" bIns="0" anchor="ctr" anchorCtr="1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280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</a:p>
        </p:txBody>
      </p:sp>
      <p:grpSp>
        <p:nvGrpSpPr>
          <p:cNvPr id="74" name="Shape0_20180718_204234">
            <a:extLst>
              <a:ext uri="{FF2B5EF4-FFF2-40B4-BE49-F238E27FC236}">
                <a16:creationId xmlns:a16="http://schemas.microsoft.com/office/drawing/2014/main" id="{7CD727B6-9784-A16D-5FD1-40A5D3481D02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6823484" y="2830712"/>
            <a:ext cx="415395" cy="415395"/>
            <a:chOff x="5712408" y="975680"/>
            <a:chExt cx="671729" cy="639391"/>
          </a:xfrm>
        </p:grpSpPr>
        <p:sp>
          <p:nvSpPr>
            <p:cNvPr id="75" name="Freeform 26">
              <a:extLst>
                <a:ext uri="{FF2B5EF4-FFF2-40B4-BE49-F238E27FC236}">
                  <a16:creationId xmlns:a16="http://schemas.microsoft.com/office/drawing/2014/main" id="{2FAFF9D9-AB4F-823B-3F82-5DCCC72CFB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12408" y="975680"/>
              <a:ext cx="671729" cy="639391"/>
            </a:xfrm>
            <a:custGeom>
              <a:avLst/>
              <a:gdLst>
                <a:gd name="T0" fmla="*/ 117 w 128"/>
                <a:gd name="T1" fmla="*/ 0 h 122"/>
                <a:gd name="T2" fmla="*/ 11 w 128"/>
                <a:gd name="T3" fmla="*/ 0 h 122"/>
                <a:gd name="T4" fmla="*/ 0 w 128"/>
                <a:gd name="T5" fmla="*/ 11 h 122"/>
                <a:gd name="T6" fmla="*/ 0 w 128"/>
                <a:gd name="T7" fmla="*/ 93 h 122"/>
                <a:gd name="T8" fmla="*/ 11 w 128"/>
                <a:gd name="T9" fmla="*/ 104 h 122"/>
                <a:gd name="T10" fmla="*/ 43 w 128"/>
                <a:gd name="T11" fmla="*/ 104 h 122"/>
                <a:gd name="T12" fmla="*/ 38 w 128"/>
                <a:gd name="T13" fmla="*/ 110 h 122"/>
                <a:gd name="T14" fmla="*/ 35 w 128"/>
                <a:gd name="T15" fmla="*/ 113 h 122"/>
                <a:gd name="T16" fmla="*/ 34 w 128"/>
                <a:gd name="T17" fmla="*/ 118 h 122"/>
                <a:gd name="T18" fmla="*/ 42 w 128"/>
                <a:gd name="T19" fmla="*/ 122 h 122"/>
                <a:gd name="T20" fmla="*/ 86 w 128"/>
                <a:gd name="T21" fmla="*/ 122 h 122"/>
                <a:gd name="T22" fmla="*/ 94 w 128"/>
                <a:gd name="T23" fmla="*/ 118 h 122"/>
                <a:gd name="T24" fmla="*/ 94 w 128"/>
                <a:gd name="T25" fmla="*/ 113 h 122"/>
                <a:gd name="T26" fmla="*/ 91 w 128"/>
                <a:gd name="T27" fmla="*/ 110 h 122"/>
                <a:gd name="T28" fmla="*/ 85 w 128"/>
                <a:gd name="T29" fmla="*/ 104 h 122"/>
                <a:gd name="T30" fmla="*/ 117 w 128"/>
                <a:gd name="T31" fmla="*/ 104 h 122"/>
                <a:gd name="T32" fmla="*/ 128 w 128"/>
                <a:gd name="T33" fmla="*/ 93 h 122"/>
                <a:gd name="T34" fmla="*/ 128 w 128"/>
                <a:gd name="T35" fmla="*/ 11 h 122"/>
                <a:gd name="T36" fmla="*/ 117 w 128"/>
                <a:gd name="T37" fmla="*/ 0 h 122"/>
                <a:gd name="T38" fmla="*/ 88 w 128"/>
                <a:gd name="T39" fmla="*/ 113 h 122"/>
                <a:gd name="T40" fmla="*/ 90 w 128"/>
                <a:gd name="T41" fmla="*/ 116 h 122"/>
                <a:gd name="T42" fmla="*/ 90 w 128"/>
                <a:gd name="T43" fmla="*/ 116 h 122"/>
                <a:gd name="T44" fmla="*/ 86 w 128"/>
                <a:gd name="T45" fmla="*/ 118 h 122"/>
                <a:gd name="T46" fmla="*/ 42 w 128"/>
                <a:gd name="T47" fmla="*/ 118 h 122"/>
                <a:gd name="T48" fmla="*/ 38 w 128"/>
                <a:gd name="T49" fmla="*/ 116 h 122"/>
                <a:gd name="T50" fmla="*/ 38 w 128"/>
                <a:gd name="T51" fmla="*/ 116 h 122"/>
                <a:gd name="T52" fmla="*/ 38 w 128"/>
                <a:gd name="T53" fmla="*/ 116 h 122"/>
                <a:gd name="T54" fmla="*/ 40 w 128"/>
                <a:gd name="T55" fmla="*/ 113 h 122"/>
                <a:gd name="T56" fmla="*/ 48 w 128"/>
                <a:gd name="T57" fmla="*/ 104 h 122"/>
                <a:gd name="T58" fmla="*/ 80 w 128"/>
                <a:gd name="T59" fmla="*/ 104 h 122"/>
                <a:gd name="T60" fmla="*/ 88 w 128"/>
                <a:gd name="T61" fmla="*/ 113 h 122"/>
                <a:gd name="T62" fmla="*/ 120 w 128"/>
                <a:gd name="T63" fmla="*/ 93 h 122"/>
                <a:gd name="T64" fmla="*/ 117 w 128"/>
                <a:gd name="T65" fmla="*/ 96 h 122"/>
                <a:gd name="T66" fmla="*/ 11 w 128"/>
                <a:gd name="T67" fmla="*/ 96 h 122"/>
                <a:gd name="T68" fmla="*/ 8 w 128"/>
                <a:gd name="T69" fmla="*/ 93 h 122"/>
                <a:gd name="T70" fmla="*/ 8 w 128"/>
                <a:gd name="T71" fmla="*/ 11 h 122"/>
                <a:gd name="T72" fmla="*/ 11 w 128"/>
                <a:gd name="T73" fmla="*/ 8 h 122"/>
                <a:gd name="T74" fmla="*/ 117 w 128"/>
                <a:gd name="T75" fmla="*/ 8 h 122"/>
                <a:gd name="T76" fmla="*/ 120 w 128"/>
                <a:gd name="T77" fmla="*/ 11 h 122"/>
                <a:gd name="T78" fmla="*/ 120 w 128"/>
                <a:gd name="T79" fmla="*/ 93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8" h="122">
                  <a:moveTo>
                    <a:pt x="117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99"/>
                    <a:pt x="5" y="104"/>
                    <a:pt x="11" y="104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42" y="106"/>
                    <a:pt x="39" y="109"/>
                    <a:pt x="38" y="110"/>
                  </a:cubicBezTo>
                  <a:cubicBezTo>
                    <a:pt x="36" y="111"/>
                    <a:pt x="35" y="112"/>
                    <a:pt x="35" y="113"/>
                  </a:cubicBezTo>
                  <a:cubicBezTo>
                    <a:pt x="34" y="114"/>
                    <a:pt x="33" y="116"/>
                    <a:pt x="34" y="118"/>
                  </a:cubicBezTo>
                  <a:cubicBezTo>
                    <a:pt x="35" y="120"/>
                    <a:pt x="37" y="122"/>
                    <a:pt x="42" y="122"/>
                  </a:cubicBezTo>
                  <a:cubicBezTo>
                    <a:pt x="86" y="122"/>
                    <a:pt x="86" y="122"/>
                    <a:pt x="86" y="122"/>
                  </a:cubicBezTo>
                  <a:cubicBezTo>
                    <a:pt x="91" y="122"/>
                    <a:pt x="93" y="120"/>
                    <a:pt x="94" y="118"/>
                  </a:cubicBezTo>
                  <a:cubicBezTo>
                    <a:pt x="95" y="116"/>
                    <a:pt x="95" y="114"/>
                    <a:pt x="94" y="113"/>
                  </a:cubicBezTo>
                  <a:cubicBezTo>
                    <a:pt x="93" y="112"/>
                    <a:pt x="92" y="111"/>
                    <a:pt x="91" y="110"/>
                  </a:cubicBezTo>
                  <a:cubicBezTo>
                    <a:pt x="89" y="109"/>
                    <a:pt x="87" y="106"/>
                    <a:pt x="85" y="104"/>
                  </a:cubicBezTo>
                  <a:cubicBezTo>
                    <a:pt x="117" y="104"/>
                    <a:pt x="117" y="104"/>
                    <a:pt x="117" y="104"/>
                  </a:cubicBezTo>
                  <a:cubicBezTo>
                    <a:pt x="123" y="104"/>
                    <a:pt x="128" y="99"/>
                    <a:pt x="128" y="93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28" y="5"/>
                    <a:pt x="123" y="0"/>
                    <a:pt x="117" y="0"/>
                  </a:cubicBezTo>
                  <a:close/>
                  <a:moveTo>
                    <a:pt x="88" y="113"/>
                  </a:moveTo>
                  <a:cubicBezTo>
                    <a:pt x="89" y="114"/>
                    <a:pt x="90" y="115"/>
                    <a:pt x="90" y="116"/>
                  </a:cubicBezTo>
                  <a:cubicBezTo>
                    <a:pt x="90" y="116"/>
                    <a:pt x="91" y="116"/>
                    <a:pt x="90" y="116"/>
                  </a:cubicBezTo>
                  <a:cubicBezTo>
                    <a:pt x="90" y="117"/>
                    <a:pt x="88" y="118"/>
                    <a:pt x="86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0" y="118"/>
                    <a:pt x="38" y="117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5"/>
                    <a:pt x="39" y="114"/>
                    <a:pt x="40" y="113"/>
                  </a:cubicBezTo>
                  <a:cubicBezTo>
                    <a:pt x="44" y="109"/>
                    <a:pt x="47" y="106"/>
                    <a:pt x="48" y="104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82" y="106"/>
                    <a:pt x="84" y="109"/>
                    <a:pt x="88" y="113"/>
                  </a:cubicBezTo>
                  <a:close/>
                  <a:moveTo>
                    <a:pt x="120" y="93"/>
                  </a:moveTo>
                  <a:cubicBezTo>
                    <a:pt x="120" y="95"/>
                    <a:pt x="119" y="96"/>
                    <a:pt x="117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9" y="96"/>
                    <a:pt x="8" y="95"/>
                    <a:pt x="8" y="93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9"/>
                    <a:pt x="9" y="8"/>
                    <a:pt x="11" y="8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9" y="8"/>
                    <a:pt x="120" y="9"/>
                    <a:pt x="120" y="11"/>
                  </a:cubicBezTo>
                  <a:lnTo>
                    <a:pt x="120" y="9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76" name="Freeform 27">
              <a:extLst>
                <a:ext uri="{FF2B5EF4-FFF2-40B4-BE49-F238E27FC236}">
                  <a16:creationId xmlns:a16="http://schemas.microsoft.com/office/drawing/2014/main" id="{390A0468-CC86-1B2D-B0A9-995C9BD012F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96917" y="1058042"/>
              <a:ext cx="502713" cy="338119"/>
            </a:xfrm>
            <a:custGeom>
              <a:avLst/>
              <a:gdLst>
                <a:gd name="T0" fmla="*/ 89 w 96"/>
                <a:gd name="T1" fmla="*/ 0 h 64"/>
                <a:gd name="T2" fmla="*/ 7 w 96"/>
                <a:gd name="T3" fmla="*/ 0 h 64"/>
                <a:gd name="T4" fmla="*/ 0 w 96"/>
                <a:gd name="T5" fmla="*/ 7 h 64"/>
                <a:gd name="T6" fmla="*/ 0 w 96"/>
                <a:gd name="T7" fmla="*/ 57 h 64"/>
                <a:gd name="T8" fmla="*/ 7 w 96"/>
                <a:gd name="T9" fmla="*/ 64 h 64"/>
                <a:gd name="T10" fmla="*/ 89 w 96"/>
                <a:gd name="T11" fmla="*/ 64 h 64"/>
                <a:gd name="T12" fmla="*/ 96 w 96"/>
                <a:gd name="T13" fmla="*/ 57 h 64"/>
                <a:gd name="T14" fmla="*/ 96 w 96"/>
                <a:gd name="T15" fmla="*/ 7 h 64"/>
                <a:gd name="T16" fmla="*/ 89 w 96"/>
                <a:gd name="T17" fmla="*/ 0 h 64"/>
                <a:gd name="T18" fmla="*/ 92 w 96"/>
                <a:gd name="T19" fmla="*/ 57 h 64"/>
                <a:gd name="T20" fmla="*/ 89 w 96"/>
                <a:gd name="T21" fmla="*/ 60 h 64"/>
                <a:gd name="T22" fmla="*/ 7 w 96"/>
                <a:gd name="T23" fmla="*/ 60 h 64"/>
                <a:gd name="T24" fmla="*/ 4 w 96"/>
                <a:gd name="T25" fmla="*/ 57 h 64"/>
                <a:gd name="T26" fmla="*/ 4 w 96"/>
                <a:gd name="T27" fmla="*/ 7 h 64"/>
                <a:gd name="T28" fmla="*/ 7 w 96"/>
                <a:gd name="T29" fmla="*/ 4 h 64"/>
                <a:gd name="T30" fmla="*/ 89 w 96"/>
                <a:gd name="T31" fmla="*/ 4 h 64"/>
                <a:gd name="T32" fmla="*/ 92 w 96"/>
                <a:gd name="T33" fmla="*/ 7 h 64"/>
                <a:gd name="T34" fmla="*/ 92 w 96"/>
                <a:gd name="T35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6" h="64">
                  <a:moveTo>
                    <a:pt x="89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1"/>
                    <a:pt x="3" y="64"/>
                    <a:pt x="7" y="64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93" y="64"/>
                    <a:pt x="96" y="61"/>
                    <a:pt x="96" y="5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3"/>
                    <a:pt x="93" y="0"/>
                    <a:pt x="89" y="0"/>
                  </a:cubicBezTo>
                  <a:close/>
                  <a:moveTo>
                    <a:pt x="92" y="57"/>
                  </a:moveTo>
                  <a:cubicBezTo>
                    <a:pt x="92" y="59"/>
                    <a:pt x="91" y="60"/>
                    <a:pt x="89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5" y="60"/>
                    <a:pt x="4" y="59"/>
                    <a:pt x="4" y="5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5" y="4"/>
                    <a:pt x="7" y="4"/>
                  </a:cubicBezTo>
                  <a:cubicBezTo>
                    <a:pt x="89" y="4"/>
                    <a:pt x="89" y="4"/>
                    <a:pt x="89" y="4"/>
                  </a:cubicBezTo>
                  <a:cubicBezTo>
                    <a:pt x="91" y="4"/>
                    <a:pt x="92" y="5"/>
                    <a:pt x="92" y="7"/>
                  </a:cubicBezTo>
                  <a:lnTo>
                    <a:pt x="92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77" name="Freeform 28">
              <a:extLst>
                <a:ext uri="{FF2B5EF4-FFF2-40B4-BE49-F238E27FC236}">
                  <a16:creationId xmlns:a16="http://schemas.microsoft.com/office/drawing/2014/main" id="{69ADD193-3942-9CC6-B0EA-ED7C5F3F89D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17937" y="1404831"/>
              <a:ext cx="62840" cy="65023"/>
            </a:xfrm>
            <a:custGeom>
              <a:avLst/>
              <a:gdLst>
                <a:gd name="T0" fmla="*/ 6 w 12"/>
                <a:gd name="T1" fmla="*/ 0 h 12"/>
                <a:gd name="T2" fmla="*/ 0 w 12"/>
                <a:gd name="T3" fmla="*/ 6 h 12"/>
                <a:gd name="T4" fmla="*/ 6 w 12"/>
                <a:gd name="T5" fmla="*/ 12 h 12"/>
                <a:gd name="T6" fmla="*/ 12 w 12"/>
                <a:gd name="T7" fmla="*/ 6 h 12"/>
                <a:gd name="T8" fmla="*/ 6 w 12"/>
                <a:gd name="T9" fmla="*/ 0 h 12"/>
                <a:gd name="T10" fmla="*/ 6 w 12"/>
                <a:gd name="T11" fmla="*/ 8 h 12"/>
                <a:gd name="T12" fmla="*/ 4 w 12"/>
                <a:gd name="T13" fmla="*/ 6 h 12"/>
                <a:gd name="T14" fmla="*/ 6 w 12"/>
                <a:gd name="T15" fmla="*/ 4 h 12"/>
                <a:gd name="T16" fmla="*/ 8 w 12"/>
                <a:gd name="T17" fmla="*/ 6 h 12"/>
                <a:gd name="T18" fmla="*/ 6 w 12"/>
                <a:gd name="T1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9" y="12"/>
                    <a:pt x="12" y="9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lose/>
                  <a:moveTo>
                    <a:pt x="6" y="8"/>
                  </a:moveTo>
                  <a:cubicBezTo>
                    <a:pt x="5" y="8"/>
                    <a:pt x="4" y="7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7" y="4"/>
                    <a:pt x="8" y="5"/>
                    <a:pt x="8" y="6"/>
                  </a:cubicBezTo>
                  <a:cubicBezTo>
                    <a:pt x="8" y="7"/>
                    <a:pt x="7" y="8"/>
                    <a:pt x="6" y="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78" name="Freeform 29">
              <a:extLst>
                <a:ext uri="{FF2B5EF4-FFF2-40B4-BE49-F238E27FC236}">
                  <a16:creationId xmlns:a16="http://schemas.microsoft.com/office/drawing/2014/main" id="{3726F12E-4CE1-0F82-1535-AFDF51816FD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3429" y="1190255"/>
              <a:ext cx="84509" cy="88864"/>
            </a:xfrm>
            <a:custGeom>
              <a:avLst/>
              <a:gdLst>
                <a:gd name="T0" fmla="*/ 0 w 39"/>
                <a:gd name="T1" fmla="*/ 24 h 41"/>
                <a:gd name="T2" fmla="*/ 39 w 39"/>
                <a:gd name="T3" fmla="*/ 41 h 41"/>
                <a:gd name="T4" fmla="*/ 39 w 39"/>
                <a:gd name="T5" fmla="*/ 32 h 41"/>
                <a:gd name="T6" fmla="*/ 12 w 39"/>
                <a:gd name="T7" fmla="*/ 19 h 41"/>
                <a:gd name="T8" fmla="*/ 39 w 39"/>
                <a:gd name="T9" fmla="*/ 10 h 41"/>
                <a:gd name="T10" fmla="*/ 39 w 39"/>
                <a:gd name="T11" fmla="*/ 0 h 41"/>
                <a:gd name="T12" fmla="*/ 0 w 39"/>
                <a:gd name="T13" fmla="*/ 17 h 41"/>
                <a:gd name="T14" fmla="*/ 0 w 39"/>
                <a:gd name="T15" fmla="*/ 2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41">
                  <a:moveTo>
                    <a:pt x="0" y="24"/>
                  </a:moveTo>
                  <a:lnTo>
                    <a:pt x="39" y="41"/>
                  </a:lnTo>
                  <a:lnTo>
                    <a:pt x="39" y="32"/>
                  </a:lnTo>
                  <a:lnTo>
                    <a:pt x="12" y="19"/>
                  </a:lnTo>
                  <a:lnTo>
                    <a:pt x="39" y="10"/>
                  </a:lnTo>
                  <a:lnTo>
                    <a:pt x="39" y="0"/>
                  </a:lnTo>
                  <a:lnTo>
                    <a:pt x="0" y="17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79" name="Freeform 30">
              <a:extLst>
                <a:ext uri="{FF2B5EF4-FFF2-40B4-BE49-F238E27FC236}">
                  <a16:creationId xmlns:a16="http://schemas.microsoft.com/office/drawing/2014/main" id="{AB6549C8-3476-E67E-99D2-6112997CBFF6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6605" y="1175084"/>
              <a:ext cx="43337" cy="119208"/>
            </a:xfrm>
            <a:custGeom>
              <a:avLst/>
              <a:gdLst>
                <a:gd name="T0" fmla="*/ 7 w 8"/>
                <a:gd name="T1" fmla="*/ 0 h 23"/>
                <a:gd name="T2" fmla="*/ 5 w 8"/>
                <a:gd name="T3" fmla="*/ 0 h 23"/>
                <a:gd name="T4" fmla="*/ 5 w 8"/>
                <a:gd name="T5" fmla="*/ 2 h 23"/>
                <a:gd name="T6" fmla="*/ 0 w 8"/>
                <a:gd name="T7" fmla="*/ 20 h 23"/>
                <a:gd name="T8" fmla="*/ 0 w 8"/>
                <a:gd name="T9" fmla="*/ 22 h 23"/>
                <a:gd name="T10" fmla="*/ 2 w 8"/>
                <a:gd name="T11" fmla="*/ 23 h 23"/>
                <a:gd name="T12" fmla="*/ 3 w 8"/>
                <a:gd name="T13" fmla="*/ 23 h 23"/>
                <a:gd name="T14" fmla="*/ 3 w 8"/>
                <a:gd name="T15" fmla="*/ 22 h 23"/>
                <a:gd name="T16" fmla="*/ 4 w 8"/>
                <a:gd name="T17" fmla="*/ 21 h 23"/>
                <a:gd name="T18" fmla="*/ 8 w 8"/>
                <a:gd name="T19" fmla="*/ 3 h 23"/>
                <a:gd name="T20" fmla="*/ 8 w 8"/>
                <a:gd name="T21" fmla="*/ 1 h 23"/>
                <a:gd name="T22" fmla="*/ 8 w 8"/>
                <a:gd name="T23" fmla="*/ 0 h 23"/>
                <a:gd name="T24" fmla="*/ 7 w 8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3">
                  <a:moveTo>
                    <a:pt x="7" y="0"/>
                  </a:move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1"/>
                    <a:pt x="5" y="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0" y="23"/>
                    <a:pt x="1" y="23"/>
                    <a:pt x="2" y="23"/>
                  </a:cubicBezTo>
                  <a:cubicBezTo>
                    <a:pt x="2" y="23"/>
                    <a:pt x="2" y="23"/>
                    <a:pt x="3" y="23"/>
                  </a:cubicBezTo>
                  <a:cubicBezTo>
                    <a:pt x="3" y="23"/>
                    <a:pt x="3" y="22"/>
                    <a:pt x="3" y="22"/>
                  </a:cubicBezTo>
                  <a:cubicBezTo>
                    <a:pt x="3" y="22"/>
                    <a:pt x="3" y="21"/>
                    <a:pt x="4" y="2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80" name="Freeform 31">
              <a:extLst>
                <a:ext uri="{FF2B5EF4-FFF2-40B4-BE49-F238E27FC236}">
                  <a16:creationId xmlns:a16="http://schemas.microsoft.com/office/drawing/2014/main" id="{141E68A1-B955-6C60-FA9B-B8FA84925B6C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0776" y="1190255"/>
              <a:ext cx="82341" cy="88864"/>
            </a:xfrm>
            <a:custGeom>
              <a:avLst/>
              <a:gdLst>
                <a:gd name="T0" fmla="*/ 0 w 38"/>
                <a:gd name="T1" fmla="*/ 10 h 41"/>
                <a:gd name="T2" fmla="*/ 26 w 38"/>
                <a:gd name="T3" fmla="*/ 19 h 41"/>
                <a:gd name="T4" fmla="*/ 0 w 38"/>
                <a:gd name="T5" fmla="*/ 32 h 41"/>
                <a:gd name="T6" fmla="*/ 0 w 38"/>
                <a:gd name="T7" fmla="*/ 41 h 41"/>
                <a:gd name="T8" fmla="*/ 38 w 38"/>
                <a:gd name="T9" fmla="*/ 24 h 41"/>
                <a:gd name="T10" fmla="*/ 38 w 38"/>
                <a:gd name="T11" fmla="*/ 17 h 41"/>
                <a:gd name="T12" fmla="*/ 0 w 38"/>
                <a:gd name="T13" fmla="*/ 0 h 41"/>
                <a:gd name="T14" fmla="*/ 0 w 38"/>
                <a:gd name="T15" fmla="*/ 1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41">
                  <a:moveTo>
                    <a:pt x="0" y="10"/>
                  </a:moveTo>
                  <a:lnTo>
                    <a:pt x="26" y="19"/>
                  </a:lnTo>
                  <a:lnTo>
                    <a:pt x="0" y="32"/>
                  </a:lnTo>
                  <a:lnTo>
                    <a:pt x="0" y="41"/>
                  </a:lnTo>
                  <a:lnTo>
                    <a:pt x="38" y="24"/>
                  </a:lnTo>
                  <a:lnTo>
                    <a:pt x="38" y="17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</p:grpSp>
      <p:sp>
        <p:nvSpPr>
          <p:cNvPr id="81" name="Shape2_20180718_204234">
            <a:extLst>
              <a:ext uri="{FF2B5EF4-FFF2-40B4-BE49-F238E27FC236}">
                <a16:creationId xmlns:a16="http://schemas.microsoft.com/office/drawing/2014/main" id="{43FFB920-BC6F-EA6B-9FDB-76E9D8AAB3DC}"/>
              </a:ext>
            </a:extLst>
          </p:cNvPr>
          <p:cNvSpPr>
            <a:spLocks noChangeAspect="1" noEditPoints="1"/>
          </p:cNvSpPr>
          <p:nvPr>
            <p:custDataLst>
              <p:tags r:id="rId3"/>
            </p:custDataLst>
          </p:nvPr>
        </p:nvSpPr>
        <p:spPr bwMode="auto">
          <a:xfrm>
            <a:off x="4774700" y="2883450"/>
            <a:ext cx="415395" cy="415395"/>
          </a:xfrm>
          <a:custGeom>
            <a:avLst/>
            <a:gdLst>
              <a:gd name="T0" fmla="*/ 232 w 256"/>
              <a:gd name="T1" fmla="*/ 84 h 227"/>
              <a:gd name="T2" fmla="*/ 172 w 256"/>
              <a:gd name="T3" fmla="*/ 44 h 227"/>
              <a:gd name="T4" fmla="*/ 120 w 256"/>
              <a:gd name="T5" fmla="*/ 48 h 227"/>
              <a:gd name="T6" fmla="*/ 64 w 256"/>
              <a:gd name="T7" fmla="*/ 107 h 227"/>
              <a:gd name="T8" fmla="*/ 0 w 256"/>
              <a:gd name="T9" fmla="*/ 131 h 227"/>
              <a:gd name="T10" fmla="*/ 32 w 256"/>
              <a:gd name="T11" fmla="*/ 227 h 227"/>
              <a:gd name="T12" fmla="*/ 87 w 256"/>
              <a:gd name="T13" fmla="*/ 212 h 227"/>
              <a:gd name="T14" fmla="*/ 103 w 256"/>
              <a:gd name="T15" fmla="*/ 219 h 227"/>
              <a:gd name="T16" fmla="*/ 232 w 256"/>
              <a:gd name="T17" fmla="*/ 197 h 227"/>
              <a:gd name="T18" fmla="*/ 240 w 256"/>
              <a:gd name="T19" fmla="*/ 169 h 227"/>
              <a:gd name="T20" fmla="*/ 248 w 256"/>
              <a:gd name="T21" fmla="*/ 140 h 227"/>
              <a:gd name="T22" fmla="*/ 256 w 256"/>
              <a:gd name="T23" fmla="*/ 108 h 227"/>
              <a:gd name="T24" fmla="*/ 32 w 256"/>
              <a:gd name="T25" fmla="*/ 211 h 227"/>
              <a:gd name="T26" fmla="*/ 16 w 256"/>
              <a:gd name="T27" fmla="*/ 131 h 227"/>
              <a:gd name="T28" fmla="*/ 64 w 256"/>
              <a:gd name="T29" fmla="*/ 123 h 227"/>
              <a:gd name="T30" fmla="*/ 72 w 256"/>
              <a:gd name="T31" fmla="*/ 198 h 227"/>
              <a:gd name="T32" fmla="*/ 72 w 256"/>
              <a:gd name="T33" fmla="*/ 203 h 227"/>
              <a:gd name="T34" fmla="*/ 210 w 256"/>
              <a:gd name="T35" fmla="*/ 203 h 227"/>
              <a:gd name="T36" fmla="*/ 88 w 256"/>
              <a:gd name="T37" fmla="*/ 194 h 227"/>
              <a:gd name="T38" fmla="*/ 86 w 256"/>
              <a:gd name="T39" fmla="*/ 121 h 227"/>
              <a:gd name="T40" fmla="*/ 140 w 256"/>
              <a:gd name="T41" fmla="*/ 16 h 227"/>
              <a:gd name="T42" fmla="*/ 152 w 256"/>
              <a:gd name="T43" fmla="*/ 90 h 227"/>
              <a:gd name="T44" fmla="*/ 160 w 256"/>
              <a:gd name="T45" fmla="*/ 100 h 227"/>
              <a:gd name="T46" fmla="*/ 240 w 256"/>
              <a:gd name="T47" fmla="*/ 108 h 227"/>
              <a:gd name="T48" fmla="*/ 223 w 256"/>
              <a:gd name="T49" fmla="*/ 116 h 227"/>
              <a:gd name="T50" fmla="*/ 223 w 256"/>
              <a:gd name="T51" fmla="*/ 132 h 227"/>
              <a:gd name="T52" fmla="*/ 224 w 256"/>
              <a:gd name="T53" fmla="*/ 132 h 227"/>
              <a:gd name="T54" fmla="*/ 224 w 256"/>
              <a:gd name="T55" fmla="*/ 148 h 227"/>
              <a:gd name="T56" fmla="*/ 218 w 256"/>
              <a:gd name="T57" fmla="*/ 147 h 227"/>
              <a:gd name="T58" fmla="*/ 215 w 256"/>
              <a:gd name="T59" fmla="*/ 148 h 227"/>
              <a:gd name="T60" fmla="*/ 215 w 256"/>
              <a:gd name="T61" fmla="*/ 164 h 227"/>
              <a:gd name="T62" fmla="*/ 224 w 256"/>
              <a:gd name="T63" fmla="*/ 169 h 227"/>
              <a:gd name="T64" fmla="*/ 210 w 256"/>
              <a:gd name="T65" fmla="*/ 175 h 227"/>
              <a:gd name="T66" fmla="*/ 210 w 256"/>
              <a:gd name="T67" fmla="*/ 175 h 227"/>
              <a:gd name="T68" fmla="*/ 210 w 256"/>
              <a:gd name="T69" fmla="*/ 191 h 227"/>
              <a:gd name="T70" fmla="*/ 210 w 256"/>
              <a:gd name="T71" fmla="*/ 203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56" h="227">
                <a:moveTo>
                  <a:pt x="256" y="108"/>
                </a:moveTo>
                <a:cubicBezTo>
                  <a:pt x="256" y="94"/>
                  <a:pt x="245" y="84"/>
                  <a:pt x="232" y="84"/>
                </a:cubicBezTo>
                <a:cubicBezTo>
                  <a:pt x="169" y="84"/>
                  <a:pt x="169" y="84"/>
                  <a:pt x="169" y="84"/>
                </a:cubicBezTo>
                <a:cubicBezTo>
                  <a:pt x="171" y="74"/>
                  <a:pt x="172" y="59"/>
                  <a:pt x="172" y="44"/>
                </a:cubicBezTo>
                <a:cubicBezTo>
                  <a:pt x="172" y="13"/>
                  <a:pt x="156" y="0"/>
                  <a:pt x="140" y="0"/>
                </a:cubicBezTo>
                <a:cubicBezTo>
                  <a:pt x="120" y="0"/>
                  <a:pt x="120" y="21"/>
                  <a:pt x="120" y="48"/>
                </a:cubicBezTo>
                <a:cubicBezTo>
                  <a:pt x="120" y="67"/>
                  <a:pt x="90" y="97"/>
                  <a:pt x="75" y="110"/>
                </a:cubicBezTo>
                <a:cubicBezTo>
                  <a:pt x="71" y="108"/>
                  <a:pt x="68" y="107"/>
                  <a:pt x="64" y="107"/>
                </a:cubicBezTo>
                <a:cubicBezTo>
                  <a:pt x="24" y="107"/>
                  <a:pt x="24" y="107"/>
                  <a:pt x="24" y="107"/>
                </a:cubicBezTo>
                <a:cubicBezTo>
                  <a:pt x="11" y="107"/>
                  <a:pt x="0" y="118"/>
                  <a:pt x="0" y="131"/>
                </a:cubicBezTo>
                <a:cubicBezTo>
                  <a:pt x="8" y="203"/>
                  <a:pt x="8" y="203"/>
                  <a:pt x="8" y="203"/>
                </a:cubicBezTo>
                <a:cubicBezTo>
                  <a:pt x="10" y="216"/>
                  <a:pt x="19" y="227"/>
                  <a:pt x="32" y="227"/>
                </a:cubicBezTo>
                <a:cubicBezTo>
                  <a:pt x="64" y="227"/>
                  <a:pt x="64" y="227"/>
                  <a:pt x="64" y="227"/>
                </a:cubicBezTo>
                <a:cubicBezTo>
                  <a:pt x="74" y="227"/>
                  <a:pt x="83" y="221"/>
                  <a:pt x="87" y="212"/>
                </a:cubicBezTo>
                <a:cubicBezTo>
                  <a:pt x="100" y="219"/>
                  <a:pt x="100" y="219"/>
                  <a:pt x="100" y="219"/>
                </a:cubicBezTo>
                <a:cubicBezTo>
                  <a:pt x="101" y="219"/>
                  <a:pt x="102" y="219"/>
                  <a:pt x="103" y="219"/>
                </a:cubicBezTo>
                <a:cubicBezTo>
                  <a:pt x="210" y="219"/>
                  <a:pt x="210" y="219"/>
                  <a:pt x="210" y="219"/>
                </a:cubicBezTo>
                <a:cubicBezTo>
                  <a:pt x="222" y="219"/>
                  <a:pt x="232" y="210"/>
                  <a:pt x="232" y="197"/>
                </a:cubicBezTo>
                <a:cubicBezTo>
                  <a:pt x="232" y="194"/>
                  <a:pt x="231" y="191"/>
                  <a:pt x="230" y="188"/>
                </a:cubicBezTo>
                <a:cubicBezTo>
                  <a:pt x="236" y="184"/>
                  <a:pt x="240" y="177"/>
                  <a:pt x="240" y="169"/>
                </a:cubicBezTo>
                <a:cubicBezTo>
                  <a:pt x="240" y="166"/>
                  <a:pt x="239" y="162"/>
                  <a:pt x="238" y="159"/>
                </a:cubicBezTo>
                <a:cubicBezTo>
                  <a:pt x="244" y="155"/>
                  <a:pt x="248" y="148"/>
                  <a:pt x="248" y="140"/>
                </a:cubicBezTo>
                <a:cubicBezTo>
                  <a:pt x="248" y="135"/>
                  <a:pt x="247" y="131"/>
                  <a:pt x="245" y="128"/>
                </a:cubicBezTo>
                <a:cubicBezTo>
                  <a:pt x="252" y="123"/>
                  <a:pt x="256" y="116"/>
                  <a:pt x="256" y="108"/>
                </a:cubicBezTo>
                <a:close/>
                <a:moveTo>
                  <a:pt x="64" y="211"/>
                </a:moveTo>
                <a:cubicBezTo>
                  <a:pt x="32" y="211"/>
                  <a:pt x="32" y="211"/>
                  <a:pt x="32" y="211"/>
                </a:cubicBezTo>
                <a:cubicBezTo>
                  <a:pt x="28" y="211"/>
                  <a:pt x="25" y="206"/>
                  <a:pt x="24" y="202"/>
                </a:cubicBezTo>
                <a:cubicBezTo>
                  <a:pt x="16" y="131"/>
                  <a:pt x="16" y="131"/>
                  <a:pt x="16" y="131"/>
                </a:cubicBezTo>
                <a:cubicBezTo>
                  <a:pt x="17" y="127"/>
                  <a:pt x="20" y="123"/>
                  <a:pt x="24" y="123"/>
                </a:cubicBezTo>
                <a:cubicBezTo>
                  <a:pt x="64" y="123"/>
                  <a:pt x="64" y="123"/>
                  <a:pt x="64" y="123"/>
                </a:cubicBezTo>
                <a:cubicBezTo>
                  <a:pt x="69" y="123"/>
                  <a:pt x="72" y="127"/>
                  <a:pt x="72" y="131"/>
                </a:cubicBezTo>
                <a:cubicBezTo>
                  <a:pt x="72" y="198"/>
                  <a:pt x="72" y="198"/>
                  <a:pt x="72" y="198"/>
                </a:cubicBezTo>
                <a:cubicBezTo>
                  <a:pt x="72" y="199"/>
                  <a:pt x="72" y="200"/>
                  <a:pt x="72" y="201"/>
                </a:cubicBezTo>
                <a:cubicBezTo>
                  <a:pt x="72" y="203"/>
                  <a:pt x="72" y="203"/>
                  <a:pt x="72" y="203"/>
                </a:cubicBezTo>
                <a:cubicBezTo>
                  <a:pt x="72" y="208"/>
                  <a:pt x="69" y="211"/>
                  <a:pt x="64" y="211"/>
                </a:cubicBezTo>
                <a:close/>
                <a:moveTo>
                  <a:pt x="210" y="203"/>
                </a:moveTo>
                <a:cubicBezTo>
                  <a:pt x="105" y="203"/>
                  <a:pt x="105" y="203"/>
                  <a:pt x="105" y="203"/>
                </a:cubicBezTo>
                <a:cubicBezTo>
                  <a:pt x="88" y="194"/>
                  <a:pt x="88" y="194"/>
                  <a:pt x="88" y="194"/>
                </a:cubicBezTo>
                <a:cubicBezTo>
                  <a:pt x="88" y="131"/>
                  <a:pt x="88" y="131"/>
                  <a:pt x="88" y="131"/>
                </a:cubicBezTo>
                <a:cubicBezTo>
                  <a:pt x="88" y="128"/>
                  <a:pt x="87" y="124"/>
                  <a:pt x="86" y="121"/>
                </a:cubicBezTo>
                <a:cubicBezTo>
                  <a:pt x="100" y="109"/>
                  <a:pt x="136" y="75"/>
                  <a:pt x="136" y="48"/>
                </a:cubicBezTo>
                <a:cubicBezTo>
                  <a:pt x="136" y="31"/>
                  <a:pt x="136" y="16"/>
                  <a:pt x="140" y="16"/>
                </a:cubicBezTo>
                <a:cubicBezTo>
                  <a:pt x="148" y="16"/>
                  <a:pt x="156" y="25"/>
                  <a:pt x="156" y="44"/>
                </a:cubicBezTo>
                <a:cubicBezTo>
                  <a:pt x="156" y="67"/>
                  <a:pt x="152" y="90"/>
                  <a:pt x="152" y="90"/>
                </a:cubicBezTo>
                <a:cubicBezTo>
                  <a:pt x="152" y="93"/>
                  <a:pt x="153" y="95"/>
                  <a:pt x="154" y="97"/>
                </a:cubicBezTo>
                <a:cubicBezTo>
                  <a:pt x="156" y="98"/>
                  <a:pt x="158" y="100"/>
                  <a:pt x="160" y="100"/>
                </a:cubicBezTo>
                <a:cubicBezTo>
                  <a:pt x="232" y="100"/>
                  <a:pt x="232" y="100"/>
                  <a:pt x="232" y="100"/>
                </a:cubicBezTo>
                <a:cubicBezTo>
                  <a:pt x="237" y="100"/>
                  <a:pt x="240" y="103"/>
                  <a:pt x="240" y="108"/>
                </a:cubicBezTo>
                <a:cubicBezTo>
                  <a:pt x="240" y="112"/>
                  <a:pt x="237" y="116"/>
                  <a:pt x="232" y="116"/>
                </a:cubicBezTo>
                <a:cubicBezTo>
                  <a:pt x="223" y="116"/>
                  <a:pt x="223" y="116"/>
                  <a:pt x="223" y="116"/>
                </a:cubicBezTo>
                <a:cubicBezTo>
                  <a:pt x="219" y="116"/>
                  <a:pt x="215" y="119"/>
                  <a:pt x="215" y="124"/>
                </a:cubicBezTo>
                <a:cubicBezTo>
                  <a:pt x="215" y="128"/>
                  <a:pt x="219" y="132"/>
                  <a:pt x="223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9" y="132"/>
                  <a:pt x="232" y="135"/>
                  <a:pt x="232" y="140"/>
                </a:cubicBezTo>
                <a:cubicBezTo>
                  <a:pt x="232" y="144"/>
                  <a:pt x="229" y="148"/>
                  <a:pt x="224" y="148"/>
                </a:cubicBezTo>
                <a:cubicBezTo>
                  <a:pt x="219" y="148"/>
                  <a:pt x="219" y="148"/>
                  <a:pt x="219" y="148"/>
                </a:cubicBezTo>
                <a:cubicBezTo>
                  <a:pt x="219" y="148"/>
                  <a:pt x="218" y="147"/>
                  <a:pt x="218" y="147"/>
                </a:cubicBezTo>
                <a:cubicBezTo>
                  <a:pt x="218" y="147"/>
                  <a:pt x="218" y="148"/>
                  <a:pt x="218" y="148"/>
                </a:cubicBezTo>
                <a:cubicBezTo>
                  <a:pt x="215" y="148"/>
                  <a:pt x="215" y="148"/>
                  <a:pt x="215" y="148"/>
                </a:cubicBezTo>
                <a:cubicBezTo>
                  <a:pt x="211" y="148"/>
                  <a:pt x="207" y="151"/>
                  <a:pt x="207" y="156"/>
                </a:cubicBezTo>
                <a:cubicBezTo>
                  <a:pt x="207" y="160"/>
                  <a:pt x="211" y="164"/>
                  <a:pt x="215" y="164"/>
                </a:cubicBezTo>
                <a:cubicBezTo>
                  <a:pt x="218" y="164"/>
                  <a:pt x="218" y="164"/>
                  <a:pt x="218" y="164"/>
                </a:cubicBezTo>
                <a:cubicBezTo>
                  <a:pt x="222" y="164"/>
                  <a:pt x="224" y="166"/>
                  <a:pt x="224" y="169"/>
                </a:cubicBezTo>
                <a:cubicBezTo>
                  <a:pt x="224" y="173"/>
                  <a:pt x="221" y="175"/>
                  <a:pt x="218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06" y="175"/>
                  <a:pt x="202" y="179"/>
                  <a:pt x="202" y="183"/>
                </a:cubicBezTo>
                <a:cubicBezTo>
                  <a:pt x="202" y="188"/>
                  <a:pt x="206" y="191"/>
                  <a:pt x="210" y="191"/>
                </a:cubicBezTo>
                <a:cubicBezTo>
                  <a:pt x="213" y="191"/>
                  <a:pt x="216" y="194"/>
                  <a:pt x="216" y="197"/>
                </a:cubicBezTo>
                <a:cubicBezTo>
                  <a:pt x="216" y="201"/>
                  <a:pt x="213" y="203"/>
                  <a:pt x="210" y="20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US" sz="840"/>
          </a:p>
        </p:txBody>
      </p:sp>
      <p:grpSp>
        <p:nvGrpSpPr>
          <p:cNvPr id="82" name="Shape4_20180718_204234">
            <a:extLst>
              <a:ext uri="{FF2B5EF4-FFF2-40B4-BE49-F238E27FC236}">
                <a16:creationId xmlns:a16="http://schemas.microsoft.com/office/drawing/2014/main" id="{74326252-D197-244F-848C-BD391D2D845D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5763890" y="4572798"/>
            <a:ext cx="415395" cy="415395"/>
            <a:chOff x="-4769427" y="-314325"/>
            <a:chExt cx="4660901" cy="4576762"/>
          </a:xfrm>
        </p:grpSpPr>
        <p:sp>
          <p:nvSpPr>
            <p:cNvPr id="83" name="Freeform 23">
              <a:extLst>
                <a:ext uri="{FF2B5EF4-FFF2-40B4-BE49-F238E27FC236}">
                  <a16:creationId xmlns:a16="http://schemas.microsoft.com/office/drawing/2014/main" id="{423D974F-E473-619D-F4AE-CA0878AED1C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509077" y="-314325"/>
              <a:ext cx="4138613" cy="3956050"/>
            </a:xfrm>
            <a:custGeom>
              <a:avLst/>
              <a:gdLst>
                <a:gd name="T0" fmla="*/ 2128 w 2188"/>
                <a:gd name="T1" fmla="*/ 946 h 2085"/>
                <a:gd name="T2" fmla="*/ 2169 w 2188"/>
                <a:gd name="T3" fmla="*/ 781 h 2085"/>
                <a:gd name="T4" fmla="*/ 2038 w 2188"/>
                <a:gd name="T5" fmla="*/ 671 h 2085"/>
                <a:gd name="T6" fmla="*/ 1503 w 2188"/>
                <a:gd name="T7" fmla="*/ 593 h 2085"/>
                <a:gd name="T8" fmla="*/ 1478 w 2188"/>
                <a:gd name="T9" fmla="*/ 576 h 2085"/>
                <a:gd name="T10" fmla="*/ 1239 w 2188"/>
                <a:gd name="T11" fmla="*/ 90 h 2085"/>
                <a:gd name="T12" fmla="*/ 1094 w 2188"/>
                <a:gd name="T13" fmla="*/ 0 h 2085"/>
                <a:gd name="T14" fmla="*/ 949 w 2188"/>
                <a:gd name="T15" fmla="*/ 90 h 2085"/>
                <a:gd name="T16" fmla="*/ 710 w 2188"/>
                <a:gd name="T17" fmla="*/ 576 h 2085"/>
                <a:gd name="T18" fmla="*/ 685 w 2188"/>
                <a:gd name="T19" fmla="*/ 593 h 2085"/>
                <a:gd name="T20" fmla="*/ 150 w 2188"/>
                <a:gd name="T21" fmla="*/ 671 h 2085"/>
                <a:gd name="T22" fmla="*/ 19 w 2188"/>
                <a:gd name="T23" fmla="*/ 781 h 2085"/>
                <a:gd name="T24" fmla="*/ 60 w 2188"/>
                <a:gd name="T25" fmla="*/ 946 h 2085"/>
                <a:gd name="T26" fmla="*/ 448 w 2188"/>
                <a:gd name="T27" fmla="*/ 1324 h 2085"/>
                <a:gd name="T28" fmla="*/ 457 w 2188"/>
                <a:gd name="T29" fmla="*/ 1353 h 2085"/>
                <a:gd name="T30" fmla="*/ 366 w 2188"/>
                <a:gd name="T31" fmla="*/ 1886 h 2085"/>
                <a:gd name="T32" fmla="*/ 430 w 2188"/>
                <a:gd name="T33" fmla="*/ 2044 h 2085"/>
                <a:gd name="T34" fmla="*/ 600 w 2188"/>
                <a:gd name="T35" fmla="*/ 2056 h 2085"/>
                <a:gd name="T36" fmla="*/ 1079 w 2188"/>
                <a:gd name="T37" fmla="*/ 1805 h 2085"/>
                <a:gd name="T38" fmla="*/ 1109 w 2188"/>
                <a:gd name="T39" fmla="*/ 1805 h 2085"/>
                <a:gd name="T40" fmla="*/ 1588 w 2188"/>
                <a:gd name="T41" fmla="*/ 2056 h 2085"/>
                <a:gd name="T42" fmla="*/ 1663 w 2188"/>
                <a:gd name="T43" fmla="*/ 2075 h 2085"/>
                <a:gd name="T44" fmla="*/ 1758 w 2188"/>
                <a:gd name="T45" fmla="*/ 2044 h 2085"/>
                <a:gd name="T46" fmla="*/ 1822 w 2188"/>
                <a:gd name="T47" fmla="*/ 1886 h 2085"/>
                <a:gd name="T48" fmla="*/ 1731 w 2188"/>
                <a:gd name="T49" fmla="*/ 1353 h 2085"/>
                <a:gd name="T50" fmla="*/ 1740 w 2188"/>
                <a:gd name="T51" fmla="*/ 1324 h 2085"/>
                <a:gd name="T52" fmla="*/ 2128 w 2188"/>
                <a:gd name="T53" fmla="*/ 946 h 2085"/>
                <a:gd name="T54" fmla="*/ 1604 w 2188"/>
                <a:gd name="T55" fmla="*/ 1375 h 2085"/>
                <a:gd name="T56" fmla="*/ 1695 w 2188"/>
                <a:gd name="T57" fmla="*/ 1908 h 2085"/>
                <a:gd name="T58" fmla="*/ 1682 w 2188"/>
                <a:gd name="T59" fmla="*/ 1940 h 2085"/>
                <a:gd name="T60" fmla="*/ 1648 w 2188"/>
                <a:gd name="T61" fmla="*/ 1942 h 2085"/>
                <a:gd name="T62" fmla="*/ 1169 w 2188"/>
                <a:gd name="T63" fmla="*/ 1690 h 2085"/>
                <a:gd name="T64" fmla="*/ 1094 w 2188"/>
                <a:gd name="T65" fmla="*/ 1672 h 2085"/>
                <a:gd name="T66" fmla="*/ 1019 w 2188"/>
                <a:gd name="T67" fmla="*/ 1690 h 2085"/>
                <a:gd name="T68" fmla="*/ 540 w 2188"/>
                <a:gd name="T69" fmla="*/ 1942 h 2085"/>
                <a:gd name="T70" fmla="*/ 506 w 2188"/>
                <a:gd name="T71" fmla="*/ 1940 h 2085"/>
                <a:gd name="T72" fmla="*/ 493 w 2188"/>
                <a:gd name="T73" fmla="*/ 1908 h 2085"/>
                <a:gd name="T74" fmla="*/ 584 w 2188"/>
                <a:gd name="T75" fmla="*/ 1375 h 2085"/>
                <a:gd name="T76" fmla="*/ 538 w 2188"/>
                <a:gd name="T77" fmla="*/ 1232 h 2085"/>
                <a:gd name="T78" fmla="*/ 150 w 2188"/>
                <a:gd name="T79" fmla="*/ 854 h 2085"/>
                <a:gd name="T80" fmla="*/ 142 w 2188"/>
                <a:gd name="T81" fmla="*/ 821 h 2085"/>
                <a:gd name="T82" fmla="*/ 168 w 2188"/>
                <a:gd name="T83" fmla="*/ 799 h 2085"/>
                <a:gd name="T84" fmla="*/ 704 w 2188"/>
                <a:gd name="T85" fmla="*/ 721 h 2085"/>
                <a:gd name="T86" fmla="*/ 826 w 2188"/>
                <a:gd name="T87" fmla="*/ 633 h 2085"/>
                <a:gd name="T88" fmla="*/ 1065 w 2188"/>
                <a:gd name="T89" fmla="*/ 147 h 2085"/>
                <a:gd name="T90" fmla="*/ 1094 w 2188"/>
                <a:gd name="T91" fmla="*/ 129 h 2085"/>
                <a:gd name="T92" fmla="*/ 1123 w 2188"/>
                <a:gd name="T93" fmla="*/ 147 h 2085"/>
                <a:gd name="T94" fmla="*/ 1123 w 2188"/>
                <a:gd name="T95" fmla="*/ 147 h 2085"/>
                <a:gd name="T96" fmla="*/ 1363 w 2188"/>
                <a:gd name="T97" fmla="*/ 633 h 2085"/>
                <a:gd name="T98" fmla="*/ 1484 w 2188"/>
                <a:gd name="T99" fmla="*/ 721 h 2085"/>
                <a:gd name="T100" fmla="*/ 2020 w 2188"/>
                <a:gd name="T101" fmla="*/ 799 h 2085"/>
                <a:gd name="T102" fmla="*/ 2046 w 2188"/>
                <a:gd name="T103" fmla="*/ 821 h 2085"/>
                <a:gd name="T104" fmla="*/ 2038 w 2188"/>
                <a:gd name="T105" fmla="*/ 854 h 2085"/>
                <a:gd name="T106" fmla="*/ 1650 w 2188"/>
                <a:gd name="T107" fmla="*/ 1232 h 2085"/>
                <a:gd name="T108" fmla="*/ 1604 w 2188"/>
                <a:gd name="T109" fmla="*/ 1375 h 20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188" h="2085">
                  <a:moveTo>
                    <a:pt x="2128" y="946"/>
                  </a:moveTo>
                  <a:cubicBezTo>
                    <a:pt x="2172" y="903"/>
                    <a:pt x="2188" y="840"/>
                    <a:pt x="2169" y="781"/>
                  </a:cubicBezTo>
                  <a:cubicBezTo>
                    <a:pt x="2149" y="722"/>
                    <a:pt x="2100" y="680"/>
                    <a:pt x="2038" y="671"/>
                  </a:cubicBezTo>
                  <a:cubicBezTo>
                    <a:pt x="1503" y="593"/>
                    <a:pt x="1503" y="593"/>
                    <a:pt x="1503" y="593"/>
                  </a:cubicBezTo>
                  <a:cubicBezTo>
                    <a:pt x="1492" y="592"/>
                    <a:pt x="1483" y="585"/>
                    <a:pt x="1478" y="576"/>
                  </a:cubicBezTo>
                  <a:cubicBezTo>
                    <a:pt x="1239" y="90"/>
                    <a:pt x="1239" y="90"/>
                    <a:pt x="1239" y="90"/>
                  </a:cubicBezTo>
                  <a:cubicBezTo>
                    <a:pt x="1211" y="35"/>
                    <a:pt x="1156" y="0"/>
                    <a:pt x="1094" y="0"/>
                  </a:cubicBezTo>
                  <a:cubicBezTo>
                    <a:pt x="1032" y="0"/>
                    <a:pt x="977" y="35"/>
                    <a:pt x="949" y="90"/>
                  </a:cubicBezTo>
                  <a:cubicBezTo>
                    <a:pt x="710" y="576"/>
                    <a:pt x="710" y="576"/>
                    <a:pt x="710" y="576"/>
                  </a:cubicBezTo>
                  <a:cubicBezTo>
                    <a:pt x="705" y="585"/>
                    <a:pt x="696" y="592"/>
                    <a:pt x="685" y="593"/>
                  </a:cubicBezTo>
                  <a:cubicBezTo>
                    <a:pt x="150" y="671"/>
                    <a:pt x="150" y="671"/>
                    <a:pt x="150" y="671"/>
                  </a:cubicBezTo>
                  <a:cubicBezTo>
                    <a:pt x="88" y="680"/>
                    <a:pt x="39" y="722"/>
                    <a:pt x="19" y="781"/>
                  </a:cubicBezTo>
                  <a:cubicBezTo>
                    <a:pt x="0" y="840"/>
                    <a:pt x="16" y="903"/>
                    <a:pt x="60" y="946"/>
                  </a:cubicBezTo>
                  <a:cubicBezTo>
                    <a:pt x="448" y="1324"/>
                    <a:pt x="448" y="1324"/>
                    <a:pt x="448" y="1324"/>
                  </a:cubicBezTo>
                  <a:cubicBezTo>
                    <a:pt x="455" y="1332"/>
                    <a:pt x="459" y="1342"/>
                    <a:pt x="457" y="1353"/>
                  </a:cubicBezTo>
                  <a:cubicBezTo>
                    <a:pt x="366" y="1886"/>
                    <a:pt x="366" y="1886"/>
                    <a:pt x="366" y="1886"/>
                  </a:cubicBezTo>
                  <a:cubicBezTo>
                    <a:pt x="355" y="1947"/>
                    <a:pt x="380" y="2008"/>
                    <a:pt x="430" y="2044"/>
                  </a:cubicBezTo>
                  <a:cubicBezTo>
                    <a:pt x="480" y="2081"/>
                    <a:pt x="545" y="2085"/>
                    <a:pt x="600" y="2056"/>
                  </a:cubicBezTo>
                  <a:cubicBezTo>
                    <a:pt x="1079" y="1805"/>
                    <a:pt x="1079" y="1805"/>
                    <a:pt x="1079" y="1805"/>
                  </a:cubicBezTo>
                  <a:cubicBezTo>
                    <a:pt x="1088" y="1800"/>
                    <a:pt x="1100" y="1800"/>
                    <a:pt x="1109" y="1805"/>
                  </a:cubicBezTo>
                  <a:cubicBezTo>
                    <a:pt x="1588" y="2056"/>
                    <a:pt x="1588" y="2056"/>
                    <a:pt x="1588" y="2056"/>
                  </a:cubicBezTo>
                  <a:cubicBezTo>
                    <a:pt x="1612" y="2069"/>
                    <a:pt x="1638" y="2075"/>
                    <a:pt x="1663" y="2075"/>
                  </a:cubicBezTo>
                  <a:cubicBezTo>
                    <a:pt x="1697" y="2075"/>
                    <a:pt x="1730" y="2065"/>
                    <a:pt x="1758" y="2044"/>
                  </a:cubicBezTo>
                  <a:cubicBezTo>
                    <a:pt x="1808" y="2008"/>
                    <a:pt x="1833" y="1947"/>
                    <a:pt x="1822" y="1886"/>
                  </a:cubicBezTo>
                  <a:cubicBezTo>
                    <a:pt x="1731" y="1353"/>
                    <a:pt x="1731" y="1353"/>
                    <a:pt x="1731" y="1353"/>
                  </a:cubicBezTo>
                  <a:cubicBezTo>
                    <a:pt x="1729" y="1342"/>
                    <a:pt x="1733" y="1332"/>
                    <a:pt x="1740" y="1324"/>
                  </a:cubicBezTo>
                  <a:lnTo>
                    <a:pt x="2128" y="946"/>
                  </a:lnTo>
                  <a:close/>
                  <a:moveTo>
                    <a:pt x="1604" y="1375"/>
                  </a:moveTo>
                  <a:cubicBezTo>
                    <a:pt x="1695" y="1908"/>
                    <a:pt x="1695" y="1908"/>
                    <a:pt x="1695" y="1908"/>
                  </a:cubicBezTo>
                  <a:cubicBezTo>
                    <a:pt x="1698" y="1926"/>
                    <a:pt x="1687" y="1936"/>
                    <a:pt x="1682" y="1940"/>
                  </a:cubicBezTo>
                  <a:cubicBezTo>
                    <a:pt x="1677" y="1943"/>
                    <a:pt x="1664" y="1951"/>
                    <a:pt x="1648" y="1942"/>
                  </a:cubicBezTo>
                  <a:cubicBezTo>
                    <a:pt x="1169" y="1690"/>
                    <a:pt x="1169" y="1690"/>
                    <a:pt x="1169" y="1690"/>
                  </a:cubicBezTo>
                  <a:cubicBezTo>
                    <a:pt x="1146" y="1678"/>
                    <a:pt x="1120" y="1672"/>
                    <a:pt x="1094" y="1672"/>
                  </a:cubicBezTo>
                  <a:cubicBezTo>
                    <a:pt x="1068" y="1672"/>
                    <a:pt x="1042" y="1678"/>
                    <a:pt x="1019" y="1690"/>
                  </a:cubicBezTo>
                  <a:cubicBezTo>
                    <a:pt x="540" y="1942"/>
                    <a:pt x="540" y="1942"/>
                    <a:pt x="540" y="1942"/>
                  </a:cubicBezTo>
                  <a:cubicBezTo>
                    <a:pt x="524" y="1951"/>
                    <a:pt x="511" y="1943"/>
                    <a:pt x="506" y="1940"/>
                  </a:cubicBezTo>
                  <a:cubicBezTo>
                    <a:pt x="501" y="1936"/>
                    <a:pt x="490" y="1926"/>
                    <a:pt x="493" y="1908"/>
                  </a:cubicBezTo>
                  <a:cubicBezTo>
                    <a:pt x="584" y="1375"/>
                    <a:pt x="584" y="1375"/>
                    <a:pt x="584" y="1375"/>
                  </a:cubicBezTo>
                  <a:cubicBezTo>
                    <a:pt x="593" y="1322"/>
                    <a:pt x="576" y="1269"/>
                    <a:pt x="538" y="1232"/>
                  </a:cubicBezTo>
                  <a:cubicBezTo>
                    <a:pt x="150" y="854"/>
                    <a:pt x="150" y="854"/>
                    <a:pt x="150" y="854"/>
                  </a:cubicBezTo>
                  <a:cubicBezTo>
                    <a:pt x="137" y="841"/>
                    <a:pt x="140" y="827"/>
                    <a:pt x="142" y="821"/>
                  </a:cubicBezTo>
                  <a:cubicBezTo>
                    <a:pt x="144" y="815"/>
                    <a:pt x="150" y="801"/>
                    <a:pt x="168" y="799"/>
                  </a:cubicBezTo>
                  <a:cubicBezTo>
                    <a:pt x="704" y="721"/>
                    <a:pt x="704" y="721"/>
                    <a:pt x="704" y="721"/>
                  </a:cubicBezTo>
                  <a:cubicBezTo>
                    <a:pt x="757" y="713"/>
                    <a:pt x="802" y="680"/>
                    <a:pt x="826" y="633"/>
                  </a:cubicBezTo>
                  <a:cubicBezTo>
                    <a:pt x="1065" y="147"/>
                    <a:pt x="1065" y="147"/>
                    <a:pt x="1065" y="147"/>
                  </a:cubicBezTo>
                  <a:cubicBezTo>
                    <a:pt x="1073" y="131"/>
                    <a:pt x="1088" y="129"/>
                    <a:pt x="1094" y="129"/>
                  </a:cubicBezTo>
                  <a:cubicBezTo>
                    <a:pt x="1100" y="129"/>
                    <a:pt x="1115" y="131"/>
                    <a:pt x="1123" y="147"/>
                  </a:cubicBezTo>
                  <a:cubicBezTo>
                    <a:pt x="1123" y="147"/>
                    <a:pt x="1123" y="147"/>
                    <a:pt x="1123" y="147"/>
                  </a:cubicBezTo>
                  <a:cubicBezTo>
                    <a:pt x="1363" y="633"/>
                    <a:pt x="1363" y="633"/>
                    <a:pt x="1363" y="633"/>
                  </a:cubicBezTo>
                  <a:cubicBezTo>
                    <a:pt x="1386" y="680"/>
                    <a:pt x="1431" y="713"/>
                    <a:pt x="1484" y="721"/>
                  </a:cubicBezTo>
                  <a:cubicBezTo>
                    <a:pt x="2020" y="799"/>
                    <a:pt x="2020" y="799"/>
                    <a:pt x="2020" y="799"/>
                  </a:cubicBezTo>
                  <a:cubicBezTo>
                    <a:pt x="2038" y="801"/>
                    <a:pt x="2044" y="815"/>
                    <a:pt x="2046" y="821"/>
                  </a:cubicBezTo>
                  <a:cubicBezTo>
                    <a:pt x="2048" y="827"/>
                    <a:pt x="2051" y="841"/>
                    <a:pt x="2038" y="854"/>
                  </a:cubicBezTo>
                  <a:cubicBezTo>
                    <a:pt x="1650" y="1232"/>
                    <a:pt x="1650" y="1232"/>
                    <a:pt x="1650" y="1232"/>
                  </a:cubicBezTo>
                  <a:cubicBezTo>
                    <a:pt x="1612" y="1269"/>
                    <a:pt x="1595" y="1322"/>
                    <a:pt x="1604" y="137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24">
              <a:extLst>
                <a:ext uri="{FF2B5EF4-FFF2-40B4-BE49-F238E27FC236}">
                  <a16:creationId xmlns:a16="http://schemas.microsoft.com/office/drawing/2014/main" id="{CF0E36D5-7932-8FD4-BD48-87936C1ED9B5}"/>
                </a:ext>
              </a:extLst>
            </p:cNvPr>
            <p:cNvSpPr>
              <a:spLocks/>
            </p:cNvSpPr>
            <p:nvPr/>
          </p:nvSpPr>
          <p:spPr bwMode="auto">
            <a:xfrm>
              <a:off x="-1351539" y="-182563"/>
              <a:ext cx="406400" cy="439738"/>
            </a:xfrm>
            <a:custGeom>
              <a:avLst/>
              <a:gdLst>
                <a:gd name="T0" fmla="*/ 179 w 215"/>
                <a:gd name="T1" fmla="*/ 21 h 232"/>
                <a:gd name="T2" fmla="*/ 89 w 215"/>
                <a:gd name="T3" fmla="*/ 35 h 232"/>
                <a:gd name="T4" fmla="*/ 21 w 215"/>
                <a:gd name="T5" fmla="*/ 130 h 232"/>
                <a:gd name="T6" fmla="*/ 35 w 215"/>
                <a:gd name="T7" fmla="*/ 220 h 232"/>
                <a:gd name="T8" fmla="*/ 73 w 215"/>
                <a:gd name="T9" fmla="*/ 232 h 232"/>
                <a:gd name="T10" fmla="*/ 125 w 215"/>
                <a:gd name="T11" fmla="*/ 206 h 232"/>
                <a:gd name="T12" fmla="*/ 194 w 215"/>
                <a:gd name="T13" fmla="*/ 111 h 232"/>
                <a:gd name="T14" fmla="*/ 179 w 215"/>
                <a:gd name="T15" fmla="*/ 21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5" h="232">
                  <a:moveTo>
                    <a:pt x="179" y="21"/>
                  </a:moveTo>
                  <a:cubicBezTo>
                    <a:pt x="151" y="0"/>
                    <a:pt x="110" y="7"/>
                    <a:pt x="89" y="35"/>
                  </a:cubicBezTo>
                  <a:cubicBezTo>
                    <a:pt x="21" y="130"/>
                    <a:pt x="21" y="130"/>
                    <a:pt x="21" y="130"/>
                  </a:cubicBezTo>
                  <a:cubicBezTo>
                    <a:pt x="0" y="159"/>
                    <a:pt x="6" y="199"/>
                    <a:pt x="35" y="220"/>
                  </a:cubicBezTo>
                  <a:cubicBezTo>
                    <a:pt x="46" y="228"/>
                    <a:pt x="60" y="232"/>
                    <a:pt x="73" y="232"/>
                  </a:cubicBezTo>
                  <a:cubicBezTo>
                    <a:pt x="93" y="232"/>
                    <a:pt x="113" y="223"/>
                    <a:pt x="125" y="206"/>
                  </a:cubicBezTo>
                  <a:cubicBezTo>
                    <a:pt x="194" y="111"/>
                    <a:pt x="194" y="111"/>
                    <a:pt x="194" y="111"/>
                  </a:cubicBezTo>
                  <a:cubicBezTo>
                    <a:pt x="215" y="83"/>
                    <a:pt x="208" y="42"/>
                    <a:pt x="179" y="2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25">
              <a:extLst>
                <a:ext uri="{FF2B5EF4-FFF2-40B4-BE49-F238E27FC236}">
                  <a16:creationId xmlns:a16="http://schemas.microsoft.com/office/drawing/2014/main" id="{D37823D9-1F2A-3B97-A49E-C3EFA540C725}"/>
                </a:ext>
              </a:extLst>
            </p:cNvPr>
            <p:cNvSpPr>
              <a:spLocks/>
            </p:cNvSpPr>
            <p:nvPr/>
          </p:nvSpPr>
          <p:spPr bwMode="auto">
            <a:xfrm>
              <a:off x="-3934402" y="-182563"/>
              <a:ext cx="407988" cy="439738"/>
            </a:xfrm>
            <a:custGeom>
              <a:avLst/>
              <a:gdLst>
                <a:gd name="T0" fmla="*/ 194 w 215"/>
                <a:gd name="T1" fmla="*/ 129 h 232"/>
                <a:gd name="T2" fmla="*/ 126 w 215"/>
                <a:gd name="T3" fmla="*/ 35 h 232"/>
                <a:gd name="T4" fmla="*/ 35 w 215"/>
                <a:gd name="T5" fmla="*/ 21 h 232"/>
                <a:gd name="T6" fmla="*/ 21 w 215"/>
                <a:gd name="T7" fmla="*/ 111 h 232"/>
                <a:gd name="T8" fmla="*/ 90 w 215"/>
                <a:gd name="T9" fmla="*/ 205 h 232"/>
                <a:gd name="T10" fmla="*/ 142 w 215"/>
                <a:gd name="T11" fmla="*/ 232 h 232"/>
                <a:gd name="T12" fmla="*/ 180 w 215"/>
                <a:gd name="T13" fmla="*/ 220 h 232"/>
                <a:gd name="T14" fmla="*/ 194 w 215"/>
                <a:gd name="T15" fmla="*/ 129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5" h="232">
                  <a:moveTo>
                    <a:pt x="194" y="129"/>
                  </a:moveTo>
                  <a:cubicBezTo>
                    <a:pt x="126" y="35"/>
                    <a:pt x="126" y="35"/>
                    <a:pt x="126" y="35"/>
                  </a:cubicBezTo>
                  <a:cubicBezTo>
                    <a:pt x="105" y="6"/>
                    <a:pt x="64" y="0"/>
                    <a:pt x="35" y="21"/>
                  </a:cubicBezTo>
                  <a:cubicBezTo>
                    <a:pt x="6" y="42"/>
                    <a:pt x="0" y="82"/>
                    <a:pt x="21" y="111"/>
                  </a:cubicBezTo>
                  <a:cubicBezTo>
                    <a:pt x="90" y="205"/>
                    <a:pt x="90" y="205"/>
                    <a:pt x="90" y="205"/>
                  </a:cubicBezTo>
                  <a:cubicBezTo>
                    <a:pt x="102" y="223"/>
                    <a:pt x="122" y="232"/>
                    <a:pt x="142" y="232"/>
                  </a:cubicBezTo>
                  <a:cubicBezTo>
                    <a:pt x="155" y="232"/>
                    <a:pt x="168" y="228"/>
                    <a:pt x="180" y="220"/>
                  </a:cubicBezTo>
                  <a:cubicBezTo>
                    <a:pt x="209" y="199"/>
                    <a:pt x="215" y="158"/>
                    <a:pt x="194" y="12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26">
              <a:extLst>
                <a:ext uri="{FF2B5EF4-FFF2-40B4-BE49-F238E27FC236}">
                  <a16:creationId xmlns:a16="http://schemas.microsoft.com/office/drawing/2014/main" id="{4AFF487B-7E96-3AE3-73A0-D980B6EB5E4E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69427" y="2336800"/>
              <a:ext cx="484188" cy="328613"/>
            </a:xfrm>
            <a:custGeom>
              <a:avLst/>
              <a:gdLst>
                <a:gd name="T0" fmla="*/ 245 w 256"/>
                <a:gd name="T1" fmla="*/ 52 h 173"/>
                <a:gd name="T2" fmla="*/ 164 w 256"/>
                <a:gd name="T3" fmla="*/ 11 h 173"/>
                <a:gd name="T4" fmla="*/ 53 w 256"/>
                <a:gd name="T5" fmla="*/ 47 h 173"/>
                <a:gd name="T6" fmla="*/ 11 w 256"/>
                <a:gd name="T7" fmla="*/ 128 h 173"/>
                <a:gd name="T8" fmla="*/ 73 w 256"/>
                <a:gd name="T9" fmla="*/ 173 h 173"/>
                <a:gd name="T10" fmla="*/ 93 w 256"/>
                <a:gd name="T11" fmla="*/ 169 h 173"/>
                <a:gd name="T12" fmla="*/ 203 w 256"/>
                <a:gd name="T13" fmla="*/ 133 h 173"/>
                <a:gd name="T14" fmla="*/ 245 w 256"/>
                <a:gd name="T15" fmla="*/ 52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6" h="173">
                  <a:moveTo>
                    <a:pt x="245" y="52"/>
                  </a:moveTo>
                  <a:cubicBezTo>
                    <a:pt x="234" y="18"/>
                    <a:pt x="197" y="0"/>
                    <a:pt x="164" y="11"/>
                  </a:cubicBezTo>
                  <a:cubicBezTo>
                    <a:pt x="53" y="47"/>
                    <a:pt x="53" y="47"/>
                    <a:pt x="53" y="47"/>
                  </a:cubicBezTo>
                  <a:cubicBezTo>
                    <a:pt x="19" y="58"/>
                    <a:pt x="0" y="94"/>
                    <a:pt x="11" y="128"/>
                  </a:cubicBezTo>
                  <a:cubicBezTo>
                    <a:pt x="20" y="155"/>
                    <a:pt x="45" y="173"/>
                    <a:pt x="73" y="173"/>
                  </a:cubicBezTo>
                  <a:cubicBezTo>
                    <a:pt x="79" y="173"/>
                    <a:pt x="86" y="172"/>
                    <a:pt x="93" y="169"/>
                  </a:cubicBezTo>
                  <a:cubicBezTo>
                    <a:pt x="203" y="133"/>
                    <a:pt x="203" y="133"/>
                    <a:pt x="203" y="133"/>
                  </a:cubicBezTo>
                  <a:cubicBezTo>
                    <a:pt x="237" y="122"/>
                    <a:pt x="256" y="86"/>
                    <a:pt x="245" y="5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27">
              <a:extLst>
                <a:ext uri="{FF2B5EF4-FFF2-40B4-BE49-F238E27FC236}">
                  <a16:creationId xmlns:a16="http://schemas.microsoft.com/office/drawing/2014/main" id="{ECECB3AE-2AA3-9D69-FB9E-E8A33779CDEA}"/>
                </a:ext>
              </a:extLst>
            </p:cNvPr>
            <p:cNvSpPr>
              <a:spLocks/>
            </p:cNvSpPr>
            <p:nvPr/>
          </p:nvSpPr>
          <p:spPr bwMode="auto">
            <a:xfrm>
              <a:off x="-2562802" y="3795712"/>
              <a:ext cx="246063" cy="466725"/>
            </a:xfrm>
            <a:custGeom>
              <a:avLst/>
              <a:gdLst>
                <a:gd name="T0" fmla="*/ 65 w 130"/>
                <a:gd name="T1" fmla="*/ 0 h 246"/>
                <a:gd name="T2" fmla="*/ 0 w 130"/>
                <a:gd name="T3" fmla="*/ 65 h 246"/>
                <a:gd name="T4" fmla="*/ 0 w 130"/>
                <a:gd name="T5" fmla="*/ 181 h 246"/>
                <a:gd name="T6" fmla="*/ 65 w 130"/>
                <a:gd name="T7" fmla="*/ 246 h 246"/>
                <a:gd name="T8" fmla="*/ 130 w 130"/>
                <a:gd name="T9" fmla="*/ 181 h 246"/>
                <a:gd name="T10" fmla="*/ 130 w 130"/>
                <a:gd name="T11" fmla="*/ 65 h 246"/>
                <a:gd name="T12" fmla="*/ 65 w 130"/>
                <a:gd name="T13" fmla="*/ 0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" h="246">
                  <a:moveTo>
                    <a:pt x="65" y="0"/>
                  </a:moveTo>
                  <a:cubicBezTo>
                    <a:pt x="29" y="0"/>
                    <a:pt x="0" y="29"/>
                    <a:pt x="0" y="65"/>
                  </a:cubicBezTo>
                  <a:cubicBezTo>
                    <a:pt x="0" y="181"/>
                    <a:pt x="0" y="181"/>
                    <a:pt x="0" y="181"/>
                  </a:cubicBezTo>
                  <a:cubicBezTo>
                    <a:pt x="0" y="217"/>
                    <a:pt x="29" y="246"/>
                    <a:pt x="65" y="246"/>
                  </a:cubicBezTo>
                  <a:cubicBezTo>
                    <a:pt x="101" y="246"/>
                    <a:pt x="130" y="217"/>
                    <a:pt x="130" y="181"/>
                  </a:cubicBezTo>
                  <a:cubicBezTo>
                    <a:pt x="130" y="65"/>
                    <a:pt x="130" y="65"/>
                    <a:pt x="130" y="65"/>
                  </a:cubicBezTo>
                  <a:cubicBezTo>
                    <a:pt x="130" y="29"/>
                    <a:pt x="101" y="0"/>
                    <a:pt x="6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28">
              <a:extLst>
                <a:ext uri="{FF2B5EF4-FFF2-40B4-BE49-F238E27FC236}">
                  <a16:creationId xmlns:a16="http://schemas.microsoft.com/office/drawing/2014/main" id="{F16FA61B-1E2B-57C8-432A-03D594ABAEAA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2714" y="2336800"/>
              <a:ext cx="484188" cy="328613"/>
            </a:xfrm>
            <a:custGeom>
              <a:avLst/>
              <a:gdLst>
                <a:gd name="T0" fmla="*/ 203 w 256"/>
                <a:gd name="T1" fmla="*/ 47 h 173"/>
                <a:gd name="T2" fmla="*/ 92 w 256"/>
                <a:gd name="T3" fmla="*/ 11 h 173"/>
                <a:gd name="T4" fmla="*/ 11 w 256"/>
                <a:gd name="T5" fmla="*/ 52 h 173"/>
                <a:gd name="T6" fmla="*/ 53 w 256"/>
                <a:gd name="T7" fmla="*/ 133 h 173"/>
                <a:gd name="T8" fmla="*/ 163 w 256"/>
                <a:gd name="T9" fmla="*/ 170 h 173"/>
                <a:gd name="T10" fmla="*/ 183 w 256"/>
                <a:gd name="T11" fmla="*/ 173 h 173"/>
                <a:gd name="T12" fmla="*/ 245 w 256"/>
                <a:gd name="T13" fmla="*/ 128 h 173"/>
                <a:gd name="T14" fmla="*/ 203 w 256"/>
                <a:gd name="T15" fmla="*/ 47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6" h="173">
                  <a:moveTo>
                    <a:pt x="203" y="47"/>
                  </a:moveTo>
                  <a:cubicBezTo>
                    <a:pt x="92" y="11"/>
                    <a:pt x="92" y="11"/>
                    <a:pt x="92" y="11"/>
                  </a:cubicBezTo>
                  <a:cubicBezTo>
                    <a:pt x="59" y="0"/>
                    <a:pt x="22" y="18"/>
                    <a:pt x="11" y="52"/>
                  </a:cubicBezTo>
                  <a:cubicBezTo>
                    <a:pt x="0" y="86"/>
                    <a:pt x="19" y="122"/>
                    <a:pt x="53" y="133"/>
                  </a:cubicBezTo>
                  <a:cubicBezTo>
                    <a:pt x="163" y="170"/>
                    <a:pt x="163" y="170"/>
                    <a:pt x="163" y="170"/>
                  </a:cubicBezTo>
                  <a:cubicBezTo>
                    <a:pt x="170" y="172"/>
                    <a:pt x="177" y="173"/>
                    <a:pt x="183" y="173"/>
                  </a:cubicBezTo>
                  <a:cubicBezTo>
                    <a:pt x="211" y="173"/>
                    <a:pt x="236" y="155"/>
                    <a:pt x="245" y="128"/>
                  </a:cubicBezTo>
                  <a:cubicBezTo>
                    <a:pt x="256" y="94"/>
                    <a:pt x="237" y="58"/>
                    <a:pt x="203" y="4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657472691"/>
      </p:ext>
    </p:extLst>
  </p:cSld>
  <p:clrMapOvr>
    <a:masterClrMapping/>
  </p:clrMapOvr>
</p:sld>
</file>

<file path=ppt/slides/slide1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0DA6FD-3B20-488D-1930-2E119921F6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think-cell data - do not delete" hidden="1">
            <a:extLst>
              <a:ext uri="{FF2B5EF4-FFF2-40B4-BE49-F238E27FC236}">
                <a16:creationId xmlns:a16="http://schemas.microsoft.com/office/drawing/2014/main" id="{565ABB0F-7169-FBE1-96E2-C5B9AB5A103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65ABB0F-7169-FBE1-96E2-C5B9AB5A10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CF2FD66-F482-D79E-7731-FC7406D708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ircular layou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06CBBC3-ADD8-69A5-4A44-2B21157BE5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43</a:t>
            </a:fld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D2D6A415-8362-9920-48EF-DEA2087C7748}"/>
              </a:ext>
            </a:extLst>
          </p:cNvPr>
          <p:cNvGrpSpPr/>
          <p:nvPr/>
        </p:nvGrpSpPr>
        <p:grpSpPr>
          <a:xfrm>
            <a:off x="4306768" y="1875220"/>
            <a:ext cx="3335575" cy="3342519"/>
            <a:chOff x="4306768" y="1875220"/>
            <a:chExt cx="3335575" cy="3342519"/>
          </a:xfrm>
        </p:grpSpPr>
        <p:sp>
          <p:nvSpPr>
            <p:cNvPr id="6" name="Freeform 40">
              <a:extLst>
                <a:ext uri="{FF2B5EF4-FFF2-40B4-BE49-F238E27FC236}">
                  <a16:creationId xmlns:a16="http://schemas.microsoft.com/office/drawing/2014/main" id="{71C09D09-1D2E-3895-4B27-635E44047D7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4555" y="1875220"/>
              <a:ext cx="1667788" cy="1671260"/>
            </a:xfrm>
            <a:custGeom>
              <a:avLst/>
              <a:gdLst/>
              <a:ahLst/>
              <a:cxnLst>
                <a:cxn ang="0">
                  <a:pos x="348" y="348"/>
                </a:cxn>
                <a:cxn ang="0">
                  <a:pos x="139" y="348"/>
                </a:cxn>
                <a:cxn ang="0">
                  <a:pos x="0" y="209"/>
                </a:cxn>
                <a:cxn ang="0">
                  <a:pos x="0" y="0"/>
                </a:cxn>
                <a:cxn ang="0">
                  <a:pos x="348" y="348"/>
                </a:cxn>
              </a:cxnLst>
              <a:rect l="0" t="0" r="r" b="b"/>
              <a:pathLst>
                <a:path w="348" h="348">
                  <a:moveTo>
                    <a:pt x="348" y="348"/>
                  </a:moveTo>
                  <a:cubicBezTo>
                    <a:pt x="139" y="348"/>
                    <a:pt x="139" y="348"/>
                    <a:pt x="139" y="348"/>
                  </a:cubicBezTo>
                  <a:cubicBezTo>
                    <a:pt x="139" y="271"/>
                    <a:pt x="77" y="209"/>
                    <a:pt x="0" y="20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2" y="0"/>
                    <a:pt x="348" y="156"/>
                    <a:pt x="348" y="348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89614" tIns="44807" rIns="89614" bIns="44807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 dirty="0">
                <a:solidFill>
                  <a:srgbClr val="262626"/>
                </a:solidFill>
                <a:latin typeface="Calibri Light"/>
              </a:endParaRPr>
            </a:p>
          </p:txBody>
        </p:sp>
        <p:sp>
          <p:nvSpPr>
            <p:cNvPr id="7" name="Freeform 41">
              <a:extLst>
                <a:ext uri="{FF2B5EF4-FFF2-40B4-BE49-F238E27FC236}">
                  <a16:creationId xmlns:a16="http://schemas.microsoft.com/office/drawing/2014/main" id="{45816293-E048-821B-A6FB-7E0CF78026E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4555" y="3546479"/>
              <a:ext cx="1667788" cy="1671260"/>
            </a:xfrm>
            <a:custGeom>
              <a:avLst/>
              <a:gdLst/>
              <a:ahLst/>
              <a:cxnLst>
                <a:cxn ang="0">
                  <a:pos x="139" y="0"/>
                </a:cxn>
                <a:cxn ang="0">
                  <a:pos x="348" y="0"/>
                </a:cxn>
                <a:cxn ang="0">
                  <a:pos x="0" y="348"/>
                </a:cxn>
                <a:cxn ang="0">
                  <a:pos x="0" y="139"/>
                </a:cxn>
                <a:cxn ang="0">
                  <a:pos x="139" y="0"/>
                </a:cxn>
              </a:cxnLst>
              <a:rect l="0" t="0" r="r" b="b"/>
              <a:pathLst>
                <a:path w="348" h="348">
                  <a:moveTo>
                    <a:pt x="139" y="0"/>
                  </a:moveTo>
                  <a:cubicBezTo>
                    <a:pt x="348" y="0"/>
                    <a:pt x="348" y="0"/>
                    <a:pt x="348" y="0"/>
                  </a:cubicBezTo>
                  <a:cubicBezTo>
                    <a:pt x="348" y="192"/>
                    <a:pt x="192" y="348"/>
                    <a:pt x="0" y="348"/>
                  </a:cubicBezTo>
                  <a:cubicBezTo>
                    <a:pt x="0" y="139"/>
                    <a:pt x="0" y="139"/>
                    <a:pt x="0" y="139"/>
                  </a:cubicBezTo>
                  <a:cubicBezTo>
                    <a:pt x="77" y="139"/>
                    <a:pt x="139" y="77"/>
                    <a:pt x="139" y="0"/>
                  </a:cubicBezTo>
                  <a:close/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89614" tIns="44807" rIns="89614" bIns="44807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 dirty="0">
                <a:solidFill>
                  <a:srgbClr val="262626"/>
                </a:solidFill>
                <a:latin typeface="Calibri Light"/>
              </a:endParaRPr>
            </a:p>
          </p:txBody>
        </p:sp>
        <p:sp>
          <p:nvSpPr>
            <p:cNvPr id="8" name="Freeform 43">
              <a:extLst>
                <a:ext uri="{FF2B5EF4-FFF2-40B4-BE49-F238E27FC236}">
                  <a16:creationId xmlns:a16="http://schemas.microsoft.com/office/drawing/2014/main" id="{79300792-8D54-5D71-9CDA-CF0223971172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6768" y="3546479"/>
              <a:ext cx="1667788" cy="1671260"/>
            </a:xfrm>
            <a:custGeom>
              <a:avLst/>
              <a:gdLst/>
              <a:ahLst/>
              <a:cxnLst>
                <a:cxn ang="0">
                  <a:pos x="348" y="139"/>
                </a:cxn>
                <a:cxn ang="0">
                  <a:pos x="348" y="348"/>
                </a:cxn>
                <a:cxn ang="0">
                  <a:pos x="0" y="0"/>
                </a:cxn>
                <a:cxn ang="0">
                  <a:pos x="209" y="0"/>
                </a:cxn>
                <a:cxn ang="0">
                  <a:pos x="348" y="139"/>
                </a:cxn>
              </a:cxnLst>
              <a:rect l="0" t="0" r="r" b="b"/>
              <a:pathLst>
                <a:path w="348" h="348">
                  <a:moveTo>
                    <a:pt x="348" y="139"/>
                  </a:moveTo>
                  <a:cubicBezTo>
                    <a:pt x="348" y="348"/>
                    <a:pt x="348" y="348"/>
                    <a:pt x="348" y="348"/>
                  </a:cubicBezTo>
                  <a:cubicBezTo>
                    <a:pt x="156" y="348"/>
                    <a:pt x="0" y="192"/>
                    <a:pt x="0" y="0"/>
                  </a:cubicBezTo>
                  <a:cubicBezTo>
                    <a:pt x="209" y="0"/>
                    <a:pt x="209" y="0"/>
                    <a:pt x="209" y="0"/>
                  </a:cubicBezTo>
                  <a:cubicBezTo>
                    <a:pt x="209" y="77"/>
                    <a:pt x="271" y="139"/>
                    <a:pt x="348" y="139"/>
                  </a:cubicBezTo>
                  <a:close/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89614" tIns="44807" rIns="89614" bIns="44807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 dirty="0">
                <a:solidFill>
                  <a:srgbClr val="262626"/>
                </a:solidFill>
                <a:latin typeface="Calibri Light"/>
              </a:endParaRPr>
            </a:p>
          </p:txBody>
        </p:sp>
        <p:sp>
          <p:nvSpPr>
            <p:cNvPr id="9" name="Freeform 44">
              <a:extLst>
                <a:ext uri="{FF2B5EF4-FFF2-40B4-BE49-F238E27FC236}">
                  <a16:creationId xmlns:a16="http://schemas.microsoft.com/office/drawing/2014/main" id="{DF40B6AA-F4E0-1F66-7893-DAFCDDA7DB10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6768" y="1875220"/>
              <a:ext cx="1667788" cy="1671260"/>
            </a:xfrm>
            <a:custGeom>
              <a:avLst/>
              <a:gdLst/>
              <a:ahLst/>
              <a:cxnLst>
                <a:cxn ang="0">
                  <a:pos x="348" y="0"/>
                </a:cxn>
                <a:cxn ang="0">
                  <a:pos x="348" y="209"/>
                </a:cxn>
                <a:cxn ang="0">
                  <a:pos x="209" y="348"/>
                </a:cxn>
                <a:cxn ang="0">
                  <a:pos x="0" y="348"/>
                </a:cxn>
                <a:cxn ang="0">
                  <a:pos x="348" y="0"/>
                </a:cxn>
              </a:cxnLst>
              <a:rect l="0" t="0" r="r" b="b"/>
              <a:pathLst>
                <a:path w="348" h="348">
                  <a:moveTo>
                    <a:pt x="348" y="0"/>
                  </a:moveTo>
                  <a:cubicBezTo>
                    <a:pt x="348" y="209"/>
                    <a:pt x="348" y="209"/>
                    <a:pt x="348" y="209"/>
                  </a:cubicBezTo>
                  <a:cubicBezTo>
                    <a:pt x="271" y="209"/>
                    <a:pt x="209" y="271"/>
                    <a:pt x="209" y="348"/>
                  </a:cubicBezTo>
                  <a:cubicBezTo>
                    <a:pt x="0" y="348"/>
                    <a:pt x="0" y="348"/>
                    <a:pt x="0" y="348"/>
                  </a:cubicBezTo>
                  <a:cubicBezTo>
                    <a:pt x="0" y="156"/>
                    <a:pt x="156" y="0"/>
                    <a:pt x="348" y="0"/>
                  </a:cubicBezTo>
                  <a:close/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89614" tIns="44807" rIns="89614" bIns="44807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 dirty="0">
                <a:solidFill>
                  <a:srgbClr val="262626"/>
                </a:solidFill>
                <a:latin typeface="Calibri Light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EDCB4BFC-F8E7-C0DD-365B-2A326A27542D}"/>
              </a:ext>
            </a:extLst>
          </p:cNvPr>
          <p:cNvGrpSpPr/>
          <p:nvPr/>
        </p:nvGrpSpPr>
        <p:grpSpPr>
          <a:xfrm>
            <a:off x="3803650" y="1374886"/>
            <a:ext cx="4343399" cy="4348052"/>
            <a:chOff x="3809907" y="1374887"/>
            <a:chExt cx="4329297" cy="4343188"/>
          </a:xfrm>
        </p:grpSpPr>
        <p:sp>
          <p:nvSpPr>
            <p:cNvPr id="11" name="Freeform 38">
              <a:extLst>
                <a:ext uri="{FF2B5EF4-FFF2-40B4-BE49-F238E27FC236}">
                  <a16:creationId xmlns:a16="http://schemas.microsoft.com/office/drawing/2014/main" id="{99658EDE-70DB-EEFB-8280-0690125C6BE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4555" y="1374887"/>
              <a:ext cx="2164649" cy="2171595"/>
            </a:xfrm>
            <a:custGeom>
              <a:avLst/>
              <a:gdLst/>
              <a:ahLst/>
              <a:cxnLst>
                <a:cxn ang="0">
                  <a:pos x="452" y="452"/>
                </a:cxn>
                <a:cxn ang="0">
                  <a:pos x="348" y="452"/>
                </a:cxn>
                <a:cxn ang="0">
                  <a:pos x="0" y="104"/>
                </a:cxn>
                <a:cxn ang="0">
                  <a:pos x="0" y="0"/>
                </a:cxn>
                <a:cxn ang="0">
                  <a:pos x="452" y="452"/>
                </a:cxn>
              </a:cxnLst>
              <a:rect l="0" t="0" r="r" b="b"/>
              <a:pathLst>
                <a:path w="452" h="452">
                  <a:moveTo>
                    <a:pt x="452" y="452"/>
                  </a:moveTo>
                  <a:cubicBezTo>
                    <a:pt x="348" y="452"/>
                    <a:pt x="348" y="452"/>
                    <a:pt x="348" y="452"/>
                  </a:cubicBezTo>
                  <a:cubicBezTo>
                    <a:pt x="348" y="260"/>
                    <a:pt x="192" y="104"/>
                    <a:pt x="0" y="10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50" y="0"/>
                    <a:pt x="452" y="202"/>
                    <a:pt x="452" y="452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89614" tIns="44807" rIns="89614" bIns="44807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 dirty="0">
                <a:solidFill>
                  <a:srgbClr val="262626"/>
                </a:solidFill>
                <a:latin typeface="Calibri Light"/>
              </a:endParaRPr>
            </a:p>
          </p:txBody>
        </p:sp>
        <p:sp>
          <p:nvSpPr>
            <p:cNvPr id="12" name="Freeform 39">
              <a:extLst>
                <a:ext uri="{FF2B5EF4-FFF2-40B4-BE49-F238E27FC236}">
                  <a16:creationId xmlns:a16="http://schemas.microsoft.com/office/drawing/2014/main" id="{ACDF06F4-697F-BEF1-3E45-B34425FEA66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4555" y="3546480"/>
              <a:ext cx="2164649" cy="2171595"/>
            </a:xfrm>
            <a:custGeom>
              <a:avLst/>
              <a:gdLst/>
              <a:ahLst/>
              <a:cxnLst>
                <a:cxn ang="0">
                  <a:pos x="348" y="0"/>
                </a:cxn>
                <a:cxn ang="0">
                  <a:pos x="452" y="0"/>
                </a:cxn>
                <a:cxn ang="0">
                  <a:pos x="0" y="452"/>
                </a:cxn>
                <a:cxn ang="0">
                  <a:pos x="0" y="348"/>
                </a:cxn>
                <a:cxn ang="0">
                  <a:pos x="348" y="0"/>
                </a:cxn>
              </a:cxnLst>
              <a:rect l="0" t="0" r="r" b="b"/>
              <a:pathLst>
                <a:path w="452" h="452">
                  <a:moveTo>
                    <a:pt x="348" y="0"/>
                  </a:moveTo>
                  <a:cubicBezTo>
                    <a:pt x="452" y="0"/>
                    <a:pt x="452" y="0"/>
                    <a:pt x="452" y="0"/>
                  </a:cubicBezTo>
                  <a:cubicBezTo>
                    <a:pt x="452" y="249"/>
                    <a:pt x="250" y="452"/>
                    <a:pt x="0" y="452"/>
                  </a:cubicBezTo>
                  <a:cubicBezTo>
                    <a:pt x="0" y="348"/>
                    <a:pt x="0" y="348"/>
                    <a:pt x="0" y="348"/>
                  </a:cubicBezTo>
                  <a:cubicBezTo>
                    <a:pt x="192" y="348"/>
                    <a:pt x="348" y="192"/>
                    <a:pt x="348" y="0"/>
                  </a:cubicBezTo>
                  <a:close/>
                </a:path>
              </a:pathLst>
            </a:custGeom>
            <a:solidFill>
              <a:schemeClr val="accent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89614" tIns="44807" rIns="89614" bIns="44807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 dirty="0">
                <a:solidFill>
                  <a:srgbClr val="262626"/>
                </a:solidFill>
                <a:latin typeface="Calibri Light"/>
              </a:endParaRPr>
            </a:p>
          </p:txBody>
        </p:sp>
        <p:sp>
          <p:nvSpPr>
            <p:cNvPr id="13" name="Freeform 42">
              <a:extLst>
                <a:ext uri="{FF2B5EF4-FFF2-40B4-BE49-F238E27FC236}">
                  <a16:creationId xmlns:a16="http://schemas.microsoft.com/office/drawing/2014/main" id="{A0165F56-85D1-2F2D-EBEE-264FC69DB26D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9907" y="3546480"/>
              <a:ext cx="2164649" cy="2171595"/>
            </a:xfrm>
            <a:custGeom>
              <a:avLst/>
              <a:gdLst/>
              <a:ahLst/>
              <a:cxnLst>
                <a:cxn ang="0">
                  <a:pos x="452" y="348"/>
                </a:cxn>
                <a:cxn ang="0">
                  <a:pos x="452" y="452"/>
                </a:cxn>
                <a:cxn ang="0">
                  <a:pos x="0" y="0"/>
                </a:cxn>
                <a:cxn ang="0">
                  <a:pos x="104" y="0"/>
                </a:cxn>
                <a:cxn ang="0">
                  <a:pos x="452" y="348"/>
                </a:cxn>
              </a:cxnLst>
              <a:rect l="0" t="0" r="r" b="b"/>
              <a:pathLst>
                <a:path w="452" h="452">
                  <a:moveTo>
                    <a:pt x="452" y="348"/>
                  </a:moveTo>
                  <a:cubicBezTo>
                    <a:pt x="452" y="452"/>
                    <a:pt x="452" y="452"/>
                    <a:pt x="452" y="452"/>
                  </a:cubicBezTo>
                  <a:cubicBezTo>
                    <a:pt x="203" y="452"/>
                    <a:pt x="0" y="249"/>
                    <a:pt x="0" y="0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104" y="192"/>
                    <a:pt x="260" y="348"/>
                    <a:pt x="452" y="348"/>
                  </a:cubicBez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89614" tIns="44807" rIns="89614" bIns="44807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 dirty="0">
                <a:solidFill>
                  <a:srgbClr val="262626"/>
                </a:solidFill>
                <a:latin typeface="Calibri Light"/>
              </a:endParaRPr>
            </a:p>
          </p:txBody>
        </p:sp>
        <p:sp>
          <p:nvSpPr>
            <p:cNvPr id="14" name="Freeform 45">
              <a:extLst>
                <a:ext uri="{FF2B5EF4-FFF2-40B4-BE49-F238E27FC236}">
                  <a16:creationId xmlns:a16="http://schemas.microsoft.com/office/drawing/2014/main" id="{6B735378-C369-0168-638C-CF9E420705D5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9907" y="1374887"/>
              <a:ext cx="2164649" cy="2171595"/>
            </a:xfrm>
            <a:custGeom>
              <a:avLst/>
              <a:gdLst/>
              <a:ahLst/>
              <a:cxnLst>
                <a:cxn ang="0">
                  <a:pos x="452" y="0"/>
                </a:cxn>
                <a:cxn ang="0">
                  <a:pos x="452" y="104"/>
                </a:cxn>
                <a:cxn ang="0">
                  <a:pos x="104" y="452"/>
                </a:cxn>
                <a:cxn ang="0">
                  <a:pos x="0" y="452"/>
                </a:cxn>
                <a:cxn ang="0">
                  <a:pos x="452" y="0"/>
                </a:cxn>
              </a:cxnLst>
              <a:rect l="0" t="0" r="r" b="b"/>
              <a:pathLst>
                <a:path w="452" h="452">
                  <a:moveTo>
                    <a:pt x="452" y="0"/>
                  </a:moveTo>
                  <a:cubicBezTo>
                    <a:pt x="452" y="104"/>
                    <a:pt x="452" y="104"/>
                    <a:pt x="452" y="104"/>
                  </a:cubicBezTo>
                  <a:cubicBezTo>
                    <a:pt x="260" y="104"/>
                    <a:pt x="104" y="260"/>
                    <a:pt x="104" y="452"/>
                  </a:cubicBezTo>
                  <a:cubicBezTo>
                    <a:pt x="0" y="452"/>
                    <a:pt x="0" y="452"/>
                    <a:pt x="0" y="452"/>
                  </a:cubicBezTo>
                  <a:cubicBezTo>
                    <a:pt x="0" y="202"/>
                    <a:pt x="203" y="0"/>
                    <a:pt x="452" y="0"/>
                  </a:cubicBezTo>
                  <a:close/>
                </a:path>
              </a:pathLst>
            </a:custGeom>
            <a:solidFill>
              <a:schemeClr val="accent4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89614" tIns="44807" rIns="89614" bIns="44807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 dirty="0">
                <a:solidFill>
                  <a:srgbClr val="262626"/>
                </a:solidFill>
                <a:latin typeface="Calibri Light"/>
              </a:endParaRPr>
            </a:p>
          </p:txBody>
        </p:sp>
      </p:grpSp>
      <p:sp>
        <p:nvSpPr>
          <p:cNvPr id="15" name="Oval 14">
            <a:extLst>
              <a:ext uri="{FF2B5EF4-FFF2-40B4-BE49-F238E27FC236}">
                <a16:creationId xmlns:a16="http://schemas.microsoft.com/office/drawing/2014/main" id="{573583F1-77B6-5BBD-3B8B-86A5F127C93E}"/>
              </a:ext>
            </a:extLst>
          </p:cNvPr>
          <p:cNvSpPr/>
          <p:nvPr/>
        </p:nvSpPr>
        <p:spPr>
          <a:xfrm>
            <a:off x="5325433" y="2908357"/>
            <a:ext cx="1298246" cy="1285391"/>
          </a:xfrm>
          <a:prstGeom prst="ellipse">
            <a:avLst/>
          </a:prstGeom>
          <a:solidFill>
            <a:schemeClr val="bg1"/>
          </a:solidFill>
          <a:ln w="76200">
            <a:solidFill>
              <a:schemeClr val="bg1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0" tIns="0" rIns="0" bIns="0" anchor="ctr" anchorCtr="1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280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A53C18A1-8199-5323-59EB-6B88EB356C85}"/>
              </a:ext>
            </a:extLst>
          </p:cNvPr>
          <p:cNvGrpSpPr/>
          <p:nvPr/>
        </p:nvGrpSpPr>
        <p:grpSpPr>
          <a:xfrm>
            <a:off x="6350599" y="4262785"/>
            <a:ext cx="732453" cy="493930"/>
            <a:chOff x="6716027" y="5411634"/>
            <a:chExt cx="583964" cy="393797"/>
          </a:xfrm>
          <a:solidFill>
            <a:schemeClr val="bg1"/>
          </a:solidFill>
        </p:grpSpPr>
        <p:sp>
          <p:nvSpPr>
            <p:cNvPr id="17" name="Freeform 17">
              <a:extLst>
                <a:ext uri="{FF2B5EF4-FFF2-40B4-BE49-F238E27FC236}">
                  <a16:creationId xmlns:a16="http://schemas.microsoft.com/office/drawing/2014/main" id="{C5AAC602-C651-FCA9-FE2B-DC6326073FCB}"/>
                </a:ext>
              </a:extLst>
            </p:cNvPr>
            <p:cNvSpPr>
              <a:spLocks noEditPoints="1"/>
            </p:cNvSpPr>
            <p:nvPr/>
          </p:nvSpPr>
          <p:spPr bwMode="auto">
            <a:xfrm rot="2700000">
              <a:off x="6832931" y="5294730"/>
              <a:ext cx="350155" cy="583964"/>
            </a:xfrm>
            <a:custGeom>
              <a:avLst/>
              <a:gdLst>
                <a:gd name="T0" fmla="*/ 50 w 184"/>
                <a:gd name="T1" fmla="*/ 310 h 310"/>
                <a:gd name="T2" fmla="*/ 32 w 184"/>
                <a:gd name="T3" fmla="*/ 282 h 310"/>
                <a:gd name="T4" fmla="*/ 10 w 184"/>
                <a:gd name="T5" fmla="*/ 199 h 310"/>
                <a:gd name="T6" fmla="*/ 39 w 184"/>
                <a:gd name="T7" fmla="*/ 171 h 310"/>
                <a:gd name="T8" fmla="*/ 30 w 184"/>
                <a:gd name="T9" fmla="*/ 116 h 310"/>
                <a:gd name="T10" fmla="*/ 36 w 184"/>
                <a:gd name="T11" fmla="*/ 73 h 310"/>
                <a:gd name="T12" fmla="*/ 36 w 184"/>
                <a:gd name="T13" fmla="*/ 72 h 310"/>
                <a:gd name="T14" fmla="*/ 92 w 184"/>
                <a:gd name="T15" fmla="*/ 0 h 310"/>
                <a:gd name="T16" fmla="*/ 148 w 184"/>
                <a:gd name="T17" fmla="*/ 72 h 310"/>
                <a:gd name="T18" fmla="*/ 148 w 184"/>
                <a:gd name="T19" fmla="*/ 73 h 310"/>
                <a:gd name="T20" fmla="*/ 155 w 184"/>
                <a:gd name="T21" fmla="*/ 116 h 310"/>
                <a:gd name="T22" fmla="*/ 145 w 184"/>
                <a:gd name="T23" fmla="*/ 171 h 310"/>
                <a:gd name="T24" fmla="*/ 174 w 184"/>
                <a:gd name="T25" fmla="*/ 199 h 310"/>
                <a:gd name="T26" fmla="*/ 153 w 184"/>
                <a:gd name="T27" fmla="*/ 282 h 310"/>
                <a:gd name="T28" fmla="*/ 134 w 184"/>
                <a:gd name="T29" fmla="*/ 310 h 310"/>
                <a:gd name="T30" fmla="*/ 134 w 184"/>
                <a:gd name="T31" fmla="*/ 276 h 310"/>
                <a:gd name="T32" fmla="*/ 118 w 184"/>
                <a:gd name="T33" fmla="*/ 239 h 310"/>
                <a:gd name="T34" fmla="*/ 118 w 184"/>
                <a:gd name="T35" fmla="*/ 240 h 310"/>
                <a:gd name="T36" fmla="*/ 115 w 184"/>
                <a:gd name="T37" fmla="*/ 246 h 310"/>
                <a:gd name="T38" fmla="*/ 108 w 184"/>
                <a:gd name="T39" fmla="*/ 245 h 310"/>
                <a:gd name="T40" fmla="*/ 76 w 184"/>
                <a:gd name="T41" fmla="*/ 245 h 310"/>
                <a:gd name="T42" fmla="*/ 69 w 184"/>
                <a:gd name="T43" fmla="*/ 246 h 310"/>
                <a:gd name="T44" fmla="*/ 66 w 184"/>
                <a:gd name="T45" fmla="*/ 240 h 310"/>
                <a:gd name="T46" fmla="*/ 66 w 184"/>
                <a:gd name="T47" fmla="*/ 239 h 310"/>
                <a:gd name="T48" fmla="*/ 50 w 184"/>
                <a:gd name="T49" fmla="*/ 276 h 310"/>
                <a:gd name="T50" fmla="*/ 50 w 184"/>
                <a:gd name="T51" fmla="*/ 310 h 310"/>
                <a:gd name="T52" fmla="*/ 55 w 184"/>
                <a:gd name="T53" fmla="*/ 79 h 310"/>
                <a:gd name="T54" fmla="*/ 50 w 184"/>
                <a:gd name="T55" fmla="*/ 116 h 310"/>
                <a:gd name="T56" fmla="*/ 61 w 184"/>
                <a:gd name="T57" fmla="*/ 174 h 310"/>
                <a:gd name="T58" fmla="*/ 64 w 184"/>
                <a:gd name="T59" fmla="*/ 184 h 310"/>
                <a:gd name="T60" fmla="*/ 54 w 184"/>
                <a:gd name="T61" fmla="*/ 187 h 310"/>
                <a:gd name="T62" fmla="*/ 29 w 184"/>
                <a:gd name="T63" fmla="*/ 205 h 310"/>
                <a:gd name="T64" fmla="*/ 36 w 184"/>
                <a:gd name="T65" fmla="*/ 247 h 310"/>
                <a:gd name="T66" fmla="*/ 65 w 184"/>
                <a:gd name="T67" fmla="*/ 215 h 310"/>
                <a:gd name="T68" fmla="*/ 74 w 184"/>
                <a:gd name="T69" fmla="*/ 209 h 310"/>
                <a:gd name="T70" fmla="*/ 79 w 184"/>
                <a:gd name="T71" fmla="*/ 219 h 310"/>
                <a:gd name="T72" fmla="*/ 82 w 184"/>
                <a:gd name="T73" fmla="*/ 225 h 310"/>
                <a:gd name="T74" fmla="*/ 103 w 184"/>
                <a:gd name="T75" fmla="*/ 225 h 310"/>
                <a:gd name="T76" fmla="*/ 105 w 184"/>
                <a:gd name="T77" fmla="*/ 219 h 310"/>
                <a:gd name="T78" fmla="*/ 110 w 184"/>
                <a:gd name="T79" fmla="*/ 209 h 310"/>
                <a:gd name="T80" fmla="*/ 120 w 184"/>
                <a:gd name="T81" fmla="*/ 215 h 310"/>
                <a:gd name="T82" fmla="*/ 148 w 184"/>
                <a:gd name="T83" fmla="*/ 247 h 310"/>
                <a:gd name="T84" fmla="*/ 155 w 184"/>
                <a:gd name="T85" fmla="*/ 205 h 310"/>
                <a:gd name="T86" fmla="*/ 130 w 184"/>
                <a:gd name="T87" fmla="*/ 187 h 310"/>
                <a:gd name="T88" fmla="*/ 120 w 184"/>
                <a:gd name="T89" fmla="*/ 184 h 310"/>
                <a:gd name="T90" fmla="*/ 123 w 184"/>
                <a:gd name="T91" fmla="*/ 174 h 310"/>
                <a:gd name="T92" fmla="*/ 135 w 184"/>
                <a:gd name="T93" fmla="*/ 116 h 310"/>
                <a:gd name="T94" fmla="*/ 129 w 184"/>
                <a:gd name="T95" fmla="*/ 79 h 310"/>
                <a:gd name="T96" fmla="*/ 92 w 184"/>
                <a:gd name="T97" fmla="*/ 21 h 310"/>
                <a:gd name="T98" fmla="*/ 55 w 184"/>
                <a:gd name="T99" fmla="*/ 79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84" h="310">
                  <a:moveTo>
                    <a:pt x="50" y="310"/>
                  </a:moveTo>
                  <a:cubicBezTo>
                    <a:pt x="32" y="282"/>
                    <a:pt x="32" y="282"/>
                    <a:pt x="32" y="282"/>
                  </a:cubicBezTo>
                  <a:cubicBezTo>
                    <a:pt x="28" y="276"/>
                    <a:pt x="0" y="230"/>
                    <a:pt x="10" y="199"/>
                  </a:cubicBezTo>
                  <a:cubicBezTo>
                    <a:pt x="14" y="187"/>
                    <a:pt x="24" y="178"/>
                    <a:pt x="39" y="171"/>
                  </a:cubicBezTo>
                  <a:cubicBezTo>
                    <a:pt x="33" y="151"/>
                    <a:pt x="30" y="132"/>
                    <a:pt x="30" y="116"/>
                  </a:cubicBezTo>
                  <a:cubicBezTo>
                    <a:pt x="30" y="102"/>
                    <a:pt x="32" y="87"/>
                    <a:pt x="36" y="73"/>
                  </a:cubicBezTo>
                  <a:cubicBezTo>
                    <a:pt x="36" y="72"/>
                    <a:pt x="36" y="72"/>
                    <a:pt x="36" y="72"/>
                  </a:cubicBezTo>
                  <a:cubicBezTo>
                    <a:pt x="50" y="35"/>
                    <a:pt x="77" y="0"/>
                    <a:pt x="92" y="0"/>
                  </a:cubicBezTo>
                  <a:cubicBezTo>
                    <a:pt x="107" y="0"/>
                    <a:pt x="134" y="35"/>
                    <a:pt x="148" y="72"/>
                  </a:cubicBezTo>
                  <a:cubicBezTo>
                    <a:pt x="148" y="73"/>
                    <a:pt x="148" y="73"/>
                    <a:pt x="148" y="73"/>
                  </a:cubicBezTo>
                  <a:cubicBezTo>
                    <a:pt x="152" y="87"/>
                    <a:pt x="155" y="102"/>
                    <a:pt x="155" y="116"/>
                  </a:cubicBezTo>
                  <a:cubicBezTo>
                    <a:pt x="155" y="132"/>
                    <a:pt x="152" y="151"/>
                    <a:pt x="145" y="171"/>
                  </a:cubicBezTo>
                  <a:cubicBezTo>
                    <a:pt x="160" y="178"/>
                    <a:pt x="170" y="187"/>
                    <a:pt x="174" y="199"/>
                  </a:cubicBezTo>
                  <a:cubicBezTo>
                    <a:pt x="184" y="230"/>
                    <a:pt x="156" y="276"/>
                    <a:pt x="153" y="282"/>
                  </a:cubicBezTo>
                  <a:cubicBezTo>
                    <a:pt x="134" y="310"/>
                    <a:pt x="134" y="310"/>
                    <a:pt x="134" y="310"/>
                  </a:cubicBezTo>
                  <a:cubicBezTo>
                    <a:pt x="134" y="276"/>
                    <a:pt x="134" y="276"/>
                    <a:pt x="134" y="276"/>
                  </a:cubicBezTo>
                  <a:cubicBezTo>
                    <a:pt x="134" y="262"/>
                    <a:pt x="128" y="248"/>
                    <a:pt x="118" y="239"/>
                  </a:cubicBezTo>
                  <a:cubicBezTo>
                    <a:pt x="118" y="239"/>
                    <a:pt x="118" y="239"/>
                    <a:pt x="118" y="240"/>
                  </a:cubicBezTo>
                  <a:cubicBezTo>
                    <a:pt x="115" y="246"/>
                    <a:pt x="115" y="246"/>
                    <a:pt x="115" y="246"/>
                  </a:cubicBezTo>
                  <a:cubicBezTo>
                    <a:pt x="108" y="245"/>
                    <a:pt x="108" y="245"/>
                    <a:pt x="108" y="245"/>
                  </a:cubicBezTo>
                  <a:cubicBezTo>
                    <a:pt x="98" y="245"/>
                    <a:pt x="87" y="245"/>
                    <a:pt x="76" y="245"/>
                  </a:cubicBezTo>
                  <a:cubicBezTo>
                    <a:pt x="69" y="246"/>
                    <a:pt x="69" y="246"/>
                    <a:pt x="69" y="246"/>
                  </a:cubicBezTo>
                  <a:cubicBezTo>
                    <a:pt x="66" y="240"/>
                    <a:pt x="66" y="240"/>
                    <a:pt x="66" y="240"/>
                  </a:cubicBezTo>
                  <a:cubicBezTo>
                    <a:pt x="66" y="239"/>
                    <a:pt x="66" y="239"/>
                    <a:pt x="66" y="239"/>
                  </a:cubicBezTo>
                  <a:cubicBezTo>
                    <a:pt x="56" y="249"/>
                    <a:pt x="50" y="262"/>
                    <a:pt x="50" y="276"/>
                  </a:cubicBezTo>
                  <a:lnTo>
                    <a:pt x="50" y="310"/>
                  </a:lnTo>
                  <a:close/>
                  <a:moveTo>
                    <a:pt x="55" y="79"/>
                  </a:moveTo>
                  <a:cubicBezTo>
                    <a:pt x="52" y="91"/>
                    <a:pt x="50" y="104"/>
                    <a:pt x="50" y="116"/>
                  </a:cubicBezTo>
                  <a:cubicBezTo>
                    <a:pt x="50" y="132"/>
                    <a:pt x="53" y="152"/>
                    <a:pt x="61" y="174"/>
                  </a:cubicBezTo>
                  <a:cubicBezTo>
                    <a:pt x="64" y="184"/>
                    <a:pt x="64" y="184"/>
                    <a:pt x="64" y="184"/>
                  </a:cubicBezTo>
                  <a:cubicBezTo>
                    <a:pt x="54" y="187"/>
                    <a:pt x="54" y="187"/>
                    <a:pt x="54" y="187"/>
                  </a:cubicBezTo>
                  <a:cubicBezTo>
                    <a:pt x="45" y="190"/>
                    <a:pt x="33" y="196"/>
                    <a:pt x="29" y="205"/>
                  </a:cubicBezTo>
                  <a:cubicBezTo>
                    <a:pt x="26" y="216"/>
                    <a:pt x="30" y="233"/>
                    <a:pt x="36" y="247"/>
                  </a:cubicBezTo>
                  <a:cubicBezTo>
                    <a:pt x="42" y="234"/>
                    <a:pt x="52" y="223"/>
                    <a:pt x="65" y="215"/>
                  </a:cubicBezTo>
                  <a:cubicBezTo>
                    <a:pt x="74" y="209"/>
                    <a:pt x="74" y="209"/>
                    <a:pt x="74" y="209"/>
                  </a:cubicBezTo>
                  <a:cubicBezTo>
                    <a:pt x="79" y="219"/>
                    <a:pt x="79" y="219"/>
                    <a:pt x="79" y="219"/>
                  </a:cubicBezTo>
                  <a:cubicBezTo>
                    <a:pt x="80" y="221"/>
                    <a:pt x="81" y="223"/>
                    <a:pt x="82" y="225"/>
                  </a:cubicBezTo>
                  <a:cubicBezTo>
                    <a:pt x="89" y="225"/>
                    <a:pt x="96" y="225"/>
                    <a:pt x="103" y="225"/>
                  </a:cubicBezTo>
                  <a:cubicBezTo>
                    <a:pt x="104" y="223"/>
                    <a:pt x="105" y="221"/>
                    <a:pt x="105" y="219"/>
                  </a:cubicBezTo>
                  <a:cubicBezTo>
                    <a:pt x="110" y="209"/>
                    <a:pt x="110" y="209"/>
                    <a:pt x="110" y="209"/>
                  </a:cubicBezTo>
                  <a:cubicBezTo>
                    <a:pt x="120" y="215"/>
                    <a:pt x="120" y="215"/>
                    <a:pt x="120" y="215"/>
                  </a:cubicBezTo>
                  <a:cubicBezTo>
                    <a:pt x="133" y="223"/>
                    <a:pt x="142" y="234"/>
                    <a:pt x="148" y="247"/>
                  </a:cubicBezTo>
                  <a:cubicBezTo>
                    <a:pt x="154" y="233"/>
                    <a:pt x="159" y="216"/>
                    <a:pt x="155" y="205"/>
                  </a:cubicBezTo>
                  <a:cubicBezTo>
                    <a:pt x="152" y="196"/>
                    <a:pt x="140" y="190"/>
                    <a:pt x="130" y="187"/>
                  </a:cubicBezTo>
                  <a:cubicBezTo>
                    <a:pt x="120" y="184"/>
                    <a:pt x="120" y="184"/>
                    <a:pt x="120" y="184"/>
                  </a:cubicBezTo>
                  <a:cubicBezTo>
                    <a:pt x="123" y="174"/>
                    <a:pt x="123" y="174"/>
                    <a:pt x="123" y="174"/>
                  </a:cubicBezTo>
                  <a:cubicBezTo>
                    <a:pt x="131" y="152"/>
                    <a:pt x="135" y="132"/>
                    <a:pt x="135" y="116"/>
                  </a:cubicBezTo>
                  <a:cubicBezTo>
                    <a:pt x="135" y="104"/>
                    <a:pt x="133" y="91"/>
                    <a:pt x="129" y="79"/>
                  </a:cubicBezTo>
                  <a:cubicBezTo>
                    <a:pt x="117" y="47"/>
                    <a:pt x="99" y="26"/>
                    <a:pt x="92" y="21"/>
                  </a:cubicBezTo>
                  <a:cubicBezTo>
                    <a:pt x="85" y="26"/>
                    <a:pt x="67" y="47"/>
                    <a:pt x="55" y="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18" name="Freeform 18">
              <a:extLst>
                <a:ext uri="{FF2B5EF4-FFF2-40B4-BE49-F238E27FC236}">
                  <a16:creationId xmlns:a16="http://schemas.microsoft.com/office/drawing/2014/main" id="{07FEC368-C8C9-A6DD-728A-8DDA34EF6134}"/>
                </a:ext>
              </a:extLst>
            </p:cNvPr>
            <p:cNvSpPr>
              <a:spLocks noEditPoints="1"/>
            </p:cNvSpPr>
            <p:nvPr/>
          </p:nvSpPr>
          <p:spPr bwMode="auto">
            <a:xfrm rot="2700000">
              <a:off x="6989613" y="5483631"/>
              <a:ext cx="121724" cy="120112"/>
            </a:xfrm>
            <a:custGeom>
              <a:avLst/>
              <a:gdLst>
                <a:gd name="T0" fmla="*/ 32 w 64"/>
                <a:gd name="T1" fmla="*/ 64 h 64"/>
                <a:gd name="T2" fmla="*/ 0 w 64"/>
                <a:gd name="T3" fmla="*/ 32 h 64"/>
                <a:gd name="T4" fmla="*/ 32 w 64"/>
                <a:gd name="T5" fmla="*/ 0 h 64"/>
                <a:gd name="T6" fmla="*/ 64 w 64"/>
                <a:gd name="T7" fmla="*/ 32 h 64"/>
                <a:gd name="T8" fmla="*/ 32 w 64"/>
                <a:gd name="T9" fmla="*/ 64 h 64"/>
                <a:gd name="T10" fmla="*/ 32 w 64"/>
                <a:gd name="T11" fmla="*/ 12 h 64"/>
                <a:gd name="T12" fmla="*/ 12 w 64"/>
                <a:gd name="T13" fmla="*/ 32 h 64"/>
                <a:gd name="T14" fmla="*/ 32 w 64"/>
                <a:gd name="T15" fmla="*/ 52 h 64"/>
                <a:gd name="T16" fmla="*/ 52 w 64"/>
                <a:gd name="T17" fmla="*/ 32 h 64"/>
                <a:gd name="T18" fmla="*/ 32 w 64"/>
                <a:gd name="T19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32" y="64"/>
                  </a:moveTo>
                  <a:cubicBezTo>
                    <a:pt x="14" y="64"/>
                    <a:pt x="0" y="50"/>
                    <a:pt x="0" y="32"/>
                  </a:cubicBezTo>
                  <a:cubicBezTo>
                    <a:pt x="0" y="14"/>
                    <a:pt x="14" y="0"/>
                    <a:pt x="32" y="0"/>
                  </a:cubicBezTo>
                  <a:cubicBezTo>
                    <a:pt x="50" y="0"/>
                    <a:pt x="64" y="14"/>
                    <a:pt x="64" y="32"/>
                  </a:cubicBezTo>
                  <a:cubicBezTo>
                    <a:pt x="64" y="50"/>
                    <a:pt x="50" y="64"/>
                    <a:pt x="32" y="64"/>
                  </a:cubicBezTo>
                  <a:close/>
                  <a:moveTo>
                    <a:pt x="32" y="12"/>
                  </a:moveTo>
                  <a:cubicBezTo>
                    <a:pt x="21" y="12"/>
                    <a:pt x="12" y="21"/>
                    <a:pt x="12" y="32"/>
                  </a:cubicBezTo>
                  <a:cubicBezTo>
                    <a:pt x="12" y="43"/>
                    <a:pt x="21" y="52"/>
                    <a:pt x="32" y="52"/>
                  </a:cubicBezTo>
                  <a:cubicBezTo>
                    <a:pt x="43" y="52"/>
                    <a:pt x="52" y="43"/>
                    <a:pt x="52" y="32"/>
                  </a:cubicBezTo>
                  <a:cubicBezTo>
                    <a:pt x="52" y="21"/>
                    <a:pt x="43" y="12"/>
                    <a:pt x="3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19" name="Freeform 19">
              <a:extLst>
                <a:ext uri="{FF2B5EF4-FFF2-40B4-BE49-F238E27FC236}">
                  <a16:creationId xmlns:a16="http://schemas.microsoft.com/office/drawing/2014/main" id="{B77CD6C7-F76C-1E71-1A6B-952228C14DCA}"/>
                </a:ext>
              </a:extLst>
            </p:cNvPr>
            <p:cNvSpPr>
              <a:spLocks noEditPoints="1"/>
            </p:cNvSpPr>
            <p:nvPr/>
          </p:nvSpPr>
          <p:spPr bwMode="auto">
            <a:xfrm rot="2700000">
              <a:off x="6790966" y="5660018"/>
              <a:ext cx="112239" cy="178587"/>
            </a:xfrm>
            <a:custGeom>
              <a:avLst/>
              <a:gdLst>
                <a:gd name="T0" fmla="*/ 29 w 59"/>
                <a:gd name="T1" fmla="*/ 95 h 95"/>
                <a:gd name="T2" fmla="*/ 24 w 59"/>
                <a:gd name="T3" fmla="*/ 85 h 95"/>
                <a:gd name="T4" fmla="*/ 0 w 59"/>
                <a:gd name="T5" fmla="*/ 26 h 95"/>
                <a:gd name="T6" fmla="*/ 29 w 59"/>
                <a:gd name="T7" fmla="*/ 0 h 95"/>
                <a:gd name="T8" fmla="*/ 59 w 59"/>
                <a:gd name="T9" fmla="*/ 26 h 95"/>
                <a:gd name="T10" fmla="*/ 34 w 59"/>
                <a:gd name="T11" fmla="*/ 85 h 95"/>
                <a:gd name="T12" fmla="*/ 29 w 59"/>
                <a:gd name="T13" fmla="*/ 95 h 95"/>
                <a:gd name="T14" fmla="*/ 29 w 59"/>
                <a:gd name="T15" fmla="*/ 12 h 95"/>
                <a:gd name="T16" fmla="*/ 12 w 59"/>
                <a:gd name="T17" fmla="*/ 26 h 95"/>
                <a:gd name="T18" fmla="*/ 29 w 59"/>
                <a:gd name="T19" fmla="*/ 69 h 95"/>
                <a:gd name="T20" fmla="*/ 47 w 59"/>
                <a:gd name="T21" fmla="*/ 26 h 95"/>
                <a:gd name="T22" fmla="*/ 29 w 59"/>
                <a:gd name="T23" fmla="*/ 12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" h="95">
                  <a:moveTo>
                    <a:pt x="29" y="95"/>
                  </a:moveTo>
                  <a:cubicBezTo>
                    <a:pt x="24" y="85"/>
                    <a:pt x="24" y="85"/>
                    <a:pt x="24" y="85"/>
                  </a:cubicBezTo>
                  <a:cubicBezTo>
                    <a:pt x="20" y="77"/>
                    <a:pt x="0" y="38"/>
                    <a:pt x="0" y="26"/>
                  </a:cubicBezTo>
                  <a:cubicBezTo>
                    <a:pt x="0" y="12"/>
                    <a:pt x="13" y="0"/>
                    <a:pt x="29" y="0"/>
                  </a:cubicBezTo>
                  <a:cubicBezTo>
                    <a:pt x="45" y="0"/>
                    <a:pt x="59" y="12"/>
                    <a:pt x="59" y="26"/>
                  </a:cubicBezTo>
                  <a:cubicBezTo>
                    <a:pt x="59" y="38"/>
                    <a:pt x="39" y="77"/>
                    <a:pt x="34" y="85"/>
                  </a:cubicBezTo>
                  <a:lnTo>
                    <a:pt x="29" y="95"/>
                  </a:lnTo>
                  <a:close/>
                  <a:moveTo>
                    <a:pt x="29" y="12"/>
                  </a:moveTo>
                  <a:cubicBezTo>
                    <a:pt x="19" y="12"/>
                    <a:pt x="12" y="18"/>
                    <a:pt x="12" y="26"/>
                  </a:cubicBezTo>
                  <a:cubicBezTo>
                    <a:pt x="12" y="31"/>
                    <a:pt x="20" y="50"/>
                    <a:pt x="29" y="69"/>
                  </a:cubicBezTo>
                  <a:cubicBezTo>
                    <a:pt x="38" y="50"/>
                    <a:pt x="47" y="31"/>
                    <a:pt x="47" y="26"/>
                  </a:cubicBezTo>
                  <a:cubicBezTo>
                    <a:pt x="47" y="18"/>
                    <a:pt x="39" y="12"/>
                    <a:pt x="29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968C5404-9C15-4148-09F8-05ACB4D4E595}"/>
              </a:ext>
            </a:extLst>
          </p:cNvPr>
          <p:cNvGrpSpPr>
            <a:grpSpLocks noChangeAspect="1"/>
          </p:cNvGrpSpPr>
          <p:nvPr/>
        </p:nvGrpSpPr>
        <p:grpSpPr>
          <a:xfrm>
            <a:off x="5056971" y="4171001"/>
            <a:ext cx="384590" cy="613789"/>
            <a:chOff x="6513513" y="557213"/>
            <a:chExt cx="471488" cy="752475"/>
          </a:xfrm>
          <a:solidFill>
            <a:schemeClr val="bg1"/>
          </a:solidFill>
        </p:grpSpPr>
        <p:sp>
          <p:nvSpPr>
            <p:cNvPr id="21" name="Freeform 21">
              <a:extLst>
                <a:ext uri="{FF2B5EF4-FFF2-40B4-BE49-F238E27FC236}">
                  <a16:creationId xmlns:a16="http://schemas.microsoft.com/office/drawing/2014/main" id="{D077C8B3-EBED-1BE3-4D16-22B4FEF9C1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13513" y="557213"/>
              <a:ext cx="471488" cy="752475"/>
            </a:xfrm>
            <a:custGeom>
              <a:avLst/>
              <a:gdLst>
                <a:gd name="T0" fmla="*/ 80 w 160"/>
                <a:gd name="T1" fmla="*/ 0 h 256"/>
                <a:gd name="T2" fmla="*/ 11 w 160"/>
                <a:gd name="T3" fmla="*/ 120 h 256"/>
                <a:gd name="T4" fmla="*/ 42 w 160"/>
                <a:gd name="T5" fmla="*/ 179 h 256"/>
                <a:gd name="T6" fmla="*/ 49 w 160"/>
                <a:gd name="T7" fmla="*/ 187 h 256"/>
                <a:gd name="T8" fmla="*/ 48 w 160"/>
                <a:gd name="T9" fmla="*/ 208 h 256"/>
                <a:gd name="T10" fmla="*/ 52 w 160"/>
                <a:gd name="T11" fmla="*/ 231 h 256"/>
                <a:gd name="T12" fmla="*/ 108 w 160"/>
                <a:gd name="T13" fmla="*/ 231 h 256"/>
                <a:gd name="T14" fmla="*/ 112 w 160"/>
                <a:gd name="T15" fmla="*/ 208 h 256"/>
                <a:gd name="T16" fmla="*/ 110 w 160"/>
                <a:gd name="T17" fmla="*/ 187 h 256"/>
                <a:gd name="T18" fmla="*/ 118 w 160"/>
                <a:gd name="T19" fmla="*/ 179 h 256"/>
                <a:gd name="T20" fmla="*/ 149 w 160"/>
                <a:gd name="T21" fmla="*/ 120 h 256"/>
                <a:gd name="T22" fmla="*/ 80 w 160"/>
                <a:gd name="T23" fmla="*/ 248 h 256"/>
                <a:gd name="T24" fmla="*/ 99 w 160"/>
                <a:gd name="T25" fmla="*/ 232 h 256"/>
                <a:gd name="T26" fmla="*/ 108 w 160"/>
                <a:gd name="T27" fmla="*/ 218 h 256"/>
                <a:gd name="T28" fmla="*/ 58 w 160"/>
                <a:gd name="T29" fmla="*/ 224 h 256"/>
                <a:gd name="T30" fmla="*/ 58 w 160"/>
                <a:gd name="T31" fmla="*/ 212 h 256"/>
                <a:gd name="T32" fmla="*/ 108 w 160"/>
                <a:gd name="T33" fmla="*/ 218 h 256"/>
                <a:gd name="T34" fmla="*/ 108 w 160"/>
                <a:gd name="T35" fmla="*/ 198 h 256"/>
                <a:gd name="T36" fmla="*/ 58 w 160"/>
                <a:gd name="T37" fmla="*/ 204 h 256"/>
                <a:gd name="T38" fmla="*/ 58 w 160"/>
                <a:gd name="T39" fmla="*/ 192 h 256"/>
                <a:gd name="T40" fmla="*/ 96 w 160"/>
                <a:gd name="T41" fmla="*/ 192 h 256"/>
                <a:gd name="T42" fmla="*/ 135 w 160"/>
                <a:gd name="T43" fmla="*/ 112 h 256"/>
                <a:gd name="T44" fmla="*/ 104 w 160"/>
                <a:gd name="T45" fmla="*/ 170 h 256"/>
                <a:gd name="T46" fmla="*/ 96 w 160"/>
                <a:gd name="T47" fmla="*/ 176 h 256"/>
                <a:gd name="T48" fmla="*/ 96 w 160"/>
                <a:gd name="T49" fmla="*/ 124 h 256"/>
                <a:gd name="T50" fmla="*/ 88 w 160"/>
                <a:gd name="T51" fmla="*/ 176 h 256"/>
                <a:gd name="T52" fmla="*/ 68 w 160"/>
                <a:gd name="T53" fmla="*/ 128 h 256"/>
                <a:gd name="T54" fmla="*/ 60 w 160"/>
                <a:gd name="T55" fmla="*/ 129 h 256"/>
                <a:gd name="T56" fmla="*/ 57 w 160"/>
                <a:gd name="T57" fmla="*/ 172 h 256"/>
                <a:gd name="T58" fmla="*/ 26 w 160"/>
                <a:gd name="T59" fmla="*/ 114 h 256"/>
                <a:gd name="T60" fmla="*/ 16 w 160"/>
                <a:gd name="T61" fmla="*/ 80 h 256"/>
                <a:gd name="T62" fmla="*/ 144 w 160"/>
                <a:gd name="T63" fmla="*/ 80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0" h="256">
                  <a:moveTo>
                    <a:pt x="160" y="80"/>
                  </a:moveTo>
                  <a:cubicBezTo>
                    <a:pt x="160" y="36"/>
                    <a:pt x="124" y="0"/>
                    <a:pt x="80" y="0"/>
                  </a:cubicBezTo>
                  <a:cubicBezTo>
                    <a:pt x="36" y="0"/>
                    <a:pt x="0" y="36"/>
                    <a:pt x="0" y="80"/>
                  </a:cubicBezTo>
                  <a:cubicBezTo>
                    <a:pt x="0" y="95"/>
                    <a:pt x="4" y="109"/>
                    <a:pt x="11" y="120"/>
                  </a:cubicBezTo>
                  <a:cubicBezTo>
                    <a:pt x="11" y="120"/>
                    <a:pt x="11" y="120"/>
                    <a:pt x="11" y="120"/>
                  </a:cubicBezTo>
                  <a:cubicBezTo>
                    <a:pt x="42" y="179"/>
                    <a:pt x="42" y="179"/>
                    <a:pt x="42" y="179"/>
                  </a:cubicBezTo>
                  <a:cubicBezTo>
                    <a:pt x="42" y="179"/>
                    <a:pt x="42" y="179"/>
                    <a:pt x="42" y="179"/>
                  </a:cubicBezTo>
                  <a:cubicBezTo>
                    <a:pt x="44" y="182"/>
                    <a:pt x="46" y="185"/>
                    <a:pt x="49" y="187"/>
                  </a:cubicBezTo>
                  <a:cubicBezTo>
                    <a:pt x="46" y="190"/>
                    <a:pt x="44" y="194"/>
                    <a:pt x="44" y="198"/>
                  </a:cubicBezTo>
                  <a:cubicBezTo>
                    <a:pt x="44" y="202"/>
                    <a:pt x="46" y="206"/>
                    <a:pt x="48" y="208"/>
                  </a:cubicBezTo>
                  <a:cubicBezTo>
                    <a:pt x="46" y="211"/>
                    <a:pt x="44" y="214"/>
                    <a:pt x="44" y="218"/>
                  </a:cubicBezTo>
                  <a:cubicBezTo>
                    <a:pt x="44" y="224"/>
                    <a:pt x="47" y="229"/>
                    <a:pt x="52" y="231"/>
                  </a:cubicBezTo>
                  <a:cubicBezTo>
                    <a:pt x="53" y="245"/>
                    <a:pt x="65" y="256"/>
                    <a:pt x="80" y="256"/>
                  </a:cubicBezTo>
                  <a:cubicBezTo>
                    <a:pt x="94" y="256"/>
                    <a:pt x="106" y="245"/>
                    <a:pt x="108" y="231"/>
                  </a:cubicBezTo>
                  <a:cubicBezTo>
                    <a:pt x="112" y="229"/>
                    <a:pt x="116" y="224"/>
                    <a:pt x="116" y="218"/>
                  </a:cubicBezTo>
                  <a:cubicBezTo>
                    <a:pt x="116" y="214"/>
                    <a:pt x="114" y="211"/>
                    <a:pt x="112" y="208"/>
                  </a:cubicBezTo>
                  <a:cubicBezTo>
                    <a:pt x="114" y="206"/>
                    <a:pt x="116" y="202"/>
                    <a:pt x="116" y="198"/>
                  </a:cubicBezTo>
                  <a:cubicBezTo>
                    <a:pt x="116" y="194"/>
                    <a:pt x="114" y="190"/>
                    <a:pt x="110" y="187"/>
                  </a:cubicBezTo>
                  <a:cubicBezTo>
                    <a:pt x="113" y="185"/>
                    <a:pt x="116" y="182"/>
                    <a:pt x="118" y="179"/>
                  </a:cubicBezTo>
                  <a:cubicBezTo>
                    <a:pt x="118" y="179"/>
                    <a:pt x="118" y="179"/>
                    <a:pt x="118" y="179"/>
                  </a:cubicBezTo>
                  <a:cubicBezTo>
                    <a:pt x="149" y="120"/>
                    <a:pt x="149" y="120"/>
                    <a:pt x="149" y="120"/>
                  </a:cubicBezTo>
                  <a:cubicBezTo>
                    <a:pt x="149" y="120"/>
                    <a:pt x="149" y="120"/>
                    <a:pt x="149" y="120"/>
                  </a:cubicBezTo>
                  <a:cubicBezTo>
                    <a:pt x="156" y="109"/>
                    <a:pt x="160" y="95"/>
                    <a:pt x="160" y="80"/>
                  </a:cubicBezTo>
                  <a:close/>
                  <a:moveTo>
                    <a:pt x="80" y="248"/>
                  </a:moveTo>
                  <a:cubicBezTo>
                    <a:pt x="70" y="248"/>
                    <a:pt x="62" y="241"/>
                    <a:pt x="60" y="232"/>
                  </a:cubicBezTo>
                  <a:cubicBezTo>
                    <a:pt x="99" y="232"/>
                    <a:pt x="99" y="232"/>
                    <a:pt x="99" y="232"/>
                  </a:cubicBezTo>
                  <a:cubicBezTo>
                    <a:pt x="97" y="241"/>
                    <a:pt x="89" y="248"/>
                    <a:pt x="80" y="248"/>
                  </a:cubicBezTo>
                  <a:close/>
                  <a:moveTo>
                    <a:pt x="108" y="218"/>
                  </a:moveTo>
                  <a:cubicBezTo>
                    <a:pt x="108" y="222"/>
                    <a:pt x="105" y="224"/>
                    <a:pt x="102" y="224"/>
                  </a:cubicBezTo>
                  <a:cubicBezTo>
                    <a:pt x="58" y="224"/>
                    <a:pt x="58" y="224"/>
                    <a:pt x="58" y="224"/>
                  </a:cubicBezTo>
                  <a:cubicBezTo>
                    <a:pt x="55" y="224"/>
                    <a:pt x="52" y="222"/>
                    <a:pt x="52" y="218"/>
                  </a:cubicBezTo>
                  <a:cubicBezTo>
                    <a:pt x="52" y="215"/>
                    <a:pt x="55" y="212"/>
                    <a:pt x="58" y="212"/>
                  </a:cubicBezTo>
                  <a:cubicBezTo>
                    <a:pt x="102" y="212"/>
                    <a:pt x="102" y="212"/>
                    <a:pt x="102" y="212"/>
                  </a:cubicBezTo>
                  <a:cubicBezTo>
                    <a:pt x="105" y="212"/>
                    <a:pt x="108" y="215"/>
                    <a:pt x="108" y="218"/>
                  </a:cubicBezTo>
                  <a:close/>
                  <a:moveTo>
                    <a:pt x="102" y="192"/>
                  </a:moveTo>
                  <a:cubicBezTo>
                    <a:pt x="105" y="192"/>
                    <a:pt x="108" y="195"/>
                    <a:pt x="108" y="198"/>
                  </a:cubicBezTo>
                  <a:cubicBezTo>
                    <a:pt x="108" y="202"/>
                    <a:pt x="105" y="204"/>
                    <a:pt x="102" y="204"/>
                  </a:cubicBezTo>
                  <a:cubicBezTo>
                    <a:pt x="58" y="204"/>
                    <a:pt x="58" y="204"/>
                    <a:pt x="58" y="204"/>
                  </a:cubicBezTo>
                  <a:cubicBezTo>
                    <a:pt x="55" y="204"/>
                    <a:pt x="52" y="202"/>
                    <a:pt x="52" y="198"/>
                  </a:cubicBezTo>
                  <a:cubicBezTo>
                    <a:pt x="52" y="195"/>
                    <a:pt x="55" y="192"/>
                    <a:pt x="58" y="192"/>
                  </a:cubicBezTo>
                  <a:cubicBezTo>
                    <a:pt x="64" y="192"/>
                    <a:pt x="64" y="192"/>
                    <a:pt x="64" y="192"/>
                  </a:cubicBezTo>
                  <a:cubicBezTo>
                    <a:pt x="96" y="192"/>
                    <a:pt x="96" y="192"/>
                    <a:pt x="96" y="192"/>
                  </a:cubicBezTo>
                  <a:lnTo>
                    <a:pt x="102" y="192"/>
                  </a:lnTo>
                  <a:close/>
                  <a:moveTo>
                    <a:pt x="135" y="112"/>
                  </a:moveTo>
                  <a:cubicBezTo>
                    <a:pt x="135" y="113"/>
                    <a:pt x="135" y="114"/>
                    <a:pt x="134" y="114"/>
                  </a:cubicBezTo>
                  <a:cubicBezTo>
                    <a:pt x="104" y="170"/>
                    <a:pt x="104" y="170"/>
                    <a:pt x="104" y="170"/>
                  </a:cubicBezTo>
                  <a:cubicBezTo>
                    <a:pt x="104" y="170"/>
                    <a:pt x="103" y="171"/>
                    <a:pt x="103" y="172"/>
                  </a:cubicBezTo>
                  <a:cubicBezTo>
                    <a:pt x="102" y="174"/>
                    <a:pt x="100" y="176"/>
                    <a:pt x="96" y="176"/>
                  </a:cubicBezTo>
                  <a:cubicBezTo>
                    <a:pt x="100" y="129"/>
                    <a:pt x="100" y="129"/>
                    <a:pt x="100" y="129"/>
                  </a:cubicBezTo>
                  <a:cubicBezTo>
                    <a:pt x="100" y="126"/>
                    <a:pt x="98" y="124"/>
                    <a:pt x="96" y="124"/>
                  </a:cubicBezTo>
                  <a:cubicBezTo>
                    <a:pt x="94" y="124"/>
                    <a:pt x="92" y="126"/>
                    <a:pt x="92" y="128"/>
                  </a:cubicBezTo>
                  <a:cubicBezTo>
                    <a:pt x="88" y="176"/>
                    <a:pt x="88" y="176"/>
                    <a:pt x="88" y="176"/>
                  </a:cubicBezTo>
                  <a:cubicBezTo>
                    <a:pt x="72" y="176"/>
                    <a:pt x="72" y="176"/>
                    <a:pt x="72" y="176"/>
                  </a:cubicBezTo>
                  <a:cubicBezTo>
                    <a:pt x="68" y="128"/>
                    <a:pt x="68" y="128"/>
                    <a:pt x="68" y="128"/>
                  </a:cubicBezTo>
                  <a:cubicBezTo>
                    <a:pt x="68" y="126"/>
                    <a:pt x="66" y="124"/>
                    <a:pt x="64" y="124"/>
                  </a:cubicBezTo>
                  <a:cubicBezTo>
                    <a:pt x="61" y="124"/>
                    <a:pt x="60" y="126"/>
                    <a:pt x="60" y="129"/>
                  </a:cubicBezTo>
                  <a:cubicBezTo>
                    <a:pt x="64" y="176"/>
                    <a:pt x="64" y="176"/>
                    <a:pt x="64" y="176"/>
                  </a:cubicBezTo>
                  <a:cubicBezTo>
                    <a:pt x="60" y="176"/>
                    <a:pt x="58" y="174"/>
                    <a:pt x="57" y="172"/>
                  </a:cubicBezTo>
                  <a:cubicBezTo>
                    <a:pt x="56" y="171"/>
                    <a:pt x="56" y="171"/>
                    <a:pt x="56" y="170"/>
                  </a:cubicBezTo>
                  <a:cubicBezTo>
                    <a:pt x="26" y="114"/>
                    <a:pt x="26" y="114"/>
                    <a:pt x="26" y="114"/>
                  </a:cubicBezTo>
                  <a:cubicBezTo>
                    <a:pt x="25" y="114"/>
                    <a:pt x="25" y="113"/>
                    <a:pt x="25" y="112"/>
                  </a:cubicBezTo>
                  <a:cubicBezTo>
                    <a:pt x="19" y="103"/>
                    <a:pt x="16" y="91"/>
                    <a:pt x="16" y="80"/>
                  </a:cubicBezTo>
                  <a:cubicBezTo>
                    <a:pt x="16" y="45"/>
                    <a:pt x="45" y="16"/>
                    <a:pt x="80" y="16"/>
                  </a:cubicBezTo>
                  <a:cubicBezTo>
                    <a:pt x="115" y="16"/>
                    <a:pt x="144" y="45"/>
                    <a:pt x="144" y="80"/>
                  </a:cubicBezTo>
                  <a:cubicBezTo>
                    <a:pt x="144" y="91"/>
                    <a:pt x="141" y="103"/>
                    <a:pt x="135" y="1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840"/>
            </a:p>
          </p:txBody>
        </p:sp>
        <p:sp>
          <p:nvSpPr>
            <p:cNvPr id="22" name="Freeform 22">
              <a:extLst>
                <a:ext uri="{FF2B5EF4-FFF2-40B4-BE49-F238E27FC236}">
                  <a16:creationId xmlns:a16="http://schemas.microsoft.com/office/drawing/2014/main" id="{2497C3E3-59F1-6371-5687-C31B7BABBA0B}"/>
                </a:ext>
              </a:extLst>
            </p:cNvPr>
            <p:cNvSpPr>
              <a:spLocks/>
            </p:cNvSpPr>
            <p:nvPr/>
          </p:nvSpPr>
          <p:spPr bwMode="auto">
            <a:xfrm>
              <a:off x="6608763" y="642938"/>
              <a:ext cx="120650" cy="103188"/>
            </a:xfrm>
            <a:custGeom>
              <a:avLst/>
              <a:gdLst>
                <a:gd name="T0" fmla="*/ 35 w 41"/>
                <a:gd name="T1" fmla="*/ 1 h 35"/>
                <a:gd name="T2" fmla="*/ 1 w 41"/>
                <a:gd name="T3" fmla="*/ 29 h 35"/>
                <a:gd name="T4" fmla="*/ 3 w 41"/>
                <a:gd name="T5" fmla="*/ 35 h 35"/>
                <a:gd name="T6" fmla="*/ 4 w 41"/>
                <a:gd name="T7" fmla="*/ 35 h 35"/>
                <a:gd name="T8" fmla="*/ 8 w 41"/>
                <a:gd name="T9" fmla="*/ 33 h 35"/>
                <a:gd name="T10" fmla="*/ 37 w 41"/>
                <a:gd name="T11" fmla="*/ 9 h 35"/>
                <a:gd name="T12" fmla="*/ 40 w 41"/>
                <a:gd name="T13" fmla="*/ 4 h 35"/>
                <a:gd name="T14" fmla="*/ 35 w 41"/>
                <a:gd name="T15" fmla="*/ 1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" h="35">
                  <a:moveTo>
                    <a:pt x="35" y="1"/>
                  </a:moveTo>
                  <a:cubicBezTo>
                    <a:pt x="20" y="5"/>
                    <a:pt x="7" y="15"/>
                    <a:pt x="1" y="29"/>
                  </a:cubicBezTo>
                  <a:cubicBezTo>
                    <a:pt x="0" y="31"/>
                    <a:pt x="1" y="34"/>
                    <a:pt x="3" y="35"/>
                  </a:cubicBezTo>
                  <a:cubicBezTo>
                    <a:pt x="3" y="35"/>
                    <a:pt x="4" y="35"/>
                    <a:pt x="4" y="35"/>
                  </a:cubicBezTo>
                  <a:cubicBezTo>
                    <a:pt x="6" y="35"/>
                    <a:pt x="7" y="34"/>
                    <a:pt x="8" y="33"/>
                  </a:cubicBezTo>
                  <a:cubicBezTo>
                    <a:pt x="14" y="21"/>
                    <a:pt x="24" y="12"/>
                    <a:pt x="37" y="9"/>
                  </a:cubicBezTo>
                  <a:cubicBezTo>
                    <a:pt x="39" y="8"/>
                    <a:pt x="41" y="6"/>
                    <a:pt x="40" y="4"/>
                  </a:cubicBezTo>
                  <a:cubicBezTo>
                    <a:pt x="40" y="2"/>
                    <a:pt x="37" y="0"/>
                    <a:pt x="3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840"/>
            </a:p>
          </p:txBody>
        </p:sp>
      </p:grpSp>
      <p:sp>
        <p:nvSpPr>
          <p:cNvPr id="23" name="Freeform 23">
            <a:extLst>
              <a:ext uri="{FF2B5EF4-FFF2-40B4-BE49-F238E27FC236}">
                <a16:creationId xmlns:a16="http://schemas.microsoft.com/office/drawing/2014/main" id="{4625C0FA-1151-A2E5-3E4B-E57EFB345F14}"/>
              </a:ext>
            </a:extLst>
          </p:cNvPr>
          <p:cNvSpPr>
            <a:spLocks noEditPoints="1"/>
          </p:cNvSpPr>
          <p:nvPr/>
        </p:nvSpPr>
        <p:spPr bwMode="auto">
          <a:xfrm>
            <a:off x="6508318" y="2385432"/>
            <a:ext cx="539301" cy="477603"/>
          </a:xfrm>
          <a:custGeom>
            <a:avLst/>
            <a:gdLst>
              <a:gd name="T0" fmla="*/ 232 w 256"/>
              <a:gd name="T1" fmla="*/ 84 h 227"/>
              <a:gd name="T2" fmla="*/ 172 w 256"/>
              <a:gd name="T3" fmla="*/ 44 h 227"/>
              <a:gd name="T4" fmla="*/ 120 w 256"/>
              <a:gd name="T5" fmla="*/ 48 h 227"/>
              <a:gd name="T6" fmla="*/ 64 w 256"/>
              <a:gd name="T7" fmla="*/ 107 h 227"/>
              <a:gd name="T8" fmla="*/ 0 w 256"/>
              <a:gd name="T9" fmla="*/ 131 h 227"/>
              <a:gd name="T10" fmla="*/ 32 w 256"/>
              <a:gd name="T11" fmla="*/ 227 h 227"/>
              <a:gd name="T12" fmla="*/ 87 w 256"/>
              <a:gd name="T13" fmla="*/ 212 h 227"/>
              <a:gd name="T14" fmla="*/ 103 w 256"/>
              <a:gd name="T15" fmla="*/ 219 h 227"/>
              <a:gd name="T16" fmla="*/ 232 w 256"/>
              <a:gd name="T17" fmla="*/ 197 h 227"/>
              <a:gd name="T18" fmla="*/ 240 w 256"/>
              <a:gd name="T19" fmla="*/ 169 h 227"/>
              <a:gd name="T20" fmla="*/ 248 w 256"/>
              <a:gd name="T21" fmla="*/ 140 h 227"/>
              <a:gd name="T22" fmla="*/ 256 w 256"/>
              <a:gd name="T23" fmla="*/ 108 h 227"/>
              <a:gd name="T24" fmla="*/ 32 w 256"/>
              <a:gd name="T25" fmla="*/ 211 h 227"/>
              <a:gd name="T26" fmla="*/ 16 w 256"/>
              <a:gd name="T27" fmla="*/ 131 h 227"/>
              <a:gd name="T28" fmla="*/ 64 w 256"/>
              <a:gd name="T29" fmla="*/ 123 h 227"/>
              <a:gd name="T30" fmla="*/ 72 w 256"/>
              <a:gd name="T31" fmla="*/ 198 h 227"/>
              <a:gd name="T32" fmla="*/ 72 w 256"/>
              <a:gd name="T33" fmla="*/ 203 h 227"/>
              <a:gd name="T34" fmla="*/ 210 w 256"/>
              <a:gd name="T35" fmla="*/ 203 h 227"/>
              <a:gd name="T36" fmla="*/ 88 w 256"/>
              <a:gd name="T37" fmla="*/ 194 h 227"/>
              <a:gd name="T38" fmla="*/ 86 w 256"/>
              <a:gd name="T39" fmla="*/ 121 h 227"/>
              <a:gd name="T40" fmla="*/ 140 w 256"/>
              <a:gd name="T41" fmla="*/ 16 h 227"/>
              <a:gd name="T42" fmla="*/ 152 w 256"/>
              <a:gd name="T43" fmla="*/ 90 h 227"/>
              <a:gd name="T44" fmla="*/ 160 w 256"/>
              <a:gd name="T45" fmla="*/ 100 h 227"/>
              <a:gd name="T46" fmla="*/ 240 w 256"/>
              <a:gd name="T47" fmla="*/ 108 h 227"/>
              <a:gd name="T48" fmla="*/ 223 w 256"/>
              <a:gd name="T49" fmla="*/ 116 h 227"/>
              <a:gd name="T50" fmla="*/ 223 w 256"/>
              <a:gd name="T51" fmla="*/ 132 h 227"/>
              <a:gd name="T52" fmla="*/ 224 w 256"/>
              <a:gd name="T53" fmla="*/ 132 h 227"/>
              <a:gd name="T54" fmla="*/ 224 w 256"/>
              <a:gd name="T55" fmla="*/ 148 h 227"/>
              <a:gd name="T56" fmla="*/ 218 w 256"/>
              <a:gd name="T57" fmla="*/ 147 h 227"/>
              <a:gd name="T58" fmla="*/ 215 w 256"/>
              <a:gd name="T59" fmla="*/ 148 h 227"/>
              <a:gd name="T60" fmla="*/ 215 w 256"/>
              <a:gd name="T61" fmla="*/ 164 h 227"/>
              <a:gd name="T62" fmla="*/ 224 w 256"/>
              <a:gd name="T63" fmla="*/ 169 h 227"/>
              <a:gd name="T64" fmla="*/ 210 w 256"/>
              <a:gd name="T65" fmla="*/ 175 h 227"/>
              <a:gd name="T66" fmla="*/ 210 w 256"/>
              <a:gd name="T67" fmla="*/ 175 h 227"/>
              <a:gd name="T68" fmla="*/ 210 w 256"/>
              <a:gd name="T69" fmla="*/ 191 h 227"/>
              <a:gd name="T70" fmla="*/ 210 w 256"/>
              <a:gd name="T71" fmla="*/ 203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56" h="227">
                <a:moveTo>
                  <a:pt x="256" y="108"/>
                </a:moveTo>
                <a:cubicBezTo>
                  <a:pt x="256" y="94"/>
                  <a:pt x="245" y="84"/>
                  <a:pt x="232" y="84"/>
                </a:cubicBezTo>
                <a:cubicBezTo>
                  <a:pt x="169" y="84"/>
                  <a:pt x="169" y="84"/>
                  <a:pt x="169" y="84"/>
                </a:cubicBezTo>
                <a:cubicBezTo>
                  <a:pt x="171" y="74"/>
                  <a:pt x="172" y="59"/>
                  <a:pt x="172" y="44"/>
                </a:cubicBezTo>
                <a:cubicBezTo>
                  <a:pt x="172" y="13"/>
                  <a:pt x="156" y="0"/>
                  <a:pt x="140" y="0"/>
                </a:cubicBezTo>
                <a:cubicBezTo>
                  <a:pt x="120" y="0"/>
                  <a:pt x="120" y="21"/>
                  <a:pt x="120" y="48"/>
                </a:cubicBezTo>
                <a:cubicBezTo>
                  <a:pt x="120" y="67"/>
                  <a:pt x="90" y="97"/>
                  <a:pt x="75" y="110"/>
                </a:cubicBezTo>
                <a:cubicBezTo>
                  <a:pt x="71" y="108"/>
                  <a:pt x="68" y="107"/>
                  <a:pt x="64" y="107"/>
                </a:cubicBezTo>
                <a:cubicBezTo>
                  <a:pt x="24" y="107"/>
                  <a:pt x="24" y="107"/>
                  <a:pt x="24" y="107"/>
                </a:cubicBezTo>
                <a:cubicBezTo>
                  <a:pt x="11" y="107"/>
                  <a:pt x="0" y="118"/>
                  <a:pt x="0" y="131"/>
                </a:cubicBezTo>
                <a:cubicBezTo>
                  <a:pt x="8" y="203"/>
                  <a:pt x="8" y="203"/>
                  <a:pt x="8" y="203"/>
                </a:cubicBezTo>
                <a:cubicBezTo>
                  <a:pt x="10" y="216"/>
                  <a:pt x="19" y="227"/>
                  <a:pt x="32" y="227"/>
                </a:cubicBezTo>
                <a:cubicBezTo>
                  <a:pt x="64" y="227"/>
                  <a:pt x="64" y="227"/>
                  <a:pt x="64" y="227"/>
                </a:cubicBezTo>
                <a:cubicBezTo>
                  <a:pt x="74" y="227"/>
                  <a:pt x="83" y="221"/>
                  <a:pt x="87" y="212"/>
                </a:cubicBezTo>
                <a:cubicBezTo>
                  <a:pt x="100" y="219"/>
                  <a:pt x="100" y="219"/>
                  <a:pt x="100" y="219"/>
                </a:cubicBezTo>
                <a:cubicBezTo>
                  <a:pt x="101" y="219"/>
                  <a:pt x="102" y="219"/>
                  <a:pt x="103" y="219"/>
                </a:cubicBezTo>
                <a:cubicBezTo>
                  <a:pt x="210" y="219"/>
                  <a:pt x="210" y="219"/>
                  <a:pt x="210" y="219"/>
                </a:cubicBezTo>
                <a:cubicBezTo>
                  <a:pt x="222" y="219"/>
                  <a:pt x="232" y="210"/>
                  <a:pt x="232" y="197"/>
                </a:cubicBezTo>
                <a:cubicBezTo>
                  <a:pt x="232" y="194"/>
                  <a:pt x="231" y="191"/>
                  <a:pt x="230" y="188"/>
                </a:cubicBezTo>
                <a:cubicBezTo>
                  <a:pt x="236" y="184"/>
                  <a:pt x="240" y="177"/>
                  <a:pt x="240" y="169"/>
                </a:cubicBezTo>
                <a:cubicBezTo>
                  <a:pt x="240" y="166"/>
                  <a:pt x="239" y="162"/>
                  <a:pt x="238" y="159"/>
                </a:cubicBezTo>
                <a:cubicBezTo>
                  <a:pt x="244" y="155"/>
                  <a:pt x="248" y="148"/>
                  <a:pt x="248" y="140"/>
                </a:cubicBezTo>
                <a:cubicBezTo>
                  <a:pt x="248" y="135"/>
                  <a:pt x="247" y="131"/>
                  <a:pt x="245" y="128"/>
                </a:cubicBezTo>
                <a:cubicBezTo>
                  <a:pt x="252" y="123"/>
                  <a:pt x="256" y="116"/>
                  <a:pt x="256" y="108"/>
                </a:cubicBezTo>
                <a:close/>
                <a:moveTo>
                  <a:pt x="64" y="211"/>
                </a:moveTo>
                <a:cubicBezTo>
                  <a:pt x="32" y="211"/>
                  <a:pt x="32" y="211"/>
                  <a:pt x="32" y="211"/>
                </a:cubicBezTo>
                <a:cubicBezTo>
                  <a:pt x="28" y="211"/>
                  <a:pt x="25" y="206"/>
                  <a:pt x="24" y="202"/>
                </a:cubicBezTo>
                <a:cubicBezTo>
                  <a:pt x="16" y="131"/>
                  <a:pt x="16" y="131"/>
                  <a:pt x="16" y="131"/>
                </a:cubicBezTo>
                <a:cubicBezTo>
                  <a:pt x="17" y="127"/>
                  <a:pt x="20" y="123"/>
                  <a:pt x="24" y="123"/>
                </a:cubicBezTo>
                <a:cubicBezTo>
                  <a:pt x="64" y="123"/>
                  <a:pt x="64" y="123"/>
                  <a:pt x="64" y="123"/>
                </a:cubicBezTo>
                <a:cubicBezTo>
                  <a:pt x="69" y="123"/>
                  <a:pt x="72" y="127"/>
                  <a:pt x="72" y="131"/>
                </a:cubicBezTo>
                <a:cubicBezTo>
                  <a:pt x="72" y="198"/>
                  <a:pt x="72" y="198"/>
                  <a:pt x="72" y="198"/>
                </a:cubicBezTo>
                <a:cubicBezTo>
                  <a:pt x="72" y="199"/>
                  <a:pt x="72" y="200"/>
                  <a:pt x="72" y="201"/>
                </a:cubicBezTo>
                <a:cubicBezTo>
                  <a:pt x="72" y="203"/>
                  <a:pt x="72" y="203"/>
                  <a:pt x="72" y="203"/>
                </a:cubicBezTo>
                <a:cubicBezTo>
                  <a:pt x="72" y="208"/>
                  <a:pt x="69" y="211"/>
                  <a:pt x="64" y="211"/>
                </a:cubicBezTo>
                <a:close/>
                <a:moveTo>
                  <a:pt x="210" y="203"/>
                </a:moveTo>
                <a:cubicBezTo>
                  <a:pt x="105" y="203"/>
                  <a:pt x="105" y="203"/>
                  <a:pt x="105" y="203"/>
                </a:cubicBezTo>
                <a:cubicBezTo>
                  <a:pt x="88" y="194"/>
                  <a:pt x="88" y="194"/>
                  <a:pt x="88" y="194"/>
                </a:cubicBezTo>
                <a:cubicBezTo>
                  <a:pt x="88" y="131"/>
                  <a:pt x="88" y="131"/>
                  <a:pt x="88" y="131"/>
                </a:cubicBezTo>
                <a:cubicBezTo>
                  <a:pt x="88" y="128"/>
                  <a:pt x="87" y="124"/>
                  <a:pt x="86" y="121"/>
                </a:cubicBezTo>
                <a:cubicBezTo>
                  <a:pt x="100" y="109"/>
                  <a:pt x="136" y="75"/>
                  <a:pt x="136" y="48"/>
                </a:cubicBezTo>
                <a:cubicBezTo>
                  <a:pt x="136" y="31"/>
                  <a:pt x="136" y="16"/>
                  <a:pt x="140" y="16"/>
                </a:cubicBezTo>
                <a:cubicBezTo>
                  <a:pt x="148" y="16"/>
                  <a:pt x="156" y="25"/>
                  <a:pt x="156" y="44"/>
                </a:cubicBezTo>
                <a:cubicBezTo>
                  <a:pt x="156" y="67"/>
                  <a:pt x="152" y="90"/>
                  <a:pt x="152" y="90"/>
                </a:cubicBezTo>
                <a:cubicBezTo>
                  <a:pt x="152" y="93"/>
                  <a:pt x="153" y="95"/>
                  <a:pt x="154" y="97"/>
                </a:cubicBezTo>
                <a:cubicBezTo>
                  <a:pt x="156" y="98"/>
                  <a:pt x="158" y="100"/>
                  <a:pt x="160" y="100"/>
                </a:cubicBezTo>
                <a:cubicBezTo>
                  <a:pt x="232" y="100"/>
                  <a:pt x="232" y="100"/>
                  <a:pt x="232" y="100"/>
                </a:cubicBezTo>
                <a:cubicBezTo>
                  <a:pt x="237" y="100"/>
                  <a:pt x="240" y="103"/>
                  <a:pt x="240" y="108"/>
                </a:cubicBezTo>
                <a:cubicBezTo>
                  <a:pt x="240" y="112"/>
                  <a:pt x="237" y="116"/>
                  <a:pt x="232" y="116"/>
                </a:cubicBezTo>
                <a:cubicBezTo>
                  <a:pt x="223" y="116"/>
                  <a:pt x="223" y="116"/>
                  <a:pt x="223" y="116"/>
                </a:cubicBezTo>
                <a:cubicBezTo>
                  <a:pt x="219" y="116"/>
                  <a:pt x="215" y="119"/>
                  <a:pt x="215" y="124"/>
                </a:cubicBezTo>
                <a:cubicBezTo>
                  <a:pt x="215" y="128"/>
                  <a:pt x="219" y="132"/>
                  <a:pt x="223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9" y="132"/>
                  <a:pt x="232" y="135"/>
                  <a:pt x="232" y="140"/>
                </a:cubicBezTo>
                <a:cubicBezTo>
                  <a:pt x="232" y="144"/>
                  <a:pt x="229" y="148"/>
                  <a:pt x="224" y="148"/>
                </a:cubicBezTo>
                <a:cubicBezTo>
                  <a:pt x="219" y="148"/>
                  <a:pt x="219" y="148"/>
                  <a:pt x="219" y="148"/>
                </a:cubicBezTo>
                <a:cubicBezTo>
                  <a:pt x="219" y="148"/>
                  <a:pt x="218" y="147"/>
                  <a:pt x="218" y="147"/>
                </a:cubicBezTo>
                <a:cubicBezTo>
                  <a:pt x="218" y="147"/>
                  <a:pt x="218" y="148"/>
                  <a:pt x="218" y="148"/>
                </a:cubicBezTo>
                <a:cubicBezTo>
                  <a:pt x="215" y="148"/>
                  <a:pt x="215" y="148"/>
                  <a:pt x="215" y="148"/>
                </a:cubicBezTo>
                <a:cubicBezTo>
                  <a:pt x="211" y="148"/>
                  <a:pt x="207" y="151"/>
                  <a:pt x="207" y="156"/>
                </a:cubicBezTo>
                <a:cubicBezTo>
                  <a:pt x="207" y="160"/>
                  <a:pt x="211" y="164"/>
                  <a:pt x="215" y="164"/>
                </a:cubicBezTo>
                <a:cubicBezTo>
                  <a:pt x="218" y="164"/>
                  <a:pt x="218" y="164"/>
                  <a:pt x="218" y="164"/>
                </a:cubicBezTo>
                <a:cubicBezTo>
                  <a:pt x="222" y="164"/>
                  <a:pt x="224" y="166"/>
                  <a:pt x="224" y="169"/>
                </a:cubicBezTo>
                <a:cubicBezTo>
                  <a:pt x="224" y="173"/>
                  <a:pt x="221" y="175"/>
                  <a:pt x="218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06" y="175"/>
                  <a:pt x="202" y="179"/>
                  <a:pt x="202" y="183"/>
                </a:cubicBezTo>
                <a:cubicBezTo>
                  <a:pt x="202" y="188"/>
                  <a:pt x="206" y="191"/>
                  <a:pt x="210" y="191"/>
                </a:cubicBezTo>
                <a:cubicBezTo>
                  <a:pt x="213" y="191"/>
                  <a:pt x="216" y="194"/>
                  <a:pt x="216" y="197"/>
                </a:cubicBezTo>
                <a:cubicBezTo>
                  <a:pt x="216" y="201"/>
                  <a:pt x="213" y="203"/>
                  <a:pt x="210" y="20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US" sz="840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AF6B4B7B-5358-8CE6-3252-17DABBBB09A3}"/>
              </a:ext>
            </a:extLst>
          </p:cNvPr>
          <p:cNvGrpSpPr>
            <a:grpSpLocks noChangeAspect="1"/>
          </p:cNvGrpSpPr>
          <p:nvPr/>
        </p:nvGrpSpPr>
        <p:grpSpPr>
          <a:xfrm>
            <a:off x="5030525" y="2424080"/>
            <a:ext cx="463733" cy="441408"/>
            <a:chOff x="6719888" y="887413"/>
            <a:chExt cx="492125" cy="468312"/>
          </a:xfrm>
          <a:solidFill>
            <a:schemeClr val="bg1"/>
          </a:solidFill>
        </p:grpSpPr>
        <p:sp>
          <p:nvSpPr>
            <p:cNvPr id="25" name="Freeform 26">
              <a:extLst>
                <a:ext uri="{FF2B5EF4-FFF2-40B4-BE49-F238E27FC236}">
                  <a16:creationId xmlns:a16="http://schemas.microsoft.com/office/drawing/2014/main" id="{A4D99D2B-B43C-0FC0-4BBF-272620693F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19888" y="887413"/>
              <a:ext cx="492125" cy="468312"/>
            </a:xfrm>
            <a:custGeom>
              <a:avLst/>
              <a:gdLst>
                <a:gd name="T0" fmla="*/ 117 w 128"/>
                <a:gd name="T1" fmla="*/ 0 h 122"/>
                <a:gd name="T2" fmla="*/ 11 w 128"/>
                <a:gd name="T3" fmla="*/ 0 h 122"/>
                <a:gd name="T4" fmla="*/ 0 w 128"/>
                <a:gd name="T5" fmla="*/ 11 h 122"/>
                <a:gd name="T6" fmla="*/ 0 w 128"/>
                <a:gd name="T7" fmla="*/ 93 h 122"/>
                <a:gd name="T8" fmla="*/ 11 w 128"/>
                <a:gd name="T9" fmla="*/ 104 h 122"/>
                <a:gd name="T10" fmla="*/ 43 w 128"/>
                <a:gd name="T11" fmla="*/ 104 h 122"/>
                <a:gd name="T12" fmla="*/ 38 w 128"/>
                <a:gd name="T13" fmla="*/ 110 h 122"/>
                <a:gd name="T14" fmla="*/ 35 w 128"/>
                <a:gd name="T15" fmla="*/ 113 h 122"/>
                <a:gd name="T16" fmla="*/ 34 w 128"/>
                <a:gd name="T17" fmla="*/ 118 h 122"/>
                <a:gd name="T18" fmla="*/ 42 w 128"/>
                <a:gd name="T19" fmla="*/ 122 h 122"/>
                <a:gd name="T20" fmla="*/ 86 w 128"/>
                <a:gd name="T21" fmla="*/ 122 h 122"/>
                <a:gd name="T22" fmla="*/ 94 w 128"/>
                <a:gd name="T23" fmla="*/ 118 h 122"/>
                <a:gd name="T24" fmla="*/ 94 w 128"/>
                <a:gd name="T25" fmla="*/ 113 h 122"/>
                <a:gd name="T26" fmla="*/ 91 w 128"/>
                <a:gd name="T27" fmla="*/ 110 h 122"/>
                <a:gd name="T28" fmla="*/ 85 w 128"/>
                <a:gd name="T29" fmla="*/ 104 h 122"/>
                <a:gd name="T30" fmla="*/ 117 w 128"/>
                <a:gd name="T31" fmla="*/ 104 h 122"/>
                <a:gd name="T32" fmla="*/ 128 w 128"/>
                <a:gd name="T33" fmla="*/ 93 h 122"/>
                <a:gd name="T34" fmla="*/ 128 w 128"/>
                <a:gd name="T35" fmla="*/ 11 h 122"/>
                <a:gd name="T36" fmla="*/ 117 w 128"/>
                <a:gd name="T37" fmla="*/ 0 h 122"/>
                <a:gd name="T38" fmla="*/ 88 w 128"/>
                <a:gd name="T39" fmla="*/ 113 h 122"/>
                <a:gd name="T40" fmla="*/ 90 w 128"/>
                <a:gd name="T41" fmla="*/ 116 h 122"/>
                <a:gd name="T42" fmla="*/ 90 w 128"/>
                <a:gd name="T43" fmla="*/ 116 h 122"/>
                <a:gd name="T44" fmla="*/ 86 w 128"/>
                <a:gd name="T45" fmla="*/ 118 h 122"/>
                <a:gd name="T46" fmla="*/ 42 w 128"/>
                <a:gd name="T47" fmla="*/ 118 h 122"/>
                <a:gd name="T48" fmla="*/ 38 w 128"/>
                <a:gd name="T49" fmla="*/ 116 h 122"/>
                <a:gd name="T50" fmla="*/ 38 w 128"/>
                <a:gd name="T51" fmla="*/ 116 h 122"/>
                <a:gd name="T52" fmla="*/ 38 w 128"/>
                <a:gd name="T53" fmla="*/ 116 h 122"/>
                <a:gd name="T54" fmla="*/ 40 w 128"/>
                <a:gd name="T55" fmla="*/ 113 h 122"/>
                <a:gd name="T56" fmla="*/ 48 w 128"/>
                <a:gd name="T57" fmla="*/ 104 h 122"/>
                <a:gd name="T58" fmla="*/ 80 w 128"/>
                <a:gd name="T59" fmla="*/ 104 h 122"/>
                <a:gd name="T60" fmla="*/ 88 w 128"/>
                <a:gd name="T61" fmla="*/ 113 h 122"/>
                <a:gd name="T62" fmla="*/ 120 w 128"/>
                <a:gd name="T63" fmla="*/ 93 h 122"/>
                <a:gd name="T64" fmla="*/ 117 w 128"/>
                <a:gd name="T65" fmla="*/ 96 h 122"/>
                <a:gd name="T66" fmla="*/ 11 w 128"/>
                <a:gd name="T67" fmla="*/ 96 h 122"/>
                <a:gd name="T68" fmla="*/ 8 w 128"/>
                <a:gd name="T69" fmla="*/ 93 h 122"/>
                <a:gd name="T70" fmla="*/ 8 w 128"/>
                <a:gd name="T71" fmla="*/ 11 h 122"/>
                <a:gd name="T72" fmla="*/ 11 w 128"/>
                <a:gd name="T73" fmla="*/ 8 h 122"/>
                <a:gd name="T74" fmla="*/ 117 w 128"/>
                <a:gd name="T75" fmla="*/ 8 h 122"/>
                <a:gd name="T76" fmla="*/ 120 w 128"/>
                <a:gd name="T77" fmla="*/ 11 h 122"/>
                <a:gd name="T78" fmla="*/ 120 w 128"/>
                <a:gd name="T79" fmla="*/ 93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8" h="122">
                  <a:moveTo>
                    <a:pt x="117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99"/>
                    <a:pt x="5" y="104"/>
                    <a:pt x="11" y="104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42" y="106"/>
                    <a:pt x="39" y="109"/>
                    <a:pt x="38" y="110"/>
                  </a:cubicBezTo>
                  <a:cubicBezTo>
                    <a:pt x="36" y="111"/>
                    <a:pt x="35" y="112"/>
                    <a:pt x="35" y="113"/>
                  </a:cubicBezTo>
                  <a:cubicBezTo>
                    <a:pt x="34" y="114"/>
                    <a:pt x="33" y="116"/>
                    <a:pt x="34" y="118"/>
                  </a:cubicBezTo>
                  <a:cubicBezTo>
                    <a:pt x="35" y="120"/>
                    <a:pt x="37" y="122"/>
                    <a:pt x="42" y="122"/>
                  </a:cubicBezTo>
                  <a:cubicBezTo>
                    <a:pt x="86" y="122"/>
                    <a:pt x="86" y="122"/>
                    <a:pt x="86" y="122"/>
                  </a:cubicBezTo>
                  <a:cubicBezTo>
                    <a:pt x="91" y="122"/>
                    <a:pt x="93" y="120"/>
                    <a:pt x="94" y="118"/>
                  </a:cubicBezTo>
                  <a:cubicBezTo>
                    <a:pt x="95" y="116"/>
                    <a:pt x="95" y="114"/>
                    <a:pt x="94" y="113"/>
                  </a:cubicBezTo>
                  <a:cubicBezTo>
                    <a:pt x="93" y="112"/>
                    <a:pt x="92" y="111"/>
                    <a:pt x="91" y="110"/>
                  </a:cubicBezTo>
                  <a:cubicBezTo>
                    <a:pt x="89" y="109"/>
                    <a:pt x="87" y="106"/>
                    <a:pt x="85" y="104"/>
                  </a:cubicBezTo>
                  <a:cubicBezTo>
                    <a:pt x="117" y="104"/>
                    <a:pt x="117" y="104"/>
                    <a:pt x="117" y="104"/>
                  </a:cubicBezTo>
                  <a:cubicBezTo>
                    <a:pt x="123" y="104"/>
                    <a:pt x="128" y="99"/>
                    <a:pt x="128" y="93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28" y="5"/>
                    <a:pt x="123" y="0"/>
                    <a:pt x="117" y="0"/>
                  </a:cubicBezTo>
                  <a:close/>
                  <a:moveTo>
                    <a:pt x="88" y="113"/>
                  </a:moveTo>
                  <a:cubicBezTo>
                    <a:pt x="89" y="114"/>
                    <a:pt x="90" y="115"/>
                    <a:pt x="90" y="116"/>
                  </a:cubicBezTo>
                  <a:cubicBezTo>
                    <a:pt x="90" y="116"/>
                    <a:pt x="91" y="116"/>
                    <a:pt x="90" y="116"/>
                  </a:cubicBezTo>
                  <a:cubicBezTo>
                    <a:pt x="90" y="117"/>
                    <a:pt x="88" y="118"/>
                    <a:pt x="86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0" y="118"/>
                    <a:pt x="38" y="117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5"/>
                    <a:pt x="39" y="114"/>
                    <a:pt x="40" y="113"/>
                  </a:cubicBezTo>
                  <a:cubicBezTo>
                    <a:pt x="44" y="109"/>
                    <a:pt x="47" y="106"/>
                    <a:pt x="48" y="104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82" y="106"/>
                    <a:pt x="84" y="109"/>
                    <a:pt x="88" y="113"/>
                  </a:cubicBezTo>
                  <a:close/>
                  <a:moveTo>
                    <a:pt x="120" y="93"/>
                  </a:moveTo>
                  <a:cubicBezTo>
                    <a:pt x="120" y="95"/>
                    <a:pt x="119" y="96"/>
                    <a:pt x="117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9" y="96"/>
                    <a:pt x="8" y="95"/>
                    <a:pt x="8" y="93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9"/>
                    <a:pt x="9" y="8"/>
                    <a:pt x="11" y="8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9" y="8"/>
                    <a:pt x="120" y="9"/>
                    <a:pt x="120" y="11"/>
                  </a:cubicBezTo>
                  <a:lnTo>
                    <a:pt x="120" y="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26" name="Freeform 27">
              <a:extLst>
                <a:ext uri="{FF2B5EF4-FFF2-40B4-BE49-F238E27FC236}">
                  <a16:creationId xmlns:a16="http://schemas.microsoft.com/office/drawing/2014/main" id="{6BCABC05-BD24-7773-3519-06859EA2A8C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81801" y="947738"/>
              <a:ext cx="368300" cy="247650"/>
            </a:xfrm>
            <a:custGeom>
              <a:avLst/>
              <a:gdLst>
                <a:gd name="T0" fmla="*/ 89 w 96"/>
                <a:gd name="T1" fmla="*/ 0 h 64"/>
                <a:gd name="T2" fmla="*/ 7 w 96"/>
                <a:gd name="T3" fmla="*/ 0 h 64"/>
                <a:gd name="T4" fmla="*/ 0 w 96"/>
                <a:gd name="T5" fmla="*/ 7 h 64"/>
                <a:gd name="T6" fmla="*/ 0 w 96"/>
                <a:gd name="T7" fmla="*/ 57 h 64"/>
                <a:gd name="T8" fmla="*/ 7 w 96"/>
                <a:gd name="T9" fmla="*/ 64 h 64"/>
                <a:gd name="T10" fmla="*/ 89 w 96"/>
                <a:gd name="T11" fmla="*/ 64 h 64"/>
                <a:gd name="T12" fmla="*/ 96 w 96"/>
                <a:gd name="T13" fmla="*/ 57 h 64"/>
                <a:gd name="T14" fmla="*/ 96 w 96"/>
                <a:gd name="T15" fmla="*/ 7 h 64"/>
                <a:gd name="T16" fmla="*/ 89 w 96"/>
                <a:gd name="T17" fmla="*/ 0 h 64"/>
                <a:gd name="T18" fmla="*/ 92 w 96"/>
                <a:gd name="T19" fmla="*/ 57 h 64"/>
                <a:gd name="T20" fmla="*/ 89 w 96"/>
                <a:gd name="T21" fmla="*/ 60 h 64"/>
                <a:gd name="T22" fmla="*/ 7 w 96"/>
                <a:gd name="T23" fmla="*/ 60 h 64"/>
                <a:gd name="T24" fmla="*/ 4 w 96"/>
                <a:gd name="T25" fmla="*/ 57 h 64"/>
                <a:gd name="T26" fmla="*/ 4 w 96"/>
                <a:gd name="T27" fmla="*/ 7 h 64"/>
                <a:gd name="T28" fmla="*/ 7 w 96"/>
                <a:gd name="T29" fmla="*/ 4 h 64"/>
                <a:gd name="T30" fmla="*/ 89 w 96"/>
                <a:gd name="T31" fmla="*/ 4 h 64"/>
                <a:gd name="T32" fmla="*/ 92 w 96"/>
                <a:gd name="T33" fmla="*/ 7 h 64"/>
                <a:gd name="T34" fmla="*/ 92 w 96"/>
                <a:gd name="T35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6" h="64">
                  <a:moveTo>
                    <a:pt x="89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1"/>
                    <a:pt x="3" y="64"/>
                    <a:pt x="7" y="64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93" y="64"/>
                    <a:pt x="96" y="61"/>
                    <a:pt x="96" y="5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3"/>
                    <a:pt x="93" y="0"/>
                    <a:pt x="89" y="0"/>
                  </a:cubicBezTo>
                  <a:close/>
                  <a:moveTo>
                    <a:pt x="92" y="57"/>
                  </a:moveTo>
                  <a:cubicBezTo>
                    <a:pt x="92" y="59"/>
                    <a:pt x="91" y="60"/>
                    <a:pt x="89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5" y="60"/>
                    <a:pt x="4" y="59"/>
                    <a:pt x="4" y="5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5" y="4"/>
                    <a:pt x="7" y="4"/>
                  </a:cubicBezTo>
                  <a:cubicBezTo>
                    <a:pt x="89" y="4"/>
                    <a:pt x="89" y="4"/>
                    <a:pt x="89" y="4"/>
                  </a:cubicBezTo>
                  <a:cubicBezTo>
                    <a:pt x="91" y="4"/>
                    <a:pt x="92" y="5"/>
                    <a:pt x="92" y="7"/>
                  </a:cubicBezTo>
                  <a:lnTo>
                    <a:pt x="92" y="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27" name="Freeform 28">
              <a:extLst>
                <a:ext uri="{FF2B5EF4-FFF2-40B4-BE49-F238E27FC236}">
                  <a16:creationId xmlns:a16="http://schemas.microsoft.com/office/drawing/2014/main" id="{78484381-B0B6-19C4-C543-D973C846B9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43726" y="1201738"/>
              <a:ext cx="46038" cy="47625"/>
            </a:xfrm>
            <a:custGeom>
              <a:avLst/>
              <a:gdLst>
                <a:gd name="T0" fmla="*/ 6 w 12"/>
                <a:gd name="T1" fmla="*/ 0 h 12"/>
                <a:gd name="T2" fmla="*/ 0 w 12"/>
                <a:gd name="T3" fmla="*/ 6 h 12"/>
                <a:gd name="T4" fmla="*/ 6 w 12"/>
                <a:gd name="T5" fmla="*/ 12 h 12"/>
                <a:gd name="T6" fmla="*/ 12 w 12"/>
                <a:gd name="T7" fmla="*/ 6 h 12"/>
                <a:gd name="T8" fmla="*/ 6 w 12"/>
                <a:gd name="T9" fmla="*/ 0 h 12"/>
                <a:gd name="T10" fmla="*/ 6 w 12"/>
                <a:gd name="T11" fmla="*/ 8 h 12"/>
                <a:gd name="T12" fmla="*/ 4 w 12"/>
                <a:gd name="T13" fmla="*/ 6 h 12"/>
                <a:gd name="T14" fmla="*/ 6 w 12"/>
                <a:gd name="T15" fmla="*/ 4 h 12"/>
                <a:gd name="T16" fmla="*/ 8 w 12"/>
                <a:gd name="T17" fmla="*/ 6 h 12"/>
                <a:gd name="T18" fmla="*/ 6 w 12"/>
                <a:gd name="T1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9" y="12"/>
                    <a:pt x="12" y="9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lose/>
                  <a:moveTo>
                    <a:pt x="6" y="8"/>
                  </a:moveTo>
                  <a:cubicBezTo>
                    <a:pt x="5" y="8"/>
                    <a:pt x="4" y="7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7" y="4"/>
                    <a:pt x="8" y="5"/>
                    <a:pt x="8" y="6"/>
                  </a:cubicBezTo>
                  <a:cubicBezTo>
                    <a:pt x="8" y="7"/>
                    <a:pt x="7" y="8"/>
                    <a:pt x="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28" name="Freeform 29">
              <a:extLst>
                <a:ext uri="{FF2B5EF4-FFF2-40B4-BE49-F238E27FC236}">
                  <a16:creationId xmlns:a16="http://schemas.microsoft.com/office/drawing/2014/main" id="{601841FC-323C-7316-4103-4C5BB5EC442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1813" y="1044575"/>
              <a:ext cx="61913" cy="65087"/>
            </a:xfrm>
            <a:custGeom>
              <a:avLst/>
              <a:gdLst>
                <a:gd name="T0" fmla="*/ 0 w 39"/>
                <a:gd name="T1" fmla="*/ 24 h 41"/>
                <a:gd name="T2" fmla="*/ 39 w 39"/>
                <a:gd name="T3" fmla="*/ 41 h 41"/>
                <a:gd name="T4" fmla="*/ 39 w 39"/>
                <a:gd name="T5" fmla="*/ 32 h 41"/>
                <a:gd name="T6" fmla="*/ 12 w 39"/>
                <a:gd name="T7" fmla="*/ 19 h 41"/>
                <a:gd name="T8" fmla="*/ 39 w 39"/>
                <a:gd name="T9" fmla="*/ 10 h 41"/>
                <a:gd name="T10" fmla="*/ 39 w 39"/>
                <a:gd name="T11" fmla="*/ 0 h 41"/>
                <a:gd name="T12" fmla="*/ 0 w 39"/>
                <a:gd name="T13" fmla="*/ 17 h 41"/>
                <a:gd name="T14" fmla="*/ 0 w 39"/>
                <a:gd name="T15" fmla="*/ 2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41">
                  <a:moveTo>
                    <a:pt x="0" y="24"/>
                  </a:moveTo>
                  <a:lnTo>
                    <a:pt x="39" y="41"/>
                  </a:lnTo>
                  <a:lnTo>
                    <a:pt x="39" y="32"/>
                  </a:lnTo>
                  <a:lnTo>
                    <a:pt x="12" y="19"/>
                  </a:lnTo>
                  <a:lnTo>
                    <a:pt x="39" y="10"/>
                  </a:lnTo>
                  <a:lnTo>
                    <a:pt x="39" y="0"/>
                  </a:lnTo>
                  <a:lnTo>
                    <a:pt x="0" y="17"/>
                  </a:lnTo>
                  <a:lnTo>
                    <a:pt x="0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29" name="Freeform 30">
              <a:extLst>
                <a:ext uri="{FF2B5EF4-FFF2-40B4-BE49-F238E27FC236}">
                  <a16:creationId xmlns:a16="http://schemas.microsoft.com/office/drawing/2014/main" id="{1C1A6E4F-E50A-137B-0B9D-E616CDEB7860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0076" y="1033463"/>
              <a:ext cx="31750" cy="87312"/>
            </a:xfrm>
            <a:custGeom>
              <a:avLst/>
              <a:gdLst>
                <a:gd name="T0" fmla="*/ 7 w 8"/>
                <a:gd name="T1" fmla="*/ 0 h 23"/>
                <a:gd name="T2" fmla="*/ 5 w 8"/>
                <a:gd name="T3" fmla="*/ 0 h 23"/>
                <a:gd name="T4" fmla="*/ 5 w 8"/>
                <a:gd name="T5" fmla="*/ 2 h 23"/>
                <a:gd name="T6" fmla="*/ 0 w 8"/>
                <a:gd name="T7" fmla="*/ 20 h 23"/>
                <a:gd name="T8" fmla="*/ 0 w 8"/>
                <a:gd name="T9" fmla="*/ 22 h 23"/>
                <a:gd name="T10" fmla="*/ 2 w 8"/>
                <a:gd name="T11" fmla="*/ 23 h 23"/>
                <a:gd name="T12" fmla="*/ 3 w 8"/>
                <a:gd name="T13" fmla="*/ 23 h 23"/>
                <a:gd name="T14" fmla="*/ 3 w 8"/>
                <a:gd name="T15" fmla="*/ 22 h 23"/>
                <a:gd name="T16" fmla="*/ 4 w 8"/>
                <a:gd name="T17" fmla="*/ 21 h 23"/>
                <a:gd name="T18" fmla="*/ 8 w 8"/>
                <a:gd name="T19" fmla="*/ 3 h 23"/>
                <a:gd name="T20" fmla="*/ 8 w 8"/>
                <a:gd name="T21" fmla="*/ 1 h 23"/>
                <a:gd name="T22" fmla="*/ 8 w 8"/>
                <a:gd name="T23" fmla="*/ 0 h 23"/>
                <a:gd name="T24" fmla="*/ 7 w 8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3">
                  <a:moveTo>
                    <a:pt x="7" y="0"/>
                  </a:move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1"/>
                    <a:pt x="5" y="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0" y="23"/>
                    <a:pt x="1" y="23"/>
                    <a:pt x="2" y="23"/>
                  </a:cubicBezTo>
                  <a:cubicBezTo>
                    <a:pt x="2" y="23"/>
                    <a:pt x="2" y="23"/>
                    <a:pt x="3" y="23"/>
                  </a:cubicBezTo>
                  <a:cubicBezTo>
                    <a:pt x="3" y="23"/>
                    <a:pt x="3" y="22"/>
                    <a:pt x="3" y="22"/>
                  </a:cubicBezTo>
                  <a:cubicBezTo>
                    <a:pt x="3" y="22"/>
                    <a:pt x="3" y="21"/>
                    <a:pt x="4" y="2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30" name="Freeform 31">
              <a:extLst>
                <a:ext uri="{FF2B5EF4-FFF2-40B4-BE49-F238E27FC236}">
                  <a16:creationId xmlns:a16="http://schemas.microsoft.com/office/drawing/2014/main" id="{180BF674-6BFB-2B3D-78DB-3206663BFD8C}"/>
                </a:ext>
              </a:extLst>
            </p:cNvPr>
            <p:cNvSpPr>
              <a:spLocks/>
            </p:cNvSpPr>
            <p:nvPr/>
          </p:nvSpPr>
          <p:spPr bwMode="auto">
            <a:xfrm>
              <a:off x="6989763" y="1044575"/>
              <a:ext cx="60325" cy="65087"/>
            </a:xfrm>
            <a:custGeom>
              <a:avLst/>
              <a:gdLst>
                <a:gd name="T0" fmla="*/ 0 w 38"/>
                <a:gd name="T1" fmla="*/ 10 h 41"/>
                <a:gd name="T2" fmla="*/ 26 w 38"/>
                <a:gd name="T3" fmla="*/ 19 h 41"/>
                <a:gd name="T4" fmla="*/ 0 w 38"/>
                <a:gd name="T5" fmla="*/ 32 h 41"/>
                <a:gd name="T6" fmla="*/ 0 w 38"/>
                <a:gd name="T7" fmla="*/ 41 h 41"/>
                <a:gd name="T8" fmla="*/ 38 w 38"/>
                <a:gd name="T9" fmla="*/ 24 h 41"/>
                <a:gd name="T10" fmla="*/ 38 w 38"/>
                <a:gd name="T11" fmla="*/ 17 h 41"/>
                <a:gd name="T12" fmla="*/ 0 w 38"/>
                <a:gd name="T13" fmla="*/ 0 h 41"/>
                <a:gd name="T14" fmla="*/ 0 w 38"/>
                <a:gd name="T15" fmla="*/ 1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41">
                  <a:moveTo>
                    <a:pt x="0" y="10"/>
                  </a:moveTo>
                  <a:lnTo>
                    <a:pt x="26" y="19"/>
                  </a:lnTo>
                  <a:lnTo>
                    <a:pt x="0" y="32"/>
                  </a:lnTo>
                  <a:lnTo>
                    <a:pt x="0" y="41"/>
                  </a:lnTo>
                  <a:lnTo>
                    <a:pt x="38" y="24"/>
                  </a:lnTo>
                  <a:lnTo>
                    <a:pt x="38" y="17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</p:grpSp>
      <p:sp>
        <p:nvSpPr>
          <p:cNvPr id="31" name="Inhaltsplatzhalter 4">
            <a:extLst>
              <a:ext uri="{FF2B5EF4-FFF2-40B4-BE49-F238E27FC236}">
                <a16:creationId xmlns:a16="http://schemas.microsoft.com/office/drawing/2014/main" id="{01319C5C-058C-2EEE-6DDF-5B7E24D890D3}"/>
              </a:ext>
            </a:extLst>
          </p:cNvPr>
          <p:cNvSpPr txBox="1">
            <a:spLocks/>
          </p:cNvSpPr>
          <p:nvPr/>
        </p:nvSpPr>
        <p:spPr>
          <a:xfrm>
            <a:off x="1099654" y="1897670"/>
            <a:ext cx="3095119" cy="24929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 fontAlgn="auto">
              <a:spcAft>
                <a:spcPts val="300"/>
              </a:spcAft>
              <a:buNone/>
            </a:pPr>
            <a:r>
              <a:rPr lang="en-US" sz="1800" b="1" dirty="0">
                <a:solidFill>
                  <a:schemeClr val="accent4"/>
                </a:solidFill>
                <a:latin typeface="+mj-lt"/>
                <a:cs typeface="Calibri" panose="020F0502020204030204" pitchFamily="34" charset="0"/>
              </a:rPr>
              <a:t>INSERT HEADING</a:t>
            </a:r>
          </a:p>
        </p:txBody>
      </p:sp>
      <p:sp>
        <p:nvSpPr>
          <p:cNvPr id="32" name="Inhaltsplatzhalter 4">
            <a:extLst>
              <a:ext uri="{FF2B5EF4-FFF2-40B4-BE49-F238E27FC236}">
                <a16:creationId xmlns:a16="http://schemas.microsoft.com/office/drawing/2014/main" id="{02B92CD6-2FFB-84A7-9CE0-DD4D357E66BB}"/>
              </a:ext>
            </a:extLst>
          </p:cNvPr>
          <p:cNvSpPr txBox="1">
            <a:spLocks/>
          </p:cNvSpPr>
          <p:nvPr/>
        </p:nvSpPr>
        <p:spPr>
          <a:xfrm>
            <a:off x="7798818" y="1897670"/>
            <a:ext cx="3095119" cy="24929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300"/>
              </a:spcAft>
              <a:buNone/>
            </a:pPr>
            <a:r>
              <a:rPr lang="en-US" sz="1800" b="1" dirty="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INSERT HEADING</a:t>
            </a:r>
          </a:p>
        </p:txBody>
      </p:sp>
      <p:sp>
        <p:nvSpPr>
          <p:cNvPr id="33" name="Inhaltsplatzhalter 4">
            <a:extLst>
              <a:ext uri="{FF2B5EF4-FFF2-40B4-BE49-F238E27FC236}">
                <a16:creationId xmlns:a16="http://schemas.microsoft.com/office/drawing/2014/main" id="{17E66F92-1D6C-220D-8DAA-0832F3A6C279}"/>
              </a:ext>
            </a:extLst>
          </p:cNvPr>
          <p:cNvSpPr txBox="1">
            <a:spLocks/>
          </p:cNvSpPr>
          <p:nvPr/>
        </p:nvSpPr>
        <p:spPr>
          <a:xfrm>
            <a:off x="7798818" y="4926135"/>
            <a:ext cx="3095119" cy="24929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300"/>
              </a:spcAft>
              <a:buNone/>
            </a:pPr>
            <a:r>
              <a:rPr lang="en-US" sz="1800" b="1" dirty="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INSERT HEADING</a:t>
            </a:r>
          </a:p>
        </p:txBody>
      </p:sp>
      <p:sp>
        <p:nvSpPr>
          <p:cNvPr id="34" name="Inhaltsplatzhalter 4">
            <a:extLst>
              <a:ext uri="{FF2B5EF4-FFF2-40B4-BE49-F238E27FC236}">
                <a16:creationId xmlns:a16="http://schemas.microsoft.com/office/drawing/2014/main" id="{74ECCBE4-FD08-E629-E826-75002F1D8504}"/>
              </a:ext>
            </a:extLst>
          </p:cNvPr>
          <p:cNvSpPr txBox="1">
            <a:spLocks/>
          </p:cNvSpPr>
          <p:nvPr/>
        </p:nvSpPr>
        <p:spPr>
          <a:xfrm>
            <a:off x="1099654" y="4926135"/>
            <a:ext cx="3095119" cy="24929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 fontAlgn="auto">
              <a:spcAft>
                <a:spcPts val="300"/>
              </a:spcAft>
              <a:buNone/>
            </a:pPr>
            <a:r>
              <a:rPr lang="en-US" sz="1800" b="1" dirty="0">
                <a:solidFill>
                  <a:schemeClr val="accent3"/>
                </a:solidFill>
                <a:latin typeface="+mj-lt"/>
                <a:cs typeface="Calibri" panose="020F0502020204030204" pitchFamily="34" charset="0"/>
              </a:rPr>
              <a:t>INSERT HEADING</a:t>
            </a:r>
          </a:p>
        </p:txBody>
      </p:sp>
    </p:spTree>
    <p:extLst>
      <p:ext uri="{BB962C8B-B14F-4D97-AF65-F5344CB8AC3E}">
        <p14:creationId xmlns:p14="http://schemas.microsoft.com/office/powerpoint/2010/main" val="373950079"/>
      </p:ext>
    </p:extLst>
  </p:cSld>
  <p:clrMapOvr>
    <a:masterClrMapping/>
  </p:clrMapOvr>
</p:sld>
</file>

<file path=ppt/slides/slide1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BA9453-5D37-0C68-C251-A54C1CEF64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8" name="think-cell data - do not delete" hidden="1">
            <a:extLst>
              <a:ext uri="{FF2B5EF4-FFF2-40B4-BE49-F238E27FC236}">
                <a16:creationId xmlns:a16="http://schemas.microsoft.com/office/drawing/2014/main" id="{830D5697-78F3-154F-C118-30737C1C50B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25" imgH="426" progId="TCLayout.ActiveDocument.1">
                  <p:embed/>
                </p:oleObj>
              </mc:Choice>
              <mc:Fallback>
                <p:oleObj name="think-cell Slide" r:id="rId8" imgW="425" imgH="426" progId="TCLayout.ActiveDocument.1">
                  <p:embed/>
                  <p:pic>
                    <p:nvPicPr>
                      <p:cNvPr id="12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30D5697-78F3-154F-C118-30737C1C50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C80D98C-A366-4F82-3D41-24E560B583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ircular layou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FE9B-5A85-0F35-E9C2-8FE2EBC7D5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44</a:t>
            </a:fld>
            <a:endParaRPr lang="en-US" dirty="0"/>
          </a:p>
        </p:txBody>
      </p:sp>
      <p:grpSp>
        <p:nvGrpSpPr>
          <p:cNvPr id="87" name="Group 86">
            <a:extLst>
              <a:ext uri="{FF2B5EF4-FFF2-40B4-BE49-F238E27FC236}">
                <a16:creationId xmlns:a16="http://schemas.microsoft.com/office/drawing/2014/main" id="{350AADB9-D8DF-8AAA-C6F1-50EE9CABF4B1}"/>
              </a:ext>
            </a:extLst>
          </p:cNvPr>
          <p:cNvGrpSpPr/>
          <p:nvPr/>
        </p:nvGrpSpPr>
        <p:grpSpPr>
          <a:xfrm>
            <a:off x="3803650" y="1371600"/>
            <a:ext cx="4343399" cy="4348052"/>
            <a:chOff x="-4293326" y="1972283"/>
            <a:chExt cx="4343399" cy="4348052"/>
          </a:xfrm>
        </p:grpSpPr>
        <p:grpSp>
          <p:nvGrpSpPr>
            <p:cNvPr id="88" name="Group 87">
              <a:extLst>
                <a:ext uri="{FF2B5EF4-FFF2-40B4-BE49-F238E27FC236}">
                  <a16:creationId xmlns:a16="http://schemas.microsoft.com/office/drawing/2014/main" id="{16B61F31-5607-A1ED-3E37-74A64F0A9382}"/>
                </a:ext>
              </a:extLst>
            </p:cNvPr>
            <p:cNvGrpSpPr>
              <a:grpSpLocks/>
            </p:cNvGrpSpPr>
            <p:nvPr/>
          </p:nvGrpSpPr>
          <p:grpSpPr>
            <a:xfrm>
              <a:off x="-4293326" y="1972283"/>
              <a:ext cx="4343399" cy="4348052"/>
              <a:chOff x="-7148908" y="-4212278"/>
              <a:chExt cx="4792664" cy="4819651"/>
            </a:xfrm>
          </p:grpSpPr>
          <p:sp>
            <p:nvSpPr>
              <p:cNvPr id="94" name="Freeform 5">
                <a:extLst>
                  <a:ext uri="{FF2B5EF4-FFF2-40B4-BE49-F238E27FC236}">
                    <a16:creationId xmlns:a16="http://schemas.microsoft.com/office/drawing/2014/main" id="{E732BBAA-0D07-67A3-C559-719A423F24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4751782" y="-4212278"/>
                <a:ext cx="2278063" cy="2405063"/>
              </a:xfrm>
              <a:custGeom>
                <a:avLst/>
                <a:gdLst>
                  <a:gd name="T0" fmla="*/ 0 w 1435"/>
                  <a:gd name="T1" fmla="*/ 0 h 1515"/>
                  <a:gd name="T2" fmla="*/ 120 w 1435"/>
                  <a:gd name="T3" fmla="*/ 6 h 1515"/>
                  <a:gd name="T4" fmla="*/ 240 w 1435"/>
                  <a:gd name="T5" fmla="*/ 23 h 1515"/>
                  <a:gd name="T6" fmla="*/ 354 w 1435"/>
                  <a:gd name="T7" fmla="*/ 46 h 1515"/>
                  <a:gd name="T8" fmla="*/ 469 w 1435"/>
                  <a:gd name="T9" fmla="*/ 75 h 1515"/>
                  <a:gd name="T10" fmla="*/ 583 w 1435"/>
                  <a:gd name="T11" fmla="*/ 121 h 1515"/>
                  <a:gd name="T12" fmla="*/ 686 w 1435"/>
                  <a:gd name="T13" fmla="*/ 167 h 1515"/>
                  <a:gd name="T14" fmla="*/ 789 w 1435"/>
                  <a:gd name="T15" fmla="*/ 224 h 1515"/>
                  <a:gd name="T16" fmla="*/ 886 w 1435"/>
                  <a:gd name="T17" fmla="*/ 293 h 1515"/>
                  <a:gd name="T18" fmla="*/ 978 w 1435"/>
                  <a:gd name="T19" fmla="*/ 362 h 1515"/>
                  <a:gd name="T20" fmla="*/ 1063 w 1435"/>
                  <a:gd name="T21" fmla="*/ 442 h 1515"/>
                  <a:gd name="T22" fmla="*/ 1143 w 1435"/>
                  <a:gd name="T23" fmla="*/ 528 h 1515"/>
                  <a:gd name="T24" fmla="*/ 1218 w 1435"/>
                  <a:gd name="T25" fmla="*/ 620 h 1515"/>
                  <a:gd name="T26" fmla="*/ 1281 w 1435"/>
                  <a:gd name="T27" fmla="*/ 723 h 1515"/>
                  <a:gd name="T28" fmla="*/ 1343 w 1435"/>
                  <a:gd name="T29" fmla="*/ 827 h 1515"/>
                  <a:gd name="T30" fmla="*/ 1395 w 1435"/>
                  <a:gd name="T31" fmla="*/ 936 h 1515"/>
                  <a:gd name="T32" fmla="*/ 1435 w 1435"/>
                  <a:gd name="T33" fmla="*/ 1050 h 1515"/>
                  <a:gd name="T34" fmla="*/ 0 w 1435"/>
                  <a:gd name="T35" fmla="*/ 1515 h 1515"/>
                  <a:gd name="T36" fmla="*/ 0 w 1435"/>
                  <a:gd name="T37" fmla="*/ 0 h 15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435" h="1515">
                    <a:moveTo>
                      <a:pt x="0" y="0"/>
                    </a:moveTo>
                    <a:lnTo>
                      <a:pt x="120" y="6"/>
                    </a:lnTo>
                    <a:lnTo>
                      <a:pt x="240" y="23"/>
                    </a:lnTo>
                    <a:lnTo>
                      <a:pt x="354" y="46"/>
                    </a:lnTo>
                    <a:lnTo>
                      <a:pt x="469" y="75"/>
                    </a:lnTo>
                    <a:lnTo>
                      <a:pt x="583" y="121"/>
                    </a:lnTo>
                    <a:lnTo>
                      <a:pt x="686" y="167"/>
                    </a:lnTo>
                    <a:lnTo>
                      <a:pt x="789" y="224"/>
                    </a:lnTo>
                    <a:lnTo>
                      <a:pt x="886" y="293"/>
                    </a:lnTo>
                    <a:lnTo>
                      <a:pt x="978" y="362"/>
                    </a:lnTo>
                    <a:lnTo>
                      <a:pt x="1063" y="442"/>
                    </a:lnTo>
                    <a:lnTo>
                      <a:pt x="1143" y="528"/>
                    </a:lnTo>
                    <a:lnTo>
                      <a:pt x="1218" y="620"/>
                    </a:lnTo>
                    <a:lnTo>
                      <a:pt x="1281" y="723"/>
                    </a:lnTo>
                    <a:lnTo>
                      <a:pt x="1343" y="827"/>
                    </a:lnTo>
                    <a:lnTo>
                      <a:pt x="1395" y="936"/>
                    </a:lnTo>
                    <a:lnTo>
                      <a:pt x="1435" y="1050"/>
                    </a:lnTo>
                    <a:lnTo>
                      <a:pt x="0" y="151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7">
                <a:extLst>
                  <a:ext uri="{FF2B5EF4-FFF2-40B4-BE49-F238E27FC236}">
                    <a16:creationId xmlns:a16="http://schemas.microsoft.com/office/drawing/2014/main" id="{FBA6DA50-9EDE-BEB4-2B54-456A4532B7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4751782" y="-2545403"/>
                <a:ext cx="2395538" cy="2687638"/>
              </a:xfrm>
              <a:custGeom>
                <a:avLst/>
                <a:gdLst>
                  <a:gd name="T0" fmla="*/ 1435 w 1509"/>
                  <a:gd name="T1" fmla="*/ 0 h 1693"/>
                  <a:gd name="T2" fmla="*/ 1469 w 1509"/>
                  <a:gd name="T3" fmla="*/ 115 h 1693"/>
                  <a:gd name="T4" fmla="*/ 1492 w 1509"/>
                  <a:gd name="T5" fmla="*/ 236 h 1693"/>
                  <a:gd name="T6" fmla="*/ 1504 w 1509"/>
                  <a:gd name="T7" fmla="*/ 356 h 1693"/>
                  <a:gd name="T8" fmla="*/ 1509 w 1509"/>
                  <a:gd name="T9" fmla="*/ 471 h 1693"/>
                  <a:gd name="T10" fmla="*/ 1504 w 1509"/>
                  <a:gd name="T11" fmla="*/ 591 h 1693"/>
                  <a:gd name="T12" fmla="*/ 1492 w 1509"/>
                  <a:gd name="T13" fmla="*/ 706 h 1693"/>
                  <a:gd name="T14" fmla="*/ 1469 w 1509"/>
                  <a:gd name="T15" fmla="*/ 821 h 1693"/>
                  <a:gd name="T16" fmla="*/ 1435 w 1509"/>
                  <a:gd name="T17" fmla="*/ 936 h 1693"/>
                  <a:gd name="T18" fmla="*/ 1395 w 1509"/>
                  <a:gd name="T19" fmla="*/ 1045 h 1693"/>
                  <a:gd name="T20" fmla="*/ 1343 w 1509"/>
                  <a:gd name="T21" fmla="*/ 1154 h 1693"/>
                  <a:gd name="T22" fmla="*/ 1286 w 1509"/>
                  <a:gd name="T23" fmla="*/ 1257 h 1693"/>
                  <a:gd name="T24" fmla="*/ 1223 w 1509"/>
                  <a:gd name="T25" fmla="*/ 1355 h 1693"/>
                  <a:gd name="T26" fmla="*/ 1149 w 1509"/>
                  <a:gd name="T27" fmla="*/ 1446 h 1693"/>
                  <a:gd name="T28" fmla="*/ 1069 w 1509"/>
                  <a:gd name="T29" fmla="*/ 1538 h 1693"/>
                  <a:gd name="T30" fmla="*/ 983 w 1509"/>
                  <a:gd name="T31" fmla="*/ 1618 h 1693"/>
                  <a:gd name="T32" fmla="*/ 886 w 1509"/>
                  <a:gd name="T33" fmla="*/ 1693 h 1693"/>
                  <a:gd name="T34" fmla="*/ 0 w 1509"/>
                  <a:gd name="T35" fmla="*/ 465 h 1693"/>
                  <a:gd name="T36" fmla="*/ 1435 w 1509"/>
                  <a:gd name="T37" fmla="*/ 0 h 16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09" h="1693">
                    <a:moveTo>
                      <a:pt x="1435" y="0"/>
                    </a:moveTo>
                    <a:lnTo>
                      <a:pt x="1469" y="115"/>
                    </a:lnTo>
                    <a:lnTo>
                      <a:pt x="1492" y="236"/>
                    </a:lnTo>
                    <a:lnTo>
                      <a:pt x="1504" y="356"/>
                    </a:lnTo>
                    <a:lnTo>
                      <a:pt x="1509" y="471"/>
                    </a:lnTo>
                    <a:lnTo>
                      <a:pt x="1504" y="591"/>
                    </a:lnTo>
                    <a:lnTo>
                      <a:pt x="1492" y="706"/>
                    </a:lnTo>
                    <a:lnTo>
                      <a:pt x="1469" y="821"/>
                    </a:lnTo>
                    <a:lnTo>
                      <a:pt x="1435" y="936"/>
                    </a:lnTo>
                    <a:lnTo>
                      <a:pt x="1395" y="1045"/>
                    </a:lnTo>
                    <a:lnTo>
                      <a:pt x="1343" y="1154"/>
                    </a:lnTo>
                    <a:lnTo>
                      <a:pt x="1286" y="1257"/>
                    </a:lnTo>
                    <a:lnTo>
                      <a:pt x="1223" y="1355"/>
                    </a:lnTo>
                    <a:lnTo>
                      <a:pt x="1149" y="1446"/>
                    </a:lnTo>
                    <a:lnTo>
                      <a:pt x="1069" y="1538"/>
                    </a:lnTo>
                    <a:lnTo>
                      <a:pt x="983" y="1618"/>
                    </a:lnTo>
                    <a:lnTo>
                      <a:pt x="886" y="1693"/>
                    </a:lnTo>
                    <a:lnTo>
                      <a:pt x="0" y="465"/>
                    </a:lnTo>
                    <a:lnTo>
                      <a:pt x="1435" y="0"/>
                    </a:lnTo>
                    <a:close/>
                  </a:path>
                </a:pathLst>
              </a:custGeom>
              <a:solidFill>
                <a:schemeClr val="accent2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9">
                <a:extLst>
                  <a:ext uri="{FF2B5EF4-FFF2-40B4-BE49-F238E27FC236}">
                    <a16:creationId xmlns:a16="http://schemas.microsoft.com/office/drawing/2014/main" id="{7A201FCE-5926-1082-ED9D-55A33B5B68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158308" y="-1807215"/>
                <a:ext cx="2813050" cy="2414588"/>
              </a:xfrm>
              <a:custGeom>
                <a:avLst/>
                <a:gdLst>
                  <a:gd name="T0" fmla="*/ 1772 w 1772"/>
                  <a:gd name="T1" fmla="*/ 1228 h 1521"/>
                  <a:gd name="T2" fmla="*/ 1669 w 1772"/>
                  <a:gd name="T3" fmla="*/ 1297 h 1521"/>
                  <a:gd name="T4" fmla="*/ 1566 w 1772"/>
                  <a:gd name="T5" fmla="*/ 1354 h 1521"/>
                  <a:gd name="T6" fmla="*/ 1458 w 1772"/>
                  <a:gd name="T7" fmla="*/ 1406 h 1521"/>
                  <a:gd name="T8" fmla="*/ 1343 w 1772"/>
                  <a:gd name="T9" fmla="*/ 1446 h 1521"/>
                  <a:gd name="T10" fmla="*/ 1235 w 1772"/>
                  <a:gd name="T11" fmla="*/ 1475 h 1521"/>
                  <a:gd name="T12" fmla="*/ 1120 w 1772"/>
                  <a:gd name="T13" fmla="*/ 1498 h 1521"/>
                  <a:gd name="T14" fmla="*/ 1000 w 1772"/>
                  <a:gd name="T15" fmla="*/ 1515 h 1521"/>
                  <a:gd name="T16" fmla="*/ 886 w 1772"/>
                  <a:gd name="T17" fmla="*/ 1521 h 1521"/>
                  <a:gd name="T18" fmla="*/ 766 w 1772"/>
                  <a:gd name="T19" fmla="*/ 1515 h 1521"/>
                  <a:gd name="T20" fmla="*/ 651 w 1772"/>
                  <a:gd name="T21" fmla="*/ 1498 h 1521"/>
                  <a:gd name="T22" fmla="*/ 537 w 1772"/>
                  <a:gd name="T23" fmla="*/ 1475 h 1521"/>
                  <a:gd name="T24" fmla="*/ 423 w 1772"/>
                  <a:gd name="T25" fmla="*/ 1446 h 1521"/>
                  <a:gd name="T26" fmla="*/ 314 w 1772"/>
                  <a:gd name="T27" fmla="*/ 1406 h 1521"/>
                  <a:gd name="T28" fmla="*/ 205 w 1772"/>
                  <a:gd name="T29" fmla="*/ 1354 h 1521"/>
                  <a:gd name="T30" fmla="*/ 97 w 1772"/>
                  <a:gd name="T31" fmla="*/ 1297 h 1521"/>
                  <a:gd name="T32" fmla="*/ 0 w 1772"/>
                  <a:gd name="T33" fmla="*/ 1228 h 1521"/>
                  <a:gd name="T34" fmla="*/ 886 w 1772"/>
                  <a:gd name="T35" fmla="*/ 0 h 1521"/>
                  <a:gd name="T36" fmla="*/ 1772 w 1772"/>
                  <a:gd name="T37" fmla="*/ 1228 h 15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772" h="1521">
                    <a:moveTo>
                      <a:pt x="1772" y="1228"/>
                    </a:moveTo>
                    <a:lnTo>
                      <a:pt x="1669" y="1297"/>
                    </a:lnTo>
                    <a:lnTo>
                      <a:pt x="1566" y="1354"/>
                    </a:lnTo>
                    <a:lnTo>
                      <a:pt x="1458" y="1406"/>
                    </a:lnTo>
                    <a:lnTo>
                      <a:pt x="1343" y="1446"/>
                    </a:lnTo>
                    <a:lnTo>
                      <a:pt x="1235" y="1475"/>
                    </a:lnTo>
                    <a:lnTo>
                      <a:pt x="1120" y="1498"/>
                    </a:lnTo>
                    <a:lnTo>
                      <a:pt x="1000" y="1515"/>
                    </a:lnTo>
                    <a:lnTo>
                      <a:pt x="886" y="1521"/>
                    </a:lnTo>
                    <a:lnTo>
                      <a:pt x="766" y="1515"/>
                    </a:lnTo>
                    <a:lnTo>
                      <a:pt x="651" y="1498"/>
                    </a:lnTo>
                    <a:lnTo>
                      <a:pt x="537" y="1475"/>
                    </a:lnTo>
                    <a:lnTo>
                      <a:pt x="423" y="1446"/>
                    </a:lnTo>
                    <a:lnTo>
                      <a:pt x="314" y="1406"/>
                    </a:lnTo>
                    <a:lnTo>
                      <a:pt x="205" y="1354"/>
                    </a:lnTo>
                    <a:lnTo>
                      <a:pt x="97" y="1297"/>
                    </a:lnTo>
                    <a:lnTo>
                      <a:pt x="0" y="1228"/>
                    </a:lnTo>
                    <a:lnTo>
                      <a:pt x="886" y="0"/>
                    </a:lnTo>
                    <a:lnTo>
                      <a:pt x="1772" y="1228"/>
                    </a:lnTo>
                    <a:close/>
                  </a:path>
                </a:pathLst>
              </a:custGeom>
              <a:solidFill>
                <a:schemeClr val="accent3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11">
                <a:extLst>
                  <a:ext uri="{FF2B5EF4-FFF2-40B4-BE49-F238E27FC236}">
                    <a16:creationId xmlns:a16="http://schemas.microsoft.com/office/drawing/2014/main" id="{EB93FBD8-704B-C0AB-7F9D-5D2D837ABA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148908" y="-2545403"/>
                <a:ext cx="2397125" cy="2687638"/>
              </a:xfrm>
              <a:custGeom>
                <a:avLst/>
                <a:gdLst>
                  <a:gd name="T0" fmla="*/ 624 w 1510"/>
                  <a:gd name="T1" fmla="*/ 1693 h 1693"/>
                  <a:gd name="T2" fmla="*/ 526 w 1510"/>
                  <a:gd name="T3" fmla="*/ 1618 h 1693"/>
                  <a:gd name="T4" fmla="*/ 435 w 1510"/>
                  <a:gd name="T5" fmla="*/ 1538 h 1693"/>
                  <a:gd name="T6" fmla="*/ 355 w 1510"/>
                  <a:gd name="T7" fmla="*/ 1446 h 1693"/>
                  <a:gd name="T8" fmla="*/ 286 w 1510"/>
                  <a:gd name="T9" fmla="*/ 1355 h 1693"/>
                  <a:gd name="T10" fmla="*/ 218 w 1510"/>
                  <a:gd name="T11" fmla="*/ 1257 h 1693"/>
                  <a:gd name="T12" fmla="*/ 161 w 1510"/>
                  <a:gd name="T13" fmla="*/ 1154 h 1693"/>
                  <a:gd name="T14" fmla="*/ 115 w 1510"/>
                  <a:gd name="T15" fmla="*/ 1045 h 1693"/>
                  <a:gd name="T16" fmla="*/ 75 w 1510"/>
                  <a:gd name="T17" fmla="*/ 936 h 1693"/>
                  <a:gd name="T18" fmla="*/ 40 w 1510"/>
                  <a:gd name="T19" fmla="*/ 821 h 1693"/>
                  <a:gd name="T20" fmla="*/ 18 w 1510"/>
                  <a:gd name="T21" fmla="*/ 706 h 1693"/>
                  <a:gd name="T22" fmla="*/ 6 w 1510"/>
                  <a:gd name="T23" fmla="*/ 591 h 1693"/>
                  <a:gd name="T24" fmla="*/ 0 w 1510"/>
                  <a:gd name="T25" fmla="*/ 471 h 1693"/>
                  <a:gd name="T26" fmla="*/ 0 w 1510"/>
                  <a:gd name="T27" fmla="*/ 356 h 1693"/>
                  <a:gd name="T28" fmla="*/ 18 w 1510"/>
                  <a:gd name="T29" fmla="*/ 236 h 1693"/>
                  <a:gd name="T30" fmla="*/ 40 w 1510"/>
                  <a:gd name="T31" fmla="*/ 115 h 1693"/>
                  <a:gd name="T32" fmla="*/ 75 w 1510"/>
                  <a:gd name="T33" fmla="*/ 0 h 1693"/>
                  <a:gd name="T34" fmla="*/ 1510 w 1510"/>
                  <a:gd name="T35" fmla="*/ 465 h 1693"/>
                  <a:gd name="T36" fmla="*/ 624 w 1510"/>
                  <a:gd name="T37" fmla="*/ 1693 h 16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10" h="1693">
                    <a:moveTo>
                      <a:pt x="624" y="1693"/>
                    </a:moveTo>
                    <a:lnTo>
                      <a:pt x="526" y="1618"/>
                    </a:lnTo>
                    <a:lnTo>
                      <a:pt x="435" y="1538"/>
                    </a:lnTo>
                    <a:lnTo>
                      <a:pt x="355" y="1446"/>
                    </a:lnTo>
                    <a:lnTo>
                      <a:pt x="286" y="1355"/>
                    </a:lnTo>
                    <a:lnTo>
                      <a:pt x="218" y="1257"/>
                    </a:lnTo>
                    <a:lnTo>
                      <a:pt x="161" y="1154"/>
                    </a:lnTo>
                    <a:lnTo>
                      <a:pt x="115" y="1045"/>
                    </a:lnTo>
                    <a:lnTo>
                      <a:pt x="75" y="936"/>
                    </a:lnTo>
                    <a:lnTo>
                      <a:pt x="40" y="821"/>
                    </a:lnTo>
                    <a:lnTo>
                      <a:pt x="18" y="706"/>
                    </a:lnTo>
                    <a:lnTo>
                      <a:pt x="6" y="591"/>
                    </a:lnTo>
                    <a:lnTo>
                      <a:pt x="0" y="471"/>
                    </a:lnTo>
                    <a:lnTo>
                      <a:pt x="0" y="356"/>
                    </a:lnTo>
                    <a:lnTo>
                      <a:pt x="18" y="236"/>
                    </a:lnTo>
                    <a:lnTo>
                      <a:pt x="40" y="115"/>
                    </a:lnTo>
                    <a:lnTo>
                      <a:pt x="75" y="0"/>
                    </a:lnTo>
                    <a:lnTo>
                      <a:pt x="1510" y="465"/>
                    </a:lnTo>
                    <a:lnTo>
                      <a:pt x="624" y="1693"/>
                    </a:lnTo>
                    <a:close/>
                  </a:path>
                </a:pathLst>
              </a:custGeom>
              <a:solidFill>
                <a:schemeClr val="accent4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13">
                <a:extLst>
                  <a:ext uri="{FF2B5EF4-FFF2-40B4-BE49-F238E27FC236}">
                    <a16:creationId xmlns:a16="http://schemas.microsoft.com/office/drawing/2014/main" id="{76E135EA-663F-FF63-3E2F-85CD3BC008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029845" y="-4212278"/>
                <a:ext cx="2278063" cy="2405063"/>
              </a:xfrm>
              <a:custGeom>
                <a:avLst/>
                <a:gdLst>
                  <a:gd name="T0" fmla="*/ 0 w 1435"/>
                  <a:gd name="T1" fmla="*/ 1050 h 1515"/>
                  <a:gd name="T2" fmla="*/ 40 w 1435"/>
                  <a:gd name="T3" fmla="*/ 936 h 1515"/>
                  <a:gd name="T4" fmla="*/ 91 w 1435"/>
                  <a:gd name="T5" fmla="*/ 827 h 1515"/>
                  <a:gd name="T6" fmla="*/ 148 w 1435"/>
                  <a:gd name="T7" fmla="*/ 723 h 1515"/>
                  <a:gd name="T8" fmla="*/ 217 w 1435"/>
                  <a:gd name="T9" fmla="*/ 620 h 1515"/>
                  <a:gd name="T10" fmla="*/ 291 w 1435"/>
                  <a:gd name="T11" fmla="*/ 528 h 1515"/>
                  <a:gd name="T12" fmla="*/ 366 w 1435"/>
                  <a:gd name="T13" fmla="*/ 442 h 1515"/>
                  <a:gd name="T14" fmla="*/ 457 w 1435"/>
                  <a:gd name="T15" fmla="*/ 362 h 1515"/>
                  <a:gd name="T16" fmla="*/ 549 w 1435"/>
                  <a:gd name="T17" fmla="*/ 293 h 1515"/>
                  <a:gd name="T18" fmla="*/ 646 w 1435"/>
                  <a:gd name="T19" fmla="*/ 224 h 1515"/>
                  <a:gd name="T20" fmla="*/ 743 w 1435"/>
                  <a:gd name="T21" fmla="*/ 167 h 1515"/>
                  <a:gd name="T22" fmla="*/ 852 w 1435"/>
                  <a:gd name="T23" fmla="*/ 121 h 1515"/>
                  <a:gd name="T24" fmla="*/ 960 w 1435"/>
                  <a:gd name="T25" fmla="*/ 75 h 1515"/>
                  <a:gd name="T26" fmla="*/ 1075 w 1435"/>
                  <a:gd name="T27" fmla="*/ 46 h 1515"/>
                  <a:gd name="T28" fmla="*/ 1195 w 1435"/>
                  <a:gd name="T29" fmla="*/ 23 h 1515"/>
                  <a:gd name="T30" fmla="*/ 1315 w 1435"/>
                  <a:gd name="T31" fmla="*/ 6 h 1515"/>
                  <a:gd name="T32" fmla="*/ 1435 w 1435"/>
                  <a:gd name="T33" fmla="*/ 0 h 1515"/>
                  <a:gd name="T34" fmla="*/ 1435 w 1435"/>
                  <a:gd name="T35" fmla="*/ 1515 h 1515"/>
                  <a:gd name="T36" fmla="*/ 0 w 1435"/>
                  <a:gd name="T37" fmla="*/ 1050 h 15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435" h="1515">
                    <a:moveTo>
                      <a:pt x="0" y="1050"/>
                    </a:moveTo>
                    <a:lnTo>
                      <a:pt x="40" y="936"/>
                    </a:lnTo>
                    <a:lnTo>
                      <a:pt x="91" y="827"/>
                    </a:lnTo>
                    <a:lnTo>
                      <a:pt x="148" y="723"/>
                    </a:lnTo>
                    <a:lnTo>
                      <a:pt x="217" y="620"/>
                    </a:lnTo>
                    <a:lnTo>
                      <a:pt x="291" y="528"/>
                    </a:lnTo>
                    <a:lnTo>
                      <a:pt x="366" y="442"/>
                    </a:lnTo>
                    <a:lnTo>
                      <a:pt x="457" y="362"/>
                    </a:lnTo>
                    <a:lnTo>
                      <a:pt x="549" y="293"/>
                    </a:lnTo>
                    <a:lnTo>
                      <a:pt x="646" y="224"/>
                    </a:lnTo>
                    <a:lnTo>
                      <a:pt x="743" y="167"/>
                    </a:lnTo>
                    <a:lnTo>
                      <a:pt x="852" y="121"/>
                    </a:lnTo>
                    <a:lnTo>
                      <a:pt x="960" y="75"/>
                    </a:lnTo>
                    <a:lnTo>
                      <a:pt x="1075" y="46"/>
                    </a:lnTo>
                    <a:lnTo>
                      <a:pt x="1195" y="23"/>
                    </a:lnTo>
                    <a:lnTo>
                      <a:pt x="1315" y="6"/>
                    </a:lnTo>
                    <a:lnTo>
                      <a:pt x="1435" y="0"/>
                    </a:lnTo>
                    <a:lnTo>
                      <a:pt x="1435" y="1515"/>
                    </a:lnTo>
                    <a:lnTo>
                      <a:pt x="0" y="1050"/>
                    </a:lnTo>
                    <a:close/>
                  </a:path>
                </a:pathLst>
              </a:custGeom>
              <a:solidFill>
                <a:schemeClr val="accent5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sp>
          <p:nvSpPr>
            <p:cNvPr id="89" name="Freeform 5">
              <a:extLst>
                <a:ext uri="{FF2B5EF4-FFF2-40B4-BE49-F238E27FC236}">
                  <a16:creationId xmlns:a16="http://schemas.microsoft.com/office/drawing/2014/main" id="{B60EDEC4-10BD-2A02-436C-40DB65A09C12}"/>
                </a:ext>
              </a:extLst>
            </p:cNvPr>
            <p:cNvSpPr>
              <a:spLocks/>
            </p:cNvSpPr>
            <p:nvPr/>
          </p:nvSpPr>
          <p:spPr bwMode="auto">
            <a:xfrm>
              <a:off x="-2121074" y="2475050"/>
              <a:ext cx="1585475" cy="1667957"/>
            </a:xfrm>
            <a:custGeom>
              <a:avLst/>
              <a:gdLst>
                <a:gd name="T0" fmla="*/ 0 w 1435"/>
                <a:gd name="T1" fmla="*/ 0 h 1515"/>
                <a:gd name="T2" fmla="*/ 120 w 1435"/>
                <a:gd name="T3" fmla="*/ 6 h 1515"/>
                <a:gd name="T4" fmla="*/ 240 w 1435"/>
                <a:gd name="T5" fmla="*/ 23 h 1515"/>
                <a:gd name="T6" fmla="*/ 354 w 1435"/>
                <a:gd name="T7" fmla="*/ 46 h 1515"/>
                <a:gd name="T8" fmla="*/ 469 w 1435"/>
                <a:gd name="T9" fmla="*/ 75 h 1515"/>
                <a:gd name="T10" fmla="*/ 583 w 1435"/>
                <a:gd name="T11" fmla="*/ 121 h 1515"/>
                <a:gd name="T12" fmla="*/ 686 w 1435"/>
                <a:gd name="T13" fmla="*/ 167 h 1515"/>
                <a:gd name="T14" fmla="*/ 789 w 1435"/>
                <a:gd name="T15" fmla="*/ 224 h 1515"/>
                <a:gd name="T16" fmla="*/ 886 w 1435"/>
                <a:gd name="T17" fmla="*/ 293 h 1515"/>
                <a:gd name="T18" fmla="*/ 978 w 1435"/>
                <a:gd name="T19" fmla="*/ 362 h 1515"/>
                <a:gd name="T20" fmla="*/ 1063 w 1435"/>
                <a:gd name="T21" fmla="*/ 442 h 1515"/>
                <a:gd name="T22" fmla="*/ 1143 w 1435"/>
                <a:gd name="T23" fmla="*/ 528 h 1515"/>
                <a:gd name="T24" fmla="*/ 1218 w 1435"/>
                <a:gd name="T25" fmla="*/ 620 h 1515"/>
                <a:gd name="T26" fmla="*/ 1281 w 1435"/>
                <a:gd name="T27" fmla="*/ 723 h 1515"/>
                <a:gd name="T28" fmla="*/ 1343 w 1435"/>
                <a:gd name="T29" fmla="*/ 827 h 1515"/>
                <a:gd name="T30" fmla="*/ 1395 w 1435"/>
                <a:gd name="T31" fmla="*/ 936 h 1515"/>
                <a:gd name="T32" fmla="*/ 1435 w 1435"/>
                <a:gd name="T33" fmla="*/ 1050 h 1515"/>
                <a:gd name="T34" fmla="*/ 0 w 1435"/>
                <a:gd name="T35" fmla="*/ 1515 h 1515"/>
                <a:gd name="T36" fmla="*/ 0 w 1435"/>
                <a:gd name="T37" fmla="*/ 0 h 15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35" h="1515">
                  <a:moveTo>
                    <a:pt x="0" y="0"/>
                  </a:moveTo>
                  <a:lnTo>
                    <a:pt x="120" y="6"/>
                  </a:lnTo>
                  <a:lnTo>
                    <a:pt x="240" y="23"/>
                  </a:lnTo>
                  <a:lnTo>
                    <a:pt x="354" y="46"/>
                  </a:lnTo>
                  <a:lnTo>
                    <a:pt x="469" y="75"/>
                  </a:lnTo>
                  <a:lnTo>
                    <a:pt x="583" y="121"/>
                  </a:lnTo>
                  <a:lnTo>
                    <a:pt x="686" y="167"/>
                  </a:lnTo>
                  <a:lnTo>
                    <a:pt x="789" y="224"/>
                  </a:lnTo>
                  <a:lnTo>
                    <a:pt x="886" y="293"/>
                  </a:lnTo>
                  <a:lnTo>
                    <a:pt x="978" y="362"/>
                  </a:lnTo>
                  <a:lnTo>
                    <a:pt x="1063" y="442"/>
                  </a:lnTo>
                  <a:lnTo>
                    <a:pt x="1143" y="528"/>
                  </a:lnTo>
                  <a:lnTo>
                    <a:pt x="1218" y="620"/>
                  </a:lnTo>
                  <a:lnTo>
                    <a:pt x="1281" y="723"/>
                  </a:lnTo>
                  <a:lnTo>
                    <a:pt x="1343" y="827"/>
                  </a:lnTo>
                  <a:lnTo>
                    <a:pt x="1395" y="936"/>
                  </a:lnTo>
                  <a:lnTo>
                    <a:pt x="1435" y="1050"/>
                  </a:lnTo>
                  <a:lnTo>
                    <a:pt x="0" y="151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89614" tIns="44807" rIns="89614" bIns="44807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262626"/>
                </a:solidFill>
                <a:latin typeface="Calibri Light"/>
              </a:endParaRPr>
            </a:p>
          </p:txBody>
        </p:sp>
        <p:sp>
          <p:nvSpPr>
            <p:cNvPr id="90" name="Freeform 7">
              <a:extLst>
                <a:ext uri="{FF2B5EF4-FFF2-40B4-BE49-F238E27FC236}">
                  <a16:creationId xmlns:a16="http://schemas.microsoft.com/office/drawing/2014/main" id="{48C067E7-CFAD-5832-2B19-D71D08BA41EE}"/>
                </a:ext>
              </a:extLst>
            </p:cNvPr>
            <p:cNvSpPr>
              <a:spLocks/>
            </p:cNvSpPr>
            <p:nvPr/>
          </p:nvSpPr>
          <p:spPr bwMode="auto">
            <a:xfrm>
              <a:off x="-2121074" y="3631059"/>
              <a:ext cx="1667235" cy="1863928"/>
            </a:xfrm>
            <a:custGeom>
              <a:avLst/>
              <a:gdLst>
                <a:gd name="T0" fmla="*/ 1435 w 1509"/>
                <a:gd name="T1" fmla="*/ 0 h 1693"/>
                <a:gd name="T2" fmla="*/ 1469 w 1509"/>
                <a:gd name="T3" fmla="*/ 115 h 1693"/>
                <a:gd name="T4" fmla="*/ 1492 w 1509"/>
                <a:gd name="T5" fmla="*/ 236 h 1693"/>
                <a:gd name="T6" fmla="*/ 1504 w 1509"/>
                <a:gd name="T7" fmla="*/ 356 h 1693"/>
                <a:gd name="T8" fmla="*/ 1509 w 1509"/>
                <a:gd name="T9" fmla="*/ 471 h 1693"/>
                <a:gd name="T10" fmla="*/ 1504 w 1509"/>
                <a:gd name="T11" fmla="*/ 591 h 1693"/>
                <a:gd name="T12" fmla="*/ 1492 w 1509"/>
                <a:gd name="T13" fmla="*/ 706 h 1693"/>
                <a:gd name="T14" fmla="*/ 1469 w 1509"/>
                <a:gd name="T15" fmla="*/ 821 h 1693"/>
                <a:gd name="T16" fmla="*/ 1435 w 1509"/>
                <a:gd name="T17" fmla="*/ 936 h 1693"/>
                <a:gd name="T18" fmla="*/ 1395 w 1509"/>
                <a:gd name="T19" fmla="*/ 1045 h 1693"/>
                <a:gd name="T20" fmla="*/ 1343 w 1509"/>
                <a:gd name="T21" fmla="*/ 1154 h 1693"/>
                <a:gd name="T22" fmla="*/ 1286 w 1509"/>
                <a:gd name="T23" fmla="*/ 1257 h 1693"/>
                <a:gd name="T24" fmla="*/ 1223 w 1509"/>
                <a:gd name="T25" fmla="*/ 1355 h 1693"/>
                <a:gd name="T26" fmla="*/ 1149 w 1509"/>
                <a:gd name="T27" fmla="*/ 1446 h 1693"/>
                <a:gd name="T28" fmla="*/ 1069 w 1509"/>
                <a:gd name="T29" fmla="*/ 1538 h 1693"/>
                <a:gd name="T30" fmla="*/ 983 w 1509"/>
                <a:gd name="T31" fmla="*/ 1618 h 1693"/>
                <a:gd name="T32" fmla="*/ 886 w 1509"/>
                <a:gd name="T33" fmla="*/ 1693 h 1693"/>
                <a:gd name="T34" fmla="*/ 0 w 1509"/>
                <a:gd name="T35" fmla="*/ 465 h 1693"/>
                <a:gd name="T36" fmla="*/ 1435 w 1509"/>
                <a:gd name="T37" fmla="*/ 0 h 16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509" h="1693">
                  <a:moveTo>
                    <a:pt x="1435" y="0"/>
                  </a:moveTo>
                  <a:lnTo>
                    <a:pt x="1469" y="115"/>
                  </a:lnTo>
                  <a:lnTo>
                    <a:pt x="1492" y="236"/>
                  </a:lnTo>
                  <a:lnTo>
                    <a:pt x="1504" y="356"/>
                  </a:lnTo>
                  <a:lnTo>
                    <a:pt x="1509" y="471"/>
                  </a:lnTo>
                  <a:lnTo>
                    <a:pt x="1504" y="591"/>
                  </a:lnTo>
                  <a:lnTo>
                    <a:pt x="1492" y="706"/>
                  </a:lnTo>
                  <a:lnTo>
                    <a:pt x="1469" y="821"/>
                  </a:lnTo>
                  <a:lnTo>
                    <a:pt x="1435" y="936"/>
                  </a:lnTo>
                  <a:lnTo>
                    <a:pt x="1395" y="1045"/>
                  </a:lnTo>
                  <a:lnTo>
                    <a:pt x="1343" y="1154"/>
                  </a:lnTo>
                  <a:lnTo>
                    <a:pt x="1286" y="1257"/>
                  </a:lnTo>
                  <a:lnTo>
                    <a:pt x="1223" y="1355"/>
                  </a:lnTo>
                  <a:lnTo>
                    <a:pt x="1149" y="1446"/>
                  </a:lnTo>
                  <a:lnTo>
                    <a:pt x="1069" y="1538"/>
                  </a:lnTo>
                  <a:lnTo>
                    <a:pt x="983" y="1618"/>
                  </a:lnTo>
                  <a:lnTo>
                    <a:pt x="886" y="1693"/>
                  </a:lnTo>
                  <a:lnTo>
                    <a:pt x="0" y="465"/>
                  </a:lnTo>
                  <a:lnTo>
                    <a:pt x="1435" y="0"/>
                  </a:lnTo>
                  <a:close/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89614" tIns="44807" rIns="89614" bIns="44807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262626"/>
                </a:solidFill>
                <a:latin typeface="Calibri Light"/>
              </a:endParaRPr>
            </a:p>
          </p:txBody>
        </p:sp>
        <p:sp>
          <p:nvSpPr>
            <p:cNvPr id="91" name="Freeform 9">
              <a:extLst>
                <a:ext uri="{FF2B5EF4-FFF2-40B4-BE49-F238E27FC236}">
                  <a16:creationId xmlns:a16="http://schemas.microsoft.com/office/drawing/2014/main" id="{9A483264-DCD0-49A3-62A2-B0E457B40987}"/>
                </a:ext>
              </a:extLst>
            </p:cNvPr>
            <p:cNvSpPr>
              <a:spLocks/>
            </p:cNvSpPr>
            <p:nvPr/>
          </p:nvSpPr>
          <p:spPr bwMode="auto">
            <a:xfrm>
              <a:off x="-3099981" y="4143007"/>
              <a:ext cx="1957813" cy="1674562"/>
            </a:xfrm>
            <a:custGeom>
              <a:avLst/>
              <a:gdLst>
                <a:gd name="T0" fmla="*/ 1772 w 1772"/>
                <a:gd name="T1" fmla="*/ 1228 h 1521"/>
                <a:gd name="T2" fmla="*/ 1669 w 1772"/>
                <a:gd name="T3" fmla="*/ 1297 h 1521"/>
                <a:gd name="T4" fmla="*/ 1566 w 1772"/>
                <a:gd name="T5" fmla="*/ 1354 h 1521"/>
                <a:gd name="T6" fmla="*/ 1458 w 1772"/>
                <a:gd name="T7" fmla="*/ 1406 h 1521"/>
                <a:gd name="T8" fmla="*/ 1343 w 1772"/>
                <a:gd name="T9" fmla="*/ 1446 h 1521"/>
                <a:gd name="T10" fmla="*/ 1235 w 1772"/>
                <a:gd name="T11" fmla="*/ 1475 h 1521"/>
                <a:gd name="T12" fmla="*/ 1120 w 1772"/>
                <a:gd name="T13" fmla="*/ 1498 h 1521"/>
                <a:gd name="T14" fmla="*/ 1000 w 1772"/>
                <a:gd name="T15" fmla="*/ 1515 h 1521"/>
                <a:gd name="T16" fmla="*/ 886 w 1772"/>
                <a:gd name="T17" fmla="*/ 1521 h 1521"/>
                <a:gd name="T18" fmla="*/ 766 w 1772"/>
                <a:gd name="T19" fmla="*/ 1515 h 1521"/>
                <a:gd name="T20" fmla="*/ 651 w 1772"/>
                <a:gd name="T21" fmla="*/ 1498 h 1521"/>
                <a:gd name="T22" fmla="*/ 537 w 1772"/>
                <a:gd name="T23" fmla="*/ 1475 h 1521"/>
                <a:gd name="T24" fmla="*/ 423 w 1772"/>
                <a:gd name="T25" fmla="*/ 1446 h 1521"/>
                <a:gd name="T26" fmla="*/ 314 w 1772"/>
                <a:gd name="T27" fmla="*/ 1406 h 1521"/>
                <a:gd name="T28" fmla="*/ 205 w 1772"/>
                <a:gd name="T29" fmla="*/ 1354 h 1521"/>
                <a:gd name="T30" fmla="*/ 97 w 1772"/>
                <a:gd name="T31" fmla="*/ 1297 h 1521"/>
                <a:gd name="T32" fmla="*/ 0 w 1772"/>
                <a:gd name="T33" fmla="*/ 1228 h 1521"/>
                <a:gd name="T34" fmla="*/ 886 w 1772"/>
                <a:gd name="T35" fmla="*/ 0 h 1521"/>
                <a:gd name="T36" fmla="*/ 1772 w 1772"/>
                <a:gd name="T37" fmla="*/ 1228 h 1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772" h="1521">
                  <a:moveTo>
                    <a:pt x="1772" y="1228"/>
                  </a:moveTo>
                  <a:lnTo>
                    <a:pt x="1669" y="1297"/>
                  </a:lnTo>
                  <a:lnTo>
                    <a:pt x="1566" y="1354"/>
                  </a:lnTo>
                  <a:lnTo>
                    <a:pt x="1458" y="1406"/>
                  </a:lnTo>
                  <a:lnTo>
                    <a:pt x="1343" y="1446"/>
                  </a:lnTo>
                  <a:lnTo>
                    <a:pt x="1235" y="1475"/>
                  </a:lnTo>
                  <a:lnTo>
                    <a:pt x="1120" y="1498"/>
                  </a:lnTo>
                  <a:lnTo>
                    <a:pt x="1000" y="1515"/>
                  </a:lnTo>
                  <a:lnTo>
                    <a:pt x="886" y="1521"/>
                  </a:lnTo>
                  <a:lnTo>
                    <a:pt x="766" y="1515"/>
                  </a:lnTo>
                  <a:lnTo>
                    <a:pt x="651" y="1498"/>
                  </a:lnTo>
                  <a:lnTo>
                    <a:pt x="537" y="1475"/>
                  </a:lnTo>
                  <a:lnTo>
                    <a:pt x="423" y="1446"/>
                  </a:lnTo>
                  <a:lnTo>
                    <a:pt x="314" y="1406"/>
                  </a:lnTo>
                  <a:lnTo>
                    <a:pt x="205" y="1354"/>
                  </a:lnTo>
                  <a:lnTo>
                    <a:pt x="97" y="1297"/>
                  </a:lnTo>
                  <a:lnTo>
                    <a:pt x="0" y="1228"/>
                  </a:lnTo>
                  <a:lnTo>
                    <a:pt x="886" y="0"/>
                  </a:lnTo>
                  <a:lnTo>
                    <a:pt x="1772" y="1228"/>
                  </a:lnTo>
                  <a:close/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89614" tIns="44807" rIns="89614" bIns="44807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262626"/>
                </a:solidFill>
                <a:latin typeface="Calibri Light"/>
              </a:endParaRPr>
            </a:p>
          </p:txBody>
        </p:sp>
        <p:sp>
          <p:nvSpPr>
            <p:cNvPr id="92" name="Freeform 11">
              <a:extLst>
                <a:ext uri="{FF2B5EF4-FFF2-40B4-BE49-F238E27FC236}">
                  <a16:creationId xmlns:a16="http://schemas.microsoft.com/office/drawing/2014/main" id="{E8DAD02B-11E8-4C47-E890-D7DF578B5F84}"/>
                </a:ext>
              </a:extLst>
            </p:cNvPr>
            <p:cNvSpPr>
              <a:spLocks/>
            </p:cNvSpPr>
            <p:nvPr/>
          </p:nvSpPr>
          <p:spPr bwMode="auto">
            <a:xfrm>
              <a:off x="-3789414" y="3631059"/>
              <a:ext cx="1668339" cy="1863928"/>
            </a:xfrm>
            <a:custGeom>
              <a:avLst/>
              <a:gdLst>
                <a:gd name="T0" fmla="*/ 624 w 1510"/>
                <a:gd name="T1" fmla="*/ 1693 h 1693"/>
                <a:gd name="T2" fmla="*/ 526 w 1510"/>
                <a:gd name="T3" fmla="*/ 1618 h 1693"/>
                <a:gd name="T4" fmla="*/ 435 w 1510"/>
                <a:gd name="T5" fmla="*/ 1538 h 1693"/>
                <a:gd name="T6" fmla="*/ 355 w 1510"/>
                <a:gd name="T7" fmla="*/ 1446 h 1693"/>
                <a:gd name="T8" fmla="*/ 286 w 1510"/>
                <a:gd name="T9" fmla="*/ 1355 h 1693"/>
                <a:gd name="T10" fmla="*/ 218 w 1510"/>
                <a:gd name="T11" fmla="*/ 1257 h 1693"/>
                <a:gd name="T12" fmla="*/ 161 w 1510"/>
                <a:gd name="T13" fmla="*/ 1154 h 1693"/>
                <a:gd name="T14" fmla="*/ 115 w 1510"/>
                <a:gd name="T15" fmla="*/ 1045 h 1693"/>
                <a:gd name="T16" fmla="*/ 75 w 1510"/>
                <a:gd name="T17" fmla="*/ 936 h 1693"/>
                <a:gd name="T18" fmla="*/ 40 w 1510"/>
                <a:gd name="T19" fmla="*/ 821 h 1693"/>
                <a:gd name="T20" fmla="*/ 18 w 1510"/>
                <a:gd name="T21" fmla="*/ 706 h 1693"/>
                <a:gd name="T22" fmla="*/ 6 w 1510"/>
                <a:gd name="T23" fmla="*/ 591 h 1693"/>
                <a:gd name="T24" fmla="*/ 0 w 1510"/>
                <a:gd name="T25" fmla="*/ 471 h 1693"/>
                <a:gd name="T26" fmla="*/ 0 w 1510"/>
                <a:gd name="T27" fmla="*/ 356 h 1693"/>
                <a:gd name="T28" fmla="*/ 18 w 1510"/>
                <a:gd name="T29" fmla="*/ 236 h 1693"/>
                <a:gd name="T30" fmla="*/ 40 w 1510"/>
                <a:gd name="T31" fmla="*/ 115 h 1693"/>
                <a:gd name="T32" fmla="*/ 75 w 1510"/>
                <a:gd name="T33" fmla="*/ 0 h 1693"/>
                <a:gd name="T34" fmla="*/ 1510 w 1510"/>
                <a:gd name="T35" fmla="*/ 465 h 1693"/>
                <a:gd name="T36" fmla="*/ 624 w 1510"/>
                <a:gd name="T37" fmla="*/ 1693 h 16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510" h="1693">
                  <a:moveTo>
                    <a:pt x="624" y="1693"/>
                  </a:moveTo>
                  <a:lnTo>
                    <a:pt x="526" y="1618"/>
                  </a:lnTo>
                  <a:lnTo>
                    <a:pt x="435" y="1538"/>
                  </a:lnTo>
                  <a:lnTo>
                    <a:pt x="355" y="1446"/>
                  </a:lnTo>
                  <a:lnTo>
                    <a:pt x="286" y="1355"/>
                  </a:lnTo>
                  <a:lnTo>
                    <a:pt x="218" y="1257"/>
                  </a:lnTo>
                  <a:lnTo>
                    <a:pt x="161" y="1154"/>
                  </a:lnTo>
                  <a:lnTo>
                    <a:pt x="115" y="1045"/>
                  </a:lnTo>
                  <a:lnTo>
                    <a:pt x="75" y="936"/>
                  </a:lnTo>
                  <a:lnTo>
                    <a:pt x="40" y="821"/>
                  </a:lnTo>
                  <a:lnTo>
                    <a:pt x="18" y="706"/>
                  </a:lnTo>
                  <a:lnTo>
                    <a:pt x="6" y="591"/>
                  </a:lnTo>
                  <a:lnTo>
                    <a:pt x="0" y="471"/>
                  </a:lnTo>
                  <a:lnTo>
                    <a:pt x="0" y="356"/>
                  </a:lnTo>
                  <a:lnTo>
                    <a:pt x="18" y="236"/>
                  </a:lnTo>
                  <a:lnTo>
                    <a:pt x="40" y="115"/>
                  </a:lnTo>
                  <a:lnTo>
                    <a:pt x="75" y="0"/>
                  </a:lnTo>
                  <a:lnTo>
                    <a:pt x="1510" y="465"/>
                  </a:lnTo>
                  <a:lnTo>
                    <a:pt x="624" y="1693"/>
                  </a:lnTo>
                  <a:close/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89614" tIns="44807" rIns="89614" bIns="44807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262626"/>
                </a:solidFill>
                <a:latin typeface="Calibri Light"/>
              </a:endParaRPr>
            </a:p>
          </p:txBody>
        </p:sp>
        <p:sp>
          <p:nvSpPr>
            <p:cNvPr id="93" name="Freeform 13">
              <a:extLst>
                <a:ext uri="{FF2B5EF4-FFF2-40B4-BE49-F238E27FC236}">
                  <a16:creationId xmlns:a16="http://schemas.microsoft.com/office/drawing/2014/main" id="{FC5D649B-76BA-6D70-D621-7D13C5EE934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706549" y="2475050"/>
              <a:ext cx="1585475" cy="1667957"/>
            </a:xfrm>
            <a:custGeom>
              <a:avLst/>
              <a:gdLst>
                <a:gd name="T0" fmla="*/ 0 w 1435"/>
                <a:gd name="T1" fmla="*/ 1050 h 1515"/>
                <a:gd name="T2" fmla="*/ 40 w 1435"/>
                <a:gd name="T3" fmla="*/ 936 h 1515"/>
                <a:gd name="T4" fmla="*/ 91 w 1435"/>
                <a:gd name="T5" fmla="*/ 827 h 1515"/>
                <a:gd name="T6" fmla="*/ 148 w 1435"/>
                <a:gd name="T7" fmla="*/ 723 h 1515"/>
                <a:gd name="T8" fmla="*/ 217 w 1435"/>
                <a:gd name="T9" fmla="*/ 620 h 1515"/>
                <a:gd name="T10" fmla="*/ 291 w 1435"/>
                <a:gd name="T11" fmla="*/ 528 h 1515"/>
                <a:gd name="T12" fmla="*/ 366 w 1435"/>
                <a:gd name="T13" fmla="*/ 442 h 1515"/>
                <a:gd name="T14" fmla="*/ 457 w 1435"/>
                <a:gd name="T15" fmla="*/ 362 h 1515"/>
                <a:gd name="T16" fmla="*/ 549 w 1435"/>
                <a:gd name="T17" fmla="*/ 293 h 1515"/>
                <a:gd name="T18" fmla="*/ 646 w 1435"/>
                <a:gd name="T19" fmla="*/ 224 h 1515"/>
                <a:gd name="T20" fmla="*/ 743 w 1435"/>
                <a:gd name="T21" fmla="*/ 167 h 1515"/>
                <a:gd name="T22" fmla="*/ 852 w 1435"/>
                <a:gd name="T23" fmla="*/ 121 h 1515"/>
                <a:gd name="T24" fmla="*/ 960 w 1435"/>
                <a:gd name="T25" fmla="*/ 75 h 1515"/>
                <a:gd name="T26" fmla="*/ 1075 w 1435"/>
                <a:gd name="T27" fmla="*/ 46 h 1515"/>
                <a:gd name="T28" fmla="*/ 1195 w 1435"/>
                <a:gd name="T29" fmla="*/ 23 h 1515"/>
                <a:gd name="T30" fmla="*/ 1315 w 1435"/>
                <a:gd name="T31" fmla="*/ 6 h 1515"/>
                <a:gd name="T32" fmla="*/ 1435 w 1435"/>
                <a:gd name="T33" fmla="*/ 0 h 1515"/>
                <a:gd name="T34" fmla="*/ 1435 w 1435"/>
                <a:gd name="T35" fmla="*/ 1515 h 1515"/>
                <a:gd name="T36" fmla="*/ 0 w 1435"/>
                <a:gd name="T37" fmla="*/ 1050 h 15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35" h="1515">
                  <a:moveTo>
                    <a:pt x="0" y="1050"/>
                  </a:moveTo>
                  <a:lnTo>
                    <a:pt x="40" y="936"/>
                  </a:lnTo>
                  <a:lnTo>
                    <a:pt x="91" y="827"/>
                  </a:lnTo>
                  <a:lnTo>
                    <a:pt x="148" y="723"/>
                  </a:lnTo>
                  <a:lnTo>
                    <a:pt x="217" y="620"/>
                  </a:lnTo>
                  <a:lnTo>
                    <a:pt x="291" y="528"/>
                  </a:lnTo>
                  <a:lnTo>
                    <a:pt x="366" y="442"/>
                  </a:lnTo>
                  <a:lnTo>
                    <a:pt x="457" y="362"/>
                  </a:lnTo>
                  <a:lnTo>
                    <a:pt x="549" y="293"/>
                  </a:lnTo>
                  <a:lnTo>
                    <a:pt x="646" y="224"/>
                  </a:lnTo>
                  <a:lnTo>
                    <a:pt x="743" y="167"/>
                  </a:lnTo>
                  <a:lnTo>
                    <a:pt x="852" y="121"/>
                  </a:lnTo>
                  <a:lnTo>
                    <a:pt x="960" y="75"/>
                  </a:lnTo>
                  <a:lnTo>
                    <a:pt x="1075" y="46"/>
                  </a:lnTo>
                  <a:lnTo>
                    <a:pt x="1195" y="23"/>
                  </a:lnTo>
                  <a:lnTo>
                    <a:pt x="1315" y="6"/>
                  </a:lnTo>
                  <a:lnTo>
                    <a:pt x="1435" y="0"/>
                  </a:lnTo>
                  <a:lnTo>
                    <a:pt x="1435" y="1515"/>
                  </a:lnTo>
                  <a:lnTo>
                    <a:pt x="0" y="1050"/>
                  </a:lnTo>
                  <a:close/>
                </a:path>
              </a:pathLst>
            </a:custGeom>
            <a:solidFill>
              <a:schemeClr val="accent5">
                <a:lumMod val="20000"/>
                <a:lumOff val="80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99" name="Inhaltsplatzhalter 4">
            <a:extLst>
              <a:ext uri="{FF2B5EF4-FFF2-40B4-BE49-F238E27FC236}">
                <a16:creationId xmlns:a16="http://schemas.microsoft.com/office/drawing/2014/main" id="{D9C70C1B-562A-FB18-1331-DBB52EAF0EF7}"/>
              </a:ext>
            </a:extLst>
          </p:cNvPr>
          <p:cNvSpPr txBox="1">
            <a:spLocks/>
          </p:cNvSpPr>
          <p:nvPr/>
        </p:nvSpPr>
        <p:spPr>
          <a:xfrm>
            <a:off x="670180" y="4144816"/>
            <a:ext cx="3095119" cy="24929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 fontAlgn="auto">
              <a:spcAft>
                <a:spcPts val="300"/>
              </a:spcAft>
              <a:buNone/>
            </a:pPr>
            <a:r>
              <a:rPr lang="en-US" sz="1800" b="1" dirty="0">
                <a:solidFill>
                  <a:schemeClr val="accent4"/>
                </a:solidFill>
                <a:latin typeface="+mj-lt"/>
                <a:cs typeface="Calibri" panose="020F0502020204030204" pitchFamily="34" charset="0"/>
              </a:rPr>
              <a:t>INSERT HEADING</a:t>
            </a:r>
          </a:p>
        </p:txBody>
      </p:sp>
      <p:sp>
        <p:nvSpPr>
          <p:cNvPr id="100" name="Inhaltsplatzhalter 4">
            <a:extLst>
              <a:ext uri="{FF2B5EF4-FFF2-40B4-BE49-F238E27FC236}">
                <a16:creationId xmlns:a16="http://schemas.microsoft.com/office/drawing/2014/main" id="{C117765D-AF08-9185-33F8-BF1785442AC9}"/>
              </a:ext>
            </a:extLst>
          </p:cNvPr>
          <p:cNvSpPr txBox="1">
            <a:spLocks/>
          </p:cNvSpPr>
          <p:nvPr/>
        </p:nvSpPr>
        <p:spPr>
          <a:xfrm>
            <a:off x="4439092" y="5880005"/>
            <a:ext cx="3095119" cy="24929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auto">
              <a:spcAft>
                <a:spcPts val="300"/>
              </a:spcAft>
              <a:buNone/>
            </a:pPr>
            <a:r>
              <a:rPr lang="en-US" sz="1800" b="1" dirty="0">
                <a:solidFill>
                  <a:schemeClr val="accent3"/>
                </a:solidFill>
                <a:latin typeface="+mj-lt"/>
                <a:cs typeface="Calibri" panose="020F0502020204030204" pitchFamily="34" charset="0"/>
              </a:rPr>
              <a:t>INSERT HEADING</a:t>
            </a:r>
          </a:p>
        </p:txBody>
      </p:sp>
      <p:sp>
        <p:nvSpPr>
          <p:cNvPr id="101" name="Inhaltsplatzhalter 4">
            <a:extLst>
              <a:ext uri="{FF2B5EF4-FFF2-40B4-BE49-F238E27FC236}">
                <a16:creationId xmlns:a16="http://schemas.microsoft.com/office/drawing/2014/main" id="{22C59BFB-B3D5-8C28-1FDA-CF7C700AEB0C}"/>
              </a:ext>
            </a:extLst>
          </p:cNvPr>
          <p:cNvSpPr txBox="1">
            <a:spLocks/>
          </p:cNvSpPr>
          <p:nvPr/>
        </p:nvSpPr>
        <p:spPr>
          <a:xfrm>
            <a:off x="7506091" y="1556842"/>
            <a:ext cx="3095119" cy="24929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300"/>
              </a:spcAft>
              <a:buNone/>
            </a:pPr>
            <a:r>
              <a:rPr lang="en-US" sz="1800" b="1" dirty="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INSERT HEADING</a:t>
            </a:r>
          </a:p>
        </p:txBody>
      </p:sp>
      <p:sp>
        <p:nvSpPr>
          <p:cNvPr id="102" name="Inhaltsplatzhalter 4">
            <a:extLst>
              <a:ext uri="{FF2B5EF4-FFF2-40B4-BE49-F238E27FC236}">
                <a16:creationId xmlns:a16="http://schemas.microsoft.com/office/drawing/2014/main" id="{53389E19-11F2-0E35-9E29-268D799529E6}"/>
              </a:ext>
            </a:extLst>
          </p:cNvPr>
          <p:cNvSpPr txBox="1">
            <a:spLocks/>
          </p:cNvSpPr>
          <p:nvPr/>
        </p:nvSpPr>
        <p:spPr>
          <a:xfrm>
            <a:off x="8202198" y="4144816"/>
            <a:ext cx="3095119" cy="24929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300"/>
              </a:spcAft>
              <a:buNone/>
            </a:pPr>
            <a:r>
              <a:rPr lang="en-US" sz="1800" b="1" dirty="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INSERT HEADING</a:t>
            </a:r>
          </a:p>
        </p:txBody>
      </p:sp>
      <p:sp>
        <p:nvSpPr>
          <p:cNvPr id="103" name="Inhaltsplatzhalter 4">
            <a:extLst>
              <a:ext uri="{FF2B5EF4-FFF2-40B4-BE49-F238E27FC236}">
                <a16:creationId xmlns:a16="http://schemas.microsoft.com/office/drawing/2014/main" id="{4AEDF4EA-5EB7-7DAD-BEE8-39AD6FC9EAA9}"/>
              </a:ext>
            </a:extLst>
          </p:cNvPr>
          <p:cNvSpPr txBox="1">
            <a:spLocks/>
          </p:cNvSpPr>
          <p:nvPr/>
        </p:nvSpPr>
        <p:spPr>
          <a:xfrm>
            <a:off x="1438941" y="1556842"/>
            <a:ext cx="3095119" cy="24929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 fontAlgn="auto">
              <a:spcAft>
                <a:spcPts val="300"/>
              </a:spcAft>
              <a:buNone/>
            </a:pPr>
            <a:r>
              <a:rPr lang="en-US" sz="1800" b="1" dirty="0">
                <a:solidFill>
                  <a:schemeClr val="accent5"/>
                </a:solidFill>
                <a:latin typeface="+mj-lt"/>
                <a:cs typeface="Calibri" panose="020F0502020204030204" pitchFamily="34" charset="0"/>
              </a:rPr>
              <a:t>INSERT HEADING</a:t>
            </a:r>
          </a:p>
        </p:txBody>
      </p:sp>
      <p:sp>
        <p:nvSpPr>
          <p:cNvPr id="104" name="Oval 103">
            <a:extLst>
              <a:ext uri="{FF2B5EF4-FFF2-40B4-BE49-F238E27FC236}">
                <a16:creationId xmlns:a16="http://schemas.microsoft.com/office/drawing/2014/main" id="{2CC6C269-E83F-AE9A-17D1-E285E57675E2}"/>
              </a:ext>
            </a:extLst>
          </p:cNvPr>
          <p:cNvSpPr/>
          <p:nvPr/>
        </p:nvSpPr>
        <p:spPr>
          <a:xfrm>
            <a:off x="5325433" y="2908357"/>
            <a:ext cx="1298246" cy="1285391"/>
          </a:xfrm>
          <a:prstGeom prst="ellipse">
            <a:avLst/>
          </a:prstGeom>
          <a:solidFill>
            <a:schemeClr val="bg1"/>
          </a:solidFill>
          <a:ln w="76200">
            <a:solidFill>
              <a:schemeClr val="bg1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0" tIns="0" rIns="0" bIns="0" anchor="ctr" anchorCtr="1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280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</a:p>
        </p:txBody>
      </p:sp>
      <p:grpSp>
        <p:nvGrpSpPr>
          <p:cNvPr id="105" name="Shape1_20180718_204234">
            <a:extLst>
              <a:ext uri="{FF2B5EF4-FFF2-40B4-BE49-F238E27FC236}">
                <a16:creationId xmlns:a16="http://schemas.microsoft.com/office/drawing/2014/main" id="{23AFEAC0-AA98-9A53-AEFC-2A2A0C442FE8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5778953" y="4670017"/>
            <a:ext cx="415395" cy="415395"/>
            <a:chOff x="-4769427" y="-314325"/>
            <a:chExt cx="4660901" cy="4576762"/>
          </a:xfrm>
        </p:grpSpPr>
        <p:sp>
          <p:nvSpPr>
            <p:cNvPr id="106" name="Freeform 23">
              <a:extLst>
                <a:ext uri="{FF2B5EF4-FFF2-40B4-BE49-F238E27FC236}">
                  <a16:creationId xmlns:a16="http://schemas.microsoft.com/office/drawing/2014/main" id="{879BE15C-10BE-81EF-336E-DE8A95D225B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509077" y="-314325"/>
              <a:ext cx="4138613" cy="3956050"/>
            </a:xfrm>
            <a:custGeom>
              <a:avLst/>
              <a:gdLst>
                <a:gd name="T0" fmla="*/ 2128 w 2188"/>
                <a:gd name="T1" fmla="*/ 946 h 2085"/>
                <a:gd name="T2" fmla="*/ 2169 w 2188"/>
                <a:gd name="T3" fmla="*/ 781 h 2085"/>
                <a:gd name="T4" fmla="*/ 2038 w 2188"/>
                <a:gd name="T5" fmla="*/ 671 h 2085"/>
                <a:gd name="T6" fmla="*/ 1503 w 2188"/>
                <a:gd name="T7" fmla="*/ 593 h 2085"/>
                <a:gd name="T8" fmla="*/ 1478 w 2188"/>
                <a:gd name="T9" fmla="*/ 576 h 2085"/>
                <a:gd name="T10" fmla="*/ 1239 w 2188"/>
                <a:gd name="T11" fmla="*/ 90 h 2085"/>
                <a:gd name="T12" fmla="*/ 1094 w 2188"/>
                <a:gd name="T13" fmla="*/ 0 h 2085"/>
                <a:gd name="T14" fmla="*/ 949 w 2188"/>
                <a:gd name="T15" fmla="*/ 90 h 2085"/>
                <a:gd name="T16" fmla="*/ 710 w 2188"/>
                <a:gd name="T17" fmla="*/ 576 h 2085"/>
                <a:gd name="T18" fmla="*/ 685 w 2188"/>
                <a:gd name="T19" fmla="*/ 593 h 2085"/>
                <a:gd name="T20" fmla="*/ 150 w 2188"/>
                <a:gd name="T21" fmla="*/ 671 h 2085"/>
                <a:gd name="T22" fmla="*/ 19 w 2188"/>
                <a:gd name="T23" fmla="*/ 781 h 2085"/>
                <a:gd name="T24" fmla="*/ 60 w 2188"/>
                <a:gd name="T25" fmla="*/ 946 h 2085"/>
                <a:gd name="T26" fmla="*/ 448 w 2188"/>
                <a:gd name="T27" fmla="*/ 1324 h 2085"/>
                <a:gd name="T28" fmla="*/ 457 w 2188"/>
                <a:gd name="T29" fmla="*/ 1353 h 2085"/>
                <a:gd name="T30" fmla="*/ 366 w 2188"/>
                <a:gd name="T31" fmla="*/ 1886 h 2085"/>
                <a:gd name="T32" fmla="*/ 430 w 2188"/>
                <a:gd name="T33" fmla="*/ 2044 h 2085"/>
                <a:gd name="T34" fmla="*/ 600 w 2188"/>
                <a:gd name="T35" fmla="*/ 2056 h 2085"/>
                <a:gd name="T36" fmla="*/ 1079 w 2188"/>
                <a:gd name="T37" fmla="*/ 1805 h 2085"/>
                <a:gd name="T38" fmla="*/ 1109 w 2188"/>
                <a:gd name="T39" fmla="*/ 1805 h 2085"/>
                <a:gd name="T40" fmla="*/ 1588 w 2188"/>
                <a:gd name="T41" fmla="*/ 2056 h 2085"/>
                <a:gd name="T42" fmla="*/ 1663 w 2188"/>
                <a:gd name="T43" fmla="*/ 2075 h 2085"/>
                <a:gd name="T44" fmla="*/ 1758 w 2188"/>
                <a:gd name="T45" fmla="*/ 2044 h 2085"/>
                <a:gd name="T46" fmla="*/ 1822 w 2188"/>
                <a:gd name="T47" fmla="*/ 1886 h 2085"/>
                <a:gd name="T48" fmla="*/ 1731 w 2188"/>
                <a:gd name="T49" fmla="*/ 1353 h 2085"/>
                <a:gd name="T50" fmla="*/ 1740 w 2188"/>
                <a:gd name="T51" fmla="*/ 1324 h 2085"/>
                <a:gd name="T52" fmla="*/ 2128 w 2188"/>
                <a:gd name="T53" fmla="*/ 946 h 2085"/>
                <a:gd name="T54" fmla="*/ 1604 w 2188"/>
                <a:gd name="T55" fmla="*/ 1375 h 2085"/>
                <a:gd name="T56" fmla="*/ 1695 w 2188"/>
                <a:gd name="T57" fmla="*/ 1908 h 2085"/>
                <a:gd name="T58" fmla="*/ 1682 w 2188"/>
                <a:gd name="T59" fmla="*/ 1940 h 2085"/>
                <a:gd name="T60" fmla="*/ 1648 w 2188"/>
                <a:gd name="T61" fmla="*/ 1942 h 2085"/>
                <a:gd name="T62" fmla="*/ 1169 w 2188"/>
                <a:gd name="T63" fmla="*/ 1690 h 2085"/>
                <a:gd name="T64" fmla="*/ 1094 w 2188"/>
                <a:gd name="T65" fmla="*/ 1672 h 2085"/>
                <a:gd name="T66" fmla="*/ 1019 w 2188"/>
                <a:gd name="T67" fmla="*/ 1690 h 2085"/>
                <a:gd name="T68" fmla="*/ 540 w 2188"/>
                <a:gd name="T69" fmla="*/ 1942 h 2085"/>
                <a:gd name="T70" fmla="*/ 506 w 2188"/>
                <a:gd name="T71" fmla="*/ 1940 h 2085"/>
                <a:gd name="T72" fmla="*/ 493 w 2188"/>
                <a:gd name="T73" fmla="*/ 1908 h 2085"/>
                <a:gd name="T74" fmla="*/ 584 w 2188"/>
                <a:gd name="T75" fmla="*/ 1375 h 2085"/>
                <a:gd name="T76" fmla="*/ 538 w 2188"/>
                <a:gd name="T77" fmla="*/ 1232 h 2085"/>
                <a:gd name="T78" fmla="*/ 150 w 2188"/>
                <a:gd name="T79" fmla="*/ 854 h 2085"/>
                <a:gd name="T80" fmla="*/ 142 w 2188"/>
                <a:gd name="T81" fmla="*/ 821 h 2085"/>
                <a:gd name="T82" fmla="*/ 168 w 2188"/>
                <a:gd name="T83" fmla="*/ 799 h 2085"/>
                <a:gd name="T84" fmla="*/ 704 w 2188"/>
                <a:gd name="T85" fmla="*/ 721 h 2085"/>
                <a:gd name="T86" fmla="*/ 826 w 2188"/>
                <a:gd name="T87" fmla="*/ 633 h 2085"/>
                <a:gd name="T88" fmla="*/ 1065 w 2188"/>
                <a:gd name="T89" fmla="*/ 147 h 2085"/>
                <a:gd name="T90" fmla="*/ 1094 w 2188"/>
                <a:gd name="T91" fmla="*/ 129 h 2085"/>
                <a:gd name="T92" fmla="*/ 1123 w 2188"/>
                <a:gd name="T93" fmla="*/ 147 h 2085"/>
                <a:gd name="T94" fmla="*/ 1123 w 2188"/>
                <a:gd name="T95" fmla="*/ 147 h 2085"/>
                <a:gd name="T96" fmla="*/ 1363 w 2188"/>
                <a:gd name="T97" fmla="*/ 633 h 2085"/>
                <a:gd name="T98" fmla="*/ 1484 w 2188"/>
                <a:gd name="T99" fmla="*/ 721 h 2085"/>
                <a:gd name="T100" fmla="*/ 2020 w 2188"/>
                <a:gd name="T101" fmla="*/ 799 h 2085"/>
                <a:gd name="T102" fmla="*/ 2046 w 2188"/>
                <a:gd name="T103" fmla="*/ 821 h 2085"/>
                <a:gd name="T104" fmla="*/ 2038 w 2188"/>
                <a:gd name="T105" fmla="*/ 854 h 2085"/>
                <a:gd name="T106" fmla="*/ 1650 w 2188"/>
                <a:gd name="T107" fmla="*/ 1232 h 2085"/>
                <a:gd name="T108" fmla="*/ 1604 w 2188"/>
                <a:gd name="T109" fmla="*/ 1375 h 20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188" h="2085">
                  <a:moveTo>
                    <a:pt x="2128" y="946"/>
                  </a:moveTo>
                  <a:cubicBezTo>
                    <a:pt x="2172" y="903"/>
                    <a:pt x="2188" y="840"/>
                    <a:pt x="2169" y="781"/>
                  </a:cubicBezTo>
                  <a:cubicBezTo>
                    <a:pt x="2149" y="722"/>
                    <a:pt x="2100" y="680"/>
                    <a:pt x="2038" y="671"/>
                  </a:cubicBezTo>
                  <a:cubicBezTo>
                    <a:pt x="1503" y="593"/>
                    <a:pt x="1503" y="593"/>
                    <a:pt x="1503" y="593"/>
                  </a:cubicBezTo>
                  <a:cubicBezTo>
                    <a:pt x="1492" y="592"/>
                    <a:pt x="1483" y="585"/>
                    <a:pt x="1478" y="576"/>
                  </a:cubicBezTo>
                  <a:cubicBezTo>
                    <a:pt x="1239" y="90"/>
                    <a:pt x="1239" y="90"/>
                    <a:pt x="1239" y="90"/>
                  </a:cubicBezTo>
                  <a:cubicBezTo>
                    <a:pt x="1211" y="35"/>
                    <a:pt x="1156" y="0"/>
                    <a:pt x="1094" y="0"/>
                  </a:cubicBezTo>
                  <a:cubicBezTo>
                    <a:pt x="1032" y="0"/>
                    <a:pt x="977" y="35"/>
                    <a:pt x="949" y="90"/>
                  </a:cubicBezTo>
                  <a:cubicBezTo>
                    <a:pt x="710" y="576"/>
                    <a:pt x="710" y="576"/>
                    <a:pt x="710" y="576"/>
                  </a:cubicBezTo>
                  <a:cubicBezTo>
                    <a:pt x="705" y="585"/>
                    <a:pt x="696" y="592"/>
                    <a:pt x="685" y="593"/>
                  </a:cubicBezTo>
                  <a:cubicBezTo>
                    <a:pt x="150" y="671"/>
                    <a:pt x="150" y="671"/>
                    <a:pt x="150" y="671"/>
                  </a:cubicBezTo>
                  <a:cubicBezTo>
                    <a:pt x="88" y="680"/>
                    <a:pt x="39" y="722"/>
                    <a:pt x="19" y="781"/>
                  </a:cubicBezTo>
                  <a:cubicBezTo>
                    <a:pt x="0" y="840"/>
                    <a:pt x="16" y="903"/>
                    <a:pt x="60" y="946"/>
                  </a:cubicBezTo>
                  <a:cubicBezTo>
                    <a:pt x="448" y="1324"/>
                    <a:pt x="448" y="1324"/>
                    <a:pt x="448" y="1324"/>
                  </a:cubicBezTo>
                  <a:cubicBezTo>
                    <a:pt x="455" y="1332"/>
                    <a:pt x="459" y="1342"/>
                    <a:pt x="457" y="1353"/>
                  </a:cubicBezTo>
                  <a:cubicBezTo>
                    <a:pt x="366" y="1886"/>
                    <a:pt x="366" y="1886"/>
                    <a:pt x="366" y="1886"/>
                  </a:cubicBezTo>
                  <a:cubicBezTo>
                    <a:pt x="355" y="1947"/>
                    <a:pt x="380" y="2008"/>
                    <a:pt x="430" y="2044"/>
                  </a:cubicBezTo>
                  <a:cubicBezTo>
                    <a:pt x="480" y="2081"/>
                    <a:pt x="545" y="2085"/>
                    <a:pt x="600" y="2056"/>
                  </a:cubicBezTo>
                  <a:cubicBezTo>
                    <a:pt x="1079" y="1805"/>
                    <a:pt x="1079" y="1805"/>
                    <a:pt x="1079" y="1805"/>
                  </a:cubicBezTo>
                  <a:cubicBezTo>
                    <a:pt x="1088" y="1800"/>
                    <a:pt x="1100" y="1800"/>
                    <a:pt x="1109" y="1805"/>
                  </a:cubicBezTo>
                  <a:cubicBezTo>
                    <a:pt x="1588" y="2056"/>
                    <a:pt x="1588" y="2056"/>
                    <a:pt x="1588" y="2056"/>
                  </a:cubicBezTo>
                  <a:cubicBezTo>
                    <a:pt x="1612" y="2069"/>
                    <a:pt x="1638" y="2075"/>
                    <a:pt x="1663" y="2075"/>
                  </a:cubicBezTo>
                  <a:cubicBezTo>
                    <a:pt x="1697" y="2075"/>
                    <a:pt x="1730" y="2065"/>
                    <a:pt x="1758" y="2044"/>
                  </a:cubicBezTo>
                  <a:cubicBezTo>
                    <a:pt x="1808" y="2008"/>
                    <a:pt x="1833" y="1947"/>
                    <a:pt x="1822" y="1886"/>
                  </a:cubicBezTo>
                  <a:cubicBezTo>
                    <a:pt x="1731" y="1353"/>
                    <a:pt x="1731" y="1353"/>
                    <a:pt x="1731" y="1353"/>
                  </a:cubicBezTo>
                  <a:cubicBezTo>
                    <a:pt x="1729" y="1342"/>
                    <a:pt x="1733" y="1332"/>
                    <a:pt x="1740" y="1324"/>
                  </a:cubicBezTo>
                  <a:lnTo>
                    <a:pt x="2128" y="946"/>
                  </a:lnTo>
                  <a:close/>
                  <a:moveTo>
                    <a:pt x="1604" y="1375"/>
                  </a:moveTo>
                  <a:cubicBezTo>
                    <a:pt x="1695" y="1908"/>
                    <a:pt x="1695" y="1908"/>
                    <a:pt x="1695" y="1908"/>
                  </a:cubicBezTo>
                  <a:cubicBezTo>
                    <a:pt x="1698" y="1926"/>
                    <a:pt x="1687" y="1936"/>
                    <a:pt x="1682" y="1940"/>
                  </a:cubicBezTo>
                  <a:cubicBezTo>
                    <a:pt x="1677" y="1943"/>
                    <a:pt x="1664" y="1951"/>
                    <a:pt x="1648" y="1942"/>
                  </a:cubicBezTo>
                  <a:cubicBezTo>
                    <a:pt x="1169" y="1690"/>
                    <a:pt x="1169" y="1690"/>
                    <a:pt x="1169" y="1690"/>
                  </a:cubicBezTo>
                  <a:cubicBezTo>
                    <a:pt x="1146" y="1678"/>
                    <a:pt x="1120" y="1672"/>
                    <a:pt x="1094" y="1672"/>
                  </a:cubicBezTo>
                  <a:cubicBezTo>
                    <a:pt x="1068" y="1672"/>
                    <a:pt x="1042" y="1678"/>
                    <a:pt x="1019" y="1690"/>
                  </a:cubicBezTo>
                  <a:cubicBezTo>
                    <a:pt x="540" y="1942"/>
                    <a:pt x="540" y="1942"/>
                    <a:pt x="540" y="1942"/>
                  </a:cubicBezTo>
                  <a:cubicBezTo>
                    <a:pt x="524" y="1951"/>
                    <a:pt x="511" y="1943"/>
                    <a:pt x="506" y="1940"/>
                  </a:cubicBezTo>
                  <a:cubicBezTo>
                    <a:pt x="501" y="1936"/>
                    <a:pt x="490" y="1926"/>
                    <a:pt x="493" y="1908"/>
                  </a:cubicBezTo>
                  <a:cubicBezTo>
                    <a:pt x="584" y="1375"/>
                    <a:pt x="584" y="1375"/>
                    <a:pt x="584" y="1375"/>
                  </a:cubicBezTo>
                  <a:cubicBezTo>
                    <a:pt x="593" y="1322"/>
                    <a:pt x="576" y="1269"/>
                    <a:pt x="538" y="1232"/>
                  </a:cubicBezTo>
                  <a:cubicBezTo>
                    <a:pt x="150" y="854"/>
                    <a:pt x="150" y="854"/>
                    <a:pt x="150" y="854"/>
                  </a:cubicBezTo>
                  <a:cubicBezTo>
                    <a:pt x="137" y="841"/>
                    <a:pt x="140" y="827"/>
                    <a:pt x="142" y="821"/>
                  </a:cubicBezTo>
                  <a:cubicBezTo>
                    <a:pt x="144" y="815"/>
                    <a:pt x="150" y="801"/>
                    <a:pt x="168" y="799"/>
                  </a:cubicBezTo>
                  <a:cubicBezTo>
                    <a:pt x="704" y="721"/>
                    <a:pt x="704" y="721"/>
                    <a:pt x="704" y="721"/>
                  </a:cubicBezTo>
                  <a:cubicBezTo>
                    <a:pt x="757" y="713"/>
                    <a:pt x="802" y="680"/>
                    <a:pt x="826" y="633"/>
                  </a:cubicBezTo>
                  <a:cubicBezTo>
                    <a:pt x="1065" y="147"/>
                    <a:pt x="1065" y="147"/>
                    <a:pt x="1065" y="147"/>
                  </a:cubicBezTo>
                  <a:cubicBezTo>
                    <a:pt x="1073" y="131"/>
                    <a:pt x="1088" y="129"/>
                    <a:pt x="1094" y="129"/>
                  </a:cubicBezTo>
                  <a:cubicBezTo>
                    <a:pt x="1100" y="129"/>
                    <a:pt x="1115" y="131"/>
                    <a:pt x="1123" y="147"/>
                  </a:cubicBezTo>
                  <a:cubicBezTo>
                    <a:pt x="1123" y="147"/>
                    <a:pt x="1123" y="147"/>
                    <a:pt x="1123" y="147"/>
                  </a:cubicBezTo>
                  <a:cubicBezTo>
                    <a:pt x="1363" y="633"/>
                    <a:pt x="1363" y="633"/>
                    <a:pt x="1363" y="633"/>
                  </a:cubicBezTo>
                  <a:cubicBezTo>
                    <a:pt x="1386" y="680"/>
                    <a:pt x="1431" y="713"/>
                    <a:pt x="1484" y="721"/>
                  </a:cubicBezTo>
                  <a:cubicBezTo>
                    <a:pt x="2020" y="799"/>
                    <a:pt x="2020" y="799"/>
                    <a:pt x="2020" y="799"/>
                  </a:cubicBezTo>
                  <a:cubicBezTo>
                    <a:pt x="2038" y="801"/>
                    <a:pt x="2044" y="815"/>
                    <a:pt x="2046" y="821"/>
                  </a:cubicBezTo>
                  <a:cubicBezTo>
                    <a:pt x="2048" y="827"/>
                    <a:pt x="2051" y="841"/>
                    <a:pt x="2038" y="854"/>
                  </a:cubicBezTo>
                  <a:cubicBezTo>
                    <a:pt x="1650" y="1232"/>
                    <a:pt x="1650" y="1232"/>
                    <a:pt x="1650" y="1232"/>
                  </a:cubicBezTo>
                  <a:cubicBezTo>
                    <a:pt x="1612" y="1269"/>
                    <a:pt x="1595" y="1322"/>
                    <a:pt x="1604" y="137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" name="Freeform 24">
              <a:extLst>
                <a:ext uri="{FF2B5EF4-FFF2-40B4-BE49-F238E27FC236}">
                  <a16:creationId xmlns:a16="http://schemas.microsoft.com/office/drawing/2014/main" id="{1D2525D5-16A4-1526-B795-1246CC314262}"/>
                </a:ext>
              </a:extLst>
            </p:cNvPr>
            <p:cNvSpPr>
              <a:spLocks/>
            </p:cNvSpPr>
            <p:nvPr/>
          </p:nvSpPr>
          <p:spPr bwMode="auto">
            <a:xfrm>
              <a:off x="-1351539" y="-182563"/>
              <a:ext cx="406400" cy="439738"/>
            </a:xfrm>
            <a:custGeom>
              <a:avLst/>
              <a:gdLst>
                <a:gd name="T0" fmla="*/ 179 w 215"/>
                <a:gd name="T1" fmla="*/ 21 h 232"/>
                <a:gd name="T2" fmla="*/ 89 w 215"/>
                <a:gd name="T3" fmla="*/ 35 h 232"/>
                <a:gd name="T4" fmla="*/ 21 w 215"/>
                <a:gd name="T5" fmla="*/ 130 h 232"/>
                <a:gd name="T6" fmla="*/ 35 w 215"/>
                <a:gd name="T7" fmla="*/ 220 h 232"/>
                <a:gd name="T8" fmla="*/ 73 w 215"/>
                <a:gd name="T9" fmla="*/ 232 h 232"/>
                <a:gd name="T10" fmla="*/ 125 w 215"/>
                <a:gd name="T11" fmla="*/ 206 h 232"/>
                <a:gd name="T12" fmla="*/ 194 w 215"/>
                <a:gd name="T13" fmla="*/ 111 h 232"/>
                <a:gd name="T14" fmla="*/ 179 w 215"/>
                <a:gd name="T15" fmla="*/ 21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5" h="232">
                  <a:moveTo>
                    <a:pt x="179" y="21"/>
                  </a:moveTo>
                  <a:cubicBezTo>
                    <a:pt x="151" y="0"/>
                    <a:pt x="110" y="7"/>
                    <a:pt x="89" y="35"/>
                  </a:cubicBezTo>
                  <a:cubicBezTo>
                    <a:pt x="21" y="130"/>
                    <a:pt x="21" y="130"/>
                    <a:pt x="21" y="130"/>
                  </a:cubicBezTo>
                  <a:cubicBezTo>
                    <a:pt x="0" y="159"/>
                    <a:pt x="6" y="199"/>
                    <a:pt x="35" y="220"/>
                  </a:cubicBezTo>
                  <a:cubicBezTo>
                    <a:pt x="46" y="228"/>
                    <a:pt x="60" y="232"/>
                    <a:pt x="73" y="232"/>
                  </a:cubicBezTo>
                  <a:cubicBezTo>
                    <a:pt x="93" y="232"/>
                    <a:pt x="113" y="223"/>
                    <a:pt x="125" y="206"/>
                  </a:cubicBezTo>
                  <a:cubicBezTo>
                    <a:pt x="194" y="111"/>
                    <a:pt x="194" y="111"/>
                    <a:pt x="194" y="111"/>
                  </a:cubicBezTo>
                  <a:cubicBezTo>
                    <a:pt x="215" y="83"/>
                    <a:pt x="208" y="42"/>
                    <a:pt x="179" y="2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Freeform 25">
              <a:extLst>
                <a:ext uri="{FF2B5EF4-FFF2-40B4-BE49-F238E27FC236}">
                  <a16:creationId xmlns:a16="http://schemas.microsoft.com/office/drawing/2014/main" id="{42B191EC-F5BE-D83A-90F8-2863AF96C6F2}"/>
                </a:ext>
              </a:extLst>
            </p:cNvPr>
            <p:cNvSpPr>
              <a:spLocks/>
            </p:cNvSpPr>
            <p:nvPr/>
          </p:nvSpPr>
          <p:spPr bwMode="auto">
            <a:xfrm>
              <a:off x="-3934402" y="-182563"/>
              <a:ext cx="407988" cy="439738"/>
            </a:xfrm>
            <a:custGeom>
              <a:avLst/>
              <a:gdLst>
                <a:gd name="T0" fmla="*/ 194 w 215"/>
                <a:gd name="T1" fmla="*/ 129 h 232"/>
                <a:gd name="T2" fmla="*/ 126 w 215"/>
                <a:gd name="T3" fmla="*/ 35 h 232"/>
                <a:gd name="T4" fmla="*/ 35 w 215"/>
                <a:gd name="T5" fmla="*/ 21 h 232"/>
                <a:gd name="T6" fmla="*/ 21 w 215"/>
                <a:gd name="T7" fmla="*/ 111 h 232"/>
                <a:gd name="T8" fmla="*/ 90 w 215"/>
                <a:gd name="T9" fmla="*/ 205 h 232"/>
                <a:gd name="T10" fmla="*/ 142 w 215"/>
                <a:gd name="T11" fmla="*/ 232 h 232"/>
                <a:gd name="T12" fmla="*/ 180 w 215"/>
                <a:gd name="T13" fmla="*/ 220 h 232"/>
                <a:gd name="T14" fmla="*/ 194 w 215"/>
                <a:gd name="T15" fmla="*/ 129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5" h="232">
                  <a:moveTo>
                    <a:pt x="194" y="129"/>
                  </a:moveTo>
                  <a:cubicBezTo>
                    <a:pt x="126" y="35"/>
                    <a:pt x="126" y="35"/>
                    <a:pt x="126" y="35"/>
                  </a:cubicBezTo>
                  <a:cubicBezTo>
                    <a:pt x="105" y="6"/>
                    <a:pt x="64" y="0"/>
                    <a:pt x="35" y="21"/>
                  </a:cubicBezTo>
                  <a:cubicBezTo>
                    <a:pt x="6" y="42"/>
                    <a:pt x="0" y="82"/>
                    <a:pt x="21" y="111"/>
                  </a:cubicBezTo>
                  <a:cubicBezTo>
                    <a:pt x="90" y="205"/>
                    <a:pt x="90" y="205"/>
                    <a:pt x="90" y="205"/>
                  </a:cubicBezTo>
                  <a:cubicBezTo>
                    <a:pt x="102" y="223"/>
                    <a:pt x="122" y="232"/>
                    <a:pt x="142" y="232"/>
                  </a:cubicBezTo>
                  <a:cubicBezTo>
                    <a:pt x="155" y="232"/>
                    <a:pt x="168" y="228"/>
                    <a:pt x="180" y="220"/>
                  </a:cubicBezTo>
                  <a:cubicBezTo>
                    <a:pt x="209" y="199"/>
                    <a:pt x="215" y="158"/>
                    <a:pt x="194" y="12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Freeform 26">
              <a:extLst>
                <a:ext uri="{FF2B5EF4-FFF2-40B4-BE49-F238E27FC236}">
                  <a16:creationId xmlns:a16="http://schemas.microsoft.com/office/drawing/2014/main" id="{DCFAD482-ABE8-2996-D238-20D85885EC01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69427" y="2336800"/>
              <a:ext cx="484188" cy="328613"/>
            </a:xfrm>
            <a:custGeom>
              <a:avLst/>
              <a:gdLst>
                <a:gd name="T0" fmla="*/ 245 w 256"/>
                <a:gd name="T1" fmla="*/ 52 h 173"/>
                <a:gd name="T2" fmla="*/ 164 w 256"/>
                <a:gd name="T3" fmla="*/ 11 h 173"/>
                <a:gd name="T4" fmla="*/ 53 w 256"/>
                <a:gd name="T5" fmla="*/ 47 h 173"/>
                <a:gd name="T6" fmla="*/ 11 w 256"/>
                <a:gd name="T7" fmla="*/ 128 h 173"/>
                <a:gd name="T8" fmla="*/ 73 w 256"/>
                <a:gd name="T9" fmla="*/ 173 h 173"/>
                <a:gd name="T10" fmla="*/ 93 w 256"/>
                <a:gd name="T11" fmla="*/ 169 h 173"/>
                <a:gd name="T12" fmla="*/ 203 w 256"/>
                <a:gd name="T13" fmla="*/ 133 h 173"/>
                <a:gd name="T14" fmla="*/ 245 w 256"/>
                <a:gd name="T15" fmla="*/ 52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6" h="173">
                  <a:moveTo>
                    <a:pt x="245" y="52"/>
                  </a:moveTo>
                  <a:cubicBezTo>
                    <a:pt x="234" y="18"/>
                    <a:pt x="197" y="0"/>
                    <a:pt x="164" y="11"/>
                  </a:cubicBezTo>
                  <a:cubicBezTo>
                    <a:pt x="53" y="47"/>
                    <a:pt x="53" y="47"/>
                    <a:pt x="53" y="47"/>
                  </a:cubicBezTo>
                  <a:cubicBezTo>
                    <a:pt x="19" y="58"/>
                    <a:pt x="0" y="94"/>
                    <a:pt x="11" y="128"/>
                  </a:cubicBezTo>
                  <a:cubicBezTo>
                    <a:pt x="20" y="155"/>
                    <a:pt x="45" y="173"/>
                    <a:pt x="73" y="173"/>
                  </a:cubicBezTo>
                  <a:cubicBezTo>
                    <a:pt x="79" y="173"/>
                    <a:pt x="86" y="172"/>
                    <a:pt x="93" y="169"/>
                  </a:cubicBezTo>
                  <a:cubicBezTo>
                    <a:pt x="203" y="133"/>
                    <a:pt x="203" y="133"/>
                    <a:pt x="203" y="133"/>
                  </a:cubicBezTo>
                  <a:cubicBezTo>
                    <a:pt x="237" y="122"/>
                    <a:pt x="256" y="86"/>
                    <a:pt x="245" y="5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Freeform 27">
              <a:extLst>
                <a:ext uri="{FF2B5EF4-FFF2-40B4-BE49-F238E27FC236}">
                  <a16:creationId xmlns:a16="http://schemas.microsoft.com/office/drawing/2014/main" id="{FE8E7630-0931-CB16-C4CD-C7354E2D5215}"/>
                </a:ext>
              </a:extLst>
            </p:cNvPr>
            <p:cNvSpPr>
              <a:spLocks/>
            </p:cNvSpPr>
            <p:nvPr/>
          </p:nvSpPr>
          <p:spPr bwMode="auto">
            <a:xfrm>
              <a:off x="-2562802" y="3795712"/>
              <a:ext cx="246063" cy="466725"/>
            </a:xfrm>
            <a:custGeom>
              <a:avLst/>
              <a:gdLst>
                <a:gd name="T0" fmla="*/ 65 w 130"/>
                <a:gd name="T1" fmla="*/ 0 h 246"/>
                <a:gd name="T2" fmla="*/ 0 w 130"/>
                <a:gd name="T3" fmla="*/ 65 h 246"/>
                <a:gd name="T4" fmla="*/ 0 w 130"/>
                <a:gd name="T5" fmla="*/ 181 h 246"/>
                <a:gd name="T6" fmla="*/ 65 w 130"/>
                <a:gd name="T7" fmla="*/ 246 h 246"/>
                <a:gd name="T8" fmla="*/ 130 w 130"/>
                <a:gd name="T9" fmla="*/ 181 h 246"/>
                <a:gd name="T10" fmla="*/ 130 w 130"/>
                <a:gd name="T11" fmla="*/ 65 h 246"/>
                <a:gd name="T12" fmla="*/ 65 w 130"/>
                <a:gd name="T13" fmla="*/ 0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" h="246">
                  <a:moveTo>
                    <a:pt x="65" y="0"/>
                  </a:moveTo>
                  <a:cubicBezTo>
                    <a:pt x="29" y="0"/>
                    <a:pt x="0" y="29"/>
                    <a:pt x="0" y="65"/>
                  </a:cubicBezTo>
                  <a:cubicBezTo>
                    <a:pt x="0" y="181"/>
                    <a:pt x="0" y="181"/>
                    <a:pt x="0" y="181"/>
                  </a:cubicBezTo>
                  <a:cubicBezTo>
                    <a:pt x="0" y="217"/>
                    <a:pt x="29" y="246"/>
                    <a:pt x="65" y="246"/>
                  </a:cubicBezTo>
                  <a:cubicBezTo>
                    <a:pt x="101" y="246"/>
                    <a:pt x="130" y="217"/>
                    <a:pt x="130" y="181"/>
                  </a:cubicBezTo>
                  <a:cubicBezTo>
                    <a:pt x="130" y="65"/>
                    <a:pt x="130" y="65"/>
                    <a:pt x="130" y="65"/>
                  </a:cubicBezTo>
                  <a:cubicBezTo>
                    <a:pt x="130" y="29"/>
                    <a:pt x="101" y="0"/>
                    <a:pt x="6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Freeform 28">
              <a:extLst>
                <a:ext uri="{FF2B5EF4-FFF2-40B4-BE49-F238E27FC236}">
                  <a16:creationId xmlns:a16="http://schemas.microsoft.com/office/drawing/2014/main" id="{E48F90FD-DE8B-3851-5A83-13168631FC7F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2714" y="2336800"/>
              <a:ext cx="484188" cy="328613"/>
            </a:xfrm>
            <a:custGeom>
              <a:avLst/>
              <a:gdLst>
                <a:gd name="T0" fmla="*/ 203 w 256"/>
                <a:gd name="T1" fmla="*/ 47 h 173"/>
                <a:gd name="T2" fmla="*/ 92 w 256"/>
                <a:gd name="T3" fmla="*/ 11 h 173"/>
                <a:gd name="T4" fmla="*/ 11 w 256"/>
                <a:gd name="T5" fmla="*/ 52 h 173"/>
                <a:gd name="T6" fmla="*/ 53 w 256"/>
                <a:gd name="T7" fmla="*/ 133 h 173"/>
                <a:gd name="T8" fmla="*/ 163 w 256"/>
                <a:gd name="T9" fmla="*/ 170 h 173"/>
                <a:gd name="T10" fmla="*/ 183 w 256"/>
                <a:gd name="T11" fmla="*/ 173 h 173"/>
                <a:gd name="T12" fmla="*/ 245 w 256"/>
                <a:gd name="T13" fmla="*/ 128 h 173"/>
                <a:gd name="T14" fmla="*/ 203 w 256"/>
                <a:gd name="T15" fmla="*/ 47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6" h="173">
                  <a:moveTo>
                    <a:pt x="203" y="47"/>
                  </a:moveTo>
                  <a:cubicBezTo>
                    <a:pt x="92" y="11"/>
                    <a:pt x="92" y="11"/>
                    <a:pt x="92" y="11"/>
                  </a:cubicBezTo>
                  <a:cubicBezTo>
                    <a:pt x="59" y="0"/>
                    <a:pt x="22" y="18"/>
                    <a:pt x="11" y="52"/>
                  </a:cubicBezTo>
                  <a:cubicBezTo>
                    <a:pt x="0" y="86"/>
                    <a:pt x="19" y="122"/>
                    <a:pt x="53" y="133"/>
                  </a:cubicBezTo>
                  <a:cubicBezTo>
                    <a:pt x="163" y="170"/>
                    <a:pt x="163" y="170"/>
                    <a:pt x="163" y="170"/>
                  </a:cubicBezTo>
                  <a:cubicBezTo>
                    <a:pt x="170" y="172"/>
                    <a:pt x="177" y="173"/>
                    <a:pt x="183" y="173"/>
                  </a:cubicBezTo>
                  <a:cubicBezTo>
                    <a:pt x="211" y="173"/>
                    <a:pt x="236" y="155"/>
                    <a:pt x="245" y="128"/>
                  </a:cubicBezTo>
                  <a:cubicBezTo>
                    <a:pt x="256" y="94"/>
                    <a:pt x="237" y="58"/>
                    <a:pt x="203" y="4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12" name="Shape0_20180718_204234">
            <a:extLst>
              <a:ext uri="{FF2B5EF4-FFF2-40B4-BE49-F238E27FC236}">
                <a16:creationId xmlns:a16="http://schemas.microsoft.com/office/drawing/2014/main" id="{55D6FC12-5A77-D9DD-FE06-F429C62BA07E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6507523" y="2381431"/>
            <a:ext cx="415395" cy="415395"/>
            <a:chOff x="5712408" y="975680"/>
            <a:chExt cx="671729" cy="639391"/>
          </a:xfrm>
        </p:grpSpPr>
        <p:sp>
          <p:nvSpPr>
            <p:cNvPr id="113" name="Freeform 26">
              <a:extLst>
                <a:ext uri="{FF2B5EF4-FFF2-40B4-BE49-F238E27FC236}">
                  <a16:creationId xmlns:a16="http://schemas.microsoft.com/office/drawing/2014/main" id="{12628730-42D1-C58E-4DC3-38115AEECD8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12408" y="975680"/>
              <a:ext cx="671729" cy="639391"/>
            </a:xfrm>
            <a:custGeom>
              <a:avLst/>
              <a:gdLst>
                <a:gd name="T0" fmla="*/ 117 w 128"/>
                <a:gd name="T1" fmla="*/ 0 h 122"/>
                <a:gd name="T2" fmla="*/ 11 w 128"/>
                <a:gd name="T3" fmla="*/ 0 h 122"/>
                <a:gd name="T4" fmla="*/ 0 w 128"/>
                <a:gd name="T5" fmla="*/ 11 h 122"/>
                <a:gd name="T6" fmla="*/ 0 w 128"/>
                <a:gd name="T7" fmla="*/ 93 h 122"/>
                <a:gd name="T8" fmla="*/ 11 w 128"/>
                <a:gd name="T9" fmla="*/ 104 h 122"/>
                <a:gd name="T10" fmla="*/ 43 w 128"/>
                <a:gd name="T11" fmla="*/ 104 h 122"/>
                <a:gd name="T12" fmla="*/ 38 w 128"/>
                <a:gd name="T13" fmla="*/ 110 h 122"/>
                <a:gd name="T14" fmla="*/ 35 w 128"/>
                <a:gd name="T15" fmla="*/ 113 h 122"/>
                <a:gd name="T16" fmla="*/ 34 w 128"/>
                <a:gd name="T17" fmla="*/ 118 h 122"/>
                <a:gd name="T18" fmla="*/ 42 w 128"/>
                <a:gd name="T19" fmla="*/ 122 h 122"/>
                <a:gd name="T20" fmla="*/ 86 w 128"/>
                <a:gd name="T21" fmla="*/ 122 h 122"/>
                <a:gd name="T22" fmla="*/ 94 w 128"/>
                <a:gd name="T23" fmla="*/ 118 h 122"/>
                <a:gd name="T24" fmla="*/ 94 w 128"/>
                <a:gd name="T25" fmla="*/ 113 h 122"/>
                <a:gd name="T26" fmla="*/ 91 w 128"/>
                <a:gd name="T27" fmla="*/ 110 h 122"/>
                <a:gd name="T28" fmla="*/ 85 w 128"/>
                <a:gd name="T29" fmla="*/ 104 h 122"/>
                <a:gd name="T30" fmla="*/ 117 w 128"/>
                <a:gd name="T31" fmla="*/ 104 h 122"/>
                <a:gd name="T32" fmla="*/ 128 w 128"/>
                <a:gd name="T33" fmla="*/ 93 h 122"/>
                <a:gd name="T34" fmla="*/ 128 w 128"/>
                <a:gd name="T35" fmla="*/ 11 h 122"/>
                <a:gd name="T36" fmla="*/ 117 w 128"/>
                <a:gd name="T37" fmla="*/ 0 h 122"/>
                <a:gd name="T38" fmla="*/ 88 w 128"/>
                <a:gd name="T39" fmla="*/ 113 h 122"/>
                <a:gd name="T40" fmla="*/ 90 w 128"/>
                <a:gd name="T41" fmla="*/ 116 h 122"/>
                <a:gd name="T42" fmla="*/ 90 w 128"/>
                <a:gd name="T43" fmla="*/ 116 h 122"/>
                <a:gd name="T44" fmla="*/ 86 w 128"/>
                <a:gd name="T45" fmla="*/ 118 h 122"/>
                <a:gd name="T46" fmla="*/ 42 w 128"/>
                <a:gd name="T47" fmla="*/ 118 h 122"/>
                <a:gd name="T48" fmla="*/ 38 w 128"/>
                <a:gd name="T49" fmla="*/ 116 h 122"/>
                <a:gd name="T50" fmla="*/ 38 w 128"/>
                <a:gd name="T51" fmla="*/ 116 h 122"/>
                <a:gd name="T52" fmla="*/ 38 w 128"/>
                <a:gd name="T53" fmla="*/ 116 h 122"/>
                <a:gd name="T54" fmla="*/ 40 w 128"/>
                <a:gd name="T55" fmla="*/ 113 h 122"/>
                <a:gd name="T56" fmla="*/ 48 w 128"/>
                <a:gd name="T57" fmla="*/ 104 h 122"/>
                <a:gd name="T58" fmla="*/ 80 w 128"/>
                <a:gd name="T59" fmla="*/ 104 h 122"/>
                <a:gd name="T60" fmla="*/ 88 w 128"/>
                <a:gd name="T61" fmla="*/ 113 h 122"/>
                <a:gd name="T62" fmla="*/ 120 w 128"/>
                <a:gd name="T63" fmla="*/ 93 h 122"/>
                <a:gd name="T64" fmla="*/ 117 w 128"/>
                <a:gd name="T65" fmla="*/ 96 h 122"/>
                <a:gd name="T66" fmla="*/ 11 w 128"/>
                <a:gd name="T67" fmla="*/ 96 h 122"/>
                <a:gd name="T68" fmla="*/ 8 w 128"/>
                <a:gd name="T69" fmla="*/ 93 h 122"/>
                <a:gd name="T70" fmla="*/ 8 w 128"/>
                <a:gd name="T71" fmla="*/ 11 h 122"/>
                <a:gd name="T72" fmla="*/ 11 w 128"/>
                <a:gd name="T73" fmla="*/ 8 h 122"/>
                <a:gd name="T74" fmla="*/ 117 w 128"/>
                <a:gd name="T75" fmla="*/ 8 h 122"/>
                <a:gd name="T76" fmla="*/ 120 w 128"/>
                <a:gd name="T77" fmla="*/ 11 h 122"/>
                <a:gd name="T78" fmla="*/ 120 w 128"/>
                <a:gd name="T79" fmla="*/ 93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8" h="122">
                  <a:moveTo>
                    <a:pt x="117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99"/>
                    <a:pt x="5" y="104"/>
                    <a:pt x="11" y="104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42" y="106"/>
                    <a:pt x="39" y="109"/>
                    <a:pt x="38" y="110"/>
                  </a:cubicBezTo>
                  <a:cubicBezTo>
                    <a:pt x="36" y="111"/>
                    <a:pt x="35" y="112"/>
                    <a:pt x="35" y="113"/>
                  </a:cubicBezTo>
                  <a:cubicBezTo>
                    <a:pt x="34" y="114"/>
                    <a:pt x="33" y="116"/>
                    <a:pt x="34" y="118"/>
                  </a:cubicBezTo>
                  <a:cubicBezTo>
                    <a:pt x="35" y="120"/>
                    <a:pt x="37" y="122"/>
                    <a:pt x="42" y="122"/>
                  </a:cubicBezTo>
                  <a:cubicBezTo>
                    <a:pt x="86" y="122"/>
                    <a:pt x="86" y="122"/>
                    <a:pt x="86" y="122"/>
                  </a:cubicBezTo>
                  <a:cubicBezTo>
                    <a:pt x="91" y="122"/>
                    <a:pt x="93" y="120"/>
                    <a:pt x="94" y="118"/>
                  </a:cubicBezTo>
                  <a:cubicBezTo>
                    <a:pt x="95" y="116"/>
                    <a:pt x="95" y="114"/>
                    <a:pt x="94" y="113"/>
                  </a:cubicBezTo>
                  <a:cubicBezTo>
                    <a:pt x="93" y="112"/>
                    <a:pt x="92" y="111"/>
                    <a:pt x="91" y="110"/>
                  </a:cubicBezTo>
                  <a:cubicBezTo>
                    <a:pt x="89" y="109"/>
                    <a:pt x="87" y="106"/>
                    <a:pt x="85" y="104"/>
                  </a:cubicBezTo>
                  <a:cubicBezTo>
                    <a:pt x="117" y="104"/>
                    <a:pt x="117" y="104"/>
                    <a:pt x="117" y="104"/>
                  </a:cubicBezTo>
                  <a:cubicBezTo>
                    <a:pt x="123" y="104"/>
                    <a:pt x="128" y="99"/>
                    <a:pt x="128" y="93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28" y="5"/>
                    <a:pt x="123" y="0"/>
                    <a:pt x="117" y="0"/>
                  </a:cubicBezTo>
                  <a:close/>
                  <a:moveTo>
                    <a:pt x="88" y="113"/>
                  </a:moveTo>
                  <a:cubicBezTo>
                    <a:pt x="89" y="114"/>
                    <a:pt x="90" y="115"/>
                    <a:pt x="90" y="116"/>
                  </a:cubicBezTo>
                  <a:cubicBezTo>
                    <a:pt x="90" y="116"/>
                    <a:pt x="91" y="116"/>
                    <a:pt x="90" y="116"/>
                  </a:cubicBezTo>
                  <a:cubicBezTo>
                    <a:pt x="90" y="117"/>
                    <a:pt x="88" y="118"/>
                    <a:pt x="86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0" y="118"/>
                    <a:pt x="38" y="117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5"/>
                    <a:pt x="39" y="114"/>
                    <a:pt x="40" y="113"/>
                  </a:cubicBezTo>
                  <a:cubicBezTo>
                    <a:pt x="44" y="109"/>
                    <a:pt x="47" y="106"/>
                    <a:pt x="48" y="104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82" y="106"/>
                    <a:pt x="84" y="109"/>
                    <a:pt x="88" y="113"/>
                  </a:cubicBezTo>
                  <a:close/>
                  <a:moveTo>
                    <a:pt x="120" y="93"/>
                  </a:moveTo>
                  <a:cubicBezTo>
                    <a:pt x="120" y="95"/>
                    <a:pt x="119" y="96"/>
                    <a:pt x="117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9" y="96"/>
                    <a:pt x="8" y="95"/>
                    <a:pt x="8" y="93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9"/>
                    <a:pt x="9" y="8"/>
                    <a:pt x="11" y="8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9" y="8"/>
                    <a:pt x="120" y="9"/>
                    <a:pt x="120" y="11"/>
                  </a:cubicBezTo>
                  <a:lnTo>
                    <a:pt x="120" y="9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114" name="Freeform 27">
              <a:extLst>
                <a:ext uri="{FF2B5EF4-FFF2-40B4-BE49-F238E27FC236}">
                  <a16:creationId xmlns:a16="http://schemas.microsoft.com/office/drawing/2014/main" id="{7A0D1620-FE32-DD47-FD73-BD8C73B6B9C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96917" y="1058042"/>
              <a:ext cx="502713" cy="338119"/>
            </a:xfrm>
            <a:custGeom>
              <a:avLst/>
              <a:gdLst>
                <a:gd name="T0" fmla="*/ 89 w 96"/>
                <a:gd name="T1" fmla="*/ 0 h 64"/>
                <a:gd name="T2" fmla="*/ 7 w 96"/>
                <a:gd name="T3" fmla="*/ 0 h 64"/>
                <a:gd name="T4" fmla="*/ 0 w 96"/>
                <a:gd name="T5" fmla="*/ 7 h 64"/>
                <a:gd name="T6" fmla="*/ 0 w 96"/>
                <a:gd name="T7" fmla="*/ 57 h 64"/>
                <a:gd name="T8" fmla="*/ 7 w 96"/>
                <a:gd name="T9" fmla="*/ 64 h 64"/>
                <a:gd name="T10" fmla="*/ 89 w 96"/>
                <a:gd name="T11" fmla="*/ 64 h 64"/>
                <a:gd name="T12" fmla="*/ 96 w 96"/>
                <a:gd name="T13" fmla="*/ 57 h 64"/>
                <a:gd name="T14" fmla="*/ 96 w 96"/>
                <a:gd name="T15" fmla="*/ 7 h 64"/>
                <a:gd name="T16" fmla="*/ 89 w 96"/>
                <a:gd name="T17" fmla="*/ 0 h 64"/>
                <a:gd name="T18" fmla="*/ 92 w 96"/>
                <a:gd name="T19" fmla="*/ 57 h 64"/>
                <a:gd name="T20" fmla="*/ 89 w 96"/>
                <a:gd name="T21" fmla="*/ 60 h 64"/>
                <a:gd name="T22" fmla="*/ 7 w 96"/>
                <a:gd name="T23" fmla="*/ 60 h 64"/>
                <a:gd name="T24" fmla="*/ 4 w 96"/>
                <a:gd name="T25" fmla="*/ 57 h 64"/>
                <a:gd name="T26" fmla="*/ 4 w 96"/>
                <a:gd name="T27" fmla="*/ 7 h 64"/>
                <a:gd name="T28" fmla="*/ 7 w 96"/>
                <a:gd name="T29" fmla="*/ 4 h 64"/>
                <a:gd name="T30" fmla="*/ 89 w 96"/>
                <a:gd name="T31" fmla="*/ 4 h 64"/>
                <a:gd name="T32" fmla="*/ 92 w 96"/>
                <a:gd name="T33" fmla="*/ 7 h 64"/>
                <a:gd name="T34" fmla="*/ 92 w 96"/>
                <a:gd name="T35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6" h="64">
                  <a:moveTo>
                    <a:pt x="89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1"/>
                    <a:pt x="3" y="64"/>
                    <a:pt x="7" y="64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93" y="64"/>
                    <a:pt x="96" y="61"/>
                    <a:pt x="96" y="5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3"/>
                    <a:pt x="93" y="0"/>
                    <a:pt x="89" y="0"/>
                  </a:cubicBezTo>
                  <a:close/>
                  <a:moveTo>
                    <a:pt x="92" y="57"/>
                  </a:moveTo>
                  <a:cubicBezTo>
                    <a:pt x="92" y="59"/>
                    <a:pt x="91" y="60"/>
                    <a:pt x="89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5" y="60"/>
                    <a:pt x="4" y="59"/>
                    <a:pt x="4" y="5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5" y="4"/>
                    <a:pt x="7" y="4"/>
                  </a:cubicBezTo>
                  <a:cubicBezTo>
                    <a:pt x="89" y="4"/>
                    <a:pt x="89" y="4"/>
                    <a:pt x="89" y="4"/>
                  </a:cubicBezTo>
                  <a:cubicBezTo>
                    <a:pt x="91" y="4"/>
                    <a:pt x="92" y="5"/>
                    <a:pt x="92" y="7"/>
                  </a:cubicBezTo>
                  <a:lnTo>
                    <a:pt x="92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115" name="Freeform 28">
              <a:extLst>
                <a:ext uri="{FF2B5EF4-FFF2-40B4-BE49-F238E27FC236}">
                  <a16:creationId xmlns:a16="http://schemas.microsoft.com/office/drawing/2014/main" id="{1562F45C-A5F8-5E5D-E4DE-7195F3388A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17937" y="1404831"/>
              <a:ext cx="62840" cy="65023"/>
            </a:xfrm>
            <a:custGeom>
              <a:avLst/>
              <a:gdLst>
                <a:gd name="T0" fmla="*/ 6 w 12"/>
                <a:gd name="T1" fmla="*/ 0 h 12"/>
                <a:gd name="T2" fmla="*/ 0 w 12"/>
                <a:gd name="T3" fmla="*/ 6 h 12"/>
                <a:gd name="T4" fmla="*/ 6 w 12"/>
                <a:gd name="T5" fmla="*/ 12 h 12"/>
                <a:gd name="T6" fmla="*/ 12 w 12"/>
                <a:gd name="T7" fmla="*/ 6 h 12"/>
                <a:gd name="T8" fmla="*/ 6 w 12"/>
                <a:gd name="T9" fmla="*/ 0 h 12"/>
                <a:gd name="T10" fmla="*/ 6 w 12"/>
                <a:gd name="T11" fmla="*/ 8 h 12"/>
                <a:gd name="T12" fmla="*/ 4 w 12"/>
                <a:gd name="T13" fmla="*/ 6 h 12"/>
                <a:gd name="T14" fmla="*/ 6 w 12"/>
                <a:gd name="T15" fmla="*/ 4 h 12"/>
                <a:gd name="T16" fmla="*/ 8 w 12"/>
                <a:gd name="T17" fmla="*/ 6 h 12"/>
                <a:gd name="T18" fmla="*/ 6 w 12"/>
                <a:gd name="T1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9" y="12"/>
                    <a:pt x="12" y="9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lose/>
                  <a:moveTo>
                    <a:pt x="6" y="8"/>
                  </a:moveTo>
                  <a:cubicBezTo>
                    <a:pt x="5" y="8"/>
                    <a:pt x="4" y="7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7" y="4"/>
                    <a:pt x="8" y="5"/>
                    <a:pt x="8" y="6"/>
                  </a:cubicBezTo>
                  <a:cubicBezTo>
                    <a:pt x="8" y="7"/>
                    <a:pt x="7" y="8"/>
                    <a:pt x="6" y="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116" name="Freeform 29">
              <a:extLst>
                <a:ext uri="{FF2B5EF4-FFF2-40B4-BE49-F238E27FC236}">
                  <a16:creationId xmlns:a16="http://schemas.microsoft.com/office/drawing/2014/main" id="{A9396C80-CBED-9EDD-F764-E93160B022F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3429" y="1190255"/>
              <a:ext cx="84509" cy="88864"/>
            </a:xfrm>
            <a:custGeom>
              <a:avLst/>
              <a:gdLst>
                <a:gd name="T0" fmla="*/ 0 w 39"/>
                <a:gd name="T1" fmla="*/ 24 h 41"/>
                <a:gd name="T2" fmla="*/ 39 w 39"/>
                <a:gd name="T3" fmla="*/ 41 h 41"/>
                <a:gd name="T4" fmla="*/ 39 w 39"/>
                <a:gd name="T5" fmla="*/ 32 h 41"/>
                <a:gd name="T6" fmla="*/ 12 w 39"/>
                <a:gd name="T7" fmla="*/ 19 h 41"/>
                <a:gd name="T8" fmla="*/ 39 w 39"/>
                <a:gd name="T9" fmla="*/ 10 h 41"/>
                <a:gd name="T10" fmla="*/ 39 w 39"/>
                <a:gd name="T11" fmla="*/ 0 h 41"/>
                <a:gd name="T12" fmla="*/ 0 w 39"/>
                <a:gd name="T13" fmla="*/ 17 h 41"/>
                <a:gd name="T14" fmla="*/ 0 w 39"/>
                <a:gd name="T15" fmla="*/ 2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41">
                  <a:moveTo>
                    <a:pt x="0" y="24"/>
                  </a:moveTo>
                  <a:lnTo>
                    <a:pt x="39" y="41"/>
                  </a:lnTo>
                  <a:lnTo>
                    <a:pt x="39" y="32"/>
                  </a:lnTo>
                  <a:lnTo>
                    <a:pt x="12" y="19"/>
                  </a:lnTo>
                  <a:lnTo>
                    <a:pt x="39" y="10"/>
                  </a:lnTo>
                  <a:lnTo>
                    <a:pt x="39" y="0"/>
                  </a:lnTo>
                  <a:lnTo>
                    <a:pt x="0" y="17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117" name="Freeform 30">
              <a:extLst>
                <a:ext uri="{FF2B5EF4-FFF2-40B4-BE49-F238E27FC236}">
                  <a16:creationId xmlns:a16="http://schemas.microsoft.com/office/drawing/2014/main" id="{9548632F-8F09-E5DC-0269-640335A4E3B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6605" y="1175084"/>
              <a:ext cx="43337" cy="119208"/>
            </a:xfrm>
            <a:custGeom>
              <a:avLst/>
              <a:gdLst>
                <a:gd name="T0" fmla="*/ 7 w 8"/>
                <a:gd name="T1" fmla="*/ 0 h 23"/>
                <a:gd name="T2" fmla="*/ 5 w 8"/>
                <a:gd name="T3" fmla="*/ 0 h 23"/>
                <a:gd name="T4" fmla="*/ 5 w 8"/>
                <a:gd name="T5" fmla="*/ 2 h 23"/>
                <a:gd name="T6" fmla="*/ 0 w 8"/>
                <a:gd name="T7" fmla="*/ 20 h 23"/>
                <a:gd name="T8" fmla="*/ 0 w 8"/>
                <a:gd name="T9" fmla="*/ 22 h 23"/>
                <a:gd name="T10" fmla="*/ 2 w 8"/>
                <a:gd name="T11" fmla="*/ 23 h 23"/>
                <a:gd name="T12" fmla="*/ 3 w 8"/>
                <a:gd name="T13" fmla="*/ 23 h 23"/>
                <a:gd name="T14" fmla="*/ 3 w 8"/>
                <a:gd name="T15" fmla="*/ 22 h 23"/>
                <a:gd name="T16" fmla="*/ 4 w 8"/>
                <a:gd name="T17" fmla="*/ 21 h 23"/>
                <a:gd name="T18" fmla="*/ 8 w 8"/>
                <a:gd name="T19" fmla="*/ 3 h 23"/>
                <a:gd name="T20" fmla="*/ 8 w 8"/>
                <a:gd name="T21" fmla="*/ 1 h 23"/>
                <a:gd name="T22" fmla="*/ 8 w 8"/>
                <a:gd name="T23" fmla="*/ 0 h 23"/>
                <a:gd name="T24" fmla="*/ 7 w 8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3">
                  <a:moveTo>
                    <a:pt x="7" y="0"/>
                  </a:move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1"/>
                    <a:pt x="5" y="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0" y="23"/>
                    <a:pt x="1" y="23"/>
                    <a:pt x="2" y="23"/>
                  </a:cubicBezTo>
                  <a:cubicBezTo>
                    <a:pt x="2" y="23"/>
                    <a:pt x="2" y="23"/>
                    <a:pt x="3" y="23"/>
                  </a:cubicBezTo>
                  <a:cubicBezTo>
                    <a:pt x="3" y="23"/>
                    <a:pt x="3" y="22"/>
                    <a:pt x="3" y="22"/>
                  </a:cubicBezTo>
                  <a:cubicBezTo>
                    <a:pt x="3" y="22"/>
                    <a:pt x="3" y="21"/>
                    <a:pt x="4" y="2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118" name="Freeform 31">
              <a:extLst>
                <a:ext uri="{FF2B5EF4-FFF2-40B4-BE49-F238E27FC236}">
                  <a16:creationId xmlns:a16="http://schemas.microsoft.com/office/drawing/2014/main" id="{F46EFCDF-889B-8CAC-2E7E-892EBB49DCE6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0776" y="1190255"/>
              <a:ext cx="82341" cy="88864"/>
            </a:xfrm>
            <a:custGeom>
              <a:avLst/>
              <a:gdLst>
                <a:gd name="T0" fmla="*/ 0 w 38"/>
                <a:gd name="T1" fmla="*/ 10 h 41"/>
                <a:gd name="T2" fmla="*/ 26 w 38"/>
                <a:gd name="T3" fmla="*/ 19 h 41"/>
                <a:gd name="T4" fmla="*/ 0 w 38"/>
                <a:gd name="T5" fmla="*/ 32 h 41"/>
                <a:gd name="T6" fmla="*/ 0 w 38"/>
                <a:gd name="T7" fmla="*/ 41 h 41"/>
                <a:gd name="T8" fmla="*/ 38 w 38"/>
                <a:gd name="T9" fmla="*/ 24 h 41"/>
                <a:gd name="T10" fmla="*/ 38 w 38"/>
                <a:gd name="T11" fmla="*/ 17 h 41"/>
                <a:gd name="T12" fmla="*/ 0 w 38"/>
                <a:gd name="T13" fmla="*/ 0 h 41"/>
                <a:gd name="T14" fmla="*/ 0 w 38"/>
                <a:gd name="T15" fmla="*/ 1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41">
                  <a:moveTo>
                    <a:pt x="0" y="10"/>
                  </a:moveTo>
                  <a:lnTo>
                    <a:pt x="26" y="19"/>
                  </a:lnTo>
                  <a:lnTo>
                    <a:pt x="0" y="32"/>
                  </a:lnTo>
                  <a:lnTo>
                    <a:pt x="0" y="41"/>
                  </a:lnTo>
                  <a:lnTo>
                    <a:pt x="38" y="24"/>
                  </a:lnTo>
                  <a:lnTo>
                    <a:pt x="38" y="17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</p:grpSp>
      <p:sp>
        <p:nvSpPr>
          <p:cNvPr id="119" name="Shape2_20180718_204234">
            <a:extLst>
              <a:ext uri="{FF2B5EF4-FFF2-40B4-BE49-F238E27FC236}">
                <a16:creationId xmlns:a16="http://schemas.microsoft.com/office/drawing/2014/main" id="{F49AA92D-ACE1-9690-EE36-CCFF10523882}"/>
              </a:ext>
            </a:extLst>
          </p:cNvPr>
          <p:cNvSpPr>
            <a:spLocks noChangeAspect="1" noEditPoints="1"/>
          </p:cNvSpPr>
          <p:nvPr>
            <p:custDataLst>
              <p:tags r:id="rId4"/>
            </p:custDataLst>
          </p:nvPr>
        </p:nvSpPr>
        <p:spPr bwMode="auto">
          <a:xfrm>
            <a:off x="5027575" y="2315608"/>
            <a:ext cx="415395" cy="415395"/>
          </a:xfrm>
          <a:custGeom>
            <a:avLst/>
            <a:gdLst>
              <a:gd name="T0" fmla="*/ 232 w 256"/>
              <a:gd name="T1" fmla="*/ 84 h 227"/>
              <a:gd name="T2" fmla="*/ 172 w 256"/>
              <a:gd name="T3" fmla="*/ 44 h 227"/>
              <a:gd name="T4" fmla="*/ 120 w 256"/>
              <a:gd name="T5" fmla="*/ 48 h 227"/>
              <a:gd name="T6" fmla="*/ 64 w 256"/>
              <a:gd name="T7" fmla="*/ 107 h 227"/>
              <a:gd name="T8" fmla="*/ 0 w 256"/>
              <a:gd name="T9" fmla="*/ 131 h 227"/>
              <a:gd name="T10" fmla="*/ 32 w 256"/>
              <a:gd name="T11" fmla="*/ 227 h 227"/>
              <a:gd name="T12" fmla="*/ 87 w 256"/>
              <a:gd name="T13" fmla="*/ 212 h 227"/>
              <a:gd name="T14" fmla="*/ 103 w 256"/>
              <a:gd name="T15" fmla="*/ 219 h 227"/>
              <a:gd name="T16" fmla="*/ 232 w 256"/>
              <a:gd name="T17" fmla="*/ 197 h 227"/>
              <a:gd name="T18" fmla="*/ 240 w 256"/>
              <a:gd name="T19" fmla="*/ 169 h 227"/>
              <a:gd name="T20" fmla="*/ 248 w 256"/>
              <a:gd name="T21" fmla="*/ 140 h 227"/>
              <a:gd name="T22" fmla="*/ 256 w 256"/>
              <a:gd name="T23" fmla="*/ 108 h 227"/>
              <a:gd name="T24" fmla="*/ 32 w 256"/>
              <a:gd name="T25" fmla="*/ 211 h 227"/>
              <a:gd name="T26" fmla="*/ 16 w 256"/>
              <a:gd name="T27" fmla="*/ 131 h 227"/>
              <a:gd name="T28" fmla="*/ 64 w 256"/>
              <a:gd name="T29" fmla="*/ 123 h 227"/>
              <a:gd name="T30" fmla="*/ 72 w 256"/>
              <a:gd name="T31" fmla="*/ 198 h 227"/>
              <a:gd name="T32" fmla="*/ 72 w 256"/>
              <a:gd name="T33" fmla="*/ 203 h 227"/>
              <a:gd name="T34" fmla="*/ 210 w 256"/>
              <a:gd name="T35" fmla="*/ 203 h 227"/>
              <a:gd name="T36" fmla="*/ 88 w 256"/>
              <a:gd name="T37" fmla="*/ 194 h 227"/>
              <a:gd name="T38" fmla="*/ 86 w 256"/>
              <a:gd name="T39" fmla="*/ 121 h 227"/>
              <a:gd name="T40" fmla="*/ 140 w 256"/>
              <a:gd name="T41" fmla="*/ 16 h 227"/>
              <a:gd name="T42" fmla="*/ 152 w 256"/>
              <a:gd name="T43" fmla="*/ 90 h 227"/>
              <a:gd name="T44" fmla="*/ 160 w 256"/>
              <a:gd name="T45" fmla="*/ 100 h 227"/>
              <a:gd name="T46" fmla="*/ 240 w 256"/>
              <a:gd name="T47" fmla="*/ 108 h 227"/>
              <a:gd name="T48" fmla="*/ 223 w 256"/>
              <a:gd name="T49" fmla="*/ 116 h 227"/>
              <a:gd name="T50" fmla="*/ 223 w 256"/>
              <a:gd name="T51" fmla="*/ 132 h 227"/>
              <a:gd name="T52" fmla="*/ 224 w 256"/>
              <a:gd name="T53" fmla="*/ 132 h 227"/>
              <a:gd name="T54" fmla="*/ 224 w 256"/>
              <a:gd name="T55" fmla="*/ 148 h 227"/>
              <a:gd name="T56" fmla="*/ 218 w 256"/>
              <a:gd name="T57" fmla="*/ 147 h 227"/>
              <a:gd name="T58" fmla="*/ 215 w 256"/>
              <a:gd name="T59" fmla="*/ 148 h 227"/>
              <a:gd name="T60" fmla="*/ 215 w 256"/>
              <a:gd name="T61" fmla="*/ 164 h 227"/>
              <a:gd name="T62" fmla="*/ 224 w 256"/>
              <a:gd name="T63" fmla="*/ 169 h 227"/>
              <a:gd name="T64" fmla="*/ 210 w 256"/>
              <a:gd name="T65" fmla="*/ 175 h 227"/>
              <a:gd name="T66" fmla="*/ 210 w 256"/>
              <a:gd name="T67" fmla="*/ 175 h 227"/>
              <a:gd name="T68" fmla="*/ 210 w 256"/>
              <a:gd name="T69" fmla="*/ 191 h 227"/>
              <a:gd name="T70" fmla="*/ 210 w 256"/>
              <a:gd name="T71" fmla="*/ 203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56" h="227">
                <a:moveTo>
                  <a:pt x="256" y="108"/>
                </a:moveTo>
                <a:cubicBezTo>
                  <a:pt x="256" y="94"/>
                  <a:pt x="245" y="84"/>
                  <a:pt x="232" y="84"/>
                </a:cubicBezTo>
                <a:cubicBezTo>
                  <a:pt x="169" y="84"/>
                  <a:pt x="169" y="84"/>
                  <a:pt x="169" y="84"/>
                </a:cubicBezTo>
                <a:cubicBezTo>
                  <a:pt x="171" y="74"/>
                  <a:pt x="172" y="59"/>
                  <a:pt x="172" y="44"/>
                </a:cubicBezTo>
                <a:cubicBezTo>
                  <a:pt x="172" y="13"/>
                  <a:pt x="156" y="0"/>
                  <a:pt x="140" y="0"/>
                </a:cubicBezTo>
                <a:cubicBezTo>
                  <a:pt x="120" y="0"/>
                  <a:pt x="120" y="21"/>
                  <a:pt x="120" y="48"/>
                </a:cubicBezTo>
                <a:cubicBezTo>
                  <a:pt x="120" y="67"/>
                  <a:pt x="90" y="97"/>
                  <a:pt x="75" y="110"/>
                </a:cubicBezTo>
                <a:cubicBezTo>
                  <a:pt x="71" y="108"/>
                  <a:pt x="68" y="107"/>
                  <a:pt x="64" y="107"/>
                </a:cubicBezTo>
                <a:cubicBezTo>
                  <a:pt x="24" y="107"/>
                  <a:pt x="24" y="107"/>
                  <a:pt x="24" y="107"/>
                </a:cubicBezTo>
                <a:cubicBezTo>
                  <a:pt x="11" y="107"/>
                  <a:pt x="0" y="118"/>
                  <a:pt x="0" y="131"/>
                </a:cubicBezTo>
                <a:cubicBezTo>
                  <a:pt x="8" y="203"/>
                  <a:pt x="8" y="203"/>
                  <a:pt x="8" y="203"/>
                </a:cubicBezTo>
                <a:cubicBezTo>
                  <a:pt x="10" y="216"/>
                  <a:pt x="19" y="227"/>
                  <a:pt x="32" y="227"/>
                </a:cubicBezTo>
                <a:cubicBezTo>
                  <a:pt x="64" y="227"/>
                  <a:pt x="64" y="227"/>
                  <a:pt x="64" y="227"/>
                </a:cubicBezTo>
                <a:cubicBezTo>
                  <a:pt x="74" y="227"/>
                  <a:pt x="83" y="221"/>
                  <a:pt x="87" y="212"/>
                </a:cubicBezTo>
                <a:cubicBezTo>
                  <a:pt x="100" y="219"/>
                  <a:pt x="100" y="219"/>
                  <a:pt x="100" y="219"/>
                </a:cubicBezTo>
                <a:cubicBezTo>
                  <a:pt x="101" y="219"/>
                  <a:pt x="102" y="219"/>
                  <a:pt x="103" y="219"/>
                </a:cubicBezTo>
                <a:cubicBezTo>
                  <a:pt x="210" y="219"/>
                  <a:pt x="210" y="219"/>
                  <a:pt x="210" y="219"/>
                </a:cubicBezTo>
                <a:cubicBezTo>
                  <a:pt x="222" y="219"/>
                  <a:pt x="232" y="210"/>
                  <a:pt x="232" y="197"/>
                </a:cubicBezTo>
                <a:cubicBezTo>
                  <a:pt x="232" y="194"/>
                  <a:pt x="231" y="191"/>
                  <a:pt x="230" y="188"/>
                </a:cubicBezTo>
                <a:cubicBezTo>
                  <a:pt x="236" y="184"/>
                  <a:pt x="240" y="177"/>
                  <a:pt x="240" y="169"/>
                </a:cubicBezTo>
                <a:cubicBezTo>
                  <a:pt x="240" y="166"/>
                  <a:pt x="239" y="162"/>
                  <a:pt x="238" y="159"/>
                </a:cubicBezTo>
                <a:cubicBezTo>
                  <a:pt x="244" y="155"/>
                  <a:pt x="248" y="148"/>
                  <a:pt x="248" y="140"/>
                </a:cubicBezTo>
                <a:cubicBezTo>
                  <a:pt x="248" y="135"/>
                  <a:pt x="247" y="131"/>
                  <a:pt x="245" y="128"/>
                </a:cubicBezTo>
                <a:cubicBezTo>
                  <a:pt x="252" y="123"/>
                  <a:pt x="256" y="116"/>
                  <a:pt x="256" y="108"/>
                </a:cubicBezTo>
                <a:close/>
                <a:moveTo>
                  <a:pt x="64" y="211"/>
                </a:moveTo>
                <a:cubicBezTo>
                  <a:pt x="32" y="211"/>
                  <a:pt x="32" y="211"/>
                  <a:pt x="32" y="211"/>
                </a:cubicBezTo>
                <a:cubicBezTo>
                  <a:pt x="28" y="211"/>
                  <a:pt x="25" y="206"/>
                  <a:pt x="24" y="202"/>
                </a:cubicBezTo>
                <a:cubicBezTo>
                  <a:pt x="16" y="131"/>
                  <a:pt x="16" y="131"/>
                  <a:pt x="16" y="131"/>
                </a:cubicBezTo>
                <a:cubicBezTo>
                  <a:pt x="17" y="127"/>
                  <a:pt x="20" y="123"/>
                  <a:pt x="24" y="123"/>
                </a:cubicBezTo>
                <a:cubicBezTo>
                  <a:pt x="64" y="123"/>
                  <a:pt x="64" y="123"/>
                  <a:pt x="64" y="123"/>
                </a:cubicBezTo>
                <a:cubicBezTo>
                  <a:pt x="69" y="123"/>
                  <a:pt x="72" y="127"/>
                  <a:pt x="72" y="131"/>
                </a:cubicBezTo>
                <a:cubicBezTo>
                  <a:pt x="72" y="198"/>
                  <a:pt x="72" y="198"/>
                  <a:pt x="72" y="198"/>
                </a:cubicBezTo>
                <a:cubicBezTo>
                  <a:pt x="72" y="199"/>
                  <a:pt x="72" y="200"/>
                  <a:pt x="72" y="201"/>
                </a:cubicBezTo>
                <a:cubicBezTo>
                  <a:pt x="72" y="203"/>
                  <a:pt x="72" y="203"/>
                  <a:pt x="72" y="203"/>
                </a:cubicBezTo>
                <a:cubicBezTo>
                  <a:pt x="72" y="208"/>
                  <a:pt x="69" y="211"/>
                  <a:pt x="64" y="211"/>
                </a:cubicBezTo>
                <a:close/>
                <a:moveTo>
                  <a:pt x="210" y="203"/>
                </a:moveTo>
                <a:cubicBezTo>
                  <a:pt x="105" y="203"/>
                  <a:pt x="105" y="203"/>
                  <a:pt x="105" y="203"/>
                </a:cubicBezTo>
                <a:cubicBezTo>
                  <a:pt x="88" y="194"/>
                  <a:pt x="88" y="194"/>
                  <a:pt x="88" y="194"/>
                </a:cubicBezTo>
                <a:cubicBezTo>
                  <a:pt x="88" y="131"/>
                  <a:pt x="88" y="131"/>
                  <a:pt x="88" y="131"/>
                </a:cubicBezTo>
                <a:cubicBezTo>
                  <a:pt x="88" y="128"/>
                  <a:pt x="87" y="124"/>
                  <a:pt x="86" y="121"/>
                </a:cubicBezTo>
                <a:cubicBezTo>
                  <a:pt x="100" y="109"/>
                  <a:pt x="136" y="75"/>
                  <a:pt x="136" y="48"/>
                </a:cubicBezTo>
                <a:cubicBezTo>
                  <a:pt x="136" y="31"/>
                  <a:pt x="136" y="16"/>
                  <a:pt x="140" y="16"/>
                </a:cubicBezTo>
                <a:cubicBezTo>
                  <a:pt x="148" y="16"/>
                  <a:pt x="156" y="25"/>
                  <a:pt x="156" y="44"/>
                </a:cubicBezTo>
                <a:cubicBezTo>
                  <a:pt x="156" y="67"/>
                  <a:pt x="152" y="90"/>
                  <a:pt x="152" y="90"/>
                </a:cubicBezTo>
                <a:cubicBezTo>
                  <a:pt x="152" y="93"/>
                  <a:pt x="153" y="95"/>
                  <a:pt x="154" y="97"/>
                </a:cubicBezTo>
                <a:cubicBezTo>
                  <a:pt x="156" y="98"/>
                  <a:pt x="158" y="100"/>
                  <a:pt x="160" y="100"/>
                </a:cubicBezTo>
                <a:cubicBezTo>
                  <a:pt x="232" y="100"/>
                  <a:pt x="232" y="100"/>
                  <a:pt x="232" y="100"/>
                </a:cubicBezTo>
                <a:cubicBezTo>
                  <a:pt x="237" y="100"/>
                  <a:pt x="240" y="103"/>
                  <a:pt x="240" y="108"/>
                </a:cubicBezTo>
                <a:cubicBezTo>
                  <a:pt x="240" y="112"/>
                  <a:pt x="237" y="116"/>
                  <a:pt x="232" y="116"/>
                </a:cubicBezTo>
                <a:cubicBezTo>
                  <a:pt x="223" y="116"/>
                  <a:pt x="223" y="116"/>
                  <a:pt x="223" y="116"/>
                </a:cubicBezTo>
                <a:cubicBezTo>
                  <a:pt x="219" y="116"/>
                  <a:pt x="215" y="119"/>
                  <a:pt x="215" y="124"/>
                </a:cubicBezTo>
                <a:cubicBezTo>
                  <a:pt x="215" y="128"/>
                  <a:pt x="219" y="132"/>
                  <a:pt x="223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9" y="132"/>
                  <a:pt x="232" y="135"/>
                  <a:pt x="232" y="140"/>
                </a:cubicBezTo>
                <a:cubicBezTo>
                  <a:pt x="232" y="144"/>
                  <a:pt x="229" y="148"/>
                  <a:pt x="224" y="148"/>
                </a:cubicBezTo>
                <a:cubicBezTo>
                  <a:pt x="219" y="148"/>
                  <a:pt x="219" y="148"/>
                  <a:pt x="219" y="148"/>
                </a:cubicBezTo>
                <a:cubicBezTo>
                  <a:pt x="219" y="148"/>
                  <a:pt x="218" y="147"/>
                  <a:pt x="218" y="147"/>
                </a:cubicBezTo>
                <a:cubicBezTo>
                  <a:pt x="218" y="147"/>
                  <a:pt x="218" y="148"/>
                  <a:pt x="218" y="148"/>
                </a:cubicBezTo>
                <a:cubicBezTo>
                  <a:pt x="215" y="148"/>
                  <a:pt x="215" y="148"/>
                  <a:pt x="215" y="148"/>
                </a:cubicBezTo>
                <a:cubicBezTo>
                  <a:pt x="211" y="148"/>
                  <a:pt x="207" y="151"/>
                  <a:pt x="207" y="156"/>
                </a:cubicBezTo>
                <a:cubicBezTo>
                  <a:pt x="207" y="160"/>
                  <a:pt x="211" y="164"/>
                  <a:pt x="215" y="164"/>
                </a:cubicBezTo>
                <a:cubicBezTo>
                  <a:pt x="218" y="164"/>
                  <a:pt x="218" y="164"/>
                  <a:pt x="218" y="164"/>
                </a:cubicBezTo>
                <a:cubicBezTo>
                  <a:pt x="222" y="164"/>
                  <a:pt x="224" y="166"/>
                  <a:pt x="224" y="169"/>
                </a:cubicBezTo>
                <a:cubicBezTo>
                  <a:pt x="224" y="173"/>
                  <a:pt x="221" y="175"/>
                  <a:pt x="218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06" y="175"/>
                  <a:pt x="202" y="179"/>
                  <a:pt x="202" y="183"/>
                </a:cubicBezTo>
                <a:cubicBezTo>
                  <a:pt x="202" y="188"/>
                  <a:pt x="206" y="191"/>
                  <a:pt x="210" y="191"/>
                </a:cubicBezTo>
                <a:cubicBezTo>
                  <a:pt x="213" y="191"/>
                  <a:pt x="216" y="194"/>
                  <a:pt x="216" y="197"/>
                </a:cubicBezTo>
                <a:cubicBezTo>
                  <a:pt x="216" y="201"/>
                  <a:pt x="213" y="203"/>
                  <a:pt x="210" y="20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US" sz="840"/>
          </a:p>
        </p:txBody>
      </p:sp>
      <p:sp>
        <p:nvSpPr>
          <p:cNvPr id="120" name="Shape3_20180718_204234">
            <a:extLst>
              <a:ext uri="{FF2B5EF4-FFF2-40B4-BE49-F238E27FC236}">
                <a16:creationId xmlns:a16="http://schemas.microsoft.com/office/drawing/2014/main" id="{513E4C35-3254-B758-2C5D-F4A22DF1238F}"/>
              </a:ext>
            </a:extLst>
          </p:cNvPr>
          <p:cNvSpPr>
            <a:spLocks noChangeAspect="1" noEditPoints="1"/>
          </p:cNvSpPr>
          <p:nvPr>
            <p:custDataLst>
              <p:tags r:id="rId5"/>
            </p:custDataLst>
          </p:nvPr>
        </p:nvSpPr>
        <p:spPr bwMode="auto">
          <a:xfrm>
            <a:off x="6983318" y="3754124"/>
            <a:ext cx="415395" cy="416431"/>
          </a:xfrm>
          <a:custGeom>
            <a:avLst/>
            <a:gdLst>
              <a:gd name="T0" fmla="*/ 1698 w 2448"/>
              <a:gd name="T1" fmla="*/ 97 h 2446"/>
              <a:gd name="T2" fmla="*/ 748 w 2448"/>
              <a:gd name="T3" fmla="*/ 97 h 2446"/>
              <a:gd name="T4" fmla="*/ 0 w 2448"/>
              <a:gd name="T5" fmla="*/ 1222 h 2446"/>
              <a:gd name="T6" fmla="*/ 748 w 2448"/>
              <a:gd name="T7" fmla="*/ 2349 h 2446"/>
              <a:gd name="T8" fmla="*/ 1698 w 2448"/>
              <a:gd name="T9" fmla="*/ 2349 h 2446"/>
              <a:gd name="T10" fmla="*/ 2448 w 2448"/>
              <a:gd name="T11" fmla="*/ 1222 h 2446"/>
              <a:gd name="T12" fmla="*/ 816 w 2448"/>
              <a:gd name="T13" fmla="*/ 227 h 2446"/>
              <a:gd name="T14" fmla="*/ 264 w 2448"/>
              <a:gd name="T15" fmla="*/ 737 h 2446"/>
              <a:gd name="T16" fmla="*/ 149 w 2448"/>
              <a:gd name="T17" fmla="*/ 1222 h 2446"/>
              <a:gd name="T18" fmla="*/ 554 w 2448"/>
              <a:gd name="T19" fmla="*/ 884 h 2446"/>
              <a:gd name="T20" fmla="*/ 554 w 2448"/>
              <a:gd name="T21" fmla="*/ 1556 h 2446"/>
              <a:gd name="T22" fmla="*/ 149 w 2448"/>
              <a:gd name="T23" fmla="*/ 1222 h 2446"/>
              <a:gd name="T24" fmla="*/ 584 w 2448"/>
              <a:gd name="T25" fmla="*/ 1704 h 2446"/>
              <a:gd name="T26" fmla="*/ 264 w 2448"/>
              <a:gd name="T27" fmla="*/ 1704 h 2446"/>
              <a:gd name="T28" fmla="*/ 906 w 2448"/>
              <a:gd name="T29" fmla="*/ 2092 h 2446"/>
              <a:gd name="T30" fmla="*/ 1148 w 2448"/>
              <a:gd name="T31" fmla="*/ 1704 h 2446"/>
              <a:gd name="T32" fmla="*/ 1148 w 2448"/>
              <a:gd name="T33" fmla="*/ 1556 h 2446"/>
              <a:gd name="T34" fmla="*/ 677 w 2448"/>
              <a:gd name="T35" fmla="*/ 1222 h 2446"/>
              <a:gd name="T36" fmla="*/ 1148 w 2448"/>
              <a:gd name="T37" fmla="*/ 884 h 2446"/>
              <a:gd name="T38" fmla="*/ 1148 w 2448"/>
              <a:gd name="T39" fmla="*/ 737 h 2446"/>
              <a:gd name="T40" fmla="*/ 909 w 2448"/>
              <a:gd name="T41" fmla="*/ 353 h 2446"/>
              <a:gd name="T42" fmla="*/ 1148 w 2448"/>
              <a:gd name="T43" fmla="*/ 737 h 2446"/>
              <a:gd name="T44" fmla="*/ 1864 w 2448"/>
              <a:gd name="T45" fmla="*/ 737 h 2446"/>
              <a:gd name="T46" fmla="*/ 2184 w 2448"/>
              <a:gd name="T47" fmla="*/ 737 h 2446"/>
              <a:gd name="T48" fmla="*/ 1539 w 2448"/>
              <a:gd name="T49" fmla="*/ 353 h 2446"/>
              <a:gd name="T50" fmla="*/ 1300 w 2448"/>
              <a:gd name="T51" fmla="*/ 737 h 2446"/>
              <a:gd name="T52" fmla="*/ 1300 w 2448"/>
              <a:gd name="T53" fmla="*/ 884 h 2446"/>
              <a:gd name="T54" fmla="*/ 1771 w 2448"/>
              <a:gd name="T55" fmla="*/ 1222 h 2446"/>
              <a:gd name="T56" fmla="*/ 1300 w 2448"/>
              <a:gd name="T57" fmla="*/ 1556 h 2446"/>
              <a:gd name="T58" fmla="*/ 1300 w 2448"/>
              <a:gd name="T59" fmla="*/ 2286 h 2446"/>
              <a:gd name="T60" fmla="*/ 1711 w 2448"/>
              <a:gd name="T61" fmla="*/ 1704 h 2446"/>
              <a:gd name="T62" fmla="*/ 1300 w 2448"/>
              <a:gd name="T63" fmla="*/ 2286 h 2446"/>
              <a:gd name="T64" fmla="*/ 1864 w 2448"/>
              <a:gd name="T65" fmla="*/ 1704 h 2446"/>
              <a:gd name="T66" fmla="*/ 1632 w 2448"/>
              <a:gd name="T67" fmla="*/ 2219 h 2446"/>
              <a:gd name="T68" fmla="*/ 1894 w 2448"/>
              <a:gd name="T69" fmla="*/ 1556 h 2446"/>
              <a:gd name="T70" fmla="*/ 1894 w 2448"/>
              <a:gd name="T71" fmla="*/ 884 h 2446"/>
              <a:gd name="T72" fmla="*/ 2299 w 2448"/>
              <a:gd name="T73" fmla="*/ 1222 h 2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2448" h="2446">
                <a:moveTo>
                  <a:pt x="2350" y="747"/>
                </a:moveTo>
                <a:cubicBezTo>
                  <a:pt x="2221" y="446"/>
                  <a:pt x="2002" y="227"/>
                  <a:pt x="1698" y="97"/>
                </a:cubicBezTo>
                <a:cubicBezTo>
                  <a:pt x="1547" y="33"/>
                  <a:pt x="1389" y="0"/>
                  <a:pt x="1223" y="0"/>
                </a:cubicBezTo>
                <a:cubicBezTo>
                  <a:pt x="1057" y="0"/>
                  <a:pt x="900" y="32"/>
                  <a:pt x="748" y="97"/>
                </a:cubicBezTo>
                <a:cubicBezTo>
                  <a:pt x="447" y="226"/>
                  <a:pt x="226" y="445"/>
                  <a:pt x="96" y="747"/>
                </a:cubicBezTo>
                <a:cubicBezTo>
                  <a:pt x="32" y="898"/>
                  <a:pt x="0" y="1056"/>
                  <a:pt x="0" y="1222"/>
                </a:cubicBezTo>
                <a:cubicBezTo>
                  <a:pt x="0" y="1388"/>
                  <a:pt x="32" y="1547"/>
                  <a:pt x="96" y="1698"/>
                </a:cubicBezTo>
                <a:cubicBezTo>
                  <a:pt x="226" y="2000"/>
                  <a:pt x="447" y="2220"/>
                  <a:pt x="748" y="2349"/>
                </a:cubicBezTo>
                <a:cubicBezTo>
                  <a:pt x="900" y="2414"/>
                  <a:pt x="1057" y="2446"/>
                  <a:pt x="1223" y="2446"/>
                </a:cubicBezTo>
                <a:cubicBezTo>
                  <a:pt x="1389" y="2446"/>
                  <a:pt x="1547" y="2413"/>
                  <a:pt x="1698" y="2349"/>
                </a:cubicBezTo>
                <a:cubicBezTo>
                  <a:pt x="2002" y="2219"/>
                  <a:pt x="2221" y="1999"/>
                  <a:pt x="2350" y="1698"/>
                </a:cubicBezTo>
                <a:cubicBezTo>
                  <a:pt x="2415" y="1547"/>
                  <a:pt x="2448" y="1388"/>
                  <a:pt x="2448" y="1222"/>
                </a:cubicBezTo>
                <a:cubicBezTo>
                  <a:pt x="2448" y="1056"/>
                  <a:pt x="2415" y="898"/>
                  <a:pt x="2350" y="747"/>
                </a:cubicBezTo>
                <a:close/>
                <a:moveTo>
                  <a:pt x="816" y="227"/>
                </a:moveTo>
                <a:cubicBezTo>
                  <a:pt x="711" y="361"/>
                  <a:pt x="633" y="531"/>
                  <a:pt x="584" y="737"/>
                </a:cubicBezTo>
                <a:cubicBezTo>
                  <a:pt x="264" y="737"/>
                  <a:pt x="264" y="737"/>
                  <a:pt x="264" y="737"/>
                </a:cubicBezTo>
                <a:cubicBezTo>
                  <a:pt x="381" y="508"/>
                  <a:pt x="580" y="325"/>
                  <a:pt x="816" y="227"/>
                </a:cubicBezTo>
                <a:close/>
                <a:moveTo>
                  <a:pt x="149" y="1222"/>
                </a:moveTo>
                <a:cubicBezTo>
                  <a:pt x="149" y="1105"/>
                  <a:pt x="167" y="993"/>
                  <a:pt x="203" y="884"/>
                </a:cubicBezTo>
                <a:cubicBezTo>
                  <a:pt x="554" y="884"/>
                  <a:pt x="554" y="884"/>
                  <a:pt x="554" y="884"/>
                </a:cubicBezTo>
                <a:cubicBezTo>
                  <a:pt x="537" y="998"/>
                  <a:pt x="529" y="1111"/>
                  <a:pt x="529" y="1222"/>
                </a:cubicBezTo>
                <a:cubicBezTo>
                  <a:pt x="529" y="1331"/>
                  <a:pt x="537" y="1443"/>
                  <a:pt x="554" y="1556"/>
                </a:cubicBezTo>
                <a:cubicBezTo>
                  <a:pt x="201" y="1556"/>
                  <a:pt x="201" y="1556"/>
                  <a:pt x="201" y="1556"/>
                </a:cubicBezTo>
                <a:cubicBezTo>
                  <a:pt x="166" y="1448"/>
                  <a:pt x="149" y="1335"/>
                  <a:pt x="149" y="1222"/>
                </a:cubicBezTo>
                <a:close/>
                <a:moveTo>
                  <a:pt x="264" y="1704"/>
                </a:moveTo>
                <a:cubicBezTo>
                  <a:pt x="584" y="1704"/>
                  <a:pt x="584" y="1704"/>
                  <a:pt x="584" y="1704"/>
                </a:cubicBezTo>
                <a:cubicBezTo>
                  <a:pt x="633" y="1914"/>
                  <a:pt x="711" y="2086"/>
                  <a:pt x="816" y="2219"/>
                </a:cubicBezTo>
                <a:cubicBezTo>
                  <a:pt x="576" y="2118"/>
                  <a:pt x="377" y="1935"/>
                  <a:pt x="264" y="1704"/>
                </a:cubicBezTo>
                <a:close/>
                <a:moveTo>
                  <a:pt x="1148" y="2286"/>
                </a:moveTo>
                <a:cubicBezTo>
                  <a:pt x="1061" y="2260"/>
                  <a:pt x="980" y="2196"/>
                  <a:pt x="906" y="2092"/>
                </a:cubicBezTo>
                <a:cubicBezTo>
                  <a:pt x="833" y="1987"/>
                  <a:pt x="776" y="1857"/>
                  <a:pt x="737" y="1704"/>
                </a:cubicBezTo>
                <a:cubicBezTo>
                  <a:pt x="1148" y="1704"/>
                  <a:pt x="1148" y="1704"/>
                  <a:pt x="1148" y="1704"/>
                </a:cubicBezTo>
                <a:lnTo>
                  <a:pt x="1148" y="2286"/>
                </a:lnTo>
                <a:close/>
                <a:moveTo>
                  <a:pt x="1148" y="1556"/>
                </a:moveTo>
                <a:cubicBezTo>
                  <a:pt x="704" y="1556"/>
                  <a:pt x="704" y="1556"/>
                  <a:pt x="704" y="1556"/>
                </a:cubicBezTo>
                <a:cubicBezTo>
                  <a:pt x="687" y="1437"/>
                  <a:pt x="677" y="1326"/>
                  <a:pt x="677" y="1222"/>
                </a:cubicBezTo>
                <a:cubicBezTo>
                  <a:pt x="677" y="1109"/>
                  <a:pt x="687" y="997"/>
                  <a:pt x="707" y="884"/>
                </a:cubicBezTo>
                <a:cubicBezTo>
                  <a:pt x="1148" y="884"/>
                  <a:pt x="1148" y="884"/>
                  <a:pt x="1148" y="884"/>
                </a:cubicBezTo>
                <a:cubicBezTo>
                  <a:pt x="1148" y="1556"/>
                  <a:pt x="1148" y="1556"/>
                  <a:pt x="1148" y="1556"/>
                </a:cubicBezTo>
                <a:close/>
                <a:moveTo>
                  <a:pt x="1148" y="737"/>
                </a:moveTo>
                <a:cubicBezTo>
                  <a:pt x="737" y="737"/>
                  <a:pt x="737" y="737"/>
                  <a:pt x="737" y="737"/>
                </a:cubicBezTo>
                <a:cubicBezTo>
                  <a:pt x="779" y="585"/>
                  <a:pt x="836" y="456"/>
                  <a:pt x="909" y="353"/>
                </a:cubicBezTo>
                <a:cubicBezTo>
                  <a:pt x="983" y="249"/>
                  <a:pt x="1061" y="184"/>
                  <a:pt x="1148" y="160"/>
                </a:cubicBezTo>
                <a:cubicBezTo>
                  <a:pt x="1148" y="737"/>
                  <a:pt x="1148" y="737"/>
                  <a:pt x="1148" y="737"/>
                </a:cubicBezTo>
                <a:close/>
                <a:moveTo>
                  <a:pt x="2184" y="737"/>
                </a:moveTo>
                <a:cubicBezTo>
                  <a:pt x="1864" y="737"/>
                  <a:pt x="1864" y="737"/>
                  <a:pt x="1864" y="737"/>
                </a:cubicBezTo>
                <a:cubicBezTo>
                  <a:pt x="1815" y="531"/>
                  <a:pt x="1737" y="361"/>
                  <a:pt x="1632" y="227"/>
                </a:cubicBezTo>
                <a:cubicBezTo>
                  <a:pt x="1868" y="325"/>
                  <a:pt x="2067" y="508"/>
                  <a:pt x="2184" y="737"/>
                </a:cubicBezTo>
                <a:close/>
                <a:moveTo>
                  <a:pt x="1300" y="160"/>
                </a:moveTo>
                <a:cubicBezTo>
                  <a:pt x="1387" y="184"/>
                  <a:pt x="1465" y="249"/>
                  <a:pt x="1539" y="353"/>
                </a:cubicBezTo>
                <a:cubicBezTo>
                  <a:pt x="1613" y="456"/>
                  <a:pt x="1669" y="585"/>
                  <a:pt x="1711" y="737"/>
                </a:cubicBezTo>
                <a:cubicBezTo>
                  <a:pt x="1300" y="737"/>
                  <a:pt x="1300" y="737"/>
                  <a:pt x="1300" y="737"/>
                </a:cubicBezTo>
                <a:lnTo>
                  <a:pt x="1300" y="160"/>
                </a:lnTo>
                <a:close/>
                <a:moveTo>
                  <a:pt x="1300" y="884"/>
                </a:moveTo>
                <a:cubicBezTo>
                  <a:pt x="1741" y="884"/>
                  <a:pt x="1741" y="884"/>
                  <a:pt x="1741" y="884"/>
                </a:cubicBezTo>
                <a:cubicBezTo>
                  <a:pt x="1761" y="997"/>
                  <a:pt x="1771" y="1109"/>
                  <a:pt x="1771" y="1222"/>
                </a:cubicBezTo>
                <a:cubicBezTo>
                  <a:pt x="1771" y="1326"/>
                  <a:pt x="1761" y="1437"/>
                  <a:pt x="1744" y="1556"/>
                </a:cubicBezTo>
                <a:cubicBezTo>
                  <a:pt x="1300" y="1556"/>
                  <a:pt x="1300" y="1556"/>
                  <a:pt x="1300" y="1556"/>
                </a:cubicBezTo>
                <a:lnTo>
                  <a:pt x="1300" y="884"/>
                </a:lnTo>
                <a:close/>
                <a:moveTo>
                  <a:pt x="1300" y="2286"/>
                </a:moveTo>
                <a:cubicBezTo>
                  <a:pt x="1300" y="1704"/>
                  <a:pt x="1300" y="1704"/>
                  <a:pt x="1300" y="1704"/>
                </a:cubicBezTo>
                <a:cubicBezTo>
                  <a:pt x="1711" y="1704"/>
                  <a:pt x="1711" y="1704"/>
                  <a:pt x="1711" y="1704"/>
                </a:cubicBezTo>
                <a:cubicBezTo>
                  <a:pt x="1670" y="1857"/>
                  <a:pt x="1613" y="1987"/>
                  <a:pt x="1541" y="2092"/>
                </a:cubicBezTo>
                <a:cubicBezTo>
                  <a:pt x="1467" y="2197"/>
                  <a:pt x="1388" y="2262"/>
                  <a:pt x="1300" y="2286"/>
                </a:cubicBezTo>
                <a:close/>
                <a:moveTo>
                  <a:pt x="1632" y="2219"/>
                </a:moveTo>
                <a:cubicBezTo>
                  <a:pt x="1737" y="2086"/>
                  <a:pt x="1815" y="1914"/>
                  <a:pt x="1864" y="1704"/>
                </a:cubicBezTo>
                <a:cubicBezTo>
                  <a:pt x="2184" y="1704"/>
                  <a:pt x="2184" y="1704"/>
                  <a:pt x="2184" y="1704"/>
                </a:cubicBezTo>
                <a:cubicBezTo>
                  <a:pt x="2071" y="1935"/>
                  <a:pt x="1872" y="2118"/>
                  <a:pt x="1632" y="2219"/>
                </a:cubicBezTo>
                <a:close/>
                <a:moveTo>
                  <a:pt x="2247" y="1556"/>
                </a:moveTo>
                <a:cubicBezTo>
                  <a:pt x="1894" y="1556"/>
                  <a:pt x="1894" y="1556"/>
                  <a:pt x="1894" y="1556"/>
                </a:cubicBezTo>
                <a:cubicBezTo>
                  <a:pt x="1911" y="1443"/>
                  <a:pt x="1919" y="1331"/>
                  <a:pt x="1919" y="1222"/>
                </a:cubicBezTo>
                <a:cubicBezTo>
                  <a:pt x="1919" y="1111"/>
                  <a:pt x="1911" y="998"/>
                  <a:pt x="1894" y="884"/>
                </a:cubicBezTo>
                <a:cubicBezTo>
                  <a:pt x="2245" y="884"/>
                  <a:pt x="2245" y="884"/>
                  <a:pt x="2245" y="884"/>
                </a:cubicBezTo>
                <a:cubicBezTo>
                  <a:pt x="2281" y="993"/>
                  <a:pt x="2299" y="1105"/>
                  <a:pt x="2299" y="1222"/>
                </a:cubicBezTo>
                <a:cubicBezTo>
                  <a:pt x="2299" y="1335"/>
                  <a:pt x="2282" y="1448"/>
                  <a:pt x="2247" y="155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21" name="Shape4_20180718_204234">
            <a:extLst>
              <a:ext uri="{FF2B5EF4-FFF2-40B4-BE49-F238E27FC236}">
                <a16:creationId xmlns:a16="http://schemas.microsoft.com/office/drawing/2014/main" id="{D8A7EBC5-9148-55C1-2E1B-600B81057B16}"/>
              </a:ext>
            </a:extLst>
          </p:cNvPr>
          <p:cNvGrpSpPr>
            <a:grpSpLocks noChangeAspect="1"/>
          </p:cNvGrpSpPr>
          <p:nvPr>
            <p:custDataLst>
              <p:tags r:id="rId6"/>
            </p:custDataLst>
          </p:nvPr>
        </p:nvGrpSpPr>
        <p:grpSpPr>
          <a:xfrm>
            <a:off x="4540868" y="3797342"/>
            <a:ext cx="415395" cy="415395"/>
            <a:chOff x="-4769427" y="-314325"/>
            <a:chExt cx="4660901" cy="4576762"/>
          </a:xfrm>
        </p:grpSpPr>
        <p:sp>
          <p:nvSpPr>
            <p:cNvPr id="122" name="Freeform 23">
              <a:extLst>
                <a:ext uri="{FF2B5EF4-FFF2-40B4-BE49-F238E27FC236}">
                  <a16:creationId xmlns:a16="http://schemas.microsoft.com/office/drawing/2014/main" id="{FBC9432F-3543-E1EC-CE50-C2B3528563A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509077" y="-314325"/>
              <a:ext cx="4138613" cy="3956050"/>
            </a:xfrm>
            <a:custGeom>
              <a:avLst/>
              <a:gdLst>
                <a:gd name="T0" fmla="*/ 2128 w 2188"/>
                <a:gd name="T1" fmla="*/ 946 h 2085"/>
                <a:gd name="T2" fmla="*/ 2169 w 2188"/>
                <a:gd name="T3" fmla="*/ 781 h 2085"/>
                <a:gd name="T4" fmla="*/ 2038 w 2188"/>
                <a:gd name="T5" fmla="*/ 671 h 2085"/>
                <a:gd name="T6" fmla="*/ 1503 w 2188"/>
                <a:gd name="T7" fmla="*/ 593 h 2085"/>
                <a:gd name="T8" fmla="*/ 1478 w 2188"/>
                <a:gd name="T9" fmla="*/ 576 h 2085"/>
                <a:gd name="T10" fmla="*/ 1239 w 2188"/>
                <a:gd name="T11" fmla="*/ 90 h 2085"/>
                <a:gd name="T12" fmla="*/ 1094 w 2188"/>
                <a:gd name="T13" fmla="*/ 0 h 2085"/>
                <a:gd name="T14" fmla="*/ 949 w 2188"/>
                <a:gd name="T15" fmla="*/ 90 h 2085"/>
                <a:gd name="T16" fmla="*/ 710 w 2188"/>
                <a:gd name="T17" fmla="*/ 576 h 2085"/>
                <a:gd name="T18" fmla="*/ 685 w 2188"/>
                <a:gd name="T19" fmla="*/ 593 h 2085"/>
                <a:gd name="T20" fmla="*/ 150 w 2188"/>
                <a:gd name="T21" fmla="*/ 671 h 2085"/>
                <a:gd name="T22" fmla="*/ 19 w 2188"/>
                <a:gd name="T23" fmla="*/ 781 h 2085"/>
                <a:gd name="T24" fmla="*/ 60 w 2188"/>
                <a:gd name="T25" fmla="*/ 946 h 2085"/>
                <a:gd name="T26" fmla="*/ 448 w 2188"/>
                <a:gd name="T27" fmla="*/ 1324 h 2085"/>
                <a:gd name="T28" fmla="*/ 457 w 2188"/>
                <a:gd name="T29" fmla="*/ 1353 h 2085"/>
                <a:gd name="T30" fmla="*/ 366 w 2188"/>
                <a:gd name="T31" fmla="*/ 1886 h 2085"/>
                <a:gd name="T32" fmla="*/ 430 w 2188"/>
                <a:gd name="T33" fmla="*/ 2044 h 2085"/>
                <a:gd name="T34" fmla="*/ 600 w 2188"/>
                <a:gd name="T35" fmla="*/ 2056 h 2085"/>
                <a:gd name="T36" fmla="*/ 1079 w 2188"/>
                <a:gd name="T37" fmla="*/ 1805 h 2085"/>
                <a:gd name="T38" fmla="*/ 1109 w 2188"/>
                <a:gd name="T39" fmla="*/ 1805 h 2085"/>
                <a:gd name="T40" fmla="*/ 1588 w 2188"/>
                <a:gd name="T41" fmla="*/ 2056 h 2085"/>
                <a:gd name="T42" fmla="*/ 1663 w 2188"/>
                <a:gd name="T43" fmla="*/ 2075 h 2085"/>
                <a:gd name="T44" fmla="*/ 1758 w 2188"/>
                <a:gd name="T45" fmla="*/ 2044 h 2085"/>
                <a:gd name="T46" fmla="*/ 1822 w 2188"/>
                <a:gd name="T47" fmla="*/ 1886 h 2085"/>
                <a:gd name="T48" fmla="*/ 1731 w 2188"/>
                <a:gd name="T49" fmla="*/ 1353 h 2085"/>
                <a:gd name="T50" fmla="*/ 1740 w 2188"/>
                <a:gd name="T51" fmla="*/ 1324 h 2085"/>
                <a:gd name="T52" fmla="*/ 2128 w 2188"/>
                <a:gd name="T53" fmla="*/ 946 h 2085"/>
                <a:gd name="T54" fmla="*/ 1604 w 2188"/>
                <a:gd name="T55" fmla="*/ 1375 h 2085"/>
                <a:gd name="T56" fmla="*/ 1695 w 2188"/>
                <a:gd name="T57" fmla="*/ 1908 h 2085"/>
                <a:gd name="T58" fmla="*/ 1682 w 2188"/>
                <a:gd name="T59" fmla="*/ 1940 h 2085"/>
                <a:gd name="T60" fmla="*/ 1648 w 2188"/>
                <a:gd name="T61" fmla="*/ 1942 h 2085"/>
                <a:gd name="T62" fmla="*/ 1169 w 2188"/>
                <a:gd name="T63" fmla="*/ 1690 h 2085"/>
                <a:gd name="T64" fmla="*/ 1094 w 2188"/>
                <a:gd name="T65" fmla="*/ 1672 h 2085"/>
                <a:gd name="T66" fmla="*/ 1019 w 2188"/>
                <a:gd name="T67" fmla="*/ 1690 h 2085"/>
                <a:gd name="T68" fmla="*/ 540 w 2188"/>
                <a:gd name="T69" fmla="*/ 1942 h 2085"/>
                <a:gd name="T70" fmla="*/ 506 w 2188"/>
                <a:gd name="T71" fmla="*/ 1940 h 2085"/>
                <a:gd name="T72" fmla="*/ 493 w 2188"/>
                <a:gd name="T73" fmla="*/ 1908 h 2085"/>
                <a:gd name="T74" fmla="*/ 584 w 2188"/>
                <a:gd name="T75" fmla="*/ 1375 h 2085"/>
                <a:gd name="T76" fmla="*/ 538 w 2188"/>
                <a:gd name="T77" fmla="*/ 1232 h 2085"/>
                <a:gd name="T78" fmla="*/ 150 w 2188"/>
                <a:gd name="T79" fmla="*/ 854 h 2085"/>
                <a:gd name="T80" fmla="*/ 142 w 2188"/>
                <a:gd name="T81" fmla="*/ 821 h 2085"/>
                <a:gd name="T82" fmla="*/ 168 w 2188"/>
                <a:gd name="T83" fmla="*/ 799 h 2085"/>
                <a:gd name="T84" fmla="*/ 704 w 2188"/>
                <a:gd name="T85" fmla="*/ 721 h 2085"/>
                <a:gd name="T86" fmla="*/ 826 w 2188"/>
                <a:gd name="T87" fmla="*/ 633 h 2085"/>
                <a:gd name="T88" fmla="*/ 1065 w 2188"/>
                <a:gd name="T89" fmla="*/ 147 h 2085"/>
                <a:gd name="T90" fmla="*/ 1094 w 2188"/>
                <a:gd name="T91" fmla="*/ 129 h 2085"/>
                <a:gd name="T92" fmla="*/ 1123 w 2188"/>
                <a:gd name="T93" fmla="*/ 147 h 2085"/>
                <a:gd name="T94" fmla="*/ 1123 w 2188"/>
                <a:gd name="T95" fmla="*/ 147 h 2085"/>
                <a:gd name="T96" fmla="*/ 1363 w 2188"/>
                <a:gd name="T97" fmla="*/ 633 h 2085"/>
                <a:gd name="T98" fmla="*/ 1484 w 2188"/>
                <a:gd name="T99" fmla="*/ 721 h 2085"/>
                <a:gd name="T100" fmla="*/ 2020 w 2188"/>
                <a:gd name="T101" fmla="*/ 799 h 2085"/>
                <a:gd name="T102" fmla="*/ 2046 w 2188"/>
                <a:gd name="T103" fmla="*/ 821 h 2085"/>
                <a:gd name="T104" fmla="*/ 2038 w 2188"/>
                <a:gd name="T105" fmla="*/ 854 h 2085"/>
                <a:gd name="T106" fmla="*/ 1650 w 2188"/>
                <a:gd name="T107" fmla="*/ 1232 h 2085"/>
                <a:gd name="T108" fmla="*/ 1604 w 2188"/>
                <a:gd name="T109" fmla="*/ 1375 h 20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188" h="2085">
                  <a:moveTo>
                    <a:pt x="2128" y="946"/>
                  </a:moveTo>
                  <a:cubicBezTo>
                    <a:pt x="2172" y="903"/>
                    <a:pt x="2188" y="840"/>
                    <a:pt x="2169" y="781"/>
                  </a:cubicBezTo>
                  <a:cubicBezTo>
                    <a:pt x="2149" y="722"/>
                    <a:pt x="2100" y="680"/>
                    <a:pt x="2038" y="671"/>
                  </a:cubicBezTo>
                  <a:cubicBezTo>
                    <a:pt x="1503" y="593"/>
                    <a:pt x="1503" y="593"/>
                    <a:pt x="1503" y="593"/>
                  </a:cubicBezTo>
                  <a:cubicBezTo>
                    <a:pt x="1492" y="592"/>
                    <a:pt x="1483" y="585"/>
                    <a:pt x="1478" y="576"/>
                  </a:cubicBezTo>
                  <a:cubicBezTo>
                    <a:pt x="1239" y="90"/>
                    <a:pt x="1239" y="90"/>
                    <a:pt x="1239" y="90"/>
                  </a:cubicBezTo>
                  <a:cubicBezTo>
                    <a:pt x="1211" y="35"/>
                    <a:pt x="1156" y="0"/>
                    <a:pt x="1094" y="0"/>
                  </a:cubicBezTo>
                  <a:cubicBezTo>
                    <a:pt x="1032" y="0"/>
                    <a:pt x="977" y="35"/>
                    <a:pt x="949" y="90"/>
                  </a:cubicBezTo>
                  <a:cubicBezTo>
                    <a:pt x="710" y="576"/>
                    <a:pt x="710" y="576"/>
                    <a:pt x="710" y="576"/>
                  </a:cubicBezTo>
                  <a:cubicBezTo>
                    <a:pt x="705" y="585"/>
                    <a:pt x="696" y="592"/>
                    <a:pt x="685" y="593"/>
                  </a:cubicBezTo>
                  <a:cubicBezTo>
                    <a:pt x="150" y="671"/>
                    <a:pt x="150" y="671"/>
                    <a:pt x="150" y="671"/>
                  </a:cubicBezTo>
                  <a:cubicBezTo>
                    <a:pt x="88" y="680"/>
                    <a:pt x="39" y="722"/>
                    <a:pt x="19" y="781"/>
                  </a:cubicBezTo>
                  <a:cubicBezTo>
                    <a:pt x="0" y="840"/>
                    <a:pt x="16" y="903"/>
                    <a:pt x="60" y="946"/>
                  </a:cubicBezTo>
                  <a:cubicBezTo>
                    <a:pt x="448" y="1324"/>
                    <a:pt x="448" y="1324"/>
                    <a:pt x="448" y="1324"/>
                  </a:cubicBezTo>
                  <a:cubicBezTo>
                    <a:pt x="455" y="1332"/>
                    <a:pt x="459" y="1342"/>
                    <a:pt x="457" y="1353"/>
                  </a:cubicBezTo>
                  <a:cubicBezTo>
                    <a:pt x="366" y="1886"/>
                    <a:pt x="366" y="1886"/>
                    <a:pt x="366" y="1886"/>
                  </a:cubicBezTo>
                  <a:cubicBezTo>
                    <a:pt x="355" y="1947"/>
                    <a:pt x="380" y="2008"/>
                    <a:pt x="430" y="2044"/>
                  </a:cubicBezTo>
                  <a:cubicBezTo>
                    <a:pt x="480" y="2081"/>
                    <a:pt x="545" y="2085"/>
                    <a:pt x="600" y="2056"/>
                  </a:cubicBezTo>
                  <a:cubicBezTo>
                    <a:pt x="1079" y="1805"/>
                    <a:pt x="1079" y="1805"/>
                    <a:pt x="1079" y="1805"/>
                  </a:cubicBezTo>
                  <a:cubicBezTo>
                    <a:pt x="1088" y="1800"/>
                    <a:pt x="1100" y="1800"/>
                    <a:pt x="1109" y="1805"/>
                  </a:cubicBezTo>
                  <a:cubicBezTo>
                    <a:pt x="1588" y="2056"/>
                    <a:pt x="1588" y="2056"/>
                    <a:pt x="1588" y="2056"/>
                  </a:cubicBezTo>
                  <a:cubicBezTo>
                    <a:pt x="1612" y="2069"/>
                    <a:pt x="1638" y="2075"/>
                    <a:pt x="1663" y="2075"/>
                  </a:cubicBezTo>
                  <a:cubicBezTo>
                    <a:pt x="1697" y="2075"/>
                    <a:pt x="1730" y="2065"/>
                    <a:pt x="1758" y="2044"/>
                  </a:cubicBezTo>
                  <a:cubicBezTo>
                    <a:pt x="1808" y="2008"/>
                    <a:pt x="1833" y="1947"/>
                    <a:pt x="1822" y="1886"/>
                  </a:cubicBezTo>
                  <a:cubicBezTo>
                    <a:pt x="1731" y="1353"/>
                    <a:pt x="1731" y="1353"/>
                    <a:pt x="1731" y="1353"/>
                  </a:cubicBezTo>
                  <a:cubicBezTo>
                    <a:pt x="1729" y="1342"/>
                    <a:pt x="1733" y="1332"/>
                    <a:pt x="1740" y="1324"/>
                  </a:cubicBezTo>
                  <a:lnTo>
                    <a:pt x="2128" y="946"/>
                  </a:lnTo>
                  <a:close/>
                  <a:moveTo>
                    <a:pt x="1604" y="1375"/>
                  </a:moveTo>
                  <a:cubicBezTo>
                    <a:pt x="1695" y="1908"/>
                    <a:pt x="1695" y="1908"/>
                    <a:pt x="1695" y="1908"/>
                  </a:cubicBezTo>
                  <a:cubicBezTo>
                    <a:pt x="1698" y="1926"/>
                    <a:pt x="1687" y="1936"/>
                    <a:pt x="1682" y="1940"/>
                  </a:cubicBezTo>
                  <a:cubicBezTo>
                    <a:pt x="1677" y="1943"/>
                    <a:pt x="1664" y="1951"/>
                    <a:pt x="1648" y="1942"/>
                  </a:cubicBezTo>
                  <a:cubicBezTo>
                    <a:pt x="1169" y="1690"/>
                    <a:pt x="1169" y="1690"/>
                    <a:pt x="1169" y="1690"/>
                  </a:cubicBezTo>
                  <a:cubicBezTo>
                    <a:pt x="1146" y="1678"/>
                    <a:pt x="1120" y="1672"/>
                    <a:pt x="1094" y="1672"/>
                  </a:cubicBezTo>
                  <a:cubicBezTo>
                    <a:pt x="1068" y="1672"/>
                    <a:pt x="1042" y="1678"/>
                    <a:pt x="1019" y="1690"/>
                  </a:cubicBezTo>
                  <a:cubicBezTo>
                    <a:pt x="540" y="1942"/>
                    <a:pt x="540" y="1942"/>
                    <a:pt x="540" y="1942"/>
                  </a:cubicBezTo>
                  <a:cubicBezTo>
                    <a:pt x="524" y="1951"/>
                    <a:pt x="511" y="1943"/>
                    <a:pt x="506" y="1940"/>
                  </a:cubicBezTo>
                  <a:cubicBezTo>
                    <a:pt x="501" y="1936"/>
                    <a:pt x="490" y="1926"/>
                    <a:pt x="493" y="1908"/>
                  </a:cubicBezTo>
                  <a:cubicBezTo>
                    <a:pt x="584" y="1375"/>
                    <a:pt x="584" y="1375"/>
                    <a:pt x="584" y="1375"/>
                  </a:cubicBezTo>
                  <a:cubicBezTo>
                    <a:pt x="593" y="1322"/>
                    <a:pt x="576" y="1269"/>
                    <a:pt x="538" y="1232"/>
                  </a:cubicBezTo>
                  <a:cubicBezTo>
                    <a:pt x="150" y="854"/>
                    <a:pt x="150" y="854"/>
                    <a:pt x="150" y="854"/>
                  </a:cubicBezTo>
                  <a:cubicBezTo>
                    <a:pt x="137" y="841"/>
                    <a:pt x="140" y="827"/>
                    <a:pt x="142" y="821"/>
                  </a:cubicBezTo>
                  <a:cubicBezTo>
                    <a:pt x="144" y="815"/>
                    <a:pt x="150" y="801"/>
                    <a:pt x="168" y="799"/>
                  </a:cubicBezTo>
                  <a:cubicBezTo>
                    <a:pt x="704" y="721"/>
                    <a:pt x="704" y="721"/>
                    <a:pt x="704" y="721"/>
                  </a:cubicBezTo>
                  <a:cubicBezTo>
                    <a:pt x="757" y="713"/>
                    <a:pt x="802" y="680"/>
                    <a:pt x="826" y="633"/>
                  </a:cubicBezTo>
                  <a:cubicBezTo>
                    <a:pt x="1065" y="147"/>
                    <a:pt x="1065" y="147"/>
                    <a:pt x="1065" y="147"/>
                  </a:cubicBezTo>
                  <a:cubicBezTo>
                    <a:pt x="1073" y="131"/>
                    <a:pt x="1088" y="129"/>
                    <a:pt x="1094" y="129"/>
                  </a:cubicBezTo>
                  <a:cubicBezTo>
                    <a:pt x="1100" y="129"/>
                    <a:pt x="1115" y="131"/>
                    <a:pt x="1123" y="147"/>
                  </a:cubicBezTo>
                  <a:cubicBezTo>
                    <a:pt x="1123" y="147"/>
                    <a:pt x="1123" y="147"/>
                    <a:pt x="1123" y="147"/>
                  </a:cubicBezTo>
                  <a:cubicBezTo>
                    <a:pt x="1363" y="633"/>
                    <a:pt x="1363" y="633"/>
                    <a:pt x="1363" y="633"/>
                  </a:cubicBezTo>
                  <a:cubicBezTo>
                    <a:pt x="1386" y="680"/>
                    <a:pt x="1431" y="713"/>
                    <a:pt x="1484" y="721"/>
                  </a:cubicBezTo>
                  <a:cubicBezTo>
                    <a:pt x="2020" y="799"/>
                    <a:pt x="2020" y="799"/>
                    <a:pt x="2020" y="799"/>
                  </a:cubicBezTo>
                  <a:cubicBezTo>
                    <a:pt x="2038" y="801"/>
                    <a:pt x="2044" y="815"/>
                    <a:pt x="2046" y="821"/>
                  </a:cubicBezTo>
                  <a:cubicBezTo>
                    <a:pt x="2048" y="827"/>
                    <a:pt x="2051" y="841"/>
                    <a:pt x="2038" y="854"/>
                  </a:cubicBezTo>
                  <a:cubicBezTo>
                    <a:pt x="1650" y="1232"/>
                    <a:pt x="1650" y="1232"/>
                    <a:pt x="1650" y="1232"/>
                  </a:cubicBezTo>
                  <a:cubicBezTo>
                    <a:pt x="1612" y="1269"/>
                    <a:pt x="1595" y="1322"/>
                    <a:pt x="1604" y="137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Freeform 24">
              <a:extLst>
                <a:ext uri="{FF2B5EF4-FFF2-40B4-BE49-F238E27FC236}">
                  <a16:creationId xmlns:a16="http://schemas.microsoft.com/office/drawing/2014/main" id="{CC2EAACB-EF0B-21C9-60AC-2D78361EDAAD}"/>
                </a:ext>
              </a:extLst>
            </p:cNvPr>
            <p:cNvSpPr>
              <a:spLocks/>
            </p:cNvSpPr>
            <p:nvPr/>
          </p:nvSpPr>
          <p:spPr bwMode="auto">
            <a:xfrm>
              <a:off x="-1351539" y="-182563"/>
              <a:ext cx="406400" cy="439738"/>
            </a:xfrm>
            <a:custGeom>
              <a:avLst/>
              <a:gdLst>
                <a:gd name="T0" fmla="*/ 179 w 215"/>
                <a:gd name="T1" fmla="*/ 21 h 232"/>
                <a:gd name="T2" fmla="*/ 89 w 215"/>
                <a:gd name="T3" fmla="*/ 35 h 232"/>
                <a:gd name="T4" fmla="*/ 21 w 215"/>
                <a:gd name="T5" fmla="*/ 130 h 232"/>
                <a:gd name="T6" fmla="*/ 35 w 215"/>
                <a:gd name="T7" fmla="*/ 220 h 232"/>
                <a:gd name="T8" fmla="*/ 73 w 215"/>
                <a:gd name="T9" fmla="*/ 232 h 232"/>
                <a:gd name="T10" fmla="*/ 125 w 215"/>
                <a:gd name="T11" fmla="*/ 206 h 232"/>
                <a:gd name="T12" fmla="*/ 194 w 215"/>
                <a:gd name="T13" fmla="*/ 111 h 232"/>
                <a:gd name="T14" fmla="*/ 179 w 215"/>
                <a:gd name="T15" fmla="*/ 21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5" h="232">
                  <a:moveTo>
                    <a:pt x="179" y="21"/>
                  </a:moveTo>
                  <a:cubicBezTo>
                    <a:pt x="151" y="0"/>
                    <a:pt x="110" y="7"/>
                    <a:pt x="89" y="35"/>
                  </a:cubicBezTo>
                  <a:cubicBezTo>
                    <a:pt x="21" y="130"/>
                    <a:pt x="21" y="130"/>
                    <a:pt x="21" y="130"/>
                  </a:cubicBezTo>
                  <a:cubicBezTo>
                    <a:pt x="0" y="159"/>
                    <a:pt x="6" y="199"/>
                    <a:pt x="35" y="220"/>
                  </a:cubicBezTo>
                  <a:cubicBezTo>
                    <a:pt x="46" y="228"/>
                    <a:pt x="60" y="232"/>
                    <a:pt x="73" y="232"/>
                  </a:cubicBezTo>
                  <a:cubicBezTo>
                    <a:pt x="93" y="232"/>
                    <a:pt x="113" y="223"/>
                    <a:pt x="125" y="206"/>
                  </a:cubicBezTo>
                  <a:cubicBezTo>
                    <a:pt x="194" y="111"/>
                    <a:pt x="194" y="111"/>
                    <a:pt x="194" y="111"/>
                  </a:cubicBezTo>
                  <a:cubicBezTo>
                    <a:pt x="215" y="83"/>
                    <a:pt x="208" y="42"/>
                    <a:pt x="179" y="2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Freeform 25">
              <a:extLst>
                <a:ext uri="{FF2B5EF4-FFF2-40B4-BE49-F238E27FC236}">
                  <a16:creationId xmlns:a16="http://schemas.microsoft.com/office/drawing/2014/main" id="{DEB9C6E8-2566-2DC0-DEEE-BA82839D210D}"/>
                </a:ext>
              </a:extLst>
            </p:cNvPr>
            <p:cNvSpPr>
              <a:spLocks/>
            </p:cNvSpPr>
            <p:nvPr/>
          </p:nvSpPr>
          <p:spPr bwMode="auto">
            <a:xfrm>
              <a:off x="-3934402" y="-182563"/>
              <a:ext cx="407988" cy="439738"/>
            </a:xfrm>
            <a:custGeom>
              <a:avLst/>
              <a:gdLst>
                <a:gd name="T0" fmla="*/ 194 w 215"/>
                <a:gd name="T1" fmla="*/ 129 h 232"/>
                <a:gd name="T2" fmla="*/ 126 w 215"/>
                <a:gd name="T3" fmla="*/ 35 h 232"/>
                <a:gd name="T4" fmla="*/ 35 w 215"/>
                <a:gd name="T5" fmla="*/ 21 h 232"/>
                <a:gd name="T6" fmla="*/ 21 w 215"/>
                <a:gd name="T7" fmla="*/ 111 h 232"/>
                <a:gd name="T8" fmla="*/ 90 w 215"/>
                <a:gd name="T9" fmla="*/ 205 h 232"/>
                <a:gd name="T10" fmla="*/ 142 w 215"/>
                <a:gd name="T11" fmla="*/ 232 h 232"/>
                <a:gd name="T12" fmla="*/ 180 w 215"/>
                <a:gd name="T13" fmla="*/ 220 h 232"/>
                <a:gd name="T14" fmla="*/ 194 w 215"/>
                <a:gd name="T15" fmla="*/ 129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5" h="232">
                  <a:moveTo>
                    <a:pt x="194" y="129"/>
                  </a:moveTo>
                  <a:cubicBezTo>
                    <a:pt x="126" y="35"/>
                    <a:pt x="126" y="35"/>
                    <a:pt x="126" y="35"/>
                  </a:cubicBezTo>
                  <a:cubicBezTo>
                    <a:pt x="105" y="6"/>
                    <a:pt x="64" y="0"/>
                    <a:pt x="35" y="21"/>
                  </a:cubicBezTo>
                  <a:cubicBezTo>
                    <a:pt x="6" y="42"/>
                    <a:pt x="0" y="82"/>
                    <a:pt x="21" y="111"/>
                  </a:cubicBezTo>
                  <a:cubicBezTo>
                    <a:pt x="90" y="205"/>
                    <a:pt x="90" y="205"/>
                    <a:pt x="90" y="205"/>
                  </a:cubicBezTo>
                  <a:cubicBezTo>
                    <a:pt x="102" y="223"/>
                    <a:pt x="122" y="232"/>
                    <a:pt x="142" y="232"/>
                  </a:cubicBezTo>
                  <a:cubicBezTo>
                    <a:pt x="155" y="232"/>
                    <a:pt x="168" y="228"/>
                    <a:pt x="180" y="220"/>
                  </a:cubicBezTo>
                  <a:cubicBezTo>
                    <a:pt x="209" y="199"/>
                    <a:pt x="215" y="158"/>
                    <a:pt x="194" y="12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26">
              <a:extLst>
                <a:ext uri="{FF2B5EF4-FFF2-40B4-BE49-F238E27FC236}">
                  <a16:creationId xmlns:a16="http://schemas.microsoft.com/office/drawing/2014/main" id="{66A83E82-BA18-290C-B45E-2758539D27A2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69427" y="2336800"/>
              <a:ext cx="484188" cy="328613"/>
            </a:xfrm>
            <a:custGeom>
              <a:avLst/>
              <a:gdLst>
                <a:gd name="T0" fmla="*/ 245 w 256"/>
                <a:gd name="T1" fmla="*/ 52 h 173"/>
                <a:gd name="T2" fmla="*/ 164 w 256"/>
                <a:gd name="T3" fmla="*/ 11 h 173"/>
                <a:gd name="T4" fmla="*/ 53 w 256"/>
                <a:gd name="T5" fmla="*/ 47 h 173"/>
                <a:gd name="T6" fmla="*/ 11 w 256"/>
                <a:gd name="T7" fmla="*/ 128 h 173"/>
                <a:gd name="T8" fmla="*/ 73 w 256"/>
                <a:gd name="T9" fmla="*/ 173 h 173"/>
                <a:gd name="T10" fmla="*/ 93 w 256"/>
                <a:gd name="T11" fmla="*/ 169 h 173"/>
                <a:gd name="T12" fmla="*/ 203 w 256"/>
                <a:gd name="T13" fmla="*/ 133 h 173"/>
                <a:gd name="T14" fmla="*/ 245 w 256"/>
                <a:gd name="T15" fmla="*/ 52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6" h="173">
                  <a:moveTo>
                    <a:pt x="245" y="52"/>
                  </a:moveTo>
                  <a:cubicBezTo>
                    <a:pt x="234" y="18"/>
                    <a:pt x="197" y="0"/>
                    <a:pt x="164" y="11"/>
                  </a:cubicBezTo>
                  <a:cubicBezTo>
                    <a:pt x="53" y="47"/>
                    <a:pt x="53" y="47"/>
                    <a:pt x="53" y="47"/>
                  </a:cubicBezTo>
                  <a:cubicBezTo>
                    <a:pt x="19" y="58"/>
                    <a:pt x="0" y="94"/>
                    <a:pt x="11" y="128"/>
                  </a:cubicBezTo>
                  <a:cubicBezTo>
                    <a:pt x="20" y="155"/>
                    <a:pt x="45" y="173"/>
                    <a:pt x="73" y="173"/>
                  </a:cubicBezTo>
                  <a:cubicBezTo>
                    <a:pt x="79" y="173"/>
                    <a:pt x="86" y="172"/>
                    <a:pt x="93" y="169"/>
                  </a:cubicBezTo>
                  <a:cubicBezTo>
                    <a:pt x="203" y="133"/>
                    <a:pt x="203" y="133"/>
                    <a:pt x="203" y="133"/>
                  </a:cubicBezTo>
                  <a:cubicBezTo>
                    <a:pt x="237" y="122"/>
                    <a:pt x="256" y="86"/>
                    <a:pt x="245" y="5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27">
              <a:extLst>
                <a:ext uri="{FF2B5EF4-FFF2-40B4-BE49-F238E27FC236}">
                  <a16:creationId xmlns:a16="http://schemas.microsoft.com/office/drawing/2014/main" id="{03216917-6EB7-DE5C-11CD-0F9EC876784E}"/>
                </a:ext>
              </a:extLst>
            </p:cNvPr>
            <p:cNvSpPr>
              <a:spLocks/>
            </p:cNvSpPr>
            <p:nvPr/>
          </p:nvSpPr>
          <p:spPr bwMode="auto">
            <a:xfrm>
              <a:off x="-2562802" y="3795712"/>
              <a:ext cx="246063" cy="466725"/>
            </a:xfrm>
            <a:custGeom>
              <a:avLst/>
              <a:gdLst>
                <a:gd name="T0" fmla="*/ 65 w 130"/>
                <a:gd name="T1" fmla="*/ 0 h 246"/>
                <a:gd name="T2" fmla="*/ 0 w 130"/>
                <a:gd name="T3" fmla="*/ 65 h 246"/>
                <a:gd name="T4" fmla="*/ 0 w 130"/>
                <a:gd name="T5" fmla="*/ 181 h 246"/>
                <a:gd name="T6" fmla="*/ 65 w 130"/>
                <a:gd name="T7" fmla="*/ 246 h 246"/>
                <a:gd name="T8" fmla="*/ 130 w 130"/>
                <a:gd name="T9" fmla="*/ 181 h 246"/>
                <a:gd name="T10" fmla="*/ 130 w 130"/>
                <a:gd name="T11" fmla="*/ 65 h 246"/>
                <a:gd name="T12" fmla="*/ 65 w 130"/>
                <a:gd name="T13" fmla="*/ 0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" h="246">
                  <a:moveTo>
                    <a:pt x="65" y="0"/>
                  </a:moveTo>
                  <a:cubicBezTo>
                    <a:pt x="29" y="0"/>
                    <a:pt x="0" y="29"/>
                    <a:pt x="0" y="65"/>
                  </a:cubicBezTo>
                  <a:cubicBezTo>
                    <a:pt x="0" y="181"/>
                    <a:pt x="0" y="181"/>
                    <a:pt x="0" y="181"/>
                  </a:cubicBezTo>
                  <a:cubicBezTo>
                    <a:pt x="0" y="217"/>
                    <a:pt x="29" y="246"/>
                    <a:pt x="65" y="246"/>
                  </a:cubicBezTo>
                  <a:cubicBezTo>
                    <a:pt x="101" y="246"/>
                    <a:pt x="130" y="217"/>
                    <a:pt x="130" y="181"/>
                  </a:cubicBezTo>
                  <a:cubicBezTo>
                    <a:pt x="130" y="65"/>
                    <a:pt x="130" y="65"/>
                    <a:pt x="130" y="65"/>
                  </a:cubicBezTo>
                  <a:cubicBezTo>
                    <a:pt x="130" y="29"/>
                    <a:pt x="101" y="0"/>
                    <a:pt x="6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Freeform 28">
              <a:extLst>
                <a:ext uri="{FF2B5EF4-FFF2-40B4-BE49-F238E27FC236}">
                  <a16:creationId xmlns:a16="http://schemas.microsoft.com/office/drawing/2014/main" id="{0F0CDB7D-E082-E32E-82D4-72BF0F23E5AD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2714" y="2336800"/>
              <a:ext cx="484188" cy="328613"/>
            </a:xfrm>
            <a:custGeom>
              <a:avLst/>
              <a:gdLst>
                <a:gd name="T0" fmla="*/ 203 w 256"/>
                <a:gd name="T1" fmla="*/ 47 h 173"/>
                <a:gd name="T2" fmla="*/ 92 w 256"/>
                <a:gd name="T3" fmla="*/ 11 h 173"/>
                <a:gd name="T4" fmla="*/ 11 w 256"/>
                <a:gd name="T5" fmla="*/ 52 h 173"/>
                <a:gd name="T6" fmla="*/ 53 w 256"/>
                <a:gd name="T7" fmla="*/ 133 h 173"/>
                <a:gd name="T8" fmla="*/ 163 w 256"/>
                <a:gd name="T9" fmla="*/ 170 h 173"/>
                <a:gd name="T10" fmla="*/ 183 w 256"/>
                <a:gd name="T11" fmla="*/ 173 h 173"/>
                <a:gd name="T12" fmla="*/ 245 w 256"/>
                <a:gd name="T13" fmla="*/ 128 h 173"/>
                <a:gd name="T14" fmla="*/ 203 w 256"/>
                <a:gd name="T15" fmla="*/ 47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6" h="173">
                  <a:moveTo>
                    <a:pt x="203" y="47"/>
                  </a:moveTo>
                  <a:cubicBezTo>
                    <a:pt x="92" y="11"/>
                    <a:pt x="92" y="11"/>
                    <a:pt x="92" y="11"/>
                  </a:cubicBezTo>
                  <a:cubicBezTo>
                    <a:pt x="59" y="0"/>
                    <a:pt x="22" y="18"/>
                    <a:pt x="11" y="52"/>
                  </a:cubicBezTo>
                  <a:cubicBezTo>
                    <a:pt x="0" y="86"/>
                    <a:pt x="19" y="122"/>
                    <a:pt x="53" y="133"/>
                  </a:cubicBezTo>
                  <a:cubicBezTo>
                    <a:pt x="163" y="170"/>
                    <a:pt x="163" y="170"/>
                    <a:pt x="163" y="170"/>
                  </a:cubicBezTo>
                  <a:cubicBezTo>
                    <a:pt x="170" y="172"/>
                    <a:pt x="177" y="173"/>
                    <a:pt x="183" y="173"/>
                  </a:cubicBezTo>
                  <a:cubicBezTo>
                    <a:pt x="211" y="173"/>
                    <a:pt x="236" y="155"/>
                    <a:pt x="245" y="128"/>
                  </a:cubicBezTo>
                  <a:cubicBezTo>
                    <a:pt x="256" y="94"/>
                    <a:pt x="237" y="58"/>
                    <a:pt x="203" y="4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993166036"/>
      </p:ext>
    </p:extLst>
  </p:cSld>
  <p:clrMapOvr>
    <a:masterClrMapping/>
  </p:clrMapOvr>
</p:sld>
</file>

<file path=ppt/slides/slide1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932B16-A604-F482-7DCC-F9B8F6018F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0" name="think-cell data - do not delete" hidden="1">
            <a:extLst>
              <a:ext uri="{FF2B5EF4-FFF2-40B4-BE49-F238E27FC236}">
                <a16:creationId xmlns:a16="http://schemas.microsoft.com/office/drawing/2014/main" id="{BC4F21AA-E780-C497-2449-BEA7F84809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25" imgH="426" progId="TCLayout.ActiveDocument.1">
                  <p:embed/>
                </p:oleObj>
              </mc:Choice>
              <mc:Fallback>
                <p:oleObj name="think-cell Slide" r:id="rId9" imgW="425" imgH="426" progId="TCLayout.ActiveDocument.1">
                  <p:embed/>
                  <p:pic>
                    <p:nvPicPr>
                      <p:cNvPr id="5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C4F21AA-E780-C497-2449-BEA7F84809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3D7A877-0E24-401A-385C-969BB43841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ircular layou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C1D6B61-E470-A400-AF82-C6172133FB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45</a:t>
            </a:fld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6E3C1E78-8D4F-BCE6-0C08-AA153DAC7243}"/>
              </a:ext>
            </a:extLst>
          </p:cNvPr>
          <p:cNvGrpSpPr/>
          <p:nvPr/>
        </p:nvGrpSpPr>
        <p:grpSpPr>
          <a:xfrm>
            <a:off x="3803650" y="1371600"/>
            <a:ext cx="4343399" cy="4348052"/>
            <a:chOff x="-5251450" y="950913"/>
            <a:chExt cx="4343399" cy="4348052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D9594100-1694-1820-BC0E-D2DE5AED46B0}"/>
                </a:ext>
              </a:extLst>
            </p:cNvPr>
            <p:cNvGrpSpPr>
              <a:grpSpLocks/>
            </p:cNvGrpSpPr>
            <p:nvPr/>
          </p:nvGrpSpPr>
          <p:grpSpPr>
            <a:xfrm>
              <a:off x="-5251450" y="950913"/>
              <a:ext cx="4343399" cy="4348052"/>
              <a:chOff x="-5251450" y="950913"/>
              <a:chExt cx="4792663" cy="4819651"/>
            </a:xfrm>
          </p:grpSpPr>
          <p:sp>
            <p:nvSpPr>
              <p:cNvPr id="13" name="Freeform 5">
                <a:extLst>
                  <a:ext uri="{FF2B5EF4-FFF2-40B4-BE49-F238E27FC236}">
                    <a16:creationId xmlns:a16="http://schemas.microsoft.com/office/drawing/2014/main" id="{45070A20-EF1D-B5DC-6EAF-27F5A58152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854325" y="950913"/>
                <a:ext cx="2078038" cy="2405063"/>
              </a:xfrm>
              <a:custGeom>
                <a:avLst/>
                <a:gdLst>
                  <a:gd name="T0" fmla="*/ 0 w 1309"/>
                  <a:gd name="T1" fmla="*/ 0 h 1515"/>
                  <a:gd name="T2" fmla="*/ 97 w 1309"/>
                  <a:gd name="T3" fmla="*/ 6 h 1515"/>
                  <a:gd name="T4" fmla="*/ 200 w 1309"/>
                  <a:gd name="T5" fmla="*/ 18 h 1515"/>
                  <a:gd name="T6" fmla="*/ 297 w 1309"/>
                  <a:gd name="T7" fmla="*/ 29 h 1515"/>
                  <a:gd name="T8" fmla="*/ 394 w 1309"/>
                  <a:gd name="T9" fmla="*/ 52 h 1515"/>
                  <a:gd name="T10" fmla="*/ 486 w 1309"/>
                  <a:gd name="T11" fmla="*/ 81 h 1515"/>
                  <a:gd name="T12" fmla="*/ 577 w 1309"/>
                  <a:gd name="T13" fmla="*/ 121 h 1515"/>
                  <a:gd name="T14" fmla="*/ 669 w 1309"/>
                  <a:gd name="T15" fmla="*/ 161 h 1515"/>
                  <a:gd name="T16" fmla="*/ 755 w 1309"/>
                  <a:gd name="T17" fmla="*/ 207 h 1515"/>
                  <a:gd name="T18" fmla="*/ 915 w 1309"/>
                  <a:gd name="T19" fmla="*/ 316 h 1515"/>
                  <a:gd name="T20" fmla="*/ 1063 w 1309"/>
                  <a:gd name="T21" fmla="*/ 442 h 1515"/>
                  <a:gd name="T22" fmla="*/ 1195 w 1309"/>
                  <a:gd name="T23" fmla="*/ 591 h 1515"/>
                  <a:gd name="T24" fmla="*/ 1309 w 1309"/>
                  <a:gd name="T25" fmla="*/ 758 h 1515"/>
                  <a:gd name="T26" fmla="*/ 0 w 1309"/>
                  <a:gd name="T27" fmla="*/ 1515 h 1515"/>
                  <a:gd name="T28" fmla="*/ 0 w 1309"/>
                  <a:gd name="T29" fmla="*/ 0 h 15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309" h="1515">
                    <a:moveTo>
                      <a:pt x="0" y="0"/>
                    </a:moveTo>
                    <a:lnTo>
                      <a:pt x="97" y="6"/>
                    </a:lnTo>
                    <a:lnTo>
                      <a:pt x="200" y="18"/>
                    </a:lnTo>
                    <a:lnTo>
                      <a:pt x="297" y="29"/>
                    </a:lnTo>
                    <a:lnTo>
                      <a:pt x="394" y="52"/>
                    </a:lnTo>
                    <a:lnTo>
                      <a:pt x="486" y="81"/>
                    </a:lnTo>
                    <a:lnTo>
                      <a:pt x="577" y="121"/>
                    </a:lnTo>
                    <a:lnTo>
                      <a:pt x="669" y="161"/>
                    </a:lnTo>
                    <a:lnTo>
                      <a:pt x="755" y="207"/>
                    </a:lnTo>
                    <a:lnTo>
                      <a:pt x="915" y="316"/>
                    </a:lnTo>
                    <a:lnTo>
                      <a:pt x="1063" y="442"/>
                    </a:lnTo>
                    <a:lnTo>
                      <a:pt x="1195" y="591"/>
                    </a:lnTo>
                    <a:lnTo>
                      <a:pt x="1309" y="758"/>
                    </a:lnTo>
                    <a:lnTo>
                      <a:pt x="0" y="151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" name="Freeform 7">
                <a:extLst>
                  <a:ext uri="{FF2B5EF4-FFF2-40B4-BE49-F238E27FC236}">
                    <a16:creationId xmlns:a16="http://schemas.microsoft.com/office/drawing/2014/main" id="{0AC76C40-B024-DA67-7A09-C6BE079F98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854325" y="2154238"/>
                <a:ext cx="2395538" cy="2405063"/>
              </a:xfrm>
              <a:custGeom>
                <a:avLst/>
                <a:gdLst>
                  <a:gd name="T0" fmla="*/ 1309 w 1509"/>
                  <a:gd name="T1" fmla="*/ 0 h 1515"/>
                  <a:gd name="T2" fmla="*/ 1355 w 1509"/>
                  <a:gd name="T3" fmla="*/ 92 h 1515"/>
                  <a:gd name="T4" fmla="*/ 1395 w 1509"/>
                  <a:gd name="T5" fmla="*/ 183 h 1515"/>
                  <a:gd name="T6" fmla="*/ 1429 w 1509"/>
                  <a:gd name="T7" fmla="*/ 275 h 1515"/>
                  <a:gd name="T8" fmla="*/ 1458 w 1509"/>
                  <a:gd name="T9" fmla="*/ 373 h 1515"/>
                  <a:gd name="T10" fmla="*/ 1481 w 1509"/>
                  <a:gd name="T11" fmla="*/ 464 h 1515"/>
                  <a:gd name="T12" fmla="*/ 1498 w 1509"/>
                  <a:gd name="T13" fmla="*/ 562 h 1515"/>
                  <a:gd name="T14" fmla="*/ 1504 w 1509"/>
                  <a:gd name="T15" fmla="*/ 660 h 1515"/>
                  <a:gd name="T16" fmla="*/ 1509 w 1509"/>
                  <a:gd name="T17" fmla="*/ 757 h 1515"/>
                  <a:gd name="T18" fmla="*/ 1504 w 1509"/>
                  <a:gd name="T19" fmla="*/ 855 h 1515"/>
                  <a:gd name="T20" fmla="*/ 1498 w 1509"/>
                  <a:gd name="T21" fmla="*/ 958 h 1515"/>
                  <a:gd name="T22" fmla="*/ 1481 w 1509"/>
                  <a:gd name="T23" fmla="*/ 1050 h 1515"/>
                  <a:gd name="T24" fmla="*/ 1458 w 1509"/>
                  <a:gd name="T25" fmla="*/ 1147 h 1515"/>
                  <a:gd name="T26" fmla="*/ 1429 w 1509"/>
                  <a:gd name="T27" fmla="*/ 1245 h 1515"/>
                  <a:gd name="T28" fmla="*/ 1395 w 1509"/>
                  <a:gd name="T29" fmla="*/ 1337 h 1515"/>
                  <a:gd name="T30" fmla="*/ 1355 w 1509"/>
                  <a:gd name="T31" fmla="*/ 1428 h 1515"/>
                  <a:gd name="T32" fmla="*/ 1309 w 1509"/>
                  <a:gd name="T33" fmla="*/ 1515 h 1515"/>
                  <a:gd name="T34" fmla="*/ 0 w 1509"/>
                  <a:gd name="T35" fmla="*/ 757 h 1515"/>
                  <a:gd name="T36" fmla="*/ 1309 w 1509"/>
                  <a:gd name="T37" fmla="*/ 0 h 15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09" h="1515">
                    <a:moveTo>
                      <a:pt x="1309" y="0"/>
                    </a:moveTo>
                    <a:lnTo>
                      <a:pt x="1355" y="92"/>
                    </a:lnTo>
                    <a:lnTo>
                      <a:pt x="1395" y="183"/>
                    </a:lnTo>
                    <a:lnTo>
                      <a:pt x="1429" y="275"/>
                    </a:lnTo>
                    <a:lnTo>
                      <a:pt x="1458" y="373"/>
                    </a:lnTo>
                    <a:lnTo>
                      <a:pt x="1481" y="464"/>
                    </a:lnTo>
                    <a:lnTo>
                      <a:pt x="1498" y="562"/>
                    </a:lnTo>
                    <a:lnTo>
                      <a:pt x="1504" y="660"/>
                    </a:lnTo>
                    <a:lnTo>
                      <a:pt x="1509" y="757"/>
                    </a:lnTo>
                    <a:lnTo>
                      <a:pt x="1504" y="855"/>
                    </a:lnTo>
                    <a:lnTo>
                      <a:pt x="1498" y="958"/>
                    </a:lnTo>
                    <a:lnTo>
                      <a:pt x="1481" y="1050"/>
                    </a:lnTo>
                    <a:lnTo>
                      <a:pt x="1458" y="1147"/>
                    </a:lnTo>
                    <a:lnTo>
                      <a:pt x="1429" y="1245"/>
                    </a:lnTo>
                    <a:lnTo>
                      <a:pt x="1395" y="1337"/>
                    </a:lnTo>
                    <a:lnTo>
                      <a:pt x="1355" y="1428"/>
                    </a:lnTo>
                    <a:lnTo>
                      <a:pt x="1309" y="1515"/>
                    </a:lnTo>
                    <a:lnTo>
                      <a:pt x="0" y="757"/>
                    </a:lnTo>
                    <a:lnTo>
                      <a:pt x="1309" y="0"/>
                    </a:lnTo>
                    <a:close/>
                  </a:path>
                </a:pathLst>
              </a:custGeom>
              <a:solidFill>
                <a:schemeClr val="accent2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" name="Freeform 9">
                <a:extLst>
                  <a:ext uri="{FF2B5EF4-FFF2-40B4-BE49-F238E27FC236}">
                    <a16:creationId xmlns:a16="http://schemas.microsoft.com/office/drawing/2014/main" id="{321A3C93-C1E8-8E50-6469-4D04A30FBE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854325" y="3355976"/>
                <a:ext cx="2078038" cy="2414588"/>
              </a:xfrm>
              <a:custGeom>
                <a:avLst/>
                <a:gdLst>
                  <a:gd name="T0" fmla="*/ 1309 w 1309"/>
                  <a:gd name="T1" fmla="*/ 758 h 1521"/>
                  <a:gd name="T2" fmla="*/ 1195 w 1309"/>
                  <a:gd name="T3" fmla="*/ 930 h 1521"/>
                  <a:gd name="T4" fmla="*/ 1063 w 1309"/>
                  <a:gd name="T5" fmla="*/ 1079 h 1521"/>
                  <a:gd name="T6" fmla="*/ 915 w 1309"/>
                  <a:gd name="T7" fmla="*/ 1205 h 1521"/>
                  <a:gd name="T8" fmla="*/ 755 w 1309"/>
                  <a:gd name="T9" fmla="*/ 1314 h 1521"/>
                  <a:gd name="T10" fmla="*/ 669 w 1309"/>
                  <a:gd name="T11" fmla="*/ 1360 h 1521"/>
                  <a:gd name="T12" fmla="*/ 577 w 1309"/>
                  <a:gd name="T13" fmla="*/ 1400 h 1521"/>
                  <a:gd name="T14" fmla="*/ 486 w 1309"/>
                  <a:gd name="T15" fmla="*/ 1435 h 1521"/>
                  <a:gd name="T16" fmla="*/ 394 w 1309"/>
                  <a:gd name="T17" fmla="*/ 1463 h 1521"/>
                  <a:gd name="T18" fmla="*/ 297 w 1309"/>
                  <a:gd name="T19" fmla="*/ 1486 h 1521"/>
                  <a:gd name="T20" fmla="*/ 200 w 1309"/>
                  <a:gd name="T21" fmla="*/ 1503 h 1521"/>
                  <a:gd name="T22" fmla="*/ 97 w 1309"/>
                  <a:gd name="T23" fmla="*/ 1515 h 1521"/>
                  <a:gd name="T24" fmla="*/ 0 w 1309"/>
                  <a:gd name="T25" fmla="*/ 1521 h 1521"/>
                  <a:gd name="T26" fmla="*/ 0 w 1309"/>
                  <a:gd name="T27" fmla="*/ 0 h 1521"/>
                  <a:gd name="T28" fmla="*/ 1309 w 1309"/>
                  <a:gd name="T29" fmla="*/ 758 h 15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309" h="1521">
                    <a:moveTo>
                      <a:pt x="1309" y="758"/>
                    </a:moveTo>
                    <a:lnTo>
                      <a:pt x="1195" y="930"/>
                    </a:lnTo>
                    <a:lnTo>
                      <a:pt x="1063" y="1079"/>
                    </a:lnTo>
                    <a:lnTo>
                      <a:pt x="915" y="1205"/>
                    </a:lnTo>
                    <a:lnTo>
                      <a:pt x="755" y="1314"/>
                    </a:lnTo>
                    <a:lnTo>
                      <a:pt x="669" y="1360"/>
                    </a:lnTo>
                    <a:lnTo>
                      <a:pt x="577" y="1400"/>
                    </a:lnTo>
                    <a:lnTo>
                      <a:pt x="486" y="1435"/>
                    </a:lnTo>
                    <a:lnTo>
                      <a:pt x="394" y="1463"/>
                    </a:lnTo>
                    <a:lnTo>
                      <a:pt x="297" y="1486"/>
                    </a:lnTo>
                    <a:lnTo>
                      <a:pt x="200" y="1503"/>
                    </a:lnTo>
                    <a:lnTo>
                      <a:pt x="97" y="1515"/>
                    </a:lnTo>
                    <a:lnTo>
                      <a:pt x="0" y="1521"/>
                    </a:lnTo>
                    <a:lnTo>
                      <a:pt x="0" y="0"/>
                    </a:lnTo>
                    <a:lnTo>
                      <a:pt x="1309" y="758"/>
                    </a:lnTo>
                    <a:close/>
                  </a:path>
                </a:pathLst>
              </a:custGeom>
              <a:solidFill>
                <a:schemeClr val="accent3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" name="Freeform 11">
                <a:extLst>
                  <a:ext uri="{FF2B5EF4-FFF2-40B4-BE49-F238E27FC236}">
                    <a16:creationId xmlns:a16="http://schemas.microsoft.com/office/drawing/2014/main" id="{4D6AAD10-60D2-0E78-1284-FE7644BB64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4932363" y="3355976"/>
                <a:ext cx="2078038" cy="2414588"/>
              </a:xfrm>
              <a:custGeom>
                <a:avLst/>
                <a:gdLst>
                  <a:gd name="T0" fmla="*/ 1309 w 1309"/>
                  <a:gd name="T1" fmla="*/ 1521 h 1521"/>
                  <a:gd name="T2" fmla="*/ 1206 w 1309"/>
                  <a:gd name="T3" fmla="*/ 1515 h 1521"/>
                  <a:gd name="T4" fmla="*/ 1109 w 1309"/>
                  <a:gd name="T5" fmla="*/ 1503 h 1521"/>
                  <a:gd name="T6" fmla="*/ 1012 w 1309"/>
                  <a:gd name="T7" fmla="*/ 1486 h 1521"/>
                  <a:gd name="T8" fmla="*/ 914 w 1309"/>
                  <a:gd name="T9" fmla="*/ 1463 h 1521"/>
                  <a:gd name="T10" fmla="*/ 817 w 1309"/>
                  <a:gd name="T11" fmla="*/ 1435 h 1521"/>
                  <a:gd name="T12" fmla="*/ 726 w 1309"/>
                  <a:gd name="T13" fmla="*/ 1400 h 1521"/>
                  <a:gd name="T14" fmla="*/ 640 w 1309"/>
                  <a:gd name="T15" fmla="*/ 1360 h 1521"/>
                  <a:gd name="T16" fmla="*/ 554 w 1309"/>
                  <a:gd name="T17" fmla="*/ 1314 h 1521"/>
                  <a:gd name="T18" fmla="*/ 388 w 1309"/>
                  <a:gd name="T19" fmla="*/ 1205 h 1521"/>
                  <a:gd name="T20" fmla="*/ 240 w 1309"/>
                  <a:gd name="T21" fmla="*/ 1079 h 1521"/>
                  <a:gd name="T22" fmla="*/ 114 w 1309"/>
                  <a:gd name="T23" fmla="*/ 930 h 1521"/>
                  <a:gd name="T24" fmla="*/ 0 w 1309"/>
                  <a:gd name="T25" fmla="*/ 758 h 1521"/>
                  <a:gd name="T26" fmla="*/ 1309 w 1309"/>
                  <a:gd name="T27" fmla="*/ 0 h 1521"/>
                  <a:gd name="T28" fmla="*/ 1309 w 1309"/>
                  <a:gd name="T29" fmla="*/ 1521 h 15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309" h="1521">
                    <a:moveTo>
                      <a:pt x="1309" y="1521"/>
                    </a:moveTo>
                    <a:lnTo>
                      <a:pt x="1206" y="1515"/>
                    </a:lnTo>
                    <a:lnTo>
                      <a:pt x="1109" y="1503"/>
                    </a:lnTo>
                    <a:lnTo>
                      <a:pt x="1012" y="1486"/>
                    </a:lnTo>
                    <a:lnTo>
                      <a:pt x="914" y="1463"/>
                    </a:lnTo>
                    <a:lnTo>
                      <a:pt x="817" y="1435"/>
                    </a:lnTo>
                    <a:lnTo>
                      <a:pt x="726" y="1400"/>
                    </a:lnTo>
                    <a:lnTo>
                      <a:pt x="640" y="1360"/>
                    </a:lnTo>
                    <a:lnTo>
                      <a:pt x="554" y="1314"/>
                    </a:lnTo>
                    <a:lnTo>
                      <a:pt x="388" y="1205"/>
                    </a:lnTo>
                    <a:lnTo>
                      <a:pt x="240" y="1079"/>
                    </a:lnTo>
                    <a:lnTo>
                      <a:pt x="114" y="930"/>
                    </a:lnTo>
                    <a:lnTo>
                      <a:pt x="0" y="758"/>
                    </a:lnTo>
                    <a:lnTo>
                      <a:pt x="1309" y="0"/>
                    </a:lnTo>
                    <a:lnTo>
                      <a:pt x="1309" y="1521"/>
                    </a:lnTo>
                    <a:close/>
                  </a:path>
                </a:pathLst>
              </a:custGeom>
              <a:solidFill>
                <a:schemeClr val="accent4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" name="Freeform 13">
                <a:extLst>
                  <a:ext uri="{FF2B5EF4-FFF2-40B4-BE49-F238E27FC236}">
                    <a16:creationId xmlns:a16="http://schemas.microsoft.com/office/drawing/2014/main" id="{22C3154F-0496-9737-871D-71AC098EC0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251450" y="2154238"/>
                <a:ext cx="2397125" cy="2405063"/>
              </a:xfrm>
              <a:custGeom>
                <a:avLst/>
                <a:gdLst>
                  <a:gd name="T0" fmla="*/ 201 w 1510"/>
                  <a:gd name="T1" fmla="*/ 1515 h 1515"/>
                  <a:gd name="T2" fmla="*/ 155 w 1510"/>
                  <a:gd name="T3" fmla="*/ 1428 h 1515"/>
                  <a:gd name="T4" fmla="*/ 115 w 1510"/>
                  <a:gd name="T5" fmla="*/ 1337 h 1515"/>
                  <a:gd name="T6" fmla="*/ 81 w 1510"/>
                  <a:gd name="T7" fmla="*/ 1245 h 1515"/>
                  <a:gd name="T8" fmla="*/ 52 w 1510"/>
                  <a:gd name="T9" fmla="*/ 1147 h 1515"/>
                  <a:gd name="T10" fmla="*/ 29 w 1510"/>
                  <a:gd name="T11" fmla="*/ 1050 h 1515"/>
                  <a:gd name="T12" fmla="*/ 12 w 1510"/>
                  <a:gd name="T13" fmla="*/ 958 h 1515"/>
                  <a:gd name="T14" fmla="*/ 0 w 1510"/>
                  <a:gd name="T15" fmla="*/ 855 h 1515"/>
                  <a:gd name="T16" fmla="*/ 0 w 1510"/>
                  <a:gd name="T17" fmla="*/ 757 h 1515"/>
                  <a:gd name="T18" fmla="*/ 0 w 1510"/>
                  <a:gd name="T19" fmla="*/ 660 h 1515"/>
                  <a:gd name="T20" fmla="*/ 12 w 1510"/>
                  <a:gd name="T21" fmla="*/ 562 h 1515"/>
                  <a:gd name="T22" fmla="*/ 29 w 1510"/>
                  <a:gd name="T23" fmla="*/ 464 h 1515"/>
                  <a:gd name="T24" fmla="*/ 52 w 1510"/>
                  <a:gd name="T25" fmla="*/ 373 h 1515"/>
                  <a:gd name="T26" fmla="*/ 81 w 1510"/>
                  <a:gd name="T27" fmla="*/ 275 h 1515"/>
                  <a:gd name="T28" fmla="*/ 115 w 1510"/>
                  <a:gd name="T29" fmla="*/ 183 h 1515"/>
                  <a:gd name="T30" fmla="*/ 155 w 1510"/>
                  <a:gd name="T31" fmla="*/ 92 h 1515"/>
                  <a:gd name="T32" fmla="*/ 201 w 1510"/>
                  <a:gd name="T33" fmla="*/ 0 h 1515"/>
                  <a:gd name="T34" fmla="*/ 1510 w 1510"/>
                  <a:gd name="T35" fmla="*/ 757 h 1515"/>
                  <a:gd name="T36" fmla="*/ 201 w 1510"/>
                  <a:gd name="T37" fmla="*/ 1515 h 15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10" h="1515">
                    <a:moveTo>
                      <a:pt x="201" y="1515"/>
                    </a:moveTo>
                    <a:lnTo>
                      <a:pt x="155" y="1428"/>
                    </a:lnTo>
                    <a:lnTo>
                      <a:pt x="115" y="1337"/>
                    </a:lnTo>
                    <a:lnTo>
                      <a:pt x="81" y="1245"/>
                    </a:lnTo>
                    <a:lnTo>
                      <a:pt x="52" y="1147"/>
                    </a:lnTo>
                    <a:lnTo>
                      <a:pt x="29" y="1050"/>
                    </a:lnTo>
                    <a:lnTo>
                      <a:pt x="12" y="958"/>
                    </a:lnTo>
                    <a:lnTo>
                      <a:pt x="0" y="855"/>
                    </a:lnTo>
                    <a:lnTo>
                      <a:pt x="0" y="757"/>
                    </a:lnTo>
                    <a:lnTo>
                      <a:pt x="0" y="660"/>
                    </a:lnTo>
                    <a:lnTo>
                      <a:pt x="12" y="562"/>
                    </a:lnTo>
                    <a:lnTo>
                      <a:pt x="29" y="464"/>
                    </a:lnTo>
                    <a:lnTo>
                      <a:pt x="52" y="373"/>
                    </a:lnTo>
                    <a:lnTo>
                      <a:pt x="81" y="275"/>
                    </a:lnTo>
                    <a:lnTo>
                      <a:pt x="115" y="183"/>
                    </a:lnTo>
                    <a:lnTo>
                      <a:pt x="155" y="92"/>
                    </a:lnTo>
                    <a:lnTo>
                      <a:pt x="201" y="0"/>
                    </a:lnTo>
                    <a:lnTo>
                      <a:pt x="1510" y="757"/>
                    </a:lnTo>
                    <a:lnTo>
                      <a:pt x="201" y="1515"/>
                    </a:lnTo>
                    <a:close/>
                  </a:path>
                </a:pathLst>
              </a:custGeom>
              <a:solidFill>
                <a:schemeClr val="accent5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" name="Freeform 15">
                <a:extLst>
                  <a:ext uri="{FF2B5EF4-FFF2-40B4-BE49-F238E27FC236}">
                    <a16:creationId xmlns:a16="http://schemas.microsoft.com/office/drawing/2014/main" id="{CC499E7B-A2C7-A407-1A7E-46164B23D1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4932363" y="950913"/>
                <a:ext cx="2078038" cy="2405063"/>
              </a:xfrm>
              <a:custGeom>
                <a:avLst/>
                <a:gdLst>
                  <a:gd name="T0" fmla="*/ 0 w 1309"/>
                  <a:gd name="T1" fmla="*/ 758 h 1515"/>
                  <a:gd name="T2" fmla="*/ 114 w 1309"/>
                  <a:gd name="T3" fmla="*/ 591 h 1515"/>
                  <a:gd name="T4" fmla="*/ 240 w 1309"/>
                  <a:gd name="T5" fmla="*/ 442 h 1515"/>
                  <a:gd name="T6" fmla="*/ 388 w 1309"/>
                  <a:gd name="T7" fmla="*/ 316 h 1515"/>
                  <a:gd name="T8" fmla="*/ 554 w 1309"/>
                  <a:gd name="T9" fmla="*/ 207 h 1515"/>
                  <a:gd name="T10" fmla="*/ 640 w 1309"/>
                  <a:gd name="T11" fmla="*/ 161 h 1515"/>
                  <a:gd name="T12" fmla="*/ 726 w 1309"/>
                  <a:gd name="T13" fmla="*/ 121 h 1515"/>
                  <a:gd name="T14" fmla="*/ 817 w 1309"/>
                  <a:gd name="T15" fmla="*/ 81 h 1515"/>
                  <a:gd name="T16" fmla="*/ 914 w 1309"/>
                  <a:gd name="T17" fmla="*/ 52 h 1515"/>
                  <a:gd name="T18" fmla="*/ 1012 w 1309"/>
                  <a:gd name="T19" fmla="*/ 29 h 1515"/>
                  <a:gd name="T20" fmla="*/ 1109 w 1309"/>
                  <a:gd name="T21" fmla="*/ 18 h 1515"/>
                  <a:gd name="T22" fmla="*/ 1206 w 1309"/>
                  <a:gd name="T23" fmla="*/ 6 h 1515"/>
                  <a:gd name="T24" fmla="*/ 1309 w 1309"/>
                  <a:gd name="T25" fmla="*/ 0 h 1515"/>
                  <a:gd name="T26" fmla="*/ 1309 w 1309"/>
                  <a:gd name="T27" fmla="*/ 1515 h 1515"/>
                  <a:gd name="T28" fmla="*/ 0 w 1309"/>
                  <a:gd name="T29" fmla="*/ 758 h 15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309" h="1515">
                    <a:moveTo>
                      <a:pt x="0" y="758"/>
                    </a:moveTo>
                    <a:lnTo>
                      <a:pt x="114" y="591"/>
                    </a:lnTo>
                    <a:lnTo>
                      <a:pt x="240" y="442"/>
                    </a:lnTo>
                    <a:lnTo>
                      <a:pt x="388" y="316"/>
                    </a:lnTo>
                    <a:lnTo>
                      <a:pt x="554" y="207"/>
                    </a:lnTo>
                    <a:lnTo>
                      <a:pt x="640" y="161"/>
                    </a:lnTo>
                    <a:lnTo>
                      <a:pt x="726" y="121"/>
                    </a:lnTo>
                    <a:lnTo>
                      <a:pt x="817" y="81"/>
                    </a:lnTo>
                    <a:lnTo>
                      <a:pt x="914" y="52"/>
                    </a:lnTo>
                    <a:lnTo>
                      <a:pt x="1012" y="29"/>
                    </a:lnTo>
                    <a:lnTo>
                      <a:pt x="1109" y="18"/>
                    </a:lnTo>
                    <a:lnTo>
                      <a:pt x="1206" y="6"/>
                    </a:lnTo>
                    <a:lnTo>
                      <a:pt x="1309" y="0"/>
                    </a:lnTo>
                    <a:lnTo>
                      <a:pt x="1309" y="1515"/>
                    </a:lnTo>
                    <a:lnTo>
                      <a:pt x="0" y="758"/>
                    </a:lnTo>
                    <a:close/>
                  </a:path>
                </a:pathLst>
              </a:custGeom>
              <a:solidFill>
                <a:schemeClr val="accent6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92F652D6-F603-3BBA-D5A1-3D858598E1CB}"/>
                </a:ext>
              </a:extLst>
            </p:cNvPr>
            <p:cNvSpPr>
              <a:spLocks/>
            </p:cNvSpPr>
            <p:nvPr/>
          </p:nvSpPr>
          <p:spPr bwMode="auto">
            <a:xfrm>
              <a:off x="-3079198" y="1453680"/>
              <a:ext cx="1446263" cy="1667957"/>
            </a:xfrm>
            <a:custGeom>
              <a:avLst/>
              <a:gdLst>
                <a:gd name="T0" fmla="*/ 0 w 1309"/>
                <a:gd name="T1" fmla="*/ 0 h 1515"/>
                <a:gd name="T2" fmla="*/ 97 w 1309"/>
                <a:gd name="T3" fmla="*/ 6 h 1515"/>
                <a:gd name="T4" fmla="*/ 200 w 1309"/>
                <a:gd name="T5" fmla="*/ 18 h 1515"/>
                <a:gd name="T6" fmla="*/ 297 w 1309"/>
                <a:gd name="T7" fmla="*/ 29 h 1515"/>
                <a:gd name="T8" fmla="*/ 394 w 1309"/>
                <a:gd name="T9" fmla="*/ 52 h 1515"/>
                <a:gd name="T10" fmla="*/ 486 w 1309"/>
                <a:gd name="T11" fmla="*/ 81 h 1515"/>
                <a:gd name="T12" fmla="*/ 577 w 1309"/>
                <a:gd name="T13" fmla="*/ 121 h 1515"/>
                <a:gd name="T14" fmla="*/ 669 w 1309"/>
                <a:gd name="T15" fmla="*/ 161 h 1515"/>
                <a:gd name="T16" fmla="*/ 755 w 1309"/>
                <a:gd name="T17" fmla="*/ 207 h 1515"/>
                <a:gd name="T18" fmla="*/ 915 w 1309"/>
                <a:gd name="T19" fmla="*/ 316 h 1515"/>
                <a:gd name="T20" fmla="*/ 1063 w 1309"/>
                <a:gd name="T21" fmla="*/ 442 h 1515"/>
                <a:gd name="T22" fmla="*/ 1195 w 1309"/>
                <a:gd name="T23" fmla="*/ 591 h 1515"/>
                <a:gd name="T24" fmla="*/ 1309 w 1309"/>
                <a:gd name="T25" fmla="*/ 758 h 1515"/>
                <a:gd name="T26" fmla="*/ 0 w 1309"/>
                <a:gd name="T27" fmla="*/ 1515 h 1515"/>
                <a:gd name="T28" fmla="*/ 0 w 1309"/>
                <a:gd name="T29" fmla="*/ 0 h 15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09" h="1515">
                  <a:moveTo>
                    <a:pt x="0" y="0"/>
                  </a:moveTo>
                  <a:lnTo>
                    <a:pt x="97" y="6"/>
                  </a:lnTo>
                  <a:lnTo>
                    <a:pt x="200" y="18"/>
                  </a:lnTo>
                  <a:lnTo>
                    <a:pt x="297" y="29"/>
                  </a:lnTo>
                  <a:lnTo>
                    <a:pt x="394" y="52"/>
                  </a:lnTo>
                  <a:lnTo>
                    <a:pt x="486" y="81"/>
                  </a:lnTo>
                  <a:lnTo>
                    <a:pt x="577" y="121"/>
                  </a:lnTo>
                  <a:lnTo>
                    <a:pt x="669" y="161"/>
                  </a:lnTo>
                  <a:lnTo>
                    <a:pt x="755" y="207"/>
                  </a:lnTo>
                  <a:lnTo>
                    <a:pt x="915" y="316"/>
                  </a:lnTo>
                  <a:lnTo>
                    <a:pt x="1063" y="442"/>
                  </a:lnTo>
                  <a:lnTo>
                    <a:pt x="1195" y="591"/>
                  </a:lnTo>
                  <a:lnTo>
                    <a:pt x="1309" y="758"/>
                  </a:lnTo>
                  <a:lnTo>
                    <a:pt x="0" y="151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89614" tIns="44807" rIns="89614" bIns="44807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262626"/>
                </a:solidFill>
                <a:latin typeface="Calibri Light"/>
              </a:endParaRPr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E48650D6-C333-5968-2071-1A0F8CB67AE3}"/>
                </a:ext>
              </a:extLst>
            </p:cNvPr>
            <p:cNvSpPr>
              <a:spLocks/>
            </p:cNvSpPr>
            <p:nvPr/>
          </p:nvSpPr>
          <p:spPr bwMode="auto">
            <a:xfrm>
              <a:off x="-3079198" y="2288209"/>
              <a:ext cx="1667235" cy="1667957"/>
            </a:xfrm>
            <a:custGeom>
              <a:avLst/>
              <a:gdLst>
                <a:gd name="T0" fmla="*/ 1309 w 1509"/>
                <a:gd name="T1" fmla="*/ 0 h 1515"/>
                <a:gd name="T2" fmla="*/ 1355 w 1509"/>
                <a:gd name="T3" fmla="*/ 92 h 1515"/>
                <a:gd name="T4" fmla="*/ 1395 w 1509"/>
                <a:gd name="T5" fmla="*/ 183 h 1515"/>
                <a:gd name="T6" fmla="*/ 1429 w 1509"/>
                <a:gd name="T7" fmla="*/ 275 h 1515"/>
                <a:gd name="T8" fmla="*/ 1458 w 1509"/>
                <a:gd name="T9" fmla="*/ 373 h 1515"/>
                <a:gd name="T10" fmla="*/ 1481 w 1509"/>
                <a:gd name="T11" fmla="*/ 464 h 1515"/>
                <a:gd name="T12" fmla="*/ 1498 w 1509"/>
                <a:gd name="T13" fmla="*/ 562 h 1515"/>
                <a:gd name="T14" fmla="*/ 1504 w 1509"/>
                <a:gd name="T15" fmla="*/ 660 h 1515"/>
                <a:gd name="T16" fmla="*/ 1509 w 1509"/>
                <a:gd name="T17" fmla="*/ 757 h 1515"/>
                <a:gd name="T18" fmla="*/ 1504 w 1509"/>
                <a:gd name="T19" fmla="*/ 855 h 1515"/>
                <a:gd name="T20" fmla="*/ 1498 w 1509"/>
                <a:gd name="T21" fmla="*/ 958 h 1515"/>
                <a:gd name="T22" fmla="*/ 1481 w 1509"/>
                <a:gd name="T23" fmla="*/ 1050 h 1515"/>
                <a:gd name="T24" fmla="*/ 1458 w 1509"/>
                <a:gd name="T25" fmla="*/ 1147 h 1515"/>
                <a:gd name="T26" fmla="*/ 1429 w 1509"/>
                <a:gd name="T27" fmla="*/ 1245 h 1515"/>
                <a:gd name="T28" fmla="*/ 1395 w 1509"/>
                <a:gd name="T29" fmla="*/ 1337 h 1515"/>
                <a:gd name="T30" fmla="*/ 1355 w 1509"/>
                <a:gd name="T31" fmla="*/ 1428 h 1515"/>
                <a:gd name="T32" fmla="*/ 1309 w 1509"/>
                <a:gd name="T33" fmla="*/ 1515 h 1515"/>
                <a:gd name="T34" fmla="*/ 0 w 1509"/>
                <a:gd name="T35" fmla="*/ 757 h 1515"/>
                <a:gd name="T36" fmla="*/ 1309 w 1509"/>
                <a:gd name="T37" fmla="*/ 0 h 15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509" h="1515">
                  <a:moveTo>
                    <a:pt x="1309" y="0"/>
                  </a:moveTo>
                  <a:lnTo>
                    <a:pt x="1355" y="92"/>
                  </a:lnTo>
                  <a:lnTo>
                    <a:pt x="1395" y="183"/>
                  </a:lnTo>
                  <a:lnTo>
                    <a:pt x="1429" y="275"/>
                  </a:lnTo>
                  <a:lnTo>
                    <a:pt x="1458" y="373"/>
                  </a:lnTo>
                  <a:lnTo>
                    <a:pt x="1481" y="464"/>
                  </a:lnTo>
                  <a:lnTo>
                    <a:pt x="1498" y="562"/>
                  </a:lnTo>
                  <a:lnTo>
                    <a:pt x="1504" y="660"/>
                  </a:lnTo>
                  <a:lnTo>
                    <a:pt x="1509" y="757"/>
                  </a:lnTo>
                  <a:lnTo>
                    <a:pt x="1504" y="855"/>
                  </a:lnTo>
                  <a:lnTo>
                    <a:pt x="1498" y="958"/>
                  </a:lnTo>
                  <a:lnTo>
                    <a:pt x="1481" y="1050"/>
                  </a:lnTo>
                  <a:lnTo>
                    <a:pt x="1458" y="1147"/>
                  </a:lnTo>
                  <a:lnTo>
                    <a:pt x="1429" y="1245"/>
                  </a:lnTo>
                  <a:lnTo>
                    <a:pt x="1395" y="1337"/>
                  </a:lnTo>
                  <a:lnTo>
                    <a:pt x="1355" y="1428"/>
                  </a:lnTo>
                  <a:lnTo>
                    <a:pt x="1309" y="1515"/>
                  </a:lnTo>
                  <a:lnTo>
                    <a:pt x="0" y="757"/>
                  </a:lnTo>
                  <a:lnTo>
                    <a:pt x="1309" y="0"/>
                  </a:lnTo>
                  <a:close/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89614" tIns="44807" rIns="89614" bIns="44807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262626"/>
                </a:solidFill>
                <a:latin typeface="Calibri Light"/>
              </a:endParaRPr>
            </a:p>
          </p:txBody>
        </p:sp>
        <p:sp>
          <p:nvSpPr>
            <p:cNvPr id="9" name="Freeform 9">
              <a:extLst>
                <a:ext uri="{FF2B5EF4-FFF2-40B4-BE49-F238E27FC236}">
                  <a16:creationId xmlns:a16="http://schemas.microsoft.com/office/drawing/2014/main" id="{00125640-11EF-696B-8112-88D2718E8AF2}"/>
                </a:ext>
              </a:extLst>
            </p:cNvPr>
            <p:cNvSpPr>
              <a:spLocks/>
            </p:cNvSpPr>
            <p:nvPr/>
          </p:nvSpPr>
          <p:spPr bwMode="auto">
            <a:xfrm>
              <a:off x="-3079198" y="3121637"/>
              <a:ext cx="1446263" cy="1674562"/>
            </a:xfrm>
            <a:custGeom>
              <a:avLst/>
              <a:gdLst>
                <a:gd name="T0" fmla="*/ 1309 w 1309"/>
                <a:gd name="T1" fmla="*/ 758 h 1521"/>
                <a:gd name="T2" fmla="*/ 1195 w 1309"/>
                <a:gd name="T3" fmla="*/ 930 h 1521"/>
                <a:gd name="T4" fmla="*/ 1063 w 1309"/>
                <a:gd name="T5" fmla="*/ 1079 h 1521"/>
                <a:gd name="T6" fmla="*/ 915 w 1309"/>
                <a:gd name="T7" fmla="*/ 1205 h 1521"/>
                <a:gd name="T8" fmla="*/ 755 w 1309"/>
                <a:gd name="T9" fmla="*/ 1314 h 1521"/>
                <a:gd name="T10" fmla="*/ 669 w 1309"/>
                <a:gd name="T11" fmla="*/ 1360 h 1521"/>
                <a:gd name="T12" fmla="*/ 577 w 1309"/>
                <a:gd name="T13" fmla="*/ 1400 h 1521"/>
                <a:gd name="T14" fmla="*/ 486 w 1309"/>
                <a:gd name="T15" fmla="*/ 1435 h 1521"/>
                <a:gd name="T16" fmla="*/ 394 w 1309"/>
                <a:gd name="T17" fmla="*/ 1463 h 1521"/>
                <a:gd name="T18" fmla="*/ 297 w 1309"/>
                <a:gd name="T19" fmla="*/ 1486 h 1521"/>
                <a:gd name="T20" fmla="*/ 200 w 1309"/>
                <a:gd name="T21" fmla="*/ 1503 h 1521"/>
                <a:gd name="T22" fmla="*/ 97 w 1309"/>
                <a:gd name="T23" fmla="*/ 1515 h 1521"/>
                <a:gd name="T24" fmla="*/ 0 w 1309"/>
                <a:gd name="T25" fmla="*/ 1521 h 1521"/>
                <a:gd name="T26" fmla="*/ 0 w 1309"/>
                <a:gd name="T27" fmla="*/ 0 h 1521"/>
                <a:gd name="T28" fmla="*/ 1309 w 1309"/>
                <a:gd name="T29" fmla="*/ 758 h 1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09" h="1521">
                  <a:moveTo>
                    <a:pt x="1309" y="758"/>
                  </a:moveTo>
                  <a:lnTo>
                    <a:pt x="1195" y="930"/>
                  </a:lnTo>
                  <a:lnTo>
                    <a:pt x="1063" y="1079"/>
                  </a:lnTo>
                  <a:lnTo>
                    <a:pt x="915" y="1205"/>
                  </a:lnTo>
                  <a:lnTo>
                    <a:pt x="755" y="1314"/>
                  </a:lnTo>
                  <a:lnTo>
                    <a:pt x="669" y="1360"/>
                  </a:lnTo>
                  <a:lnTo>
                    <a:pt x="577" y="1400"/>
                  </a:lnTo>
                  <a:lnTo>
                    <a:pt x="486" y="1435"/>
                  </a:lnTo>
                  <a:lnTo>
                    <a:pt x="394" y="1463"/>
                  </a:lnTo>
                  <a:lnTo>
                    <a:pt x="297" y="1486"/>
                  </a:lnTo>
                  <a:lnTo>
                    <a:pt x="200" y="1503"/>
                  </a:lnTo>
                  <a:lnTo>
                    <a:pt x="97" y="1515"/>
                  </a:lnTo>
                  <a:lnTo>
                    <a:pt x="0" y="1521"/>
                  </a:lnTo>
                  <a:lnTo>
                    <a:pt x="0" y="0"/>
                  </a:lnTo>
                  <a:lnTo>
                    <a:pt x="1309" y="758"/>
                  </a:lnTo>
                  <a:close/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89614" tIns="44807" rIns="89614" bIns="44807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262626"/>
                </a:solidFill>
                <a:latin typeface="Calibri Light"/>
              </a:endParaRPr>
            </a:p>
          </p:txBody>
        </p:sp>
        <p:sp>
          <p:nvSpPr>
            <p:cNvPr id="10" name="Freeform 11">
              <a:extLst>
                <a:ext uri="{FF2B5EF4-FFF2-40B4-BE49-F238E27FC236}">
                  <a16:creationId xmlns:a16="http://schemas.microsoft.com/office/drawing/2014/main" id="{BC973690-6761-3D01-85B2-AF287061546F}"/>
                </a:ext>
              </a:extLst>
            </p:cNvPr>
            <p:cNvSpPr>
              <a:spLocks/>
            </p:cNvSpPr>
            <p:nvPr/>
          </p:nvSpPr>
          <p:spPr bwMode="auto">
            <a:xfrm>
              <a:off x="-4525461" y="3121637"/>
              <a:ext cx="1446263" cy="1674562"/>
            </a:xfrm>
            <a:custGeom>
              <a:avLst/>
              <a:gdLst>
                <a:gd name="T0" fmla="*/ 1309 w 1309"/>
                <a:gd name="T1" fmla="*/ 1521 h 1521"/>
                <a:gd name="T2" fmla="*/ 1206 w 1309"/>
                <a:gd name="T3" fmla="*/ 1515 h 1521"/>
                <a:gd name="T4" fmla="*/ 1109 w 1309"/>
                <a:gd name="T5" fmla="*/ 1503 h 1521"/>
                <a:gd name="T6" fmla="*/ 1012 w 1309"/>
                <a:gd name="T7" fmla="*/ 1486 h 1521"/>
                <a:gd name="T8" fmla="*/ 914 w 1309"/>
                <a:gd name="T9" fmla="*/ 1463 h 1521"/>
                <a:gd name="T10" fmla="*/ 817 w 1309"/>
                <a:gd name="T11" fmla="*/ 1435 h 1521"/>
                <a:gd name="T12" fmla="*/ 726 w 1309"/>
                <a:gd name="T13" fmla="*/ 1400 h 1521"/>
                <a:gd name="T14" fmla="*/ 640 w 1309"/>
                <a:gd name="T15" fmla="*/ 1360 h 1521"/>
                <a:gd name="T16" fmla="*/ 554 w 1309"/>
                <a:gd name="T17" fmla="*/ 1314 h 1521"/>
                <a:gd name="T18" fmla="*/ 388 w 1309"/>
                <a:gd name="T19" fmla="*/ 1205 h 1521"/>
                <a:gd name="T20" fmla="*/ 240 w 1309"/>
                <a:gd name="T21" fmla="*/ 1079 h 1521"/>
                <a:gd name="T22" fmla="*/ 114 w 1309"/>
                <a:gd name="T23" fmla="*/ 930 h 1521"/>
                <a:gd name="T24" fmla="*/ 0 w 1309"/>
                <a:gd name="T25" fmla="*/ 758 h 1521"/>
                <a:gd name="T26" fmla="*/ 1309 w 1309"/>
                <a:gd name="T27" fmla="*/ 0 h 1521"/>
                <a:gd name="T28" fmla="*/ 1309 w 1309"/>
                <a:gd name="T29" fmla="*/ 1521 h 1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09" h="1521">
                  <a:moveTo>
                    <a:pt x="1309" y="1521"/>
                  </a:moveTo>
                  <a:lnTo>
                    <a:pt x="1206" y="1515"/>
                  </a:lnTo>
                  <a:lnTo>
                    <a:pt x="1109" y="1503"/>
                  </a:lnTo>
                  <a:lnTo>
                    <a:pt x="1012" y="1486"/>
                  </a:lnTo>
                  <a:lnTo>
                    <a:pt x="914" y="1463"/>
                  </a:lnTo>
                  <a:lnTo>
                    <a:pt x="817" y="1435"/>
                  </a:lnTo>
                  <a:lnTo>
                    <a:pt x="726" y="1400"/>
                  </a:lnTo>
                  <a:lnTo>
                    <a:pt x="640" y="1360"/>
                  </a:lnTo>
                  <a:lnTo>
                    <a:pt x="554" y="1314"/>
                  </a:lnTo>
                  <a:lnTo>
                    <a:pt x="388" y="1205"/>
                  </a:lnTo>
                  <a:lnTo>
                    <a:pt x="240" y="1079"/>
                  </a:lnTo>
                  <a:lnTo>
                    <a:pt x="114" y="930"/>
                  </a:lnTo>
                  <a:lnTo>
                    <a:pt x="0" y="758"/>
                  </a:lnTo>
                  <a:lnTo>
                    <a:pt x="1309" y="0"/>
                  </a:lnTo>
                  <a:lnTo>
                    <a:pt x="1309" y="1521"/>
                  </a:lnTo>
                  <a:close/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89614" tIns="44807" rIns="89614" bIns="44807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262626"/>
                </a:solidFill>
                <a:latin typeface="Calibri Light"/>
              </a:endParaRPr>
            </a:p>
          </p:txBody>
        </p:sp>
        <p:sp>
          <p:nvSpPr>
            <p:cNvPr id="11" name="Freeform 13">
              <a:extLst>
                <a:ext uri="{FF2B5EF4-FFF2-40B4-BE49-F238E27FC236}">
                  <a16:creationId xmlns:a16="http://schemas.microsoft.com/office/drawing/2014/main" id="{6236BBBC-A16A-78EE-8FEA-C81075AD799A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47538" y="2288209"/>
              <a:ext cx="1668340" cy="1667957"/>
            </a:xfrm>
            <a:custGeom>
              <a:avLst/>
              <a:gdLst>
                <a:gd name="T0" fmla="*/ 201 w 1510"/>
                <a:gd name="T1" fmla="*/ 1515 h 1515"/>
                <a:gd name="T2" fmla="*/ 155 w 1510"/>
                <a:gd name="T3" fmla="*/ 1428 h 1515"/>
                <a:gd name="T4" fmla="*/ 115 w 1510"/>
                <a:gd name="T5" fmla="*/ 1337 h 1515"/>
                <a:gd name="T6" fmla="*/ 81 w 1510"/>
                <a:gd name="T7" fmla="*/ 1245 h 1515"/>
                <a:gd name="T8" fmla="*/ 52 w 1510"/>
                <a:gd name="T9" fmla="*/ 1147 h 1515"/>
                <a:gd name="T10" fmla="*/ 29 w 1510"/>
                <a:gd name="T11" fmla="*/ 1050 h 1515"/>
                <a:gd name="T12" fmla="*/ 12 w 1510"/>
                <a:gd name="T13" fmla="*/ 958 h 1515"/>
                <a:gd name="T14" fmla="*/ 0 w 1510"/>
                <a:gd name="T15" fmla="*/ 855 h 1515"/>
                <a:gd name="T16" fmla="*/ 0 w 1510"/>
                <a:gd name="T17" fmla="*/ 757 h 1515"/>
                <a:gd name="T18" fmla="*/ 0 w 1510"/>
                <a:gd name="T19" fmla="*/ 660 h 1515"/>
                <a:gd name="T20" fmla="*/ 12 w 1510"/>
                <a:gd name="T21" fmla="*/ 562 h 1515"/>
                <a:gd name="T22" fmla="*/ 29 w 1510"/>
                <a:gd name="T23" fmla="*/ 464 h 1515"/>
                <a:gd name="T24" fmla="*/ 52 w 1510"/>
                <a:gd name="T25" fmla="*/ 373 h 1515"/>
                <a:gd name="T26" fmla="*/ 81 w 1510"/>
                <a:gd name="T27" fmla="*/ 275 h 1515"/>
                <a:gd name="T28" fmla="*/ 115 w 1510"/>
                <a:gd name="T29" fmla="*/ 183 h 1515"/>
                <a:gd name="T30" fmla="*/ 155 w 1510"/>
                <a:gd name="T31" fmla="*/ 92 h 1515"/>
                <a:gd name="T32" fmla="*/ 201 w 1510"/>
                <a:gd name="T33" fmla="*/ 0 h 1515"/>
                <a:gd name="T34" fmla="*/ 1510 w 1510"/>
                <a:gd name="T35" fmla="*/ 757 h 1515"/>
                <a:gd name="T36" fmla="*/ 201 w 1510"/>
                <a:gd name="T37" fmla="*/ 1515 h 15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510" h="1515">
                  <a:moveTo>
                    <a:pt x="201" y="1515"/>
                  </a:moveTo>
                  <a:lnTo>
                    <a:pt x="155" y="1428"/>
                  </a:lnTo>
                  <a:lnTo>
                    <a:pt x="115" y="1337"/>
                  </a:lnTo>
                  <a:lnTo>
                    <a:pt x="81" y="1245"/>
                  </a:lnTo>
                  <a:lnTo>
                    <a:pt x="52" y="1147"/>
                  </a:lnTo>
                  <a:lnTo>
                    <a:pt x="29" y="1050"/>
                  </a:lnTo>
                  <a:lnTo>
                    <a:pt x="12" y="958"/>
                  </a:lnTo>
                  <a:lnTo>
                    <a:pt x="0" y="855"/>
                  </a:lnTo>
                  <a:lnTo>
                    <a:pt x="0" y="757"/>
                  </a:lnTo>
                  <a:lnTo>
                    <a:pt x="0" y="660"/>
                  </a:lnTo>
                  <a:lnTo>
                    <a:pt x="12" y="562"/>
                  </a:lnTo>
                  <a:lnTo>
                    <a:pt x="29" y="464"/>
                  </a:lnTo>
                  <a:lnTo>
                    <a:pt x="52" y="373"/>
                  </a:lnTo>
                  <a:lnTo>
                    <a:pt x="81" y="275"/>
                  </a:lnTo>
                  <a:lnTo>
                    <a:pt x="115" y="183"/>
                  </a:lnTo>
                  <a:lnTo>
                    <a:pt x="155" y="92"/>
                  </a:lnTo>
                  <a:lnTo>
                    <a:pt x="201" y="0"/>
                  </a:lnTo>
                  <a:lnTo>
                    <a:pt x="1510" y="757"/>
                  </a:lnTo>
                  <a:lnTo>
                    <a:pt x="201" y="1515"/>
                  </a:lnTo>
                  <a:close/>
                </a:path>
              </a:pathLst>
            </a:custGeom>
            <a:solidFill>
              <a:schemeClr val="accent5">
                <a:lumMod val="20000"/>
                <a:lumOff val="80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" name="Freeform 15">
              <a:extLst>
                <a:ext uri="{FF2B5EF4-FFF2-40B4-BE49-F238E27FC236}">
                  <a16:creationId xmlns:a16="http://schemas.microsoft.com/office/drawing/2014/main" id="{6034C7B3-1981-3C69-5A78-3A998AF0FD9B}"/>
                </a:ext>
              </a:extLst>
            </p:cNvPr>
            <p:cNvSpPr>
              <a:spLocks/>
            </p:cNvSpPr>
            <p:nvPr/>
          </p:nvSpPr>
          <p:spPr bwMode="auto">
            <a:xfrm>
              <a:off x="-4525461" y="1453680"/>
              <a:ext cx="1446263" cy="1667957"/>
            </a:xfrm>
            <a:custGeom>
              <a:avLst/>
              <a:gdLst>
                <a:gd name="T0" fmla="*/ 0 w 1309"/>
                <a:gd name="T1" fmla="*/ 758 h 1515"/>
                <a:gd name="T2" fmla="*/ 114 w 1309"/>
                <a:gd name="T3" fmla="*/ 591 h 1515"/>
                <a:gd name="T4" fmla="*/ 240 w 1309"/>
                <a:gd name="T5" fmla="*/ 442 h 1515"/>
                <a:gd name="T6" fmla="*/ 388 w 1309"/>
                <a:gd name="T7" fmla="*/ 316 h 1515"/>
                <a:gd name="T8" fmla="*/ 554 w 1309"/>
                <a:gd name="T9" fmla="*/ 207 h 1515"/>
                <a:gd name="T10" fmla="*/ 640 w 1309"/>
                <a:gd name="T11" fmla="*/ 161 h 1515"/>
                <a:gd name="T12" fmla="*/ 726 w 1309"/>
                <a:gd name="T13" fmla="*/ 121 h 1515"/>
                <a:gd name="T14" fmla="*/ 817 w 1309"/>
                <a:gd name="T15" fmla="*/ 81 h 1515"/>
                <a:gd name="T16" fmla="*/ 914 w 1309"/>
                <a:gd name="T17" fmla="*/ 52 h 1515"/>
                <a:gd name="T18" fmla="*/ 1012 w 1309"/>
                <a:gd name="T19" fmla="*/ 29 h 1515"/>
                <a:gd name="T20" fmla="*/ 1109 w 1309"/>
                <a:gd name="T21" fmla="*/ 18 h 1515"/>
                <a:gd name="T22" fmla="*/ 1206 w 1309"/>
                <a:gd name="T23" fmla="*/ 6 h 1515"/>
                <a:gd name="T24" fmla="*/ 1309 w 1309"/>
                <a:gd name="T25" fmla="*/ 0 h 1515"/>
                <a:gd name="T26" fmla="*/ 1309 w 1309"/>
                <a:gd name="T27" fmla="*/ 1515 h 1515"/>
                <a:gd name="T28" fmla="*/ 0 w 1309"/>
                <a:gd name="T29" fmla="*/ 758 h 15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09" h="1515">
                  <a:moveTo>
                    <a:pt x="0" y="758"/>
                  </a:moveTo>
                  <a:lnTo>
                    <a:pt x="114" y="591"/>
                  </a:lnTo>
                  <a:lnTo>
                    <a:pt x="240" y="442"/>
                  </a:lnTo>
                  <a:lnTo>
                    <a:pt x="388" y="316"/>
                  </a:lnTo>
                  <a:lnTo>
                    <a:pt x="554" y="207"/>
                  </a:lnTo>
                  <a:lnTo>
                    <a:pt x="640" y="161"/>
                  </a:lnTo>
                  <a:lnTo>
                    <a:pt x="726" y="121"/>
                  </a:lnTo>
                  <a:lnTo>
                    <a:pt x="817" y="81"/>
                  </a:lnTo>
                  <a:lnTo>
                    <a:pt x="914" y="52"/>
                  </a:lnTo>
                  <a:lnTo>
                    <a:pt x="1012" y="29"/>
                  </a:lnTo>
                  <a:lnTo>
                    <a:pt x="1109" y="18"/>
                  </a:lnTo>
                  <a:lnTo>
                    <a:pt x="1206" y="6"/>
                  </a:lnTo>
                  <a:lnTo>
                    <a:pt x="1309" y="0"/>
                  </a:lnTo>
                  <a:lnTo>
                    <a:pt x="1309" y="1515"/>
                  </a:lnTo>
                  <a:lnTo>
                    <a:pt x="0" y="758"/>
                  </a:lnTo>
                  <a:close/>
                </a:path>
              </a:pathLst>
            </a:custGeom>
            <a:solidFill>
              <a:schemeClr val="accent6">
                <a:lumMod val="90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9" name="Inhaltsplatzhalter 4">
            <a:extLst>
              <a:ext uri="{FF2B5EF4-FFF2-40B4-BE49-F238E27FC236}">
                <a16:creationId xmlns:a16="http://schemas.microsoft.com/office/drawing/2014/main" id="{5188E544-A966-42DB-B1EB-084AD2B1DFE5}"/>
              </a:ext>
            </a:extLst>
          </p:cNvPr>
          <p:cNvSpPr txBox="1">
            <a:spLocks/>
          </p:cNvSpPr>
          <p:nvPr/>
        </p:nvSpPr>
        <p:spPr>
          <a:xfrm>
            <a:off x="1714019" y="5473639"/>
            <a:ext cx="3095119" cy="24929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 fontAlgn="auto">
              <a:spcAft>
                <a:spcPts val="300"/>
              </a:spcAft>
              <a:buNone/>
            </a:pPr>
            <a:r>
              <a:rPr lang="en-US" sz="1800" b="1" dirty="0">
                <a:solidFill>
                  <a:schemeClr val="accent4"/>
                </a:solidFill>
                <a:latin typeface="+mj-lt"/>
                <a:cs typeface="Calibri" panose="020F0502020204030204" pitchFamily="34" charset="0"/>
              </a:rPr>
              <a:t>INSERT HEADING</a:t>
            </a:r>
          </a:p>
        </p:txBody>
      </p:sp>
      <p:sp>
        <p:nvSpPr>
          <p:cNvPr id="20" name="Inhaltsplatzhalter 4">
            <a:extLst>
              <a:ext uri="{FF2B5EF4-FFF2-40B4-BE49-F238E27FC236}">
                <a16:creationId xmlns:a16="http://schemas.microsoft.com/office/drawing/2014/main" id="{089568F6-2E7E-3962-5397-C7AD4BB178E0}"/>
              </a:ext>
            </a:extLst>
          </p:cNvPr>
          <p:cNvSpPr txBox="1">
            <a:spLocks/>
          </p:cNvSpPr>
          <p:nvPr/>
        </p:nvSpPr>
        <p:spPr>
          <a:xfrm>
            <a:off x="7187945" y="5473639"/>
            <a:ext cx="3095119" cy="24929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300"/>
              </a:spcAft>
              <a:buNone/>
            </a:pPr>
            <a:r>
              <a:rPr lang="en-US" sz="1800" b="1" dirty="0">
                <a:solidFill>
                  <a:schemeClr val="accent3"/>
                </a:solidFill>
                <a:latin typeface="+mj-lt"/>
                <a:cs typeface="Calibri" panose="020F0502020204030204" pitchFamily="34" charset="0"/>
              </a:rPr>
              <a:t>INSERT HEADING</a:t>
            </a:r>
          </a:p>
        </p:txBody>
      </p:sp>
      <p:sp>
        <p:nvSpPr>
          <p:cNvPr id="21" name="Inhaltsplatzhalter 4">
            <a:extLst>
              <a:ext uri="{FF2B5EF4-FFF2-40B4-BE49-F238E27FC236}">
                <a16:creationId xmlns:a16="http://schemas.microsoft.com/office/drawing/2014/main" id="{2C125417-0EBF-4CBA-C47F-733CED51E9A0}"/>
              </a:ext>
            </a:extLst>
          </p:cNvPr>
          <p:cNvSpPr txBox="1">
            <a:spLocks/>
          </p:cNvSpPr>
          <p:nvPr/>
        </p:nvSpPr>
        <p:spPr>
          <a:xfrm>
            <a:off x="7061559" y="1338173"/>
            <a:ext cx="3095119" cy="24929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300"/>
              </a:spcAft>
              <a:buNone/>
            </a:pPr>
            <a:r>
              <a:rPr lang="en-US" sz="1800" b="1" dirty="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INSERT HEADING</a:t>
            </a:r>
          </a:p>
        </p:txBody>
      </p:sp>
      <p:sp>
        <p:nvSpPr>
          <p:cNvPr id="22" name="Inhaltsplatzhalter 4">
            <a:extLst>
              <a:ext uri="{FF2B5EF4-FFF2-40B4-BE49-F238E27FC236}">
                <a16:creationId xmlns:a16="http://schemas.microsoft.com/office/drawing/2014/main" id="{E79E9776-493D-1DAF-3B2F-3241F0D62453}"/>
              </a:ext>
            </a:extLst>
          </p:cNvPr>
          <p:cNvSpPr txBox="1">
            <a:spLocks/>
          </p:cNvSpPr>
          <p:nvPr/>
        </p:nvSpPr>
        <p:spPr>
          <a:xfrm>
            <a:off x="8309931" y="3466354"/>
            <a:ext cx="3095119" cy="24929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300"/>
              </a:spcAft>
              <a:buNone/>
            </a:pPr>
            <a:r>
              <a:rPr lang="en-US" sz="1800" b="1" dirty="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INSERT HEADING</a:t>
            </a:r>
          </a:p>
        </p:txBody>
      </p:sp>
      <p:sp>
        <p:nvSpPr>
          <p:cNvPr id="23" name="Inhaltsplatzhalter 4">
            <a:extLst>
              <a:ext uri="{FF2B5EF4-FFF2-40B4-BE49-F238E27FC236}">
                <a16:creationId xmlns:a16="http://schemas.microsoft.com/office/drawing/2014/main" id="{7C98CC1A-2696-B814-EF5A-887C37CBB42F}"/>
              </a:ext>
            </a:extLst>
          </p:cNvPr>
          <p:cNvSpPr txBox="1">
            <a:spLocks/>
          </p:cNvSpPr>
          <p:nvPr/>
        </p:nvSpPr>
        <p:spPr>
          <a:xfrm>
            <a:off x="501975" y="3466354"/>
            <a:ext cx="3095119" cy="24929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 fontAlgn="auto">
              <a:spcAft>
                <a:spcPts val="300"/>
              </a:spcAft>
              <a:buNone/>
            </a:pPr>
            <a:r>
              <a:rPr lang="en-US" sz="1800" b="1" dirty="0">
                <a:solidFill>
                  <a:schemeClr val="accent5"/>
                </a:solidFill>
                <a:latin typeface="+mj-lt"/>
                <a:cs typeface="Calibri" panose="020F0502020204030204" pitchFamily="34" charset="0"/>
              </a:rPr>
              <a:t>INSERT HEADING</a:t>
            </a:r>
          </a:p>
        </p:txBody>
      </p:sp>
      <p:sp>
        <p:nvSpPr>
          <p:cNvPr id="24" name="Inhaltsplatzhalter 4">
            <a:extLst>
              <a:ext uri="{FF2B5EF4-FFF2-40B4-BE49-F238E27FC236}">
                <a16:creationId xmlns:a16="http://schemas.microsoft.com/office/drawing/2014/main" id="{DA15DAB4-62F2-DE4D-BDFC-2D53C3A4A1F3}"/>
              </a:ext>
            </a:extLst>
          </p:cNvPr>
          <p:cNvSpPr txBox="1">
            <a:spLocks/>
          </p:cNvSpPr>
          <p:nvPr/>
        </p:nvSpPr>
        <p:spPr>
          <a:xfrm>
            <a:off x="1867885" y="1338173"/>
            <a:ext cx="3095119" cy="24929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 fontAlgn="auto">
              <a:spcAft>
                <a:spcPts val="300"/>
              </a:spcAft>
              <a:buNone/>
            </a:pPr>
            <a:r>
              <a:rPr lang="en-US" sz="1800" b="1" dirty="0">
                <a:solidFill>
                  <a:schemeClr val="accent6"/>
                </a:solidFill>
                <a:latin typeface="+mj-lt"/>
                <a:cs typeface="Calibri" panose="020F0502020204030204" pitchFamily="34" charset="0"/>
              </a:rPr>
              <a:t>INSERT</a:t>
            </a:r>
            <a:r>
              <a:rPr lang="en-US" sz="1800" b="1" dirty="0">
                <a:solidFill>
                  <a:srgbClr val="2B4871"/>
                </a:solidFill>
                <a:latin typeface="+mj-lt"/>
                <a:cs typeface="Calibri" panose="020F0502020204030204" pitchFamily="34" charset="0"/>
              </a:rPr>
              <a:t> </a:t>
            </a:r>
            <a:r>
              <a:rPr lang="en-US" sz="1800" b="1" dirty="0">
                <a:solidFill>
                  <a:schemeClr val="accent6"/>
                </a:solidFill>
                <a:latin typeface="+mj-lt"/>
                <a:cs typeface="Calibri" panose="020F0502020204030204" pitchFamily="34" charset="0"/>
              </a:rPr>
              <a:t>HEADING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69E48882-EF5F-9C82-DC24-D97D45C3ED53}"/>
              </a:ext>
            </a:extLst>
          </p:cNvPr>
          <p:cNvSpPr/>
          <p:nvPr/>
        </p:nvSpPr>
        <p:spPr>
          <a:xfrm>
            <a:off x="5325433" y="2908357"/>
            <a:ext cx="1298246" cy="1285391"/>
          </a:xfrm>
          <a:prstGeom prst="ellipse">
            <a:avLst/>
          </a:prstGeom>
          <a:solidFill>
            <a:schemeClr val="bg1"/>
          </a:solidFill>
          <a:ln w="76200">
            <a:solidFill>
              <a:schemeClr val="bg1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0" tIns="0" rIns="0" bIns="0" anchor="ctr" anchorCtr="1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280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</a:p>
        </p:txBody>
      </p:sp>
      <p:sp>
        <p:nvSpPr>
          <p:cNvPr id="26" name="Shape3_20180718_204016">
            <a:extLst>
              <a:ext uri="{FF2B5EF4-FFF2-40B4-BE49-F238E27FC236}">
                <a16:creationId xmlns:a16="http://schemas.microsoft.com/office/drawing/2014/main" id="{0A8C81C0-232A-95C1-D1A0-59ACFDA5BAE3}"/>
              </a:ext>
            </a:extLst>
          </p:cNvPr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6415981" y="4411039"/>
            <a:ext cx="415395" cy="416431"/>
          </a:xfrm>
          <a:custGeom>
            <a:avLst/>
            <a:gdLst>
              <a:gd name="T0" fmla="*/ 1698 w 2448"/>
              <a:gd name="T1" fmla="*/ 97 h 2446"/>
              <a:gd name="T2" fmla="*/ 748 w 2448"/>
              <a:gd name="T3" fmla="*/ 97 h 2446"/>
              <a:gd name="T4" fmla="*/ 0 w 2448"/>
              <a:gd name="T5" fmla="*/ 1222 h 2446"/>
              <a:gd name="T6" fmla="*/ 748 w 2448"/>
              <a:gd name="T7" fmla="*/ 2349 h 2446"/>
              <a:gd name="T8" fmla="*/ 1698 w 2448"/>
              <a:gd name="T9" fmla="*/ 2349 h 2446"/>
              <a:gd name="T10" fmla="*/ 2448 w 2448"/>
              <a:gd name="T11" fmla="*/ 1222 h 2446"/>
              <a:gd name="T12" fmla="*/ 816 w 2448"/>
              <a:gd name="T13" fmla="*/ 227 h 2446"/>
              <a:gd name="T14" fmla="*/ 264 w 2448"/>
              <a:gd name="T15" fmla="*/ 737 h 2446"/>
              <a:gd name="T16" fmla="*/ 149 w 2448"/>
              <a:gd name="T17" fmla="*/ 1222 h 2446"/>
              <a:gd name="T18" fmla="*/ 554 w 2448"/>
              <a:gd name="T19" fmla="*/ 884 h 2446"/>
              <a:gd name="T20" fmla="*/ 554 w 2448"/>
              <a:gd name="T21" fmla="*/ 1556 h 2446"/>
              <a:gd name="T22" fmla="*/ 149 w 2448"/>
              <a:gd name="T23" fmla="*/ 1222 h 2446"/>
              <a:gd name="T24" fmla="*/ 584 w 2448"/>
              <a:gd name="T25" fmla="*/ 1704 h 2446"/>
              <a:gd name="T26" fmla="*/ 264 w 2448"/>
              <a:gd name="T27" fmla="*/ 1704 h 2446"/>
              <a:gd name="T28" fmla="*/ 906 w 2448"/>
              <a:gd name="T29" fmla="*/ 2092 h 2446"/>
              <a:gd name="T30" fmla="*/ 1148 w 2448"/>
              <a:gd name="T31" fmla="*/ 1704 h 2446"/>
              <a:gd name="T32" fmla="*/ 1148 w 2448"/>
              <a:gd name="T33" fmla="*/ 1556 h 2446"/>
              <a:gd name="T34" fmla="*/ 677 w 2448"/>
              <a:gd name="T35" fmla="*/ 1222 h 2446"/>
              <a:gd name="T36" fmla="*/ 1148 w 2448"/>
              <a:gd name="T37" fmla="*/ 884 h 2446"/>
              <a:gd name="T38" fmla="*/ 1148 w 2448"/>
              <a:gd name="T39" fmla="*/ 737 h 2446"/>
              <a:gd name="T40" fmla="*/ 909 w 2448"/>
              <a:gd name="T41" fmla="*/ 353 h 2446"/>
              <a:gd name="T42" fmla="*/ 1148 w 2448"/>
              <a:gd name="T43" fmla="*/ 737 h 2446"/>
              <a:gd name="T44" fmla="*/ 1864 w 2448"/>
              <a:gd name="T45" fmla="*/ 737 h 2446"/>
              <a:gd name="T46" fmla="*/ 2184 w 2448"/>
              <a:gd name="T47" fmla="*/ 737 h 2446"/>
              <a:gd name="T48" fmla="*/ 1539 w 2448"/>
              <a:gd name="T49" fmla="*/ 353 h 2446"/>
              <a:gd name="T50" fmla="*/ 1300 w 2448"/>
              <a:gd name="T51" fmla="*/ 737 h 2446"/>
              <a:gd name="T52" fmla="*/ 1300 w 2448"/>
              <a:gd name="T53" fmla="*/ 884 h 2446"/>
              <a:gd name="T54" fmla="*/ 1771 w 2448"/>
              <a:gd name="T55" fmla="*/ 1222 h 2446"/>
              <a:gd name="T56" fmla="*/ 1300 w 2448"/>
              <a:gd name="T57" fmla="*/ 1556 h 2446"/>
              <a:gd name="T58" fmla="*/ 1300 w 2448"/>
              <a:gd name="T59" fmla="*/ 2286 h 2446"/>
              <a:gd name="T60" fmla="*/ 1711 w 2448"/>
              <a:gd name="T61" fmla="*/ 1704 h 2446"/>
              <a:gd name="T62" fmla="*/ 1300 w 2448"/>
              <a:gd name="T63" fmla="*/ 2286 h 2446"/>
              <a:gd name="T64" fmla="*/ 1864 w 2448"/>
              <a:gd name="T65" fmla="*/ 1704 h 2446"/>
              <a:gd name="T66" fmla="*/ 1632 w 2448"/>
              <a:gd name="T67" fmla="*/ 2219 h 2446"/>
              <a:gd name="T68" fmla="*/ 1894 w 2448"/>
              <a:gd name="T69" fmla="*/ 1556 h 2446"/>
              <a:gd name="T70" fmla="*/ 1894 w 2448"/>
              <a:gd name="T71" fmla="*/ 884 h 2446"/>
              <a:gd name="T72" fmla="*/ 2299 w 2448"/>
              <a:gd name="T73" fmla="*/ 1222 h 2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2448" h="2446">
                <a:moveTo>
                  <a:pt x="2350" y="747"/>
                </a:moveTo>
                <a:cubicBezTo>
                  <a:pt x="2221" y="446"/>
                  <a:pt x="2002" y="227"/>
                  <a:pt x="1698" y="97"/>
                </a:cubicBezTo>
                <a:cubicBezTo>
                  <a:pt x="1547" y="33"/>
                  <a:pt x="1389" y="0"/>
                  <a:pt x="1223" y="0"/>
                </a:cubicBezTo>
                <a:cubicBezTo>
                  <a:pt x="1057" y="0"/>
                  <a:pt x="900" y="32"/>
                  <a:pt x="748" y="97"/>
                </a:cubicBezTo>
                <a:cubicBezTo>
                  <a:pt x="447" y="226"/>
                  <a:pt x="226" y="445"/>
                  <a:pt x="96" y="747"/>
                </a:cubicBezTo>
                <a:cubicBezTo>
                  <a:pt x="32" y="898"/>
                  <a:pt x="0" y="1056"/>
                  <a:pt x="0" y="1222"/>
                </a:cubicBezTo>
                <a:cubicBezTo>
                  <a:pt x="0" y="1388"/>
                  <a:pt x="32" y="1547"/>
                  <a:pt x="96" y="1698"/>
                </a:cubicBezTo>
                <a:cubicBezTo>
                  <a:pt x="226" y="2000"/>
                  <a:pt x="447" y="2220"/>
                  <a:pt x="748" y="2349"/>
                </a:cubicBezTo>
                <a:cubicBezTo>
                  <a:pt x="900" y="2414"/>
                  <a:pt x="1057" y="2446"/>
                  <a:pt x="1223" y="2446"/>
                </a:cubicBezTo>
                <a:cubicBezTo>
                  <a:pt x="1389" y="2446"/>
                  <a:pt x="1547" y="2413"/>
                  <a:pt x="1698" y="2349"/>
                </a:cubicBezTo>
                <a:cubicBezTo>
                  <a:pt x="2002" y="2219"/>
                  <a:pt x="2221" y="1999"/>
                  <a:pt x="2350" y="1698"/>
                </a:cubicBezTo>
                <a:cubicBezTo>
                  <a:pt x="2415" y="1547"/>
                  <a:pt x="2448" y="1388"/>
                  <a:pt x="2448" y="1222"/>
                </a:cubicBezTo>
                <a:cubicBezTo>
                  <a:pt x="2448" y="1056"/>
                  <a:pt x="2415" y="898"/>
                  <a:pt x="2350" y="747"/>
                </a:cubicBezTo>
                <a:close/>
                <a:moveTo>
                  <a:pt x="816" y="227"/>
                </a:moveTo>
                <a:cubicBezTo>
                  <a:pt x="711" y="361"/>
                  <a:pt x="633" y="531"/>
                  <a:pt x="584" y="737"/>
                </a:cubicBezTo>
                <a:cubicBezTo>
                  <a:pt x="264" y="737"/>
                  <a:pt x="264" y="737"/>
                  <a:pt x="264" y="737"/>
                </a:cubicBezTo>
                <a:cubicBezTo>
                  <a:pt x="381" y="508"/>
                  <a:pt x="580" y="325"/>
                  <a:pt x="816" y="227"/>
                </a:cubicBezTo>
                <a:close/>
                <a:moveTo>
                  <a:pt x="149" y="1222"/>
                </a:moveTo>
                <a:cubicBezTo>
                  <a:pt x="149" y="1105"/>
                  <a:pt x="167" y="993"/>
                  <a:pt x="203" y="884"/>
                </a:cubicBezTo>
                <a:cubicBezTo>
                  <a:pt x="554" y="884"/>
                  <a:pt x="554" y="884"/>
                  <a:pt x="554" y="884"/>
                </a:cubicBezTo>
                <a:cubicBezTo>
                  <a:pt x="537" y="998"/>
                  <a:pt x="529" y="1111"/>
                  <a:pt x="529" y="1222"/>
                </a:cubicBezTo>
                <a:cubicBezTo>
                  <a:pt x="529" y="1331"/>
                  <a:pt x="537" y="1443"/>
                  <a:pt x="554" y="1556"/>
                </a:cubicBezTo>
                <a:cubicBezTo>
                  <a:pt x="201" y="1556"/>
                  <a:pt x="201" y="1556"/>
                  <a:pt x="201" y="1556"/>
                </a:cubicBezTo>
                <a:cubicBezTo>
                  <a:pt x="166" y="1448"/>
                  <a:pt x="149" y="1335"/>
                  <a:pt x="149" y="1222"/>
                </a:cubicBezTo>
                <a:close/>
                <a:moveTo>
                  <a:pt x="264" y="1704"/>
                </a:moveTo>
                <a:cubicBezTo>
                  <a:pt x="584" y="1704"/>
                  <a:pt x="584" y="1704"/>
                  <a:pt x="584" y="1704"/>
                </a:cubicBezTo>
                <a:cubicBezTo>
                  <a:pt x="633" y="1914"/>
                  <a:pt x="711" y="2086"/>
                  <a:pt x="816" y="2219"/>
                </a:cubicBezTo>
                <a:cubicBezTo>
                  <a:pt x="576" y="2118"/>
                  <a:pt x="377" y="1935"/>
                  <a:pt x="264" y="1704"/>
                </a:cubicBezTo>
                <a:close/>
                <a:moveTo>
                  <a:pt x="1148" y="2286"/>
                </a:moveTo>
                <a:cubicBezTo>
                  <a:pt x="1061" y="2260"/>
                  <a:pt x="980" y="2196"/>
                  <a:pt x="906" y="2092"/>
                </a:cubicBezTo>
                <a:cubicBezTo>
                  <a:pt x="833" y="1987"/>
                  <a:pt x="776" y="1857"/>
                  <a:pt x="737" y="1704"/>
                </a:cubicBezTo>
                <a:cubicBezTo>
                  <a:pt x="1148" y="1704"/>
                  <a:pt x="1148" y="1704"/>
                  <a:pt x="1148" y="1704"/>
                </a:cubicBezTo>
                <a:lnTo>
                  <a:pt x="1148" y="2286"/>
                </a:lnTo>
                <a:close/>
                <a:moveTo>
                  <a:pt x="1148" y="1556"/>
                </a:moveTo>
                <a:cubicBezTo>
                  <a:pt x="704" y="1556"/>
                  <a:pt x="704" y="1556"/>
                  <a:pt x="704" y="1556"/>
                </a:cubicBezTo>
                <a:cubicBezTo>
                  <a:pt x="687" y="1437"/>
                  <a:pt x="677" y="1326"/>
                  <a:pt x="677" y="1222"/>
                </a:cubicBezTo>
                <a:cubicBezTo>
                  <a:pt x="677" y="1109"/>
                  <a:pt x="687" y="997"/>
                  <a:pt x="707" y="884"/>
                </a:cubicBezTo>
                <a:cubicBezTo>
                  <a:pt x="1148" y="884"/>
                  <a:pt x="1148" y="884"/>
                  <a:pt x="1148" y="884"/>
                </a:cubicBezTo>
                <a:cubicBezTo>
                  <a:pt x="1148" y="1556"/>
                  <a:pt x="1148" y="1556"/>
                  <a:pt x="1148" y="1556"/>
                </a:cubicBezTo>
                <a:close/>
                <a:moveTo>
                  <a:pt x="1148" y="737"/>
                </a:moveTo>
                <a:cubicBezTo>
                  <a:pt x="737" y="737"/>
                  <a:pt x="737" y="737"/>
                  <a:pt x="737" y="737"/>
                </a:cubicBezTo>
                <a:cubicBezTo>
                  <a:pt x="779" y="585"/>
                  <a:pt x="836" y="456"/>
                  <a:pt x="909" y="353"/>
                </a:cubicBezTo>
                <a:cubicBezTo>
                  <a:pt x="983" y="249"/>
                  <a:pt x="1061" y="184"/>
                  <a:pt x="1148" y="160"/>
                </a:cubicBezTo>
                <a:cubicBezTo>
                  <a:pt x="1148" y="737"/>
                  <a:pt x="1148" y="737"/>
                  <a:pt x="1148" y="737"/>
                </a:cubicBezTo>
                <a:close/>
                <a:moveTo>
                  <a:pt x="2184" y="737"/>
                </a:moveTo>
                <a:cubicBezTo>
                  <a:pt x="1864" y="737"/>
                  <a:pt x="1864" y="737"/>
                  <a:pt x="1864" y="737"/>
                </a:cubicBezTo>
                <a:cubicBezTo>
                  <a:pt x="1815" y="531"/>
                  <a:pt x="1737" y="361"/>
                  <a:pt x="1632" y="227"/>
                </a:cubicBezTo>
                <a:cubicBezTo>
                  <a:pt x="1868" y="325"/>
                  <a:pt x="2067" y="508"/>
                  <a:pt x="2184" y="737"/>
                </a:cubicBezTo>
                <a:close/>
                <a:moveTo>
                  <a:pt x="1300" y="160"/>
                </a:moveTo>
                <a:cubicBezTo>
                  <a:pt x="1387" y="184"/>
                  <a:pt x="1465" y="249"/>
                  <a:pt x="1539" y="353"/>
                </a:cubicBezTo>
                <a:cubicBezTo>
                  <a:pt x="1613" y="456"/>
                  <a:pt x="1669" y="585"/>
                  <a:pt x="1711" y="737"/>
                </a:cubicBezTo>
                <a:cubicBezTo>
                  <a:pt x="1300" y="737"/>
                  <a:pt x="1300" y="737"/>
                  <a:pt x="1300" y="737"/>
                </a:cubicBezTo>
                <a:lnTo>
                  <a:pt x="1300" y="160"/>
                </a:lnTo>
                <a:close/>
                <a:moveTo>
                  <a:pt x="1300" y="884"/>
                </a:moveTo>
                <a:cubicBezTo>
                  <a:pt x="1741" y="884"/>
                  <a:pt x="1741" y="884"/>
                  <a:pt x="1741" y="884"/>
                </a:cubicBezTo>
                <a:cubicBezTo>
                  <a:pt x="1761" y="997"/>
                  <a:pt x="1771" y="1109"/>
                  <a:pt x="1771" y="1222"/>
                </a:cubicBezTo>
                <a:cubicBezTo>
                  <a:pt x="1771" y="1326"/>
                  <a:pt x="1761" y="1437"/>
                  <a:pt x="1744" y="1556"/>
                </a:cubicBezTo>
                <a:cubicBezTo>
                  <a:pt x="1300" y="1556"/>
                  <a:pt x="1300" y="1556"/>
                  <a:pt x="1300" y="1556"/>
                </a:cubicBezTo>
                <a:lnTo>
                  <a:pt x="1300" y="884"/>
                </a:lnTo>
                <a:close/>
                <a:moveTo>
                  <a:pt x="1300" y="2286"/>
                </a:moveTo>
                <a:cubicBezTo>
                  <a:pt x="1300" y="1704"/>
                  <a:pt x="1300" y="1704"/>
                  <a:pt x="1300" y="1704"/>
                </a:cubicBezTo>
                <a:cubicBezTo>
                  <a:pt x="1711" y="1704"/>
                  <a:pt x="1711" y="1704"/>
                  <a:pt x="1711" y="1704"/>
                </a:cubicBezTo>
                <a:cubicBezTo>
                  <a:pt x="1670" y="1857"/>
                  <a:pt x="1613" y="1987"/>
                  <a:pt x="1541" y="2092"/>
                </a:cubicBezTo>
                <a:cubicBezTo>
                  <a:pt x="1467" y="2197"/>
                  <a:pt x="1388" y="2262"/>
                  <a:pt x="1300" y="2286"/>
                </a:cubicBezTo>
                <a:close/>
                <a:moveTo>
                  <a:pt x="1632" y="2219"/>
                </a:moveTo>
                <a:cubicBezTo>
                  <a:pt x="1737" y="2086"/>
                  <a:pt x="1815" y="1914"/>
                  <a:pt x="1864" y="1704"/>
                </a:cubicBezTo>
                <a:cubicBezTo>
                  <a:pt x="2184" y="1704"/>
                  <a:pt x="2184" y="1704"/>
                  <a:pt x="2184" y="1704"/>
                </a:cubicBezTo>
                <a:cubicBezTo>
                  <a:pt x="2071" y="1935"/>
                  <a:pt x="1872" y="2118"/>
                  <a:pt x="1632" y="2219"/>
                </a:cubicBezTo>
                <a:close/>
                <a:moveTo>
                  <a:pt x="2247" y="1556"/>
                </a:moveTo>
                <a:cubicBezTo>
                  <a:pt x="1894" y="1556"/>
                  <a:pt x="1894" y="1556"/>
                  <a:pt x="1894" y="1556"/>
                </a:cubicBezTo>
                <a:cubicBezTo>
                  <a:pt x="1911" y="1443"/>
                  <a:pt x="1919" y="1331"/>
                  <a:pt x="1919" y="1222"/>
                </a:cubicBezTo>
                <a:cubicBezTo>
                  <a:pt x="1919" y="1111"/>
                  <a:pt x="1911" y="998"/>
                  <a:pt x="1894" y="884"/>
                </a:cubicBezTo>
                <a:cubicBezTo>
                  <a:pt x="2245" y="884"/>
                  <a:pt x="2245" y="884"/>
                  <a:pt x="2245" y="884"/>
                </a:cubicBezTo>
                <a:cubicBezTo>
                  <a:pt x="2281" y="993"/>
                  <a:pt x="2299" y="1105"/>
                  <a:pt x="2299" y="1222"/>
                </a:cubicBezTo>
                <a:cubicBezTo>
                  <a:pt x="2299" y="1335"/>
                  <a:pt x="2282" y="1448"/>
                  <a:pt x="2247" y="155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27" name="Shape4_20180718_204016">
            <a:extLst>
              <a:ext uri="{FF2B5EF4-FFF2-40B4-BE49-F238E27FC236}">
                <a16:creationId xmlns:a16="http://schemas.microsoft.com/office/drawing/2014/main" id="{9C8F2637-72EE-307E-1B0B-B54574D62E73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7061559" y="3354727"/>
            <a:ext cx="415395" cy="415395"/>
            <a:chOff x="-4769427" y="-314325"/>
            <a:chExt cx="4660901" cy="4576762"/>
          </a:xfrm>
        </p:grpSpPr>
        <p:sp>
          <p:nvSpPr>
            <p:cNvPr id="28" name="Freeform 23">
              <a:extLst>
                <a:ext uri="{FF2B5EF4-FFF2-40B4-BE49-F238E27FC236}">
                  <a16:creationId xmlns:a16="http://schemas.microsoft.com/office/drawing/2014/main" id="{55C19642-446E-4039-8936-A77F4C27B9B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509077" y="-314325"/>
              <a:ext cx="4138613" cy="3956050"/>
            </a:xfrm>
            <a:custGeom>
              <a:avLst/>
              <a:gdLst>
                <a:gd name="T0" fmla="*/ 2128 w 2188"/>
                <a:gd name="T1" fmla="*/ 946 h 2085"/>
                <a:gd name="T2" fmla="*/ 2169 w 2188"/>
                <a:gd name="T3" fmla="*/ 781 h 2085"/>
                <a:gd name="T4" fmla="*/ 2038 w 2188"/>
                <a:gd name="T5" fmla="*/ 671 h 2085"/>
                <a:gd name="T6" fmla="*/ 1503 w 2188"/>
                <a:gd name="T7" fmla="*/ 593 h 2085"/>
                <a:gd name="T8" fmla="*/ 1478 w 2188"/>
                <a:gd name="T9" fmla="*/ 576 h 2085"/>
                <a:gd name="T10" fmla="*/ 1239 w 2188"/>
                <a:gd name="T11" fmla="*/ 90 h 2085"/>
                <a:gd name="T12" fmla="*/ 1094 w 2188"/>
                <a:gd name="T13" fmla="*/ 0 h 2085"/>
                <a:gd name="T14" fmla="*/ 949 w 2188"/>
                <a:gd name="T15" fmla="*/ 90 h 2085"/>
                <a:gd name="T16" fmla="*/ 710 w 2188"/>
                <a:gd name="T17" fmla="*/ 576 h 2085"/>
                <a:gd name="T18" fmla="*/ 685 w 2188"/>
                <a:gd name="T19" fmla="*/ 593 h 2085"/>
                <a:gd name="T20" fmla="*/ 150 w 2188"/>
                <a:gd name="T21" fmla="*/ 671 h 2085"/>
                <a:gd name="T22" fmla="*/ 19 w 2188"/>
                <a:gd name="T23" fmla="*/ 781 h 2085"/>
                <a:gd name="T24" fmla="*/ 60 w 2188"/>
                <a:gd name="T25" fmla="*/ 946 h 2085"/>
                <a:gd name="T26" fmla="*/ 448 w 2188"/>
                <a:gd name="T27" fmla="*/ 1324 h 2085"/>
                <a:gd name="T28" fmla="*/ 457 w 2188"/>
                <a:gd name="T29" fmla="*/ 1353 h 2085"/>
                <a:gd name="T30" fmla="*/ 366 w 2188"/>
                <a:gd name="T31" fmla="*/ 1886 h 2085"/>
                <a:gd name="T32" fmla="*/ 430 w 2188"/>
                <a:gd name="T33" fmla="*/ 2044 h 2085"/>
                <a:gd name="T34" fmla="*/ 600 w 2188"/>
                <a:gd name="T35" fmla="*/ 2056 h 2085"/>
                <a:gd name="T36" fmla="*/ 1079 w 2188"/>
                <a:gd name="T37" fmla="*/ 1805 h 2085"/>
                <a:gd name="T38" fmla="*/ 1109 w 2188"/>
                <a:gd name="T39" fmla="*/ 1805 h 2085"/>
                <a:gd name="T40" fmla="*/ 1588 w 2188"/>
                <a:gd name="T41" fmla="*/ 2056 h 2085"/>
                <a:gd name="T42" fmla="*/ 1663 w 2188"/>
                <a:gd name="T43" fmla="*/ 2075 h 2085"/>
                <a:gd name="T44" fmla="*/ 1758 w 2188"/>
                <a:gd name="T45" fmla="*/ 2044 h 2085"/>
                <a:gd name="T46" fmla="*/ 1822 w 2188"/>
                <a:gd name="T47" fmla="*/ 1886 h 2085"/>
                <a:gd name="T48" fmla="*/ 1731 w 2188"/>
                <a:gd name="T49" fmla="*/ 1353 h 2085"/>
                <a:gd name="T50" fmla="*/ 1740 w 2188"/>
                <a:gd name="T51" fmla="*/ 1324 h 2085"/>
                <a:gd name="T52" fmla="*/ 2128 w 2188"/>
                <a:gd name="T53" fmla="*/ 946 h 2085"/>
                <a:gd name="T54" fmla="*/ 1604 w 2188"/>
                <a:gd name="T55" fmla="*/ 1375 h 2085"/>
                <a:gd name="T56" fmla="*/ 1695 w 2188"/>
                <a:gd name="T57" fmla="*/ 1908 h 2085"/>
                <a:gd name="T58" fmla="*/ 1682 w 2188"/>
                <a:gd name="T59" fmla="*/ 1940 h 2085"/>
                <a:gd name="T60" fmla="*/ 1648 w 2188"/>
                <a:gd name="T61" fmla="*/ 1942 h 2085"/>
                <a:gd name="T62" fmla="*/ 1169 w 2188"/>
                <a:gd name="T63" fmla="*/ 1690 h 2085"/>
                <a:gd name="T64" fmla="*/ 1094 w 2188"/>
                <a:gd name="T65" fmla="*/ 1672 h 2085"/>
                <a:gd name="T66" fmla="*/ 1019 w 2188"/>
                <a:gd name="T67" fmla="*/ 1690 h 2085"/>
                <a:gd name="T68" fmla="*/ 540 w 2188"/>
                <a:gd name="T69" fmla="*/ 1942 h 2085"/>
                <a:gd name="T70" fmla="*/ 506 w 2188"/>
                <a:gd name="T71" fmla="*/ 1940 h 2085"/>
                <a:gd name="T72" fmla="*/ 493 w 2188"/>
                <a:gd name="T73" fmla="*/ 1908 h 2085"/>
                <a:gd name="T74" fmla="*/ 584 w 2188"/>
                <a:gd name="T75" fmla="*/ 1375 h 2085"/>
                <a:gd name="T76" fmla="*/ 538 w 2188"/>
                <a:gd name="T77" fmla="*/ 1232 h 2085"/>
                <a:gd name="T78" fmla="*/ 150 w 2188"/>
                <a:gd name="T79" fmla="*/ 854 h 2085"/>
                <a:gd name="T80" fmla="*/ 142 w 2188"/>
                <a:gd name="T81" fmla="*/ 821 h 2085"/>
                <a:gd name="T82" fmla="*/ 168 w 2188"/>
                <a:gd name="T83" fmla="*/ 799 h 2085"/>
                <a:gd name="T84" fmla="*/ 704 w 2188"/>
                <a:gd name="T85" fmla="*/ 721 h 2085"/>
                <a:gd name="T86" fmla="*/ 826 w 2188"/>
                <a:gd name="T87" fmla="*/ 633 h 2085"/>
                <a:gd name="T88" fmla="*/ 1065 w 2188"/>
                <a:gd name="T89" fmla="*/ 147 h 2085"/>
                <a:gd name="T90" fmla="*/ 1094 w 2188"/>
                <a:gd name="T91" fmla="*/ 129 h 2085"/>
                <a:gd name="T92" fmla="*/ 1123 w 2188"/>
                <a:gd name="T93" fmla="*/ 147 h 2085"/>
                <a:gd name="T94" fmla="*/ 1123 w 2188"/>
                <a:gd name="T95" fmla="*/ 147 h 2085"/>
                <a:gd name="T96" fmla="*/ 1363 w 2188"/>
                <a:gd name="T97" fmla="*/ 633 h 2085"/>
                <a:gd name="T98" fmla="*/ 1484 w 2188"/>
                <a:gd name="T99" fmla="*/ 721 h 2085"/>
                <a:gd name="T100" fmla="*/ 2020 w 2188"/>
                <a:gd name="T101" fmla="*/ 799 h 2085"/>
                <a:gd name="T102" fmla="*/ 2046 w 2188"/>
                <a:gd name="T103" fmla="*/ 821 h 2085"/>
                <a:gd name="T104" fmla="*/ 2038 w 2188"/>
                <a:gd name="T105" fmla="*/ 854 h 2085"/>
                <a:gd name="T106" fmla="*/ 1650 w 2188"/>
                <a:gd name="T107" fmla="*/ 1232 h 2085"/>
                <a:gd name="T108" fmla="*/ 1604 w 2188"/>
                <a:gd name="T109" fmla="*/ 1375 h 20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188" h="2085">
                  <a:moveTo>
                    <a:pt x="2128" y="946"/>
                  </a:moveTo>
                  <a:cubicBezTo>
                    <a:pt x="2172" y="903"/>
                    <a:pt x="2188" y="840"/>
                    <a:pt x="2169" y="781"/>
                  </a:cubicBezTo>
                  <a:cubicBezTo>
                    <a:pt x="2149" y="722"/>
                    <a:pt x="2100" y="680"/>
                    <a:pt x="2038" y="671"/>
                  </a:cubicBezTo>
                  <a:cubicBezTo>
                    <a:pt x="1503" y="593"/>
                    <a:pt x="1503" y="593"/>
                    <a:pt x="1503" y="593"/>
                  </a:cubicBezTo>
                  <a:cubicBezTo>
                    <a:pt x="1492" y="592"/>
                    <a:pt x="1483" y="585"/>
                    <a:pt x="1478" y="576"/>
                  </a:cubicBezTo>
                  <a:cubicBezTo>
                    <a:pt x="1239" y="90"/>
                    <a:pt x="1239" y="90"/>
                    <a:pt x="1239" y="90"/>
                  </a:cubicBezTo>
                  <a:cubicBezTo>
                    <a:pt x="1211" y="35"/>
                    <a:pt x="1156" y="0"/>
                    <a:pt x="1094" y="0"/>
                  </a:cubicBezTo>
                  <a:cubicBezTo>
                    <a:pt x="1032" y="0"/>
                    <a:pt x="977" y="35"/>
                    <a:pt x="949" y="90"/>
                  </a:cubicBezTo>
                  <a:cubicBezTo>
                    <a:pt x="710" y="576"/>
                    <a:pt x="710" y="576"/>
                    <a:pt x="710" y="576"/>
                  </a:cubicBezTo>
                  <a:cubicBezTo>
                    <a:pt x="705" y="585"/>
                    <a:pt x="696" y="592"/>
                    <a:pt x="685" y="593"/>
                  </a:cubicBezTo>
                  <a:cubicBezTo>
                    <a:pt x="150" y="671"/>
                    <a:pt x="150" y="671"/>
                    <a:pt x="150" y="671"/>
                  </a:cubicBezTo>
                  <a:cubicBezTo>
                    <a:pt x="88" y="680"/>
                    <a:pt x="39" y="722"/>
                    <a:pt x="19" y="781"/>
                  </a:cubicBezTo>
                  <a:cubicBezTo>
                    <a:pt x="0" y="840"/>
                    <a:pt x="16" y="903"/>
                    <a:pt x="60" y="946"/>
                  </a:cubicBezTo>
                  <a:cubicBezTo>
                    <a:pt x="448" y="1324"/>
                    <a:pt x="448" y="1324"/>
                    <a:pt x="448" y="1324"/>
                  </a:cubicBezTo>
                  <a:cubicBezTo>
                    <a:pt x="455" y="1332"/>
                    <a:pt x="459" y="1342"/>
                    <a:pt x="457" y="1353"/>
                  </a:cubicBezTo>
                  <a:cubicBezTo>
                    <a:pt x="366" y="1886"/>
                    <a:pt x="366" y="1886"/>
                    <a:pt x="366" y="1886"/>
                  </a:cubicBezTo>
                  <a:cubicBezTo>
                    <a:pt x="355" y="1947"/>
                    <a:pt x="380" y="2008"/>
                    <a:pt x="430" y="2044"/>
                  </a:cubicBezTo>
                  <a:cubicBezTo>
                    <a:pt x="480" y="2081"/>
                    <a:pt x="545" y="2085"/>
                    <a:pt x="600" y="2056"/>
                  </a:cubicBezTo>
                  <a:cubicBezTo>
                    <a:pt x="1079" y="1805"/>
                    <a:pt x="1079" y="1805"/>
                    <a:pt x="1079" y="1805"/>
                  </a:cubicBezTo>
                  <a:cubicBezTo>
                    <a:pt x="1088" y="1800"/>
                    <a:pt x="1100" y="1800"/>
                    <a:pt x="1109" y="1805"/>
                  </a:cubicBezTo>
                  <a:cubicBezTo>
                    <a:pt x="1588" y="2056"/>
                    <a:pt x="1588" y="2056"/>
                    <a:pt x="1588" y="2056"/>
                  </a:cubicBezTo>
                  <a:cubicBezTo>
                    <a:pt x="1612" y="2069"/>
                    <a:pt x="1638" y="2075"/>
                    <a:pt x="1663" y="2075"/>
                  </a:cubicBezTo>
                  <a:cubicBezTo>
                    <a:pt x="1697" y="2075"/>
                    <a:pt x="1730" y="2065"/>
                    <a:pt x="1758" y="2044"/>
                  </a:cubicBezTo>
                  <a:cubicBezTo>
                    <a:pt x="1808" y="2008"/>
                    <a:pt x="1833" y="1947"/>
                    <a:pt x="1822" y="1886"/>
                  </a:cubicBezTo>
                  <a:cubicBezTo>
                    <a:pt x="1731" y="1353"/>
                    <a:pt x="1731" y="1353"/>
                    <a:pt x="1731" y="1353"/>
                  </a:cubicBezTo>
                  <a:cubicBezTo>
                    <a:pt x="1729" y="1342"/>
                    <a:pt x="1733" y="1332"/>
                    <a:pt x="1740" y="1324"/>
                  </a:cubicBezTo>
                  <a:lnTo>
                    <a:pt x="2128" y="946"/>
                  </a:lnTo>
                  <a:close/>
                  <a:moveTo>
                    <a:pt x="1604" y="1375"/>
                  </a:moveTo>
                  <a:cubicBezTo>
                    <a:pt x="1695" y="1908"/>
                    <a:pt x="1695" y="1908"/>
                    <a:pt x="1695" y="1908"/>
                  </a:cubicBezTo>
                  <a:cubicBezTo>
                    <a:pt x="1698" y="1926"/>
                    <a:pt x="1687" y="1936"/>
                    <a:pt x="1682" y="1940"/>
                  </a:cubicBezTo>
                  <a:cubicBezTo>
                    <a:pt x="1677" y="1943"/>
                    <a:pt x="1664" y="1951"/>
                    <a:pt x="1648" y="1942"/>
                  </a:cubicBezTo>
                  <a:cubicBezTo>
                    <a:pt x="1169" y="1690"/>
                    <a:pt x="1169" y="1690"/>
                    <a:pt x="1169" y="1690"/>
                  </a:cubicBezTo>
                  <a:cubicBezTo>
                    <a:pt x="1146" y="1678"/>
                    <a:pt x="1120" y="1672"/>
                    <a:pt x="1094" y="1672"/>
                  </a:cubicBezTo>
                  <a:cubicBezTo>
                    <a:pt x="1068" y="1672"/>
                    <a:pt x="1042" y="1678"/>
                    <a:pt x="1019" y="1690"/>
                  </a:cubicBezTo>
                  <a:cubicBezTo>
                    <a:pt x="540" y="1942"/>
                    <a:pt x="540" y="1942"/>
                    <a:pt x="540" y="1942"/>
                  </a:cubicBezTo>
                  <a:cubicBezTo>
                    <a:pt x="524" y="1951"/>
                    <a:pt x="511" y="1943"/>
                    <a:pt x="506" y="1940"/>
                  </a:cubicBezTo>
                  <a:cubicBezTo>
                    <a:pt x="501" y="1936"/>
                    <a:pt x="490" y="1926"/>
                    <a:pt x="493" y="1908"/>
                  </a:cubicBezTo>
                  <a:cubicBezTo>
                    <a:pt x="584" y="1375"/>
                    <a:pt x="584" y="1375"/>
                    <a:pt x="584" y="1375"/>
                  </a:cubicBezTo>
                  <a:cubicBezTo>
                    <a:pt x="593" y="1322"/>
                    <a:pt x="576" y="1269"/>
                    <a:pt x="538" y="1232"/>
                  </a:cubicBezTo>
                  <a:cubicBezTo>
                    <a:pt x="150" y="854"/>
                    <a:pt x="150" y="854"/>
                    <a:pt x="150" y="854"/>
                  </a:cubicBezTo>
                  <a:cubicBezTo>
                    <a:pt x="137" y="841"/>
                    <a:pt x="140" y="827"/>
                    <a:pt x="142" y="821"/>
                  </a:cubicBezTo>
                  <a:cubicBezTo>
                    <a:pt x="144" y="815"/>
                    <a:pt x="150" y="801"/>
                    <a:pt x="168" y="799"/>
                  </a:cubicBezTo>
                  <a:cubicBezTo>
                    <a:pt x="704" y="721"/>
                    <a:pt x="704" y="721"/>
                    <a:pt x="704" y="721"/>
                  </a:cubicBezTo>
                  <a:cubicBezTo>
                    <a:pt x="757" y="713"/>
                    <a:pt x="802" y="680"/>
                    <a:pt x="826" y="633"/>
                  </a:cubicBezTo>
                  <a:cubicBezTo>
                    <a:pt x="1065" y="147"/>
                    <a:pt x="1065" y="147"/>
                    <a:pt x="1065" y="147"/>
                  </a:cubicBezTo>
                  <a:cubicBezTo>
                    <a:pt x="1073" y="131"/>
                    <a:pt x="1088" y="129"/>
                    <a:pt x="1094" y="129"/>
                  </a:cubicBezTo>
                  <a:cubicBezTo>
                    <a:pt x="1100" y="129"/>
                    <a:pt x="1115" y="131"/>
                    <a:pt x="1123" y="147"/>
                  </a:cubicBezTo>
                  <a:cubicBezTo>
                    <a:pt x="1123" y="147"/>
                    <a:pt x="1123" y="147"/>
                    <a:pt x="1123" y="147"/>
                  </a:cubicBezTo>
                  <a:cubicBezTo>
                    <a:pt x="1363" y="633"/>
                    <a:pt x="1363" y="633"/>
                    <a:pt x="1363" y="633"/>
                  </a:cubicBezTo>
                  <a:cubicBezTo>
                    <a:pt x="1386" y="680"/>
                    <a:pt x="1431" y="713"/>
                    <a:pt x="1484" y="721"/>
                  </a:cubicBezTo>
                  <a:cubicBezTo>
                    <a:pt x="2020" y="799"/>
                    <a:pt x="2020" y="799"/>
                    <a:pt x="2020" y="799"/>
                  </a:cubicBezTo>
                  <a:cubicBezTo>
                    <a:pt x="2038" y="801"/>
                    <a:pt x="2044" y="815"/>
                    <a:pt x="2046" y="821"/>
                  </a:cubicBezTo>
                  <a:cubicBezTo>
                    <a:pt x="2048" y="827"/>
                    <a:pt x="2051" y="841"/>
                    <a:pt x="2038" y="854"/>
                  </a:cubicBezTo>
                  <a:cubicBezTo>
                    <a:pt x="1650" y="1232"/>
                    <a:pt x="1650" y="1232"/>
                    <a:pt x="1650" y="1232"/>
                  </a:cubicBezTo>
                  <a:cubicBezTo>
                    <a:pt x="1612" y="1269"/>
                    <a:pt x="1595" y="1322"/>
                    <a:pt x="1604" y="137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4">
              <a:extLst>
                <a:ext uri="{FF2B5EF4-FFF2-40B4-BE49-F238E27FC236}">
                  <a16:creationId xmlns:a16="http://schemas.microsoft.com/office/drawing/2014/main" id="{F8207649-4E10-F18A-2DF0-8084580EC40A}"/>
                </a:ext>
              </a:extLst>
            </p:cNvPr>
            <p:cNvSpPr>
              <a:spLocks/>
            </p:cNvSpPr>
            <p:nvPr/>
          </p:nvSpPr>
          <p:spPr bwMode="auto">
            <a:xfrm>
              <a:off x="-1351539" y="-182563"/>
              <a:ext cx="406400" cy="439738"/>
            </a:xfrm>
            <a:custGeom>
              <a:avLst/>
              <a:gdLst>
                <a:gd name="T0" fmla="*/ 179 w 215"/>
                <a:gd name="T1" fmla="*/ 21 h 232"/>
                <a:gd name="T2" fmla="*/ 89 w 215"/>
                <a:gd name="T3" fmla="*/ 35 h 232"/>
                <a:gd name="T4" fmla="*/ 21 w 215"/>
                <a:gd name="T5" fmla="*/ 130 h 232"/>
                <a:gd name="T6" fmla="*/ 35 w 215"/>
                <a:gd name="T7" fmla="*/ 220 h 232"/>
                <a:gd name="T8" fmla="*/ 73 w 215"/>
                <a:gd name="T9" fmla="*/ 232 h 232"/>
                <a:gd name="T10" fmla="*/ 125 w 215"/>
                <a:gd name="T11" fmla="*/ 206 h 232"/>
                <a:gd name="T12" fmla="*/ 194 w 215"/>
                <a:gd name="T13" fmla="*/ 111 h 232"/>
                <a:gd name="T14" fmla="*/ 179 w 215"/>
                <a:gd name="T15" fmla="*/ 21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5" h="232">
                  <a:moveTo>
                    <a:pt x="179" y="21"/>
                  </a:moveTo>
                  <a:cubicBezTo>
                    <a:pt x="151" y="0"/>
                    <a:pt x="110" y="7"/>
                    <a:pt x="89" y="35"/>
                  </a:cubicBezTo>
                  <a:cubicBezTo>
                    <a:pt x="21" y="130"/>
                    <a:pt x="21" y="130"/>
                    <a:pt x="21" y="130"/>
                  </a:cubicBezTo>
                  <a:cubicBezTo>
                    <a:pt x="0" y="159"/>
                    <a:pt x="6" y="199"/>
                    <a:pt x="35" y="220"/>
                  </a:cubicBezTo>
                  <a:cubicBezTo>
                    <a:pt x="46" y="228"/>
                    <a:pt x="60" y="232"/>
                    <a:pt x="73" y="232"/>
                  </a:cubicBezTo>
                  <a:cubicBezTo>
                    <a:pt x="93" y="232"/>
                    <a:pt x="113" y="223"/>
                    <a:pt x="125" y="206"/>
                  </a:cubicBezTo>
                  <a:cubicBezTo>
                    <a:pt x="194" y="111"/>
                    <a:pt x="194" y="111"/>
                    <a:pt x="194" y="111"/>
                  </a:cubicBezTo>
                  <a:cubicBezTo>
                    <a:pt x="215" y="83"/>
                    <a:pt x="208" y="42"/>
                    <a:pt x="179" y="2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5">
              <a:extLst>
                <a:ext uri="{FF2B5EF4-FFF2-40B4-BE49-F238E27FC236}">
                  <a16:creationId xmlns:a16="http://schemas.microsoft.com/office/drawing/2014/main" id="{59440514-81AC-F83F-4BAF-0FF75DC45DA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934402" y="-182563"/>
              <a:ext cx="407988" cy="439738"/>
            </a:xfrm>
            <a:custGeom>
              <a:avLst/>
              <a:gdLst>
                <a:gd name="T0" fmla="*/ 194 w 215"/>
                <a:gd name="T1" fmla="*/ 129 h 232"/>
                <a:gd name="T2" fmla="*/ 126 w 215"/>
                <a:gd name="T3" fmla="*/ 35 h 232"/>
                <a:gd name="T4" fmla="*/ 35 w 215"/>
                <a:gd name="T5" fmla="*/ 21 h 232"/>
                <a:gd name="T6" fmla="*/ 21 w 215"/>
                <a:gd name="T7" fmla="*/ 111 h 232"/>
                <a:gd name="T8" fmla="*/ 90 w 215"/>
                <a:gd name="T9" fmla="*/ 205 h 232"/>
                <a:gd name="T10" fmla="*/ 142 w 215"/>
                <a:gd name="T11" fmla="*/ 232 h 232"/>
                <a:gd name="T12" fmla="*/ 180 w 215"/>
                <a:gd name="T13" fmla="*/ 220 h 232"/>
                <a:gd name="T14" fmla="*/ 194 w 215"/>
                <a:gd name="T15" fmla="*/ 129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5" h="232">
                  <a:moveTo>
                    <a:pt x="194" y="129"/>
                  </a:moveTo>
                  <a:cubicBezTo>
                    <a:pt x="126" y="35"/>
                    <a:pt x="126" y="35"/>
                    <a:pt x="126" y="35"/>
                  </a:cubicBezTo>
                  <a:cubicBezTo>
                    <a:pt x="105" y="6"/>
                    <a:pt x="64" y="0"/>
                    <a:pt x="35" y="21"/>
                  </a:cubicBezTo>
                  <a:cubicBezTo>
                    <a:pt x="6" y="42"/>
                    <a:pt x="0" y="82"/>
                    <a:pt x="21" y="111"/>
                  </a:cubicBezTo>
                  <a:cubicBezTo>
                    <a:pt x="90" y="205"/>
                    <a:pt x="90" y="205"/>
                    <a:pt x="90" y="205"/>
                  </a:cubicBezTo>
                  <a:cubicBezTo>
                    <a:pt x="102" y="223"/>
                    <a:pt x="122" y="232"/>
                    <a:pt x="142" y="232"/>
                  </a:cubicBezTo>
                  <a:cubicBezTo>
                    <a:pt x="155" y="232"/>
                    <a:pt x="168" y="228"/>
                    <a:pt x="180" y="220"/>
                  </a:cubicBezTo>
                  <a:cubicBezTo>
                    <a:pt x="209" y="199"/>
                    <a:pt x="215" y="158"/>
                    <a:pt x="194" y="12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6">
              <a:extLst>
                <a:ext uri="{FF2B5EF4-FFF2-40B4-BE49-F238E27FC236}">
                  <a16:creationId xmlns:a16="http://schemas.microsoft.com/office/drawing/2014/main" id="{97976778-1337-CF96-401F-A5DD73CFE487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69427" y="2336800"/>
              <a:ext cx="484188" cy="328613"/>
            </a:xfrm>
            <a:custGeom>
              <a:avLst/>
              <a:gdLst>
                <a:gd name="T0" fmla="*/ 245 w 256"/>
                <a:gd name="T1" fmla="*/ 52 h 173"/>
                <a:gd name="T2" fmla="*/ 164 w 256"/>
                <a:gd name="T3" fmla="*/ 11 h 173"/>
                <a:gd name="T4" fmla="*/ 53 w 256"/>
                <a:gd name="T5" fmla="*/ 47 h 173"/>
                <a:gd name="T6" fmla="*/ 11 w 256"/>
                <a:gd name="T7" fmla="*/ 128 h 173"/>
                <a:gd name="T8" fmla="*/ 73 w 256"/>
                <a:gd name="T9" fmla="*/ 173 h 173"/>
                <a:gd name="T10" fmla="*/ 93 w 256"/>
                <a:gd name="T11" fmla="*/ 169 h 173"/>
                <a:gd name="T12" fmla="*/ 203 w 256"/>
                <a:gd name="T13" fmla="*/ 133 h 173"/>
                <a:gd name="T14" fmla="*/ 245 w 256"/>
                <a:gd name="T15" fmla="*/ 52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6" h="173">
                  <a:moveTo>
                    <a:pt x="245" y="52"/>
                  </a:moveTo>
                  <a:cubicBezTo>
                    <a:pt x="234" y="18"/>
                    <a:pt x="197" y="0"/>
                    <a:pt x="164" y="11"/>
                  </a:cubicBezTo>
                  <a:cubicBezTo>
                    <a:pt x="53" y="47"/>
                    <a:pt x="53" y="47"/>
                    <a:pt x="53" y="47"/>
                  </a:cubicBezTo>
                  <a:cubicBezTo>
                    <a:pt x="19" y="58"/>
                    <a:pt x="0" y="94"/>
                    <a:pt x="11" y="128"/>
                  </a:cubicBezTo>
                  <a:cubicBezTo>
                    <a:pt x="20" y="155"/>
                    <a:pt x="45" y="173"/>
                    <a:pt x="73" y="173"/>
                  </a:cubicBezTo>
                  <a:cubicBezTo>
                    <a:pt x="79" y="173"/>
                    <a:pt x="86" y="172"/>
                    <a:pt x="93" y="169"/>
                  </a:cubicBezTo>
                  <a:cubicBezTo>
                    <a:pt x="203" y="133"/>
                    <a:pt x="203" y="133"/>
                    <a:pt x="203" y="133"/>
                  </a:cubicBezTo>
                  <a:cubicBezTo>
                    <a:pt x="237" y="122"/>
                    <a:pt x="256" y="86"/>
                    <a:pt x="245" y="5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27">
              <a:extLst>
                <a:ext uri="{FF2B5EF4-FFF2-40B4-BE49-F238E27FC236}">
                  <a16:creationId xmlns:a16="http://schemas.microsoft.com/office/drawing/2014/main" id="{452F071F-2AFF-E6FE-2594-B865A65A5424}"/>
                </a:ext>
              </a:extLst>
            </p:cNvPr>
            <p:cNvSpPr>
              <a:spLocks/>
            </p:cNvSpPr>
            <p:nvPr/>
          </p:nvSpPr>
          <p:spPr bwMode="auto">
            <a:xfrm>
              <a:off x="-2562802" y="3795712"/>
              <a:ext cx="246063" cy="466725"/>
            </a:xfrm>
            <a:custGeom>
              <a:avLst/>
              <a:gdLst>
                <a:gd name="T0" fmla="*/ 65 w 130"/>
                <a:gd name="T1" fmla="*/ 0 h 246"/>
                <a:gd name="T2" fmla="*/ 0 w 130"/>
                <a:gd name="T3" fmla="*/ 65 h 246"/>
                <a:gd name="T4" fmla="*/ 0 w 130"/>
                <a:gd name="T5" fmla="*/ 181 h 246"/>
                <a:gd name="T6" fmla="*/ 65 w 130"/>
                <a:gd name="T7" fmla="*/ 246 h 246"/>
                <a:gd name="T8" fmla="*/ 130 w 130"/>
                <a:gd name="T9" fmla="*/ 181 h 246"/>
                <a:gd name="T10" fmla="*/ 130 w 130"/>
                <a:gd name="T11" fmla="*/ 65 h 246"/>
                <a:gd name="T12" fmla="*/ 65 w 130"/>
                <a:gd name="T13" fmla="*/ 0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" h="246">
                  <a:moveTo>
                    <a:pt x="65" y="0"/>
                  </a:moveTo>
                  <a:cubicBezTo>
                    <a:pt x="29" y="0"/>
                    <a:pt x="0" y="29"/>
                    <a:pt x="0" y="65"/>
                  </a:cubicBezTo>
                  <a:cubicBezTo>
                    <a:pt x="0" y="181"/>
                    <a:pt x="0" y="181"/>
                    <a:pt x="0" y="181"/>
                  </a:cubicBezTo>
                  <a:cubicBezTo>
                    <a:pt x="0" y="217"/>
                    <a:pt x="29" y="246"/>
                    <a:pt x="65" y="246"/>
                  </a:cubicBezTo>
                  <a:cubicBezTo>
                    <a:pt x="101" y="246"/>
                    <a:pt x="130" y="217"/>
                    <a:pt x="130" y="181"/>
                  </a:cubicBezTo>
                  <a:cubicBezTo>
                    <a:pt x="130" y="65"/>
                    <a:pt x="130" y="65"/>
                    <a:pt x="130" y="65"/>
                  </a:cubicBezTo>
                  <a:cubicBezTo>
                    <a:pt x="130" y="29"/>
                    <a:pt x="101" y="0"/>
                    <a:pt x="6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28">
              <a:extLst>
                <a:ext uri="{FF2B5EF4-FFF2-40B4-BE49-F238E27FC236}">
                  <a16:creationId xmlns:a16="http://schemas.microsoft.com/office/drawing/2014/main" id="{0C95115F-8124-6EFD-1CF8-A76E1A940830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2714" y="2336800"/>
              <a:ext cx="484188" cy="328613"/>
            </a:xfrm>
            <a:custGeom>
              <a:avLst/>
              <a:gdLst>
                <a:gd name="T0" fmla="*/ 203 w 256"/>
                <a:gd name="T1" fmla="*/ 47 h 173"/>
                <a:gd name="T2" fmla="*/ 92 w 256"/>
                <a:gd name="T3" fmla="*/ 11 h 173"/>
                <a:gd name="T4" fmla="*/ 11 w 256"/>
                <a:gd name="T5" fmla="*/ 52 h 173"/>
                <a:gd name="T6" fmla="*/ 53 w 256"/>
                <a:gd name="T7" fmla="*/ 133 h 173"/>
                <a:gd name="T8" fmla="*/ 163 w 256"/>
                <a:gd name="T9" fmla="*/ 170 h 173"/>
                <a:gd name="T10" fmla="*/ 183 w 256"/>
                <a:gd name="T11" fmla="*/ 173 h 173"/>
                <a:gd name="T12" fmla="*/ 245 w 256"/>
                <a:gd name="T13" fmla="*/ 128 h 173"/>
                <a:gd name="T14" fmla="*/ 203 w 256"/>
                <a:gd name="T15" fmla="*/ 47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6" h="173">
                  <a:moveTo>
                    <a:pt x="203" y="47"/>
                  </a:moveTo>
                  <a:cubicBezTo>
                    <a:pt x="92" y="11"/>
                    <a:pt x="92" y="11"/>
                    <a:pt x="92" y="11"/>
                  </a:cubicBezTo>
                  <a:cubicBezTo>
                    <a:pt x="59" y="0"/>
                    <a:pt x="22" y="18"/>
                    <a:pt x="11" y="52"/>
                  </a:cubicBezTo>
                  <a:cubicBezTo>
                    <a:pt x="0" y="86"/>
                    <a:pt x="19" y="122"/>
                    <a:pt x="53" y="133"/>
                  </a:cubicBezTo>
                  <a:cubicBezTo>
                    <a:pt x="163" y="170"/>
                    <a:pt x="163" y="170"/>
                    <a:pt x="163" y="170"/>
                  </a:cubicBezTo>
                  <a:cubicBezTo>
                    <a:pt x="170" y="172"/>
                    <a:pt x="177" y="173"/>
                    <a:pt x="183" y="173"/>
                  </a:cubicBezTo>
                  <a:cubicBezTo>
                    <a:pt x="211" y="173"/>
                    <a:pt x="236" y="155"/>
                    <a:pt x="245" y="128"/>
                  </a:cubicBezTo>
                  <a:cubicBezTo>
                    <a:pt x="256" y="94"/>
                    <a:pt x="237" y="58"/>
                    <a:pt x="203" y="4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4" name="Shape5_20180718_204016">
            <a:extLst>
              <a:ext uri="{FF2B5EF4-FFF2-40B4-BE49-F238E27FC236}">
                <a16:creationId xmlns:a16="http://schemas.microsoft.com/office/drawing/2014/main" id="{D6855E8E-0D8D-F9A4-037C-B1512CB8C21A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6364372" y="2291406"/>
            <a:ext cx="415395" cy="415395"/>
            <a:chOff x="5712408" y="975680"/>
            <a:chExt cx="671729" cy="639391"/>
          </a:xfrm>
        </p:grpSpPr>
        <p:sp>
          <p:nvSpPr>
            <p:cNvPr id="35" name="Freeform 26">
              <a:extLst>
                <a:ext uri="{FF2B5EF4-FFF2-40B4-BE49-F238E27FC236}">
                  <a16:creationId xmlns:a16="http://schemas.microsoft.com/office/drawing/2014/main" id="{78C41561-EDF3-71EF-9B4A-D8831704527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12408" y="975680"/>
              <a:ext cx="671729" cy="639391"/>
            </a:xfrm>
            <a:custGeom>
              <a:avLst/>
              <a:gdLst>
                <a:gd name="T0" fmla="*/ 117 w 128"/>
                <a:gd name="T1" fmla="*/ 0 h 122"/>
                <a:gd name="T2" fmla="*/ 11 w 128"/>
                <a:gd name="T3" fmla="*/ 0 h 122"/>
                <a:gd name="T4" fmla="*/ 0 w 128"/>
                <a:gd name="T5" fmla="*/ 11 h 122"/>
                <a:gd name="T6" fmla="*/ 0 w 128"/>
                <a:gd name="T7" fmla="*/ 93 h 122"/>
                <a:gd name="T8" fmla="*/ 11 w 128"/>
                <a:gd name="T9" fmla="*/ 104 h 122"/>
                <a:gd name="T10" fmla="*/ 43 w 128"/>
                <a:gd name="T11" fmla="*/ 104 h 122"/>
                <a:gd name="T12" fmla="*/ 38 w 128"/>
                <a:gd name="T13" fmla="*/ 110 h 122"/>
                <a:gd name="T14" fmla="*/ 35 w 128"/>
                <a:gd name="T15" fmla="*/ 113 h 122"/>
                <a:gd name="T16" fmla="*/ 34 w 128"/>
                <a:gd name="T17" fmla="*/ 118 h 122"/>
                <a:gd name="T18" fmla="*/ 42 w 128"/>
                <a:gd name="T19" fmla="*/ 122 h 122"/>
                <a:gd name="T20" fmla="*/ 86 w 128"/>
                <a:gd name="T21" fmla="*/ 122 h 122"/>
                <a:gd name="T22" fmla="*/ 94 w 128"/>
                <a:gd name="T23" fmla="*/ 118 h 122"/>
                <a:gd name="T24" fmla="*/ 94 w 128"/>
                <a:gd name="T25" fmla="*/ 113 h 122"/>
                <a:gd name="T26" fmla="*/ 91 w 128"/>
                <a:gd name="T27" fmla="*/ 110 h 122"/>
                <a:gd name="T28" fmla="*/ 85 w 128"/>
                <a:gd name="T29" fmla="*/ 104 h 122"/>
                <a:gd name="T30" fmla="*/ 117 w 128"/>
                <a:gd name="T31" fmla="*/ 104 h 122"/>
                <a:gd name="T32" fmla="*/ 128 w 128"/>
                <a:gd name="T33" fmla="*/ 93 h 122"/>
                <a:gd name="T34" fmla="*/ 128 w 128"/>
                <a:gd name="T35" fmla="*/ 11 h 122"/>
                <a:gd name="T36" fmla="*/ 117 w 128"/>
                <a:gd name="T37" fmla="*/ 0 h 122"/>
                <a:gd name="T38" fmla="*/ 88 w 128"/>
                <a:gd name="T39" fmla="*/ 113 h 122"/>
                <a:gd name="T40" fmla="*/ 90 w 128"/>
                <a:gd name="T41" fmla="*/ 116 h 122"/>
                <a:gd name="T42" fmla="*/ 90 w 128"/>
                <a:gd name="T43" fmla="*/ 116 h 122"/>
                <a:gd name="T44" fmla="*/ 86 w 128"/>
                <a:gd name="T45" fmla="*/ 118 h 122"/>
                <a:gd name="T46" fmla="*/ 42 w 128"/>
                <a:gd name="T47" fmla="*/ 118 h 122"/>
                <a:gd name="T48" fmla="*/ 38 w 128"/>
                <a:gd name="T49" fmla="*/ 116 h 122"/>
                <a:gd name="T50" fmla="*/ 38 w 128"/>
                <a:gd name="T51" fmla="*/ 116 h 122"/>
                <a:gd name="T52" fmla="*/ 38 w 128"/>
                <a:gd name="T53" fmla="*/ 116 h 122"/>
                <a:gd name="T54" fmla="*/ 40 w 128"/>
                <a:gd name="T55" fmla="*/ 113 h 122"/>
                <a:gd name="T56" fmla="*/ 48 w 128"/>
                <a:gd name="T57" fmla="*/ 104 h 122"/>
                <a:gd name="T58" fmla="*/ 80 w 128"/>
                <a:gd name="T59" fmla="*/ 104 h 122"/>
                <a:gd name="T60" fmla="*/ 88 w 128"/>
                <a:gd name="T61" fmla="*/ 113 h 122"/>
                <a:gd name="T62" fmla="*/ 120 w 128"/>
                <a:gd name="T63" fmla="*/ 93 h 122"/>
                <a:gd name="T64" fmla="*/ 117 w 128"/>
                <a:gd name="T65" fmla="*/ 96 h 122"/>
                <a:gd name="T66" fmla="*/ 11 w 128"/>
                <a:gd name="T67" fmla="*/ 96 h 122"/>
                <a:gd name="T68" fmla="*/ 8 w 128"/>
                <a:gd name="T69" fmla="*/ 93 h 122"/>
                <a:gd name="T70" fmla="*/ 8 w 128"/>
                <a:gd name="T71" fmla="*/ 11 h 122"/>
                <a:gd name="T72" fmla="*/ 11 w 128"/>
                <a:gd name="T73" fmla="*/ 8 h 122"/>
                <a:gd name="T74" fmla="*/ 117 w 128"/>
                <a:gd name="T75" fmla="*/ 8 h 122"/>
                <a:gd name="T76" fmla="*/ 120 w 128"/>
                <a:gd name="T77" fmla="*/ 11 h 122"/>
                <a:gd name="T78" fmla="*/ 120 w 128"/>
                <a:gd name="T79" fmla="*/ 93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8" h="122">
                  <a:moveTo>
                    <a:pt x="117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99"/>
                    <a:pt x="5" y="104"/>
                    <a:pt x="11" y="104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42" y="106"/>
                    <a:pt x="39" y="109"/>
                    <a:pt x="38" y="110"/>
                  </a:cubicBezTo>
                  <a:cubicBezTo>
                    <a:pt x="36" y="111"/>
                    <a:pt x="35" y="112"/>
                    <a:pt x="35" y="113"/>
                  </a:cubicBezTo>
                  <a:cubicBezTo>
                    <a:pt x="34" y="114"/>
                    <a:pt x="33" y="116"/>
                    <a:pt x="34" y="118"/>
                  </a:cubicBezTo>
                  <a:cubicBezTo>
                    <a:pt x="35" y="120"/>
                    <a:pt x="37" y="122"/>
                    <a:pt x="42" y="122"/>
                  </a:cubicBezTo>
                  <a:cubicBezTo>
                    <a:pt x="86" y="122"/>
                    <a:pt x="86" y="122"/>
                    <a:pt x="86" y="122"/>
                  </a:cubicBezTo>
                  <a:cubicBezTo>
                    <a:pt x="91" y="122"/>
                    <a:pt x="93" y="120"/>
                    <a:pt x="94" y="118"/>
                  </a:cubicBezTo>
                  <a:cubicBezTo>
                    <a:pt x="95" y="116"/>
                    <a:pt x="95" y="114"/>
                    <a:pt x="94" y="113"/>
                  </a:cubicBezTo>
                  <a:cubicBezTo>
                    <a:pt x="93" y="112"/>
                    <a:pt x="92" y="111"/>
                    <a:pt x="91" y="110"/>
                  </a:cubicBezTo>
                  <a:cubicBezTo>
                    <a:pt x="89" y="109"/>
                    <a:pt x="87" y="106"/>
                    <a:pt x="85" y="104"/>
                  </a:cubicBezTo>
                  <a:cubicBezTo>
                    <a:pt x="117" y="104"/>
                    <a:pt x="117" y="104"/>
                    <a:pt x="117" y="104"/>
                  </a:cubicBezTo>
                  <a:cubicBezTo>
                    <a:pt x="123" y="104"/>
                    <a:pt x="128" y="99"/>
                    <a:pt x="128" y="93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28" y="5"/>
                    <a:pt x="123" y="0"/>
                    <a:pt x="117" y="0"/>
                  </a:cubicBezTo>
                  <a:close/>
                  <a:moveTo>
                    <a:pt x="88" y="113"/>
                  </a:moveTo>
                  <a:cubicBezTo>
                    <a:pt x="89" y="114"/>
                    <a:pt x="90" y="115"/>
                    <a:pt x="90" y="116"/>
                  </a:cubicBezTo>
                  <a:cubicBezTo>
                    <a:pt x="90" y="116"/>
                    <a:pt x="91" y="116"/>
                    <a:pt x="90" y="116"/>
                  </a:cubicBezTo>
                  <a:cubicBezTo>
                    <a:pt x="90" y="117"/>
                    <a:pt x="88" y="118"/>
                    <a:pt x="86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0" y="118"/>
                    <a:pt x="38" y="117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5"/>
                    <a:pt x="39" y="114"/>
                    <a:pt x="40" y="113"/>
                  </a:cubicBezTo>
                  <a:cubicBezTo>
                    <a:pt x="44" y="109"/>
                    <a:pt x="47" y="106"/>
                    <a:pt x="48" y="104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82" y="106"/>
                    <a:pt x="84" y="109"/>
                    <a:pt x="88" y="113"/>
                  </a:cubicBezTo>
                  <a:close/>
                  <a:moveTo>
                    <a:pt x="120" y="93"/>
                  </a:moveTo>
                  <a:cubicBezTo>
                    <a:pt x="120" y="95"/>
                    <a:pt x="119" y="96"/>
                    <a:pt x="117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9" y="96"/>
                    <a:pt x="8" y="95"/>
                    <a:pt x="8" y="93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9"/>
                    <a:pt x="9" y="8"/>
                    <a:pt x="11" y="8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9" y="8"/>
                    <a:pt x="120" y="9"/>
                    <a:pt x="120" y="11"/>
                  </a:cubicBezTo>
                  <a:lnTo>
                    <a:pt x="120" y="9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36" name="Freeform 27">
              <a:extLst>
                <a:ext uri="{FF2B5EF4-FFF2-40B4-BE49-F238E27FC236}">
                  <a16:creationId xmlns:a16="http://schemas.microsoft.com/office/drawing/2014/main" id="{848B075A-CBFE-AEBE-218F-25319A29E9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96917" y="1058042"/>
              <a:ext cx="502713" cy="338119"/>
            </a:xfrm>
            <a:custGeom>
              <a:avLst/>
              <a:gdLst>
                <a:gd name="T0" fmla="*/ 89 w 96"/>
                <a:gd name="T1" fmla="*/ 0 h 64"/>
                <a:gd name="T2" fmla="*/ 7 w 96"/>
                <a:gd name="T3" fmla="*/ 0 h 64"/>
                <a:gd name="T4" fmla="*/ 0 w 96"/>
                <a:gd name="T5" fmla="*/ 7 h 64"/>
                <a:gd name="T6" fmla="*/ 0 w 96"/>
                <a:gd name="T7" fmla="*/ 57 h 64"/>
                <a:gd name="T8" fmla="*/ 7 w 96"/>
                <a:gd name="T9" fmla="*/ 64 h 64"/>
                <a:gd name="T10" fmla="*/ 89 w 96"/>
                <a:gd name="T11" fmla="*/ 64 h 64"/>
                <a:gd name="T12" fmla="*/ 96 w 96"/>
                <a:gd name="T13" fmla="*/ 57 h 64"/>
                <a:gd name="T14" fmla="*/ 96 w 96"/>
                <a:gd name="T15" fmla="*/ 7 h 64"/>
                <a:gd name="T16" fmla="*/ 89 w 96"/>
                <a:gd name="T17" fmla="*/ 0 h 64"/>
                <a:gd name="T18" fmla="*/ 92 w 96"/>
                <a:gd name="T19" fmla="*/ 57 h 64"/>
                <a:gd name="T20" fmla="*/ 89 w 96"/>
                <a:gd name="T21" fmla="*/ 60 h 64"/>
                <a:gd name="T22" fmla="*/ 7 w 96"/>
                <a:gd name="T23" fmla="*/ 60 h 64"/>
                <a:gd name="T24" fmla="*/ 4 w 96"/>
                <a:gd name="T25" fmla="*/ 57 h 64"/>
                <a:gd name="T26" fmla="*/ 4 w 96"/>
                <a:gd name="T27" fmla="*/ 7 h 64"/>
                <a:gd name="T28" fmla="*/ 7 w 96"/>
                <a:gd name="T29" fmla="*/ 4 h 64"/>
                <a:gd name="T30" fmla="*/ 89 w 96"/>
                <a:gd name="T31" fmla="*/ 4 h 64"/>
                <a:gd name="T32" fmla="*/ 92 w 96"/>
                <a:gd name="T33" fmla="*/ 7 h 64"/>
                <a:gd name="T34" fmla="*/ 92 w 96"/>
                <a:gd name="T35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6" h="64">
                  <a:moveTo>
                    <a:pt x="89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1"/>
                    <a:pt x="3" y="64"/>
                    <a:pt x="7" y="64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93" y="64"/>
                    <a:pt x="96" y="61"/>
                    <a:pt x="96" y="5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3"/>
                    <a:pt x="93" y="0"/>
                    <a:pt x="89" y="0"/>
                  </a:cubicBezTo>
                  <a:close/>
                  <a:moveTo>
                    <a:pt x="92" y="57"/>
                  </a:moveTo>
                  <a:cubicBezTo>
                    <a:pt x="92" y="59"/>
                    <a:pt x="91" y="60"/>
                    <a:pt x="89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5" y="60"/>
                    <a:pt x="4" y="59"/>
                    <a:pt x="4" y="5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5" y="4"/>
                    <a:pt x="7" y="4"/>
                  </a:cubicBezTo>
                  <a:cubicBezTo>
                    <a:pt x="89" y="4"/>
                    <a:pt x="89" y="4"/>
                    <a:pt x="89" y="4"/>
                  </a:cubicBezTo>
                  <a:cubicBezTo>
                    <a:pt x="91" y="4"/>
                    <a:pt x="92" y="5"/>
                    <a:pt x="92" y="7"/>
                  </a:cubicBezTo>
                  <a:lnTo>
                    <a:pt x="92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37" name="Freeform 28">
              <a:extLst>
                <a:ext uri="{FF2B5EF4-FFF2-40B4-BE49-F238E27FC236}">
                  <a16:creationId xmlns:a16="http://schemas.microsoft.com/office/drawing/2014/main" id="{26E89681-9633-6339-826D-FF1131F88E0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17937" y="1404831"/>
              <a:ext cx="62840" cy="65023"/>
            </a:xfrm>
            <a:custGeom>
              <a:avLst/>
              <a:gdLst>
                <a:gd name="T0" fmla="*/ 6 w 12"/>
                <a:gd name="T1" fmla="*/ 0 h 12"/>
                <a:gd name="T2" fmla="*/ 0 w 12"/>
                <a:gd name="T3" fmla="*/ 6 h 12"/>
                <a:gd name="T4" fmla="*/ 6 w 12"/>
                <a:gd name="T5" fmla="*/ 12 h 12"/>
                <a:gd name="T6" fmla="*/ 12 w 12"/>
                <a:gd name="T7" fmla="*/ 6 h 12"/>
                <a:gd name="T8" fmla="*/ 6 w 12"/>
                <a:gd name="T9" fmla="*/ 0 h 12"/>
                <a:gd name="T10" fmla="*/ 6 w 12"/>
                <a:gd name="T11" fmla="*/ 8 h 12"/>
                <a:gd name="T12" fmla="*/ 4 w 12"/>
                <a:gd name="T13" fmla="*/ 6 h 12"/>
                <a:gd name="T14" fmla="*/ 6 w 12"/>
                <a:gd name="T15" fmla="*/ 4 h 12"/>
                <a:gd name="T16" fmla="*/ 8 w 12"/>
                <a:gd name="T17" fmla="*/ 6 h 12"/>
                <a:gd name="T18" fmla="*/ 6 w 12"/>
                <a:gd name="T1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9" y="12"/>
                    <a:pt x="12" y="9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lose/>
                  <a:moveTo>
                    <a:pt x="6" y="8"/>
                  </a:moveTo>
                  <a:cubicBezTo>
                    <a:pt x="5" y="8"/>
                    <a:pt x="4" y="7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7" y="4"/>
                    <a:pt x="8" y="5"/>
                    <a:pt x="8" y="6"/>
                  </a:cubicBezTo>
                  <a:cubicBezTo>
                    <a:pt x="8" y="7"/>
                    <a:pt x="7" y="8"/>
                    <a:pt x="6" y="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38" name="Freeform 29">
              <a:extLst>
                <a:ext uri="{FF2B5EF4-FFF2-40B4-BE49-F238E27FC236}">
                  <a16:creationId xmlns:a16="http://schemas.microsoft.com/office/drawing/2014/main" id="{E1EE821B-FDFA-927E-2C65-1C096991EFD5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3429" y="1190255"/>
              <a:ext cx="84509" cy="88864"/>
            </a:xfrm>
            <a:custGeom>
              <a:avLst/>
              <a:gdLst>
                <a:gd name="T0" fmla="*/ 0 w 39"/>
                <a:gd name="T1" fmla="*/ 24 h 41"/>
                <a:gd name="T2" fmla="*/ 39 w 39"/>
                <a:gd name="T3" fmla="*/ 41 h 41"/>
                <a:gd name="T4" fmla="*/ 39 w 39"/>
                <a:gd name="T5" fmla="*/ 32 h 41"/>
                <a:gd name="T6" fmla="*/ 12 w 39"/>
                <a:gd name="T7" fmla="*/ 19 h 41"/>
                <a:gd name="T8" fmla="*/ 39 w 39"/>
                <a:gd name="T9" fmla="*/ 10 h 41"/>
                <a:gd name="T10" fmla="*/ 39 w 39"/>
                <a:gd name="T11" fmla="*/ 0 h 41"/>
                <a:gd name="T12" fmla="*/ 0 w 39"/>
                <a:gd name="T13" fmla="*/ 17 h 41"/>
                <a:gd name="T14" fmla="*/ 0 w 39"/>
                <a:gd name="T15" fmla="*/ 2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41">
                  <a:moveTo>
                    <a:pt x="0" y="24"/>
                  </a:moveTo>
                  <a:lnTo>
                    <a:pt x="39" y="41"/>
                  </a:lnTo>
                  <a:lnTo>
                    <a:pt x="39" y="32"/>
                  </a:lnTo>
                  <a:lnTo>
                    <a:pt x="12" y="19"/>
                  </a:lnTo>
                  <a:lnTo>
                    <a:pt x="39" y="10"/>
                  </a:lnTo>
                  <a:lnTo>
                    <a:pt x="39" y="0"/>
                  </a:lnTo>
                  <a:lnTo>
                    <a:pt x="0" y="17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39" name="Freeform 30">
              <a:extLst>
                <a:ext uri="{FF2B5EF4-FFF2-40B4-BE49-F238E27FC236}">
                  <a16:creationId xmlns:a16="http://schemas.microsoft.com/office/drawing/2014/main" id="{BEC26C55-ED9B-35F6-FA34-17233E290037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6605" y="1175084"/>
              <a:ext cx="43337" cy="119208"/>
            </a:xfrm>
            <a:custGeom>
              <a:avLst/>
              <a:gdLst>
                <a:gd name="T0" fmla="*/ 7 w 8"/>
                <a:gd name="T1" fmla="*/ 0 h 23"/>
                <a:gd name="T2" fmla="*/ 5 w 8"/>
                <a:gd name="T3" fmla="*/ 0 h 23"/>
                <a:gd name="T4" fmla="*/ 5 w 8"/>
                <a:gd name="T5" fmla="*/ 2 h 23"/>
                <a:gd name="T6" fmla="*/ 0 w 8"/>
                <a:gd name="T7" fmla="*/ 20 h 23"/>
                <a:gd name="T8" fmla="*/ 0 w 8"/>
                <a:gd name="T9" fmla="*/ 22 h 23"/>
                <a:gd name="T10" fmla="*/ 2 w 8"/>
                <a:gd name="T11" fmla="*/ 23 h 23"/>
                <a:gd name="T12" fmla="*/ 3 w 8"/>
                <a:gd name="T13" fmla="*/ 23 h 23"/>
                <a:gd name="T14" fmla="*/ 3 w 8"/>
                <a:gd name="T15" fmla="*/ 22 h 23"/>
                <a:gd name="T16" fmla="*/ 4 w 8"/>
                <a:gd name="T17" fmla="*/ 21 h 23"/>
                <a:gd name="T18" fmla="*/ 8 w 8"/>
                <a:gd name="T19" fmla="*/ 3 h 23"/>
                <a:gd name="T20" fmla="*/ 8 w 8"/>
                <a:gd name="T21" fmla="*/ 1 h 23"/>
                <a:gd name="T22" fmla="*/ 8 w 8"/>
                <a:gd name="T23" fmla="*/ 0 h 23"/>
                <a:gd name="T24" fmla="*/ 7 w 8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3">
                  <a:moveTo>
                    <a:pt x="7" y="0"/>
                  </a:move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1"/>
                    <a:pt x="5" y="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0" y="23"/>
                    <a:pt x="1" y="23"/>
                    <a:pt x="2" y="23"/>
                  </a:cubicBezTo>
                  <a:cubicBezTo>
                    <a:pt x="2" y="23"/>
                    <a:pt x="2" y="23"/>
                    <a:pt x="3" y="23"/>
                  </a:cubicBezTo>
                  <a:cubicBezTo>
                    <a:pt x="3" y="23"/>
                    <a:pt x="3" y="22"/>
                    <a:pt x="3" y="22"/>
                  </a:cubicBezTo>
                  <a:cubicBezTo>
                    <a:pt x="3" y="22"/>
                    <a:pt x="3" y="21"/>
                    <a:pt x="4" y="2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40" name="Freeform 31">
              <a:extLst>
                <a:ext uri="{FF2B5EF4-FFF2-40B4-BE49-F238E27FC236}">
                  <a16:creationId xmlns:a16="http://schemas.microsoft.com/office/drawing/2014/main" id="{EC9C19C9-24B3-1B60-B99D-A685B8B12A45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0776" y="1190255"/>
              <a:ext cx="82341" cy="88864"/>
            </a:xfrm>
            <a:custGeom>
              <a:avLst/>
              <a:gdLst>
                <a:gd name="T0" fmla="*/ 0 w 38"/>
                <a:gd name="T1" fmla="*/ 10 h 41"/>
                <a:gd name="T2" fmla="*/ 26 w 38"/>
                <a:gd name="T3" fmla="*/ 19 h 41"/>
                <a:gd name="T4" fmla="*/ 0 w 38"/>
                <a:gd name="T5" fmla="*/ 32 h 41"/>
                <a:gd name="T6" fmla="*/ 0 w 38"/>
                <a:gd name="T7" fmla="*/ 41 h 41"/>
                <a:gd name="T8" fmla="*/ 38 w 38"/>
                <a:gd name="T9" fmla="*/ 24 h 41"/>
                <a:gd name="T10" fmla="*/ 38 w 38"/>
                <a:gd name="T11" fmla="*/ 17 h 41"/>
                <a:gd name="T12" fmla="*/ 0 w 38"/>
                <a:gd name="T13" fmla="*/ 0 h 41"/>
                <a:gd name="T14" fmla="*/ 0 w 38"/>
                <a:gd name="T15" fmla="*/ 1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41">
                  <a:moveTo>
                    <a:pt x="0" y="10"/>
                  </a:moveTo>
                  <a:lnTo>
                    <a:pt x="26" y="19"/>
                  </a:lnTo>
                  <a:lnTo>
                    <a:pt x="0" y="32"/>
                  </a:lnTo>
                  <a:lnTo>
                    <a:pt x="0" y="41"/>
                  </a:lnTo>
                  <a:lnTo>
                    <a:pt x="38" y="24"/>
                  </a:lnTo>
                  <a:lnTo>
                    <a:pt x="38" y="17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</p:grpSp>
      <p:sp>
        <p:nvSpPr>
          <p:cNvPr id="41" name="Shape6_20180718_204016">
            <a:extLst>
              <a:ext uri="{FF2B5EF4-FFF2-40B4-BE49-F238E27FC236}">
                <a16:creationId xmlns:a16="http://schemas.microsoft.com/office/drawing/2014/main" id="{C508B4C1-2569-EDE8-4A4E-E783798B24D6}"/>
              </a:ext>
            </a:extLst>
          </p:cNvPr>
          <p:cNvSpPr>
            <a:spLocks noChangeAspect="1" noEditPoints="1"/>
          </p:cNvSpPr>
          <p:nvPr>
            <p:custDataLst>
              <p:tags r:id="rId5"/>
            </p:custDataLst>
          </p:nvPr>
        </p:nvSpPr>
        <p:spPr bwMode="auto">
          <a:xfrm>
            <a:off x="5141732" y="2223112"/>
            <a:ext cx="415395" cy="415395"/>
          </a:xfrm>
          <a:custGeom>
            <a:avLst/>
            <a:gdLst>
              <a:gd name="T0" fmla="*/ 232 w 256"/>
              <a:gd name="T1" fmla="*/ 84 h 227"/>
              <a:gd name="T2" fmla="*/ 172 w 256"/>
              <a:gd name="T3" fmla="*/ 44 h 227"/>
              <a:gd name="T4" fmla="*/ 120 w 256"/>
              <a:gd name="T5" fmla="*/ 48 h 227"/>
              <a:gd name="T6" fmla="*/ 64 w 256"/>
              <a:gd name="T7" fmla="*/ 107 h 227"/>
              <a:gd name="T8" fmla="*/ 0 w 256"/>
              <a:gd name="T9" fmla="*/ 131 h 227"/>
              <a:gd name="T10" fmla="*/ 32 w 256"/>
              <a:gd name="T11" fmla="*/ 227 h 227"/>
              <a:gd name="T12" fmla="*/ 87 w 256"/>
              <a:gd name="T13" fmla="*/ 212 h 227"/>
              <a:gd name="T14" fmla="*/ 103 w 256"/>
              <a:gd name="T15" fmla="*/ 219 h 227"/>
              <a:gd name="T16" fmla="*/ 232 w 256"/>
              <a:gd name="T17" fmla="*/ 197 h 227"/>
              <a:gd name="T18" fmla="*/ 240 w 256"/>
              <a:gd name="T19" fmla="*/ 169 h 227"/>
              <a:gd name="T20" fmla="*/ 248 w 256"/>
              <a:gd name="T21" fmla="*/ 140 h 227"/>
              <a:gd name="T22" fmla="*/ 256 w 256"/>
              <a:gd name="T23" fmla="*/ 108 h 227"/>
              <a:gd name="T24" fmla="*/ 32 w 256"/>
              <a:gd name="T25" fmla="*/ 211 h 227"/>
              <a:gd name="T26" fmla="*/ 16 w 256"/>
              <a:gd name="T27" fmla="*/ 131 h 227"/>
              <a:gd name="T28" fmla="*/ 64 w 256"/>
              <a:gd name="T29" fmla="*/ 123 h 227"/>
              <a:gd name="T30" fmla="*/ 72 w 256"/>
              <a:gd name="T31" fmla="*/ 198 h 227"/>
              <a:gd name="T32" fmla="*/ 72 w 256"/>
              <a:gd name="T33" fmla="*/ 203 h 227"/>
              <a:gd name="T34" fmla="*/ 210 w 256"/>
              <a:gd name="T35" fmla="*/ 203 h 227"/>
              <a:gd name="T36" fmla="*/ 88 w 256"/>
              <a:gd name="T37" fmla="*/ 194 h 227"/>
              <a:gd name="T38" fmla="*/ 86 w 256"/>
              <a:gd name="T39" fmla="*/ 121 h 227"/>
              <a:gd name="T40" fmla="*/ 140 w 256"/>
              <a:gd name="T41" fmla="*/ 16 h 227"/>
              <a:gd name="T42" fmla="*/ 152 w 256"/>
              <a:gd name="T43" fmla="*/ 90 h 227"/>
              <a:gd name="T44" fmla="*/ 160 w 256"/>
              <a:gd name="T45" fmla="*/ 100 h 227"/>
              <a:gd name="T46" fmla="*/ 240 w 256"/>
              <a:gd name="T47" fmla="*/ 108 h 227"/>
              <a:gd name="T48" fmla="*/ 223 w 256"/>
              <a:gd name="T49" fmla="*/ 116 h 227"/>
              <a:gd name="T50" fmla="*/ 223 w 256"/>
              <a:gd name="T51" fmla="*/ 132 h 227"/>
              <a:gd name="T52" fmla="*/ 224 w 256"/>
              <a:gd name="T53" fmla="*/ 132 h 227"/>
              <a:gd name="T54" fmla="*/ 224 w 256"/>
              <a:gd name="T55" fmla="*/ 148 h 227"/>
              <a:gd name="T56" fmla="*/ 218 w 256"/>
              <a:gd name="T57" fmla="*/ 147 h 227"/>
              <a:gd name="T58" fmla="*/ 215 w 256"/>
              <a:gd name="T59" fmla="*/ 148 h 227"/>
              <a:gd name="T60" fmla="*/ 215 w 256"/>
              <a:gd name="T61" fmla="*/ 164 h 227"/>
              <a:gd name="T62" fmla="*/ 224 w 256"/>
              <a:gd name="T63" fmla="*/ 169 h 227"/>
              <a:gd name="T64" fmla="*/ 210 w 256"/>
              <a:gd name="T65" fmla="*/ 175 h 227"/>
              <a:gd name="T66" fmla="*/ 210 w 256"/>
              <a:gd name="T67" fmla="*/ 175 h 227"/>
              <a:gd name="T68" fmla="*/ 210 w 256"/>
              <a:gd name="T69" fmla="*/ 191 h 227"/>
              <a:gd name="T70" fmla="*/ 210 w 256"/>
              <a:gd name="T71" fmla="*/ 203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56" h="227">
                <a:moveTo>
                  <a:pt x="256" y="108"/>
                </a:moveTo>
                <a:cubicBezTo>
                  <a:pt x="256" y="94"/>
                  <a:pt x="245" y="84"/>
                  <a:pt x="232" y="84"/>
                </a:cubicBezTo>
                <a:cubicBezTo>
                  <a:pt x="169" y="84"/>
                  <a:pt x="169" y="84"/>
                  <a:pt x="169" y="84"/>
                </a:cubicBezTo>
                <a:cubicBezTo>
                  <a:pt x="171" y="74"/>
                  <a:pt x="172" y="59"/>
                  <a:pt x="172" y="44"/>
                </a:cubicBezTo>
                <a:cubicBezTo>
                  <a:pt x="172" y="13"/>
                  <a:pt x="156" y="0"/>
                  <a:pt x="140" y="0"/>
                </a:cubicBezTo>
                <a:cubicBezTo>
                  <a:pt x="120" y="0"/>
                  <a:pt x="120" y="21"/>
                  <a:pt x="120" y="48"/>
                </a:cubicBezTo>
                <a:cubicBezTo>
                  <a:pt x="120" y="67"/>
                  <a:pt x="90" y="97"/>
                  <a:pt x="75" y="110"/>
                </a:cubicBezTo>
                <a:cubicBezTo>
                  <a:pt x="71" y="108"/>
                  <a:pt x="68" y="107"/>
                  <a:pt x="64" y="107"/>
                </a:cubicBezTo>
                <a:cubicBezTo>
                  <a:pt x="24" y="107"/>
                  <a:pt x="24" y="107"/>
                  <a:pt x="24" y="107"/>
                </a:cubicBezTo>
                <a:cubicBezTo>
                  <a:pt x="11" y="107"/>
                  <a:pt x="0" y="118"/>
                  <a:pt x="0" y="131"/>
                </a:cubicBezTo>
                <a:cubicBezTo>
                  <a:pt x="8" y="203"/>
                  <a:pt x="8" y="203"/>
                  <a:pt x="8" y="203"/>
                </a:cubicBezTo>
                <a:cubicBezTo>
                  <a:pt x="10" y="216"/>
                  <a:pt x="19" y="227"/>
                  <a:pt x="32" y="227"/>
                </a:cubicBezTo>
                <a:cubicBezTo>
                  <a:pt x="64" y="227"/>
                  <a:pt x="64" y="227"/>
                  <a:pt x="64" y="227"/>
                </a:cubicBezTo>
                <a:cubicBezTo>
                  <a:pt x="74" y="227"/>
                  <a:pt x="83" y="221"/>
                  <a:pt x="87" y="212"/>
                </a:cubicBezTo>
                <a:cubicBezTo>
                  <a:pt x="100" y="219"/>
                  <a:pt x="100" y="219"/>
                  <a:pt x="100" y="219"/>
                </a:cubicBezTo>
                <a:cubicBezTo>
                  <a:pt x="101" y="219"/>
                  <a:pt x="102" y="219"/>
                  <a:pt x="103" y="219"/>
                </a:cubicBezTo>
                <a:cubicBezTo>
                  <a:pt x="210" y="219"/>
                  <a:pt x="210" y="219"/>
                  <a:pt x="210" y="219"/>
                </a:cubicBezTo>
                <a:cubicBezTo>
                  <a:pt x="222" y="219"/>
                  <a:pt x="232" y="210"/>
                  <a:pt x="232" y="197"/>
                </a:cubicBezTo>
                <a:cubicBezTo>
                  <a:pt x="232" y="194"/>
                  <a:pt x="231" y="191"/>
                  <a:pt x="230" y="188"/>
                </a:cubicBezTo>
                <a:cubicBezTo>
                  <a:pt x="236" y="184"/>
                  <a:pt x="240" y="177"/>
                  <a:pt x="240" y="169"/>
                </a:cubicBezTo>
                <a:cubicBezTo>
                  <a:pt x="240" y="166"/>
                  <a:pt x="239" y="162"/>
                  <a:pt x="238" y="159"/>
                </a:cubicBezTo>
                <a:cubicBezTo>
                  <a:pt x="244" y="155"/>
                  <a:pt x="248" y="148"/>
                  <a:pt x="248" y="140"/>
                </a:cubicBezTo>
                <a:cubicBezTo>
                  <a:pt x="248" y="135"/>
                  <a:pt x="247" y="131"/>
                  <a:pt x="245" y="128"/>
                </a:cubicBezTo>
                <a:cubicBezTo>
                  <a:pt x="252" y="123"/>
                  <a:pt x="256" y="116"/>
                  <a:pt x="256" y="108"/>
                </a:cubicBezTo>
                <a:close/>
                <a:moveTo>
                  <a:pt x="64" y="211"/>
                </a:moveTo>
                <a:cubicBezTo>
                  <a:pt x="32" y="211"/>
                  <a:pt x="32" y="211"/>
                  <a:pt x="32" y="211"/>
                </a:cubicBezTo>
                <a:cubicBezTo>
                  <a:pt x="28" y="211"/>
                  <a:pt x="25" y="206"/>
                  <a:pt x="24" y="202"/>
                </a:cubicBezTo>
                <a:cubicBezTo>
                  <a:pt x="16" y="131"/>
                  <a:pt x="16" y="131"/>
                  <a:pt x="16" y="131"/>
                </a:cubicBezTo>
                <a:cubicBezTo>
                  <a:pt x="17" y="127"/>
                  <a:pt x="20" y="123"/>
                  <a:pt x="24" y="123"/>
                </a:cubicBezTo>
                <a:cubicBezTo>
                  <a:pt x="64" y="123"/>
                  <a:pt x="64" y="123"/>
                  <a:pt x="64" y="123"/>
                </a:cubicBezTo>
                <a:cubicBezTo>
                  <a:pt x="69" y="123"/>
                  <a:pt x="72" y="127"/>
                  <a:pt x="72" y="131"/>
                </a:cubicBezTo>
                <a:cubicBezTo>
                  <a:pt x="72" y="198"/>
                  <a:pt x="72" y="198"/>
                  <a:pt x="72" y="198"/>
                </a:cubicBezTo>
                <a:cubicBezTo>
                  <a:pt x="72" y="199"/>
                  <a:pt x="72" y="200"/>
                  <a:pt x="72" y="201"/>
                </a:cubicBezTo>
                <a:cubicBezTo>
                  <a:pt x="72" y="203"/>
                  <a:pt x="72" y="203"/>
                  <a:pt x="72" y="203"/>
                </a:cubicBezTo>
                <a:cubicBezTo>
                  <a:pt x="72" y="208"/>
                  <a:pt x="69" y="211"/>
                  <a:pt x="64" y="211"/>
                </a:cubicBezTo>
                <a:close/>
                <a:moveTo>
                  <a:pt x="210" y="203"/>
                </a:moveTo>
                <a:cubicBezTo>
                  <a:pt x="105" y="203"/>
                  <a:pt x="105" y="203"/>
                  <a:pt x="105" y="203"/>
                </a:cubicBezTo>
                <a:cubicBezTo>
                  <a:pt x="88" y="194"/>
                  <a:pt x="88" y="194"/>
                  <a:pt x="88" y="194"/>
                </a:cubicBezTo>
                <a:cubicBezTo>
                  <a:pt x="88" y="131"/>
                  <a:pt x="88" y="131"/>
                  <a:pt x="88" y="131"/>
                </a:cubicBezTo>
                <a:cubicBezTo>
                  <a:pt x="88" y="128"/>
                  <a:pt x="87" y="124"/>
                  <a:pt x="86" y="121"/>
                </a:cubicBezTo>
                <a:cubicBezTo>
                  <a:pt x="100" y="109"/>
                  <a:pt x="136" y="75"/>
                  <a:pt x="136" y="48"/>
                </a:cubicBezTo>
                <a:cubicBezTo>
                  <a:pt x="136" y="31"/>
                  <a:pt x="136" y="16"/>
                  <a:pt x="140" y="16"/>
                </a:cubicBezTo>
                <a:cubicBezTo>
                  <a:pt x="148" y="16"/>
                  <a:pt x="156" y="25"/>
                  <a:pt x="156" y="44"/>
                </a:cubicBezTo>
                <a:cubicBezTo>
                  <a:pt x="156" y="67"/>
                  <a:pt x="152" y="90"/>
                  <a:pt x="152" y="90"/>
                </a:cubicBezTo>
                <a:cubicBezTo>
                  <a:pt x="152" y="93"/>
                  <a:pt x="153" y="95"/>
                  <a:pt x="154" y="97"/>
                </a:cubicBezTo>
                <a:cubicBezTo>
                  <a:pt x="156" y="98"/>
                  <a:pt x="158" y="100"/>
                  <a:pt x="160" y="100"/>
                </a:cubicBezTo>
                <a:cubicBezTo>
                  <a:pt x="232" y="100"/>
                  <a:pt x="232" y="100"/>
                  <a:pt x="232" y="100"/>
                </a:cubicBezTo>
                <a:cubicBezTo>
                  <a:pt x="237" y="100"/>
                  <a:pt x="240" y="103"/>
                  <a:pt x="240" y="108"/>
                </a:cubicBezTo>
                <a:cubicBezTo>
                  <a:pt x="240" y="112"/>
                  <a:pt x="237" y="116"/>
                  <a:pt x="232" y="116"/>
                </a:cubicBezTo>
                <a:cubicBezTo>
                  <a:pt x="223" y="116"/>
                  <a:pt x="223" y="116"/>
                  <a:pt x="223" y="116"/>
                </a:cubicBezTo>
                <a:cubicBezTo>
                  <a:pt x="219" y="116"/>
                  <a:pt x="215" y="119"/>
                  <a:pt x="215" y="124"/>
                </a:cubicBezTo>
                <a:cubicBezTo>
                  <a:pt x="215" y="128"/>
                  <a:pt x="219" y="132"/>
                  <a:pt x="223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9" y="132"/>
                  <a:pt x="232" y="135"/>
                  <a:pt x="232" y="140"/>
                </a:cubicBezTo>
                <a:cubicBezTo>
                  <a:pt x="232" y="144"/>
                  <a:pt x="229" y="148"/>
                  <a:pt x="224" y="148"/>
                </a:cubicBezTo>
                <a:cubicBezTo>
                  <a:pt x="219" y="148"/>
                  <a:pt x="219" y="148"/>
                  <a:pt x="219" y="148"/>
                </a:cubicBezTo>
                <a:cubicBezTo>
                  <a:pt x="219" y="148"/>
                  <a:pt x="218" y="147"/>
                  <a:pt x="218" y="147"/>
                </a:cubicBezTo>
                <a:cubicBezTo>
                  <a:pt x="218" y="147"/>
                  <a:pt x="218" y="148"/>
                  <a:pt x="218" y="148"/>
                </a:cubicBezTo>
                <a:cubicBezTo>
                  <a:pt x="215" y="148"/>
                  <a:pt x="215" y="148"/>
                  <a:pt x="215" y="148"/>
                </a:cubicBezTo>
                <a:cubicBezTo>
                  <a:pt x="211" y="148"/>
                  <a:pt x="207" y="151"/>
                  <a:pt x="207" y="156"/>
                </a:cubicBezTo>
                <a:cubicBezTo>
                  <a:pt x="207" y="160"/>
                  <a:pt x="211" y="164"/>
                  <a:pt x="215" y="164"/>
                </a:cubicBezTo>
                <a:cubicBezTo>
                  <a:pt x="218" y="164"/>
                  <a:pt x="218" y="164"/>
                  <a:pt x="218" y="164"/>
                </a:cubicBezTo>
                <a:cubicBezTo>
                  <a:pt x="222" y="164"/>
                  <a:pt x="224" y="166"/>
                  <a:pt x="224" y="169"/>
                </a:cubicBezTo>
                <a:cubicBezTo>
                  <a:pt x="224" y="173"/>
                  <a:pt x="221" y="175"/>
                  <a:pt x="218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06" y="175"/>
                  <a:pt x="202" y="179"/>
                  <a:pt x="202" y="183"/>
                </a:cubicBezTo>
                <a:cubicBezTo>
                  <a:pt x="202" y="188"/>
                  <a:pt x="206" y="191"/>
                  <a:pt x="210" y="191"/>
                </a:cubicBezTo>
                <a:cubicBezTo>
                  <a:pt x="213" y="191"/>
                  <a:pt x="216" y="194"/>
                  <a:pt x="216" y="197"/>
                </a:cubicBezTo>
                <a:cubicBezTo>
                  <a:pt x="216" y="201"/>
                  <a:pt x="213" y="203"/>
                  <a:pt x="210" y="20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US" sz="840"/>
          </a:p>
        </p:txBody>
      </p:sp>
      <p:sp>
        <p:nvSpPr>
          <p:cNvPr id="42" name="Shape7_20180718_204016">
            <a:extLst>
              <a:ext uri="{FF2B5EF4-FFF2-40B4-BE49-F238E27FC236}">
                <a16:creationId xmlns:a16="http://schemas.microsoft.com/office/drawing/2014/main" id="{44709A3B-D012-E277-D7A5-73A71EB9059C}"/>
              </a:ext>
            </a:extLst>
          </p:cNvPr>
          <p:cNvSpPr>
            <a:spLocks noChangeAspect="1" noEditPoints="1"/>
          </p:cNvSpPr>
          <p:nvPr>
            <p:custDataLst>
              <p:tags r:id="rId6"/>
            </p:custDataLst>
          </p:nvPr>
        </p:nvSpPr>
        <p:spPr bwMode="auto">
          <a:xfrm>
            <a:off x="4492953" y="3343261"/>
            <a:ext cx="415395" cy="416431"/>
          </a:xfrm>
          <a:custGeom>
            <a:avLst/>
            <a:gdLst>
              <a:gd name="T0" fmla="*/ 1698 w 2448"/>
              <a:gd name="T1" fmla="*/ 97 h 2446"/>
              <a:gd name="T2" fmla="*/ 748 w 2448"/>
              <a:gd name="T3" fmla="*/ 97 h 2446"/>
              <a:gd name="T4" fmla="*/ 0 w 2448"/>
              <a:gd name="T5" fmla="*/ 1222 h 2446"/>
              <a:gd name="T6" fmla="*/ 748 w 2448"/>
              <a:gd name="T7" fmla="*/ 2349 h 2446"/>
              <a:gd name="T8" fmla="*/ 1698 w 2448"/>
              <a:gd name="T9" fmla="*/ 2349 h 2446"/>
              <a:gd name="T10" fmla="*/ 2448 w 2448"/>
              <a:gd name="T11" fmla="*/ 1222 h 2446"/>
              <a:gd name="T12" fmla="*/ 816 w 2448"/>
              <a:gd name="T13" fmla="*/ 227 h 2446"/>
              <a:gd name="T14" fmla="*/ 264 w 2448"/>
              <a:gd name="T15" fmla="*/ 737 h 2446"/>
              <a:gd name="T16" fmla="*/ 149 w 2448"/>
              <a:gd name="T17" fmla="*/ 1222 h 2446"/>
              <a:gd name="T18" fmla="*/ 554 w 2448"/>
              <a:gd name="T19" fmla="*/ 884 h 2446"/>
              <a:gd name="T20" fmla="*/ 554 w 2448"/>
              <a:gd name="T21" fmla="*/ 1556 h 2446"/>
              <a:gd name="T22" fmla="*/ 149 w 2448"/>
              <a:gd name="T23" fmla="*/ 1222 h 2446"/>
              <a:gd name="T24" fmla="*/ 584 w 2448"/>
              <a:gd name="T25" fmla="*/ 1704 h 2446"/>
              <a:gd name="T26" fmla="*/ 264 w 2448"/>
              <a:gd name="T27" fmla="*/ 1704 h 2446"/>
              <a:gd name="T28" fmla="*/ 906 w 2448"/>
              <a:gd name="T29" fmla="*/ 2092 h 2446"/>
              <a:gd name="T30" fmla="*/ 1148 w 2448"/>
              <a:gd name="T31" fmla="*/ 1704 h 2446"/>
              <a:gd name="T32" fmla="*/ 1148 w 2448"/>
              <a:gd name="T33" fmla="*/ 1556 h 2446"/>
              <a:gd name="T34" fmla="*/ 677 w 2448"/>
              <a:gd name="T35" fmla="*/ 1222 h 2446"/>
              <a:gd name="T36" fmla="*/ 1148 w 2448"/>
              <a:gd name="T37" fmla="*/ 884 h 2446"/>
              <a:gd name="T38" fmla="*/ 1148 w 2448"/>
              <a:gd name="T39" fmla="*/ 737 h 2446"/>
              <a:gd name="T40" fmla="*/ 909 w 2448"/>
              <a:gd name="T41" fmla="*/ 353 h 2446"/>
              <a:gd name="T42" fmla="*/ 1148 w 2448"/>
              <a:gd name="T43" fmla="*/ 737 h 2446"/>
              <a:gd name="T44" fmla="*/ 1864 w 2448"/>
              <a:gd name="T45" fmla="*/ 737 h 2446"/>
              <a:gd name="T46" fmla="*/ 2184 w 2448"/>
              <a:gd name="T47" fmla="*/ 737 h 2446"/>
              <a:gd name="T48" fmla="*/ 1539 w 2448"/>
              <a:gd name="T49" fmla="*/ 353 h 2446"/>
              <a:gd name="T50" fmla="*/ 1300 w 2448"/>
              <a:gd name="T51" fmla="*/ 737 h 2446"/>
              <a:gd name="T52" fmla="*/ 1300 w 2448"/>
              <a:gd name="T53" fmla="*/ 884 h 2446"/>
              <a:gd name="T54" fmla="*/ 1771 w 2448"/>
              <a:gd name="T55" fmla="*/ 1222 h 2446"/>
              <a:gd name="T56" fmla="*/ 1300 w 2448"/>
              <a:gd name="T57" fmla="*/ 1556 h 2446"/>
              <a:gd name="T58" fmla="*/ 1300 w 2448"/>
              <a:gd name="T59" fmla="*/ 2286 h 2446"/>
              <a:gd name="T60" fmla="*/ 1711 w 2448"/>
              <a:gd name="T61" fmla="*/ 1704 h 2446"/>
              <a:gd name="T62" fmla="*/ 1300 w 2448"/>
              <a:gd name="T63" fmla="*/ 2286 h 2446"/>
              <a:gd name="T64" fmla="*/ 1864 w 2448"/>
              <a:gd name="T65" fmla="*/ 1704 h 2446"/>
              <a:gd name="T66" fmla="*/ 1632 w 2448"/>
              <a:gd name="T67" fmla="*/ 2219 h 2446"/>
              <a:gd name="T68" fmla="*/ 1894 w 2448"/>
              <a:gd name="T69" fmla="*/ 1556 h 2446"/>
              <a:gd name="T70" fmla="*/ 1894 w 2448"/>
              <a:gd name="T71" fmla="*/ 884 h 2446"/>
              <a:gd name="T72" fmla="*/ 2299 w 2448"/>
              <a:gd name="T73" fmla="*/ 1222 h 2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2448" h="2446">
                <a:moveTo>
                  <a:pt x="2350" y="747"/>
                </a:moveTo>
                <a:cubicBezTo>
                  <a:pt x="2221" y="446"/>
                  <a:pt x="2002" y="227"/>
                  <a:pt x="1698" y="97"/>
                </a:cubicBezTo>
                <a:cubicBezTo>
                  <a:pt x="1547" y="33"/>
                  <a:pt x="1389" y="0"/>
                  <a:pt x="1223" y="0"/>
                </a:cubicBezTo>
                <a:cubicBezTo>
                  <a:pt x="1057" y="0"/>
                  <a:pt x="900" y="32"/>
                  <a:pt x="748" y="97"/>
                </a:cubicBezTo>
                <a:cubicBezTo>
                  <a:pt x="447" y="226"/>
                  <a:pt x="226" y="445"/>
                  <a:pt x="96" y="747"/>
                </a:cubicBezTo>
                <a:cubicBezTo>
                  <a:pt x="32" y="898"/>
                  <a:pt x="0" y="1056"/>
                  <a:pt x="0" y="1222"/>
                </a:cubicBezTo>
                <a:cubicBezTo>
                  <a:pt x="0" y="1388"/>
                  <a:pt x="32" y="1547"/>
                  <a:pt x="96" y="1698"/>
                </a:cubicBezTo>
                <a:cubicBezTo>
                  <a:pt x="226" y="2000"/>
                  <a:pt x="447" y="2220"/>
                  <a:pt x="748" y="2349"/>
                </a:cubicBezTo>
                <a:cubicBezTo>
                  <a:pt x="900" y="2414"/>
                  <a:pt x="1057" y="2446"/>
                  <a:pt x="1223" y="2446"/>
                </a:cubicBezTo>
                <a:cubicBezTo>
                  <a:pt x="1389" y="2446"/>
                  <a:pt x="1547" y="2413"/>
                  <a:pt x="1698" y="2349"/>
                </a:cubicBezTo>
                <a:cubicBezTo>
                  <a:pt x="2002" y="2219"/>
                  <a:pt x="2221" y="1999"/>
                  <a:pt x="2350" y="1698"/>
                </a:cubicBezTo>
                <a:cubicBezTo>
                  <a:pt x="2415" y="1547"/>
                  <a:pt x="2448" y="1388"/>
                  <a:pt x="2448" y="1222"/>
                </a:cubicBezTo>
                <a:cubicBezTo>
                  <a:pt x="2448" y="1056"/>
                  <a:pt x="2415" y="898"/>
                  <a:pt x="2350" y="747"/>
                </a:cubicBezTo>
                <a:close/>
                <a:moveTo>
                  <a:pt x="816" y="227"/>
                </a:moveTo>
                <a:cubicBezTo>
                  <a:pt x="711" y="361"/>
                  <a:pt x="633" y="531"/>
                  <a:pt x="584" y="737"/>
                </a:cubicBezTo>
                <a:cubicBezTo>
                  <a:pt x="264" y="737"/>
                  <a:pt x="264" y="737"/>
                  <a:pt x="264" y="737"/>
                </a:cubicBezTo>
                <a:cubicBezTo>
                  <a:pt x="381" y="508"/>
                  <a:pt x="580" y="325"/>
                  <a:pt x="816" y="227"/>
                </a:cubicBezTo>
                <a:close/>
                <a:moveTo>
                  <a:pt x="149" y="1222"/>
                </a:moveTo>
                <a:cubicBezTo>
                  <a:pt x="149" y="1105"/>
                  <a:pt x="167" y="993"/>
                  <a:pt x="203" y="884"/>
                </a:cubicBezTo>
                <a:cubicBezTo>
                  <a:pt x="554" y="884"/>
                  <a:pt x="554" y="884"/>
                  <a:pt x="554" y="884"/>
                </a:cubicBezTo>
                <a:cubicBezTo>
                  <a:pt x="537" y="998"/>
                  <a:pt x="529" y="1111"/>
                  <a:pt x="529" y="1222"/>
                </a:cubicBezTo>
                <a:cubicBezTo>
                  <a:pt x="529" y="1331"/>
                  <a:pt x="537" y="1443"/>
                  <a:pt x="554" y="1556"/>
                </a:cubicBezTo>
                <a:cubicBezTo>
                  <a:pt x="201" y="1556"/>
                  <a:pt x="201" y="1556"/>
                  <a:pt x="201" y="1556"/>
                </a:cubicBezTo>
                <a:cubicBezTo>
                  <a:pt x="166" y="1448"/>
                  <a:pt x="149" y="1335"/>
                  <a:pt x="149" y="1222"/>
                </a:cubicBezTo>
                <a:close/>
                <a:moveTo>
                  <a:pt x="264" y="1704"/>
                </a:moveTo>
                <a:cubicBezTo>
                  <a:pt x="584" y="1704"/>
                  <a:pt x="584" y="1704"/>
                  <a:pt x="584" y="1704"/>
                </a:cubicBezTo>
                <a:cubicBezTo>
                  <a:pt x="633" y="1914"/>
                  <a:pt x="711" y="2086"/>
                  <a:pt x="816" y="2219"/>
                </a:cubicBezTo>
                <a:cubicBezTo>
                  <a:pt x="576" y="2118"/>
                  <a:pt x="377" y="1935"/>
                  <a:pt x="264" y="1704"/>
                </a:cubicBezTo>
                <a:close/>
                <a:moveTo>
                  <a:pt x="1148" y="2286"/>
                </a:moveTo>
                <a:cubicBezTo>
                  <a:pt x="1061" y="2260"/>
                  <a:pt x="980" y="2196"/>
                  <a:pt x="906" y="2092"/>
                </a:cubicBezTo>
                <a:cubicBezTo>
                  <a:pt x="833" y="1987"/>
                  <a:pt x="776" y="1857"/>
                  <a:pt x="737" y="1704"/>
                </a:cubicBezTo>
                <a:cubicBezTo>
                  <a:pt x="1148" y="1704"/>
                  <a:pt x="1148" y="1704"/>
                  <a:pt x="1148" y="1704"/>
                </a:cubicBezTo>
                <a:lnTo>
                  <a:pt x="1148" y="2286"/>
                </a:lnTo>
                <a:close/>
                <a:moveTo>
                  <a:pt x="1148" y="1556"/>
                </a:moveTo>
                <a:cubicBezTo>
                  <a:pt x="704" y="1556"/>
                  <a:pt x="704" y="1556"/>
                  <a:pt x="704" y="1556"/>
                </a:cubicBezTo>
                <a:cubicBezTo>
                  <a:pt x="687" y="1437"/>
                  <a:pt x="677" y="1326"/>
                  <a:pt x="677" y="1222"/>
                </a:cubicBezTo>
                <a:cubicBezTo>
                  <a:pt x="677" y="1109"/>
                  <a:pt x="687" y="997"/>
                  <a:pt x="707" y="884"/>
                </a:cubicBezTo>
                <a:cubicBezTo>
                  <a:pt x="1148" y="884"/>
                  <a:pt x="1148" y="884"/>
                  <a:pt x="1148" y="884"/>
                </a:cubicBezTo>
                <a:cubicBezTo>
                  <a:pt x="1148" y="1556"/>
                  <a:pt x="1148" y="1556"/>
                  <a:pt x="1148" y="1556"/>
                </a:cubicBezTo>
                <a:close/>
                <a:moveTo>
                  <a:pt x="1148" y="737"/>
                </a:moveTo>
                <a:cubicBezTo>
                  <a:pt x="737" y="737"/>
                  <a:pt x="737" y="737"/>
                  <a:pt x="737" y="737"/>
                </a:cubicBezTo>
                <a:cubicBezTo>
                  <a:pt x="779" y="585"/>
                  <a:pt x="836" y="456"/>
                  <a:pt x="909" y="353"/>
                </a:cubicBezTo>
                <a:cubicBezTo>
                  <a:pt x="983" y="249"/>
                  <a:pt x="1061" y="184"/>
                  <a:pt x="1148" y="160"/>
                </a:cubicBezTo>
                <a:cubicBezTo>
                  <a:pt x="1148" y="737"/>
                  <a:pt x="1148" y="737"/>
                  <a:pt x="1148" y="737"/>
                </a:cubicBezTo>
                <a:close/>
                <a:moveTo>
                  <a:pt x="2184" y="737"/>
                </a:moveTo>
                <a:cubicBezTo>
                  <a:pt x="1864" y="737"/>
                  <a:pt x="1864" y="737"/>
                  <a:pt x="1864" y="737"/>
                </a:cubicBezTo>
                <a:cubicBezTo>
                  <a:pt x="1815" y="531"/>
                  <a:pt x="1737" y="361"/>
                  <a:pt x="1632" y="227"/>
                </a:cubicBezTo>
                <a:cubicBezTo>
                  <a:pt x="1868" y="325"/>
                  <a:pt x="2067" y="508"/>
                  <a:pt x="2184" y="737"/>
                </a:cubicBezTo>
                <a:close/>
                <a:moveTo>
                  <a:pt x="1300" y="160"/>
                </a:moveTo>
                <a:cubicBezTo>
                  <a:pt x="1387" y="184"/>
                  <a:pt x="1465" y="249"/>
                  <a:pt x="1539" y="353"/>
                </a:cubicBezTo>
                <a:cubicBezTo>
                  <a:pt x="1613" y="456"/>
                  <a:pt x="1669" y="585"/>
                  <a:pt x="1711" y="737"/>
                </a:cubicBezTo>
                <a:cubicBezTo>
                  <a:pt x="1300" y="737"/>
                  <a:pt x="1300" y="737"/>
                  <a:pt x="1300" y="737"/>
                </a:cubicBezTo>
                <a:lnTo>
                  <a:pt x="1300" y="160"/>
                </a:lnTo>
                <a:close/>
                <a:moveTo>
                  <a:pt x="1300" y="884"/>
                </a:moveTo>
                <a:cubicBezTo>
                  <a:pt x="1741" y="884"/>
                  <a:pt x="1741" y="884"/>
                  <a:pt x="1741" y="884"/>
                </a:cubicBezTo>
                <a:cubicBezTo>
                  <a:pt x="1761" y="997"/>
                  <a:pt x="1771" y="1109"/>
                  <a:pt x="1771" y="1222"/>
                </a:cubicBezTo>
                <a:cubicBezTo>
                  <a:pt x="1771" y="1326"/>
                  <a:pt x="1761" y="1437"/>
                  <a:pt x="1744" y="1556"/>
                </a:cubicBezTo>
                <a:cubicBezTo>
                  <a:pt x="1300" y="1556"/>
                  <a:pt x="1300" y="1556"/>
                  <a:pt x="1300" y="1556"/>
                </a:cubicBezTo>
                <a:lnTo>
                  <a:pt x="1300" y="884"/>
                </a:lnTo>
                <a:close/>
                <a:moveTo>
                  <a:pt x="1300" y="2286"/>
                </a:moveTo>
                <a:cubicBezTo>
                  <a:pt x="1300" y="1704"/>
                  <a:pt x="1300" y="1704"/>
                  <a:pt x="1300" y="1704"/>
                </a:cubicBezTo>
                <a:cubicBezTo>
                  <a:pt x="1711" y="1704"/>
                  <a:pt x="1711" y="1704"/>
                  <a:pt x="1711" y="1704"/>
                </a:cubicBezTo>
                <a:cubicBezTo>
                  <a:pt x="1670" y="1857"/>
                  <a:pt x="1613" y="1987"/>
                  <a:pt x="1541" y="2092"/>
                </a:cubicBezTo>
                <a:cubicBezTo>
                  <a:pt x="1467" y="2197"/>
                  <a:pt x="1388" y="2262"/>
                  <a:pt x="1300" y="2286"/>
                </a:cubicBezTo>
                <a:close/>
                <a:moveTo>
                  <a:pt x="1632" y="2219"/>
                </a:moveTo>
                <a:cubicBezTo>
                  <a:pt x="1737" y="2086"/>
                  <a:pt x="1815" y="1914"/>
                  <a:pt x="1864" y="1704"/>
                </a:cubicBezTo>
                <a:cubicBezTo>
                  <a:pt x="2184" y="1704"/>
                  <a:pt x="2184" y="1704"/>
                  <a:pt x="2184" y="1704"/>
                </a:cubicBezTo>
                <a:cubicBezTo>
                  <a:pt x="2071" y="1935"/>
                  <a:pt x="1872" y="2118"/>
                  <a:pt x="1632" y="2219"/>
                </a:cubicBezTo>
                <a:close/>
                <a:moveTo>
                  <a:pt x="2247" y="1556"/>
                </a:moveTo>
                <a:cubicBezTo>
                  <a:pt x="1894" y="1556"/>
                  <a:pt x="1894" y="1556"/>
                  <a:pt x="1894" y="1556"/>
                </a:cubicBezTo>
                <a:cubicBezTo>
                  <a:pt x="1911" y="1443"/>
                  <a:pt x="1919" y="1331"/>
                  <a:pt x="1919" y="1222"/>
                </a:cubicBezTo>
                <a:cubicBezTo>
                  <a:pt x="1919" y="1111"/>
                  <a:pt x="1911" y="998"/>
                  <a:pt x="1894" y="884"/>
                </a:cubicBezTo>
                <a:cubicBezTo>
                  <a:pt x="2245" y="884"/>
                  <a:pt x="2245" y="884"/>
                  <a:pt x="2245" y="884"/>
                </a:cubicBezTo>
                <a:cubicBezTo>
                  <a:pt x="2281" y="993"/>
                  <a:pt x="2299" y="1105"/>
                  <a:pt x="2299" y="1222"/>
                </a:cubicBezTo>
                <a:cubicBezTo>
                  <a:pt x="2299" y="1335"/>
                  <a:pt x="2282" y="1448"/>
                  <a:pt x="2247" y="155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43" name="Shape0_20180718_204016">
            <a:extLst>
              <a:ext uri="{FF2B5EF4-FFF2-40B4-BE49-F238E27FC236}">
                <a16:creationId xmlns:a16="http://schemas.microsoft.com/office/drawing/2014/main" id="{58C06131-AB15-8FD8-2CEA-1223D0AA7CA9}"/>
              </a:ext>
            </a:extLst>
          </p:cNvPr>
          <p:cNvGrpSpPr>
            <a:grpSpLocks noChangeAspect="1"/>
          </p:cNvGrpSpPr>
          <p:nvPr>
            <p:custDataLst>
              <p:tags r:id="rId7"/>
            </p:custDataLst>
          </p:nvPr>
        </p:nvGrpSpPr>
        <p:grpSpPr>
          <a:xfrm>
            <a:off x="5132854" y="4448634"/>
            <a:ext cx="415395" cy="415395"/>
            <a:chOff x="-4769427" y="-314325"/>
            <a:chExt cx="4660901" cy="4576762"/>
          </a:xfrm>
        </p:grpSpPr>
        <p:sp>
          <p:nvSpPr>
            <p:cNvPr id="44" name="Freeform 23">
              <a:extLst>
                <a:ext uri="{FF2B5EF4-FFF2-40B4-BE49-F238E27FC236}">
                  <a16:creationId xmlns:a16="http://schemas.microsoft.com/office/drawing/2014/main" id="{33A78FD1-4A97-AA96-7F12-36A0FA4BB8A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509077" y="-314325"/>
              <a:ext cx="4138613" cy="3956050"/>
            </a:xfrm>
            <a:custGeom>
              <a:avLst/>
              <a:gdLst>
                <a:gd name="T0" fmla="*/ 2128 w 2188"/>
                <a:gd name="T1" fmla="*/ 946 h 2085"/>
                <a:gd name="T2" fmla="*/ 2169 w 2188"/>
                <a:gd name="T3" fmla="*/ 781 h 2085"/>
                <a:gd name="T4" fmla="*/ 2038 w 2188"/>
                <a:gd name="T5" fmla="*/ 671 h 2085"/>
                <a:gd name="T6" fmla="*/ 1503 w 2188"/>
                <a:gd name="T7" fmla="*/ 593 h 2085"/>
                <a:gd name="T8" fmla="*/ 1478 w 2188"/>
                <a:gd name="T9" fmla="*/ 576 h 2085"/>
                <a:gd name="T10" fmla="*/ 1239 w 2188"/>
                <a:gd name="T11" fmla="*/ 90 h 2085"/>
                <a:gd name="T12" fmla="*/ 1094 w 2188"/>
                <a:gd name="T13" fmla="*/ 0 h 2085"/>
                <a:gd name="T14" fmla="*/ 949 w 2188"/>
                <a:gd name="T15" fmla="*/ 90 h 2085"/>
                <a:gd name="T16" fmla="*/ 710 w 2188"/>
                <a:gd name="T17" fmla="*/ 576 h 2085"/>
                <a:gd name="T18" fmla="*/ 685 w 2188"/>
                <a:gd name="T19" fmla="*/ 593 h 2085"/>
                <a:gd name="T20" fmla="*/ 150 w 2188"/>
                <a:gd name="T21" fmla="*/ 671 h 2085"/>
                <a:gd name="T22" fmla="*/ 19 w 2188"/>
                <a:gd name="T23" fmla="*/ 781 h 2085"/>
                <a:gd name="T24" fmla="*/ 60 w 2188"/>
                <a:gd name="T25" fmla="*/ 946 h 2085"/>
                <a:gd name="T26" fmla="*/ 448 w 2188"/>
                <a:gd name="T27" fmla="*/ 1324 h 2085"/>
                <a:gd name="T28" fmla="*/ 457 w 2188"/>
                <a:gd name="T29" fmla="*/ 1353 h 2085"/>
                <a:gd name="T30" fmla="*/ 366 w 2188"/>
                <a:gd name="T31" fmla="*/ 1886 h 2085"/>
                <a:gd name="T32" fmla="*/ 430 w 2188"/>
                <a:gd name="T33" fmla="*/ 2044 h 2085"/>
                <a:gd name="T34" fmla="*/ 600 w 2188"/>
                <a:gd name="T35" fmla="*/ 2056 h 2085"/>
                <a:gd name="T36" fmla="*/ 1079 w 2188"/>
                <a:gd name="T37" fmla="*/ 1805 h 2085"/>
                <a:gd name="T38" fmla="*/ 1109 w 2188"/>
                <a:gd name="T39" fmla="*/ 1805 h 2085"/>
                <a:gd name="T40" fmla="*/ 1588 w 2188"/>
                <a:gd name="T41" fmla="*/ 2056 h 2085"/>
                <a:gd name="T42" fmla="*/ 1663 w 2188"/>
                <a:gd name="T43" fmla="*/ 2075 h 2085"/>
                <a:gd name="T44" fmla="*/ 1758 w 2188"/>
                <a:gd name="T45" fmla="*/ 2044 h 2085"/>
                <a:gd name="T46" fmla="*/ 1822 w 2188"/>
                <a:gd name="T47" fmla="*/ 1886 h 2085"/>
                <a:gd name="T48" fmla="*/ 1731 w 2188"/>
                <a:gd name="T49" fmla="*/ 1353 h 2085"/>
                <a:gd name="T50" fmla="*/ 1740 w 2188"/>
                <a:gd name="T51" fmla="*/ 1324 h 2085"/>
                <a:gd name="T52" fmla="*/ 2128 w 2188"/>
                <a:gd name="T53" fmla="*/ 946 h 2085"/>
                <a:gd name="T54" fmla="*/ 1604 w 2188"/>
                <a:gd name="T55" fmla="*/ 1375 h 2085"/>
                <a:gd name="T56" fmla="*/ 1695 w 2188"/>
                <a:gd name="T57" fmla="*/ 1908 h 2085"/>
                <a:gd name="T58" fmla="*/ 1682 w 2188"/>
                <a:gd name="T59" fmla="*/ 1940 h 2085"/>
                <a:gd name="T60" fmla="*/ 1648 w 2188"/>
                <a:gd name="T61" fmla="*/ 1942 h 2085"/>
                <a:gd name="T62" fmla="*/ 1169 w 2188"/>
                <a:gd name="T63" fmla="*/ 1690 h 2085"/>
                <a:gd name="T64" fmla="*/ 1094 w 2188"/>
                <a:gd name="T65" fmla="*/ 1672 h 2085"/>
                <a:gd name="T66" fmla="*/ 1019 w 2188"/>
                <a:gd name="T67" fmla="*/ 1690 h 2085"/>
                <a:gd name="T68" fmla="*/ 540 w 2188"/>
                <a:gd name="T69" fmla="*/ 1942 h 2085"/>
                <a:gd name="T70" fmla="*/ 506 w 2188"/>
                <a:gd name="T71" fmla="*/ 1940 h 2085"/>
                <a:gd name="T72" fmla="*/ 493 w 2188"/>
                <a:gd name="T73" fmla="*/ 1908 h 2085"/>
                <a:gd name="T74" fmla="*/ 584 w 2188"/>
                <a:gd name="T75" fmla="*/ 1375 h 2085"/>
                <a:gd name="T76" fmla="*/ 538 w 2188"/>
                <a:gd name="T77" fmla="*/ 1232 h 2085"/>
                <a:gd name="T78" fmla="*/ 150 w 2188"/>
                <a:gd name="T79" fmla="*/ 854 h 2085"/>
                <a:gd name="T80" fmla="*/ 142 w 2188"/>
                <a:gd name="T81" fmla="*/ 821 h 2085"/>
                <a:gd name="T82" fmla="*/ 168 w 2188"/>
                <a:gd name="T83" fmla="*/ 799 h 2085"/>
                <a:gd name="T84" fmla="*/ 704 w 2188"/>
                <a:gd name="T85" fmla="*/ 721 h 2085"/>
                <a:gd name="T86" fmla="*/ 826 w 2188"/>
                <a:gd name="T87" fmla="*/ 633 h 2085"/>
                <a:gd name="T88" fmla="*/ 1065 w 2188"/>
                <a:gd name="T89" fmla="*/ 147 h 2085"/>
                <a:gd name="T90" fmla="*/ 1094 w 2188"/>
                <a:gd name="T91" fmla="*/ 129 h 2085"/>
                <a:gd name="T92" fmla="*/ 1123 w 2188"/>
                <a:gd name="T93" fmla="*/ 147 h 2085"/>
                <a:gd name="T94" fmla="*/ 1123 w 2188"/>
                <a:gd name="T95" fmla="*/ 147 h 2085"/>
                <a:gd name="T96" fmla="*/ 1363 w 2188"/>
                <a:gd name="T97" fmla="*/ 633 h 2085"/>
                <a:gd name="T98" fmla="*/ 1484 w 2188"/>
                <a:gd name="T99" fmla="*/ 721 h 2085"/>
                <a:gd name="T100" fmla="*/ 2020 w 2188"/>
                <a:gd name="T101" fmla="*/ 799 h 2085"/>
                <a:gd name="T102" fmla="*/ 2046 w 2188"/>
                <a:gd name="T103" fmla="*/ 821 h 2085"/>
                <a:gd name="T104" fmla="*/ 2038 w 2188"/>
                <a:gd name="T105" fmla="*/ 854 h 2085"/>
                <a:gd name="T106" fmla="*/ 1650 w 2188"/>
                <a:gd name="T107" fmla="*/ 1232 h 2085"/>
                <a:gd name="T108" fmla="*/ 1604 w 2188"/>
                <a:gd name="T109" fmla="*/ 1375 h 20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188" h="2085">
                  <a:moveTo>
                    <a:pt x="2128" y="946"/>
                  </a:moveTo>
                  <a:cubicBezTo>
                    <a:pt x="2172" y="903"/>
                    <a:pt x="2188" y="840"/>
                    <a:pt x="2169" y="781"/>
                  </a:cubicBezTo>
                  <a:cubicBezTo>
                    <a:pt x="2149" y="722"/>
                    <a:pt x="2100" y="680"/>
                    <a:pt x="2038" y="671"/>
                  </a:cubicBezTo>
                  <a:cubicBezTo>
                    <a:pt x="1503" y="593"/>
                    <a:pt x="1503" y="593"/>
                    <a:pt x="1503" y="593"/>
                  </a:cubicBezTo>
                  <a:cubicBezTo>
                    <a:pt x="1492" y="592"/>
                    <a:pt x="1483" y="585"/>
                    <a:pt x="1478" y="576"/>
                  </a:cubicBezTo>
                  <a:cubicBezTo>
                    <a:pt x="1239" y="90"/>
                    <a:pt x="1239" y="90"/>
                    <a:pt x="1239" y="90"/>
                  </a:cubicBezTo>
                  <a:cubicBezTo>
                    <a:pt x="1211" y="35"/>
                    <a:pt x="1156" y="0"/>
                    <a:pt x="1094" y="0"/>
                  </a:cubicBezTo>
                  <a:cubicBezTo>
                    <a:pt x="1032" y="0"/>
                    <a:pt x="977" y="35"/>
                    <a:pt x="949" y="90"/>
                  </a:cubicBezTo>
                  <a:cubicBezTo>
                    <a:pt x="710" y="576"/>
                    <a:pt x="710" y="576"/>
                    <a:pt x="710" y="576"/>
                  </a:cubicBezTo>
                  <a:cubicBezTo>
                    <a:pt x="705" y="585"/>
                    <a:pt x="696" y="592"/>
                    <a:pt x="685" y="593"/>
                  </a:cubicBezTo>
                  <a:cubicBezTo>
                    <a:pt x="150" y="671"/>
                    <a:pt x="150" y="671"/>
                    <a:pt x="150" y="671"/>
                  </a:cubicBezTo>
                  <a:cubicBezTo>
                    <a:pt x="88" y="680"/>
                    <a:pt x="39" y="722"/>
                    <a:pt x="19" y="781"/>
                  </a:cubicBezTo>
                  <a:cubicBezTo>
                    <a:pt x="0" y="840"/>
                    <a:pt x="16" y="903"/>
                    <a:pt x="60" y="946"/>
                  </a:cubicBezTo>
                  <a:cubicBezTo>
                    <a:pt x="448" y="1324"/>
                    <a:pt x="448" y="1324"/>
                    <a:pt x="448" y="1324"/>
                  </a:cubicBezTo>
                  <a:cubicBezTo>
                    <a:pt x="455" y="1332"/>
                    <a:pt x="459" y="1342"/>
                    <a:pt x="457" y="1353"/>
                  </a:cubicBezTo>
                  <a:cubicBezTo>
                    <a:pt x="366" y="1886"/>
                    <a:pt x="366" y="1886"/>
                    <a:pt x="366" y="1886"/>
                  </a:cubicBezTo>
                  <a:cubicBezTo>
                    <a:pt x="355" y="1947"/>
                    <a:pt x="380" y="2008"/>
                    <a:pt x="430" y="2044"/>
                  </a:cubicBezTo>
                  <a:cubicBezTo>
                    <a:pt x="480" y="2081"/>
                    <a:pt x="545" y="2085"/>
                    <a:pt x="600" y="2056"/>
                  </a:cubicBezTo>
                  <a:cubicBezTo>
                    <a:pt x="1079" y="1805"/>
                    <a:pt x="1079" y="1805"/>
                    <a:pt x="1079" y="1805"/>
                  </a:cubicBezTo>
                  <a:cubicBezTo>
                    <a:pt x="1088" y="1800"/>
                    <a:pt x="1100" y="1800"/>
                    <a:pt x="1109" y="1805"/>
                  </a:cubicBezTo>
                  <a:cubicBezTo>
                    <a:pt x="1588" y="2056"/>
                    <a:pt x="1588" y="2056"/>
                    <a:pt x="1588" y="2056"/>
                  </a:cubicBezTo>
                  <a:cubicBezTo>
                    <a:pt x="1612" y="2069"/>
                    <a:pt x="1638" y="2075"/>
                    <a:pt x="1663" y="2075"/>
                  </a:cubicBezTo>
                  <a:cubicBezTo>
                    <a:pt x="1697" y="2075"/>
                    <a:pt x="1730" y="2065"/>
                    <a:pt x="1758" y="2044"/>
                  </a:cubicBezTo>
                  <a:cubicBezTo>
                    <a:pt x="1808" y="2008"/>
                    <a:pt x="1833" y="1947"/>
                    <a:pt x="1822" y="1886"/>
                  </a:cubicBezTo>
                  <a:cubicBezTo>
                    <a:pt x="1731" y="1353"/>
                    <a:pt x="1731" y="1353"/>
                    <a:pt x="1731" y="1353"/>
                  </a:cubicBezTo>
                  <a:cubicBezTo>
                    <a:pt x="1729" y="1342"/>
                    <a:pt x="1733" y="1332"/>
                    <a:pt x="1740" y="1324"/>
                  </a:cubicBezTo>
                  <a:lnTo>
                    <a:pt x="2128" y="946"/>
                  </a:lnTo>
                  <a:close/>
                  <a:moveTo>
                    <a:pt x="1604" y="1375"/>
                  </a:moveTo>
                  <a:cubicBezTo>
                    <a:pt x="1695" y="1908"/>
                    <a:pt x="1695" y="1908"/>
                    <a:pt x="1695" y="1908"/>
                  </a:cubicBezTo>
                  <a:cubicBezTo>
                    <a:pt x="1698" y="1926"/>
                    <a:pt x="1687" y="1936"/>
                    <a:pt x="1682" y="1940"/>
                  </a:cubicBezTo>
                  <a:cubicBezTo>
                    <a:pt x="1677" y="1943"/>
                    <a:pt x="1664" y="1951"/>
                    <a:pt x="1648" y="1942"/>
                  </a:cubicBezTo>
                  <a:cubicBezTo>
                    <a:pt x="1169" y="1690"/>
                    <a:pt x="1169" y="1690"/>
                    <a:pt x="1169" y="1690"/>
                  </a:cubicBezTo>
                  <a:cubicBezTo>
                    <a:pt x="1146" y="1678"/>
                    <a:pt x="1120" y="1672"/>
                    <a:pt x="1094" y="1672"/>
                  </a:cubicBezTo>
                  <a:cubicBezTo>
                    <a:pt x="1068" y="1672"/>
                    <a:pt x="1042" y="1678"/>
                    <a:pt x="1019" y="1690"/>
                  </a:cubicBezTo>
                  <a:cubicBezTo>
                    <a:pt x="540" y="1942"/>
                    <a:pt x="540" y="1942"/>
                    <a:pt x="540" y="1942"/>
                  </a:cubicBezTo>
                  <a:cubicBezTo>
                    <a:pt x="524" y="1951"/>
                    <a:pt x="511" y="1943"/>
                    <a:pt x="506" y="1940"/>
                  </a:cubicBezTo>
                  <a:cubicBezTo>
                    <a:pt x="501" y="1936"/>
                    <a:pt x="490" y="1926"/>
                    <a:pt x="493" y="1908"/>
                  </a:cubicBezTo>
                  <a:cubicBezTo>
                    <a:pt x="584" y="1375"/>
                    <a:pt x="584" y="1375"/>
                    <a:pt x="584" y="1375"/>
                  </a:cubicBezTo>
                  <a:cubicBezTo>
                    <a:pt x="593" y="1322"/>
                    <a:pt x="576" y="1269"/>
                    <a:pt x="538" y="1232"/>
                  </a:cubicBezTo>
                  <a:cubicBezTo>
                    <a:pt x="150" y="854"/>
                    <a:pt x="150" y="854"/>
                    <a:pt x="150" y="854"/>
                  </a:cubicBezTo>
                  <a:cubicBezTo>
                    <a:pt x="137" y="841"/>
                    <a:pt x="140" y="827"/>
                    <a:pt x="142" y="821"/>
                  </a:cubicBezTo>
                  <a:cubicBezTo>
                    <a:pt x="144" y="815"/>
                    <a:pt x="150" y="801"/>
                    <a:pt x="168" y="799"/>
                  </a:cubicBezTo>
                  <a:cubicBezTo>
                    <a:pt x="704" y="721"/>
                    <a:pt x="704" y="721"/>
                    <a:pt x="704" y="721"/>
                  </a:cubicBezTo>
                  <a:cubicBezTo>
                    <a:pt x="757" y="713"/>
                    <a:pt x="802" y="680"/>
                    <a:pt x="826" y="633"/>
                  </a:cubicBezTo>
                  <a:cubicBezTo>
                    <a:pt x="1065" y="147"/>
                    <a:pt x="1065" y="147"/>
                    <a:pt x="1065" y="147"/>
                  </a:cubicBezTo>
                  <a:cubicBezTo>
                    <a:pt x="1073" y="131"/>
                    <a:pt x="1088" y="129"/>
                    <a:pt x="1094" y="129"/>
                  </a:cubicBezTo>
                  <a:cubicBezTo>
                    <a:pt x="1100" y="129"/>
                    <a:pt x="1115" y="131"/>
                    <a:pt x="1123" y="147"/>
                  </a:cubicBezTo>
                  <a:cubicBezTo>
                    <a:pt x="1123" y="147"/>
                    <a:pt x="1123" y="147"/>
                    <a:pt x="1123" y="147"/>
                  </a:cubicBezTo>
                  <a:cubicBezTo>
                    <a:pt x="1363" y="633"/>
                    <a:pt x="1363" y="633"/>
                    <a:pt x="1363" y="633"/>
                  </a:cubicBezTo>
                  <a:cubicBezTo>
                    <a:pt x="1386" y="680"/>
                    <a:pt x="1431" y="713"/>
                    <a:pt x="1484" y="721"/>
                  </a:cubicBezTo>
                  <a:cubicBezTo>
                    <a:pt x="2020" y="799"/>
                    <a:pt x="2020" y="799"/>
                    <a:pt x="2020" y="799"/>
                  </a:cubicBezTo>
                  <a:cubicBezTo>
                    <a:pt x="2038" y="801"/>
                    <a:pt x="2044" y="815"/>
                    <a:pt x="2046" y="821"/>
                  </a:cubicBezTo>
                  <a:cubicBezTo>
                    <a:pt x="2048" y="827"/>
                    <a:pt x="2051" y="841"/>
                    <a:pt x="2038" y="854"/>
                  </a:cubicBezTo>
                  <a:cubicBezTo>
                    <a:pt x="1650" y="1232"/>
                    <a:pt x="1650" y="1232"/>
                    <a:pt x="1650" y="1232"/>
                  </a:cubicBezTo>
                  <a:cubicBezTo>
                    <a:pt x="1612" y="1269"/>
                    <a:pt x="1595" y="1322"/>
                    <a:pt x="1604" y="137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24">
              <a:extLst>
                <a:ext uri="{FF2B5EF4-FFF2-40B4-BE49-F238E27FC236}">
                  <a16:creationId xmlns:a16="http://schemas.microsoft.com/office/drawing/2014/main" id="{D1A73664-0C78-DDED-11C3-0CAF903A56A0}"/>
                </a:ext>
              </a:extLst>
            </p:cNvPr>
            <p:cNvSpPr>
              <a:spLocks/>
            </p:cNvSpPr>
            <p:nvPr/>
          </p:nvSpPr>
          <p:spPr bwMode="auto">
            <a:xfrm>
              <a:off x="-1351539" y="-182563"/>
              <a:ext cx="406400" cy="439738"/>
            </a:xfrm>
            <a:custGeom>
              <a:avLst/>
              <a:gdLst>
                <a:gd name="T0" fmla="*/ 179 w 215"/>
                <a:gd name="T1" fmla="*/ 21 h 232"/>
                <a:gd name="T2" fmla="*/ 89 w 215"/>
                <a:gd name="T3" fmla="*/ 35 h 232"/>
                <a:gd name="T4" fmla="*/ 21 w 215"/>
                <a:gd name="T5" fmla="*/ 130 h 232"/>
                <a:gd name="T6" fmla="*/ 35 w 215"/>
                <a:gd name="T7" fmla="*/ 220 h 232"/>
                <a:gd name="T8" fmla="*/ 73 w 215"/>
                <a:gd name="T9" fmla="*/ 232 h 232"/>
                <a:gd name="T10" fmla="*/ 125 w 215"/>
                <a:gd name="T11" fmla="*/ 206 h 232"/>
                <a:gd name="T12" fmla="*/ 194 w 215"/>
                <a:gd name="T13" fmla="*/ 111 h 232"/>
                <a:gd name="T14" fmla="*/ 179 w 215"/>
                <a:gd name="T15" fmla="*/ 21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5" h="232">
                  <a:moveTo>
                    <a:pt x="179" y="21"/>
                  </a:moveTo>
                  <a:cubicBezTo>
                    <a:pt x="151" y="0"/>
                    <a:pt x="110" y="7"/>
                    <a:pt x="89" y="35"/>
                  </a:cubicBezTo>
                  <a:cubicBezTo>
                    <a:pt x="21" y="130"/>
                    <a:pt x="21" y="130"/>
                    <a:pt x="21" y="130"/>
                  </a:cubicBezTo>
                  <a:cubicBezTo>
                    <a:pt x="0" y="159"/>
                    <a:pt x="6" y="199"/>
                    <a:pt x="35" y="220"/>
                  </a:cubicBezTo>
                  <a:cubicBezTo>
                    <a:pt x="46" y="228"/>
                    <a:pt x="60" y="232"/>
                    <a:pt x="73" y="232"/>
                  </a:cubicBezTo>
                  <a:cubicBezTo>
                    <a:pt x="93" y="232"/>
                    <a:pt x="113" y="223"/>
                    <a:pt x="125" y="206"/>
                  </a:cubicBezTo>
                  <a:cubicBezTo>
                    <a:pt x="194" y="111"/>
                    <a:pt x="194" y="111"/>
                    <a:pt x="194" y="111"/>
                  </a:cubicBezTo>
                  <a:cubicBezTo>
                    <a:pt x="215" y="83"/>
                    <a:pt x="208" y="42"/>
                    <a:pt x="179" y="2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25">
              <a:extLst>
                <a:ext uri="{FF2B5EF4-FFF2-40B4-BE49-F238E27FC236}">
                  <a16:creationId xmlns:a16="http://schemas.microsoft.com/office/drawing/2014/main" id="{A449C44F-C647-3925-642D-EF57ED5AB8CA}"/>
                </a:ext>
              </a:extLst>
            </p:cNvPr>
            <p:cNvSpPr>
              <a:spLocks/>
            </p:cNvSpPr>
            <p:nvPr/>
          </p:nvSpPr>
          <p:spPr bwMode="auto">
            <a:xfrm>
              <a:off x="-3934402" y="-182563"/>
              <a:ext cx="407988" cy="439738"/>
            </a:xfrm>
            <a:custGeom>
              <a:avLst/>
              <a:gdLst>
                <a:gd name="T0" fmla="*/ 194 w 215"/>
                <a:gd name="T1" fmla="*/ 129 h 232"/>
                <a:gd name="T2" fmla="*/ 126 w 215"/>
                <a:gd name="T3" fmla="*/ 35 h 232"/>
                <a:gd name="T4" fmla="*/ 35 w 215"/>
                <a:gd name="T5" fmla="*/ 21 h 232"/>
                <a:gd name="T6" fmla="*/ 21 w 215"/>
                <a:gd name="T7" fmla="*/ 111 h 232"/>
                <a:gd name="T8" fmla="*/ 90 w 215"/>
                <a:gd name="T9" fmla="*/ 205 h 232"/>
                <a:gd name="T10" fmla="*/ 142 w 215"/>
                <a:gd name="T11" fmla="*/ 232 h 232"/>
                <a:gd name="T12" fmla="*/ 180 w 215"/>
                <a:gd name="T13" fmla="*/ 220 h 232"/>
                <a:gd name="T14" fmla="*/ 194 w 215"/>
                <a:gd name="T15" fmla="*/ 129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5" h="232">
                  <a:moveTo>
                    <a:pt x="194" y="129"/>
                  </a:moveTo>
                  <a:cubicBezTo>
                    <a:pt x="126" y="35"/>
                    <a:pt x="126" y="35"/>
                    <a:pt x="126" y="35"/>
                  </a:cubicBezTo>
                  <a:cubicBezTo>
                    <a:pt x="105" y="6"/>
                    <a:pt x="64" y="0"/>
                    <a:pt x="35" y="21"/>
                  </a:cubicBezTo>
                  <a:cubicBezTo>
                    <a:pt x="6" y="42"/>
                    <a:pt x="0" y="82"/>
                    <a:pt x="21" y="111"/>
                  </a:cubicBezTo>
                  <a:cubicBezTo>
                    <a:pt x="90" y="205"/>
                    <a:pt x="90" y="205"/>
                    <a:pt x="90" y="205"/>
                  </a:cubicBezTo>
                  <a:cubicBezTo>
                    <a:pt x="102" y="223"/>
                    <a:pt x="122" y="232"/>
                    <a:pt x="142" y="232"/>
                  </a:cubicBezTo>
                  <a:cubicBezTo>
                    <a:pt x="155" y="232"/>
                    <a:pt x="168" y="228"/>
                    <a:pt x="180" y="220"/>
                  </a:cubicBezTo>
                  <a:cubicBezTo>
                    <a:pt x="209" y="199"/>
                    <a:pt x="215" y="158"/>
                    <a:pt x="194" y="12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26">
              <a:extLst>
                <a:ext uri="{FF2B5EF4-FFF2-40B4-BE49-F238E27FC236}">
                  <a16:creationId xmlns:a16="http://schemas.microsoft.com/office/drawing/2014/main" id="{EDED9306-7E8F-4662-16AA-E6B944FCC114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69427" y="2336800"/>
              <a:ext cx="484188" cy="328613"/>
            </a:xfrm>
            <a:custGeom>
              <a:avLst/>
              <a:gdLst>
                <a:gd name="T0" fmla="*/ 245 w 256"/>
                <a:gd name="T1" fmla="*/ 52 h 173"/>
                <a:gd name="T2" fmla="*/ 164 w 256"/>
                <a:gd name="T3" fmla="*/ 11 h 173"/>
                <a:gd name="T4" fmla="*/ 53 w 256"/>
                <a:gd name="T5" fmla="*/ 47 h 173"/>
                <a:gd name="T6" fmla="*/ 11 w 256"/>
                <a:gd name="T7" fmla="*/ 128 h 173"/>
                <a:gd name="T8" fmla="*/ 73 w 256"/>
                <a:gd name="T9" fmla="*/ 173 h 173"/>
                <a:gd name="T10" fmla="*/ 93 w 256"/>
                <a:gd name="T11" fmla="*/ 169 h 173"/>
                <a:gd name="T12" fmla="*/ 203 w 256"/>
                <a:gd name="T13" fmla="*/ 133 h 173"/>
                <a:gd name="T14" fmla="*/ 245 w 256"/>
                <a:gd name="T15" fmla="*/ 52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6" h="173">
                  <a:moveTo>
                    <a:pt x="245" y="52"/>
                  </a:moveTo>
                  <a:cubicBezTo>
                    <a:pt x="234" y="18"/>
                    <a:pt x="197" y="0"/>
                    <a:pt x="164" y="11"/>
                  </a:cubicBezTo>
                  <a:cubicBezTo>
                    <a:pt x="53" y="47"/>
                    <a:pt x="53" y="47"/>
                    <a:pt x="53" y="47"/>
                  </a:cubicBezTo>
                  <a:cubicBezTo>
                    <a:pt x="19" y="58"/>
                    <a:pt x="0" y="94"/>
                    <a:pt x="11" y="128"/>
                  </a:cubicBezTo>
                  <a:cubicBezTo>
                    <a:pt x="20" y="155"/>
                    <a:pt x="45" y="173"/>
                    <a:pt x="73" y="173"/>
                  </a:cubicBezTo>
                  <a:cubicBezTo>
                    <a:pt x="79" y="173"/>
                    <a:pt x="86" y="172"/>
                    <a:pt x="93" y="169"/>
                  </a:cubicBezTo>
                  <a:cubicBezTo>
                    <a:pt x="203" y="133"/>
                    <a:pt x="203" y="133"/>
                    <a:pt x="203" y="133"/>
                  </a:cubicBezTo>
                  <a:cubicBezTo>
                    <a:pt x="237" y="122"/>
                    <a:pt x="256" y="86"/>
                    <a:pt x="245" y="5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27">
              <a:extLst>
                <a:ext uri="{FF2B5EF4-FFF2-40B4-BE49-F238E27FC236}">
                  <a16:creationId xmlns:a16="http://schemas.microsoft.com/office/drawing/2014/main" id="{E001297D-A175-BE13-83DE-6018CC306078}"/>
                </a:ext>
              </a:extLst>
            </p:cNvPr>
            <p:cNvSpPr>
              <a:spLocks/>
            </p:cNvSpPr>
            <p:nvPr/>
          </p:nvSpPr>
          <p:spPr bwMode="auto">
            <a:xfrm>
              <a:off x="-2562802" y="3795712"/>
              <a:ext cx="246063" cy="466725"/>
            </a:xfrm>
            <a:custGeom>
              <a:avLst/>
              <a:gdLst>
                <a:gd name="T0" fmla="*/ 65 w 130"/>
                <a:gd name="T1" fmla="*/ 0 h 246"/>
                <a:gd name="T2" fmla="*/ 0 w 130"/>
                <a:gd name="T3" fmla="*/ 65 h 246"/>
                <a:gd name="T4" fmla="*/ 0 w 130"/>
                <a:gd name="T5" fmla="*/ 181 h 246"/>
                <a:gd name="T6" fmla="*/ 65 w 130"/>
                <a:gd name="T7" fmla="*/ 246 h 246"/>
                <a:gd name="T8" fmla="*/ 130 w 130"/>
                <a:gd name="T9" fmla="*/ 181 h 246"/>
                <a:gd name="T10" fmla="*/ 130 w 130"/>
                <a:gd name="T11" fmla="*/ 65 h 246"/>
                <a:gd name="T12" fmla="*/ 65 w 130"/>
                <a:gd name="T13" fmla="*/ 0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" h="246">
                  <a:moveTo>
                    <a:pt x="65" y="0"/>
                  </a:moveTo>
                  <a:cubicBezTo>
                    <a:pt x="29" y="0"/>
                    <a:pt x="0" y="29"/>
                    <a:pt x="0" y="65"/>
                  </a:cubicBezTo>
                  <a:cubicBezTo>
                    <a:pt x="0" y="181"/>
                    <a:pt x="0" y="181"/>
                    <a:pt x="0" y="181"/>
                  </a:cubicBezTo>
                  <a:cubicBezTo>
                    <a:pt x="0" y="217"/>
                    <a:pt x="29" y="246"/>
                    <a:pt x="65" y="246"/>
                  </a:cubicBezTo>
                  <a:cubicBezTo>
                    <a:pt x="101" y="246"/>
                    <a:pt x="130" y="217"/>
                    <a:pt x="130" y="181"/>
                  </a:cubicBezTo>
                  <a:cubicBezTo>
                    <a:pt x="130" y="65"/>
                    <a:pt x="130" y="65"/>
                    <a:pt x="130" y="65"/>
                  </a:cubicBezTo>
                  <a:cubicBezTo>
                    <a:pt x="130" y="29"/>
                    <a:pt x="101" y="0"/>
                    <a:pt x="6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8">
              <a:extLst>
                <a:ext uri="{FF2B5EF4-FFF2-40B4-BE49-F238E27FC236}">
                  <a16:creationId xmlns:a16="http://schemas.microsoft.com/office/drawing/2014/main" id="{1F835BAA-6CFC-30AD-6EF4-63E948B14373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2714" y="2336800"/>
              <a:ext cx="484188" cy="328613"/>
            </a:xfrm>
            <a:custGeom>
              <a:avLst/>
              <a:gdLst>
                <a:gd name="T0" fmla="*/ 203 w 256"/>
                <a:gd name="T1" fmla="*/ 47 h 173"/>
                <a:gd name="T2" fmla="*/ 92 w 256"/>
                <a:gd name="T3" fmla="*/ 11 h 173"/>
                <a:gd name="T4" fmla="*/ 11 w 256"/>
                <a:gd name="T5" fmla="*/ 52 h 173"/>
                <a:gd name="T6" fmla="*/ 53 w 256"/>
                <a:gd name="T7" fmla="*/ 133 h 173"/>
                <a:gd name="T8" fmla="*/ 163 w 256"/>
                <a:gd name="T9" fmla="*/ 170 h 173"/>
                <a:gd name="T10" fmla="*/ 183 w 256"/>
                <a:gd name="T11" fmla="*/ 173 h 173"/>
                <a:gd name="T12" fmla="*/ 245 w 256"/>
                <a:gd name="T13" fmla="*/ 128 h 173"/>
                <a:gd name="T14" fmla="*/ 203 w 256"/>
                <a:gd name="T15" fmla="*/ 47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6" h="173">
                  <a:moveTo>
                    <a:pt x="203" y="47"/>
                  </a:moveTo>
                  <a:cubicBezTo>
                    <a:pt x="92" y="11"/>
                    <a:pt x="92" y="11"/>
                    <a:pt x="92" y="11"/>
                  </a:cubicBezTo>
                  <a:cubicBezTo>
                    <a:pt x="59" y="0"/>
                    <a:pt x="22" y="18"/>
                    <a:pt x="11" y="52"/>
                  </a:cubicBezTo>
                  <a:cubicBezTo>
                    <a:pt x="0" y="86"/>
                    <a:pt x="19" y="122"/>
                    <a:pt x="53" y="133"/>
                  </a:cubicBezTo>
                  <a:cubicBezTo>
                    <a:pt x="163" y="170"/>
                    <a:pt x="163" y="170"/>
                    <a:pt x="163" y="170"/>
                  </a:cubicBezTo>
                  <a:cubicBezTo>
                    <a:pt x="170" y="172"/>
                    <a:pt x="177" y="173"/>
                    <a:pt x="183" y="173"/>
                  </a:cubicBezTo>
                  <a:cubicBezTo>
                    <a:pt x="211" y="173"/>
                    <a:pt x="236" y="155"/>
                    <a:pt x="245" y="128"/>
                  </a:cubicBezTo>
                  <a:cubicBezTo>
                    <a:pt x="256" y="94"/>
                    <a:pt x="237" y="58"/>
                    <a:pt x="203" y="4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060736907"/>
      </p:ext>
    </p:extLst>
  </p:cSld>
  <p:clrMapOvr>
    <a:masterClrMapping/>
  </p:clrMapOvr>
</p:sld>
</file>

<file path=ppt/slides/slide1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3E4F8D-0E9B-37AB-9BD0-05DE94224E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" name="think-cell data - do not delete" hidden="1">
            <a:extLst>
              <a:ext uri="{FF2B5EF4-FFF2-40B4-BE49-F238E27FC236}">
                <a16:creationId xmlns:a16="http://schemas.microsoft.com/office/drawing/2014/main" id="{73891E6D-9F47-A6B1-CB2A-EE94FF63D34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9827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144B9D9-8F86-39B2-606A-04012C7256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lide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2210D38-1C6B-D374-04E4-CF2949AA04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46</a:t>
            </a:fld>
            <a:endParaRPr lang="en-US" dirty="0"/>
          </a:p>
        </p:txBody>
      </p:sp>
      <p:sp>
        <p:nvSpPr>
          <p:cNvPr id="5" name="Diamond 4">
            <a:extLst>
              <a:ext uri="{FF2B5EF4-FFF2-40B4-BE49-F238E27FC236}">
                <a16:creationId xmlns:a16="http://schemas.microsoft.com/office/drawing/2014/main" id="{B1FD545F-B9DB-EEF8-A5CE-2F46E8774F3D}"/>
              </a:ext>
            </a:extLst>
          </p:cNvPr>
          <p:cNvSpPr/>
          <p:nvPr/>
        </p:nvSpPr>
        <p:spPr bwMode="auto">
          <a:xfrm>
            <a:off x="4638680" y="2124837"/>
            <a:ext cx="2950410" cy="2950413"/>
          </a:xfrm>
          <a:prstGeom prst="diamond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algn="ctr">
              <a:defRPr/>
            </a:pPr>
            <a:endParaRPr lang="en-US" kern="0">
              <a:solidFill>
                <a:sysClr val="window" lastClr="FFFFFF"/>
              </a:solidFill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5EB8403D-7DFE-0507-3A1B-4B1921D69CF2}"/>
              </a:ext>
            </a:extLst>
          </p:cNvPr>
          <p:cNvSpPr/>
          <p:nvPr/>
        </p:nvSpPr>
        <p:spPr bwMode="auto">
          <a:xfrm>
            <a:off x="2046000" y="1017580"/>
            <a:ext cx="1286120" cy="1286121"/>
          </a:xfrm>
          <a:prstGeom prst="ellipse">
            <a:avLst/>
          </a:prstGeom>
          <a:solidFill>
            <a:schemeClr val="accent1"/>
          </a:solidFill>
          <a:ln w="63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>
              <a:defRPr/>
            </a:pPr>
            <a:endParaRPr lang="en-US" kern="0" dirty="0">
              <a:solidFill>
                <a:sysClr val="window" lastClr="FFFFFF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799D20EE-78CA-17B7-F7D3-5C61318EC653}"/>
              </a:ext>
            </a:extLst>
          </p:cNvPr>
          <p:cNvSpPr/>
          <p:nvPr/>
        </p:nvSpPr>
        <p:spPr bwMode="auto">
          <a:xfrm>
            <a:off x="2046000" y="4906606"/>
            <a:ext cx="1286120" cy="1286122"/>
          </a:xfrm>
          <a:prstGeom prst="ellipse">
            <a:avLst/>
          </a:prstGeom>
          <a:solidFill>
            <a:schemeClr val="accent4"/>
          </a:solidFill>
          <a:ln w="6350" cap="flat" cmpd="sng" algn="ctr">
            <a:solidFill>
              <a:schemeClr val="accent4"/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>
              <a:defRPr/>
            </a:pPr>
            <a:endParaRPr lang="en-US" kern="0">
              <a:solidFill>
                <a:sysClr val="window" lastClr="FFFFFF"/>
              </a:solidFill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F15E7A1F-6391-3C12-2D90-CADC69C8970A}"/>
              </a:ext>
            </a:extLst>
          </p:cNvPr>
          <p:cNvSpPr/>
          <p:nvPr/>
        </p:nvSpPr>
        <p:spPr bwMode="auto">
          <a:xfrm>
            <a:off x="8859880" y="1017580"/>
            <a:ext cx="1286120" cy="1286121"/>
          </a:xfrm>
          <a:prstGeom prst="ellipse">
            <a:avLst/>
          </a:prstGeom>
          <a:solidFill>
            <a:schemeClr val="accent2"/>
          </a:solidFill>
          <a:ln w="6350" cap="flat" cmpd="sng" algn="ctr">
            <a:solidFill>
              <a:schemeClr val="accent2"/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>
              <a:defRPr/>
            </a:pPr>
            <a:endParaRPr lang="en-US" kern="0">
              <a:solidFill>
                <a:sysClr val="window" lastClr="FFFFFF"/>
              </a:solidFill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E9BBD66C-3FC4-C4B8-230F-3C5026A8FAAE}"/>
              </a:ext>
            </a:extLst>
          </p:cNvPr>
          <p:cNvSpPr/>
          <p:nvPr/>
        </p:nvSpPr>
        <p:spPr bwMode="auto">
          <a:xfrm>
            <a:off x="8859880" y="4906606"/>
            <a:ext cx="1286120" cy="1286122"/>
          </a:xfrm>
          <a:prstGeom prst="ellipse">
            <a:avLst/>
          </a:prstGeom>
          <a:solidFill>
            <a:schemeClr val="accent3"/>
          </a:solidFill>
          <a:ln w="6350" cap="flat" cmpd="sng" algn="ctr">
            <a:solidFill>
              <a:schemeClr val="accent3"/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>
              <a:defRPr/>
            </a:pPr>
            <a:endParaRPr lang="en-US" kern="0">
              <a:solidFill>
                <a:sysClr val="window" lastClr="FFFFFF"/>
              </a:solidFill>
            </a:endParaRPr>
          </a:p>
        </p:txBody>
      </p:sp>
      <p:sp>
        <p:nvSpPr>
          <p:cNvPr id="19" name="Rounded Rectangular Callout 78">
            <a:extLst>
              <a:ext uri="{FF2B5EF4-FFF2-40B4-BE49-F238E27FC236}">
                <a16:creationId xmlns:a16="http://schemas.microsoft.com/office/drawing/2014/main" id="{78AFA350-3D89-9653-0E7B-564E034E3F6E}"/>
              </a:ext>
            </a:extLst>
          </p:cNvPr>
          <p:cNvSpPr/>
          <p:nvPr/>
        </p:nvSpPr>
        <p:spPr bwMode="auto">
          <a:xfrm>
            <a:off x="3240132" y="2288370"/>
            <a:ext cx="2098675" cy="1178802"/>
          </a:xfrm>
          <a:prstGeom prst="wedgeRoundRectCallout">
            <a:avLst>
              <a:gd name="adj1" fmla="val -41305"/>
              <a:gd name="adj2" fmla="val -77880"/>
              <a:gd name="adj3" fmla="val 16667"/>
            </a:avLst>
          </a:prstGeom>
          <a:solidFill>
            <a:schemeClr val="accent1"/>
          </a:solidFill>
          <a:ln w="63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>
              <a:defRPr/>
            </a:pPr>
            <a:endParaRPr lang="en-US" kern="0">
              <a:solidFill>
                <a:sysClr val="window" lastClr="FFFFFF"/>
              </a:solidFill>
            </a:endParaRPr>
          </a:p>
        </p:txBody>
      </p:sp>
      <p:sp>
        <p:nvSpPr>
          <p:cNvPr id="20" name="Rounded Rectangular Callout 79">
            <a:extLst>
              <a:ext uri="{FF2B5EF4-FFF2-40B4-BE49-F238E27FC236}">
                <a16:creationId xmlns:a16="http://schemas.microsoft.com/office/drawing/2014/main" id="{8860BA5B-F3B0-CD6C-AFA6-F52399E0DDBE}"/>
              </a:ext>
            </a:extLst>
          </p:cNvPr>
          <p:cNvSpPr/>
          <p:nvPr/>
        </p:nvSpPr>
        <p:spPr bwMode="auto">
          <a:xfrm flipH="1">
            <a:off x="6822529" y="2288370"/>
            <a:ext cx="2098675" cy="1178802"/>
          </a:xfrm>
          <a:prstGeom prst="wedgeRoundRectCallout">
            <a:avLst>
              <a:gd name="adj1" fmla="val -41305"/>
              <a:gd name="adj2" fmla="val -77880"/>
              <a:gd name="adj3" fmla="val 16667"/>
            </a:avLst>
          </a:prstGeom>
          <a:solidFill>
            <a:schemeClr val="accent2"/>
          </a:solidFill>
          <a:ln w="6350" cap="flat" cmpd="sng" algn="ctr">
            <a:solidFill>
              <a:schemeClr val="accent2"/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>
              <a:defRPr/>
            </a:pPr>
            <a:endParaRPr lang="en-US" kern="0">
              <a:solidFill>
                <a:sysClr val="window" lastClr="FFFFFF"/>
              </a:solidFill>
            </a:endParaRPr>
          </a:p>
        </p:txBody>
      </p:sp>
      <p:sp>
        <p:nvSpPr>
          <p:cNvPr id="21" name="Rounded Rectangular Callout 80">
            <a:extLst>
              <a:ext uri="{FF2B5EF4-FFF2-40B4-BE49-F238E27FC236}">
                <a16:creationId xmlns:a16="http://schemas.microsoft.com/office/drawing/2014/main" id="{7C647CBA-FD3E-B571-F33C-49666161D0F9}"/>
              </a:ext>
            </a:extLst>
          </p:cNvPr>
          <p:cNvSpPr/>
          <p:nvPr/>
        </p:nvSpPr>
        <p:spPr bwMode="auto">
          <a:xfrm rot="10800000">
            <a:off x="6822529" y="3727803"/>
            <a:ext cx="2098675" cy="1178802"/>
          </a:xfrm>
          <a:prstGeom prst="wedgeRoundRectCallout">
            <a:avLst>
              <a:gd name="adj1" fmla="val -41305"/>
              <a:gd name="adj2" fmla="val -77880"/>
              <a:gd name="adj3" fmla="val 16667"/>
            </a:avLst>
          </a:prstGeom>
          <a:solidFill>
            <a:schemeClr val="accent3"/>
          </a:solidFill>
          <a:ln w="6350" cap="flat" cmpd="sng" algn="ctr">
            <a:solidFill>
              <a:schemeClr val="accent3"/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>
              <a:defRPr/>
            </a:pPr>
            <a:endParaRPr lang="en-US" kern="0">
              <a:solidFill>
                <a:sysClr val="window" lastClr="FFFFFF"/>
              </a:solidFill>
            </a:endParaRPr>
          </a:p>
        </p:txBody>
      </p:sp>
      <p:sp>
        <p:nvSpPr>
          <p:cNvPr id="22" name="Rounded Rectangular Callout 81">
            <a:extLst>
              <a:ext uri="{FF2B5EF4-FFF2-40B4-BE49-F238E27FC236}">
                <a16:creationId xmlns:a16="http://schemas.microsoft.com/office/drawing/2014/main" id="{E890D40E-931C-AD3D-1A59-6E329EBDF53D}"/>
              </a:ext>
            </a:extLst>
          </p:cNvPr>
          <p:cNvSpPr/>
          <p:nvPr/>
        </p:nvSpPr>
        <p:spPr bwMode="auto">
          <a:xfrm rot="10800000" flipH="1">
            <a:off x="3240132" y="3727803"/>
            <a:ext cx="2098675" cy="1178802"/>
          </a:xfrm>
          <a:prstGeom prst="wedgeRoundRectCallout">
            <a:avLst>
              <a:gd name="adj1" fmla="val -41305"/>
              <a:gd name="adj2" fmla="val -77880"/>
              <a:gd name="adj3" fmla="val 16667"/>
            </a:avLst>
          </a:prstGeom>
          <a:solidFill>
            <a:schemeClr val="accent4"/>
          </a:solidFill>
          <a:ln w="6350" cap="flat" cmpd="sng" algn="ctr">
            <a:solidFill>
              <a:schemeClr val="accent4"/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>
              <a:defRPr/>
            </a:pPr>
            <a:endParaRPr lang="en-US" kern="0">
              <a:solidFill>
                <a:sysClr val="window" lastClr="FFFFFF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953CD6B-4E3E-B9DE-DEB7-2D6178929EE2}"/>
              </a:ext>
            </a:extLst>
          </p:cNvPr>
          <p:cNvSpPr/>
          <p:nvPr/>
        </p:nvSpPr>
        <p:spPr bwMode="auto">
          <a:xfrm>
            <a:off x="3277608" y="2320735"/>
            <a:ext cx="2015204" cy="416128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lnSpc>
                <a:spcPct val="120000"/>
              </a:lnSpc>
              <a:defRPr/>
            </a:pPr>
            <a:r>
              <a:rPr lang="en-US" sz="1600" b="1" kern="0" dirty="0">
                <a:solidFill>
                  <a:sysClr val="window" lastClr="FFFFFF"/>
                </a:solidFill>
                <a:ea typeface="ＭＳ Ｐゴシック" charset="0"/>
                <a:cs typeface="Calibri"/>
              </a:rPr>
              <a:t>STRENGTH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AF37D66A-DE49-5D5A-83B9-D1C1C568E522}"/>
              </a:ext>
            </a:extLst>
          </p:cNvPr>
          <p:cNvGrpSpPr/>
          <p:nvPr/>
        </p:nvGrpSpPr>
        <p:grpSpPr>
          <a:xfrm>
            <a:off x="2282821" y="1299744"/>
            <a:ext cx="848818" cy="666222"/>
            <a:chOff x="60290" y="30145"/>
            <a:chExt cx="1728317" cy="1356528"/>
          </a:xfrm>
          <a:solidFill>
            <a:schemeClr val="bg1"/>
          </a:solidFill>
        </p:grpSpPr>
        <p:sp>
          <p:nvSpPr>
            <p:cNvPr id="25" name="Freeform 105">
              <a:extLst>
                <a:ext uri="{FF2B5EF4-FFF2-40B4-BE49-F238E27FC236}">
                  <a16:creationId xmlns:a16="http://schemas.microsoft.com/office/drawing/2014/main" id="{8989B6F4-B4AA-B462-2ECA-E89DB85629C0}"/>
                </a:ext>
              </a:extLst>
            </p:cNvPr>
            <p:cNvSpPr/>
            <p:nvPr/>
          </p:nvSpPr>
          <p:spPr bwMode="auto">
            <a:xfrm>
              <a:off x="60290" y="30145"/>
              <a:ext cx="1728317" cy="1356528"/>
            </a:xfrm>
            <a:custGeom>
              <a:avLst/>
              <a:gdLst>
                <a:gd name="connsiteX0" fmla="*/ 10048 w 1728317"/>
                <a:gd name="connsiteY0" fmla="*/ 1306286 h 1356528"/>
                <a:gd name="connsiteX1" fmla="*/ 0 w 1728317"/>
                <a:gd name="connsiteY1" fmla="*/ 1175657 h 1356528"/>
                <a:gd name="connsiteX2" fmla="*/ 432079 w 1728317"/>
                <a:gd name="connsiteY2" fmla="*/ 562708 h 1356528"/>
                <a:gd name="connsiteX3" fmla="*/ 542611 w 1728317"/>
                <a:gd name="connsiteY3" fmla="*/ 562708 h 1356528"/>
                <a:gd name="connsiteX4" fmla="*/ 643095 w 1728317"/>
                <a:gd name="connsiteY4" fmla="*/ 773723 h 1356528"/>
                <a:gd name="connsiteX5" fmla="*/ 914400 w 1728317"/>
                <a:gd name="connsiteY5" fmla="*/ 422031 h 1356528"/>
                <a:gd name="connsiteX6" fmla="*/ 1014884 w 1728317"/>
                <a:gd name="connsiteY6" fmla="*/ 422031 h 1356528"/>
                <a:gd name="connsiteX7" fmla="*/ 1165609 w 1728317"/>
                <a:gd name="connsiteY7" fmla="*/ 663191 h 1356528"/>
                <a:gd name="connsiteX8" fmla="*/ 1627833 w 1728317"/>
                <a:gd name="connsiteY8" fmla="*/ 130629 h 1356528"/>
                <a:gd name="connsiteX9" fmla="*/ 1266092 w 1728317"/>
                <a:gd name="connsiteY9" fmla="*/ 150725 h 1356528"/>
                <a:gd name="connsiteX10" fmla="*/ 1728317 w 1728317"/>
                <a:gd name="connsiteY10" fmla="*/ 0 h 1356528"/>
                <a:gd name="connsiteX11" fmla="*/ 1688123 w 1728317"/>
                <a:gd name="connsiteY11" fmla="*/ 391886 h 1356528"/>
                <a:gd name="connsiteX12" fmla="*/ 1668026 w 1728317"/>
                <a:gd name="connsiteY12" fmla="*/ 492369 h 1356528"/>
                <a:gd name="connsiteX13" fmla="*/ 1657978 w 1728317"/>
                <a:gd name="connsiteY13" fmla="*/ 160774 h 1356528"/>
                <a:gd name="connsiteX14" fmla="*/ 1195754 w 1728317"/>
                <a:gd name="connsiteY14" fmla="*/ 743578 h 1356528"/>
                <a:gd name="connsiteX15" fmla="*/ 1105319 w 1728317"/>
                <a:gd name="connsiteY15" fmla="*/ 753626 h 1356528"/>
                <a:gd name="connsiteX16" fmla="*/ 974690 w 1728317"/>
                <a:gd name="connsiteY16" fmla="*/ 552659 h 1356528"/>
                <a:gd name="connsiteX17" fmla="*/ 693336 w 1728317"/>
                <a:gd name="connsiteY17" fmla="*/ 924448 h 1356528"/>
                <a:gd name="connsiteX18" fmla="*/ 562708 w 1728317"/>
                <a:gd name="connsiteY18" fmla="*/ 924448 h 1356528"/>
                <a:gd name="connsiteX19" fmla="*/ 462224 w 1728317"/>
                <a:gd name="connsiteY19" fmla="*/ 723481 h 1356528"/>
                <a:gd name="connsiteX20" fmla="*/ 20097 w 1728317"/>
                <a:gd name="connsiteY20" fmla="*/ 1356528 h 1356528"/>
                <a:gd name="connsiteX21" fmla="*/ 10048 w 1728317"/>
                <a:gd name="connsiteY21" fmla="*/ 1306286 h 1356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728317" h="1356528">
                  <a:moveTo>
                    <a:pt x="10048" y="1306286"/>
                  </a:moveTo>
                  <a:lnTo>
                    <a:pt x="0" y="1175657"/>
                  </a:lnTo>
                  <a:lnTo>
                    <a:pt x="432079" y="562708"/>
                  </a:lnTo>
                  <a:lnTo>
                    <a:pt x="542611" y="562708"/>
                  </a:lnTo>
                  <a:lnTo>
                    <a:pt x="643095" y="773723"/>
                  </a:lnTo>
                  <a:lnTo>
                    <a:pt x="914400" y="422031"/>
                  </a:lnTo>
                  <a:lnTo>
                    <a:pt x="1014884" y="422031"/>
                  </a:lnTo>
                  <a:lnTo>
                    <a:pt x="1165609" y="663191"/>
                  </a:lnTo>
                  <a:lnTo>
                    <a:pt x="1627833" y="130629"/>
                  </a:lnTo>
                  <a:lnTo>
                    <a:pt x="1266092" y="150725"/>
                  </a:lnTo>
                  <a:lnTo>
                    <a:pt x="1728317" y="0"/>
                  </a:lnTo>
                  <a:lnTo>
                    <a:pt x="1688123" y="391886"/>
                  </a:lnTo>
                  <a:lnTo>
                    <a:pt x="1668026" y="492369"/>
                  </a:lnTo>
                  <a:lnTo>
                    <a:pt x="1657978" y="160774"/>
                  </a:lnTo>
                  <a:lnTo>
                    <a:pt x="1195754" y="743578"/>
                  </a:lnTo>
                  <a:lnTo>
                    <a:pt x="1105319" y="753626"/>
                  </a:lnTo>
                  <a:lnTo>
                    <a:pt x="974690" y="552659"/>
                  </a:lnTo>
                  <a:lnTo>
                    <a:pt x="693336" y="924448"/>
                  </a:lnTo>
                  <a:lnTo>
                    <a:pt x="562708" y="924448"/>
                  </a:lnTo>
                  <a:lnTo>
                    <a:pt x="462224" y="723481"/>
                  </a:lnTo>
                  <a:lnTo>
                    <a:pt x="20097" y="1356528"/>
                  </a:lnTo>
                  <a:lnTo>
                    <a:pt x="10048" y="130628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  <p:sp>
          <p:nvSpPr>
            <p:cNvPr id="26" name="Freeform 106">
              <a:extLst>
                <a:ext uri="{FF2B5EF4-FFF2-40B4-BE49-F238E27FC236}">
                  <a16:creationId xmlns:a16="http://schemas.microsoft.com/office/drawing/2014/main" id="{C4687694-9C50-394F-A7FC-4E780C0EB7F7}"/>
                </a:ext>
              </a:extLst>
            </p:cNvPr>
            <p:cNvSpPr/>
            <p:nvPr/>
          </p:nvSpPr>
          <p:spPr bwMode="auto">
            <a:xfrm>
              <a:off x="100484" y="341644"/>
              <a:ext cx="130628" cy="643094"/>
            </a:xfrm>
            <a:custGeom>
              <a:avLst/>
              <a:gdLst>
                <a:gd name="connsiteX0" fmla="*/ 60290 w 130628"/>
                <a:gd name="connsiteY0" fmla="*/ 20097 h 643094"/>
                <a:gd name="connsiteX1" fmla="*/ 130628 w 130628"/>
                <a:gd name="connsiteY1" fmla="*/ 321547 h 643094"/>
                <a:gd name="connsiteX2" fmla="*/ 110531 w 130628"/>
                <a:gd name="connsiteY2" fmla="*/ 643094 h 643094"/>
                <a:gd name="connsiteX3" fmla="*/ 0 w 130628"/>
                <a:gd name="connsiteY3" fmla="*/ 622998 h 643094"/>
                <a:gd name="connsiteX4" fmla="*/ 10048 w 130628"/>
                <a:gd name="connsiteY4" fmla="*/ 0 h 643094"/>
                <a:gd name="connsiteX5" fmla="*/ 60290 w 130628"/>
                <a:gd name="connsiteY5" fmla="*/ 20097 h 643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0628" h="643094">
                  <a:moveTo>
                    <a:pt x="60290" y="20097"/>
                  </a:moveTo>
                  <a:lnTo>
                    <a:pt x="130628" y="321547"/>
                  </a:lnTo>
                  <a:lnTo>
                    <a:pt x="110531" y="643094"/>
                  </a:lnTo>
                  <a:lnTo>
                    <a:pt x="0" y="622998"/>
                  </a:lnTo>
                  <a:lnTo>
                    <a:pt x="10048" y="0"/>
                  </a:lnTo>
                  <a:lnTo>
                    <a:pt x="60290" y="2009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  <p:sp>
          <p:nvSpPr>
            <p:cNvPr id="27" name="Freeform 107">
              <a:extLst>
                <a:ext uri="{FF2B5EF4-FFF2-40B4-BE49-F238E27FC236}">
                  <a16:creationId xmlns:a16="http://schemas.microsoft.com/office/drawing/2014/main" id="{5D2392F5-1B01-BFFB-D6B2-BCE66A1B0EA0}"/>
                </a:ext>
              </a:extLst>
            </p:cNvPr>
            <p:cNvSpPr/>
            <p:nvPr/>
          </p:nvSpPr>
          <p:spPr bwMode="auto">
            <a:xfrm>
              <a:off x="231112" y="251209"/>
              <a:ext cx="1195754" cy="120580"/>
            </a:xfrm>
            <a:custGeom>
              <a:avLst/>
              <a:gdLst>
                <a:gd name="connsiteX0" fmla="*/ 0 w 1195754"/>
                <a:gd name="connsiteY0" fmla="*/ 100483 h 120580"/>
                <a:gd name="connsiteX1" fmla="*/ 60290 w 1195754"/>
                <a:gd name="connsiteY1" fmla="*/ 0 h 120580"/>
                <a:gd name="connsiteX2" fmla="*/ 1195754 w 1195754"/>
                <a:gd name="connsiteY2" fmla="*/ 40193 h 120580"/>
                <a:gd name="connsiteX3" fmla="*/ 653143 w 1195754"/>
                <a:gd name="connsiteY3" fmla="*/ 120580 h 120580"/>
                <a:gd name="connsiteX4" fmla="*/ 0 w 1195754"/>
                <a:gd name="connsiteY4" fmla="*/ 100483 h 120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95754" h="120580">
                  <a:moveTo>
                    <a:pt x="0" y="100483"/>
                  </a:moveTo>
                  <a:lnTo>
                    <a:pt x="60290" y="0"/>
                  </a:lnTo>
                  <a:lnTo>
                    <a:pt x="1195754" y="40193"/>
                  </a:lnTo>
                  <a:lnTo>
                    <a:pt x="653143" y="120580"/>
                  </a:lnTo>
                  <a:lnTo>
                    <a:pt x="0" y="10048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  <p:sp>
          <p:nvSpPr>
            <p:cNvPr id="28" name="Freeform 108">
              <a:extLst>
                <a:ext uri="{FF2B5EF4-FFF2-40B4-BE49-F238E27FC236}">
                  <a16:creationId xmlns:a16="http://schemas.microsoft.com/office/drawing/2014/main" id="{CA9ACCDE-A553-ECB3-CD5F-670A7FE34108}"/>
                </a:ext>
              </a:extLst>
            </p:cNvPr>
            <p:cNvSpPr/>
            <p:nvPr/>
          </p:nvSpPr>
          <p:spPr bwMode="auto">
            <a:xfrm>
              <a:off x="1627833" y="542611"/>
              <a:ext cx="150725" cy="502418"/>
            </a:xfrm>
            <a:custGeom>
              <a:avLst/>
              <a:gdLst>
                <a:gd name="connsiteX0" fmla="*/ 70338 w 150725"/>
                <a:gd name="connsiteY0" fmla="*/ 0 h 502418"/>
                <a:gd name="connsiteX1" fmla="*/ 0 w 150725"/>
                <a:gd name="connsiteY1" fmla="*/ 100484 h 502418"/>
                <a:gd name="connsiteX2" fmla="*/ 0 w 150725"/>
                <a:gd name="connsiteY2" fmla="*/ 502418 h 502418"/>
                <a:gd name="connsiteX3" fmla="*/ 150725 w 150725"/>
                <a:gd name="connsiteY3" fmla="*/ 482321 h 502418"/>
                <a:gd name="connsiteX4" fmla="*/ 70338 w 150725"/>
                <a:gd name="connsiteY4" fmla="*/ 0 h 502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0725" h="502418">
                  <a:moveTo>
                    <a:pt x="70338" y="0"/>
                  </a:moveTo>
                  <a:lnTo>
                    <a:pt x="0" y="100484"/>
                  </a:lnTo>
                  <a:lnTo>
                    <a:pt x="0" y="502418"/>
                  </a:lnTo>
                  <a:lnTo>
                    <a:pt x="150725" y="482321"/>
                  </a:lnTo>
                  <a:lnTo>
                    <a:pt x="7033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109">
              <a:extLst>
                <a:ext uri="{FF2B5EF4-FFF2-40B4-BE49-F238E27FC236}">
                  <a16:creationId xmlns:a16="http://schemas.microsoft.com/office/drawing/2014/main" id="{FDB75303-0A2B-F8D2-D3F7-006019F99C6D}"/>
                </a:ext>
              </a:extLst>
            </p:cNvPr>
            <p:cNvSpPr/>
            <p:nvPr/>
          </p:nvSpPr>
          <p:spPr bwMode="auto">
            <a:xfrm>
              <a:off x="301451" y="1055077"/>
              <a:ext cx="1446962" cy="100483"/>
            </a:xfrm>
            <a:custGeom>
              <a:avLst/>
              <a:gdLst>
                <a:gd name="connsiteX0" fmla="*/ 0 w 1446962"/>
                <a:gd name="connsiteY0" fmla="*/ 60290 h 100483"/>
                <a:gd name="connsiteX1" fmla="*/ 1336430 w 1446962"/>
                <a:gd name="connsiteY1" fmla="*/ 0 h 100483"/>
                <a:gd name="connsiteX2" fmla="*/ 1446962 w 1446962"/>
                <a:gd name="connsiteY2" fmla="*/ 100483 h 100483"/>
                <a:gd name="connsiteX3" fmla="*/ 0 w 1446962"/>
                <a:gd name="connsiteY3" fmla="*/ 60290 h 100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46962" h="100483">
                  <a:moveTo>
                    <a:pt x="0" y="60290"/>
                  </a:moveTo>
                  <a:lnTo>
                    <a:pt x="1336430" y="0"/>
                  </a:lnTo>
                  <a:lnTo>
                    <a:pt x="1446962" y="100483"/>
                  </a:lnTo>
                  <a:lnTo>
                    <a:pt x="0" y="6029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41B5B7B4-65E2-E2FE-D0F7-734AF7AD2A42}"/>
              </a:ext>
            </a:extLst>
          </p:cNvPr>
          <p:cNvGrpSpPr/>
          <p:nvPr/>
        </p:nvGrpSpPr>
        <p:grpSpPr>
          <a:xfrm>
            <a:off x="9105411" y="5146045"/>
            <a:ext cx="821398" cy="776478"/>
            <a:chOff x="3878664" y="3496826"/>
            <a:chExt cx="1286189" cy="1215851"/>
          </a:xfrm>
          <a:solidFill>
            <a:schemeClr val="bg1"/>
          </a:solidFill>
        </p:grpSpPr>
        <p:sp>
          <p:nvSpPr>
            <p:cNvPr id="31" name="Freeform 102">
              <a:extLst>
                <a:ext uri="{FF2B5EF4-FFF2-40B4-BE49-F238E27FC236}">
                  <a16:creationId xmlns:a16="http://schemas.microsoft.com/office/drawing/2014/main" id="{4DE8D073-06B4-995F-7F97-C21A713581A7}"/>
                </a:ext>
              </a:extLst>
            </p:cNvPr>
            <p:cNvSpPr/>
            <p:nvPr/>
          </p:nvSpPr>
          <p:spPr bwMode="auto">
            <a:xfrm>
              <a:off x="3878664" y="3496826"/>
              <a:ext cx="1286189" cy="1215851"/>
            </a:xfrm>
            <a:custGeom>
              <a:avLst/>
              <a:gdLst>
                <a:gd name="connsiteX0" fmla="*/ 0 w 1286189"/>
                <a:gd name="connsiteY0" fmla="*/ 1075174 h 1215851"/>
                <a:gd name="connsiteX1" fmla="*/ 602901 w 1286189"/>
                <a:gd name="connsiteY1" fmla="*/ 0 h 1215851"/>
                <a:gd name="connsiteX2" fmla="*/ 683288 w 1286189"/>
                <a:gd name="connsiteY2" fmla="*/ 0 h 1215851"/>
                <a:gd name="connsiteX3" fmla="*/ 1286189 w 1286189"/>
                <a:gd name="connsiteY3" fmla="*/ 1115367 h 1215851"/>
                <a:gd name="connsiteX4" fmla="*/ 1266092 w 1286189"/>
                <a:gd name="connsiteY4" fmla="*/ 1175658 h 1215851"/>
                <a:gd name="connsiteX5" fmla="*/ 311499 w 1286189"/>
                <a:gd name="connsiteY5" fmla="*/ 1215851 h 1215851"/>
                <a:gd name="connsiteX6" fmla="*/ 160773 w 1286189"/>
                <a:gd name="connsiteY6" fmla="*/ 1135464 h 1215851"/>
                <a:gd name="connsiteX7" fmla="*/ 1165609 w 1286189"/>
                <a:gd name="connsiteY7" fmla="*/ 1095271 h 1215851"/>
                <a:gd name="connsiteX8" fmla="*/ 633046 w 1286189"/>
                <a:gd name="connsiteY8" fmla="*/ 70339 h 1215851"/>
                <a:gd name="connsiteX9" fmla="*/ 0 w 1286189"/>
                <a:gd name="connsiteY9" fmla="*/ 1075174 h 1215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86189" h="1215851">
                  <a:moveTo>
                    <a:pt x="0" y="1075174"/>
                  </a:moveTo>
                  <a:lnTo>
                    <a:pt x="602901" y="0"/>
                  </a:lnTo>
                  <a:lnTo>
                    <a:pt x="683288" y="0"/>
                  </a:lnTo>
                  <a:lnTo>
                    <a:pt x="1286189" y="1115367"/>
                  </a:lnTo>
                  <a:lnTo>
                    <a:pt x="1266092" y="1175658"/>
                  </a:lnTo>
                  <a:lnTo>
                    <a:pt x="311499" y="1215851"/>
                  </a:lnTo>
                  <a:lnTo>
                    <a:pt x="160773" y="1135464"/>
                  </a:lnTo>
                  <a:lnTo>
                    <a:pt x="1165609" y="1095271"/>
                  </a:lnTo>
                  <a:lnTo>
                    <a:pt x="633046" y="70339"/>
                  </a:lnTo>
                  <a:lnTo>
                    <a:pt x="0" y="10751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  <p:sp>
          <p:nvSpPr>
            <p:cNvPr id="32" name="Freeform 103">
              <a:extLst>
                <a:ext uri="{FF2B5EF4-FFF2-40B4-BE49-F238E27FC236}">
                  <a16:creationId xmlns:a16="http://schemas.microsoft.com/office/drawing/2014/main" id="{53D44421-D62F-1D46-FF15-7D4EB49918DD}"/>
                </a:ext>
              </a:extLst>
            </p:cNvPr>
            <p:cNvSpPr/>
            <p:nvPr/>
          </p:nvSpPr>
          <p:spPr bwMode="auto">
            <a:xfrm>
              <a:off x="4461468" y="3849686"/>
              <a:ext cx="120579" cy="502416"/>
            </a:xfrm>
            <a:custGeom>
              <a:avLst/>
              <a:gdLst>
                <a:gd name="connsiteX0" fmla="*/ 40194 w 120580"/>
                <a:gd name="connsiteY0" fmla="*/ 502417 h 502417"/>
                <a:gd name="connsiteX1" fmla="*/ 0 w 120580"/>
                <a:gd name="connsiteY1" fmla="*/ 0 h 502417"/>
                <a:gd name="connsiteX2" fmla="*/ 120580 w 120580"/>
                <a:gd name="connsiteY2" fmla="*/ 0 h 502417"/>
                <a:gd name="connsiteX3" fmla="*/ 40194 w 120580"/>
                <a:gd name="connsiteY3" fmla="*/ 502417 h 502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80" h="502417">
                  <a:moveTo>
                    <a:pt x="40194" y="502417"/>
                  </a:moveTo>
                  <a:lnTo>
                    <a:pt x="0" y="0"/>
                  </a:lnTo>
                  <a:lnTo>
                    <a:pt x="120580" y="0"/>
                  </a:lnTo>
                  <a:lnTo>
                    <a:pt x="40194" y="50241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  <p:sp>
          <p:nvSpPr>
            <p:cNvPr id="33" name="Freeform 104">
              <a:extLst>
                <a:ext uri="{FF2B5EF4-FFF2-40B4-BE49-F238E27FC236}">
                  <a16:creationId xmlns:a16="http://schemas.microsoft.com/office/drawing/2014/main" id="{E42D4E26-59BA-8CDE-9906-D4A8EB32F8EC}"/>
                </a:ext>
              </a:extLst>
            </p:cNvPr>
            <p:cNvSpPr/>
            <p:nvPr/>
          </p:nvSpPr>
          <p:spPr bwMode="auto">
            <a:xfrm>
              <a:off x="4431323" y="4431323"/>
              <a:ext cx="190919" cy="70339"/>
            </a:xfrm>
            <a:custGeom>
              <a:avLst/>
              <a:gdLst>
                <a:gd name="connsiteX0" fmla="*/ 0 w 190919"/>
                <a:gd name="connsiteY0" fmla="*/ 0 h 70339"/>
                <a:gd name="connsiteX1" fmla="*/ 160774 w 190919"/>
                <a:gd name="connsiteY1" fmla="*/ 0 h 70339"/>
                <a:gd name="connsiteX2" fmla="*/ 190919 w 190919"/>
                <a:gd name="connsiteY2" fmla="*/ 70339 h 70339"/>
                <a:gd name="connsiteX3" fmla="*/ 50242 w 190919"/>
                <a:gd name="connsiteY3" fmla="*/ 70339 h 70339"/>
                <a:gd name="connsiteX4" fmla="*/ 0 w 190919"/>
                <a:gd name="connsiteY4" fmla="*/ 0 h 70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0919" h="70339">
                  <a:moveTo>
                    <a:pt x="0" y="0"/>
                  </a:moveTo>
                  <a:lnTo>
                    <a:pt x="160774" y="0"/>
                  </a:lnTo>
                  <a:lnTo>
                    <a:pt x="190919" y="70339"/>
                  </a:lnTo>
                  <a:lnTo>
                    <a:pt x="50242" y="7033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dirty="0"/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84B87281-5AAE-49C1-875B-4C41BAA3D0F7}"/>
              </a:ext>
            </a:extLst>
          </p:cNvPr>
          <p:cNvGrpSpPr/>
          <p:nvPr/>
        </p:nvGrpSpPr>
        <p:grpSpPr>
          <a:xfrm>
            <a:off x="2235917" y="5160358"/>
            <a:ext cx="897786" cy="744482"/>
            <a:chOff x="200967" y="3403250"/>
            <a:chExt cx="1688124" cy="1399862"/>
          </a:xfrm>
          <a:solidFill>
            <a:schemeClr val="bg1"/>
          </a:solidFill>
        </p:grpSpPr>
        <p:sp>
          <p:nvSpPr>
            <p:cNvPr id="35" name="Freeform 99">
              <a:extLst>
                <a:ext uri="{FF2B5EF4-FFF2-40B4-BE49-F238E27FC236}">
                  <a16:creationId xmlns:a16="http://schemas.microsoft.com/office/drawing/2014/main" id="{A18DA3F1-1EC0-A78C-6EE9-145DEDD6EF0E}"/>
                </a:ext>
              </a:extLst>
            </p:cNvPr>
            <p:cNvSpPr/>
            <p:nvPr/>
          </p:nvSpPr>
          <p:spPr bwMode="auto">
            <a:xfrm>
              <a:off x="200967" y="3506875"/>
              <a:ext cx="1457011" cy="1296237"/>
            </a:xfrm>
            <a:custGeom>
              <a:avLst/>
              <a:gdLst>
                <a:gd name="connsiteX0" fmla="*/ 673240 w 1457011"/>
                <a:gd name="connsiteY0" fmla="*/ 40193 h 1296237"/>
                <a:gd name="connsiteX1" fmla="*/ 482321 w 1457011"/>
                <a:gd name="connsiteY1" fmla="*/ 321547 h 1296237"/>
                <a:gd name="connsiteX2" fmla="*/ 20097 w 1457011"/>
                <a:gd name="connsiteY2" fmla="*/ 411982 h 1296237"/>
                <a:gd name="connsiteX3" fmla="*/ 0 w 1457011"/>
                <a:gd name="connsiteY3" fmla="*/ 462224 h 1296237"/>
                <a:gd name="connsiteX4" fmla="*/ 331596 w 1457011"/>
                <a:gd name="connsiteY4" fmla="*/ 803868 h 1296237"/>
                <a:gd name="connsiteX5" fmla="*/ 261257 w 1457011"/>
                <a:gd name="connsiteY5" fmla="*/ 1225899 h 1296237"/>
                <a:gd name="connsiteX6" fmla="*/ 331596 w 1457011"/>
                <a:gd name="connsiteY6" fmla="*/ 1296237 h 1296237"/>
                <a:gd name="connsiteX7" fmla="*/ 743578 w 1457011"/>
                <a:gd name="connsiteY7" fmla="*/ 1085222 h 1296237"/>
                <a:gd name="connsiteX8" fmla="*/ 1135464 w 1457011"/>
                <a:gd name="connsiteY8" fmla="*/ 1296237 h 1296237"/>
                <a:gd name="connsiteX9" fmla="*/ 1185706 w 1457011"/>
                <a:gd name="connsiteY9" fmla="*/ 1235947 h 1296237"/>
                <a:gd name="connsiteX10" fmla="*/ 1135464 w 1457011"/>
                <a:gd name="connsiteY10" fmla="*/ 793820 h 1296237"/>
                <a:gd name="connsiteX11" fmla="*/ 1457011 w 1457011"/>
                <a:gd name="connsiteY11" fmla="*/ 422030 h 1296237"/>
                <a:gd name="connsiteX12" fmla="*/ 954593 w 1457011"/>
                <a:gd name="connsiteY12" fmla="*/ 341644 h 1296237"/>
                <a:gd name="connsiteX13" fmla="*/ 783771 w 1457011"/>
                <a:gd name="connsiteY13" fmla="*/ 30145 h 1296237"/>
                <a:gd name="connsiteX14" fmla="*/ 904352 w 1457011"/>
                <a:gd name="connsiteY14" fmla="*/ 432079 h 1296237"/>
                <a:gd name="connsiteX15" fmla="*/ 1336431 w 1457011"/>
                <a:gd name="connsiteY15" fmla="*/ 472272 h 1296237"/>
                <a:gd name="connsiteX16" fmla="*/ 1014884 w 1457011"/>
                <a:gd name="connsiteY16" fmla="*/ 773723 h 1296237"/>
                <a:gd name="connsiteX17" fmla="*/ 1095270 w 1457011"/>
                <a:gd name="connsiteY17" fmla="*/ 1185705 h 1296237"/>
                <a:gd name="connsiteX18" fmla="*/ 753626 w 1457011"/>
                <a:gd name="connsiteY18" fmla="*/ 974690 h 1296237"/>
                <a:gd name="connsiteX19" fmla="*/ 361741 w 1457011"/>
                <a:gd name="connsiteY19" fmla="*/ 1145512 h 1296237"/>
                <a:gd name="connsiteX20" fmla="*/ 442128 w 1457011"/>
                <a:gd name="connsiteY20" fmla="*/ 773723 h 1296237"/>
                <a:gd name="connsiteX21" fmla="*/ 150725 w 1457011"/>
                <a:gd name="connsiteY21" fmla="*/ 462224 h 1296237"/>
                <a:gd name="connsiteX22" fmla="*/ 502418 w 1457011"/>
                <a:gd name="connsiteY22" fmla="*/ 422030 h 1296237"/>
                <a:gd name="connsiteX23" fmla="*/ 713433 w 1457011"/>
                <a:gd name="connsiteY23" fmla="*/ 0 h 1296237"/>
                <a:gd name="connsiteX24" fmla="*/ 673240 w 1457011"/>
                <a:gd name="connsiteY24" fmla="*/ 40193 h 1296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457011" h="1296237">
                  <a:moveTo>
                    <a:pt x="673240" y="40193"/>
                  </a:moveTo>
                  <a:lnTo>
                    <a:pt x="482321" y="321547"/>
                  </a:lnTo>
                  <a:lnTo>
                    <a:pt x="20097" y="411982"/>
                  </a:lnTo>
                  <a:lnTo>
                    <a:pt x="0" y="462224"/>
                  </a:lnTo>
                  <a:lnTo>
                    <a:pt x="331596" y="803868"/>
                  </a:lnTo>
                  <a:lnTo>
                    <a:pt x="261257" y="1225899"/>
                  </a:lnTo>
                  <a:lnTo>
                    <a:pt x="331596" y="1296237"/>
                  </a:lnTo>
                  <a:lnTo>
                    <a:pt x="743578" y="1085222"/>
                  </a:lnTo>
                  <a:lnTo>
                    <a:pt x="1135464" y="1296237"/>
                  </a:lnTo>
                  <a:lnTo>
                    <a:pt x="1185706" y="1235947"/>
                  </a:lnTo>
                  <a:lnTo>
                    <a:pt x="1135464" y="793820"/>
                  </a:lnTo>
                  <a:lnTo>
                    <a:pt x="1457011" y="422030"/>
                  </a:lnTo>
                  <a:lnTo>
                    <a:pt x="954593" y="341644"/>
                  </a:lnTo>
                  <a:lnTo>
                    <a:pt x="783771" y="30145"/>
                  </a:lnTo>
                  <a:lnTo>
                    <a:pt x="904352" y="432079"/>
                  </a:lnTo>
                  <a:lnTo>
                    <a:pt x="1336431" y="472272"/>
                  </a:lnTo>
                  <a:lnTo>
                    <a:pt x="1014884" y="773723"/>
                  </a:lnTo>
                  <a:lnTo>
                    <a:pt x="1095270" y="1185705"/>
                  </a:lnTo>
                  <a:lnTo>
                    <a:pt x="753626" y="974690"/>
                  </a:lnTo>
                  <a:lnTo>
                    <a:pt x="361741" y="1145512"/>
                  </a:lnTo>
                  <a:lnTo>
                    <a:pt x="442128" y="773723"/>
                  </a:lnTo>
                  <a:lnTo>
                    <a:pt x="150725" y="462224"/>
                  </a:lnTo>
                  <a:lnTo>
                    <a:pt x="502418" y="422030"/>
                  </a:lnTo>
                  <a:lnTo>
                    <a:pt x="713433" y="0"/>
                  </a:lnTo>
                  <a:lnTo>
                    <a:pt x="673240" y="4019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  <p:sp>
          <p:nvSpPr>
            <p:cNvPr id="36" name="Freeform 100">
              <a:extLst>
                <a:ext uri="{FF2B5EF4-FFF2-40B4-BE49-F238E27FC236}">
                  <a16:creationId xmlns:a16="http://schemas.microsoft.com/office/drawing/2014/main" id="{153089C3-6DD9-6772-DF7E-B84996DEA758}"/>
                </a:ext>
              </a:extLst>
            </p:cNvPr>
            <p:cNvSpPr/>
            <p:nvPr/>
          </p:nvSpPr>
          <p:spPr bwMode="auto">
            <a:xfrm>
              <a:off x="1219200" y="3403250"/>
              <a:ext cx="428730" cy="381422"/>
            </a:xfrm>
            <a:custGeom>
              <a:avLst/>
              <a:gdLst>
                <a:gd name="connsiteX0" fmla="*/ 673240 w 1457011"/>
                <a:gd name="connsiteY0" fmla="*/ 40193 h 1296237"/>
                <a:gd name="connsiteX1" fmla="*/ 482321 w 1457011"/>
                <a:gd name="connsiteY1" fmla="*/ 321547 h 1296237"/>
                <a:gd name="connsiteX2" fmla="*/ 20097 w 1457011"/>
                <a:gd name="connsiteY2" fmla="*/ 411982 h 1296237"/>
                <a:gd name="connsiteX3" fmla="*/ 0 w 1457011"/>
                <a:gd name="connsiteY3" fmla="*/ 462224 h 1296237"/>
                <a:gd name="connsiteX4" fmla="*/ 331596 w 1457011"/>
                <a:gd name="connsiteY4" fmla="*/ 803868 h 1296237"/>
                <a:gd name="connsiteX5" fmla="*/ 261257 w 1457011"/>
                <a:gd name="connsiteY5" fmla="*/ 1225899 h 1296237"/>
                <a:gd name="connsiteX6" fmla="*/ 331596 w 1457011"/>
                <a:gd name="connsiteY6" fmla="*/ 1296237 h 1296237"/>
                <a:gd name="connsiteX7" fmla="*/ 743578 w 1457011"/>
                <a:gd name="connsiteY7" fmla="*/ 1085222 h 1296237"/>
                <a:gd name="connsiteX8" fmla="*/ 1135464 w 1457011"/>
                <a:gd name="connsiteY8" fmla="*/ 1296237 h 1296237"/>
                <a:gd name="connsiteX9" fmla="*/ 1185706 w 1457011"/>
                <a:gd name="connsiteY9" fmla="*/ 1235947 h 1296237"/>
                <a:gd name="connsiteX10" fmla="*/ 1135464 w 1457011"/>
                <a:gd name="connsiteY10" fmla="*/ 793820 h 1296237"/>
                <a:gd name="connsiteX11" fmla="*/ 1457011 w 1457011"/>
                <a:gd name="connsiteY11" fmla="*/ 422030 h 1296237"/>
                <a:gd name="connsiteX12" fmla="*/ 954593 w 1457011"/>
                <a:gd name="connsiteY12" fmla="*/ 341644 h 1296237"/>
                <a:gd name="connsiteX13" fmla="*/ 783771 w 1457011"/>
                <a:gd name="connsiteY13" fmla="*/ 30145 h 1296237"/>
                <a:gd name="connsiteX14" fmla="*/ 904352 w 1457011"/>
                <a:gd name="connsiteY14" fmla="*/ 432079 h 1296237"/>
                <a:gd name="connsiteX15" fmla="*/ 1336431 w 1457011"/>
                <a:gd name="connsiteY15" fmla="*/ 472272 h 1296237"/>
                <a:gd name="connsiteX16" fmla="*/ 1014884 w 1457011"/>
                <a:gd name="connsiteY16" fmla="*/ 773723 h 1296237"/>
                <a:gd name="connsiteX17" fmla="*/ 1095270 w 1457011"/>
                <a:gd name="connsiteY17" fmla="*/ 1185705 h 1296237"/>
                <a:gd name="connsiteX18" fmla="*/ 753626 w 1457011"/>
                <a:gd name="connsiteY18" fmla="*/ 974690 h 1296237"/>
                <a:gd name="connsiteX19" fmla="*/ 361741 w 1457011"/>
                <a:gd name="connsiteY19" fmla="*/ 1145512 h 1296237"/>
                <a:gd name="connsiteX20" fmla="*/ 442128 w 1457011"/>
                <a:gd name="connsiteY20" fmla="*/ 773723 h 1296237"/>
                <a:gd name="connsiteX21" fmla="*/ 150725 w 1457011"/>
                <a:gd name="connsiteY21" fmla="*/ 462224 h 1296237"/>
                <a:gd name="connsiteX22" fmla="*/ 502418 w 1457011"/>
                <a:gd name="connsiteY22" fmla="*/ 422030 h 1296237"/>
                <a:gd name="connsiteX23" fmla="*/ 713433 w 1457011"/>
                <a:gd name="connsiteY23" fmla="*/ 0 h 1296237"/>
                <a:gd name="connsiteX24" fmla="*/ 673240 w 1457011"/>
                <a:gd name="connsiteY24" fmla="*/ 40193 h 1296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457011" h="1296237">
                  <a:moveTo>
                    <a:pt x="673240" y="40193"/>
                  </a:moveTo>
                  <a:lnTo>
                    <a:pt x="482321" y="321547"/>
                  </a:lnTo>
                  <a:lnTo>
                    <a:pt x="20097" y="411982"/>
                  </a:lnTo>
                  <a:lnTo>
                    <a:pt x="0" y="462224"/>
                  </a:lnTo>
                  <a:lnTo>
                    <a:pt x="331596" y="803868"/>
                  </a:lnTo>
                  <a:lnTo>
                    <a:pt x="261257" y="1225899"/>
                  </a:lnTo>
                  <a:lnTo>
                    <a:pt x="331596" y="1296237"/>
                  </a:lnTo>
                  <a:lnTo>
                    <a:pt x="743578" y="1085222"/>
                  </a:lnTo>
                  <a:lnTo>
                    <a:pt x="1135464" y="1296237"/>
                  </a:lnTo>
                  <a:lnTo>
                    <a:pt x="1185706" y="1235947"/>
                  </a:lnTo>
                  <a:lnTo>
                    <a:pt x="1135464" y="793820"/>
                  </a:lnTo>
                  <a:lnTo>
                    <a:pt x="1457011" y="422030"/>
                  </a:lnTo>
                  <a:lnTo>
                    <a:pt x="954593" y="341644"/>
                  </a:lnTo>
                  <a:lnTo>
                    <a:pt x="783771" y="30145"/>
                  </a:lnTo>
                  <a:lnTo>
                    <a:pt x="904352" y="432079"/>
                  </a:lnTo>
                  <a:lnTo>
                    <a:pt x="1336431" y="472272"/>
                  </a:lnTo>
                  <a:lnTo>
                    <a:pt x="1014884" y="773723"/>
                  </a:lnTo>
                  <a:lnTo>
                    <a:pt x="1095270" y="1185705"/>
                  </a:lnTo>
                  <a:lnTo>
                    <a:pt x="753626" y="974690"/>
                  </a:lnTo>
                  <a:lnTo>
                    <a:pt x="361741" y="1145512"/>
                  </a:lnTo>
                  <a:lnTo>
                    <a:pt x="442128" y="773723"/>
                  </a:lnTo>
                  <a:lnTo>
                    <a:pt x="150725" y="462224"/>
                  </a:lnTo>
                  <a:lnTo>
                    <a:pt x="502418" y="422030"/>
                  </a:lnTo>
                  <a:lnTo>
                    <a:pt x="713433" y="0"/>
                  </a:lnTo>
                  <a:lnTo>
                    <a:pt x="673240" y="4019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  <p:sp>
          <p:nvSpPr>
            <p:cNvPr id="37" name="Freeform 101">
              <a:extLst>
                <a:ext uri="{FF2B5EF4-FFF2-40B4-BE49-F238E27FC236}">
                  <a16:creationId xmlns:a16="http://schemas.microsoft.com/office/drawing/2014/main" id="{27D35EF1-8244-32F4-6A2C-DF8C54C505E2}"/>
                </a:ext>
              </a:extLst>
            </p:cNvPr>
            <p:cNvSpPr/>
            <p:nvPr/>
          </p:nvSpPr>
          <p:spPr bwMode="auto">
            <a:xfrm>
              <a:off x="1460361" y="4166924"/>
              <a:ext cx="428730" cy="381422"/>
            </a:xfrm>
            <a:custGeom>
              <a:avLst/>
              <a:gdLst>
                <a:gd name="connsiteX0" fmla="*/ 673240 w 1457011"/>
                <a:gd name="connsiteY0" fmla="*/ 40193 h 1296237"/>
                <a:gd name="connsiteX1" fmla="*/ 482321 w 1457011"/>
                <a:gd name="connsiteY1" fmla="*/ 321547 h 1296237"/>
                <a:gd name="connsiteX2" fmla="*/ 20097 w 1457011"/>
                <a:gd name="connsiteY2" fmla="*/ 411982 h 1296237"/>
                <a:gd name="connsiteX3" fmla="*/ 0 w 1457011"/>
                <a:gd name="connsiteY3" fmla="*/ 462224 h 1296237"/>
                <a:gd name="connsiteX4" fmla="*/ 331596 w 1457011"/>
                <a:gd name="connsiteY4" fmla="*/ 803868 h 1296237"/>
                <a:gd name="connsiteX5" fmla="*/ 261257 w 1457011"/>
                <a:gd name="connsiteY5" fmla="*/ 1225899 h 1296237"/>
                <a:gd name="connsiteX6" fmla="*/ 331596 w 1457011"/>
                <a:gd name="connsiteY6" fmla="*/ 1296237 h 1296237"/>
                <a:gd name="connsiteX7" fmla="*/ 743578 w 1457011"/>
                <a:gd name="connsiteY7" fmla="*/ 1085222 h 1296237"/>
                <a:gd name="connsiteX8" fmla="*/ 1135464 w 1457011"/>
                <a:gd name="connsiteY8" fmla="*/ 1296237 h 1296237"/>
                <a:gd name="connsiteX9" fmla="*/ 1185706 w 1457011"/>
                <a:gd name="connsiteY9" fmla="*/ 1235947 h 1296237"/>
                <a:gd name="connsiteX10" fmla="*/ 1135464 w 1457011"/>
                <a:gd name="connsiteY10" fmla="*/ 793820 h 1296237"/>
                <a:gd name="connsiteX11" fmla="*/ 1457011 w 1457011"/>
                <a:gd name="connsiteY11" fmla="*/ 422030 h 1296237"/>
                <a:gd name="connsiteX12" fmla="*/ 954593 w 1457011"/>
                <a:gd name="connsiteY12" fmla="*/ 341644 h 1296237"/>
                <a:gd name="connsiteX13" fmla="*/ 783771 w 1457011"/>
                <a:gd name="connsiteY13" fmla="*/ 30145 h 1296237"/>
                <a:gd name="connsiteX14" fmla="*/ 904352 w 1457011"/>
                <a:gd name="connsiteY14" fmla="*/ 432079 h 1296237"/>
                <a:gd name="connsiteX15" fmla="*/ 1336431 w 1457011"/>
                <a:gd name="connsiteY15" fmla="*/ 472272 h 1296237"/>
                <a:gd name="connsiteX16" fmla="*/ 1014884 w 1457011"/>
                <a:gd name="connsiteY16" fmla="*/ 773723 h 1296237"/>
                <a:gd name="connsiteX17" fmla="*/ 1095270 w 1457011"/>
                <a:gd name="connsiteY17" fmla="*/ 1185705 h 1296237"/>
                <a:gd name="connsiteX18" fmla="*/ 753626 w 1457011"/>
                <a:gd name="connsiteY18" fmla="*/ 974690 h 1296237"/>
                <a:gd name="connsiteX19" fmla="*/ 361741 w 1457011"/>
                <a:gd name="connsiteY19" fmla="*/ 1145512 h 1296237"/>
                <a:gd name="connsiteX20" fmla="*/ 442128 w 1457011"/>
                <a:gd name="connsiteY20" fmla="*/ 773723 h 1296237"/>
                <a:gd name="connsiteX21" fmla="*/ 150725 w 1457011"/>
                <a:gd name="connsiteY21" fmla="*/ 462224 h 1296237"/>
                <a:gd name="connsiteX22" fmla="*/ 502418 w 1457011"/>
                <a:gd name="connsiteY22" fmla="*/ 422030 h 1296237"/>
                <a:gd name="connsiteX23" fmla="*/ 713433 w 1457011"/>
                <a:gd name="connsiteY23" fmla="*/ 0 h 1296237"/>
                <a:gd name="connsiteX24" fmla="*/ 673240 w 1457011"/>
                <a:gd name="connsiteY24" fmla="*/ 40193 h 1296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457011" h="1296237">
                  <a:moveTo>
                    <a:pt x="673240" y="40193"/>
                  </a:moveTo>
                  <a:lnTo>
                    <a:pt x="482321" y="321547"/>
                  </a:lnTo>
                  <a:lnTo>
                    <a:pt x="20097" y="411982"/>
                  </a:lnTo>
                  <a:lnTo>
                    <a:pt x="0" y="462224"/>
                  </a:lnTo>
                  <a:lnTo>
                    <a:pt x="331596" y="803868"/>
                  </a:lnTo>
                  <a:lnTo>
                    <a:pt x="261257" y="1225899"/>
                  </a:lnTo>
                  <a:lnTo>
                    <a:pt x="331596" y="1296237"/>
                  </a:lnTo>
                  <a:lnTo>
                    <a:pt x="743578" y="1085222"/>
                  </a:lnTo>
                  <a:lnTo>
                    <a:pt x="1135464" y="1296237"/>
                  </a:lnTo>
                  <a:lnTo>
                    <a:pt x="1185706" y="1235947"/>
                  </a:lnTo>
                  <a:lnTo>
                    <a:pt x="1135464" y="793820"/>
                  </a:lnTo>
                  <a:lnTo>
                    <a:pt x="1457011" y="422030"/>
                  </a:lnTo>
                  <a:lnTo>
                    <a:pt x="954593" y="341644"/>
                  </a:lnTo>
                  <a:lnTo>
                    <a:pt x="783771" y="30145"/>
                  </a:lnTo>
                  <a:lnTo>
                    <a:pt x="904352" y="432079"/>
                  </a:lnTo>
                  <a:lnTo>
                    <a:pt x="1336431" y="472272"/>
                  </a:lnTo>
                  <a:lnTo>
                    <a:pt x="1014884" y="773723"/>
                  </a:lnTo>
                  <a:lnTo>
                    <a:pt x="1095270" y="1185705"/>
                  </a:lnTo>
                  <a:lnTo>
                    <a:pt x="753626" y="974690"/>
                  </a:lnTo>
                  <a:lnTo>
                    <a:pt x="361741" y="1145512"/>
                  </a:lnTo>
                  <a:lnTo>
                    <a:pt x="442128" y="773723"/>
                  </a:lnTo>
                  <a:lnTo>
                    <a:pt x="150725" y="462224"/>
                  </a:lnTo>
                  <a:lnTo>
                    <a:pt x="502418" y="422030"/>
                  </a:lnTo>
                  <a:lnTo>
                    <a:pt x="713433" y="0"/>
                  </a:lnTo>
                  <a:lnTo>
                    <a:pt x="673240" y="4019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DF88862D-5E47-E543-3CBF-329F34832372}"/>
              </a:ext>
            </a:extLst>
          </p:cNvPr>
          <p:cNvGrpSpPr/>
          <p:nvPr/>
        </p:nvGrpSpPr>
        <p:grpSpPr>
          <a:xfrm flipV="1">
            <a:off x="9105423" y="1306285"/>
            <a:ext cx="848818" cy="666222"/>
            <a:chOff x="60290" y="30145"/>
            <a:chExt cx="1728317" cy="1356528"/>
          </a:xfrm>
          <a:solidFill>
            <a:schemeClr val="bg1"/>
          </a:solidFill>
        </p:grpSpPr>
        <p:sp>
          <p:nvSpPr>
            <p:cNvPr id="39" name="Freeform 94">
              <a:extLst>
                <a:ext uri="{FF2B5EF4-FFF2-40B4-BE49-F238E27FC236}">
                  <a16:creationId xmlns:a16="http://schemas.microsoft.com/office/drawing/2014/main" id="{CB8B01A0-91D0-AB21-E635-1094DE9CF470}"/>
                </a:ext>
              </a:extLst>
            </p:cNvPr>
            <p:cNvSpPr/>
            <p:nvPr/>
          </p:nvSpPr>
          <p:spPr bwMode="auto">
            <a:xfrm>
              <a:off x="60290" y="30145"/>
              <a:ext cx="1728317" cy="1356528"/>
            </a:xfrm>
            <a:custGeom>
              <a:avLst/>
              <a:gdLst>
                <a:gd name="connsiteX0" fmla="*/ 10048 w 1728317"/>
                <a:gd name="connsiteY0" fmla="*/ 1306286 h 1356528"/>
                <a:gd name="connsiteX1" fmla="*/ 0 w 1728317"/>
                <a:gd name="connsiteY1" fmla="*/ 1175657 h 1356528"/>
                <a:gd name="connsiteX2" fmla="*/ 432079 w 1728317"/>
                <a:gd name="connsiteY2" fmla="*/ 562708 h 1356528"/>
                <a:gd name="connsiteX3" fmla="*/ 542611 w 1728317"/>
                <a:gd name="connsiteY3" fmla="*/ 562708 h 1356528"/>
                <a:gd name="connsiteX4" fmla="*/ 643095 w 1728317"/>
                <a:gd name="connsiteY4" fmla="*/ 773723 h 1356528"/>
                <a:gd name="connsiteX5" fmla="*/ 914400 w 1728317"/>
                <a:gd name="connsiteY5" fmla="*/ 422031 h 1356528"/>
                <a:gd name="connsiteX6" fmla="*/ 1014884 w 1728317"/>
                <a:gd name="connsiteY6" fmla="*/ 422031 h 1356528"/>
                <a:gd name="connsiteX7" fmla="*/ 1165609 w 1728317"/>
                <a:gd name="connsiteY7" fmla="*/ 663191 h 1356528"/>
                <a:gd name="connsiteX8" fmla="*/ 1627833 w 1728317"/>
                <a:gd name="connsiteY8" fmla="*/ 130629 h 1356528"/>
                <a:gd name="connsiteX9" fmla="*/ 1266092 w 1728317"/>
                <a:gd name="connsiteY9" fmla="*/ 150725 h 1356528"/>
                <a:gd name="connsiteX10" fmla="*/ 1728317 w 1728317"/>
                <a:gd name="connsiteY10" fmla="*/ 0 h 1356528"/>
                <a:gd name="connsiteX11" fmla="*/ 1688123 w 1728317"/>
                <a:gd name="connsiteY11" fmla="*/ 391886 h 1356528"/>
                <a:gd name="connsiteX12" fmla="*/ 1668026 w 1728317"/>
                <a:gd name="connsiteY12" fmla="*/ 492369 h 1356528"/>
                <a:gd name="connsiteX13" fmla="*/ 1657978 w 1728317"/>
                <a:gd name="connsiteY13" fmla="*/ 160774 h 1356528"/>
                <a:gd name="connsiteX14" fmla="*/ 1195754 w 1728317"/>
                <a:gd name="connsiteY14" fmla="*/ 743578 h 1356528"/>
                <a:gd name="connsiteX15" fmla="*/ 1105319 w 1728317"/>
                <a:gd name="connsiteY15" fmla="*/ 753626 h 1356528"/>
                <a:gd name="connsiteX16" fmla="*/ 974690 w 1728317"/>
                <a:gd name="connsiteY16" fmla="*/ 552659 h 1356528"/>
                <a:gd name="connsiteX17" fmla="*/ 693336 w 1728317"/>
                <a:gd name="connsiteY17" fmla="*/ 924448 h 1356528"/>
                <a:gd name="connsiteX18" fmla="*/ 562708 w 1728317"/>
                <a:gd name="connsiteY18" fmla="*/ 924448 h 1356528"/>
                <a:gd name="connsiteX19" fmla="*/ 462224 w 1728317"/>
                <a:gd name="connsiteY19" fmla="*/ 723481 h 1356528"/>
                <a:gd name="connsiteX20" fmla="*/ 20097 w 1728317"/>
                <a:gd name="connsiteY20" fmla="*/ 1356528 h 1356528"/>
                <a:gd name="connsiteX21" fmla="*/ 10048 w 1728317"/>
                <a:gd name="connsiteY21" fmla="*/ 1306286 h 1356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728317" h="1356528">
                  <a:moveTo>
                    <a:pt x="10048" y="1306286"/>
                  </a:moveTo>
                  <a:lnTo>
                    <a:pt x="0" y="1175657"/>
                  </a:lnTo>
                  <a:lnTo>
                    <a:pt x="432079" y="562708"/>
                  </a:lnTo>
                  <a:lnTo>
                    <a:pt x="542611" y="562708"/>
                  </a:lnTo>
                  <a:lnTo>
                    <a:pt x="643095" y="773723"/>
                  </a:lnTo>
                  <a:lnTo>
                    <a:pt x="914400" y="422031"/>
                  </a:lnTo>
                  <a:lnTo>
                    <a:pt x="1014884" y="422031"/>
                  </a:lnTo>
                  <a:lnTo>
                    <a:pt x="1165609" y="663191"/>
                  </a:lnTo>
                  <a:lnTo>
                    <a:pt x="1627833" y="130629"/>
                  </a:lnTo>
                  <a:lnTo>
                    <a:pt x="1266092" y="150725"/>
                  </a:lnTo>
                  <a:lnTo>
                    <a:pt x="1728317" y="0"/>
                  </a:lnTo>
                  <a:lnTo>
                    <a:pt x="1688123" y="391886"/>
                  </a:lnTo>
                  <a:lnTo>
                    <a:pt x="1668026" y="492369"/>
                  </a:lnTo>
                  <a:lnTo>
                    <a:pt x="1657978" y="160774"/>
                  </a:lnTo>
                  <a:lnTo>
                    <a:pt x="1195754" y="743578"/>
                  </a:lnTo>
                  <a:lnTo>
                    <a:pt x="1105319" y="753626"/>
                  </a:lnTo>
                  <a:lnTo>
                    <a:pt x="974690" y="552659"/>
                  </a:lnTo>
                  <a:lnTo>
                    <a:pt x="693336" y="924448"/>
                  </a:lnTo>
                  <a:lnTo>
                    <a:pt x="562708" y="924448"/>
                  </a:lnTo>
                  <a:lnTo>
                    <a:pt x="462224" y="723481"/>
                  </a:lnTo>
                  <a:lnTo>
                    <a:pt x="20097" y="1356528"/>
                  </a:lnTo>
                  <a:lnTo>
                    <a:pt x="10048" y="130628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  <p:sp>
          <p:nvSpPr>
            <p:cNvPr id="40" name="Freeform 95">
              <a:extLst>
                <a:ext uri="{FF2B5EF4-FFF2-40B4-BE49-F238E27FC236}">
                  <a16:creationId xmlns:a16="http://schemas.microsoft.com/office/drawing/2014/main" id="{FF956999-2EA4-1E7A-1D43-68502D85ACE4}"/>
                </a:ext>
              </a:extLst>
            </p:cNvPr>
            <p:cNvSpPr/>
            <p:nvPr/>
          </p:nvSpPr>
          <p:spPr bwMode="auto">
            <a:xfrm>
              <a:off x="100484" y="341644"/>
              <a:ext cx="130628" cy="643094"/>
            </a:xfrm>
            <a:custGeom>
              <a:avLst/>
              <a:gdLst>
                <a:gd name="connsiteX0" fmla="*/ 60290 w 130628"/>
                <a:gd name="connsiteY0" fmla="*/ 20097 h 643094"/>
                <a:gd name="connsiteX1" fmla="*/ 130628 w 130628"/>
                <a:gd name="connsiteY1" fmla="*/ 321547 h 643094"/>
                <a:gd name="connsiteX2" fmla="*/ 110531 w 130628"/>
                <a:gd name="connsiteY2" fmla="*/ 643094 h 643094"/>
                <a:gd name="connsiteX3" fmla="*/ 0 w 130628"/>
                <a:gd name="connsiteY3" fmla="*/ 622998 h 643094"/>
                <a:gd name="connsiteX4" fmla="*/ 10048 w 130628"/>
                <a:gd name="connsiteY4" fmla="*/ 0 h 643094"/>
                <a:gd name="connsiteX5" fmla="*/ 60290 w 130628"/>
                <a:gd name="connsiteY5" fmla="*/ 20097 h 643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0628" h="643094">
                  <a:moveTo>
                    <a:pt x="60290" y="20097"/>
                  </a:moveTo>
                  <a:lnTo>
                    <a:pt x="130628" y="321547"/>
                  </a:lnTo>
                  <a:lnTo>
                    <a:pt x="110531" y="643094"/>
                  </a:lnTo>
                  <a:lnTo>
                    <a:pt x="0" y="622998"/>
                  </a:lnTo>
                  <a:lnTo>
                    <a:pt x="10048" y="0"/>
                  </a:lnTo>
                  <a:lnTo>
                    <a:pt x="60290" y="2009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  <p:sp>
          <p:nvSpPr>
            <p:cNvPr id="41" name="Freeform 96">
              <a:extLst>
                <a:ext uri="{FF2B5EF4-FFF2-40B4-BE49-F238E27FC236}">
                  <a16:creationId xmlns:a16="http://schemas.microsoft.com/office/drawing/2014/main" id="{C4F83622-BFD6-D8BA-2B1A-15350DB8C4C0}"/>
                </a:ext>
              </a:extLst>
            </p:cNvPr>
            <p:cNvSpPr/>
            <p:nvPr/>
          </p:nvSpPr>
          <p:spPr bwMode="auto">
            <a:xfrm>
              <a:off x="231112" y="251209"/>
              <a:ext cx="1195754" cy="120580"/>
            </a:xfrm>
            <a:custGeom>
              <a:avLst/>
              <a:gdLst>
                <a:gd name="connsiteX0" fmla="*/ 0 w 1195754"/>
                <a:gd name="connsiteY0" fmla="*/ 100483 h 120580"/>
                <a:gd name="connsiteX1" fmla="*/ 60290 w 1195754"/>
                <a:gd name="connsiteY1" fmla="*/ 0 h 120580"/>
                <a:gd name="connsiteX2" fmla="*/ 1195754 w 1195754"/>
                <a:gd name="connsiteY2" fmla="*/ 40193 h 120580"/>
                <a:gd name="connsiteX3" fmla="*/ 653143 w 1195754"/>
                <a:gd name="connsiteY3" fmla="*/ 120580 h 120580"/>
                <a:gd name="connsiteX4" fmla="*/ 0 w 1195754"/>
                <a:gd name="connsiteY4" fmla="*/ 100483 h 120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95754" h="120580">
                  <a:moveTo>
                    <a:pt x="0" y="100483"/>
                  </a:moveTo>
                  <a:lnTo>
                    <a:pt x="60290" y="0"/>
                  </a:lnTo>
                  <a:lnTo>
                    <a:pt x="1195754" y="40193"/>
                  </a:lnTo>
                  <a:lnTo>
                    <a:pt x="653143" y="120580"/>
                  </a:lnTo>
                  <a:lnTo>
                    <a:pt x="0" y="10048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  <p:sp>
          <p:nvSpPr>
            <p:cNvPr id="42" name="Freeform 97">
              <a:extLst>
                <a:ext uri="{FF2B5EF4-FFF2-40B4-BE49-F238E27FC236}">
                  <a16:creationId xmlns:a16="http://schemas.microsoft.com/office/drawing/2014/main" id="{45F1358B-95A5-4C30-3565-1CDB59872839}"/>
                </a:ext>
              </a:extLst>
            </p:cNvPr>
            <p:cNvSpPr/>
            <p:nvPr/>
          </p:nvSpPr>
          <p:spPr bwMode="auto">
            <a:xfrm>
              <a:off x="1627833" y="542611"/>
              <a:ext cx="150725" cy="502418"/>
            </a:xfrm>
            <a:custGeom>
              <a:avLst/>
              <a:gdLst>
                <a:gd name="connsiteX0" fmla="*/ 70338 w 150725"/>
                <a:gd name="connsiteY0" fmla="*/ 0 h 502418"/>
                <a:gd name="connsiteX1" fmla="*/ 0 w 150725"/>
                <a:gd name="connsiteY1" fmla="*/ 100484 h 502418"/>
                <a:gd name="connsiteX2" fmla="*/ 0 w 150725"/>
                <a:gd name="connsiteY2" fmla="*/ 502418 h 502418"/>
                <a:gd name="connsiteX3" fmla="*/ 150725 w 150725"/>
                <a:gd name="connsiteY3" fmla="*/ 482321 h 502418"/>
                <a:gd name="connsiteX4" fmla="*/ 70338 w 150725"/>
                <a:gd name="connsiteY4" fmla="*/ 0 h 502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0725" h="502418">
                  <a:moveTo>
                    <a:pt x="70338" y="0"/>
                  </a:moveTo>
                  <a:lnTo>
                    <a:pt x="0" y="100484"/>
                  </a:lnTo>
                  <a:lnTo>
                    <a:pt x="0" y="502418"/>
                  </a:lnTo>
                  <a:lnTo>
                    <a:pt x="150725" y="482321"/>
                  </a:lnTo>
                  <a:lnTo>
                    <a:pt x="7033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  <p:sp>
          <p:nvSpPr>
            <p:cNvPr id="43" name="Freeform 98">
              <a:extLst>
                <a:ext uri="{FF2B5EF4-FFF2-40B4-BE49-F238E27FC236}">
                  <a16:creationId xmlns:a16="http://schemas.microsoft.com/office/drawing/2014/main" id="{33C6AD0A-2C78-3E96-ACF2-C4545AE2FF88}"/>
                </a:ext>
              </a:extLst>
            </p:cNvPr>
            <p:cNvSpPr/>
            <p:nvPr/>
          </p:nvSpPr>
          <p:spPr bwMode="auto">
            <a:xfrm>
              <a:off x="301451" y="1055077"/>
              <a:ext cx="1446962" cy="100483"/>
            </a:xfrm>
            <a:custGeom>
              <a:avLst/>
              <a:gdLst>
                <a:gd name="connsiteX0" fmla="*/ 0 w 1446962"/>
                <a:gd name="connsiteY0" fmla="*/ 60290 h 100483"/>
                <a:gd name="connsiteX1" fmla="*/ 1336430 w 1446962"/>
                <a:gd name="connsiteY1" fmla="*/ 0 h 100483"/>
                <a:gd name="connsiteX2" fmla="*/ 1446962 w 1446962"/>
                <a:gd name="connsiteY2" fmla="*/ 100483 h 100483"/>
                <a:gd name="connsiteX3" fmla="*/ 0 w 1446962"/>
                <a:gd name="connsiteY3" fmla="*/ 60290 h 100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46962" h="100483">
                  <a:moveTo>
                    <a:pt x="0" y="60290"/>
                  </a:moveTo>
                  <a:lnTo>
                    <a:pt x="1336430" y="0"/>
                  </a:lnTo>
                  <a:lnTo>
                    <a:pt x="1446962" y="100483"/>
                  </a:lnTo>
                  <a:lnTo>
                    <a:pt x="0" y="6029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</p:grpSp>
      <p:sp>
        <p:nvSpPr>
          <p:cNvPr id="44" name="TextBox 43">
            <a:extLst>
              <a:ext uri="{FF2B5EF4-FFF2-40B4-BE49-F238E27FC236}">
                <a16:creationId xmlns:a16="http://schemas.microsoft.com/office/drawing/2014/main" id="{A9D84AB0-4A7B-C608-2D16-C1D4358E0D99}"/>
              </a:ext>
            </a:extLst>
          </p:cNvPr>
          <p:cNvSpPr txBox="1"/>
          <p:nvPr/>
        </p:nvSpPr>
        <p:spPr>
          <a:xfrm>
            <a:off x="3401962" y="2715942"/>
            <a:ext cx="17886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Insert text Insert text</a:t>
            </a:r>
          </a:p>
          <a:p>
            <a:r>
              <a:rPr lang="en-US" sz="1200" dirty="0">
                <a:solidFill>
                  <a:schemeClr val="bg1"/>
                </a:solidFill>
              </a:rPr>
              <a:t>Insert text</a:t>
            </a:r>
          </a:p>
          <a:p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E742662-D17E-2F5A-1594-B719DD380787}"/>
              </a:ext>
            </a:extLst>
          </p:cNvPr>
          <p:cNvSpPr/>
          <p:nvPr/>
        </p:nvSpPr>
        <p:spPr bwMode="auto">
          <a:xfrm>
            <a:off x="6834453" y="2341177"/>
            <a:ext cx="2015204" cy="416128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lnSpc>
                <a:spcPct val="120000"/>
              </a:lnSpc>
              <a:defRPr/>
            </a:pPr>
            <a:r>
              <a:rPr lang="en-US" sz="1600" b="1" kern="0" dirty="0">
                <a:solidFill>
                  <a:sysClr val="window" lastClr="FFFFFF"/>
                </a:solidFill>
                <a:ea typeface="ＭＳ Ｐゴシック" charset="0"/>
                <a:cs typeface="Calibri"/>
              </a:rPr>
              <a:t>WEAKNESS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911EE256-74E8-CE61-72AD-6395580D2385}"/>
              </a:ext>
            </a:extLst>
          </p:cNvPr>
          <p:cNvSpPr txBox="1"/>
          <p:nvPr/>
        </p:nvSpPr>
        <p:spPr>
          <a:xfrm>
            <a:off x="6958807" y="2736383"/>
            <a:ext cx="17886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Insert text Insert text</a:t>
            </a:r>
          </a:p>
          <a:p>
            <a:r>
              <a:rPr lang="en-US" sz="1200" dirty="0">
                <a:solidFill>
                  <a:schemeClr val="bg1"/>
                </a:solidFill>
              </a:rPr>
              <a:t>Insert text</a:t>
            </a:r>
          </a:p>
          <a:p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6747483A-8556-3369-5B82-42B74AE1A383}"/>
              </a:ext>
            </a:extLst>
          </p:cNvPr>
          <p:cNvSpPr/>
          <p:nvPr/>
        </p:nvSpPr>
        <p:spPr bwMode="auto">
          <a:xfrm>
            <a:off x="3287829" y="3802756"/>
            <a:ext cx="2015204" cy="416128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lnSpc>
                <a:spcPct val="120000"/>
              </a:lnSpc>
              <a:defRPr/>
            </a:pPr>
            <a:r>
              <a:rPr lang="en-US" sz="1600" b="1" kern="0" dirty="0">
                <a:solidFill>
                  <a:sysClr val="window" lastClr="FFFFFF"/>
                </a:solidFill>
                <a:ea typeface="ＭＳ Ｐゴシック" charset="0"/>
                <a:cs typeface="Calibri"/>
              </a:rPr>
              <a:t>OPPORTUNITY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026D142A-E05D-64F6-EFA5-254F015A2AC4}"/>
              </a:ext>
            </a:extLst>
          </p:cNvPr>
          <p:cNvSpPr txBox="1"/>
          <p:nvPr/>
        </p:nvSpPr>
        <p:spPr>
          <a:xfrm>
            <a:off x="3412183" y="4197962"/>
            <a:ext cx="17886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Insert text Insert text</a:t>
            </a:r>
          </a:p>
          <a:p>
            <a:r>
              <a:rPr lang="en-US" sz="1200" dirty="0">
                <a:solidFill>
                  <a:schemeClr val="bg1"/>
                </a:solidFill>
              </a:rPr>
              <a:t>Insert text</a:t>
            </a:r>
          </a:p>
          <a:p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89606F6-8D58-3DAC-2B72-0D2F0FBDECFE}"/>
              </a:ext>
            </a:extLst>
          </p:cNvPr>
          <p:cNvSpPr/>
          <p:nvPr/>
        </p:nvSpPr>
        <p:spPr bwMode="auto">
          <a:xfrm>
            <a:off x="6885558" y="3812976"/>
            <a:ext cx="2015204" cy="416128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lnSpc>
                <a:spcPct val="120000"/>
              </a:lnSpc>
              <a:defRPr/>
            </a:pPr>
            <a:r>
              <a:rPr lang="en-US" sz="1600" b="1" kern="0" dirty="0">
                <a:solidFill>
                  <a:sysClr val="window" lastClr="FFFFFF"/>
                </a:solidFill>
                <a:ea typeface="ＭＳ Ｐゴシック" charset="0"/>
                <a:cs typeface="Calibri"/>
              </a:rPr>
              <a:t>THREAT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F4219700-92D4-4927-82E1-FC7D3E3B8E12}"/>
              </a:ext>
            </a:extLst>
          </p:cNvPr>
          <p:cNvSpPr txBox="1"/>
          <p:nvPr/>
        </p:nvSpPr>
        <p:spPr>
          <a:xfrm>
            <a:off x="7009911" y="4208183"/>
            <a:ext cx="17886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Insert text Insert text</a:t>
            </a:r>
          </a:p>
          <a:p>
            <a:r>
              <a:rPr lang="en-US" sz="1200" dirty="0">
                <a:solidFill>
                  <a:schemeClr val="bg1"/>
                </a:solidFill>
              </a:rPr>
              <a:t>Insert text</a:t>
            </a:r>
          </a:p>
          <a:p>
            <a:endParaRPr lang="en-US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2073805"/>
      </p:ext>
    </p:extLst>
  </p:cSld>
  <p:clrMapOvr>
    <a:masterClrMapping/>
  </p:clrMapOvr>
</p:sld>
</file>

<file path=ppt/slides/slide1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2E674B39-446F-EDC4-45EE-73333C860EE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E674B39-446F-EDC4-45EE-73333C860E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109B5BA7-BCBB-BB66-4481-1FA18072DA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lide title</a:t>
            </a:r>
          </a:p>
        </p:txBody>
      </p:sp>
      <p:sp>
        <p:nvSpPr>
          <p:cNvPr id="33" name="Google Shape;1997;p32">
            <a:extLst>
              <a:ext uri="{FF2B5EF4-FFF2-40B4-BE49-F238E27FC236}">
                <a16:creationId xmlns:a16="http://schemas.microsoft.com/office/drawing/2014/main" id="{724B62EA-8230-6F7D-3DF1-53C437FD93CE}"/>
              </a:ext>
            </a:extLst>
          </p:cNvPr>
          <p:cNvSpPr/>
          <p:nvPr/>
        </p:nvSpPr>
        <p:spPr>
          <a:xfrm>
            <a:off x="465019" y="898506"/>
            <a:ext cx="11261963" cy="5555294"/>
          </a:xfrm>
          <a:prstGeom prst="rect">
            <a:avLst/>
          </a:prstGeom>
          <a:noFill/>
          <a:ln w="12700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/>
            <a:endParaRPr sz="1600">
              <a:solidFill>
                <a:schemeClr val="lt1"/>
              </a:solidFill>
              <a:cs typeface="Arial"/>
              <a:sym typeface="Arial"/>
            </a:endParaRPr>
          </a:p>
        </p:txBody>
      </p:sp>
      <p:sp>
        <p:nvSpPr>
          <p:cNvPr id="34" name="Google Shape;1998;p32">
            <a:extLst>
              <a:ext uri="{FF2B5EF4-FFF2-40B4-BE49-F238E27FC236}">
                <a16:creationId xmlns:a16="http://schemas.microsoft.com/office/drawing/2014/main" id="{662B82F9-5A7A-1466-F39D-3CFD60A257C5}"/>
              </a:ext>
            </a:extLst>
          </p:cNvPr>
          <p:cNvSpPr txBox="1"/>
          <p:nvPr/>
        </p:nvSpPr>
        <p:spPr>
          <a:xfrm>
            <a:off x="661210" y="1027029"/>
            <a:ext cx="1811476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 dirty="0">
                <a:solidFill>
                  <a:schemeClr val="accent1"/>
                </a:solidFill>
                <a:ea typeface="Arial"/>
                <a:cs typeface="Arial"/>
                <a:sym typeface="Arial"/>
              </a:rPr>
              <a:t>STRENGTHS</a:t>
            </a:r>
            <a:endParaRPr sz="1600" dirty="0"/>
          </a:p>
        </p:txBody>
      </p:sp>
      <p:sp>
        <p:nvSpPr>
          <p:cNvPr id="35" name="Google Shape;1999;p32">
            <a:extLst>
              <a:ext uri="{FF2B5EF4-FFF2-40B4-BE49-F238E27FC236}">
                <a16:creationId xmlns:a16="http://schemas.microsoft.com/office/drawing/2014/main" id="{61FD0118-5829-A4F1-AEAD-D11C4FF7B4B9}"/>
              </a:ext>
            </a:extLst>
          </p:cNvPr>
          <p:cNvSpPr txBox="1"/>
          <p:nvPr/>
        </p:nvSpPr>
        <p:spPr>
          <a:xfrm>
            <a:off x="9186471" y="1027029"/>
            <a:ext cx="2350045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 dirty="0">
                <a:solidFill>
                  <a:schemeClr val="accent2"/>
                </a:solidFill>
                <a:ea typeface="Arial"/>
                <a:cs typeface="Arial"/>
                <a:sym typeface="Arial"/>
              </a:rPr>
              <a:t>WEAKNESSES</a:t>
            </a:r>
            <a:endParaRPr sz="1600" dirty="0"/>
          </a:p>
        </p:txBody>
      </p:sp>
      <p:sp>
        <p:nvSpPr>
          <p:cNvPr id="36" name="Google Shape;2000;p32">
            <a:extLst>
              <a:ext uri="{FF2B5EF4-FFF2-40B4-BE49-F238E27FC236}">
                <a16:creationId xmlns:a16="http://schemas.microsoft.com/office/drawing/2014/main" id="{CF6FF110-1A03-674A-8DFA-208D8B4ADA1C}"/>
              </a:ext>
            </a:extLst>
          </p:cNvPr>
          <p:cNvSpPr txBox="1"/>
          <p:nvPr/>
        </p:nvSpPr>
        <p:spPr>
          <a:xfrm>
            <a:off x="661210" y="3779567"/>
            <a:ext cx="1668774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 i="0" u="none" strike="noStrike" dirty="0">
                <a:solidFill>
                  <a:schemeClr val="accent5"/>
                </a:solidFill>
                <a:ea typeface="Arial"/>
                <a:cs typeface="Arial"/>
                <a:sym typeface="Arial"/>
              </a:rPr>
              <a:t>THREATS</a:t>
            </a:r>
            <a:endParaRPr sz="1600" dirty="0">
              <a:solidFill>
                <a:schemeClr val="accent5"/>
              </a:solidFill>
            </a:endParaRPr>
          </a:p>
        </p:txBody>
      </p:sp>
      <p:sp>
        <p:nvSpPr>
          <p:cNvPr id="37" name="Google Shape;2001;p32">
            <a:extLst>
              <a:ext uri="{FF2B5EF4-FFF2-40B4-BE49-F238E27FC236}">
                <a16:creationId xmlns:a16="http://schemas.microsoft.com/office/drawing/2014/main" id="{B2E7EC60-5DF9-3BC8-CCCB-9DFFA5E948C6}"/>
              </a:ext>
            </a:extLst>
          </p:cNvPr>
          <p:cNvSpPr txBox="1"/>
          <p:nvPr/>
        </p:nvSpPr>
        <p:spPr>
          <a:xfrm>
            <a:off x="9039059" y="3779567"/>
            <a:ext cx="2497455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 i="0" u="none" strike="noStrike" dirty="0">
                <a:solidFill>
                  <a:schemeClr val="accent4"/>
                </a:solidFill>
                <a:ea typeface="Arial"/>
                <a:cs typeface="Arial"/>
                <a:sym typeface="Arial"/>
              </a:rPr>
              <a:t>OPPORTUNITIES</a:t>
            </a:r>
            <a:endParaRPr sz="1600" dirty="0">
              <a:solidFill>
                <a:schemeClr val="accent4"/>
              </a:solidFill>
            </a:endParaRPr>
          </a:p>
        </p:txBody>
      </p:sp>
      <p:sp>
        <p:nvSpPr>
          <p:cNvPr id="38" name="Google Shape;2002;p32">
            <a:extLst>
              <a:ext uri="{FF2B5EF4-FFF2-40B4-BE49-F238E27FC236}">
                <a16:creationId xmlns:a16="http://schemas.microsoft.com/office/drawing/2014/main" id="{78C7A8C0-7729-5A10-EB16-C820191A4DFE}"/>
              </a:ext>
            </a:extLst>
          </p:cNvPr>
          <p:cNvSpPr txBox="1"/>
          <p:nvPr/>
        </p:nvSpPr>
        <p:spPr>
          <a:xfrm>
            <a:off x="661210" y="1404516"/>
            <a:ext cx="1726393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dirty="0">
                <a:ea typeface="Arial"/>
                <a:cs typeface="Arial"/>
                <a:sym typeface="Arial"/>
              </a:rPr>
              <a:t>Insert Text Here</a:t>
            </a:r>
            <a:endParaRPr sz="1600" dirty="0"/>
          </a:p>
        </p:txBody>
      </p:sp>
      <p:sp>
        <p:nvSpPr>
          <p:cNvPr id="39" name="Google Shape;2003;p32">
            <a:extLst>
              <a:ext uri="{FF2B5EF4-FFF2-40B4-BE49-F238E27FC236}">
                <a16:creationId xmlns:a16="http://schemas.microsoft.com/office/drawing/2014/main" id="{A3045844-EA8C-40A9-2BD3-A641150213BD}"/>
              </a:ext>
            </a:extLst>
          </p:cNvPr>
          <p:cNvSpPr txBox="1"/>
          <p:nvPr/>
        </p:nvSpPr>
        <p:spPr>
          <a:xfrm>
            <a:off x="9810122" y="1404516"/>
            <a:ext cx="1726393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>
                <a:ea typeface="Arial"/>
                <a:cs typeface="Arial"/>
                <a:sym typeface="Arial"/>
              </a:rPr>
              <a:t>Insert Text Here</a:t>
            </a:r>
            <a:endParaRPr sz="1600"/>
          </a:p>
        </p:txBody>
      </p:sp>
      <p:sp>
        <p:nvSpPr>
          <p:cNvPr id="40" name="Google Shape;2004;p32">
            <a:extLst>
              <a:ext uri="{FF2B5EF4-FFF2-40B4-BE49-F238E27FC236}">
                <a16:creationId xmlns:a16="http://schemas.microsoft.com/office/drawing/2014/main" id="{52F0BBB0-AE41-3B66-B8BC-F7AAA6163517}"/>
              </a:ext>
            </a:extLst>
          </p:cNvPr>
          <p:cNvSpPr txBox="1"/>
          <p:nvPr/>
        </p:nvSpPr>
        <p:spPr>
          <a:xfrm>
            <a:off x="661210" y="4149086"/>
            <a:ext cx="1726393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>
                <a:ea typeface="Arial"/>
                <a:cs typeface="Arial"/>
                <a:sym typeface="Arial"/>
              </a:rPr>
              <a:t>Insert Text Here</a:t>
            </a:r>
            <a:endParaRPr sz="1600"/>
          </a:p>
        </p:txBody>
      </p:sp>
      <p:sp>
        <p:nvSpPr>
          <p:cNvPr id="41" name="Google Shape;2005;p32">
            <a:extLst>
              <a:ext uri="{FF2B5EF4-FFF2-40B4-BE49-F238E27FC236}">
                <a16:creationId xmlns:a16="http://schemas.microsoft.com/office/drawing/2014/main" id="{596ADA7A-8B32-DE76-7114-66BAD5EE4E6E}"/>
              </a:ext>
            </a:extLst>
          </p:cNvPr>
          <p:cNvSpPr txBox="1"/>
          <p:nvPr/>
        </p:nvSpPr>
        <p:spPr>
          <a:xfrm>
            <a:off x="9810122" y="4149086"/>
            <a:ext cx="1726393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>
                <a:ea typeface="Arial"/>
                <a:cs typeface="Arial"/>
                <a:sym typeface="Arial"/>
              </a:rPr>
              <a:t>Insert Text Here</a:t>
            </a:r>
            <a:endParaRPr sz="1600"/>
          </a:p>
        </p:txBody>
      </p:sp>
      <p:grpSp>
        <p:nvGrpSpPr>
          <p:cNvPr id="42" name="Google Shape;2006;p32">
            <a:extLst>
              <a:ext uri="{FF2B5EF4-FFF2-40B4-BE49-F238E27FC236}">
                <a16:creationId xmlns:a16="http://schemas.microsoft.com/office/drawing/2014/main" id="{B8789C8D-D51A-65BF-7C35-6AD497505021}"/>
              </a:ext>
            </a:extLst>
          </p:cNvPr>
          <p:cNvGrpSpPr/>
          <p:nvPr/>
        </p:nvGrpSpPr>
        <p:grpSpPr>
          <a:xfrm>
            <a:off x="4231033" y="1811187"/>
            <a:ext cx="3729935" cy="3729932"/>
            <a:chOff x="4643972" y="2423519"/>
            <a:chExt cx="2604324" cy="2604325"/>
          </a:xfrm>
        </p:grpSpPr>
        <p:sp>
          <p:nvSpPr>
            <p:cNvPr id="52" name="Google Shape;2007;p32">
              <a:extLst>
                <a:ext uri="{FF2B5EF4-FFF2-40B4-BE49-F238E27FC236}">
                  <a16:creationId xmlns:a16="http://schemas.microsoft.com/office/drawing/2014/main" id="{D9279E51-E73F-56CF-F771-694A7646D2B7}"/>
                </a:ext>
              </a:extLst>
            </p:cNvPr>
            <p:cNvSpPr/>
            <p:nvPr/>
          </p:nvSpPr>
          <p:spPr>
            <a:xfrm>
              <a:off x="5946134" y="3725682"/>
              <a:ext cx="1302162" cy="1302162"/>
            </a:xfrm>
            <a:custGeom>
              <a:avLst/>
              <a:gdLst/>
              <a:ahLst/>
              <a:cxnLst/>
              <a:rect l="l" t="t" r="r" b="b"/>
              <a:pathLst>
                <a:path w="1302162" h="1302162" extrusionOk="0">
                  <a:moveTo>
                    <a:pt x="0" y="0"/>
                  </a:moveTo>
                  <a:lnTo>
                    <a:pt x="0" y="1302163"/>
                  </a:lnTo>
                  <a:cubicBezTo>
                    <a:pt x="719138" y="1302163"/>
                    <a:pt x="1302163" y="719233"/>
                    <a:pt x="130216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600" dirty="0">
                <a:solidFill>
                  <a:schemeClr val="dk1"/>
                </a:solidFill>
                <a:ea typeface="Arial"/>
                <a:cs typeface="Arial"/>
                <a:sym typeface="Arial"/>
              </a:endParaRPr>
            </a:p>
          </p:txBody>
        </p:sp>
        <p:sp>
          <p:nvSpPr>
            <p:cNvPr id="53" name="Google Shape;2008;p32">
              <a:extLst>
                <a:ext uri="{FF2B5EF4-FFF2-40B4-BE49-F238E27FC236}">
                  <a16:creationId xmlns:a16="http://schemas.microsoft.com/office/drawing/2014/main" id="{60C1971C-DA90-A091-9ECA-E0637D8013A0}"/>
                </a:ext>
              </a:extLst>
            </p:cNvPr>
            <p:cNvSpPr/>
            <p:nvPr/>
          </p:nvSpPr>
          <p:spPr>
            <a:xfrm>
              <a:off x="4643972" y="3725682"/>
              <a:ext cx="1302162" cy="1302162"/>
            </a:xfrm>
            <a:custGeom>
              <a:avLst/>
              <a:gdLst/>
              <a:ahLst/>
              <a:cxnLst/>
              <a:rect l="l" t="t" r="r" b="b"/>
              <a:pathLst>
                <a:path w="1302162" h="1302162" extrusionOk="0">
                  <a:moveTo>
                    <a:pt x="0" y="0"/>
                  </a:moveTo>
                  <a:cubicBezTo>
                    <a:pt x="0" y="719138"/>
                    <a:pt x="583025" y="1302163"/>
                    <a:pt x="1302163" y="1302163"/>
                  </a:cubicBezTo>
                  <a:lnTo>
                    <a:pt x="130216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600" dirty="0">
                <a:solidFill>
                  <a:schemeClr val="dk1"/>
                </a:solidFill>
                <a:ea typeface="Arial"/>
                <a:cs typeface="Arial"/>
                <a:sym typeface="Arial"/>
              </a:endParaRPr>
            </a:p>
          </p:txBody>
        </p:sp>
        <p:sp>
          <p:nvSpPr>
            <p:cNvPr id="54" name="Google Shape;2009;p32">
              <a:extLst>
                <a:ext uri="{FF2B5EF4-FFF2-40B4-BE49-F238E27FC236}">
                  <a16:creationId xmlns:a16="http://schemas.microsoft.com/office/drawing/2014/main" id="{321B48B5-68E2-EB8B-6AE6-F4AF5B3EC249}"/>
                </a:ext>
              </a:extLst>
            </p:cNvPr>
            <p:cNvSpPr/>
            <p:nvPr/>
          </p:nvSpPr>
          <p:spPr>
            <a:xfrm>
              <a:off x="5946039" y="2423519"/>
              <a:ext cx="1302162" cy="1302162"/>
            </a:xfrm>
            <a:custGeom>
              <a:avLst/>
              <a:gdLst/>
              <a:ahLst/>
              <a:cxnLst/>
              <a:rect l="l" t="t" r="r" b="b"/>
              <a:pathLst>
                <a:path w="1302162" h="1302162" extrusionOk="0">
                  <a:moveTo>
                    <a:pt x="1302163" y="1302163"/>
                  </a:moveTo>
                  <a:cubicBezTo>
                    <a:pt x="1302163" y="583025"/>
                    <a:pt x="719138" y="0"/>
                    <a:pt x="0" y="0"/>
                  </a:cubicBezTo>
                  <a:lnTo>
                    <a:pt x="0" y="1302163"/>
                  </a:lnTo>
                  <a:lnTo>
                    <a:pt x="1302163" y="1302163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600" dirty="0">
                <a:solidFill>
                  <a:schemeClr val="dk1"/>
                </a:solidFill>
                <a:ea typeface="Arial"/>
                <a:cs typeface="Arial"/>
                <a:sym typeface="Arial"/>
              </a:endParaRPr>
            </a:p>
          </p:txBody>
        </p:sp>
        <p:sp>
          <p:nvSpPr>
            <p:cNvPr id="55" name="Google Shape;2010;p32">
              <a:extLst>
                <a:ext uri="{FF2B5EF4-FFF2-40B4-BE49-F238E27FC236}">
                  <a16:creationId xmlns:a16="http://schemas.microsoft.com/office/drawing/2014/main" id="{98CD4DD6-FFB3-C15B-A852-E80FD0344A77}"/>
                </a:ext>
              </a:extLst>
            </p:cNvPr>
            <p:cNvSpPr/>
            <p:nvPr/>
          </p:nvSpPr>
          <p:spPr>
            <a:xfrm>
              <a:off x="4643972" y="2423519"/>
              <a:ext cx="1302162" cy="1302162"/>
            </a:xfrm>
            <a:custGeom>
              <a:avLst/>
              <a:gdLst/>
              <a:ahLst/>
              <a:cxnLst/>
              <a:rect l="l" t="t" r="r" b="b"/>
              <a:pathLst>
                <a:path w="1302162" h="1302162" extrusionOk="0">
                  <a:moveTo>
                    <a:pt x="1302163" y="0"/>
                  </a:moveTo>
                  <a:cubicBezTo>
                    <a:pt x="583025" y="0"/>
                    <a:pt x="0" y="583025"/>
                    <a:pt x="0" y="1302163"/>
                  </a:cubicBezTo>
                  <a:lnTo>
                    <a:pt x="1302163" y="1302163"/>
                  </a:lnTo>
                  <a:lnTo>
                    <a:pt x="1302163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600" dirty="0">
                <a:solidFill>
                  <a:schemeClr val="dk1"/>
                </a:solidFill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43" name="Google Shape;2011;p32">
            <a:extLst>
              <a:ext uri="{FF2B5EF4-FFF2-40B4-BE49-F238E27FC236}">
                <a16:creationId xmlns:a16="http://schemas.microsoft.com/office/drawing/2014/main" id="{592808F6-8151-EE7C-477B-2343FF3FE842}"/>
              </a:ext>
            </a:extLst>
          </p:cNvPr>
          <p:cNvSpPr/>
          <p:nvPr/>
        </p:nvSpPr>
        <p:spPr>
          <a:xfrm>
            <a:off x="4856235" y="2436389"/>
            <a:ext cx="2479393" cy="2479391"/>
          </a:xfrm>
          <a:custGeom>
            <a:avLst/>
            <a:gdLst/>
            <a:ahLst/>
            <a:cxnLst/>
            <a:rect l="l" t="t" r="r" b="b"/>
            <a:pathLst>
              <a:path w="1731168" h="1731168" extrusionOk="0">
                <a:moveTo>
                  <a:pt x="865537" y="1731169"/>
                </a:moveTo>
                <a:cubicBezTo>
                  <a:pt x="1343597" y="1731169"/>
                  <a:pt x="1731169" y="1343692"/>
                  <a:pt x="1731169" y="865632"/>
                </a:cubicBezTo>
                <a:cubicBezTo>
                  <a:pt x="1731169" y="387667"/>
                  <a:pt x="1343597" y="0"/>
                  <a:pt x="865537" y="0"/>
                </a:cubicBezTo>
                <a:cubicBezTo>
                  <a:pt x="387477" y="0"/>
                  <a:pt x="0" y="387572"/>
                  <a:pt x="0" y="865632"/>
                </a:cubicBezTo>
                <a:cubicBezTo>
                  <a:pt x="0" y="1343692"/>
                  <a:pt x="387477" y="1731169"/>
                  <a:pt x="865537" y="173116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4400" b="1" dirty="0">
                <a:ea typeface="Arial"/>
                <a:cs typeface="Arial"/>
                <a:sym typeface="Arial"/>
              </a:rPr>
              <a:t>SWOT</a:t>
            </a:r>
            <a:endParaRPr sz="3200" dirty="0">
              <a:ea typeface="Arial"/>
              <a:cs typeface="Arial"/>
              <a:sym typeface="Arial"/>
            </a:endParaRPr>
          </a:p>
        </p:txBody>
      </p:sp>
      <p:sp>
        <p:nvSpPr>
          <p:cNvPr id="44" name="Google Shape;2012;p32">
            <a:extLst>
              <a:ext uri="{FF2B5EF4-FFF2-40B4-BE49-F238E27FC236}">
                <a16:creationId xmlns:a16="http://schemas.microsoft.com/office/drawing/2014/main" id="{E2C90B5F-1985-A730-DF71-7EDCC8425422}"/>
              </a:ext>
            </a:extLst>
          </p:cNvPr>
          <p:cNvSpPr/>
          <p:nvPr/>
        </p:nvSpPr>
        <p:spPr>
          <a:xfrm>
            <a:off x="4874242" y="4612933"/>
            <a:ext cx="215949" cy="272698"/>
          </a:xfrm>
          <a:custGeom>
            <a:avLst/>
            <a:gdLst/>
            <a:ahLst/>
            <a:cxnLst/>
            <a:rect l="l" t="t" r="r" b="b"/>
            <a:pathLst>
              <a:path w="150780" h="190404" extrusionOk="0">
                <a:moveTo>
                  <a:pt x="150781" y="31718"/>
                </a:moveTo>
                <a:lnTo>
                  <a:pt x="95155" y="31718"/>
                </a:lnTo>
                <a:lnTo>
                  <a:pt x="95155" y="190405"/>
                </a:lnTo>
                <a:lnTo>
                  <a:pt x="55626" y="190405"/>
                </a:lnTo>
                <a:lnTo>
                  <a:pt x="55626" y="31718"/>
                </a:lnTo>
                <a:lnTo>
                  <a:pt x="0" y="31718"/>
                </a:lnTo>
                <a:lnTo>
                  <a:pt x="0" y="0"/>
                </a:lnTo>
                <a:lnTo>
                  <a:pt x="150781" y="0"/>
                </a:lnTo>
                <a:lnTo>
                  <a:pt x="150781" y="3171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dk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45" name="Google Shape;2013;p32">
            <a:extLst>
              <a:ext uri="{FF2B5EF4-FFF2-40B4-BE49-F238E27FC236}">
                <a16:creationId xmlns:a16="http://schemas.microsoft.com/office/drawing/2014/main" id="{060C9A7A-9B29-6EDF-8407-79B83B2F3309}"/>
              </a:ext>
            </a:extLst>
          </p:cNvPr>
          <p:cNvSpPr/>
          <p:nvPr/>
        </p:nvSpPr>
        <p:spPr>
          <a:xfrm>
            <a:off x="7046696" y="4633396"/>
            <a:ext cx="279656" cy="278701"/>
          </a:xfrm>
          <a:custGeom>
            <a:avLst/>
            <a:gdLst/>
            <a:ahLst/>
            <a:cxnLst/>
            <a:rect l="l" t="t" r="r" b="b"/>
            <a:pathLst>
              <a:path w="195262" h="194595" extrusionOk="0">
                <a:moveTo>
                  <a:pt x="195263" y="97250"/>
                </a:moveTo>
                <a:cubicBezTo>
                  <a:pt x="195263" y="111157"/>
                  <a:pt x="192881" y="124111"/>
                  <a:pt x="188214" y="135922"/>
                </a:cubicBezTo>
                <a:cubicBezTo>
                  <a:pt x="183547" y="147828"/>
                  <a:pt x="176975" y="158115"/>
                  <a:pt x="168402" y="166783"/>
                </a:cubicBezTo>
                <a:cubicBezTo>
                  <a:pt x="159829" y="175450"/>
                  <a:pt x="149638" y="182213"/>
                  <a:pt x="137636" y="187166"/>
                </a:cubicBezTo>
                <a:cubicBezTo>
                  <a:pt x="125635" y="192119"/>
                  <a:pt x="112395" y="194596"/>
                  <a:pt x="97727" y="194596"/>
                </a:cubicBezTo>
                <a:cubicBezTo>
                  <a:pt x="83153" y="194596"/>
                  <a:pt x="69818" y="192119"/>
                  <a:pt x="57817" y="187166"/>
                </a:cubicBezTo>
                <a:cubicBezTo>
                  <a:pt x="45815" y="182213"/>
                  <a:pt x="35528" y="175450"/>
                  <a:pt x="26956" y="166783"/>
                </a:cubicBezTo>
                <a:cubicBezTo>
                  <a:pt x="18383" y="158115"/>
                  <a:pt x="11716" y="147828"/>
                  <a:pt x="7048" y="135922"/>
                </a:cubicBezTo>
                <a:cubicBezTo>
                  <a:pt x="2381" y="124015"/>
                  <a:pt x="0" y="111157"/>
                  <a:pt x="0" y="97250"/>
                </a:cubicBezTo>
                <a:cubicBezTo>
                  <a:pt x="0" y="83344"/>
                  <a:pt x="2381" y="70485"/>
                  <a:pt x="7048" y="58579"/>
                </a:cubicBezTo>
                <a:cubicBezTo>
                  <a:pt x="11716" y="46768"/>
                  <a:pt x="18383" y="36481"/>
                  <a:pt x="26956" y="27813"/>
                </a:cubicBezTo>
                <a:cubicBezTo>
                  <a:pt x="35528" y="19145"/>
                  <a:pt x="45815" y="12382"/>
                  <a:pt x="57817" y="7429"/>
                </a:cubicBezTo>
                <a:cubicBezTo>
                  <a:pt x="69818" y="2476"/>
                  <a:pt x="83058" y="0"/>
                  <a:pt x="97727" y="0"/>
                </a:cubicBezTo>
                <a:cubicBezTo>
                  <a:pt x="112300" y="0"/>
                  <a:pt x="125635" y="2476"/>
                  <a:pt x="137636" y="7429"/>
                </a:cubicBezTo>
                <a:cubicBezTo>
                  <a:pt x="149638" y="12382"/>
                  <a:pt x="159829" y="19240"/>
                  <a:pt x="168402" y="27908"/>
                </a:cubicBezTo>
                <a:cubicBezTo>
                  <a:pt x="176975" y="36576"/>
                  <a:pt x="183547" y="46863"/>
                  <a:pt x="188214" y="58769"/>
                </a:cubicBezTo>
                <a:cubicBezTo>
                  <a:pt x="192881" y="70580"/>
                  <a:pt x="195263" y="83439"/>
                  <a:pt x="195263" y="97250"/>
                </a:cubicBezTo>
                <a:close/>
                <a:moveTo>
                  <a:pt x="154972" y="97250"/>
                </a:moveTo>
                <a:cubicBezTo>
                  <a:pt x="154972" y="87249"/>
                  <a:pt x="153638" y="78296"/>
                  <a:pt x="151066" y="70390"/>
                </a:cubicBezTo>
                <a:cubicBezTo>
                  <a:pt x="148400" y="62484"/>
                  <a:pt x="144685" y="55721"/>
                  <a:pt x="139732" y="50197"/>
                </a:cubicBezTo>
                <a:cubicBezTo>
                  <a:pt x="134779" y="44672"/>
                  <a:pt x="128778" y="40386"/>
                  <a:pt x="121729" y="37433"/>
                </a:cubicBezTo>
                <a:cubicBezTo>
                  <a:pt x="114681" y="34480"/>
                  <a:pt x="106680" y="33052"/>
                  <a:pt x="97822" y="33052"/>
                </a:cubicBezTo>
                <a:cubicBezTo>
                  <a:pt x="88868" y="33052"/>
                  <a:pt x="80867" y="34480"/>
                  <a:pt x="73819" y="37433"/>
                </a:cubicBezTo>
                <a:cubicBezTo>
                  <a:pt x="66770" y="40386"/>
                  <a:pt x="60674" y="44577"/>
                  <a:pt x="55816" y="50197"/>
                </a:cubicBezTo>
                <a:cubicBezTo>
                  <a:pt x="50864" y="55721"/>
                  <a:pt x="47054" y="62484"/>
                  <a:pt x="44482" y="70390"/>
                </a:cubicBezTo>
                <a:cubicBezTo>
                  <a:pt x="41815" y="78296"/>
                  <a:pt x="40577" y="87249"/>
                  <a:pt x="40577" y="97250"/>
                </a:cubicBezTo>
                <a:cubicBezTo>
                  <a:pt x="40577" y="107347"/>
                  <a:pt x="41910" y="116300"/>
                  <a:pt x="44482" y="124206"/>
                </a:cubicBezTo>
                <a:cubicBezTo>
                  <a:pt x="47149" y="132112"/>
                  <a:pt x="50864" y="138874"/>
                  <a:pt x="55816" y="144399"/>
                </a:cubicBezTo>
                <a:cubicBezTo>
                  <a:pt x="60770" y="149923"/>
                  <a:pt x="66770" y="154114"/>
                  <a:pt x="73819" y="157067"/>
                </a:cubicBezTo>
                <a:cubicBezTo>
                  <a:pt x="80867" y="160020"/>
                  <a:pt x="88868" y="161449"/>
                  <a:pt x="97822" y="161449"/>
                </a:cubicBezTo>
                <a:cubicBezTo>
                  <a:pt x="106775" y="161449"/>
                  <a:pt x="114681" y="160020"/>
                  <a:pt x="121729" y="157067"/>
                </a:cubicBezTo>
                <a:cubicBezTo>
                  <a:pt x="128778" y="154114"/>
                  <a:pt x="134779" y="149923"/>
                  <a:pt x="139732" y="144399"/>
                </a:cubicBezTo>
                <a:cubicBezTo>
                  <a:pt x="144685" y="138874"/>
                  <a:pt x="148495" y="132207"/>
                  <a:pt x="151066" y="124206"/>
                </a:cubicBezTo>
                <a:cubicBezTo>
                  <a:pt x="153638" y="116300"/>
                  <a:pt x="154972" y="107347"/>
                  <a:pt x="154972" y="9725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dk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46" name="Google Shape;2014;p32">
            <a:extLst>
              <a:ext uri="{FF2B5EF4-FFF2-40B4-BE49-F238E27FC236}">
                <a16:creationId xmlns:a16="http://schemas.microsoft.com/office/drawing/2014/main" id="{3DD24720-FF1C-34D5-284F-33C0E40966E9}"/>
              </a:ext>
            </a:extLst>
          </p:cNvPr>
          <p:cNvSpPr/>
          <p:nvPr/>
        </p:nvSpPr>
        <p:spPr>
          <a:xfrm>
            <a:off x="7004952" y="2462445"/>
            <a:ext cx="393292" cy="272971"/>
          </a:xfrm>
          <a:custGeom>
            <a:avLst/>
            <a:gdLst/>
            <a:ahLst/>
            <a:cxnLst/>
            <a:rect l="l" t="t" r="r" b="b"/>
            <a:pathLst>
              <a:path w="274605" h="190595" extrusionOk="0">
                <a:moveTo>
                  <a:pt x="274606" y="190"/>
                </a:moveTo>
                <a:lnTo>
                  <a:pt x="215551" y="190595"/>
                </a:lnTo>
                <a:lnTo>
                  <a:pt x="180023" y="190595"/>
                </a:lnTo>
                <a:lnTo>
                  <a:pt x="141065" y="66103"/>
                </a:lnTo>
                <a:cubicBezTo>
                  <a:pt x="140494" y="64389"/>
                  <a:pt x="139827" y="62389"/>
                  <a:pt x="139255" y="60293"/>
                </a:cubicBezTo>
                <a:cubicBezTo>
                  <a:pt x="138684" y="58198"/>
                  <a:pt x="138113" y="56007"/>
                  <a:pt x="137541" y="53626"/>
                </a:cubicBezTo>
                <a:cubicBezTo>
                  <a:pt x="136970" y="56007"/>
                  <a:pt x="136398" y="58198"/>
                  <a:pt x="135827" y="60293"/>
                </a:cubicBezTo>
                <a:cubicBezTo>
                  <a:pt x="135255" y="62389"/>
                  <a:pt x="134588" y="64294"/>
                  <a:pt x="134017" y="66103"/>
                </a:cubicBezTo>
                <a:lnTo>
                  <a:pt x="94679" y="190595"/>
                </a:lnTo>
                <a:lnTo>
                  <a:pt x="58960" y="190595"/>
                </a:lnTo>
                <a:lnTo>
                  <a:pt x="0" y="190"/>
                </a:lnTo>
                <a:lnTo>
                  <a:pt x="33051" y="190"/>
                </a:lnTo>
                <a:cubicBezTo>
                  <a:pt x="36481" y="190"/>
                  <a:pt x="39338" y="952"/>
                  <a:pt x="41624" y="2572"/>
                </a:cubicBezTo>
                <a:cubicBezTo>
                  <a:pt x="43910" y="4191"/>
                  <a:pt x="45434" y="6286"/>
                  <a:pt x="46196" y="8858"/>
                </a:cubicBezTo>
                <a:lnTo>
                  <a:pt x="75724" y="116205"/>
                </a:lnTo>
                <a:cubicBezTo>
                  <a:pt x="76391" y="119158"/>
                  <a:pt x="77152" y="122396"/>
                  <a:pt x="77914" y="125825"/>
                </a:cubicBezTo>
                <a:cubicBezTo>
                  <a:pt x="78677" y="129254"/>
                  <a:pt x="79343" y="132969"/>
                  <a:pt x="80105" y="136779"/>
                </a:cubicBezTo>
                <a:cubicBezTo>
                  <a:pt x="80867" y="132874"/>
                  <a:pt x="81725" y="129159"/>
                  <a:pt x="82582" y="125730"/>
                </a:cubicBezTo>
                <a:cubicBezTo>
                  <a:pt x="83439" y="122301"/>
                  <a:pt x="84391" y="119158"/>
                  <a:pt x="85439" y="116110"/>
                </a:cubicBezTo>
                <a:lnTo>
                  <a:pt x="119825" y="8763"/>
                </a:lnTo>
                <a:cubicBezTo>
                  <a:pt x="120491" y="6572"/>
                  <a:pt x="122015" y="4572"/>
                  <a:pt x="124396" y="2762"/>
                </a:cubicBezTo>
                <a:cubicBezTo>
                  <a:pt x="126682" y="952"/>
                  <a:pt x="129540" y="95"/>
                  <a:pt x="132874" y="95"/>
                </a:cubicBezTo>
                <a:lnTo>
                  <a:pt x="144399" y="95"/>
                </a:lnTo>
                <a:cubicBezTo>
                  <a:pt x="147828" y="95"/>
                  <a:pt x="150590" y="952"/>
                  <a:pt x="152781" y="2476"/>
                </a:cubicBezTo>
                <a:cubicBezTo>
                  <a:pt x="154877" y="4096"/>
                  <a:pt x="156496" y="6191"/>
                  <a:pt x="157543" y="8668"/>
                </a:cubicBezTo>
                <a:lnTo>
                  <a:pt x="191834" y="116014"/>
                </a:lnTo>
                <a:cubicBezTo>
                  <a:pt x="192881" y="118777"/>
                  <a:pt x="193834" y="121825"/>
                  <a:pt x="194691" y="125158"/>
                </a:cubicBezTo>
                <a:cubicBezTo>
                  <a:pt x="195548" y="128397"/>
                  <a:pt x="196405" y="131921"/>
                  <a:pt x="197168" y="135636"/>
                </a:cubicBezTo>
                <a:cubicBezTo>
                  <a:pt x="197834" y="131921"/>
                  <a:pt x="198501" y="128492"/>
                  <a:pt x="199168" y="125158"/>
                </a:cubicBezTo>
                <a:cubicBezTo>
                  <a:pt x="199834" y="121920"/>
                  <a:pt x="200501" y="118872"/>
                  <a:pt x="201168" y="116014"/>
                </a:cubicBezTo>
                <a:lnTo>
                  <a:pt x="230695" y="8668"/>
                </a:lnTo>
                <a:cubicBezTo>
                  <a:pt x="231267" y="6382"/>
                  <a:pt x="232791" y="4381"/>
                  <a:pt x="235172" y="2667"/>
                </a:cubicBezTo>
                <a:cubicBezTo>
                  <a:pt x="237554" y="952"/>
                  <a:pt x="240411" y="0"/>
                  <a:pt x="243744" y="0"/>
                </a:cubicBezTo>
                <a:lnTo>
                  <a:pt x="274606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 dirty="0">
              <a:solidFill>
                <a:schemeClr val="dk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47" name="Google Shape;2015;p32">
            <a:extLst>
              <a:ext uri="{FF2B5EF4-FFF2-40B4-BE49-F238E27FC236}">
                <a16:creationId xmlns:a16="http://schemas.microsoft.com/office/drawing/2014/main" id="{8069821D-7DAA-3C9A-D6D8-2FBB192C4819}"/>
              </a:ext>
            </a:extLst>
          </p:cNvPr>
          <p:cNvSpPr/>
          <p:nvPr/>
        </p:nvSpPr>
        <p:spPr>
          <a:xfrm>
            <a:off x="4903844" y="2460262"/>
            <a:ext cx="187574" cy="278564"/>
          </a:xfrm>
          <a:custGeom>
            <a:avLst/>
            <a:gdLst/>
            <a:ahLst/>
            <a:cxnLst/>
            <a:rect l="l" t="t" r="r" b="b"/>
            <a:pathLst>
              <a:path w="130968" h="194500" extrusionOk="0">
                <a:moveTo>
                  <a:pt x="118205" y="38195"/>
                </a:moveTo>
                <a:cubicBezTo>
                  <a:pt x="116967" y="40196"/>
                  <a:pt x="115729" y="41719"/>
                  <a:pt x="114491" y="42577"/>
                </a:cubicBezTo>
                <a:cubicBezTo>
                  <a:pt x="113252" y="43529"/>
                  <a:pt x="111538" y="44005"/>
                  <a:pt x="109538" y="44005"/>
                </a:cubicBezTo>
                <a:cubicBezTo>
                  <a:pt x="107633" y="44005"/>
                  <a:pt x="105537" y="43339"/>
                  <a:pt x="103346" y="42005"/>
                </a:cubicBezTo>
                <a:cubicBezTo>
                  <a:pt x="101156" y="40672"/>
                  <a:pt x="98489" y="39148"/>
                  <a:pt x="95536" y="37624"/>
                </a:cubicBezTo>
                <a:cubicBezTo>
                  <a:pt x="92583" y="36004"/>
                  <a:pt x="89154" y="34576"/>
                  <a:pt x="85344" y="33242"/>
                </a:cubicBezTo>
                <a:cubicBezTo>
                  <a:pt x="81534" y="31909"/>
                  <a:pt x="76962" y="31242"/>
                  <a:pt x="71819" y="31242"/>
                </a:cubicBezTo>
                <a:cubicBezTo>
                  <a:pt x="62675" y="31242"/>
                  <a:pt x="55912" y="33242"/>
                  <a:pt x="51340" y="37338"/>
                </a:cubicBezTo>
                <a:cubicBezTo>
                  <a:pt x="46768" y="41434"/>
                  <a:pt x="44482" y="46672"/>
                  <a:pt x="44482" y="53245"/>
                </a:cubicBezTo>
                <a:cubicBezTo>
                  <a:pt x="44482" y="57436"/>
                  <a:pt x="45720" y="60960"/>
                  <a:pt x="48197" y="63722"/>
                </a:cubicBezTo>
                <a:cubicBezTo>
                  <a:pt x="50673" y="66484"/>
                  <a:pt x="54007" y="68866"/>
                  <a:pt x="58008" y="70866"/>
                </a:cubicBezTo>
                <a:cubicBezTo>
                  <a:pt x="62103" y="72866"/>
                  <a:pt x="66675" y="74676"/>
                  <a:pt x="71819" y="76295"/>
                </a:cubicBezTo>
                <a:cubicBezTo>
                  <a:pt x="76962" y="77914"/>
                  <a:pt x="82296" y="79629"/>
                  <a:pt x="87725" y="81439"/>
                </a:cubicBezTo>
                <a:cubicBezTo>
                  <a:pt x="93155" y="83344"/>
                  <a:pt x="98393" y="85534"/>
                  <a:pt x="103632" y="88106"/>
                </a:cubicBezTo>
                <a:cubicBezTo>
                  <a:pt x="108776" y="90678"/>
                  <a:pt x="113443" y="93821"/>
                  <a:pt x="117443" y="97726"/>
                </a:cubicBezTo>
                <a:cubicBezTo>
                  <a:pt x="121539" y="101537"/>
                  <a:pt x="124778" y="106299"/>
                  <a:pt x="127254" y="111823"/>
                </a:cubicBezTo>
                <a:cubicBezTo>
                  <a:pt x="129731" y="117348"/>
                  <a:pt x="130969" y="124111"/>
                  <a:pt x="130969" y="132112"/>
                </a:cubicBezTo>
                <a:cubicBezTo>
                  <a:pt x="130969" y="140779"/>
                  <a:pt x="129445" y="148876"/>
                  <a:pt x="126397" y="156496"/>
                </a:cubicBezTo>
                <a:cubicBezTo>
                  <a:pt x="123349" y="164021"/>
                  <a:pt x="119063" y="170688"/>
                  <a:pt x="113348" y="176308"/>
                </a:cubicBezTo>
                <a:cubicBezTo>
                  <a:pt x="107633" y="181927"/>
                  <a:pt x="100679" y="186404"/>
                  <a:pt x="92297" y="189643"/>
                </a:cubicBezTo>
                <a:cubicBezTo>
                  <a:pt x="83916" y="192881"/>
                  <a:pt x="74486" y="194500"/>
                  <a:pt x="63913" y="194500"/>
                </a:cubicBezTo>
                <a:cubicBezTo>
                  <a:pt x="57912" y="194500"/>
                  <a:pt x="51816" y="193929"/>
                  <a:pt x="45911" y="192691"/>
                </a:cubicBezTo>
                <a:cubicBezTo>
                  <a:pt x="39910" y="191452"/>
                  <a:pt x="34100" y="189738"/>
                  <a:pt x="28575" y="187547"/>
                </a:cubicBezTo>
                <a:cubicBezTo>
                  <a:pt x="23051" y="185356"/>
                  <a:pt x="17812" y="182785"/>
                  <a:pt x="12859" y="179642"/>
                </a:cubicBezTo>
                <a:cubicBezTo>
                  <a:pt x="8001" y="176593"/>
                  <a:pt x="3715" y="173164"/>
                  <a:pt x="0" y="169450"/>
                </a:cubicBezTo>
                <a:lnTo>
                  <a:pt x="11525" y="150781"/>
                </a:lnTo>
                <a:cubicBezTo>
                  <a:pt x="12478" y="149352"/>
                  <a:pt x="13716" y="148209"/>
                  <a:pt x="15335" y="147256"/>
                </a:cubicBezTo>
                <a:cubicBezTo>
                  <a:pt x="16955" y="146304"/>
                  <a:pt x="18574" y="145923"/>
                  <a:pt x="20288" y="145923"/>
                </a:cubicBezTo>
                <a:cubicBezTo>
                  <a:pt x="22670" y="145923"/>
                  <a:pt x="25146" y="146780"/>
                  <a:pt x="27813" y="148590"/>
                </a:cubicBezTo>
                <a:cubicBezTo>
                  <a:pt x="30480" y="150304"/>
                  <a:pt x="33433" y="152305"/>
                  <a:pt x="36862" y="154400"/>
                </a:cubicBezTo>
                <a:cubicBezTo>
                  <a:pt x="40291" y="156496"/>
                  <a:pt x="44196" y="158401"/>
                  <a:pt x="48768" y="160210"/>
                </a:cubicBezTo>
                <a:cubicBezTo>
                  <a:pt x="53245" y="161925"/>
                  <a:pt x="58674" y="162877"/>
                  <a:pt x="64961" y="162877"/>
                </a:cubicBezTo>
                <a:cubicBezTo>
                  <a:pt x="74105" y="162877"/>
                  <a:pt x="81249" y="160782"/>
                  <a:pt x="86297" y="156591"/>
                </a:cubicBezTo>
                <a:cubicBezTo>
                  <a:pt x="91345" y="152400"/>
                  <a:pt x="93821" y="146113"/>
                  <a:pt x="93821" y="137827"/>
                </a:cubicBezTo>
                <a:cubicBezTo>
                  <a:pt x="93821" y="133064"/>
                  <a:pt x="92583" y="129159"/>
                  <a:pt x="90107" y="126111"/>
                </a:cubicBezTo>
                <a:cubicBezTo>
                  <a:pt x="87630" y="123158"/>
                  <a:pt x="84392" y="120682"/>
                  <a:pt x="80296" y="118586"/>
                </a:cubicBezTo>
                <a:cubicBezTo>
                  <a:pt x="76295" y="116586"/>
                  <a:pt x="71724" y="114871"/>
                  <a:pt x="66485" y="113443"/>
                </a:cubicBezTo>
                <a:cubicBezTo>
                  <a:pt x="61341" y="112014"/>
                  <a:pt x="56007" y="110395"/>
                  <a:pt x="50578" y="108680"/>
                </a:cubicBezTo>
                <a:cubicBezTo>
                  <a:pt x="45149" y="106966"/>
                  <a:pt x="39815" y="104870"/>
                  <a:pt x="34671" y="102394"/>
                </a:cubicBezTo>
                <a:cubicBezTo>
                  <a:pt x="29528" y="99917"/>
                  <a:pt x="24956" y="96679"/>
                  <a:pt x="20860" y="92678"/>
                </a:cubicBezTo>
                <a:cubicBezTo>
                  <a:pt x="16859" y="88678"/>
                  <a:pt x="13621" y="83629"/>
                  <a:pt x="11049" y="77724"/>
                </a:cubicBezTo>
                <a:cubicBezTo>
                  <a:pt x="8573" y="71818"/>
                  <a:pt x="7334" y="64389"/>
                  <a:pt x="7334" y="55531"/>
                </a:cubicBezTo>
                <a:cubicBezTo>
                  <a:pt x="7334" y="48482"/>
                  <a:pt x="8763" y="41624"/>
                  <a:pt x="11525" y="34957"/>
                </a:cubicBezTo>
                <a:cubicBezTo>
                  <a:pt x="14288" y="28289"/>
                  <a:pt x="18479" y="22384"/>
                  <a:pt x="23813" y="17240"/>
                </a:cubicBezTo>
                <a:cubicBezTo>
                  <a:pt x="29242" y="12097"/>
                  <a:pt x="35909" y="7906"/>
                  <a:pt x="43815" y="4763"/>
                </a:cubicBezTo>
                <a:cubicBezTo>
                  <a:pt x="51721" y="1619"/>
                  <a:pt x="60770" y="0"/>
                  <a:pt x="71057" y="0"/>
                </a:cubicBezTo>
                <a:cubicBezTo>
                  <a:pt x="82487" y="0"/>
                  <a:pt x="93155" y="1810"/>
                  <a:pt x="102870" y="5334"/>
                </a:cubicBezTo>
                <a:cubicBezTo>
                  <a:pt x="112586" y="8858"/>
                  <a:pt x="120872" y="13811"/>
                  <a:pt x="127635" y="20098"/>
                </a:cubicBezTo>
                <a:lnTo>
                  <a:pt x="118205" y="3819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 dirty="0">
              <a:solidFill>
                <a:schemeClr val="dk1"/>
              </a:solidFill>
              <a:ea typeface="Arial"/>
              <a:cs typeface="Arial"/>
              <a:sym typeface="Arial"/>
            </a:endParaRPr>
          </a:p>
        </p:txBody>
      </p:sp>
      <p:cxnSp>
        <p:nvCxnSpPr>
          <p:cNvPr id="48" name="Google Shape;2016;p32">
            <a:extLst>
              <a:ext uri="{FF2B5EF4-FFF2-40B4-BE49-F238E27FC236}">
                <a16:creationId xmlns:a16="http://schemas.microsoft.com/office/drawing/2014/main" id="{2D4995D5-D458-F914-FB30-29901F535774}"/>
              </a:ext>
            </a:extLst>
          </p:cNvPr>
          <p:cNvCxnSpPr/>
          <p:nvPr/>
        </p:nvCxnSpPr>
        <p:spPr>
          <a:xfrm>
            <a:off x="7326694" y="3676153"/>
            <a:ext cx="4391216" cy="1"/>
          </a:xfrm>
          <a:prstGeom prst="straightConnector1">
            <a:avLst/>
          </a:prstGeom>
          <a:solidFill>
            <a:schemeClr val="lt1"/>
          </a:solidFill>
          <a:ln w="12700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49" name="Google Shape;2017;p32">
            <a:extLst>
              <a:ext uri="{FF2B5EF4-FFF2-40B4-BE49-F238E27FC236}">
                <a16:creationId xmlns:a16="http://schemas.microsoft.com/office/drawing/2014/main" id="{B03EA877-8086-E5D9-976C-706282280FF0}"/>
              </a:ext>
            </a:extLst>
          </p:cNvPr>
          <p:cNvCxnSpPr/>
          <p:nvPr/>
        </p:nvCxnSpPr>
        <p:spPr>
          <a:xfrm>
            <a:off x="465019" y="3676153"/>
            <a:ext cx="4391216" cy="0"/>
          </a:xfrm>
          <a:prstGeom prst="straightConnector1">
            <a:avLst/>
          </a:prstGeom>
          <a:solidFill>
            <a:schemeClr val="lt1"/>
          </a:solidFill>
          <a:ln w="12700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50" name="Google Shape;2018;p32">
            <a:extLst>
              <a:ext uri="{FF2B5EF4-FFF2-40B4-BE49-F238E27FC236}">
                <a16:creationId xmlns:a16="http://schemas.microsoft.com/office/drawing/2014/main" id="{76966009-9226-0EF1-B196-8C44A1661201}"/>
              </a:ext>
            </a:extLst>
          </p:cNvPr>
          <p:cNvCxnSpPr/>
          <p:nvPr/>
        </p:nvCxnSpPr>
        <p:spPr>
          <a:xfrm>
            <a:off x="6096001" y="898506"/>
            <a:ext cx="0" cy="1537883"/>
          </a:xfrm>
          <a:prstGeom prst="straightConnector1">
            <a:avLst/>
          </a:prstGeom>
          <a:solidFill>
            <a:schemeClr val="lt1"/>
          </a:solidFill>
          <a:ln w="12700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51" name="Google Shape;2019;p32">
            <a:extLst>
              <a:ext uri="{FF2B5EF4-FFF2-40B4-BE49-F238E27FC236}">
                <a16:creationId xmlns:a16="http://schemas.microsoft.com/office/drawing/2014/main" id="{67791CDD-6074-6D0F-FB8F-68FAF2D40FF2}"/>
              </a:ext>
            </a:extLst>
          </p:cNvPr>
          <p:cNvCxnSpPr/>
          <p:nvPr/>
        </p:nvCxnSpPr>
        <p:spPr>
          <a:xfrm>
            <a:off x="6096001" y="4912096"/>
            <a:ext cx="0" cy="1541704"/>
          </a:xfrm>
          <a:prstGeom prst="straightConnector1">
            <a:avLst/>
          </a:prstGeom>
          <a:solidFill>
            <a:schemeClr val="lt1"/>
          </a:solidFill>
          <a:ln w="12700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2" name="Slide Number Placeholder 2">
            <a:extLst>
              <a:ext uri="{FF2B5EF4-FFF2-40B4-BE49-F238E27FC236}">
                <a16:creationId xmlns:a16="http://schemas.microsoft.com/office/drawing/2014/main" id="{2F43C492-9C40-2F52-80BD-8D417B701C45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47</a:t>
            </a:fld>
            <a:endParaRPr lang="en-US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2409496"/>
      </p:ext>
    </p:extLst>
  </p:cSld>
  <p:clrMapOvr>
    <a:masterClrMapping/>
  </p:clrMapOvr>
</p:sld>
</file>

<file path=ppt/slides/slide1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F73320-0C10-FA06-8D95-D4E872E204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856D339-344E-C0C0-CE8E-868DA14A63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56D339-344E-C0C0-CE8E-868DA14A63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40B59D40-87CC-C99D-5657-05097F5686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lide title</a:t>
            </a:r>
          </a:p>
        </p:txBody>
      </p:sp>
      <p:sp>
        <p:nvSpPr>
          <p:cNvPr id="2" name="Google Shape;1768;p22">
            <a:extLst>
              <a:ext uri="{FF2B5EF4-FFF2-40B4-BE49-F238E27FC236}">
                <a16:creationId xmlns:a16="http://schemas.microsoft.com/office/drawing/2014/main" id="{BE52290C-3F26-7DFD-6206-27CE7BE954D6}"/>
              </a:ext>
            </a:extLst>
          </p:cNvPr>
          <p:cNvSpPr txBox="1"/>
          <p:nvPr/>
        </p:nvSpPr>
        <p:spPr>
          <a:xfrm>
            <a:off x="709538" y="1256767"/>
            <a:ext cx="254736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 dirty="0">
                <a:solidFill>
                  <a:schemeClr val="accent1"/>
                </a:solidFill>
                <a:ea typeface="Arial"/>
                <a:cs typeface="Arial"/>
                <a:sym typeface="Arial"/>
              </a:rPr>
              <a:t>STRENGTHS</a:t>
            </a:r>
            <a:endParaRPr sz="2000" b="1" dirty="0">
              <a:solidFill>
                <a:schemeClr val="accent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" name="Google Shape;1769;p22">
            <a:extLst>
              <a:ext uri="{FF2B5EF4-FFF2-40B4-BE49-F238E27FC236}">
                <a16:creationId xmlns:a16="http://schemas.microsoft.com/office/drawing/2014/main" id="{4BB691F3-0B04-A92D-767D-C298EB8B965D}"/>
              </a:ext>
            </a:extLst>
          </p:cNvPr>
          <p:cNvSpPr txBox="1"/>
          <p:nvPr/>
        </p:nvSpPr>
        <p:spPr>
          <a:xfrm>
            <a:off x="709538" y="1656585"/>
            <a:ext cx="254736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0" dirty="0">
                <a:ea typeface="Arial"/>
                <a:cs typeface="Arial"/>
                <a:sym typeface="Arial"/>
              </a:rPr>
              <a:t>Insert Text Here</a:t>
            </a:r>
            <a:endParaRPr sz="1600" dirty="0"/>
          </a:p>
        </p:txBody>
      </p:sp>
      <p:sp>
        <p:nvSpPr>
          <p:cNvPr id="5" name="Google Shape;1770;p22">
            <a:extLst>
              <a:ext uri="{FF2B5EF4-FFF2-40B4-BE49-F238E27FC236}">
                <a16:creationId xmlns:a16="http://schemas.microsoft.com/office/drawing/2014/main" id="{E994154C-FC5E-1417-DC81-F023A362589B}"/>
              </a:ext>
            </a:extLst>
          </p:cNvPr>
          <p:cNvSpPr txBox="1"/>
          <p:nvPr/>
        </p:nvSpPr>
        <p:spPr>
          <a:xfrm>
            <a:off x="709538" y="4093261"/>
            <a:ext cx="254736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 dirty="0">
                <a:solidFill>
                  <a:schemeClr val="accent4"/>
                </a:solidFill>
                <a:ea typeface="Arial"/>
                <a:cs typeface="Arial"/>
                <a:sym typeface="Arial"/>
              </a:rPr>
              <a:t>OPPORTUNITIES</a:t>
            </a:r>
            <a:endParaRPr sz="1600" dirty="0">
              <a:solidFill>
                <a:schemeClr val="accent4"/>
              </a:solidFill>
            </a:endParaRPr>
          </a:p>
        </p:txBody>
      </p:sp>
      <p:sp>
        <p:nvSpPr>
          <p:cNvPr id="6" name="Google Shape;1771;p22">
            <a:extLst>
              <a:ext uri="{FF2B5EF4-FFF2-40B4-BE49-F238E27FC236}">
                <a16:creationId xmlns:a16="http://schemas.microsoft.com/office/drawing/2014/main" id="{DBB8C4F7-D361-620C-A6F7-2C9B5A71A2B8}"/>
              </a:ext>
            </a:extLst>
          </p:cNvPr>
          <p:cNvSpPr txBox="1"/>
          <p:nvPr/>
        </p:nvSpPr>
        <p:spPr>
          <a:xfrm>
            <a:off x="709538" y="4493079"/>
            <a:ext cx="254736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0" dirty="0">
                <a:ea typeface="Arial"/>
                <a:cs typeface="Arial"/>
                <a:sym typeface="Arial"/>
              </a:rPr>
              <a:t>Insert Text Here</a:t>
            </a:r>
            <a:endParaRPr sz="1600" dirty="0"/>
          </a:p>
        </p:txBody>
      </p:sp>
      <p:sp>
        <p:nvSpPr>
          <p:cNvPr id="8" name="Google Shape;1772;p22">
            <a:extLst>
              <a:ext uri="{FF2B5EF4-FFF2-40B4-BE49-F238E27FC236}">
                <a16:creationId xmlns:a16="http://schemas.microsoft.com/office/drawing/2014/main" id="{40608681-5AA5-5C24-5E4E-646C22047D6D}"/>
              </a:ext>
            </a:extLst>
          </p:cNvPr>
          <p:cNvSpPr txBox="1"/>
          <p:nvPr/>
        </p:nvSpPr>
        <p:spPr>
          <a:xfrm>
            <a:off x="8935102" y="1256769"/>
            <a:ext cx="254736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 dirty="0">
                <a:solidFill>
                  <a:schemeClr val="accent2"/>
                </a:solidFill>
                <a:ea typeface="Arial"/>
                <a:cs typeface="Arial"/>
                <a:sym typeface="Arial"/>
              </a:rPr>
              <a:t>WEAKNESSES</a:t>
            </a:r>
            <a:endParaRPr sz="1600" dirty="0">
              <a:solidFill>
                <a:schemeClr val="accent2"/>
              </a:solidFill>
            </a:endParaRPr>
          </a:p>
        </p:txBody>
      </p:sp>
      <p:sp>
        <p:nvSpPr>
          <p:cNvPr id="9" name="Google Shape;1773;p22">
            <a:extLst>
              <a:ext uri="{FF2B5EF4-FFF2-40B4-BE49-F238E27FC236}">
                <a16:creationId xmlns:a16="http://schemas.microsoft.com/office/drawing/2014/main" id="{600B0607-EC02-E81B-E3BB-5979292781C7}"/>
              </a:ext>
            </a:extLst>
          </p:cNvPr>
          <p:cNvSpPr txBox="1"/>
          <p:nvPr/>
        </p:nvSpPr>
        <p:spPr>
          <a:xfrm>
            <a:off x="8935102" y="1656585"/>
            <a:ext cx="254736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0" dirty="0">
                <a:ea typeface="Arial"/>
                <a:cs typeface="Arial"/>
                <a:sym typeface="Arial"/>
              </a:rPr>
              <a:t>Insert Text Here</a:t>
            </a:r>
            <a:endParaRPr sz="1600" dirty="0"/>
          </a:p>
        </p:txBody>
      </p:sp>
      <p:sp>
        <p:nvSpPr>
          <p:cNvPr id="10" name="Google Shape;1774;p22">
            <a:extLst>
              <a:ext uri="{FF2B5EF4-FFF2-40B4-BE49-F238E27FC236}">
                <a16:creationId xmlns:a16="http://schemas.microsoft.com/office/drawing/2014/main" id="{E87F451E-DE58-C1B8-7069-C5147D31075F}"/>
              </a:ext>
            </a:extLst>
          </p:cNvPr>
          <p:cNvSpPr txBox="1"/>
          <p:nvPr/>
        </p:nvSpPr>
        <p:spPr>
          <a:xfrm>
            <a:off x="8935102" y="4093262"/>
            <a:ext cx="254736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 dirty="0">
                <a:solidFill>
                  <a:schemeClr val="accent5"/>
                </a:solidFill>
                <a:ea typeface="Arial"/>
                <a:cs typeface="Arial"/>
                <a:sym typeface="Arial"/>
              </a:rPr>
              <a:t>THREATS</a:t>
            </a:r>
            <a:endParaRPr sz="1600" dirty="0">
              <a:solidFill>
                <a:schemeClr val="accent5"/>
              </a:solidFill>
            </a:endParaRPr>
          </a:p>
        </p:txBody>
      </p:sp>
      <p:sp>
        <p:nvSpPr>
          <p:cNvPr id="11" name="Google Shape;1775;p22">
            <a:extLst>
              <a:ext uri="{FF2B5EF4-FFF2-40B4-BE49-F238E27FC236}">
                <a16:creationId xmlns:a16="http://schemas.microsoft.com/office/drawing/2014/main" id="{7166CF2B-D63F-0BA2-911B-D85A905DAE14}"/>
              </a:ext>
            </a:extLst>
          </p:cNvPr>
          <p:cNvSpPr txBox="1"/>
          <p:nvPr/>
        </p:nvSpPr>
        <p:spPr>
          <a:xfrm>
            <a:off x="8935102" y="4493079"/>
            <a:ext cx="254736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0" dirty="0">
                <a:ea typeface="Arial"/>
                <a:cs typeface="Arial"/>
                <a:sym typeface="Arial"/>
              </a:rPr>
              <a:t>Insert Text Here</a:t>
            </a:r>
            <a:endParaRPr sz="1600" dirty="0"/>
          </a:p>
        </p:txBody>
      </p:sp>
      <p:sp>
        <p:nvSpPr>
          <p:cNvPr id="12" name="Google Shape;1776;p22">
            <a:extLst>
              <a:ext uri="{FF2B5EF4-FFF2-40B4-BE49-F238E27FC236}">
                <a16:creationId xmlns:a16="http://schemas.microsoft.com/office/drawing/2014/main" id="{8AC8201C-1D93-6100-55B9-5DF3C68548D5}"/>
              </a:ext>
            </a:extLst>
          </p:cNvPr>
          <p:cNvSpPr/>
          <p:nvPr/>
        </p:nvSpPr>
        <p:spPr>
          <a:xfrm>
            <a:off x="6097243" y="981945"/>
            <a:ext cx="2352277" cy="2452332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050">
              <a:solidFill>
                <a:schemeClr val="dk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3" name="Google Shape;1777;p22">
            <a:extLst>
              <a:ext uri="{FF2B5EF4-FFF2-40B4-BE49-F238E27FC236}">
                <a16:creationId xmlns:a16="http://schemas.microsoft.com/office/drawing/2014/main" id="{E21C0963-3273-F5FF-9CED-BFEB5E5278DE}"/>
              </a:ext>
            </a:extLst>
          </p:cNvPr>
          <p:cNvSpPr txBox="1"/>
          <p:nvPr/>
        </p:nvSpPr>
        <p:spPr>
          <a:xfrm>
            <a:off x="6762668" y="1591464"/>
            <a:ext cx="1021433" cy="12003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600" b="1" dirty="0">
                <a:solidFill>
                  <a:schemeClr val="bg1"/>
                </a:solidFill>
                <a:ea typeface="Arial"/>
                <a:cs typeface="Arial"/>
                <a:sym typeface="Arial"/>
              </a:rPr>
              <a:t>W</a:t>
            </a:r>
            <a:endParaRPr sz="1600" dirty="0">
              <a:solidFill>
                <a:schemeClr val="bg1"/>
              </a:solidFill>
            </a:endParaRPr>
          </a:p>
        </p:txBody>
      </p:sp>
      <p:sp>
        <p:nvSpPr>
          <p:cNvPr id="14" name="Google Shape;1778;p22">
            <a:extLst>
              <a:ext uri="{FF2B5EF4-FFF2-40B4-BE49-F238E27FC236}">
                <a16:creationId xmlns:a16="http://schemas.microsoft.com/office/drawing/2014/main" id="{676AA82C-947D-4875-2920-A12903E9D0CA}"/>
              </a:ext>
            </a:extLst>
          </p:cNvPr>
          <p:cNvSpPr/>
          <p:nvPr/>
        </p:nvSpPr>
        <p:spPr>
          <a:xfrm flipH="1">
            <a:off x="3744964" y="981945"/>
            <a:ext cx="2352277" cy="2452332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050">
              <a:solidFill>
                <a:schemeClr val="dk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5" name="Google Shape;1779;p22">
            <a:extLst>
              <a:ext uri="{FF2B5EF4-FFF2-40B4-BE49-F238E27FC236}">
                <a16:creationId xmlns:a16="http://schemas.microsoft.com/office/drawing/2014/main" id="{42B227C7-4EC8-6386-B5F6-E40B16987E9F}"/>
              </a:ext>
            </a:extLst>
          </p:cNvPr>
          <p:cNvSpPr/>
          <p:nvPr/>
        </p:nvSpPr>
        <p:spPr>
          <a:xfrm rot="10800000">
            <a:off x="3737848" y="3423723"/>
            <a:ext cx="2352277" cy="2452332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4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050" b="1">
              <a:solidFill>
                <a:schemeClr val="dk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6" name="Google Shape;1780;p22">
            <a:extLst>
              <a:ext uri="{FF2B5EF4-FFF2-40B4-BE49-F238E27FC236}">
                <a16:creationId xmlns:a16="http://schemas.microsoft.com/office/drawing/2014/main" id="{98586213-BBDE-AD76-1FBD-06F280DB9B03}"/>
              </a:ext>
            </a:extLst>
          </p:cNvPr>
          <p:cNvSpPr/>
          <p:nvPr/>
        </p:nvSpPr>
        <p:spPr>
          <a:xfrm rot="10800000" flipH="1">
            <a:off x="6090123" y="3423723"/>
            <a:ext cx="2352277" cy="2452332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5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050">
              <a:solidFill>
                <a:schemeClr val="dk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7" name="Google Shape;1781;p22">
            <a:extLst>
              <a:ext uri="{FF2B5EF4-FFF2-40B4-BE49-F238E27FC236}">
                <a16:creationId xmlns:a16="http://schemas.microsoft.com/office/drawing/2014/main" id="{C877C96C-D57E-9621-DEA0-48CCD4736288}"/>
              </a:ext>
            </a:extLst>
          </p:cNvPr>
          <p:cNvSpPr txBox="1"/>
          <p:nvPr/>
        </p:nvSpPr>
        <p:spPr>
          <a:xfrm>
            <a:off x="4610610" y="1591464"/>
            <a:ext cx="620683" cy="12003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600" b="1" dirty="0">
                <a:solidFill>
                  <a:schemeClr val="bg1"/>
                </a:solidFill>
                <a:ea typeface="Arial"/>
                <a:cs typeface="Arial"/>
                <a:sym typeface="Arial"/>
              </a:rPr>
              <a:t>S</a:t>
            </a:r>
            <a:endParaRPr sz="1600" dirty="0">
              <a:solidFill>
                <a:schemeClr val="bg1"/>
              </a:solidFill>
            </a:endParaRPr>
          </a:p>
        </p:txBody>
      </p:sp>
      <p:sp>
        <p:nvSpPr>
          <p:cNvPr id="18" name="Google Shape;1782;p22">
            <a:extLst>
              <a:ext uri="{FF2B5EF4-FFF2-40B4-BE49-F238E27FC236}">
                <a16:creationId xmlns:a16="http://schemas.microsoft.com/office/drawing/2014/main" id="{A2657C79-6DE8-F9CC-50E1-6643DD9AE854}"/>
              </a:ext>
            </a:extLst>
          </p:cNvPr>
          <p:cNvSpPr txBox="1"/>
          <p:nvPr/>
        </p:nvSpPr>
        <p:spPr>
          <a:xfrm>
            <a:off x="6952465" y="4000692"/>
            <a:ext cx="641522" cy="12003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600" b="1">
                <a:solidFill>
                  <a:schemeClr val="bg1"/>
                </a:solidFill>
                <a:ea typeface="Arial"/>
                <a:cs typeface="Arial"/>
                <a:sym typeface="Arial"/>
              </a:rPr>
              <a:t>T</a:t>
            </a:r>
            <a:endParaRPr sz="1600">
              <a:solidFill>
                <a:schemeClr val="bg1"/>
              </a:solidFill>
            </a:endParaRPr>
          </a:p>
        </p:txBody>
      </p:sp>
      <p:sp>
        <p:nvSpPr>
          <p:cNvPr id="19" name="Google Shape;1783;p22">
            <a:extLst>
              <a:ext uri="{FF2B5EF4-FFF2-40B4-BE49-F238E27FC236}">
                <a16:creationId xmlns:a16="http://schemas.microsoft.com/office/drawing/2014/main" id="{0AA553E3-14F7-61EA-0DEE-4DCFF5988F6B}"/>
              </a:ext>
            </a:extLst>
          </p:cNvPr>
          <p:cNvSpPr txBox="1"/>
          <p:nvPr/>
        </p:nvSpPr>
        <p:spPr>
          <a:xfrm>
            <a:off x="4516190" y="4000692"/>
            <a:ext cx="809837" cy="12003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600" b="1" dirty="0">
                <a:solidFill>
                  <a:schemeClr val="bg1"/>
                </a:solidFill>
                <a:ea typeface="Arial"/>
                <a:cs typeface="Arial"/>
                <a:sym typeface="Arial"/>
              </a:rPr>
              <a:t>O</a:t>
            </a:r>
            <a:endParaRPr sz="1600" dirty="0">
              <a:solidFill>
                <a:schemeClr val="bg1"/>
              </a:solidFill>
            </a:endParaRPr>
          </a:p>
        </p:txBody>
      </p:sp>
      <p:sp>
        <p:nvSpPr>
          <p:cNvPr id="20" name="Google Shape;1784;p22">
            <a:extLst>
              <a:ext uri="{FF2B5EF4-FFF2-40B4-BE49-F238E27FC236}">
                <a16:creationId xmlns:a16="http://schemas.microsoft.com/office/drawing/2014/main" id="{50405992-257C-2013-8A42-7DEC7070CACB}"/>
              </a:ext>
            </a:extLst>
          </p:cNvPr>
          <p:cNvSpPr/>
          <p:nvPr/>
        </p:nvSpPr>
        <p:spPr>
          <a:xfrm>
            <a:off x="5052648" y="2386309"/>
            <a:ext cx="2087862" cy="2085379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050" b="1">
              <a:solidFill>
                <a:schemeClr val="dk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1" name="Google Shape;1785;p22">
            <a:extLst>
              <a:ext uri="{FF2B5EF4-FFF2-40B4-BE49-F238E27FC236}">
                <a16:creationId xmlns:a16="http://schemas.microsoft.com/office/drawing/2014/main" id="{A4E0B8B0-78E3-1A0D-9416-B73DCA4CE522}"/>
              </a:ext>
            </a:extLst>
          </p:cNvPr>
          <p:cNvSpPr txBox="1"/>
          <p:nvPr/>
        </p:nvSpPr>
        <p:spPr>
          <a:xfrm>
            <a:off x="5250194" y="3121221"/>
            <a:ext cx="1692771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4000" b="1" dirty="0">
                <a:ea typeface="Arial"/>
                <a:cs typeface="Arial"/>
                <a:sym typeface="Arial"/>
              </a:rPr>
              <a:t>SWOT</a:t>
            </a:r>
            <a:endParaRPr sz="4000" b="1" dirty="0">
              <a:ea typeface="Arial"/>
              <a:cs typeface="Arial"/>
              <a:sym typeface="Arial"/>
            </a:endParaRPr>
          </a:p>
        </p:txBody>
      </p:sp>
      <p:sp>
        <p:nvSpPr>
          <p:cNvPr id="22" name="Slide Number Placeholder 2">
            <a:extLst>
              <a:ext uri="{FF2B5EF4-FFF2-40B4-BE49-F238E27FC236}">
                <a16:creationId xmlns:a16="http://schemas.microsoft.com/office/drawing/2014/main" id="{7DBF146B-345E-62B7-1933-8620C00B2BCF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48</a:t>
            </a:fld>
            <a:endParaRPr lang="en-US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4245250"/>
      </p:ext>
    </p:extLst>
  </p:cSld>
  <p:clrMapOvr>
    <a:masterClrMapping/>
  </p:clrMapOvr>
</p:sld>
</file>

<file path=ppt/slides/slide1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5E9489-C9B2-EEC9-771E-A83AAC17BA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0BDFC10B-3320-7B90-CAD7-783B7E4CF5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BDFC10B-3320-7B90-CAD7-783B7E4CF5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260C47B6-C5F6-85D7-C194-9C1889BCD6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lide title</a:t>
            </a:r>
          </a:p>
        </p:txBody>
      </p:sp>
      <p:sp>
        <p:nvSpPr>
          <p:cNvPr id="23" name="Google Shape;1898;p27">
            <a:extLst>
              <a:ext uri="{FF2B5EF4-FFF2-40B4-BE49-F238E27FC236}">
                <a16:creationId xmlns:a16="http://schemas.microsoft.com/office/drawing/2014/main" id="{A51C0555-41E1-B3BF-BEBE-5649447B4F64}"/>
              </a:ext>
            </a:extLst>
          </p:cNvPr>
          <p:cNvSpPr/>
          <p:nvPr/>
        </p:nvSpPr>
        <p:spPr>
          <a:xfrm>
            <a:off x="476905" y="1839287"/>
            <a:ext cx="2579956" cy="4136889"/>
          </a:xfrm>
          <a:prstGeom prst="rect">
            <a:avLst/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dk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4" name="Google Shape;1899;p27">
            <a:extLst>
              <a:ext uri="{FF2B5EF4-FFF2-40B4-BE49-F238E27FC236}">
                <a16:creationId xmlns:a16="http://schemas.microsoft.com/office/drawing/2014/main" id="{358DF4DF-E650-3C30-19A3-F6FE2B61A5E4}"/>
              </a:ext>
            </a:extLst>
          </p:cNvPr>
          <p:cNvSpPr/>
          <p:nvPr/>
        </p:nvSpPr>
        <p:spPr>
          <a:xfrm>
            <a:off x="476905" y="1338598"/>
            <a:ext cx="2579956" cy="505609"/>
          </a:xfrm>
          <a:prstGeom prst="rect">
            <a:avLst/>
          </a:prstGeom>
          <a:solidFill>
            <a:schemeClr val="accent1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dk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5" name="Google Shape;1900;p27">
            <a:extLst>
              <a:ext uri="{FF2B5EF4-FFF2-40B4-BE49-F238E27FC236}">
                <a16:creationId xmlns:a16="http://schemas.microsoft.com/office/drawing/2014/main" id="{981EF853-C2A5-1809-EF3A-C86F723DDEC1}"/>
              </a:ext>
            </a:extLst>
          </p:cNvPr>
          <p:cNvSpPr/>
          <p:nvPr/>
        </p:nvSpPr>
        <p:spPr>
          <a:xfrm>
            <a:off x="3361538" y="1338598"/>
            <a:ext cx="2579956" cy="505609"/>
          </a:xfrm>
          <a:prstGeom prst="rect">
            <a:avLst/>
          </a:prstGeom>
          <a:solidFill>
            <a:schemeClr val="accent2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dk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6" name="Google Shape;1901;p27">
            <a:extLst>
              <a:ext uri="{FF2B5EF4-FFF2-40B4-BE49-F238E27FC236}">
                <a16:creationId xmlns:a16="http://schemas.microsoft.com/office/drawing/2014/main" id="{15E67BB8-4410-CAFD-1EAF-10AC52EA82B3}"/>
              </a:ext>
            </a:extLst>
          </p:cNvPr>
          <p:cNvSpPr/>
          <p:nvPr/>
        </p:nvSpPr>
        <p:spPr>
          <a:xfrm>
            <a:off x="6246170" y="1338598"/>
            <a:ext cx="2579956" cy="505609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4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dk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7" name="Google Shape;1902;p27">
            <a:extLst>
              <a:ext uri="{FF2B5EF4-FFF2-40B4-BE49-F238E27FC236}">
                <a16:creationId xmlns:a16="http://schemas.microsoft.com/office/drawing/2014/main" id="{3CFACD46-749E-0BB5-80DD-13E2AE27F237}"/>
              </a:ext>
            </a:extLst>
          </p:cNvPr>
          <p:cNvSpPr/>
          <p:nvPr/>
        </p:nvSpPr>
        <p:spPr>
          <a:xfrm>
            <a:off x="9130804" y="1338598"/>
            <a:ext cx="2579956" cy="505609"/>
          </a:xfrm>
          <a:prstGeom prst="rect">
            <a:avLst/>
          </a:prstGeom>
          <a:solidFill>
            <a:schemeClr val="accent5"/>
          </a:solidFill>
          <a:ln w="9525" cap="flat" cmpd="sng">
            <a:solidFill>
              <a:schemeClr val="accent5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bg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8" name="Google Shape;1903;p27">
            <a:extLst>
              <a:ext uri="{FF2B5EF4-FFF2-40B4-BE49-F238E27FC236}">
                <a16:creationId xmlns:a16="http://schemas.microsoft.com/office/drawing/2014/main" id="{8616CCBB-87BF-99AB-D3D7-7564758E8FDD}"/>
              </a:ext>
            </a:extLst>
          </p:cNvPr>
          <p:cNvSpPr/>
          <p:nvPr/>
        </p:nvSpPr>
        <p:spPr>
          <a:xfrm>
            <a:off x="3361538" y="1839287"/>
            <a:ext cx="2579956" cy="4136889"/>
          </a:xfrm>
          <a:prstGeom prst="rect">
            <a:avLst/>
          </a:prstGeom>
          <a:noFill/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dk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9" name="Google Shape;1904;p27">
            <a:extLst>
              <a:ext uri="{FF2B5EF4-FFF2-40B4-BE49-F238E27FC236}">
                <a16:creationId xmlns:a16="http://schemas.microsoft.com/office/drawing/2014/main" id="{A5F6D96D-A5EC-1E30-AF06-FC9F8570D1CB}"/>
              </a:ext>
            </a:extLst>
          </p:cNvPr>
          <p:cNvSpPr/>
          <p:nvPr/>
        </p:nvSpPr>
        <p:spPr>
          <a:xfrm>
            <a:off x="6246170" y="1839287"/>
            <a:ext cx="2579956" cy="4136889"/>
          </a:xfrm>
          <a:prstGeom prst="rect">
            <a:avLst/>
          </a:prstGeom>
          <a:noFill/>
          <a:ln w="9525" cap="flat" cmpd="sng">
            <a:solidFill>
              <a:schemeClr val="accent4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dk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0" name="Google Shape;1905;p27">
            <a:extLst>
              <a:ext uri="{FF2B5EF4-FFF2-40B4-BE49-F238E27FC236}">
                <a16:creationId xmlns:a16="http://schemas.microsoft.com/office/drawing/2014/main" id="{B9CCBB84-17A2-D054-EAC4-4240AF5D56A3}"/>
              </a:ext>
            </a:extLst>
          </p:cNvPr>
          <p:cNvSpPr/>
          <p:nvPr/>
        </p:nvSpPr>
        <p:spPr>
          <a:xfrm>
            <a:off x="9130804" y="1839287"/>
            <a:ext cx="2579956" cy="4136889"/>
          </a:xfrm>
          <a:prstGeom prst="rect">
            <a:avLst/>
          </a:prstGeom>
          <a:noFill/>
          <a:ln w="9525" cap="flat" cmpd="sng">
            <a:solidFill>
              <a:schemeClr val="accent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dk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1" name="Google Shape;1906;p27">
            <a:extLst>
              <a:ext uri="{FF2B5EF4-FFF2-40B4-BE49-F238E27FC236}">
                <a16:creationId xmlns:a16="http://schemas.microsoft.com/office/drawing/2014/main" id="{C8B2FD9B-A4BC-B3E2-2DC8-17B5F16449E3}"/>
              </a:ext>
            </a:extLst>
          </p:cNvPr>
          <p:cNvSpPr/>
          <p:nvPr/>
        </p:nvSpPr>
        <p:spPr>
          <a:xfrm>
            <a:off x="886299" y="1403333"/>
            <a:ext cx="1761168" cy="3761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3850" tIns="33850" rIns="33850" bIns="33850" anchor="ctr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 dirty="0">
                <a:solidFill>
                  <a:schemeClr val="bg1"/>
                </a:solidFill>
                <a:ea typeface="Arial"/>
                <a:cs typeface="Arial"/>
                <a:sym typeface="Arial"/>
              </a:rPr>
              <a:t>STRENGTH</a:t>
            </a:r>
            <a:endParaRPr sz="1600" dirty="0">
              <a:solidFill>
                <a:schemeClr val="bg1"/>
              </a:solidFill>
            </a:endParaRPr>
          </a:p>
        </p:txBody>
      </p:sp>
      <p:sp>
        <p:nvSpPr>
          <p:cNvPr id="32" name="Google Shape;1907;p27">
            <a:extLst>
              <a:ext uri="{FF2B5EF4-FFF2-40B4-BE49-F238E27FC236}">
                <a16:creationId xmlns:a16="http://schemas.microsoft.com/office/drawing/2014/main" id="{3373C983-E460-A1A5-6811-A5B675C3F54F}"/>
              </a:ext>
            </a:extLst>
          </p:cNvPr>
          <p:cNvSpPr/>
          <p:nvPr/>
        </p:nvSpPr>
        <p:spPr>
          <a:xfrm>
            <a:off x="6391070" y="1403333"/>
            <a:ext cx="2290158" cy="3761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3850" tIns="33850" rIns="33850" bIns="33850" anchor="ctr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 dirty="0">
                <a:solidFill>
                  <a:schemeClr val="bg1"/>
                </a:solidFill>
                <a:ea typeface="Arial"/>
                <a:cs typeface="Arial"/>
                <a:sym typeface="Arial"/>
              </a:rPr>
              <a:t>OPPORTUNITY</a:t>
            </a:r>
            <a:endParaRPr sz="1600" dirty="0">
              <a:solidFill>
                <a:schemeClr val="bg1"/>
              </a:solidFill>
            </a:endParaRPr>
          </a:p>
        </p:txBody>
      </p:sp>
      <p:sp>
        <p:nvSpPr>
          <p:cNvPr id="33" name="Google Shape;1908;p27">
            <a:extLst>
              <a:ext uri="{FF2B5EF4-FFF2-40B4-BE49-F238E27FC236}">
                <a16:creationId xmlns:a16="http://schemas.microsoft.com/office/drawing/2014/main" id="{536A34D8-74D0-1BC4-1266-14AF8082CD18}"/>
              </a:ext>
            </a:extLst>
          </p:cNvPr>
          <p:cNvSpPr/>
          <p:nvPr/>
        </p:nvSpPr>
        <p:spPr>
          <a:xfrm>
            <a:off x="3727651" y="1403333"/>
            <a:ext cx="1847730" cy="3761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3850" tIns="33850" rIns="33850" bIns="33850" anchor="ctr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>
                <a:solidFill>
                  <a:schemeClr val="bg1"/>
                </a:solidFill>
                <a:ea typeface="Arial"/>
                <a:cs typeface="Arial"/>
                <a:sym typeface="Arial"/>
              </a:rPr>
              <a:t>WEAKNESS</a:t>
            </a:r>
            <a:endParaRPr sz="1600">
              <a:solidFill>
                <a:schemeClr val="bg1"/>
              </a:solidFill>
            </a:endParaRPr>
          </a:p>
        </p:txBody>
      </p:sp>
      <p:sp>
        <p:nvSpPr>
          <p:cNvPr id="34" name="Google Shape;1909;p27">
            <a:extLst>
              <a:ext uri="{FF2B5EF4-FFF2-40B4-BE49-F238E27FC236}">
                <a16:creationId xmlns:a16="http://schemas.microsoft.com/office/drawing/2014/main" id="{83921B27-31DE-54D2-4908-1629D0B0CE13}"/>
              </a:ext>
            </a:extLst>
          </p:cNvPr>
          <p:cNvSpPr/>
          <p:nvPr/>
        </p:nvSpPr>
        <p:spPr>
          <a:xfrm>
            <a:off x="9671036" y="1403333"/>
            <a:ext cx="1499493" cy="3761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3850" tIns="33850" rIns="33850" bIns="33850" anchor="ctr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 dirty="0">
                <a:solidFill>
                  <a:schemeClr val="bg1"/>
                </a:solidFill>
                <a:ea typeface="Arial"/>
                <a:cs typeface="Arial"/>
                <a:sym typeface="Arial"/>
              </a:rPr>
              <a:t>THREATS</a:t>
            </a:r>
            <a:endParaRPr sz="1600" dirty="0">
              <a:solidFill>
                <a:schemeClr val="bg1"/>
              </a:solidFill>
            </a:endParaRPr>
          </a:p>
        </p:txBody>
      </p:sp>
      <p:sp>
        <p:nvSpPr>
          <p:cNvPr id="35" name="Google Shape;1910;p27">
            <a:extLst>
              <a:ext uri="{FF2B5EF4-FFF2-40B4-BE49-F238E27FC236}">
                <a16:creationId xmlns:a16="http://schemas.microsoft.com/office/drawing/2014/main" id="{6C98A410-3B97-63CF-8D11-7C4994EF7D2B}"/>
              </a:ext>
            </a:extLst>
          </p:cNvPr>
          <p:cNvSpPr/>
          <p:nvPr/>
        </p:nvSpPr>
        <p:spPr>
          <a:xfrm>
            <a:off x="568345" y="1965561"/>
            <a:ext cx="2376000" cy="3145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3850" tIns="33850" rIns="33850" bIns="3385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dirty="0">
                <a:ea typeface="Arial"/>
                <a:cs typeface="Arial"/>
                <a:sym typeface="Arial"/>
              </a:rPr>
              <a:t>Insert Text Here</a:t>
            </a:r>
            <a:endParaRPr sz="1600" dirty="0"/>
          </a:p>
        </p:txBody>
      </p:sp>
      <p:sp>
        <p:nvSpPr>
          <p:cNvPr id="36" name="Google Shape;1911;p27">
            <a:extLst>
              <a:ext uri="{FF2B5EF4-FFF2-40B4-BE49-F238E27FC236}">
                <a16:creationId xmlns:a16="http://schemas.microsoft.com/office/drawing/2014/main" id="{2AC4DAA3-2FB0-9E88-FF9E-88850D7005FC}"/>
              </a:ext>
            </a:extLst>
          </p:cNvPr>
          <p:cNvSpPr/>
          <p:nvPr/>
        </p:nvSpPr>
        <p:spPr>
          <a:xfrm>
            <a:off x="3452978" y="1965561"/>
            <a:ext cx="2376000" cy="3145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3850" tIns="33850" rIns="33850" bIns="3385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>
                <a:ea typeface="Arial"/>
                <a:cs typeface="Arial"/>
                <a:sym typeface="Arial"/>
              </a:rPr>
              <a:t>Insert Text Here</a:t>
            </a:r>
            <a:endParaRPr sz="1600"/>
          </a:p>
        </p:txBody>
      </p:sp>
      <p:sp>
        <p:nvSpPr>
          <p:cNvPr id="37" name="Google Shape;1912;p27">
            <a:extLst>
              <a:ext uri="{FF2B5EF4-FFF2-40B4-BE49-F238E27FC236}">
                <a16:creationId xmlns:a16="http://schemas.microsoft.com/office/drawing/2014/main" id="{F15D616C-1C34-964E-C94F-4E1D2987C940}"/>
              </a:ext>
            </a:extLst>
          </p:cNvPr>
          <p:cNvSpPr/>
          <p:nvPr/>
        </p:nvSpPr>
        <p:spPr>
          <a:xfrm>
            <a:off x="6337611" y="1965561"/>
            <a:ext cx="2376000" cy="3145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3850" tIns="33850" rIns="33850" bIns="3385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>
                <a:ea typeface="Arial"/>
                <a:cs typeface="Arial"/>
                <a:sym typeface="Arial"/>
              </a:rPr>
              <a:t>Insert Text Here</a:t>
            </a:r>
            <a:endParaRPr sz="1600"/>
          </a:p>
        </p:txBody>
      </p:sp>
      <p:sp>
        <p:nvSpPr>
          <p:cNvPr id="38" name="Google Shape;1913;p27">
            <a:extLst>
              <a:ext uri="{FF2B5EF4-FFF2-40B4-BE49-F238E27FC236}">
                <a16:creationId xmlns:a16="http://schemas.microsoft.com/office/drawing/2014/main" id="{41C1D444-4A44-B4F5-9029-0BF2DFD34EF3}"/>
              </a:ext>
            </a:extLst>
          </p:cNvPr>
          <p:cNvSpPr/>
          <p:nvPr/>
        </p:nvSpPr>
        <p:spPr>
          <a:xfrm>
            <a:off x="9222244" y="1965561"/>
            <a:ext cx="2376000" cy="3145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3850" tIns="33850" rIns="33850" bIns="3385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>
                <a:ea typeface="Arial"/>
                <a:cs typeface="Arial"/>
                <a:sym typeface="Arial"/>
              </a:rPr>
              <a:t>Insert Text Here</a:t>
            </a:r>
            <a:endParaRPr sz="1600"/>
          </a:p>
        </p:txBody>
      </p:sp>
      <p:sp>
        <p:nvSpPr>
          <p:cNvPr id="40" name="Slide Number Placeholder 2">
            <a:extLst>
              <a:ext uri="{FF2B5EF4-FFF2-40B4-BE49-F238E27FC236}">
                <a16:creationId xmlns:a16="http://schemas.microsoft.com/office/drawing/2014/main" id="{6AC5E934-75EF-6DAF-51DD-3103997D6BA9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49</a:t>
            </a:fld>
            <a:endParaRPr lang="en-US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473625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454DA7-BC4D-CF5F-F2B8-86D58151AD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F3D8A05-4A9A-7E12-F22B-14D4D7D9C14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6333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D20A876-BAEC-0E31-066E-0F3C8D4194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x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17CB692-B012-5FBB-F29C-3915328AE8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5</a:t>
            </a:fld>
            <a:endParaRPr lang="en-US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6CA1CBC-2A82-DE94-B59A-C4372B16A22D}"/>
              </a:ext>
            </a:extLst>
          </p:cNvPr>
          <p:cNvCxnSpPr>
            <a:cxnSpLocks/>
          </p:cNvCxnSpPr>
          <p:nvPr/>
        </p:nvCxnSpPr>
        <p:spPr>
          <a:xfrm rot="16200000" flipH="1">
            <a:off x="-1676005" y="3863341"/>
            <a:ext cx="4922521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: Top Corners Rounded 6">
            <a:extLst>
              <a:ext uri="{FF2B5EF4-FFF2-40B4-BE49-F238E27FC236}">
                <a16:creationId xmlns:a16="http://schemas.microsoft.com/office/drawing/2014/main" id="{0762DFCA-5C2C-73BC-CEDA-2CA7A20E857E}"/>
              </a:ext>
            </a:extLst>
          </p:cNvPr>
          <p:cNvSpPr/>
          <p:nvPr/>
        </p:nvSpPr>
        <p:spPr>
          <a:xfrm rot="16200000" flipH="1">
            <a:off x="351472" y="1938318"/>
            <a:ext cx="778639" cy="101117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8" name="Rectangle: Top Corners Rounded 7">
            <a:extLst>
              <a:ext uri="{FF2B5EF4-FFF2-40B4-BE49-F238E27FC236}">
                <a16:creationId xmlns:a16="http://schemas.microsoft.com/office/drawing/2014/main" id="{13A3CB25-06F3-CD5D-0083-4B60D2E8B2F2}"/>
              </a:ext>
            </a:extLst>
          </p:cNvPr>
          <p:cNvSpPr/>
          <p:nvPr/>
        </p:nvSpPr>
        <p:spPr>
          <a:xfrm rot="16200000" flipH="1" flipV="1">
            <a:off x="6007300" y="-3678428"/>
            <a:ext cx="707853" cy="11334612"/>
          </a:xfrm>
          <a:prstGeom prst="round2Same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9" name="Rectangle: Top Corners Rounded 8">
            <a:extLst>
              <a:ext uri="{FF2B5EF4-FFF2-40B4-BE49-F238E27FC236}">
                <a16:creationId xmlns:a16="http://schemas.microsoft.com/office/drawing/2014/main" id="{6B484D1F-0545-3672-0985-93214329F6DA}"/>
              </a:ext>
            </a:extLst>
          </p:cNvPr>
          <p:cNvSpPr/>
          <p:nvPr/>
        </p:nvSpPr>
        <p:spPr>
          <a:xfrm rot="16200000" flipH="1">
            <a:off x="351472" y="2875551"/>
            <a:ext cx="778639" cy="101117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0" name="Rectangle: Top Corners Rounded 9">
            <a:extLst>
              <a:ext uri="{FF2B5EF4-FFF2-40B4-BE49-F238E27FC236}">
                <a16:creationId xmlns:a16="http://schemas.microsoft.com/office/drawing/2014/main" id="{A44EC4FE-A437-45C7-F806-05CF038610CF}"/>
              </a:ext>
            </a:extLst>
          </p:cNvPr>
          <p:cNvSpPr/>
          <p:nvPr/>
        </p:nvSpPr>
        <p:spPr>
          <a:xfrm rot="16200000" flipH="1" flipV="1">
            <a:off x="6007300" y="-2741195"/>
            <a:ext cx="707853" cy="11334612"/>
          </a:xfrm>
          <a:prstGeom prst="round2Same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1" name="Rectangle: Top Corners Rounded 10">
            <a:extLst>
              <a:ext uri="{FF2B5EF4-FFF2-40B4-BE49-F238E27FC236}">
                <a16:creationId xmlns:a16="http://schemas.microsoft.com/office/drawing/2014/main" id="{26338CAD-99DC-753F-0CF2-101819907411}"/>
              </a:ext>
            </a:extLst>
          </p:cNvPr>
          <p:cNvSpPr/>
          <p:nvPr/>
        </p:nvSpPr>
        <p:spPr>
          <a:xfrm rot="16200000" flipH="1">
            <a:off x="351472" y="3812784"/>
            <a:ext cx="778639" cy="101117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2" name="Rectangle: Top Corners Rounded 11">
            <a:extLst>
              <a:ext uri="{FF2B5EF4-FFF2-40B4-BE49-F238E27FC236}">
                <a16:creationId xmlns:a16="http://schemas.microsoft.com/office/drawing/2014/main" id="{194E054F-4569-E5F3-2726-3CA0679DDE0B}"/>
              </a:ext>
            </a:extLst>
          </p:cNvPr>
          <p:cNvSpPr/>
          <p:nvPr/>
        </p:nvSpPr>
        <p:spPr>
          <a:xfrm rot="16200000" flipH="1" flipV="1">
            <a:off x="6007300" y="-1803962"/>
            <a:ext cx="707853" cy="11334612"/>
          </a:xfrm>
          <a:prstGeom prst="round2Same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3" name="Rectangle: Top Corners Rounded 12">
            <a:extLst>
              <a:ext uri="{FF2B5EF4-FFF2-40B4-BE49-F238E27FC236}">
                <a16:creationId xmlns:a16="http://schemas.microsoft.com/office/drawing/2014/main" id="{AA407611-7A71-C7AB-0FAB-E2D3A3260930}"/>
              </a:ext>
            </a:extLst>
          </p:cNvPr>
          <p:cNvSpPr/>
          <p:nvPr/>
        </p:nvSpPr>
        <p:spPr>
          <a:xfrm rot="16200000" flipH="1">
            <a:off x="351472" y="4750017"/>
            <a:ext cx="778639" cy="101117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063866C2-271D-246E-1FDC-171186BF9C82}"/>
              </a:ext>
            </a:extLst>
          </p:cNvPr>
          <p:cNvSpPr/>
          <p:nvPr/>
        </p:nvSpPr>
        <p:spPr>
          <a:xfrm rot="16200000" flipH="1" flipV="1">
            <a:off x="6007300" y="-866729"/>
            <a:ext cx="707853" cy="11334612"/>
          </a:xfrm>
          <a:prstGeom prst="round2Same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5" name="Rectangle: Top Corners Rounded 14">
            <a:extLst>
              <a:ext uri="{FF2B5EF4-FFF2-40B4-BE49-F238E27FC236}">
                <a16:creationId xmlns:a16="http://schemas.microsoft.com/office/drawing/2014/main" id="{2F7F359C-5D70-2CF0-8E65-3B0204C3B0C1}"/>
              </a:ext>
            </a:extLst>
          </p:cNvPr>
          <p:cNvSpPr/>
          <p:nvPr/>
        </p:nvSpPr>
        <p:spPr>
          <a:xfrm rot="16200000" flipH="1">
            <a:off x="351472" y="5687248"/>
            <a:ext cx="778639" cy="101117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6" name="Rectangle: Top Corners Rounded 15">
            <a:extLst>
              <a:ext uri="{FF2B5EF4-FFF2-40B4-BE49-F238E27FC236}">
                <a16:creationId xmlns:a16="http://schemas.microsoft.com/office/drawing/2014/main" id="{2E278009-4CF4-B77D-8DCC-B3D90C6E5E91}"/>
              </a:ext>
            </a:extLst>
          </p:cNvPr>
          <p:cNvSpPr/>
          <p:nvPr/>
        </p:nvSpPr>
        <p:spPr>
          <a:xfrm rot="16200000" flipH="1" flipV="1">
            <a:off x="6007299" y="70502"/>
            <a:ext cx="707853" cy="11334611"/>
          </a:xfrm>
          <a:prstGeom prst="round2Same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350F1E9A-E883-5A0F-1F53-5ECBA6D6ECE6}"/>
              </a:ext>
            </a:extLst>
          </p:cNvPr>
          <p:cNvGrpSpPr/>
          <p:nvPr/>
        </p:nvGrpSpPr>
        <p:grpSpPr>
          <a:xfrm>
            <a:off x="163470" y="5416246"/>
            <a:ext cx="643120" cy="643120"/>
            <a:chOff x="-1064760" y="4898529"/>
            <a:chExt cx="1080000" cy="1080000"/>
          </a:xfrm>
        </p:grpSpPr>
        <p:sp>
          <p:nvSpPr>
            <p:cNvPr id="18" name="Flowchart: Connector 17">
              <a:extLst>
                <a:ext uri="{FF2B5EF4-FFF2-40B4-BE49-F238E27FC236}">
                  <a16:creationId xmlns:a16="http://schemas.microsoft.com/office/drawing/2014/main" id="{580EA4E7-C85F-3CBD-73B1-9BEE119C186D}"/>
                </a:ext>
              </a:extLst>
            </p:cNvPr>
            <p:cNvSpPr/>
            <p:nvPr/>
          </p:nvSpPr>
          <p:spPr>
            <a:xfrm>
              <a:off x="-1064760" y="4898529"/>
              <a:ext cx="1080000" cy="1080000"/>
            </a:xfrm>
            <a:prstGeom prst="flowChartConnector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19" name="Circle: Hollow 18">
              <a:extLst>
                <a:ext uri="{FF2B5EF4-FFF2-40B4-BE49-F238E27FC236}">
                  <a16:creationId xmlns:a16="http://schemas.microsoft.com/office/drawing/2014/main" id="{201C3AB3-E2B1-688D-9E4C-20EEC337079B}"/>
                </a:ext>
              </a:extLst>
            </p:cNvPr>
            <p:cNvSpPr/>
            <p:nvPr/>
          </p:nvSpPr>
          <p:spPr>
            <a:xfrm>
              <a:off x="-1064760" y="4898529"/>
              <a:ext cx="1080000" cy="1080000"/>
            </a:xfrm>
            <a:prstGeom prst="donut">
              <a:avLst>
                <a:gd name="adj" fmla="val 2024"/>
              </a:avLst>
            </a:prstGeom>
            <a:gradFill>
              <a:gsLst>
                <a:gs pos="0">
                  <a:schemeClr val="accent1"/>
                </a:gs>
                <a:gs pos="100000">
                  <a:schemeClr val="accent1">
                    <a:lumMod val="75000"/>
                  </a:schemeClr>
                </a:gs>
              </a:gsLst>
              <a:lin ang="5400000" scaled="1"/>
            </a:gradFill>
            <a:ln w="1270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en-IN" dirty="0">
                  <a:ea typeface="Verdana" panose="020B0604030504040204" pitchFamily="34" charset="0"/>
                </a:rPr>
                <a:t> </a:t>
              </a: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213456FA-281D-6B15-5FAB-2182B3F12CC0}"/>
              </a:ext>
            </a:extLst>
          </p:cNvPr>
          <p:cNvGrpSpPr/>
          <p:nvPr/>
        </p:nvGrpSpPr>
        <p:grpSpPr>
          <a:xfrm>
            <a:off x="163470" y="4479012"/>
            <a:ext cx="643120" cy="643120"/>
            <a:chOff x="-1064760" y="4898529"/>
            <a:chExt cx="1080000" cy="1080000"/>
          </a:xfrm>
        </p:grpSpPr>
        <p:sp>
          <p:nvSpPr>
            <p:cNvPr id="21" name="Flowchart: Connector 20">
              <a:extLst>
                <a:ext uri="{FF2B5EF4-FFF2-40B4-BE49-F238E27FC236}">
                  <a16:creationId xmlns:a16="http://schemas.microsoft.com/office/drawing/2014/main" id="{BE6409F6-0055-2E77-862C-9528B864E2E5}"/>
                </a:ext>
              </a:extLst>
            </p:cNvPr>
            <p:cNvSpPr/>
            <p:nvPr/>
          </p:nvSpPr>
          <p:spPr>
            <a:xfrm>
              <a:off x="-1064760" y="4898529"/>
              <a:ext cx="1080000" cy="1080000"/>
            </a:xfrm>
            <a:prstGeom prst="flowChartConnector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22" name="Circle: Hollow 21">
              <a:extLst>
                <a:ext uri="{FF2B5EF4-FFF2-40B4-BE49-F238E27FC236}">
                  <a16:creationId xmlns:a16="http://schemas.microsoft.com/office/drawing/2014/main" id="{2F3D516A-2ABF-4188-B714-CE5357964304}"/>
                </a:ext>
              </a:extLst>
            </p:cNvPr>
            <p:cNvSpPr/>
            <p:nvPr/>
          </p:nvSpPr>
          <p:spPr>
            <a:xfrm>
              <a:off x="-1064760" y="4898529"/>
              <a:ext cx="1080000" cy="1080000"/>
            </a:xfrm>
            <a:prstGeom prst="donut">
              <a:avLst>
                <a:gd name="adj" fmla="val 2024"/>
              </a:avLst>
            </a:prstGeom>
            <a:gradFill>
              <a:gsLst>
                <a:gs pos="0">
                  <a:schemeClr val="accent1"/>
                </a:gs>
                <a:gs pos="100000">
                  <a:schemeClr val="accent1">
                    <a:lumMod val="75000"/>
                  </a:schemeClr>
                </a:gs>
              </a:gsLst>
              <a:lin ang="5400000" scaled="1"/>
            </a:gradFill>
            <a:ln w="1270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en-IN" dirty="0">
                  <a:ea typeface="Verdana" panose="020B0604030504040204" pitchFamily="34" charset="0"/>
                </a:rPr>
                <a:t> 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5B77CFD8-C7F0-C026-81C5-294AD1DD8B1E}"/>
              </a:ext>
            </a:extLst>
          </p:cNvPr>
          <p:cNvGrpSpPr/>
          <p:nvPr/>
        </p:nvGrpSpPr>
        <p:grpSpPr>
          <a:xfrm>
            <a:off x="163470" y="3541780"/>
            <a:ext cx="643120" cy="643120"/>
            <a:chOff x="-1064760" y="4898529"/>
            <a:chExt cx="1080000" cy="1080000"/>
          </a:xfrm>
        </p:grpSpPr>
        <p:sp>
          <p:nvSpPr>
            <p:cNvPr id="24" name="Flowchart: Connector 23">
              <a:extLst>
                <a:ext uri="{FF2B5EF4-FFF2-40B4-BE49-F238E27FC236}">
                  <a16:creationId xmlns:a16="http://schemas.microsoft.com/office/drawing/2014/main" id="{2CF18CEA-E221-45ED-E558-D18134CE2786}"/>
                </a:ext>
              </a:extLst>
            </p:cNvPr>
            <p:cNvSpPr/>
            <p:nvPr/>
          </p:nvSpPr>
          <p:spPr>
            <a:xfrm>
              <a:off x="-1064760" y="4898529"/>
              <a:ext cx="1080000" cy="1080000"/>
            </a:xfrm>
            <a:prstGeom prst="flowChartConnector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25" name="Circle: Hollow 24">
              <a:extLst>
                <a:ext uri="{FF2B5EF4-FFF2-40B4-BE49-F238E27FC236}">
                  <a16:creationId xmlns:a16="http://schemas.microsoft.com/office/drawing/2014/main" id="{6D526C38-C079-92E5-D31D-7E909C77DE7A}"/>
                </a:ext>
              </a:extLst>
            </p:cNvPr>
            <p:cNvSpPr/>
            <p:nvPr/>
          </p:nvSpPr>
          <p:spPr>
            <a:xfrm>
              <a:off x="-1064760" y="4898529"/>
              <a:ext cx="1080000" cy="1080000"/>
            </a:xfrm>
            <a:prstGeom prst="donut">
              <a:avLst>
                <a:gd name="adj" fmla="val 2024"/>
              </a:avLst>
            </a:prstGeom>
            <a:gradFill>
              <a:gsLst>
                <a:gs pos="0">
                  <a:schemeClr val="accent1"/>
                </a:gs>
                <a:gs pos="100000">
                  <a:schemeClr val="accent1">
                    <a:lumMod val="75000"/>
                  </a:schemeClr>
                </a:gs>
              </a:gsLst>
              <a:lin ang="5400000" scaled="1"/>
            </a:gradFill>
            <a:ln w="1270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en-IN" dirty="0">
                  <a:ea typeface="Verdana" panose="020B0604030504040204" pitchFamily="34" charset="0"/>
                </a:rPr>
                <a:t> </a:t>
              </a: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8A1FB511-F9F2-DD13-0652-200FA303D729}"/>
              </a:ext>
            </a:extLst>
          </p:cNvPr>
          <p:cNvGrpSpPr/>
          <p:nvPr/>
        </p:nvGrpSpPr>
        <p:grpSpPr>
          <a:xfrm>
            <a:off x="163470" y="2604548"/>
            <a:ext cx="643120" cy="643120"/>
            <a:chOff x="-1064760" y="4898529"/>
            <a:chExt cx="1080000" cy="1080000"/>
          </a:xfrm>
        </p:grpSpPr>
        <p:sp>
          <p:nvSpPr>
            <p:cNvPr id="27" name="Flowchart: Connector 26">
              <a:extLst>
                <a:ext uri="{FF2B5EF4-FFF2-40B4-BE49-F238E27FC236}">
                  <a16:creationId xmlns:a16="http://schemas.microsoft.com/office/drawing/2014/main" id="{5C3AB516-C343-E74F-628D-1B3C6F506D8B}"/>
                </a:ext>
              </a:extLst>
            </p:cNvPr>
            <p:cNvSpPr/>
            <p:nvPr/>
          </p:nvSpPr>
          <p:spPr>
            <a:xfrm>
              <a:off x="-1064760" y="4898529"/>
              <a:ext cx="1080000" cy="1080000"/>
            </a:xfrm>
            <a:prstGeom prst="flowChartConnector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28" name="Circle: Hollow 27">
              <a:extLst>
                <a:ext uri="{FF2B5EF4-FFF2-40B4-BE49-F238E27FC236}">
                  <a16:creationId xmlns:a16="http://schemas.microsoft.com/office/drawing/2014/main" id="{E316DD15-45C5-B5D4-98B8-1E7E3257D751}"/>
                </a:ext>
              </a:extLst>
            </p:cNvPr>
            <p:cNvSpPr/>
            <p:nvPr/>
          </p:nvSpPr>
          <p:spPr>
            <a:xfrm>
              <a:off x="-1064760" y="4898529"/>
              <a:ext cx="1080000" cy="1080000"/>
            </a:xfrm>
            <a:prstGeom prst="donut">
              <a:avLst>
                <a:gd name="adj" fmla="val 2024"/>
              </a:avLst>
            </a:prstGeom>
            <a:gradFill>
              <a:gsLst>
                <a:gs pos="0">
                  <a:schemeClr val="accent1"/>
                </a:gs>
                <a:gs pos="100000">
                  <a:schemeClr val="accent1">
                    <a:lumMod val="75000"/>
                  </a:schemeClr>
                </a:gs>
              </a:gsLst>
              <a:lin ang="5400000" scaled="1"/>
            </a:gradFill>
            <a:ln w="1270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en-IN" dirty="0">
                  <a:ea typeface="Verdana" panose="020B0604030504040204" pitchFamily="34" charset="0"/>
                </a:rPr>
                <a:t> </a:t>
              </a: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ECBFEEF4-EDD3-ED98-3C0F-967AF0EF5D5B}"/>
              </a:ext>
            </a:extLst>
          </p:cNvPr>
          <p:cNvGrpSpPr/>
          <p:nvPr/>
        </p:nvGrpSpPr>
        <p:grpSpPr>
          <a:xfrm>
            <a:off x="163470" y="1667316"/>
            <a:ext cx="643120" cy="643120"/>
            <a:chOff x="-1064760" y="4898529"/>
            <a:chExt cx="1080000" cy="1080000"/>
          </a:xfrm>
        </p:grpSpPr>
        <p:sp>
          <p:nvSpPr>
            <p:cNvPr id="30" name="Flowchart: Connector 29">
              <a:extLst>
                <a:ext uri="{FF2B5EF4-FFF2-40B4-BE49-F238E27FC236}">
                  <a16:creationId xmlns:a16="http://schemas.microsoft.com/office/drawing/2014/main" id="{C5F5141A-9F21-4B77-CB94-5E4DC2467028}"/>
                </a:ext>
              </a:extLst>
            </p:cNvPr>
            <p:cNvSpPr/>
            <p:nvPr/>
          </p:nvSpPr>
          <p:spPr>
            <a:xfrm>
              <a:off x="-1064760" y="4898529"/>
              <a:ext cx="1080000" cy="1080000"/>
            </a:xfrm>
            <a:prstGeom prst="flowChartConnector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31" name="Circle: Hollow 30">
              <a:extLst>
                <a:ext uri="{FF2B5EF4-FFF2-40B4-BE49-F238E27FC236}">
                  <a16:creationId xmlns:a16="http://schemas.microsoft.com/office/drawing/2014/main" id="{7C93BBD2-1BCA-0614-F7AA-E6042D8C98E2}"/>
                </a:ext>
              </a:extLst>
            </p:cNvPr>
            <p:cNvSpPr/>
            <p:nvPr/>
          </p:nvSpPr>
          <p:spPr>
            <a:xfrm>
              <a:off x="-1064760" y="4898529"/>
              <a:ext cx="1080000" cy="1080000"/>
            </a:xfrm>
            <a:prstGeom prst="donut">
              <a:avLst>
                <a:gd name="adj" fmla="val 2024"/>
              </a:avLst>
            </a:prstGeom>
            <a:gradFill>
              <a:gsLst>
                <a:gs pos="0">
                  <a:schemeClr val="accent1"/>
                </a:gs>
                <a:gs pos="100000">
                  <a:schemeClr val="accent1">
                    <a:lumMod val="75000"/>
                  </a:schemeClr>
                </a:gs>
              </a:gsLst>
              <a:lin ang="5400000" scaled="1"/>
            </a:gradFill>
            <a:ln w="1270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en-IN" dirty="0">
                  <a:ea typeface="Verdana" panose="020B0604030504040204" pitchFamily="34" charset="0"/>
                </a:rPr>
                <a:t> </a:t>
              </a:r>
            </a:p>
          </p:txBody>
        </p:sp>
      </p:grpSp>
      <p:sp>
        <p:nvSpPr>
          <p:cNvPr id="35" name="TextBox 34">
            <a:extLst>
              <a:ext uri="{FF2B5EF4-FFF2-40B4-BE49-F238E27FC236}">
                <a16:creationId xmlns:a16="http://schemas.microsoft.com/office/drawing/2014/main" id="{506C5C5A-1015-99B0-9B25-757B93198DDA}"/>
              </a:ext>
            </a:extLst>
          </p:cNvPr>
          <p:cNvSpPr txBox="1"/>
          <p:nvPr/>
        </p:nvSpPr>
        <p:spPr>
          <a:xfrm>
            <a:off x="1066800" y="1734875"/>
            <a:ext cx="10744200" cy="50800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indent="0">
              <a:spcBef>
                <a:spcPts val="0"/>
              </a:spcBef>
              <a:buSzPts val="1600"/>
              <a:buNone/>
            </a:pPr>
            <a:r>
              <a:rPr lang="en-US" sz="1600" b="1" dirty="0">
                <a:solidFill>
                  <a:schemeClr val="bg1"/>
                </a:solidFill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6E310A8C-91EB-9D48-9693-3EC0FA85EE82}"/>
              </a:ext>
            </a:extLst>
          </p:cNvPr>
          <p:cNvSpPr txBox="1"/>
          <p:nvPr/>
        </p:nvSpPr>
        <p:spPr>
          <a:xfrm>
            <a:off x="1066800" y="2672107"/>
            <a:ext cx="10744200" cy="50800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indent="0">
              <a:spcBef>
                <a:spcPts val="0"/>
              </a:spcBef>
              <a:buSzPts val="1600"/>
              <a:buNone/>
            </a:pPr>
            <a:r>
              <a:rPr lang="en-US" sz="1600" b="1" dirty="0">
                <a:solidFill>
                  <a:schemeClr val="bg1"/>
                </a:solidFill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715F3A49-EC58-307C-76C1-508A69710DE5}"/>
              </a:ext>
            </a:extLst>
          </p:cNvPr>
          <p:cNvSpPr txBox="1"/>
          <p:nvPr/>
        </p:nvSpPr>
        <p:spPr>
          <a:xfrm>
            <a:off x="1066800" y="3609339"/>
            <a:ext cx="10744200" cy="50800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indent="0">
              <a:spcBef>
                <a:spcPts val="0"/>
              </a:spcBef>
              <a:buSzPts val="1600"/>
              <a:buNone/>
            </a:pPr>
            <a:r>
              <a:rPr lang="en-US" sz="1600" b="1" dirty="0">
                <a:solidFill>
                  <a:schemeClr val="bg1"/>
                </a:solidFill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9FB80D9A-EC49-4770-5BE0-AB989679ACDC}"/>
              </a:ext>
            </a:extLst>
          </p:cNvPr>
          <p:cNvSpPr txBox="1"/>
          <p:nvPr/>
        </p:nvSpPr>
        <p:spPr>
          <a:xfrm>
            <a:off x="1066800" y="4546571"/>
            <a:ext cx="10744200" cy="50800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indent="0">
              <a:spcBef>
                <a:spcPts val="0"/>
              </a:spcBef>
              <a:buSzPts val="1600"/>
              <a:buNone/>
            </a:pPr>
            <a:r>
              <a:rPr lang="en-US" sz="1600" b="1" dirty="0">
                <a:solidFill>
                  <a:schemeClr val="bg1"/>
                </a:solidFill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2631C08A-BBCF-44E5-D4DA-E0AE8D1DC22B}"/>
              </a:ext>
            </a:extLst>
          </p:cNvPr>
          <p:cNvSpPr txBox="1"/>
          <p:nvPr/>
        </p:nvSpPr>
        <p:spPr>
          <a:xfrm>
            <a:off x="1066800" y="5483804"/>
            <a:ext cx="10744200" cy="50800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indent="0">
              <a:spcBef>
                <a:spcPts val="0"/>
              </a:spcBef>
              <a:buSzPts val="1600"/>
              <a:buNone/>
            </a:pPr>
            <a:r>
              <a:rPr lang="en-US" sz="1600" b="1" dirty="0">
                <a:solidFill>
                  <a:schemeClr val="bg1"/>
                </a:solidFill>
                <a:cs typeface="Arial" panose="020B0604020202020204" pitchFamily="34" charset="0"/>
              </a:rPr>
              <a:t>Insert Text Here</a:t>
            </a:r>
          </a:p>
        </p:txBody>
      </p:sp>
    </p:spTree>
    <p:extLst>
      <p:ext uri="{BB962C8B-B14F-4D97-AF65-F5344CB8AC3E}">
        <p14:creationId xmlns:p14="http://schemas.microsoft.com/office/powerpoint/2010/main" val="3018616242"/>
      </p:ext>
    </p:extLst>
  </p:cSld>
  <p:clrMapOvr>
    <a:masterClrMapping/>
  </p:clrMapOvr>
</p:sld>
</file>

<file path=ppt/slides/slide1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31C986-9664-EEA3-6850-F08BA965E0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BDFC2CA-7681-D2C7-E698-491931D72F2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BDFC2CA-7681-D2C7-E698-491931D72F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9ED52FCF-FC4A-8A3F-7C92-90F1B2E141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lide title</a:t>
            </a:r>
          </a:p>
        </p:txBody>
      </p:sp>
      <p:sp>
        <p:nvSpPr>
          <p:cNvPr id="3" name="Google Shape;281;p2">
            <a:extLst>
              <a:ext uri="{FF2B5EF4-FFF2-40B4-BE49-F238E27FC236}">
                <a16:creationId xmlns:a16="http://schemas.microsoft.com/office/drawing/2014/main" id="{5E8FA475-2706-331D-1F65-15ED1C684226}"/>
              </a:ext>
            </a:extLst>
          </p:cNvPr>
          <p:cNvSpPr/>
          <p:nvPr/>
        </p:nvSpPr>
        <p:spPr>
          <a:xfrm>
            <a:off x="984140" y="1136157"/>
            <a:ext cx="1731704" cy="1375054"/>
          </a:xfrm>
          <a:prstGeom prst="roundRect">
            <a:avLst>
              <a:gd name="adj" fmla="val 8069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700" dirty="0">
              <a:solidFill>
                <a:schemeClr val="lt1"/>
              </a:solidFill>
              <a:ea typeface="Open Sans"/>
              <a:cs typeface="Arial" panose="020B0604020202020204" pitchFamily="34" charset="0"/>
              <a:sym typeface="Open Sans"/>
            </a:endParaRPr>
          </a:p>
        </p:txBody>
      </p:sp>
      <p:sp>
        <p:nvSpPr>
          <p:cNvPr id="5" name="Google Shape;282;p2">
            <a:extLst>
              <a:ext uri="{FF2B5EF4-FFF2-40B4-BE49-F238E27FC236}">
                <a16:creationId xmlns:a16="http://schemas.microsoft.com/office/drawing/2014/main" id="{B9364379-D432-1991-4D65-98B94AB22B84}"/>
              </a:ext>
            </a:extLst>
          </p:cNvPr>
          <p:cNvSpPr/>
          <p:nvPr/>
        </p:nvSpPr>
        <p:spPr>
          <a:xfrm>
            <a:off x="685747" y="1466214"/>
            <a:ext cx="2351170" cy="4763811"/>
          </a:xfrm>
          <a:custGeom>
            <a:avLst/>
            <a:gdLst/>
            <a:ahLst/>
            <a:cxnLst/>
            <a:rect l="l" t="t" r="r" b="b"/>
            <a:pathLst>
              <a:path w="2404439" h="4763811" extrusionOk="0">
                <a:moveTo>
                  <a:pt x="180838" y="0"/>
                </a:moveTo>
                <a:lnTo>
                  <a:pt x="663826" y="0"/>
                </a:lnTo>
                <a:lnTo>
                  <a:pt x="671937" y="80460"/>
                </a:lnTo>
                <a:cubicBezTo>
                  <a:pt x="722409" y="327111"/>
                  <a:pt x="940647" y="512652"/>
                  <a:pt x="1202219" y="512652"/>
                </a:cubicBezTo>
                <a:cubicBezTo>
                  <a:pt x="1463792" y="512652"/>
                  <a:pt x="1682029" y="327111"/>
                  <a:pt x="1732501" y="80460"/>
                </a:cubicBezTo>
                <a:lnTo>
                  <a:pt x="1740612" y="0"/>
                </a:lnTo>
                <a:lnTo>
                  <a:pt x="2223601" y="0"/>
                </a:lnTo>
                <a:cubicBezTo>
                  <a:pt x="2323475" y="0"/>
                  <a:pt x="2404439" y="80964"/>
                  <a:pt x="2404439" y="180838"/>
                </a:cubicBezTo>
                <a:lnTo>
                  <a:pt x="2404439" y="4582973"/>
                </a:lnTo>
                <a:cubicBezTo>
                  <a:pt x="2404439" y="4682847"/>
                  <a:pt x="2323475" y="4763811"/>
                  <a:pt x="2223601" y="4763811"/>
                </a:cubicBezTo>
                <a:lnTo>
                  <a:pt x="180838" y="4763811"/>
                </a:lnTo>
                <a:cubicBezTo>
                  <a:pt x="80964" y="4763811"/>
                  <a:pt x="0" y="4682847"/>
                  <a:pt x="0" y="4582973"/>
                </a:cubicBezTo>
                <a:lnTo>
                  <a:pt x="0" y="180838"/>
                </a:lnTo>
                <a:cubicBezTo>
                  <a:pt x="0" y="80964"/>
                  <a:pt x="80964" y="0"/>
                  <a:pt x="180838" y="0"/>
                </a:cubicBezTo>
                <a:close/>
              </a:path>
            </a:pathLst>
          </a:custGeom>
          <a:noFill/>
          <a:ln w="12700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/>
            <a:endParaRPr sz="1600" dirty="0">
              <a:solidFill>
                <a:schemeClr val="lt1"/>
              </a:solidFill>
              <a:cs typeface="Arial"/>
              <a:sym typeface="Open Sans"/>
            </a:endParaRPr>
          </a:p>
        </p:txBody>
      </p:sp>
      <p:sp>
        <p:nvSpPr>
          <p:cNvPr id="6" name="Google Shape;283;p2">
            <a:extLst>
              <a:ext uri="{FF2B5EF4-FFF2-40B4-BE49-F238E27FC236}">
                <a16:creationId xmlns:a16="http://schemas.microsoft.com/office/drawing/2014/main" id="{289F81C0-2B7C-A25B-24A4-CACC638B47E8}"/>
              </a:ext>
            </a:extLst>
          </p:cNvPr>
          <p:cNvSpPr txBox="1"/>
          <p:nvPr/>
        </p:nvSpPr>
        <p:spPr>
          <a:xfrm>
            <a:off x="850072" y="2584891"/>
            <a:ext cx="2010031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dirty="0">
                <a:ea typeface="Arial"/>
                <a:cs typeface="Arial"/>
                <a:sym typeface="Arial"/>
              </a:rPr>
              <a:t>Insert Text Here</a:t>
            </a:r>
            <a:endParaRPr sz="1600" dirty="0"/>
          </a:p>
        </p:txBody>
      </p:sp>
      <p:sp>
        <p:nvSpPr>
          <p:cNvPr id="8" name="Google Shape;284;p2">
            <a:extLst>
              <a:ext uri="{FF2B5EF4-FFF2-40B4-BE49-F238E27FC236}">
                <a16:creationId xmlns:a16="http://schemas.microsoft.com/office/drawing/2014/main" id="{571C934E-E84D-BFFD-C880-DA8A4E72DF2A}"/>
              </a:ext>
            </a:extLst>
          </p:cNvPr>
          <p:cNvSpPr txBox="1"/>
          <p:nvPr/>
        </p:nvSpPr>
        <p:spPr>
          <a:xfrm>
            <a:off x="850072" y="2181159"/>
            <a:ext cx="2010031" cy="369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 dirty="0">
                <a:solidFill>
                  <a:schemeClr val="accent1"/>
                </a:solidFill>
                <a:ea typeface="Arial"/>
                <a:cs typeface="Arial"/>
                <a:sym typeface="Arial"/>
              </a:rPr>
              <a:t>STRENGTH</a:t>
            </a:r>
            <a:endParaRPr b="1" dirty="0">
              <a:solidFill>
                <a:schemeClr val="accent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9" name="Google Shape;285;p2">
            <a:extLst>
              <a:ext uri="{FF2B5EF4-FFF2-40B4-BE49-F238E27FC236}">
                <a16:creationId xmlns:a16="http://schemas.microsoft.com/office/drawing/2014/main" id="{2D810B68-407D-86B4-6207-3766BCC7AEA4}"/>
              </a:ext>
            </a:extLst>
          </p:cNvPr>
          <p:cNvSpPr txBox="1"/>
          <p:nvPr/>
        </p:nvSpPr>
        <p:spPr>
          <a:xfrm>
            <a:off x="1513856" y="1235915"/>
            <a:ext cx="632012" cy="6462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 dirty="0">
                <a:solidFill>
                  <a:schemeClr val="bg1"/>
                </a:solidFill>
                <a:ea typeface="Arial"/>
                <a:cs typeface="Arial"/>
                <a:sym typeface="Arial"/>
              </a:rPr>
              <a:t>S</a:t>
            </a:r>
            <a:endParaRPr sz="1100" dirty="0">
              <a:solidFill>
                <a:schemeClr val="bg1"/>
              </a:solidFill>
            </a:endParaRPr>
          </a:p>
        </p:txBody>
      </p:sp>
      <p:sp>
        <p:nvSpPr>
          <p:cNvPr id="10" name="Google Shape;286;p2">
            <a:extLst>
              <a:ext uri="{FF2B5EF4-FFF2-40B4-BE49-F238E27FC236}">
                <a16:creationId xmlns:a16="http://schemas.microsoft.com/office/drawing/2014/main" id="{48919047-D258-04AC-AAC2-0DB603DCAA4F}"/>
              </a:ext>
            </a:extLst>
          </p:cNvPr>
          <p:cNvSpPr/>
          <p:nvPr/>
        </p:nvSpPr>
        <p:spPr>
          <a:xfrm>
            <a:off x="3837711" y="1136157"/>
            <a:ext cx="1731704" cy="1375054"/>
          </a:xfrm>
          <a:prstGeom prst="roundRect">
            <a:avLst>
              <a:gd name="adj" fmla="val 8069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700" dirty="0">
              <a:solidFill>
                <a:schemeClr val="lt1"/>
              </a:solidFill>
              <a:ea typeface="Open Sans"/>
              <a:cs typeface="Arial" panose="020B0604020202020204" pitchFamily="34" charset="0"/>
              <a:sym typeface="Open Sans"/>
            </a:endParaRPr>
          </a:p>
        </p:txBody>
      </p:sp>
      <p:sp>
        <p:nvSpPr>
          <p:cNvPr id="11" name="Google Shape;287;p2">
            <a:extLst>
              <a:ext uri="{FF2B5EF4-FFF2-40B4-BE49-F238E27FC236}">
                <a16:creationId xmlns:a16="http://schemas.microsoft.com/office/drawing/2014/main" id="{BB19A1CC-32EE-BAD7-57F3-5B179425017D}"/>
              </a:ext>
            </a:extLst>
          </p:cNvPr>
          <p:cNvSpPr/>
          <p:nvPr/>
        </p:nvSpPr>
        <p:spPr>
          <a:xfrm>
            <a:off x="3539318" y="1466214"/>
            <a:ext cx="2351170" cy="4763811"/>
          </a:xfrm>
          <a:custGeom>
            <a:avLst/>
            <a:gdLst/>
            <a:ahLst/>
            <a:cxnLst/>
            <a:rect l="l" t="t" r="r" b="b"/>
            <a:pathLst>
              <a:path w="2404439" h="4763811" extrusionOk="0">
                <a:moveTo>
                  <a:pt x="180838" y="0"/>
                </a:moveTo>
                <a:lnTo>
                  <a:pt x="663826" y="0"/>
                </a:lnTo>
                <a:lnTo>
                  <a:pt x="671937" y="80460"/>
                </a:lnTo>
                <a:cubicBezTo>
                  <a:pt x="722409" y="327111"/>
                  <a:pt x="940647" y="512652"/>
                  <a:pt x="1202219" y="512652"/>
                </a:cubicBezTo>
                <a:cubicBezTo>
                  <a:pt x="1463792" y="512652"/>
                  <a:pt x="1682029" y="327111"/>
                  <a:pt x="1732501" y="80460"/>
                </a:cubicBezTo>
                <a:lnTo>
                  <a:pt x="1740612" y="0"/>
                </a:lnTo>
                <a:lnTo>
                  <a:pt x="2223601" y="0"/>
                </a:lnTo>
                <a:cubicBezTo>
                  <a:pt x="2323475" y="0"/>
                  <a:pt x="2404439" y="80964"/>
                  <a:pt x="2404439" y="180838"/>
                </a:cubicBezTo>
                <a:lnTo>
                  <a:pt x="2404439" y="4582973"/>
                </a:lnTo>
                <a:cubicBezTo>
                  <a:pt x="2404439" y="4682847"/>
                  <a:pt x="2323475" y="4763811"/>
                  <a:pt x="2223601" y="4763811"/>
                </a:cubicBezTo>
                <a:lnTo>
                  <a:pt x="180838" y="4763811"/>
                </a:lnTo>
                <a:cubicBezTo>
                  <a:pt x="80964" y="4763811"/>
                  <a:pt x="0" y="4682847"/>
                  <a:pt x="0" y="4582973"/>
                </a:cubicBezTo>
                <a:lnTo>
                  <a:pt x="0" y="180838"/>
                </a:lnTo>
                <a:cubicBezTo>
                  <a:pt x="0" y="80964"/>
                  <a:pt x="80964" y="0"/>
                  <a:pt x="180838" y="0"/>
                </a:cubicBezTo>
                <a:close/>
              </a:path>
            </a:pathLst>
          </a:custGeom>
          <a:noFill/>
          <a:ln w="12700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/>
            <a:endParaRPr sz="1600" dirty="0">
              <a:solidFill>
                <a:schemeClr val="lt1"/>
              </a:solidFill>
              <a:cs typeface="Arial"/>
              <a:sym typeface="Open Sans"/>
            </a:endParaRPr>
          </a:p>
        </p:txBody>
      </p:sp>
      <p:sp>
        <p:nvSpPr>
          <p:cNvPr id="12" name="Google Shape;288;p2">
            <a:extLst>
              <a:ext uri="{FF2B5EF4-FFF2-40B4-BE49-F238E27FC236}">
                <a16:creationId xmlns:a16="http://schemas.microsoft.com/office/drawing/2014/main" id="{21E8D8FC-320A-F0E6-A125-89713D6CBBD1}"/>
              </a:ext>
            </a:extLst>
          </p:cNvPr>
          <p:cNvSpPr txBox="1"/>
          <p:nvPr/>
        </p:nvSpPr>
        <p:spPr>
          <a:xfrm>
            <a:off x="3703643" y="2584888"/>
            <a:ext cx="2010031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>
                <a:ea typeface="Arial"/>
                <a:cs typeface="Arial"/>
                <a:sym typeface="Arial"/>
              </a:rPr>
              <a:t>Insert Text Here</a:t>
            </a:r>
            <a:endParaRPr sz="1600"/>
          </a:p>
        </p:txBody>
      </p:sp>
      <p:sp>
        <p:nvSpPr>
          <p:cNvPr id="13" name="Google Shape;289;p2">
            <a:extLst>
              <a:ext uri="{FF2B5EF4-FFF2-40B4-BE49-F238E27FC236}">
                <a16:creationId xmlns:a16="http://schemas.microsoft.com/office/drawing/2014/main" id="{0E41288A-B057-6C49-3CCF-10D3414787BD}"/>
              </a:ext>
            </a:extLst>
          </p:cNvPr>
          <p:cNvSpPr txBox="1"/>
          <p:nvPr/>
        </p:nvSpPr>
        <p:spPr>
          <a:xfrm>
            <a:off x="3703643" y="2181158"/>
            <a:ext cx="2010031" cy="369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 dirty="0">
                <a:solidFill>
                  <a:schemeClr val="accent2"/>
                </a:solidFill>
                <a:ea typeface="Arial"/>
                <a:cs typeface="Arial"/>
                <a:sym typeface="Arial"/>
              </a:rPr>
              <a:t>WEAKNESS</a:t>
            </a:r>
            <a:endParaRPr b="1" dirty="0">
              <a:solidFill>
                <a:schemeClr val="accent2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4" name="Google Shape;290;p2">
            <a:extLst>
              <a:ext uri="{FF2B5EF4-FFF2-40B4-BE49-F238E27FC236}">
                <a16:creationId xmlns:a16="http://schemas.microsoft.com/office/drawing/2014/main" id="{1AFB2C17-53C3-1D19-FBCE-E1134827F140}"/>
              </a:ext>
            </a:extLst>
          </p:cNvPr>
          <p:cNvSpPr txBox="1"/>
          <p:nvPr/>
        </p:nvSpPr>
        <p:spPr>
          <a:xfrm>
            <a:off x="4276821" y="1235915"/>
            <a:ext cx="820110" cy="6462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>
                <a:solidFill>
                  <a:schemeClr val="bg1"/>
                </a:solidFill>
                <a:ea typeface="Arial"/>
                <a:cs typeface="Arial"/>
                <a:sym typeface="Arial"/>
              </a:rPr>
              <a:t>W</a:t>
            </a:r>
            <a:endParaRPr sz="1100">
              <a:solidFill>
                <a:schemeClr val="bg1"/>
              </a:solidFill>
            </a:endParaRPr>
          </a:p>
        </p:txBody>
      </p:sp>
      <p:sp>
        <p:nvSpPr>
          <p:cNvPr id="15" name="Google Shape;291;p2">
            <a:extLst>
              <a:ext uri="{FF2B5EF4-FFF2-40B4-BE49-F238E27FC236}">
                <a16:creationId xmlns:a16="http://schemas.microsoft.com/office/drawing/2014/main" id="{2E7F99D7-A963-4AA2-E3D0-1F37AF557545}"/>
              </a:ext>
            </a:extLst>
          </p:cNvPr>
          <p:cNvSpPr/>
          <p:nvPr/>
        </p:nvSpPr>
        <p:spPr>
          <a:xfrm>
            <a:off x="6691282" y="1136157"/>
            <a:ext cx="1731704" cy="1375054"/>
          </a:xfrm>
          <a:prstGeom prst="roundRect">
            <a:avLst>
              <a:gd name="adj" fmla="val 8069"/>
            </a:avLst>
          </a:prstGeom>
          <a:solidFill>
            <a:schemeClr val="accent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700" dirty="0">
              <a:solidFill>
                <a:schemeClr val="lt1"/>
              </a:solidFill>
              <a:ea typeface="Open Sans"/>
              <a:cs typeface="Arial" panose="020B0604020202020204" pitchFamily="34" charset="0"/>
              <a:sym typeface="Open Sans"/>
            </a:endParaRPr>
          </a:p>
        </p:txBody>
      </p:sp>
      <p:sp>
        <p:nvSpPr>
          <p:cNvPr id="16" name="Google Shape;292;p2">
            <a:extLst>
              <a:ext uri="{FF2B5EF4-FFF2-40B4-BE49-F238E27FC236}">
                <a16:creationId xmlns:a16="http://schemas.microsoft.com/office/drawing/2014/main" id="{E0E73522-0E24-7B80-3C93-B6C0A7DF26EA}"/>
              </a:ext>
            </a:extLst>
          </p:cNvPr>
          <p:cNvSpPr/>
          <p:nvPr/>
        </p:nvSpPr>
        <p:spPr>
          <a:xfrm>
            <a:off x="6392889" y="1466214"/>
            <a:ext cx="2351170" cy="4763811"/>
          </a:xfrm>
          <a:custGeom>
            <a:avLst/>
            <a:gdLst/>
            <a:ahLst/>
            <a:cxnLst/>
            <a:rect l="l" t="t" r="r" b="b"/>
            <a:pathLst>
              <a:path w="2404439" h="4763811" extrusionOk="0">
                <a:moveTo>
                  <a:pt x="180838" y="0"/>
                </a:moveTo>
                <a:lnTo>
                  <a:pt x="663826" y="0"/>
                </a:lnTo>
                <a:lnTo>
                  <a:pt x="671937" y="80460"/>
                </a:lnTo>
                <a:cubicBezTo>
                  <a:pt x="722409" y="327111"/>
                  <a:pt x="940647" y="512652"/>
                  <a:pt x="1202219" y="512652"/>
                </a:cubicBezTo>
                <a:cubicBezTo>
                  <a:pt x="1463792" y="512652"/>
                  <a:pt x="1682029" y="327111"/>
                  <a:pt x="1732501" y="80460"/>
                </a:cubicBezTo>
                <a:lnTo>
                  <a:pt x="1740612" y="0"/>
                </a:lnTo>
                <a:lnTo>
                  <a:pt x="2223601" y="0"/>
                </a:lnTo>
                <a:cubicBezTo>
                  <a:pt x="2323475" y="0"/>
                  <a:pt x="2404439" y="80964"/>
                  <a:pt x="2404439" y="180838"/>
                </a:cubicBezTo>
                <a:lnTo>
                  <a:pt x="2404439" y="4582973"/>
                </a:lnTo>
                <a:cubicBezTo>
                  <a:pt x="2404439" y="4682847"/>
                  <a:pt x="2323475" y="4763811"/>
                  <a:pt x="2223601" y="4763811"/>
                </a:cubicBezTo>
                <a:lnTo>
                  <a:pt x="180838" y="4763811"/>
                </a:lnTo>
                <a:cubicBezTo>
                  <a:pt x="80964" y="4763811"/>
                  <a:pt x="0" y="4682847"/>
                  <a:pt x="0" y="4582973"/>
                </a:cubicBezTo>
                <a:lnTo>
                  <a:pt x="0" y="180838"/>
                </a:lnTo>
                <a:cubicBezTo>
                  <a:pt x="0" y="80964"/>
                  <a:pt x="80964" y="0"/>
                  <a:pt x="180838" y="0"/>
                </a:cubicBezTo>
                <a:close/>
              </a:path>
            </a:pathLst>
          </a:custGeom>
          <a:noFill/>
          <a:ln w="12700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/>
            <a:endParaRPr sz="1600" dirty="0">
              <a:solidFill>
                <a:schemeClr val="lt1"/>
              </a:solidFill>
              <a:cs typeface="Arial"/>
              <a:sym typeface="Open Sans"/>
            </a:endParaRPr>
          </a:p>
        </p:txBody>
      </p:sp>
      <p:sp>
        <p:nvSpPr>
          <p:cNvPr id="17" name="Google Shape;293;p2">
            <a:extLst>
              <a:ext uri="{FF2B5EF4-FFF2-40B4-BE49-F238E27FC236}">
                <a16:creationId xmlns:a16="http://schemas.microsoft.com/office/drawing/2014/main" id="{29853853-1840-8ED9-9652-C2E7AD6A92AC}"/>
              </a:ext>
            </a:extLst>
          </p:cNvPr>
          <p:cNvSpPr txBox="1"/>
          <p:nvPr/>
        </p:nvSpPr>
        <p:spPr>
          <a:xfrm>
            <a:off x="6557214" y="2584887"/>
            <a:ext cx="2010031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>
                <a:ea typeface="Arial"/>
                <a:cs typeface="Arial"/>
                <a:sym typeface="Arial"/>
              </a:rPr>
              <a:t>Insert Text Here</a:t>
            </a:r>
            <a:endParaRPr sz="1600"/>
          </a:p>
        </p:txBody>
      </p:sp>
      <p:sp>
        <p:nvSpPr>
          <p:cNvPr id="18" name="Google Shape;294;p2">
            <a:extLst>
              <a:ext uri="{FF2B5EF4-FFF2-40B4-BE49-F238E27FC236}">
                <a16:creationId xmlns:a16="http://schemas.microsoft.com/office/drawing/2014/main" id="{7DF7AB15-B1D4-E5A8-31B4-5BD48136E3B0}"/>
              </a:ext>
            </a:extLst>
          </p:cNvPr>
          <p:cNvSpPr txBox="1"/>
          <p:nvPr/>
        </p:nvSpPr>
        <p:spPr>
          <a:xfrm>
            <a:off x="6557214" y="2181156"/>
            <a:ext cx="2010031" cy="369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 dirty="0">
                <a:solidFill>
                  <a:schemeClr val="accent4"/>
                </a:solidFill>
                <a:ea typeface="Arial"/>
                <a:cs typeface="Arial"/>
                <a:sym typeface="Arial"/>
              </a:rPr>
              <a:t>OPPORTUNITY</a:t>
            </a:r>
            <a:endParaRPr b="1" dirty="0">
              <a:solidFill>
                <a:schemeClr val="accent4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9" name="Google Shape;295;p2">
            <a:extLst>
              <a:ext uri="{FF2B5EF4-FFF2-40B4-BE49-F238E27FC236}">
                <a16:creationId xmlns:a16="http://schemas.microsoft.com/office/drawing/2014/main" id="{2008558F-520D-C71D-E212-B8EA8ABB3125}"/>
              </a:ext>
            </a:extLst>
          </p:cNvPr>
          <p:cNvSpPr txBox="1"/>
          <p:nvPr/>
        </p:nvSpPr>
        <p:spPr>
          <a:xfrm>
            <a:off x="7184755" y="1235915"/>
            <a:ext cx="707251" cy="6462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>
                <a:solidFill>
                  <a:schemeClr val="bg1"/>
                </a:solidFill>
                <a:ea typeface="Arial"/>
                <a:cs typeface="Arial"/>
                <a:sym typeface="Arial"/>
              </a:rPr>
              <a:t>O</a:t>
            </a:r>
            <a:endParaRPr sz="1100">
              <a:solidFill>
                <a:schemeClr val="bg1"/>
              </a:solidFill>
            </a:endParaRPr>
          </a:p>
        </p:txBody>
      </p:sp>
      <p:sp>
        <p:nvSpPr>
          <p:cNvPr id="20" name="Google Shape;296;p2">
            <a:extLst>
              <a:ext uri="{FF2B5EF4-FFF2-40B4-BE49-F238E27FC236}">
                <a16:creationId xmlns:a16="http://schemas.microsoft.com/office/drawing/2014/main" id="{F487C8DA-CE50-4B96-E15D-97C30152578E}"/>
              </a:ext>
            </a:extLst>
          </p:cNvPr>
          <p:cNvSpPr/>
          <p:nvPr/>
        </p:nvSpPr>
        <p:spPr>
          <a:xfrm>
            <a:off x="9544852" y="1136157"/>
            <a:ext cx="1731704" cy="1375054"/>
          </a:xfrm>
          <a:prstGeom prst="roundRect">
            <a:avLst>
              <a:gd name="adj" fmla="val 8069"/>
            </a:avLst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700" dirty="0">
              <a:solidFill>
                <a:schemeClr val="lt1"/>
              </a:solidFill>
              <a:ea typeface="Open Sans"/>
              <a:cs typeface="Arial" panose="020B0604020202020204" pitchFamily="34" charset="0"/>
              <a:sym typeface="Open Sans"/>
            </a:endParaRPr>
          </a:p>
        </p:txBody>
      </p:sp>
      <p:sp>
        <p:nvSpPr>
          <p:cNvPr id="21" name="Google Shape;297;p2">
            <a:extLst>
              <a:ext uri="{FF2B5EF4-FFF2-40B4-BE49-F238E27FC236}">
                <a16:creationId xmlns:a16="http://schemas.microsoft.com/office/drawing/2014/main" id="{CC53AEEE-3FA0-5D35-B33D-ECA6A2C6ADD1}"/>
              </a:ext>
            </a:extLst>
          </p:cNvPr>
          <p:cNvSpPr/>
          <p:nvPr/>
        </p:nvSpPr>
        <p:spPr>
          <a:xfrm>
            <a:off x="9246459" y="1466214"/>
            <a:ext cx="2351170" cy="4763811"/>
          </a:xfrm>
          <a:custGeom>
            <a:avLst/>
            <a:gdLst/>
            <a:ahLst/>
            <a:cxnLst/>
            <a:rect l="l" t="t" r="r" b="b"/>
            <a:pathLst>
              <a:path w="2404439" h="4763811" extrusionOk="0">
                <a:moveTo>
                  <a:pt x="180838" y="0"/>
                </a:moveTo>
                <a:lnTo>
                  <a:pt x="663826" y="0"/>
                </a:lnTo>
                <a:lnTo>
                  <a:pt x="671937" y="80460"/>
                </a:lnTo>
                <a:cubicBezTo>
                  <a:pt x="722409" y="327111"/>
                  <a:pt x="940647" y="512652"/>
                  <a:pt x="1202219" y="512652"/>
                </a:cubicBezTo>
                <a:cubicBezTo>
                  <a:pt x="1463792" y="512652"/>
                  <a:pt x="1682029" y="327111"/>
                  <a:pt x="1732501" y="80460"/>
                </a:cubicBezTo>
                <a:lnTo>
                  <a:pt x="1740612" y="0"/>
                </a:lnTo>
                <a:lnTo>
                  <a:pt x="2223601" y="0"/>
                </a:lnTo>
                <a:cubicBezTo>
                  <a:pt x="2323475" y="0"/>
                  <a:pt x="2404439" y="80964"/>
                  <a:pt x="2404439" y="180838"/>
                </a:cubicBezTo>
                <a:lnTo>
                  <a:pt x="2404439" y="4582973"/>
                </a:lnTo>
                <a:cubicBezTo>
                  <a:pt x="2404439" y="4682847"/>
                  <a:pt x="2323475" y="4763811"/>
                  <a:pt x="2223601" y="4763811"/>
                </a:cubicBezTo>
                <a:lnTo>
                  <a:pt x="180838" y="4763811"/>
                </a:lnTo>
                <a:cubicBezTo>
                  <a:pt x="80964" y="4763811"/>
                  <a:pt x="0" y="4682847"/>
                  <a:pt x="0" y="4582973"/>
                </a:cubicBezTo>
                <a:lnTo>
                  <a:pt x="0" y="180838"/>
                </a:lnTo>
                <a:cubicBezTo>
                  <a:pt x="0" y="80964"/>
                  <a:pt x="80964" y="0"/>
                  <a:pt x="180838" y="0"/>
                </a:cubicBezTo>
                <a:close/>
              </a:path>
            </a:pathLst>
          </a:custGeom>
          <a:noFill/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endParaRPr sz="1600" dirty="0">
              <a:solidFill>
                <a:schemeClr val="dk1"/>
              </a:solidFill>
              <a:cs typeface="Arial"/>
              <a:sym typeface="Open Sans"/>
            </a:endParaRPr>
          </a:p>
        </p:txBody>
      </p:sp>
      <p:sp>
        <p:nvSpPr>
          <p:cNvPr id="22" name="Google Shape;298;p2">
            <a:extLst>
              <a:ext uri="{FF2B5EF4-FFF2-40B4-BE49-F238E27FC236}">
                <a16:creationId xmlns:a16="http://schemas.microsoft.com/office/drawing/2014/main" id="{5249575D-CD3E-0F2C-CB10-43AE8138A98B}"/>
              </a:ext>
            </a:extLst>
          </p:cNvPr>
          <p:cNvSpPr txBox="1"/>
          <p:nvPr/>
        </p:nvSpPr>
        <p:spPr>
          <a:xfrm>
            <a:off x="9410784" y="2584887"/>
            <a:ext cx="2010031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>
                <a:ea typeface="Arial"/>
                <a:cs typeface="Arial"/>
                <a:sym typeface="Arial"/>
              </a:rPr>
              <a:t>Insert Text Here</a:t>
            </a:r>
            <a:endParaRPr sz="1600"/>
          </a:p>
        </p:txBody>
      </p:sp>
      <p:sp>
        <p:nvSpPr>
          <p:cNvPr id="39" name="Google Shape;299;p2">
            <a:extLst>
              <a:ext uri="{FF2B5EF4-FFF2-40B4-BE49-F238E27FC236}">
                <a16:creationId xmlns:a16="http://schemas.microsoft.com/office/drawing/2014/main" id="{40B39B1A-540E-D793-1023-A55D4E7F686A}"/>
              </a:ext>
            </a:extLst>
          </p:cNvPr>
          <p:cNvSpPr txBox="1"/>
          <p:nvPr/>
        </p:nvSpPr>
        <p:spPr>
          <a:xfrm>
            <a:off x="9410784" y="2181156"/>
            <a:ext cx="2010031" cy="369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 dirty="0">
                <a:solidFill>
                  <a:schemeClr val="accent5"/>
                </a:solidFill>
                <a:ea typeface="Arial"/>
                <a:cs typeface="Arial"/>
                <a:sym typeface="Arial"/>
              </a:rPr>
              <a:t>THREATS</a:t>
            </a:r>
            <a:endParaRPr b="1" dirty="0">
              <a:solidFill>
                <a:schemeClr val="accent5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40" name="Google Shape;300;p2">
            <a:extLst>
              <a:ext uri="{FF2B5EF4-FFF2-40B4-BE49-F238E27FC236}">
                <a16:creationId xmlns:a16="http://schemas.microsoft.com/office/drawing/2014/main" id="{BBC0D1C7-85D1-F6C4-B9DF-78BC0F27437B}"/>
              </a:ext>
            </a:extLst>
          </p:cNvPr>
          <p:cNvSpPr txBox="1"/>
          <p:nvPr/>
        </p:nvSpPr>
        <p:spPr>
          <a:xfrm>
            <a:off x="10092689" y="1235915"/>
            <a:ext cx="594393" cy="6462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>
                <a:solidFill>
                  <a:schemeClr val="bg1"/>
                </a:solidFill>
                <a:ea typeface="Arial"/>
                <a:cs typeface="Arial"/>
                <a:sym typeface="Arial"/>
              </a:rPr>
              <a:t>T</a:t>
            </a:r>
            <a:endParaRPr sz="1100">
              <a:solidFill>
                <a:schemeClr val="bg1"/>
              </a:solidFill>
            </a:endParaRPr>
          </a:p>
        </p:txBody>
      </p:sp>
      <p:sp>
        <p:nvSpPr>
          <p:cNvPr id="42" name="Slide Number Placeholder 2">
            <a:extLst>
              <a:ext uri="{FF2B5EF4-FFF2-40B4-BE49-F238E27FC236}">
                <a16:creationId xmlns:a16="http://schemas.microsoft.com/office/drawing/2014/main" id="{7DDC0B56-F2D8-F62D-AF48-C8A1A9E21C7C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50</a:t>
            </a:fld>
            <a:endParaRPr lang="en-US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3202126"/>
      </p:ext>
    </p:extLst>
  </p:cSld>
  <p:clrMapOvr>
    <a:masterClrMapping/>
  </p:clrMapOvr>
</p:sld>
</file>

<file path=ppt/slides/slide1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3F93E0-2F33-9BF8-C7DB-8EA2CC8463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think-cell data - do not delete" hidden="1">
            <a:extLst>
              <a:ext uri="{FF2B5EF4-FFF2-40B4-BE49-F238E27FC236}">
                <a16:creationId xmlns:a16="http://schemas.microsoft.com/office/drawing/2014/main" id="{C0525B42-62EC-F71F-C7BA-B138DF8E41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06873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22344C1-F402-F395-E2D0-5CE0D8E9CD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lide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12D297-910A-65E9-98E2-E4A122F4F9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51</a:t>
            </a:fld>
            <a:endParaRPr lang="en-US" dirty="0"/>
          </a:p>
        </p:txBody>
      </p:sp>
      <p:sp>
        <p:nvSpPr>
          <p:cNvPr id="32" name="Freeform 30">
            <a:extLst>
              <a:ext uri="{FF2B5EF4-FFF2-40B4-BE49-F238E27FC236}">
                <a16:creationId xmlns:a16="http://schemas.microsoft.com/office/drawing/2014/main" id="{4652D2E9-94EA-A715-C6F1-BD1CC6E31173}"/>
              </a:ext>
            </a:extLst>
          </p:cNvPr>
          <p:cNvSpPr>
            <a:spLocks/>
          </p:cNvSpPr>
          <p:nvPr/>
        </p:nvSpPr>
        <p:spPr bwMode="auto">
          <a:xfrm>
            <a:off x="5592096" y="3581510"/>
            <a:ext cx="3578937" cy="2245739"/>
          </a:xfrm>
          <a:custGeom>
            <a:avLst/>
            <a:gdLst>
              <a:gd name="T0" fmla="*/ 1491 w 2193"/>
              <a:gd name="T1" fmla="*/ 1376 h 1376"/>
              <a:gd name="T2" fmla="*/ 1486 w 2193"/>
              <a:gd name="T3" fmla="*/ 1329 h 1376"/>
              <a:gd name="T4" fmla="*/ 1455 w 2193"/>
              <a:gd name="T5" fmla="*/ 1255 h 1376"/>
              <a:gd name="T6" fmla="*/ 1398 w 2193"/>
              <a:gd name="T7" fmla="*/ 1200 h 1376"/>
              <a:gd name="T8" fmla="*/ 1326 w 2193"/>
              <a:gd name="T9" fmla="*/ 1168 h 1376"/>
              <a:gd name="T10" fmla="*/ 1262 w 2193"/>
              <a:gd name="T11" fmla="*/ 1166 h 1376"/>
              <a:gd name="T12" fmla="*/ 1185 w 2193"/>
              <a:gd name="T13" fmla="*/ 1189 h 1376"/>
              <a:gd name="T14" fmla="*/ 1125 w 2193"/>
              <a:gd name="T15" fmla="*/ 1240 h 1376"/>
              <a:gd name="T16" fmla="*/ 1086 w 2193"/>
              <a:gd name="T17" fmla="*/ 1310 h 1376"/>
              <a:gd name="T18" fmla="*/ 1077 w 2193"/>
              <a:gd name="T19" fmla="*/ 1371 h 1376"/>
              <a:gd name="T20" fmla="*/ 330 w 2193"/>
              <a:gd name="T21" fmla="*/ 815 h 1376"/>
              <a:gd name="T22" fmla="*/ 330 w 2193"/>
              <a:gd name="T23" fmla="*/ 757 h 1376"/>
              <a:gd name="T24" fmla="*/ 304 w 2193"/>
              <a:gd name="T25" fmla="*/ 799 h 1376"/>
              <a:gd name="T26" fmla="*/ 269 w 2193"/>
              <a:gd name="T27" fmla="*/ 832 h 1376"/>
              <a:gd name="T28" fmla="*/ 223 w 2193"/>
              <a:gd name="T29" fmla="*/ 852 h 1376"/>
              <a:gd name="T30" fmla="*/ 172 w 2193"/>
              <a:gd name="T31" fmla="*/ 860 h 1376"/>
              <a:gd name="T32" fmla="*/ 121 w 2193"/>
              <a:gd name="T33" fmla="*/ 852 h 1376"/>
              <a:gd name="T34" fmla="*/ 64 w 2193"/>
              <a:gd name="T35" fmla="*/ 821 h 1376"/>
              <a:gd name="T36" fmla="*/ 21 w 2193"/>
              <a:gd name="T37" fmla="*/ 770 h 1376"/>
              <a:gd name="T38" fmla="*/ 2 w 2193"/>
              <a:gd name="T39" fmla="*/ 705 h 1376"/>
              <a:gd name="T40" fmla="*/ 5 w 2193"/>
              <a:gd name="T41" fmla="*/ 653 h 1376"/>
              <a:gd name="T42" fmla="*/ 31 w 2193"/>
              <a:gd name="T43" fmla="*/ 592 h 1376"/>
              <a:gd name="T44" fmla="*/ 77 w 2193"/>
              <a:gd name="T45" fmla="*/ 546 h 1376"/>
              <a:gd name="T46" fmla="*/ 138 w 2193"/>
              <a:gd name="T47" fmla="*/ 520 h 1376"/>
              <a:gd name="T48" fmla="*/ 186 w 2193"/>
              <a:gd name="T49" fmla="*/ 517 h 1376"/>
              <a:gd name="T50" fmla="*/ 236 w 2193"/>
              <a:gd name="T51" fmla="*/ 528 h 1376"/>
              <a:gd name="T52" fmla="*/ 278 w 2193"/>
              <a:gd name="T53" fmla="*/ 551 h 1376"/>
              <a:gd name="T54" fmla="*/ 311 w 2193"/>
              <a:gd name="T55" fmla="*/ 587 h 1376"/>
              <a:gd name="T56" fmla="*/ 330 w 2193"/>
              <a:gd name="T57" fmla="*/ 561 h 1376"/>
              <a:gd name="T58" fmla="*/ 860 w 2193"/>
              <a:gd name="T59" fmla="*/ 0 h 1376"/>
              <a:gd name="T60" fmla="*/ 821 w 2193"/>
              <a:gd name="T61" fmla="*/ 63 h 1376"/>
              <a:gd name="T62" fmla="*/ 807 w 2193"/>
              <a:gd name="T63" fmla="*/ 137 h 1376"/>
              <a:gd name="T64" fmla="*/ 816 w 2193"/>
              <a:gd name="T65" fmla="*/ 199 h 1376"/>
              <a:gd name="T66" fmla="*/ 854 w 2193"/>
              <a:gd name="T67" fmla="*/ 269 h 1376"/>
              <a:gd name="T68" fmla="*/ 915 w 2193"/>
              <a:gd name="T69" fmla="*/ 319 h 1376"/>
              <a:gd name="T70" fmla="*/ 992 w 2193"/>
              <a:gd name="T71" fmla="*/ 342 h 1376"/>
              <a:gd name="T72" fmla="*/ 1055 w 2193"/>
              <a:gd name="T73" fmla="*/ 339 h 1376"/>
              <a:gd name="T74" fmla="*/ 1129 w 2193"/>
              <a:gd name="T75" fmla="*/ 309 h 1376"/>
              <a:gd name="T76" fmla="*/ 1184 w 2193"/>
              <a:gd name="T77" fmla="*/ 253 h 1376"/>
              <a:gd name="T78" fmla="*/ 1216 w 2193"/>
              <a:gd name="T79" fmla="*/ 179 h 1376"/>
              <a:gd name="T80" fmla="*/ 1218 w 2193"/>
              <a:gd name="T81" fmla="*/ 118 h 1376"/>
              <a:gd name="T82" fmla="*/ 1198 w 2193"/>
              <a:gd name="T83" fmla="*/ 45 h 1376"/>
              <a:gd name="T84" fmla="*/ 2193 w 2193"/>
              <a:gd name="T85" fmla="*/ 0 h 1376"/>
              <a:gd name="T86" fmla="*/ 2152 w 2193"/>
              <a:gd name="T87" fmla="*/ 594 h 1376"/>
              <a:gd name="T88" fmla="*/ 2078 w 2193"/>
              <a:gd name="T89" fmla="*/ 625 h 1376"/>
              <a:gd name="T90" fmla="*/ 2021 w 2193"/>
              <a:gd name="T91" fmla="*/ 680 h 1376"/>
              <a:gd name="T92" fmla="*/ 1991 w 2193"/>
              <a:gd name="T93" fmla="*/ 755 h 1376"/>
              <a:gd name="T94" fmla="*/ 1988 w 2193"/>
              <a:gd name="T95" fmla="*/ 816 h 1376"/>
              <a:gd name="T96" fmla="*/ 2012 w 2193"/>
              <a:gd name="T97" fmla="*/ 895 h 1376"/>
              <a:gd name="T98" fmla="*/ 2061 w 2193"/>
              <a:gd name="T99" fmla="*/ 955 h 1376"/>
              <a:gd name="T100" fmla="*/ 2131 w 2193"/>
              <a:gd name="T101" fmla="*/ 994 h 1376"/>
              <a:gd name="T102" fmla="*/ 2193 w 2193"/>
              <a:gd name="T103" fmla="*/ 1002 h 13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2193" h="1376">
                <a:moveTo>
                  <a:pt x="2193" y="1002"/>
                </a:moveTo>
                <a:lnTo>
                  <a:pt x="2193" y="1376"/>
                </a:lnTo>
                <a:lnTo>
                  <a:pt x="1491" y="1376"/>
                </a:lnTo>
                <a:lnTo>
                  <a:pt x="1491" y="1376"/>
                </a:lnTo>
                <a:lnTo>
                  <a:pt x="1491" y="1371"/>
                </a:lnTo>
                <a:lnTo>
                  <a:pt x="1491" y="1371"/>
                </a:lnTo>
                <a:lnTo>
                  <a:pt x="1489" y="1350"/>
                </a:lnTo>
                <a:lnTo>
                  <a:pt x="1486" y="1329"/>
                </a:lnTo>
                <a:lnTo>
                  <a:pt x="1481" y="1310"/>
                </a:lnTo>
                <a:lnTo>
                  <a:pt x="1474" y="1291"/>
                </a:lnTo>
                <a:lnTo>
                  <a:pt x="1466" y="1273"/>
                </a:lnTo>
                <a:lnTo>
                  <a:pt x="1455" y="1255"/>
                </a:lnTo>
                <a:lnTo>
                  <a:pt x="1442" y="1240"/>
                </a:lnTo>
                <a:lnTo>
                  <a:pt x="1430" y="1225"/>
                </a:lnTo>
                <a:lnTo>
                  <a:pt x="1415" y="1212"/>
                </a:lnTo>
                <a:lnTo>
                  <a:pt x="1398" y="1200"/>
                </a:lnTo>
                <a:lnTo>
                  <a:pt x="1382" y="1189"/>
                </a:lnTo>
                <a:lnTo>
                  <a:pt x="1364" y="1181"/>
                </a:lnTo>
                <a:lnTo>
                  <a:pt x="1345" y="1174"/>
                </a:lnTo>
                <a:lnTo>
                  <a:pt x="1326" y="1168"/>
                </a:lnTo>
                <a:lnTo>
                  <a:pt x="1305" y="1166"/>
                </a:lnTo>
                <a:lnTo>
                  <a:pt x="1283" y="1164"/>
                </a:lnTo>
                <a:lnTo>
                  <a:pt x="1283" y="1164"/>
                </a:lnTo>
                <a:lnTo>
                  <a:pt x="1262" y="1166"/>
                </a:lnTo>
                <a:lnTo>
                  <a:pt x="1242" y="1168"/>
                </a:lnTo>
                <a:lnTo>
                  <a:pt x="1223" y="1174"/>
                </a:lnTo>
                <a:lnTo>
                  <a:pt x="1203" y="1181"/>
                </a:lnTo>
                <a:lnTo>
                  <a:pt x="1185" y="1189"/>
                </a:lnTo>
                <a:lnTo>
                  <a:pt x="1169" y="1200"/>
                </a:lnTo>
                <a:lnTo>
                  <a:pt x="1152" y="1212"/>
                </a:lnTo>
                <a:lnTo>
                  <a:pt x="1137" y="1225"/>
                </a:lnTo>
                <a:lnTo>
                  <a:pt x="1125" y="1240"/>
                </a:lnTo>
                <a:lnTo>
                  <a:pt x="1113" y="1255"/>
                </a:lnTo>
                <a:lnTo>
                  <a:pt x="1102" y="1273"/>
                </a:lnTo>
                <a:lnTo>
                  <a:pt x="1093" y="1291"/>
                </a:lnTo>
                <a:lnTo>
                  <a:pt x="1086" y="1310"/>
                </a:lnTo>
                <a:lnTo>
                  <a:pt x="1081" y="1329"/>
                </a:lnTo>
                <a:lnTo>
                  <a:pt x="1078" y="1350"/>
                </a:lnTo>
                <a:lnTo>
                  <a:pt x="1077" y="1371"/>
                </a:lnTo>
                <a:lnTo>
                  <a:pt x="1077" y="1371"/>
                </a:lnTo>
                <a:lnTo>
                  <a:pt x="1077" y="1376"/>
                </a:lnTo>
                <a:lnTo>
                  <a:pt x="330" y="1376"/>
                </a:lnTo>
                <a:lnTo>
                  <a:pt x="330" y="815"/>
                </a:lnTo>
                <a:lnTo>
                  <a:pt x="330" y="815"/>
                </a:lnTo>
                <a:lnTo>
                  <a:pt x="337" y="805"/>
                </a:lnTo>
                <a:lnTo>
                  <a:pt x="330" y="805"/>
                </a:lnTo>
                <a:lnTo>
                  <a:pt x="330" y="757"/>
                </a:lnTo>
                <a:lnTo>
                  <a:pt x="330" y="757"/>
                </a:lnTo>
                <a:lnTo>
                  <a:pt x="325" y="768"/>
                </a:lnTo>
                <a:lnTo>
                  <a:pt x="318" y="779"/>
                </a:lnTo>
                <a:lnTo>
                  <a:pt x="311" y="789"/>
                </a:lnTo>
                <a:lnTo>
                  <a:pt x="304" y="799"/>
                </a:lnTo>
                <a:lnTo>
                  <a:pt x="296" y="808"/>
                </a:lnTo>
                <a:lnTo>
                  <a:pt x="288" y="816"/>
                </a:lnTo>
                <a:lnTo>
                  <a:pt x="278" y="825"/>
                </a:lnTo>
                <a:lnTo>
                  <a:pt x="269" y="832"/>
                </a:lnTo>
                <a:lnTo>
                  <a:pt x="258" y="837"/>
                </a:lnTo>
                <a:lnTo>
                  <a:pt x="247" y="844"/>
                </a:lnTo>
                <a:lnTo>
                  <a:pt x="236" y="848"/>
                </a:lnTo>
                <a:lnTo>
                  <a:pt x="223" y="852"/>
                </a:lnTo>
                <a:lnTo>
                  <a:pt x="211" y="855"/>
                </a:lnTo>
                <a:lnTo>
                  <a:pt x="198" y="858"/>
                </a:lnTo>
                <a:lnTo>
                  <a:pt x="186" y="859"/>
                </a:lnTo>
                <a:lnTo>
                  <a:pt x="172" y="860"/>
                </a:lnTo>
                <a:lnTo>
                  <a:pt x="172" y="860"/>
                </a:lnTo>
                <a:lnTo>
                  <a:pt x="156" y="859"/>
                </a:lnTo>
                <a:lnTo>
                  <a:pt x="138" y="856"/>
                </a:lnTo>
                <a:lnTo>
                  <a:pt x="121" y="852"/>
                </a:lnTo>
                <a:lnTo>
                  <a:pt x="106" y="847"/>
                </a:lnTo>
                <a:lnTo>
                  <a:pt x="91" y="838"/>
                </a:lnTo>
                <a:lnTo>
                  <a:pt x="77" y="830"/>
                </a:lnTo>
                <a:lnTo>
                  <a:pt x="64" y="821"/>
                </a:lnTo>
                <a:lnTo>
                  <a:pt x="51" y="810"/>
                </a:lnTo>
                <a:lnTo>
                  <a:pt x="40" y="797"/>
                </a:lnTo>
                <a:lnTo>
                  <a:pt x="31" y="783"/>
                </a:lnTo>
                <a:lnTo>
                  <a:pt x="21" y="770"/>
                </a:lnTo>
                <a:lnTo>
                  <a:pt x="14" y="755"/>
                </a:lnTo>
                <a:lnTo>
                  <a:pt x="9" y="739"/>
                </a:lnTo>
                <a:lnTo>
                  <a:pt x="5" y="723"/>
                </a:lnTo>
                <a:lnTo>
                  <a:pt x="2" y="705"/>
                </a:lnTo>
                <a:lnTo>
                  <a:pt x="0" y="687"/>
                </a:lnTo>
                <a:lnTo>
                  <a:pt x="0" y="687"/>
                </a:lnTo>
                <a:lnTo>
                  <a:pt x="2" y="671"/>
                </a:lnTo>
                <a:lnTo>
                  <a:pt x="5" y="653"/>
                </a:lnTo>
                <a:lnTo>
                  <a:pt x="9" y="636"/>
                </a:lnTo>
                <a:lnTo>
                  <a:pt x="14" y="621"/>
                </a:lnTo>
                <a:lnTo>
                  <a:pt x="21" y="606"/>
                </a:lnTo>
                <a:lnTo>
                  <a:pt x="31" y="592"/>
                </a:lnTo>
                <a:lnTo>
                  <a:pt x="40" y="579"/>
                </a:lnTo>
                <a:lnTo>
                  <a:pt x="51" y="566"/>
                </a:lnTo>
                <a:lnTo>
                  <a:pt x="64" y="555"/>
                </a:lnTo>
                <a:lnTo>
                  <a:pt x="77" y="546"/>
                </a:lnTo>
                <a:lnTo>
                  <a:pt x="91" y="536"/>
                </a:lnTo>
                <a:lnTo>
                  <a:pt x="106" y="529"/>
                </a:lnTo>
                <a:lnTo>
                  <a:pt x="121" y="524"/>
                </a:lnTo>
                <a:lnTo>
                  <a:pt x="138" y="520"/>
                </a:lnTo>
                <a:lnTo>
                  <a:pt x="156" y="517"/>
                </a:lnTo>
                <a:lnTo>
                  <a:pt x="172" y="515"/>
                </a:lnTo>
                <a:lnTo>
                  <a:pt x="172" y="515"/>
                </a:lnTo>
                <a:lnTo>
                  <a:pt x="186" y="517"/>
                </a:lnTo>
                <a:lnTo>
                  <a:pt x="198" y="518"/>
                </a:lnTo>
                <a:lnTo>
                  <a:pt x="211" y="520"/>
                </a:lnTo>
                <a:lnTo>
                  <a:pt x="223" y="524"/>
                </a:lnTo>
                <a:lnTo>
                  <a:pt x="236" y="528"/>
                </a:lnTo>
                <a:lnTo>
                  <a:pt x="247" y="532"/>
                </a:lnTo>
                <a:lnTo>
                  <a:pt x="258" y="537"/>
                </a:lnTo>
                <a:lnTo>
                  <a:pt x="269" y="544"/>
                </a:lnTo>
                <a:lnTo>
                  <a:pt x="278" y="551"/>
                </a:lnTo>
                <a:lnTo>
                  <a:pt x="288" y="559"/>
                </a:lnTo>
                <a:lnTo>
                  <a:pt x="296" y="568"/>
                </a:lnTo>
                <a:lnTo>
                  <a:pt x="304" y="577"/>
                </a:lnTo>
                <a:lnTo>
                  <a:pt x="311" y="587"/>
                </a:lnTo>
                <a:lnTo>
                  <a:pt x="318" y="597"/>
                </a:lnTo>
                <a:lnTo>
                  <a:pt x="325" y="608"/>
                </a:lnTo>
                <a:lnTo>
                  <a:pt x="330" y="619"/>
                </a:lnTo>
                <a:lnTo>
                  <a:pt x="330" y="561"/>
                </a:lnTo>
                <a:lnTo>
                  <a:pt x="330" y="536"/>
                </a:lnTo>
                <a:lnTo>
                  <a:pt x="330" y="0"/>
                </a:lnTo>
                <a:lnTo>
                  <a:pt x="860" y="0"/>
                </a:lnTo>
                <a:lnTo>
                  <a:pt x="860" y="0"/>
                </a:lnTo>
                <a:lnTo>
                  <a:pt x="847" y="14"/>
                </a:lnTo>
                <a:lnTo>
                  <a:pt x="838" y="29"/>
                </a:lnTo>
                <a:lnTo>
                  <a:pt x="828" y="45"/>
                </a:lnTo>
                <a:lnTo>
                  <a:pt x="821" y="63"/>
                </a:lnTo>
                <a:lnTo>
                  <a:pt x="816" y="80"/>
                </a:lnTo>
                <a:lnTo>
                  <a:pt x="810" y="99"/>
                </a:lnTo>
                <a:lnTo>
                  <a:pt x="807" y="118"/>
                </a:lnTo>
                <a:lnTo>
                  <a:pt x="807" y="137"/>
                </a:lnTo>
                <a:lnTo>
                  <a:pt x="807" y="137"/>
                </a:lnTo>
                <a:lnTo>
                  <a:pt x="807" y="158"/>
                </a:lnTo>
                <a:lnTo>
                  <a:pt x="811" y="179"/>
                </a:lnTo>
                <a:lnTo>
                  <a:pt x="816" y="199"/>
                </a:lnTo>
                <a:lnTo>
                  <a:pt x="822" y="217"/>
                </a:lnTo>
                <a:lnTo>
                  <a:pt x="832" y="236"/>
                </a:lnTo>
                <a:lnTo>
                  <a:pt x="842" y="253"/>
                </a:lnTo>
                <a:lnTo>
                  <a:pt x="854" y="269"/>
                </a:lnTo>
                <a:lnTo>
                  <a:pt x="868" y="283"/>
                </a:lnTo>
                <a:lnTo>
                  <a:pt x="882" y="297"/>
                </a:lnTo>
                <a:lnTo>
                  <a:pt x="898" y="309"/>
                </a:lnTo>
                <a:lnTo>
                  <a:pt x="915" y="319"/>
                </a:lnTo>
                <a:lnTo>
                  <a:pt x="932" y="327"/>
                </a:lnTo>
                <a:lnTo>
                  <a:pt x="952" y="334"/>
                </a:lnTo>
                <a:lnTo>
                  <a:pt x="972" y="339"/>
                </a:lnTo>
                <a:lnTo>
                  <a:pt x="992" y="342"/>
                </a:lnTo>
                <a:lnTo>
                  <a:pt x="1014" y="344"/>
                </a:lnTo>
                <a:lnTo>
                  <a:pt x="1014" y="344"/>
                </a:lnTo>
                <a:lnTo>
                  <a:pt x="1034" y="342"/>
                </a:lnTo>
                <a:lnTo>
                  <a:pt x="1055" y="339"/>
                </a:lnTo>
                <a:lnTo>
                  <a:pt x="1074" y="334"/>
                </a:lnTo>
                <a:lnTo>
                  <a:pt x="1093" y="327"/>
                </a:lnTo>
                <a:lnTo>
                  <a:pt x="1111" y="319"/>
                </a:lnTo>
                <a:lnTo>
                  <a:pt x="1129" y="309"/>
                </a:lnTo>
                <a:lnTo>
                  <a:pt x="1144" y="297"/>
                </a:lnTo>
                <a:lnTo>
                  <a:pt x="1159" y="283"/>
                </a:lnTo>
                <a:lnTo>
                  <a:pt x="1173" y="269"/>
                </a:lnTo>
                <a:lnTo>
                  <a:pt x="1184" y="253"/>
                </a:lnTo>
                <a:lnTo>
                  <a:pt x="1195" y="236"/>
                </a:lnTo>
                <a:lnTo>
                  <a:pt x="1203" y="217"/>
                </a:lnTo>
                <a:lnTo>
                  <a:pt x="1210" y="199"/>
                </a:lnTo>
                <a:lnTo>
                  <a:pt x="1216" y="179"/>
                </a:lnTo>
                <a:lnTo>
                  <a:pt x="1218" y="158"/>
                </a:lnTo>
                <a:lnTo>
                  <a:pt x="1220" y="137"/>
                </a:lnTo>
                <a:lnTo>
                  <a:pt x="1220" y="137"/>
                </a:lnTo>
                <a:lnTo>
                  <a:pt x="1218" y="118"/>
                </a:lnTo>
                <a:lnTo>
                  <a:pt x="1216" y="99"/>
                </a:lnTo>
                <a:lnTo>
                  <a:pt x="1212" y="80"/>
                </a:lnTo>
                <a:lnTo>
                  <a:pt x="1206" y="63"/>
                </a:lnTo>
                <a:lnTo>
                  <a:pt x="1198" y="45"/>
                </a:lnTo>
                <a:lnTo>
                  <a:pt x="1190" y="29"/>
                </a:lnTo>
                <a:lnTo>
                  <a:pt x="1179" y="14"/>
                </a:lnTo>
                <a:lnTo>
                  <a:pt x="1168" y="0"/>
                </a:lnTo>
                <a:lnTo>
                  <a:pt x="2193" y="0"/>
                </a:lnTo>
                <a:lnTo>
                  <a:pt x="2193" y="590"/>
                </a:lnTo>
                <a:lnTo>
                  <a:pt x="2193" y="590"/>
                </a:lnTo>
                <a:lnTo>
                  <a:pt x="2172" y="591"/>
                </a:lnTo>
                <a:lnTo>
                  <a:pt x="2152" y="594"/>
                </a:lnTo>
                <a:lnTo>
                  <a:pt x="2131" y="599"/>
                </a:lnTo>
                <a:lnTo>
                  <a:pt x="2112" y="606"/>
                </a:lnTo>
                <a:lnTo>
                  <a:pt x="2094" y="614"/>
                </a:lnTo>
                <a:lnTo>
                  <a:pt x="2078" y="625"/>
                </a:lnTo>
                <a:lnTo>
                  <a:pt x="2061" y="636"/>
                </a:lnTo>
                <a:lnTo>
                  <a:pt x="2047" y="650"/>
                </a:lnTo>
                <a:lnTo>
                  <a:pt x="2034" y="665"/>
                </a:lnTo>
                <a:lnTo>
                  <a:pt x="2021" y="680"/>
                </a:lnTo>
                <a:lnTo>
                  <a:pt x="2012" y="698"/>
                </a:lnTo>
                <a:lnTo>
                  <a:pt x="2003" y="716"/>
                </a:lnTo>
                <a:lnTo>
                  <a:pt x="1995" y="734"/>
                </a:lnTo>
                <a:lnTo>
                  <a:pt x="1991" y="755"/>
                </a:lnTo>
                <a:lnTo>
                  <a:pt x="1988" y="775"/>
                </a:lnTo>
                <a:lnTo>
                  <a:pt x="1987" y="796"/>
                </a:lnTo>
                <a:lnTo>
                  <a:pt x="1987" y="796"/>
                </a:lnTo>
                <a:lnTo>
                  <a:pt x="1988" y="816"/>
                </a:lnTo>
                <a:lnTo>
                  <a:pt x="1991" y="837"/>
                </a:lnTo>
                <a:lnTo>
                  <a:pt x="1995" y="858"/>
                </a:lnTo>
                <a:lnTo>
                  <a:pt x="2003" y="877"/>
                </a:lnTo>
                <a:lnTo>
                  <a:pt x="2012" y="895"/>
                </a:lnTo>
                <a:lnTo>
                  <a:pt x="2021" y="911"/>
                </a:lnTo>
                <a:lnTo>
                  <a:pt x="2034" y="928"/>
                </a:lnTo>
                <a:lnTo>
                  <a:pt x="2047" y="942"/>
                </a:lnTo>
                <a:lnTo>
                  <a:pt x="2061" y="955"/>
                </a:lnTo>
                <a:lnTo>
                  <a:pt x="2078" y="968"/>
                </a:lnTo>
                <a:lnTo>
                  <a:pt x="2094" y="977"/>
                </a:lnTo>
                <a:lnTo>
                  <a:pt x="2112" y="986"/>
                </a:lnTo>
                <a:lnTo>
                  <a:pt x="2131" y="994"/>
                </a:lnTo>
                <a:lnTo>
                  <a:pt x="2152" y="998"/>
                </a:lnTo>
                <a:lnTo>
                  <a:pt x="2172" y="1002"/>
                </a:lnTo>
                <a:lnTo>
                  <a:pt x="2193" y="1002"/>
                </a:lnTo>
                <a:lnTo>
                  <a:pt x="2193" y="1002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" name="Freeform 31">
            <a:extLst>
              <a:ext uri="{FF2B5EF4-FFF2-40B4-BE49-F238E27FC236}">
                <a16:creationId xmlns:a16="http://schemas.microsoft.com/office/drawing/2014/main" id="{7DF09F0B-BE18-BDC4-E8D1-490432F14F7F}"/>
              </a:ext>
            </a:extLst>
          </p:cNvPr>
          <p:cNvSpPr>
            <a:spLocks/>
          </p:cNvSpPr>
          <p:nvPr/>
        </p:nvSpPr>
        <p:spPr bwMode="auto">
          <a:xfrm>
            <a:off x="6122489" y="1293496"/>
            <a:ext cx="3040383" cy="2782692"/>
          </a:xfrm>
          <a:custGeom>
            <a:avLst/>
            <a:gdLst>
              <a:gd name="T0" fmla="*/ 770 w 1863"/>
              <a:gd name="T1" fmla="*/ 1382 h 1705"/>
              <a:gd name="T2" fmla="*/ 808 w 1863"/>
              <a:gd name="T3" fmla="*/ 1411 h 1705"/>
              <a:gd name="T4" fmla="*/ 838 w 1863"/>
              <a:gd name="T5" fmla="*/ 1449 h 1705"/>
              <a:gd name="T6" fmla="*/ 856 w 1863"/>
              <a:gd name="T7" fmla="*/ 1495 h 1705"/>
              <a:gd name="T8" fmla="*/ 860 w 1863"/>
              <a:gd name="T9" fmla="*/ 1533 h 1705"/>
              <a:gd name="T10" fmla="*/ 847 w 1863"/>
              <a:gd name="T11" fmla="*/ 1601 h 1705"/>
              <a:gd name="T12" fmla="*/ 810 w 1863"/>
              <a:gd name="T13" fmla="*/ 1656 h 1705"/>
              <a:gd name="T14" fmla="*/ 756 w 1863"/>
              <a:gd name="T15" fmla="*/ 1691 h 1705"/>
              <a:gd name="T16" fmla="*/ 689 w 1863"/>
              <a:gd name="T17" fmla="*/ 1705 h 1705"/>
              <a:gd name="T18" fmla="*/ 638 w 1863"/>
              <a:gd name="T19" fmla="*/ 1698 h 1705"/>
              <a:gd name="T20" fmla="*/ 579 w 1863"/>
              <a:gd name="T21" fmla="*/ 1667 h 1705"/>
              <a:gd name="T22" fmla="*/ 537 w 1863"/>
              <a:gd name="T23" fmla="*/ 1616 h 1705"/>
              <a:gd name="T24" fmla="*/ 517 w 1863"/>
              <a:gd name="T25" fmla="*/ 1551 h 1705"/>
              <a:gd name="T26" fmla="*/ 518 w 1863"/>
              <a:gd name="T27" fmla="*/ 1507 h 1705"/>
              <a:gd name="T28" fmla="*/ 533 w 1863"/>
              <a:gd name="T29" fmla="*/ 1460 h 1705"/>
              <a:gd name="T30" fmla="*/ 559 w 1863"/>
              <a:gd name="T31" fmla="*/ 1419 h 1705"/>
              <a:gd name="T32" fmla="*/ 596 w 1863"/>
              <a:gd name="T33" fmla="*/ 1388 h 1705"/>
              <a:gd name="T34" fmla="*/ 521 w 1863"/>
              <a:gd name="T35" fmla="*/ 1377 h 1705"/>
              <a:gd name="T36" fmla="*/ 15 w 1863"/>
              <a:gd name="T37" fmla="*/ 850 h 1705"/>
              <a:gd name="T38" fmla="*/ 84 w 1863"/>
              <a:gd name="T39" fmla="*/ 886 h 1705"/>
              <a:gd name="T40" fmla="*/ 143 w 1863"/>
              <a:gd name="T41" fmla="*/ 894 h 1705"/>
              <a:gd name="T42" fmla="*/ 223 w 1863"/>
              <a:gd name="T43" fmla="*/ 878 h 1705"/>
              <a:gd name="T44" fmla="*/ 289 w 1863"/>
              <a:gd name="T45" fmla="*/ 834 h 1705"/>
              <a:gd name="T46" fmla="*/ 333 w 1863"/>
              <a:gd name="T47" fmla="*/ 769 h 1705"/>
              <a:gd name="T48" fmla="*/ 349 w 1863"/>
              <a:gd name="T49" fmla="*/ 688 h 1705"/>
              <a:gd name="T50" fmla="*/ 339 w 1863"/>
              <a:gd name="T51" fmla="*/ 626 h 1705"/>
              <a:gd name="T52" fmla="*/ 302 w 1863"/>
              <a:gd name="T53" fmla="*/ 557 h 1705"/>
              <a:gd name="T54" fmla="*/ 242 w 1863"/>
              <a:gd name="T55" fmla="*/ 506 h 1705"/>
              <a:gd name="T56" fmla="*/ 163 w 1863"/>
              <a:gd name="T57" fmla="*/ 483 h 1705"/>
              <a:gd name="T58" fmla="*/ 103 w 1863"/>
              <a:gd name="T59" fmla="*/ 486 h 1705"/>
              <a:gd name="T60" fmla="*/ 30 w 1863"/>
              <a:gd name="T61" fmla="*/ 515 h 1705"/>
              <a:gd name="T62" fmla="*/ 738 w 1863"/>
              <a:gd name="T63" fmla="*/ 0 h 1705"/>
              <a:gd name="T64" fmla="*/ 738 w 1863"/>
              <a:gd name="T65" fmla="*/ 27 h 1705"/>
              <a:gd name="T66" fmla="*/ 763 w 1863"/>
              <a:gd name="T67" fmla="*/ 104 h 1705"/>
              <a:gd name="T68" fmla="*/ 812 w 1863"/>
              <a:gd name="T69" fmla="*/ 164 h 1705"/>
              <a:gd name="T70" fmla="*/ 882 w 1863"/>
              <a:gd name="T71" fmla="*/ 203 h 1705"/>
              <a:gd name="T72" fmla="*/ 944 w 1863"/>
              <a:gd name="T73" fmla="*/ 211 h 1705"/>
              <a:gd name="T74" fmla="*/ 1024 w 1863"/>
              <a:gd name="T75" fmla="*/ 196 h 1705"/>
              <a:gd name="T76" fmla="*/ 1090 w 1863"/>
              <a:gd name="T77" fmla="*/ 150 h 1705"/>
              <a:gd name="T78" fmla="*/ 1134 w 1863"/>
              <a:gd name="T79" fmla="*/ 86 h 1705"/>
              <a:gd name="T80" fmla="*/ 1150 w 1863"/>
              <a:gd name="T81" fmla="*/ 5 h 1705"/>
              <a:gd name="T82" fmla="*/ 1863 w 1863"/>
              <a:gd name="T83" fmla="*/ 491 h 1705"/>
              <a:gd name="T84" fmla="*/ 1803 w 1863"/>
              <a:gd name="T85" fmla="*/ 502 h 1705"/>
              <a:gd name="T86" fmla="*/ 1735 w 1863"/>
              <a:gd name="T87" fmla="*/ 541 h 1705"/>
              <a:gd name="T88" fmla="*/ 1685 w 1863"/>
              <a:gd name="T89" fmla="*/ 601 h 1705"/>
              <a:gd name="T90" fmla="*/ 1662 w 1863"/>
              <a:gd name="T91" fmla="*/ 677 h 1705"/>
              <a:gd name="T92" fmla="*/ 1666 w 1863"/>
              <a:gd name="T93" fmla="*/ 739 h 1705"/>
              <a:gd name="T94" fmla="*/ 1696 w 1863"/>
              <a:gd name="T95" fmla="*/ 812 h 1705"/>
              <a:gd name="T96" fmla="*/ 1750 w 1863"/>
              <a:gd name="T97" fmla="*/ 868 h 1705"/>
              <a:gd name="T98" fmla="*/ 1823 w 1863"/>
              <a:gd name="T99" fmla="*/ 900 h 1705"/>
              <a:gd name="T100" fmla="*/ 860 w 1863"/>
              <a:gd name="T101" fmla="*/ 1377 h 17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863" h="1705">
                <a:moveTo>
                  <a:pt x="822" y="1377"/>
                </a:moveTo>
                <a:lnTo>
                  <a:pt x="759" y="1377"/>
                </a:lnTo>
                <a:lnTo>
                  <a:pt x="759" y="1377"/>
                </a:lnTo>
                <a:lnTo>
                  <a:pt x="770" y="1382"/>
                </a:lnTo>
                <a:lnTo>
                  <a:pt x="779" y="1388"/>
                </a:lnTo>
                <a:lnTo>
                  <a:pt x="790" y="1394"/>
                </a:lnTo>
                <a:lnTo>
                  <a:pt x="800" y="1403"/>
                </a:lnTo>
                <a:lnTo>
                  <a:pt x="808" y="1411"/>
                </a:lnTo>
                <a:lnTo>
                  <a:pt x="816" y="1419"/>
                </a:lnTo>
                <a:lnTo>
                  <a:pt x="825" y="1429"/>
                </a:lnTo>
                <a:lnTo>
                  <a:pt x="832" y="1438"/>
                </a:lnTo>
                <a:lnTo>
                  <a:pt x="838" y="1449"/>
                </a:lnTo>
                <a:lnTo>
                  <a:pt x="844" y="1460"/>
                </a:lnTo>
                <a:lnTo>
                  <a:pt x="849" y="1471"/>
                </a:lnTo>
                <a:lnTo>
                  <a:pt x="854" y="1482"/>
                </a:lnTo>
                <a:lnTo>
                  <a:pt x="856" y="1495"/>
                </a:lnTo>
                <a:lnTo>
                  <a:pt x="859" y="1507"/>
                </a:lnTo>
                <a:lnTo>
                  <a:pt x="860" y="1521"/>
                </a:lnTo>
                <a:lnTo>
                  <a:pt x="860" y="1533"/>
                </a:lnTo>
                <a:lnTo>
                  <a:pt x="860" y="1533"/>
                </a:lnTo>
                <a:lnTo>
                  <a:pt x="859" y="1551"/>
                </a:lnTo>
                <a:lnTo>
                  <a:pt x="856" y="1568"/>
                </a:lnTo>
                <a:lnTo>
                  <a:pt x="852" y="1584"/>
                </a:lnTo>
                <a:lnTo>
                  <a:pt x="847" y="1601"/>
                </a:lnTo>
                <a:lnTo>
                  <a:pt x="840" y="1616"/>
                </a:lnTo>
                <a:lnTo>
                  <a:pt x="832" y="1630"/>
                </a:lnTo>
                <a:lnTo>
                  <a:pt x="821" y="1643"/>
                </a:lnTo>
                <a:lnTo>
                  <a:pt x="810" y="1656"/>
                </a:lnTo>
                <a:lnTo>
                  <a:pt x="797" y="1667"/>
                </a:lnTo>
                <a:lnTo>
                  <a:pt x="785" y="1676"/>
                </a:lnTo>
                <a:lnTo>
                  <a:pt x="770" y="1685"/>
                </a:lnTo>
                <a:lnTo>
                  <a:pt x="756" y="1691"/>
                </a:lnTo>
                <a:lnTo>
                  <a:pt x="739" y="1698"/>
                </a:lnTo>
                <a:lnTo>
                  <a:pt x="723" y="1702"/>
                </a:lnTo>
                <a:lnTo>
                  <a:pt x="706" y="1705"/>
                </a:lnTo>
                <a:lnTo>
                  <a:pt x="689" y="1705"/>
                </a:lnTo>
                <a:lnTo>
                  <a:pt x="689" y="1705"/>
                </a:lnTo>
                <a:lnTo>
                  <a:pt x="671" y="1705"/>
                </a:lnTo>
                <a:lnTo>
                  <a:pt x="654" y="1702"/>
                </a:lnTo>
                <a:lnTo>
                  <a:pt x="638" y="1698"/>
                </a:lnTo>
                <a:lnTo>
                  <a:pt x="621" y="1691"/>
                </a:lnTo>
                <a:lnTo>
                  <a:pt x="606" y="1685"/>
                </a:lnTo>
                <a:lnTo>
                  <a:pt x="592" y="1676"/>
                </a:lnTo>
                <a:lnTo>
                  <a:pt x="579" y="1667"/>
                </a:lnTo>
                <a:lnTo>
                  <a:pt x="566" y="1656"/>
                </a:lnTo>
                <a:lnTo>
                  <a:pt x="555" y="1643"/>
                </a:lnTo>
                <a:lnTo>
                  <a:pt x="546" y="1630"/>
                </a:lnTo>
                <a:lnTo>
                  <a:pt x="537" y="1616"/>
                </a:lnTo>
                <a:lnTo>
                  <a:pt x="530" y="1601"/>
                </a:lnTo>
                <a:lnTo>
                  <a:pt x="524" y="1584"/>
                </a:lnTo>
                <a:lnTo>
                  <a:pt x="519" y="1568"/>
                </a:lnTo>
                <a:lnTo>
                  <a:pt x="517" y="1551"/>
                </a:lnTo>
                <a:lnTo>
                  <a:pt x="517" y="1533"/>
                </a:lnTo>
                <a:lnTo>
                  <a:pt x="517" y="1533"/>
                </a:lnTo>
                <a:lnTo>
                  <a:pt x="517" y="1521"/>
                </a:lnTo>
                <a:lnTo>
                  <a:pt x="518" y="1507"/>
                </a:lnTo>
                <a:lnTo>
                  <a:pt x="521" y="1495"/>
                </a:lnTo>
                <a:lnTo>
                  <a:pt x="524" y="1482"/>
                </a:lnTo>
                <a:lnTo>
                  <a:pt x="528" y="1471"/>
                </a:lnTo>
                <a:lnTo>
                  <a:pt x="533" y="1460"/>
                </a:lnTo>
                <a:lnTo>
                  <a:pt x="539" y="1449"/>
                </a:lnTo>
                <a:lnTo>
                  <a:pt x="544" y="1438"/>
                </a:lnTo>
                <a:lnTo>
                  <a:pt x="552" y="1429"/>
                </a:lnTo>
                <a:lnTo>
                  <a:pt x="559" y="1419"/>
                </a:lnTo>
                <a:lnTo>
                  <a:pt x="568" y="1411"/>
                </a:lnTo>
                <a:lnTo>
                  <a:pt x="577" y="1403"/>
                </a:lnTo>
                <a:lnTo>
                  <a:pt x="587" y="1394"/>
                </a:lnTo>
                <a:lnTo>
                  <a:pt x="596" y="1388"/>
                </a:lnTo>
                <a:lnTo>
                  <a:pt x="607" y="1382"/>
                </a:lnTo>
                <a:lnTo>
                  <a:pt x="618" y="1377"/>
                </a:lnTo>
                <a:lnTo>
                  <a:pt x="555" y="1377"/>
                </a:lnTo>
                <a:lnTo>
                  <a:pt x="521" y="1377"/>
                </a:lnTo>
                <a:lnTo>
                  <a:pt x="0" y="1377"/>
                </a:lnTo>
                <a:lnTo>
                  <a:pt x="0" y="838"/>
                </a:lnTo>
                <a:lnTo>
                  <a:pt x="0" y="838"/>
                </a:lnTo>
                <a:lnTo>
                  <a:pt x="15" y="850"/>
                </a:lnTo>
                <a:lnTo>
                  <a:pt x="30" y="861"/>
                </a:lnTo>
                <a:lnTo>
                  <a:pt x="47" y="871"/>
                </a:lnTo>
                <a:lnTo>
                  <a:pt x="64" y="879"/>
                </a:lnTo>
                <a:lnTo>
                  <a:pt x="84" y="886"/>
                </a:lnTo>
                <a:lnTo>
                  <a:pt x="103" y="890"/>
                </a:lnTo>
                <a:lnTo>
                  <a:pt x="122" y="894"/>
                </a:lnTo>
                <a:lnTo>
                  <a:pt x="143" y="894"/>
                </a:lnTo>
                <a:lnTo>
                  <a:pt x="143" y="894"/>
                </a:lnTo>
                <a:lnTo>
                  <a:pt x="163" y="893"/>
                </a:lnTo>
                <a:lnTo>
                  <a:pt x="184" y="890"/>
                </a:lnTo>
                <a:lnTo>
                  <a:pt x="205" y="886"/>
                </a:lnTo>
                <a:lnTo>
                  <a:pt x="223" y="878"/>
                </a:lnTo>
                <a:lnTo>
                  <a:pt x="242" y="869"/>
                </a:lnTo>
                <a:lnTo>
                  <a:pt x="258" y="860"/>
                </a:lnTo>
                <a:lnTo>
                  <a:pt x="275" y="847"/>
                </a:lnTo>
                <a:lnTo>
                  <a:pt x="289" y="834"/>
                </a:lnTo>
                <a:lnTo>
                  <a:pt x="302" y="820"/>
                </a:lnTo>
                <a:lnTo>
                  <a:pt x="315" y="803"/>
                </a:lnTo>
                <a:lnTo>
                  <a:pt x="324" y="787"/>
                </a:lnTo>
                <a:lnTo>
                  <a:pt x="333" y="769"/>
                </a:lnTo>
                <a:lnTo>
                  <a:pt x="339" y="750"/>
                </a:lnTo>
                <a:lnTo>
                  <a:pt x="345" y="729"/>
                </a:lnTo>
                <a:lnTo>
                  <a:pt x="348" y="708"/>
                </a:lnTo>
                <a:lnTo>
                  <a:pt x="349" y="688"/>
                </a:lnTo>
                <a:lnTo>
                  <a:pt x="349" y="688"/>
                </a:lnTo>
                <a:lnTo>
                  <a:pt x="348" y="667"/>
                </a:lnTo>
                <a:lnTo>
                  <a:pt x="345" y="647"/>
                </a:lnTo>
                <a:lnTo>
                  <a:pt x="339" y="626"/>
                </a:lnTo>
                <a:lnTo>
                  <a:pt x="333" y="608"/>
                </a:lnTo>
                <a:lnTo>
                  <a:pt x="324" y="590"/>
                </a:lnTo>
                <a:lnTo>
                  <a:pt x="315" y="572"/>
                </a:lnTo>
                <a:lnTo>
                  <a:pt x="302" y="557"/>
                </a:lnTo>
                <a:lnTo>
                  <a:pt x="289" y="542"/>
                </a:lnTo>
                <a:lnTo>
                  <a:pt x="275" y="528"/>
                </a:lnTo>
                <a:lnTo>
                  <a:pt x="258" y="517"/>
                </a:lnTo>
                <a:lnTo>
                  <a:pt x="242" y="506"/>
                </a:lnTo>
                <a:lnTo>
                  <a:pt x="223" y="498"/>
                </a:lnTo>
                <a:lnTo>
                  <a:pt x="205" y="491"/>
                </a:lnTo>
                <a:lnTo>
                  <a:pt x="184" y="486"/>
                </a:lnTo>
                <a:lnTo>
                  <a:pt x="163" y="483"/>
                </a:lnTo>
                <a:lnTo>
                  <a:pt x="143" y="482"/>
                </a:lnTo>
                <a:lnTo>
                  <a:pt x="143" y="482"/>
                </a:lnTo>
                <a:lnTo>
                  <a:pt x="122" y="483"/>
                </a:lnTo>
                <a:lnTo>
                  <a:pt x="103" y="486"/>
                </a:lnTo>
                <a:lnTo>
                  <a:pt x="84" y="490"/>
                </a:lnTo>
                <a:lnTo>
                  <a:pt x="64" y="497"/>
                </a:lnTo>
                <a:lnTo>
                  <a:pt x="47" y="505"/>
                </a:lnTo>
                <a:lnTo>
                  <a:pt x="30" y="515"/>
                </a:lnTo>
                <a:lnTo>
                  <a:pt x="15" y="526"/>
                </a:lnTo>
                <a:lnTo>
                  <a:pt x="0" y="539"/>
                </a:lnTo>
                <a:lnTo>
                  <a:pt x="0" y="0"/>
                </a:lnTo>
                <a:lnTo>
                  <a:pt x="738" y="0"/>
                </a:lnTo>
                <a:lnTo>
                  <a:pt x="738" y="0"/>
                </a:lnTo>
                <a:lnTo>
                  <a:pt x="738" y="5"/>
                </a:lnTo>
                <a:lnTo>
                  <a:pt x="738" y="5"/>
                </a:lnTo>
                <a:lnTo>
                  <a:pt x="738" y="27"/>
                </a:lnTo>
                <a:lnTo>
                  <a:pt x="742" y="46"/>
                </a:lnTo>
                <a:lnTo>
                  <a:pt x="746" y="66"/>
                </a:lnTo>
                <a:lnTo>
                  <a:pt x="753" y="86"/>
                </a:lnTo>
                <a:lnTo>
                  <a:pt x="763" y="104"/>
                </a:lnTo>
                <a:lnTo>
                  <a:pt x="772" y="120"/>
                </a:lnTo>
                <a:lnTo>
                  <a:pt x="785" y="137"/>
                </a:lnTo>
                <a:lnTo>
                  <a:pt x="799" y="150"/>
                </a:lnTo>
                <a:lnTo>
                  <a:pt x="812" y="164"/>
                </a:lnTo>
                <a:lnTo>
                  <a:pt x="829" y="176"/>
                </a:lnTo>
                <a:lnTo>
                  <a:pt x="845" y="186"/>
                </a:lnTo>
                <a:lnTo>
                  <a:pt x="863" y="196"/>
                </a:lnTo>
                <a:lnTo>
                  <a:pt x="882" y="203"/>
                </a:lnTo>
                <a:lnTo>
                  <a:pt x="902" y="207"/>
                </a:lnTo>
                <a:lnTo>
                  <a:pt x="922" y="211"/>
                </a:lnTo>
                <a:lnTo>
                  <a:pt x="944" y="211"/>
                </a:lnTo>
                <a:lnTo>
                  <a:pt x="944" y="211"/>
                </a:lnTo>
                <a:lnTo>
                  <a:pt x="965" y="211"/>
                </a:lnTo>
                <a:lnTo>
                  <a:pt x="985" y="207"/>
                </a:lnTo>
                <a:lnTo>
                  <a:pt x="1005" y="203"/>
                </a:lnTo>
                <a:lnTo>
                  <a:pt x="1024" y="196"/>
                </a:lnTo>
                <a:lnTo>
                  <a:pt x="1042" y="186"/>
                </a:lnTo>
                <a:lnTo>
                  <a:pt x="1060" y="176"/>
                </a:lnTo>
                <a:lnTo>
                  <a:pt x="1075" y="164"/>
                </a:lnTo>
                <a:lnTo>
                  <a:pt x="1090" y="150"/>
                </a:lnTo>
                <a:lnTo>
                  <a:pt x="1104" y="137"/>
                </a:lnTo>
                <a:lnTo>
                  <a:pt x="1115" y="120"/>
                </a:lnTo>
                <a:lnTo>
                  <a:pt x="1126" y="104"/>
                </a:lnTo>
                <a:lnTo>
                  <a:pt x="1134" y="86"/>
                </a:lnTo>
                <a:lnTo>
                  <a:pt x="1141" y="66"/>
                </a:lnTo>
                <a:lnTo>
                  <a:pt x="1146" y="46"/>
                </a:lnTo>
                <a:lnTo>
                  <a:pt x="1149" y="27"/>
                </a:lnTo>
                <a:lnTo>
                  <a:pt x="1150" y="5"/>
                </a:lnTo>
                <a:lnTo>
                  <a:pt x="1150" y="5"/>
                </a:lnTo>
                <a:lnTo>
                  <a:pt x="1150" y="0"/>
                </a:lnTo>
                <a:lnTo>
                  <a:pt x="1863" y="0"/>
                </a:lnTo>
                <a:lnTo>
                  <a:pt x="1863" y="491"/>
                </a:lnTo>
                <a:lnTo>
                  <a:pt x="1863" y="491"/>
                </a:lnTo>
                <a:lnTo>
                  <a:pt x="1842" y="493"/>
                </a:lnTo>
                <a:lnTo>
                  <a:pt x="1823" y="497"/>
                </a:lnTo>
                <a:lnTo>
                  <a:pt x="1803" y="502"/>
                </a:lnTo>
                <a:lnTo>
                  <a:pt x="1784" y="509"/>
                </a:lnTo>
                <a:lnTo>
                  <a:pt x="1766" y="517"/>
                </a:lnTo>
                <a:lnTo>
                  <a:pt x="1750" y="528"/>
                </a:lnTo>
                <a:lnTo>
                  <a:pt x="1735" y="541"/>
                </a:lnTo>
                <a:lnTo>
                  <a:pt x="1721" y="553"/>
                </a:lnTo>
                <a:lnTo>
                  <a:pt x="1707" y="568"/>
                </a:lnTo>
                <a:lnTo>
                  <a:pt x="1696" y="583"/>
                </a:lnTo>
                <a:lnTo>
                  <a:pt x="1685" y="601"/>
                </a:lnTo>
                <a:lnTo>
                  <a:pt x="1677" y="619"/>
                </a:lnTo>
                <a:lnTo>
                  <a:pt x="1670" y="637"/>
                </a:lnTo>
                <a:lnTo>
                  <a:pt x="1666" y="656"/>
                </a:lnTo>
                <a:lnTo>
                  <a:pt x="1662" y="677"/>
                </a:lnTo>
                <a:lnTo>
                  <a:pt x="1662" y="697"/>
                </a:lnTo>
                <a:lnTo>
                  <a:pt x="1662" y="697"/>
                </a:lnTo>
                <a:lnTo>
                  <a:pt x="1662" y="718"/>
                </a:lnTo>
                <a:lnTo>
                  <a:pt x="1666" y="739"/>
                </a:lnTo>
                <a:lnTo>
                  <a:pt x="1670" y="758"/>
                </a:lnTo>
                <a:lnTo>
                  <a:pt x="1677" y="777"/>
                </a:lnTo>
                <a:lnTo>
                  <a:pt x="1685" y="795"/>
                </a:lnTo>
                <a:lnTo>
                  <a:pt x="1696" y="812"/>
                </a:lnTo>
                <a:lnTo>
                  <a:pt x="1707" y="828"/>
                </a:lnTo>
                <a:lnTo>
                  <a:pt x="1721" y="842"/>
                </a:lnTo>
                <a:lnTo>
                  <a:pt x="1735" y="856"/>
                </a:lnTo>
                <a:lnTo>
                  <a:pt x="1750" y="868"/>
                </a:lnTo>
                <a:lnTo>
                  <a:pt x="1766" y="878"/>
                </a:lnTo>
                <a:lnTo>
                  <a:pt x="1784" y="887"/>
                </a:lnTo>
                <a:lnTo>
                  <a:pt x="1803" y="894"/>
                </a:lnTo>
                <a:lnTo>
                  <a:pt x="1823" y="900"/>
                </a:lnTo>
                <a:lnTo>
                  <a:pt x="1842" y="902"/>
                </a:lnTo>
                <a:lnTo>
                  <a:pt x="1863" y="904"/>
                </a:lnTo>
                <a:lnTo>
                  <a:pt x="1863" y="1377"/>
                </a:lnTo>
                <a:lnTo>
                  <a:pt x="860" y="1377"/>
                </a:lnTo>
                <a:lnTo>
                  <a:pt x="822" y="1377"/>
                </a:lnTo>
                <a:lnTo>
                  <a:pt x="822" y="1377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" name="Freeform 32">
            <a:extLst>
              <a:ext uri="{FF2B5EF4-FFF2-40B4-BE49-F238E27FC236}">
                <a16:creationId xmlns:a16="http://schemas.microsoft.com/office/drawing/2014/main" id="{E86FBC34-CE25-45D2-7FEA-1D4EEF4428DC}"/>
              </a:ext>
            </a:extLst>
          </p:cNvPr>
          <p:cNvSpPr>
            <a:spLocks/>
          </p:cNvSpPr>
          <p:nvPr/>
        </p:nvSpPr>
        <p:spPr bwMode="auto">
          <a:xfrm>
            <a:off x="3051099" y="1294970"/>
            <a:ext cx="3585465" cy="2245739"/>
          </a:xfrm>
          <a:custGeom>
            <a:avLst/>
            <a:gdLst>
              <a:gd name="T0" fmla="*/ 1868 w 2197"/>
              <a:gd name="T1" fmla="*/ 623 h 1376"/>
              <a:gd name="T2" fmla="*/ 1887 w 2197"/>
              <a:gd name="T3" fmla="*/ 590 h 1376"/>
              <a:gd name="T4" fmla="*/ 1915 w 2197"/>
              <a:gd name="T5" fmla="*/ 561 h 1376"/>
              <a:gd name="T6" fmla="*/ 1946 w 2197"/>
              <a:gd name="T7" fmla="*/ 540 h 1376"/>
              <a:gd name="T8" fmla="*/ 1984 w 2197"/>
              <a:gd name="T9" fmla="*/ 527 h 1376"/>
              <a:gd name="T10" fmla="*/ 2025 w 2197"/>
              <a:gd name="T11" fmla="*/ 521 h 1376"/>
              <a:gd name="T12" fmla="*/ 2059 w 2197"/>
              <a:gd name="T13" fmla="*/ 525 h 1376"/>
              <a:gd name="T14" fmla="*/ 2107 w 2197"/>
              <a:gd name="T15" fmla="*/ 542 h 1376"/>
              <a:gd name="T16" fmla="*/ 2146 w 2197"/>
              <a:gd name="T17" fmla="*/ 572 h 1376"/>
              <a:gd name="T18" fmla="*/ 2176 w 2197"/>
              <a:gd name="T19" fmla="*/ 610 h 1376"/>
              <a:gd name="T20" fmla="*/ 2194 w 2197"/>
              <a:gd name="T21" fmla="*/ 659 h 1376"/>
              <a:gd name="T22" fmla="*/ 2197 w 2197"/>
              <a:gd name="T23" fmla="*/ 693 h 1376"/>
              <a:gd name="T24" fmla="*/ 2188 w 2197"/>
              <a:gd name="T25" fmla="*/ 744 h 1376"/>
              <a:gd name="T26" fmla="*/ 2168 w 2197"/>
              <a:gd name="T27" fmla="*/ 789 h 1376"/>
              <a:gd name="T28" fmla="*/ 2135 w 2197"/>
              <a:gd name="T29" fmla="*/ 826 h 1376"/>
              <a:gd name="T30" fmla="*/ 2092 w 2197"/>
              <a:gd name="T31" fmla="*/ 851 h 1376"/>
              <a:gd name="T32" fmla="*/ 2043 w 2197"/>
              <a:gd name="T33" fmla="*/ 865 h 1376"/>
              <a:gd name="T34" fmla="*/ 2011 w 2197"/>
              <a:gd name="T35" fmla="*/ 865 h 1376"/>
              <a:gd name="T36" fmla="*/ 1971 w 2197"/>
              <a:gd name="T37" fmla="*/ 856 h 1376"/>
              <a:gd name="T38" fmla="*/ 1935 w 2197"/>
              <a:gd name="T39" fmla="*/ 840 h 1376"/>
              <a:gd name="T40" fmla="*/ 1905 w 2197"/>
              <a:gd name="T41" fmla="*/ 817 h 1376"/>
              <a:gd name="T42" fmla="*/ 1880 w 2197"/>
              <a:gd name="T43" fmla="*/ 786 h 1376"/>
              <a:gd name="T44" fmla="*/ 1863 w 2197"/>
              <a:gd name="T45" fmla="*/ 751 h 1376"/>
              <a:gd name="T46" fmla="*/ 1863 w 2197"/>
              <a:gd name="T47" fmla="*/ 1376 h 1376"/>
              <a:gd name="T48" fmla="*/ 1347 w 2197"/>
              <a:gd name="T49" fmla="*/ 1362 h 1376"/>
              <a:gd name="T50" fmla="*/ 1369 w 2197"/>
              <a:gd name="T51" fmla="*/ 1317 h 1376"/>
              <a:gd name="T52" fmla="*/ 1380 w 2197"/>
              <a:gd name="T53" fmla="*/ 1266 h 1376"/>
              <a:gd name="T54" fmla="*/ 1380 w 2197"/>
              <a:gd name="T55" fmla="*/ 1228 h 1376"/>
              <a:gd name="T56" fmla="*/ 1365 w 2197"/>
              <a:gd name="T57" fmla="*/ 1169 h 1376"/>
              <a:gd name="T58" fmla="*/ 1333 w 2197"/>
              <a:gd name="T59" fmla="*/ 1118 h 1376"/>
              <a:gd name="T60" fmla="*/ 1289 w 2197"/>
              <a:gd name="T61" fmla="*/ 1078 h 1376"/>
              <a:gd name="T62" fmla="*/ 1236 w 2197"/>
              <a:gd name="T63" fmla="*/ 1052 h 1376"/>
              <a:gd name="T64" fmla="*/ 1174 w 2197"/>
              <a:gd name="T65" fmla="*/ 1042 h 1376"/>
              <a:gd name="T66" fmla="*/ 1133 w 2197"/>
              <a:gd name="T67" fmla="*/ 1046 h 1376"/>
              <a:gd name="T68" fmla="*/ 1076 w 2197"/>
              <a:gd name="T69" fmla="*/ 1067 h 1376"/>
              <a:gd name="T70" fmla="*/ 1028 w 2197"/>
              <a:gd name="T71" fmla="*/ 1103 h 1376"/>
              <a:gd name="T72" fmla="*/ 992 w 2197"/>
              <a:gd name="T73" fmla="*/ 1151 h 1376"/>
              <a:gd name="T74" fmla="*/ 972 w 2197"/>
              <a:gd name="T75" fmla="*/ 1207 h 1376"/>
              <a:gd name="T76" fmla="*/ 968 w 2197"/>
              <a:gd name="T77" fmla="*/ 1248 h 1376"/>
              <a:gd name="T78" fmla="*/ 975 w 2197"/>
              <a:gd name="T79" fmla="*/ 1301 h 1376"/>
              <a:gd name="T80" fmla="*/ 994 w 2197"/>
              <a:gd name="T81" fmla="*/ 1349 h 1376"/>
              <a:gd name="T82" fmla="*/ 0 w 2197"/>
              <a:gd name="T83" fmla="*/ 1376 h 1376"/>
              <a:gd name="T84" fmla="*/ 668 w 2197"/>
              <a:gd name="T85" fmla="*/ 0 h 1376"/>
              <a:gd name="T86" fmla="*/ 669 w 2197"/>
              <a:gd name="T87" fmla="*/ 26 h 1376"/>
              <a:gd name="T88" fmla="*/ 685 w 2197"/>
              <a:gd name="T89" fmla="*/ 85 h 1376"/>
              <a:gd name="T90" fmla="*/ 716 w 2197"/>
              <a:gd name="T91" fmla="*/ 136 h 1376"/>
              <a:gd name="T92" fmla="*/ 759 w 2197"/>
              <a:gd name="T93" fmla="*/ 176 h 1376"/>
              <a:gd name="T94" fmla="*/ 814 w 2197"/>
              <a:gd name="T95" fmla="*/ 202 h 1376"/>
              <a:gd name="T96" fmla="*/ 874 w 2197"/>
              <a:gd name="T97" fmla="*/ 212 h 1376"/>
              <a:gd name="T98" fmla="*/ 917 w 2197"/>
              <a:gd name="T99" fmla="*/ 208 h 1376"/>
              <a:gd name="T100" fmla="*/ 973 w 2197"/>
              <a:gd name="T101" fmla="*/ 187 h 1376"/>
              <a:gd name="T102" fmla="*/ 1021 w 2197"/>
              <a:gd name="T103" fmla="*/ 151 h 1376"/>
              <a:gd name="T104" fmla="*/ 1056 w 2197"/>
              <a:gd name="T105" fmla="*/ 103 h 1376"/>
              <a:gd name="T106" fmla="*/ 1076 w 2197"/>
              <a:gd name="T107" fmla="*/ 47 h 1376"/>
              <a:gd name="T108" fmla="*/ 1082 w 2197"/>
              <a:gd name="T109" fmla="*/ 5 h 1376"/>
              <a:gd name="T110" fmla="*/ 1863 w 2197"/>
              <a:gd name="T111" fmla="*/ 565 h 1376"/>
              <a:gd name="T112" fmla="*/ 1863 w 2197"/>
              <a:gd name="T113" fmla="*/ 635 h 13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197" h="1376">
                <a:moveTo>
                  <a:pt x="1863" y="635"/>
                </a:moveTo>
                <a:lnTo>
                  <a:pt x="1863" y="635"/>
                </a:lnTo>
                <a:lnTo>
                  <a:pt x="1868" y="623"/>
                </a:lnTo>
                <a:lnTo>
                  <a:pt x="1874" y="612"/>
                </a:lnTo>
                <a:lnTo>
                  <a:pt x="1880" y="601"/>
                </a:lnTo>
                <a:lnTo>
                  <a:pt x="1887" y="590"/>
                </a:lnTo>
                <a:lnTo>
                  <a:pt x="1896" y="580"/>
                </a:lnTo>
                <a:lnTo>
                  <a:pt x="1905" y="571"/>
                </a:lnTo>
                <a:lnTo>
                  <a:pt x="1915" y="561"/>
                </a:lnTo>
                <a:lnTo>
                  <a:pt x="1924" y="553"/>
                </a:lnTo>
                <a:lnTo>
                  <a:pt x="1935" y="546"/>
                </a:lnTo>
                <a:lnTo>
                  <a:pt x="1946" y="540"/>
                </a:lnTo>
                <a:lnTo>
                  <a:pt x="1959" y="535"/>
                </a:lnTo>
                <a:lnTo>
                  <a:pt x="1971" y="529"/>
                </a:lnTo>
                <a:lnTo>
                  <a:pt x="1984" y="527"/>
                </a:lnTo>
                <a:lnTo>
                  <a:pt x="1997" y="524"/>
                </a:lnTo>
                <a:lnTo>
                  <a:pt x="2011" y="521"/>
                </a:lnTo>
                <a:lnTo>
                  <a:pt x="2025" y="521"/>
                </a:lnTo>
                <a:lnTo>
                  <a:pt x="2025" y="521"/>
                </a:lnTo>
                <a:lnTo>
                  <a:pt x="2043" y="522"/>
                </a:lnTo>
                <a:lnTo>
                  <a:pt x="2059" y="525"/>
                </a:lnTo>
                <a:lnTo>
                  <a:pt x="2076" y="529"/>
                </a:lnTo>
                <a:lnTo>
                  <a:pt x="2092" y="535"/>
                </a:lnTo>
                <a:lnTo>
                  <a:pt x="2107" y="542"/>
                </a:lnTo>
                <a:lnTo>
                  <a:pt x="2121" y="550"/>
                </a:lnTo>
                <a:lnTo>
                  <a:pt x="2135" y="561"/>
                </a:lnTo>
                <a:lnTo>
                  <a:pt x="2146" y="572"/>
                </a:lnTo>
                <a:lnTo>
                  <a:pt x="2158" y="584"/>
                </a:lnTo>
                <a:lnTo>
                  <a:pt x="2168" y="597"/>
                </a:lnTo>
                <a:lnTo>
                  <a:pt x="2176" y="610"/>
                </a:lnTo>
                <a:lnTo>
                  <a:pt x="2183" y="626"/>
                </a:lnTo>
                <a:lnTo>
                  <a:pt x="2188" y="642"/>
                </a:lnTo>
                <a:lnTo>
                  <a:pt x="2194" y="659"/>
                </a:lnTo>
                <a:lnTo>
                  <a:pt x="2195" y="675"/>
                </a:lnTo>
                <a:lnTo>
                  <a:pt x="2197" y="693"/>
                </a:lnTo>
                <a:lnTo>
                  <a:pt x="2197" y="693"/>
                </a:lnTo>
                <a:lnTo>
                  <a:pt x="2195" y="711"/>
                </a:lnTo>
                <a:lnTo>
                  <a:pt x="2194" y="727"/>
                </a:lnTo>
                <a:lnTo>
                  <a:pt x="2188" y="744"/>
                </a:lnTo>
                <a:lnTo>
                  <a:pt x="2183" y="760"/>
                </a:lnTo>
                <a:lnTo>
                  <a:pt x="2176" y="775"/>
                </a:lnTo>
                <a:lnTo>
                  <a:pt x="2168" y="789"/>
                </a:lnTo>
                <a:lnTo>
                  <a:pt x="2158" y="803"/>
                </a:lnTo>
                <a:lnTo>
                  <a:pt x="2146" y="815"/>
                </a:lnTo>
                <a:lnTo>
                  <a:pt x="2135" y="826"/>
                </a:lnTo>
                <a:lnTo>
                  <a:pt x="2121" y="836"/>
                </a:lnTo>
                <a:lnTo>
                  <a:pt x="2107" y="844"/>
                </a:lnTo>
                <a:lnTo>
                  <a:pt x="2092" y="851"/>
                </a:lnTo>
                <a:lnTo>
                  <a:pt x="2076" y="858"/>
                </a:lnTo>
                <a:lnTo>
                  <a:pt x="2059" y="862"/>
                </a:lnTo>
                <a:lnTo>
                  <a:pt x="2043" y="865"/>
                </a:lnTo>
                <a:lnTo>
                  <a:pt x="2025" y="865"/>
                </a:lnTo>
                <a:lnTo>
                  <a:pt x="2025" y="865"/>
                </a:lnTo>
                <a:lnTo>
                  <a:pt x="2011" y="865"/>
                </a:lnTo>
                <a:lnTo>
                  <a:pt x="1997" y="863"/>
                </a:lnTo>
                <a:lnTo>
                  <a:pt x="1984" y="861"/>
                </a:lnTo>
                <a:lnTo>
                  <a:pt x="1971" y="856"/>
                </a:lnTo>
                <a:lnTo>
                  <a:pt x="1959" y="852"/>
                </a:lnTo>
                <a:lnTo>
                  <a:pt x="1946" y="847"/>
                </a:lnTo>
                <a:lnTo>
                  <a:pt x="1935" y="840"/>
                </a:lnTo>
                <a:lnTo>
                  <a:pt x="1924" y="833"/>
                </a:lnTo>
                <a:lnTo>
                  <a:pt x="1915" y="825"/>
                </a:lnTo>
                <a:lnTo>
                  <a:pt x="1905" y="817"/>
                </a:lnTo>
                <a:lnTo>
                  <a:pt x="1896" y="807"/>
                </a:lnTo>
                <a:lnTo>
                  <a:pt x="1887" y="796"/>
                </a:lnTo>
                <a:lnTo>
                  <a:pt x="1880" y="786"/>
                </a:lnTo>
                <a:lnTo>
                  <a:pt x="1874" y="774"/>
                </a:lnTo>
                <a:lnTo>
                  <a:pt x="1868" y="763"/>
                </a:lnTo>
                <a:lnTo>
                  <a:pt x="1863" y="751"/>
                </a:lnTo>
                <a:lnTo>
                  <a:pt x="1863" y="821"/>
                </a:lnTo>
                <a:lnTo>
                  <a:pt x="1863" y="821"/>
                </a:lnTo>
                <a:lnTo>
                  <a:pt x="1863" y="1376"/>
                </a:lnTo>
                <a:lnTo>
                  <a:pt x="1336" y="1376"/>
                </a:lnTo>
                <a:lnTo>
                  <a:pt x="1336" y="1376"/>
                </a:lnTo>
                <a:lnTo>
                  <a:pt x="1347" y="1362"/>
                </a:lnTo>
                <a:lnTo>
                  <a:pt x="1355" y="1349"/>
                </a:lnTo>
                <a:lnTo>
                  <a:pt x="1362" y="1334"/>
                </a:lnTo>
                <a:lnTo>
                  <a:pt x="1369" y="1317"/>
                </a:lnTo>
                <a:lnTo>
                  <a:pt x="1375" y="1301"/>
                </a:lnTo>
                <a:lnTo>
                  <a:pt x="1377" y="1284"/>
                </a:lnTo>
                <a:lnTo>
                  <a:pt x="1380" y="1266"/>
                </a:lnTo>
                <a:lnTo>
                  <a:pt x="1382" y="1248"/>
                </a:lnTo>
                <a:lnTo>
                  <a:pt x="1382" y="1248"/>
                </a:lnTo>
                <a:lnTo>
                  <a:pt x="1380" y="1228"/>
                </a:lnTo>
                <a:lnTo>
                  <a:pt x="1377" y="1207"/>
                </a:lnTo>
                <a:lnTo>
                  <a:pt x="1372" y="1186"/>
                </a:lnTo>
                <a:lnTo>
                  <a:pt x="1365" y="1169"/>
                </a:lnTo>
                <a:lnTo>
                  <a:pt x="1357" y="1151"/>
                </a:lnTo>
                <a:lnTo>
                  <a:pt x="1346" y="1133"/>
                </a:lnTo>
                <a:lnTo>
                  <a:pt x="1333" y="1118"/>
                </a:lnTo>
                <a:lnTo>
                  <a:pt x="1321" y="1103"/>
                </a:lnTo>
                <a:lnTo>
                  <a:pt x="1306" y="1089"/>
                </a:lnTo>
                <a:lnTo>
                  <a:pt x="1289" y="1078"/>
                </a:lnTo>
                <a:lnTo>
                  <a:pt x="1273" y="1067"/>
                </a:lnTo>
                <a:lnTo>
                  <a:pt x="1255" y="1059"/>
                </a:lnTo>
                <a:lnTo>
                  <a:pt x="1236" y="1052"/>
                </a:lnTo>
                <a:lnTo>
                  <a:pt x="1217" y="1046"/>
                </a:lnTo>
                <a:lnTo>
                  <a:pt x="1196" y="1043"/>
                </a:lnTo>
                <a:lnTo>
                  <a:pt x="1174" y="1042"/>
                </a:lnTo>
                <a:lnTo>
                  <a:pt x="1174" y="1042"/>
                </a:lnTo>
                <a:lnTo>
                  <a:pt x="1153" y="1043"/>
                </a:lnTo>
                <a:lnTo>
                  <a:pt x="1133" y="1046"/>
                </a:lnTo>
                <a:lnTo>
                  <a:pt x="1113" y="1052"/>
                </a:lnTo>
                <a:lnTo>
                  <a:pt x="1094" y="1059"/>
                </a:lnTo>
                <a:lnTo>
                  <a:pt x="1076" y="1067"/>
                </a:lnTo>
                <a:lnTo>
                  <a:pt x="1060" y="1078"/>
                </a:lnTo>
                <a:lnTo>
                  <a:pt x="1043" y="1089"/>
                </a:lnTo>
                <a:lnTo>
                  <a:pt x="1028" y="1103"/>
                </a:lnTo>
                <a:lnTo>
                  <a:pt x="1016" y="1118"/>
                </a:lnTo>
                <a:lnTo>
                  <a:pt x="1003" y="1133"/>
                </a:lnTo>
                <a:lnTo>
                  <a:pt x="992" y="1151"/>
                </a:lnTo>
                <a:lnTo>
                  <a:pt x="984" y="1169"/>
                </a:lnTo>
                <a:lnTo>
                  <a:pt x="977" y="1186"/>
                </a:lnTo>
                <a:lnTo>
                  <a:pt x="972" y="1207"/>
                </a:lnTo>
                <a:lnTo>
                  <a:pt x="969" y="1228"/>
                </a:lnTo>
                <a:lnTo>
                  <a:pt x="968" y="1248"/>
                </a:lnTo>
                <a:lnTo>
                  <a:pt x="968" y="1248"/>
                </a:lnTo>
                <a:lnTo>
                  <a:pt x="969" y="1266"/>
                </a:lnTo>
                <a:lnTo>
                  <a:pt x="972" y="1284"/>
                </a:lnTo>
                <a:lnTo>
                  <a:pt x="975" y="1301"/>
                </a:lnTo>
                <a:lnTo>
                  <a:pt x="980" y="1317"/>
                </a:lnTo>
                <a:lnTo>
                  <a:pt x="987" y="1334"/>
                </a:lnTo>
                <a:lnTo>
                  <a:pt x="994" y="1349"/>
                </a:lnTo>
                <a:lnTo>
                  <a:pt x="1002" y="1362"/>
                </a:lnTo>
                <a:lnTo>
                  <a:pt x="1013" y="1376"/>
                </a:lnTo>
                <a:lnTo>
                  <a:pt x="0" y="1376"/>
                </a:lnTo>
                <a:lnTo>
                  <a:pt x="0" y="0"/>
                </a:lnTo>
                <a:lnTo>
                  <a:pt x="668" y="0"/>
                </a:lnTo>
                <a:lnTo>
                  <a:pt x="668" y="0"/>
                </a:lnTo>
                <a:lnTo>
                  <a:pt x="668" y="5"/>
                </a:lnTo>
                <a:lnTo>
                  <a:pt x="668" y="5"/>
                </a:lnTo>
                <a:lnTo>
                  <a:pt x="669" y="26"/>
                </a:lnTo>
                <a:lnTo>
                  <a:pt x="672" y="47"/>
                </a:lnTo>
                <a:lnTo>
                  <a:pt x="678" y="66"/>
                </a:lnTo>
                <a:lnTo>
                  <a:pt x="685" y="85"/>
                </a:lnTo>
                <a:lnTo>
                  <a:pt x="693" y="103"/>
                </a:lnTo>
                <a:lnTo>
                  <a:pt x="704" y="121"/>
                </a:lnTo>
                <a:lnTo>
                  <a:pt x="716" y="136"/>
                </a:lnTo>
                <a:lnTo>
                  <a:pt x="729" y="151"/>
                </a:lnTo>
                <a:lnTo>
                  <a:pt x="744" y="164"/>
                </a:lnTo>
                <a:lnTo>
                  <a:pt x="759" y="176"/>
                </a:lnTo>
                <a:lnTo>
                  <a:pt x="777" y="187"/>
                </a:lnTo>
                <a:lnTo>
                  <a:pt x="795" y="195"/>
                </a:lnTo>
                <a:lnTo>
                  <a:pt x="814" y="202"/>
                </a:lnTo>
                <a:lnTo>
                  <a:pt x="833" y="208"/>
                </a:lnTo>
                <a:lnTo>
                  <a:pt x="854" y="210"/>
                </a:lnTo>
                <a:lnTo>
                  <a:pt x="874" y="212"/>
                </a:lnTo>
                <a:lnTo>
                  <a:pt x="874" y="212"/>
                </a:lnTo>
                <a:lnTo>
                  <a:pt x="896" y="210"/>
                </a:lnTo>
                <a:lnTo>
                  <a:pt x="917" y="208"/>
                </a:lnTo>
                <a:lnTo>
                  <a:pt x="936" y="202"/>
                </a:lnTo>
                <a:lnTo>
                  <a:pt x="955" y="195"/>
                </a:lnTo>
                <a:lnTo>
                  <a:pt x="973" y="187"/>
                </a:lnTo>
                <a:lnTo>
                  <a:pt x="990" y="176"/>
                </a:lnTo>
                <a:lnTo>
                  <a:pt x="1006" y="164"/>
                </a:lnTo>
                <a:lnTo>
                  <a:pt x="1021" y="151"/>
                </a:lnTo>
                <a:lnTo>
                  <a:pt x="1034" y="136"/>
                </a:lnTo>
                <a:lnTo>
                  <a:pt x="1046" y="121"/>
                </a:lnTo>
                <a:lnTo>
                  <a:pt x="1056" y="103"/>
                </a:lnTo>
                <a:lnTo>
                  <a:pt x="1065" y="85"/>
                </a:lnTo>
                <a:lnTo>
                  <a:pt x="1072" y="66"/>
                </a:lnTo>
                <a:lnTo>
                  <a:pt x="1076" y="47"/>
                </a:lnTo>
                <a:lnTo>
                  <a:pt x="1080" y="26"/>
                </a:lnTo>
                <a:lnTo>
                  <a:pt x="1082" y="5"/>
                </a:lnTo>
                <a:lnTo>
                  <a:pt x="1082" y="5"/>
                </a:lnTo>
                <a:lnTo>
                  <a:pt x="1080" y="0"/>
                </a:lnTo>
                <a:lnTo>
                  <a:pt x="1863" y="0"/>
                </a:lnTo>
                <a:lnTo>
                  <a:pt x="1863" y="565"/>
                </a:lnTo>
                <a:lnTo>
                  <a:pt x="1863" y="565"/>
                </a:lnTo>
                <a:lnTo>
                  <a:pt x="1863" y="635"/>
                </a:lnTo>
                <a:lnTo>
                  <a:pt x="1863" y="63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" name="Freeform 33">
            <a:extLst>
              <a:ext uri="{FF2B5EF4-FFF2-40B4-BE49-F238E27FC236}">
                <a16:creationId xmlns:a16="http://schemas.microsoft.com/office/drawing/2014/main" id="{816B4AB8-3E1F-E900-4C4E-4203B50C23A9}"/>
              </a:ext>
            </a:extLst>
          </p:cNvPr>
          <p:cNvSpPr>
            <a:spLocks/>
          </p:cNvSpPr>
          <p:nvPr/>
        </p:nvSpPr>
        <p:spPr bwMode="auto">
          <a:xfrm>
            <a:off x="3052656" y="3051086"/>
            <a:ext cx="3040383" cy="2776163"/>
          </a:xfrm>
          <a:custGeom>
            <a:avLst/>
            <a:gdLst>
              <a:gd name="T0" fmla="*/ 1003 w 1863"/>
              <a:gd name="T1" fmla="*/ 154 h 1701"/>
              <a:gd name="T2" fmla="*/ 1016 w 1863"/>
              <a:gd name="T3" fmla="*/ 105 h 1701"/>
              <a:gd name="T4" fmla="*/ 1042 w 1863"/>
              <a:gd name="T5" fmla="*/ 64 h 1701"/>
              <a:gd name="T6" fmla="*/ 1079 w 1863"/>
              <a:gd name="T7" fmla="*/ 29 h 1701"/>
              <a:gd name="T8" fmla="*/ 1123 w 1863"/>
              <a:gd name="T9" fmla="*/ 9 h 1701"/>
              <a:gd name="T10" fmla="*/ 1174 w 1863"/>
              <a:gd name="T11" fmla="*/ 0 h 1701"/>
              <a:gd name="T12" fmla="*/ 1210 w 1863"/>
              <a:gd name="T13" fmla="*/ 5 h 1701"/>
              <a:gd name="T14" fmla="*/ 1256 w 1863"/>
              <a:gd name="T15" fmla="*/ 21 h 1701"/>
              <a:gd name="T16" fmla="*/ 1296 w 1863"/>
              <a:gd name="T17" fmla="*/ 51 h 1701"/>
              <a:gd name="T18" fmla="*/ 1327 w 1863"/>
              <a:gd name="T19" fmla="*/ 90 h 1701"/>
              <a:gd name="T20" fmla="*/ 1343 w 1863"/>
              <a:gd name="T21" fmla="*/ 138 h 1701"/>
              <a:gd name="T22" fmla="*/ 1347 w 1863"/>
              <a:gd name="T23" fmla="*/ 172 h 1701"/>
              <a:gd name="T24" fmla="*/ 1343 w 1863"/>
              <a:gd name="T25" fmla="*/ 208 h 1701"/>
              <a:gd name="T26" fmla="*/ 1321 w 1863"/>
              <a:gd name="T27" fmla="*/ 263 h 1701"/>
              <a:gd name="T28" fmla="*/ 1274 w 1863"/>
              <a:gd name="T29" fmla="*/ 313 h 1701"/>
              <a:gd name="T30" fmla="*/ 1863 w 1863"/>
              <a:gd name="T31" fmla="*/ 860 h 1701"/>
              <a:gd name="T32" fmla="*/ 1834 w 1863"/>
              <a:gd name="T33" fmla="*/ 838 h 1701"/>
              <a:gd name="T34" fmla="*/ 1782 w 1863"/>
              <a:gd name="T35" fmla="*/ 814 h 1701"/>
              <a:gd name="T36" fmla="*/ 1725 w 1863"/>
              <a:gd name="T37" fmla="*/ 806 h 1701"/>
              <a:gd name="T38" fmla="*/ 1684 w 1863"/>
              <a:gd name="T39" fmla="*/ 810 h 1701"/>
              <a:gd name="T40" fmla="*/ 1626 w 1863"/>
              <a:gd name="T41" fmla="*/ 831 h 1701"/>
              <a:gd name="T42" fmla="*/ 1579 w 1863"/>
              <a:gd name="T43" fmla="*/ 867 h 1701"/>
              <a:gd name="T44" fmla="*/ 1544 w 1863"/>
              <a:gd name="T45" fmla="*/ 915 h 1701"/>
              <a:gd name="T46" fmla="*/ 1523 w 1863"/>
              <a:gd name="T47" fmla="*/ 971 h 1701"/>
              <a:gd name="T48" fmla="*/ 1519 w 1863"/>
              <a:gd name="T49" fmla="*/ 1012 h 1701"/>
              <a:gd name="T50" fmla="*/ 1527 w 1863"/>
              <a:gd name="T51" fmla="*/ 1074 h 1701"/>
              <a:gd name="T52" fmla="*/ 1553 w 1863"/>
              <a:gd name="T53" fmla="*/ 1128 h 1701"/>
              <a:gd name="T54" fmla="*/ 1593 w 1863"/>
              <a:gd name="T55" fmla="*/ 1172 h 1701"/>
              <a:gd name="T56" fmla="*/ 1644 w 1863"/>
              <a:gd name="T57" fmla="*/ 1203 h 1701"/>
              <a:gd name="T58" fmla="*/ 1705 w 1863"/>
              <a:gd name="T59" fmla="*/ 1218 h 1701"/>
              <a:gd name="T60" fmla="*/ 1744 w 1863"/>
              <a:gd name="T61" fmla="*/ 1218 h 1701"/>
              <a:gd name="T62" fmla="*/ 1799 w 1863"/>
              <a:gd name="T63" fmla="*/ 1205 h 1701"/>
              <a:gd name="T64" fmla="*/ 1849 w 1863"/>
              <a:gd name="T65" fmla="*/ 1179 h 1701"/>
              <a:gd name="T66" fmla="*/ 1061 w 1863"/>
              <a:gd name="T67" fmla="*/ 1701 h 1701"/>
              <a:gd name="T68" fmla="*/ 1061 w 1863"/>
              <a:gd name="T69" fmla="*/ 1691 h 1701"/>
              <a:gd name="T70" fmla="*/ 1052 w 1863"/>
              <a:gd name="T71" fmla="*/ 1630 h 1701"/>
              <a:gd name="T72" fmla="*/ 1027 w 1863"/>
              <a:gd name="T73" fmla="*/ 1576 h 1701"/>
              <a:gd name="T74" fmla="*/ 987 w 1863"/>
              <a:gd name="T75" fmla="*/ 1532 h 1701"/>
              <a:gd name="T76" fmla="*/ 936 w 1863"/>
              <a:gd name="T77" fmla="*/ 1500 h 1701"/>
              <a:gd name="T78" fmla="*/ 876 w 1863"/>
              <a:gd name="T79" fmla="*/ 1485 h 1701"/>
              <a:gd name="T80" fmla="*/ 834 w 1863"/>
              <a:gd name="T81" fmla="*/ 1485 h 1701"/>
              <a:gd name="T82" fmla="*/ 775 w 1863"/>
              <a:gd name="T83" fmla="*/ 1500 h 1701"/>
              <a:gd name="T84" fmla="*/ 724 w 1863"/>
              <a:gd name="T85" fmla="*/ 1532 h 1701"/>
              <a:gd name="T86" fmla="*/ 685 w 1863"/>
              <a:gd name="T87" fmla="*/ 1576 h 1701"/>
              <a:gd name="T88" fmla="*/ 658 w 1863"/>
              <a:gd name="T89" fmla="*/ 1630 h 1701"/>
              <a:gd name="T90" fmla="*/ 649 w 1863"/>
              <a:gd name="T91" fmla="*/ 1691 h 1701"/>
              <a:gd name="T92" fmla="*/ 0 w 1863"/>
              <a:gd name="T93" fmla="*/ 1701 h 1701"/>
              <a:gd name="T94" fmla="*/ 1094 w 1863"/>
              <a:gd name="T95" fmla="*/ 325 h 1701"/>
              <a:gd name="T96" fmla="*/ 1042 w 1863"/>
              <a:gd name="T97" fmla="*/ 281 h 1701"/>
              <a:gd name="T98" fmla="*/ 1009 w 1863"/>
              <a:gd name="T99" fmla="*/ 220 h 1701"/>
              <a:gd name="T100" fmla="*/ 1003 w 1863"/>
              <a:gd name="T101" fmla="*/ 185 h 17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863" h="1701">
                <a:moveTo>
                  <a:pt x="1002" y="172"/>
                </a:moveTo>
                <a:lnTo>
                  <a:pt x="1002" y="172"/>
                </a:lnTo>
                <a:lnTo>
                  <a:pt x="1003" y="154"/>
                </a:lnTo>
                <a:lnTo>
                  <a:pt x="1006" y="138"/>
                </a:lnTo>
                <a:lnTo>
                  <a:pt x="1010" y="121"/>
                </a:lnTo>
                <a:lnTo>
                  <a:pt x="1016" y="105"/>
                </a:lnTo>
                <a:lnTo>
                  <a:pt x="1023" y="90"/>
                </a:lnTo>
                <a:lnTo>
                  <a:pt x="1032" y="76"/>
                </a:lnTo>
                <a:lnTo>
                  <a:pt x="1042" y="64"/>
                </a:lnTo>
                <a:lnTo>
                  <a:pt x="1053" y="51"/>
                </a:lnTo>
                <a:lnTo>
                  <a:pt x="1065" y="40"/>
                </a:lnTo>
                <a:lnTo>
                  <a:pt x="1079" y="29"/>
                </a:lnTo>
                <a:lnTo>
                  <a:pt x="1093" y="21"/>
                </a:lnTo>
                <a:lnTo>
                  <a:pt x="1108" y="14"/>
                </a:lnTo>
                <a:lnTo>
                  <a:pt x="1123" y="9"/>
                </a:lnTo>
                <a:lnTo>
                  <a:pt x="1140" y="5"/>
                </a:lnTo>
                <a:lnTo>
                  <a:pt x="1157" y="2"/>
                </a:lnTo>
                <a:lnTo>
                  <a:pt x="1174" y="0"/>
                </a:lnTo>
                <a:lnTo>
                  <a:pt x="1174" y="0"/>
                </a:lnTo>
                <a:lnTo>
                  <a:pt x="1192" y="2"/>
                </a:lnTo>
                <a:lnTo>
                  <a:pt x="1210" y="5"/>
                </a:lnTo>
                <a:lnTo>
                  <a:pt x="1226" y="9"/>
                </a:lnTo>
                <a:lnTo>
                  <a:pt x="1241" y="14"/>
                </a:lnTo>
                <a:lnTo>
                  <a:pt x="1256" y="21"/>
                </a:lnTo>
                <a:lnTo>
                  <a:pt x="1270" y="29"/>
                </a:lnTo>
                <a:lnTo>
                  <a:pt x="1284" y="40"/>
                </a:lnTo>
                <a:lnTo>
                  <a:pt x="1296" y="51"/>
                </a:lnTo>
                <a:lnTo>
                  <a:pt x="1307" y="64"/>
                </a:lnTo>
                <a:lnTo>
                  <a:pt x="1317" y="76"/>
                </a:lnTo>
                <a:lnTo>
                  <a:pt x="1327" y="90"/>
                </a:lnTo>
                <a:lnTo>
                  <a:pt x="1333" y="105"/>
                </a:lnTo>
                <a:lnTo>
                  <a:pt x="1339" y="121"/>
                </a:lnTo>
                <a:lnTo>
                  <a:pt x="1343" y="138"/>
                </a:lnTo>
                <a:lnTo>
                  <a:pt x="1346" y="154"/>
                </a:lnTo>
                <a:lnTo>
                  <a:pt x="1347" y="172"/>
                </a:lnTo>
                <a:lnTo>
                  <a:pt x="1347" y="172"/>
                </a:lnTo>
                <a:lnTo>
                  <a:pt x="1346" y="185"/>
                </a:lnTo>
                <a:lnTo>
                  <a:pt x="1344" y="197"/>
                </a:lnTo>
                <a:lnTo>
                  <a:pt x="1343" y="208"/>
                </a:lnTo>
                <a:lnTo>
                  <a:pt x="1340" y="220"/>
                </a:lnTo>
                <a:lnTo>
                  <a:pt x="1332" y="242"/>
                </a:lnTo>
                <a:lnTo>
                  <a:pt x="1321" y="263"/>
                </a:lnTo>
                <a:lnTo>
                  <a:pt x="1307" y="281"/>
                </a:lnTo>
                <a:lnTo>
                  <a:pt x="1292" y="299"/>
                </a:lnTo>
                <a:lnTo>
                  <a:pt x="1274" y="313"/>
                </a:lnTo>
                <a:lnTo>
                  <a:pt x="1255" y="325"/>
                </a:lnTo>
                <a:lnTo>
                  <a:pt x="1863" y="325"/>
                </a:lnTo>
                <a:lnTo>
                  <a:pt x="1863" y="860"/>
                </a:lnTo>
                <a:lnTo>
                  <a:pt x="1863" y="860"/>
                </a:lnTo>
                <a:lnTo>
                  <a:pt x="1849" y="847"/>
                </a:lnTo>
                <a:lnTo>
                  <a:pt x="1834" y="838"/>
                </a:lnTo>
                <a:lnTo>
                  <a:pt x="1817" y="828"/>
                </a:lnTo>
                <a:lnTo>
                  <a:pt x="1799" y="821"/>
                </a:lnTo>
                <a:lnTo>
                  <a:pt x="1782" y="814"/>
                </a:lnTo>
                <a:lnTo>
                  <a:pt x="1764" y="810"/>
                </a:lnTo>
                <a:lnTo>
                  <a:pt x="1744" y="807"/>
                </a:lnTo>
                <a:lnTo>
                  <a:pt x="1725" y="806"/>
                </a:lnTo>
                <a:lnTo>
                  <a:pt x="1725" y="806"/>
                </a:lnTo>
                <a:lnTo>
                  <a:pt x="1705" y="807"/>
                </a:lnTo>
                <a:lnTo>
                  <a:pt x="1684" y="810"/>
                </a:lnTo>
                <a:lnTo>
                  <a:pt x="1663" y="816"/>
                </a:lnTo>
                <a:lnTo>
                  <a:pt x="1644" y="823"/>
                </a:lnTo>
                <a:lnTo>
                  <a:pt x="1626" y="831"/>
                </a:lnTo>
                <a:lnTo>
                  <a:pt x="1610" y="842"/>
                </a:lnTo>
                <a:lnTo>
                  <a:pt x="1593" y="854"/>
                </a:lnTo>
                <a:lnTo>
                  <a:pt x="1579" y="867"/>
                </a:lnTo>
                <a:lnTo>
                  <a:pt x="1566" y="882"/>
                </a:lnTo>
                <a:lnTo>
                  <a:pt x="1553" y="898"/>
                </a:lnTo>
                <a:lnTo>
                  <a:pt x="1544" y="915"/>
                </a:lnTo>
                <a:lnTo>
                  <a:pt x="1535" y="933"/>
                </a:lnTo>
                <a:lnTo>
                  <a:pt x="1527" y="952"/>
                </a:lnTo>
                <a:lnTo>
                  <a:pt x="1523" y="971"/>
                </a:lnTo>
                <a:lnTo>
                  <a:pt x="1520" y="992"/>
                </a:lnTo>
                <a:lnTo>
                  <a:pt x="1519" y="1012"/>
                </a:lnTo>
                <a:lnTo>
                  <a:pt x="1519" y="1012"/>
                </a:lnTo>
                <a:lnTo>
                  <a:pt x="1520" y="1034"/>
                </a:lnTo>
                <a:lnTo>
                  <a:pt x="1523" y="1055"/>
                </a:lnTo>
                <a:lnTo>
                  <a:pt x="1527" y="1074"/>
                </a:lnTo>
                <a:lnTo>
                  <a:pt x="1535" y="1093"/>
                </a:lnTo>
                <a:lnTo>
                  <a:pt x="1544" y="1111"/>
                </a:lnTo>
                <a:lnTo>
                  <a:pt x="1553" y="1128"/>
                </a:lnTo>
                <a:lnTo>
                  <a:pt x="1566" y="1144"/>
                </a:lnTo>
                <a:lnTo>
                  <a:pt x="1579" y="1159"/>
                </a:lnTo>
                <a:lnTo>
                  <a:pt x="1593" y="1172"/>
                </a:lnTo>
                <a:lnTo>
                  <a:pt x="1610" y="1184"/>
                </a:lnTo>
                <a:lnTo>
                  <a:pt x="1626" y="1195"/>
                </a:lnTo>
                <a:lnTo>
                  <a:pt x="1644" y="1203"/>
                </a:lnTo>
                <a:lnTo>
                  <a:pt x="1663" y="1210"/>
                </a:lnTo>
                <a:lnTo>
                  <a:pt x="1684" y="1216"/>
                </a:lnTo>
                <a:lnTo>
                  <a:pt x="1705" y="1218"/>
                </a:lnTo>
                <a:lnTo>
                  <a:pt x="1725" y="1220"/>
                </a:lnTo>
                <a:lnTo>
                  <a:pt x="1725" y="1220"/>
                </a:lnTo>
                <a:lnTo>
                  <a:pt x="1744" y="1218"/>
                </a:lnTo>
                <a:lnTo>
                  <a:pt x="1764" y="1216"/>
                </a:lnTo>
                <a:lnTo>
                  <a:pt x="1782" y="1212"/>
                </a:lnTo>
                <a:lnTo>
                  <a:pt x="1799" y="1205"/>
                </a:lnTo>
                <a:lnTo>
                  <a:pt x="1817" y="1198"/>
                </a:lnTo>
                <a:lnTo>
                  <a:pt x="1834" y="1188"/>
                </a:lnTo>
                <a:lnTo>
                  <a:pt x="1849" y="1179"/>
                </a:lnTo>
                <a:lnTo>
                  <a:pt x="1863" y="1166"/>
                </a:lnTo>
                <a:lnTo>
                  <a:pt x="1863" y="1701"/>
                </a:lnTo>
                <a:lnTo>
                  <a:pt x="1061" y="1701"/>
                </a:lnTo>
                <a:lnTo>
                  <a:pt x="1061" y="1701"/>
                </a:lnTo>
                <a:lnTo>
                  <a:pt x="1061" y="1691"/>
                </a:lnTo>
                <a:lnTo>
                  <a:pt x="1061" y="1691"/>
                </a:lnTo>
                <a:lnTo>
                  <a:pt x="1060" y="1669"/>
                </a:lnTo>
                <a:lnTo>
                  <a:pt x="1057" y="1650"/>
                </a:lnTo>
                <a:lnTo>
                  <a:pt x="1052" y="1630"/>
                </a:lnTo>
                <a:lnTo>
                  <a:pt x="1045" y="1610"/>
                </a:lnTo>
                <a:lnTo>
                  <a:pt x="1036" y="1592"/>
                </a:lnTo>
                <a:lnTo>
                  <a:pt x="1027" y="1576"/>
                </a:lnTo>
                <a:lnTo>
                  <a:pt x="1014" y="1559"/>
                </a:lnTo>
                <a:lnTo>
                  <a:pt x="1001" y="1546"/>
                </a:lnTo>
                <a:lnTo>
                  <a:pt x="987" y="1532"/>
                </a:lnTo>
                <a:lnTo>
                  <a:pt x="970" y="1520"/>
                </a:lnTo>
                <a:lnTo>
                  <a:pt x="954" y="1510"/>
                </a:lnTo>
                <a:lnTo>
                  <a:pt x="936" y="1500"/>
                </a:lnTo>
                <a:lnTo>
                  <a:pt x="917" y="1493"/>
                </a:lnTo>
                <a:lnTo>
                  <a:pt x="896" y="1489"/>
                </a:lnTo>
                <a:lnTo>
                  <a:pt x="876" y="1485"/>
                </a:lnTo>
                <a:lnTo>
                  <a:pt x="855" y="1485"/>
                </a:lnTo>
                <a:lnTo>
                  <a:pt x="855" y="1485"/>
                </a:lnTo>
                <a:lnTo>
                  <a:pt x="834" y="1485"/>
                </a:lnTo>
                <a:lnTo>
                  <a:pt x="814" y="1489"/>
                </a:lnTo>
                <a:lnTo>
                  <a:pt x="793" y="1493"/>
                </a:lnTo>
                <a:lnTo>
                  <a:pt x="775" y="1500"/>
                </a:lnTo>
                <a:lnTo>
                  <a:pt x="757" y="1510"/>
                </a:lnTo>
                <a:lnTo>
                  <a:pt x="740" y="1520"/>
                </a:lnTo>
                <a:lnTo>
                  <a:pt x="724" y="1532"/>
                </a:lnTo>
                <a:lnTo>
                  <a:pt x="709" y="1546"/>
                </a:lnTo>
                <a:lnTo>
                  <a:pt x="696" y="1559"/>
                </a:lnTo>
                <a:lnTo>
                  <a:pt x="685" y="1576"/>
                </a:lnTo>
                <a:lnTo>
                  <a:pt x="674" y="1592"/>
                </a:lnTo>
                <a:lnTo>
                  <a:pt x="665" y="1610"/>
                </a:lnTo>
                <a:lnTo>
                  <a:pt x="658" y="1630"/>
                </a:lnTo>
                <a:lnTo>
                  <a:pt x="653" y="1650"/>
                </a:lnTo>
                <a:lnTo>
                  <a:pt x="650" y="1669"/>
                </a:lnTo>
                <a:lnTo>
                  <a:pt x="649" y="1691"/>
                </a:lnTo>
                <a:lnTo>
                  <a:pt x="649" y="1691"/>
                </a:lnTo>
                <a:lnTo>
                  <a:pt x="649" y="1701"/>
                </a:lnTo>
                <a:lnTo>
                  <a:pt x="0" y="1701"/>
                </a:lnTo>
                <a:lnTo>
                  <a:pt x="0" y="325"/>
                </a:lnTo>
                <a:lnTo>
                  <a:pt x="1094" y="325"/>
                </a:lnTo>
                <a:lnTo>
                  <a:pt x="1094" y="325"/>
                </a:lnTo>
                <a:lnTo>
                  <a:pt x="1075" y="313"/>
                </a:lnTo>
                <a:lnTo>
                  <a:pt x="1057" y="299"/>
                </a:lnTo>
                <a:lnTo>
                  <a:pt x="1042" y="281"/>
                </a:lnTo>
                <a:lnTo>
                  <a:pt x="1028" y="263"/>
                </a:lnTo>
                <a:lnTo>
                  <a:pt x="1017" y="242"/>
                </a:lnTo>
                <a:lnTo>
                  <a:pt x="1009" y="220"/>
                </a:lnTo>
                <a:lnTo>
                  <a:pt x="1006" y="208"/>
                </a:lnTo>
                <a:lnTo>
                  <a:pt x="1005" y="197"/>
                </a:lnTo>
                <a:lnTo>
                  <a:pt x="1003" y="185"/>
                </a:lnTo>
                <a:lnTo>
                  <a:pt x="1002" y="172"/>
                </a:lnTo>
                <a:lnTo>
                  <a:pt x="1002" y="172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" name="9 Rectángulo">
            <a:extLst>
              <a:ext uri="{FF2B5EF4-FFF2-40B4-BE49-F238E27FC236}">
                <a16:creationId xmlns:a16="http://schemas.microsoft.com/office/drawing/2014/main" id="{B225ABE0-5E66-6411-2E98-EF79017C6FA2}"/>
              </a:ext>
            </a:extLst>
          </p:cNvPr>
          <p:cNvSpPr/>
          <p:nvPr/>
        </p:nvSpPr>
        <p:spPr>
          <a:xfrm>
            <a:off x="3320810" y="1715987"/>
            <a:ext cx="1770295" cy="408095"/>
          </a:xfrm>
          <a:prstGeom prst="rect">
            <a:avLst/>
          </a:prstGeom>
        </p:spPr>
        <p:txBody>
          <a:bodyPr wrap="none" lIns="38387" tIns="19194" rIns="38387" bIns="19194">
            <a:spAutoFit/>
          </a:bodyPr>
          <a:lstStyle/>
          <a:p>
            <a:pPr lvl="0"/>
            <a:r>
              <a:rPr lang="en-US" sz="2400" b="1" kern="0" dirty="0">
                <a:solidFill>
                  <a:schemeClr val="bg1"/>
                </a:solidFill>
                <a:ea typeface="Verdana" pitchFamily="34" charset="0"/>
                <a:cs typeface="Verdana" pitchFamily="34" charset="0"/>
              </a:rPr>
              <a:t>STRENGTH</a:t>
            </a:r>
            <a:endParaRPr lang="en-US" sz="2400" b="1" dirty="0">
              <a:solidFill>
                <a:schemeClr val="bg1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29" name="9 Rectángulo">
            <a:extLst>
              <a:ext uri="{FF2B5EF4-FFF2-40B4-BE49-F238E27FC236}">
                <a16:creationId xmlns:a16="http://schemas.microsoft.com/office/drawing/2014/main" id="{4CEEE07A-44BD-36A3-6EFD-6A375A56CF31}"/>
              </a:ext>
            </a:extLst>
          </p:cNvPr>
          <p:cNvSpPr/>
          <p:nvPr/>
        </p:nvSpPr>
        <p:spPr>
          <a:xfrm>
            <a:off x="6666945" y="2997679"/>
            <a:ext cx="1856857" cy="408095"/>
          </a:xfrm>
          <a:prstGeom prst="rect">
            <a:avLst/>
          </a:prstGeom>
        </p:spPr>
        <p:txBody>
          <a:bodyPr wrap="none" lIns="38387" tIns="19194" rIns="38387" bIns="19194">
            <a:spAutoFit/>
          </a:bodyPr>
          <a:lstStyle/>
          <a:p>
            <a:pPr lvl="0"/>
            <a:r>
              <a:rPr lang="en-US" sz="2400" b="1" kern="0" dirty="0">
                <a:solidFill>
                  <a:schemeClr val="bg1"/>
                </a:solidFill>
                <a:ea typeface="Verdana" pitchFamily="34" charset="0"/>
                <a:cs typeface="Verdana" pitchFamily="34" charset="0"/>
              </a:rPr>
              <a:t>WEAKNESS</a:t>
            </a:r>
            <a:endParaRPr lang="en-US" sz="2400" b="1" dirty="0">
              <a:solidFill>
                <a:schemeClr val="bg1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30" name="9 Rectángulo">
            <a:extLst>
              <a:ext uri="{FF2B5EF4-FFF2-40B4-BE49-F238E27FC236}">
                <a16:creationId xmlns:a16="http://schemas.microsoft.com/office/drawing/2014/main" id="{E85E2458-A561-2262-F486-D0150D23433C}"/>
              </a:ext>
            </a:extLst>
          </p:cNvPr>
          <p:cNvSpPr/>
          <p:nvPr/>
        </p:nvSpPr>
        <p:spPr>
          <a:xfrm>
            <a:off x="6194054" y="4523500"/>
            <a:ext cx="1326264" cy="408095"/>
          </a:xfrm>
          <a:prstGeom prst="rect">
            <a:avLst/>
          </a:prstGeom>
        </p:spPr>
        <p:txBody>
          <a:bodyPr wrap="none" lIns="38387" tIns="19194" rIns="38387" bIns="19194">
            <a:spAutoFit/>
          </a:bodyPr>
          <a:lstStyle/>
          <a:p>
            <a:pPr lvl="0"/>
            <a:r>
              <a:rPr lang="en-US" sz="2400" b="1" kern="0" dirty="0">
                <a:solidFill>
                  <a:schemeClr val="bg1"/>
                </a:solidFill>
                <a:ea typeface="Verdana" pitchFamily="34" charset="0"/>
                <a:cs typeface="Verdana" pitchFamily="34" charset="0"/>
              </a:rPr>
              <a:t>THREAT</a:t>
            </a:r>
            <a:endParaRPr lang="en-US" sz="2400" b="1" dirty="0">
              <a:solidFill>
                <a:schemeClr val="bg1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31" name="9 Rectángulo">
            <a:extLst>
              <a:ext uri="{FF2B5EF4-FFF2-40B4-BE49-F238E27FC236}">
                <a16:creationId xmlns:a16="http://schemas.microsoft.com/office/drawing/2014/main" id="{07445CC0-6D3A-F7D7-2CEE-30E1EDBAE3D5}"/>
              </a:ext>
            </a:extLst>
          </p:cNvPr>
          <p:cNvSpPr/>
          <p:nvPr/>
        </p:nvSpPr>
        <p:spPr>
          <a:xfrm>
            <a:off x="3620824" y="5048749"/>
            <a:ext cx="2299286" cy="408095"/>
          </a:xfrm>
          <a:prstGeom prst="rect">
            <a:avLst/>
          </a:prstGeom>
        </p:spPr>
        <p:txBody>
          <a:bodyPr wrap="none" lIns="38387" tIns="19194" rIns="38387" bIns="19194">
            <a:spAutoFit/>
          </a:bodyPr>
          <a:lstStyle/>
          <a:p>
            <a:pPr lvl="0"/>
            <a:r>
              <a:rPr lang="en-US" sz="2400" b="1" kern="0" dirty="0">
                <a:solidFill>
                  <a:schemeClr val="bg1"/>
                </a:solidFill>
                <a:ea typeface="Verdana" pitchFamily="34" charset="0"/>
                <a:cs typeface="Verdana" pitchFamily="34" charset="0"/>
              </a:rPr>
              <a:t>OPPORTUNITY</a:t>
            </a:r>
            <a:endParaRPr lang="en-US" sz="2400" b="1" dirty="0">
              <a:solidFill>
                <a:schemeClr val="bg1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7BC197E-BA78-73D8-3CA0-DB10FB16DDBC}"/>
              </a:ext>
            </a:extLst>
          </p:cNvPr>
          <p:cNvSpPr txBox="1"/>
          <p:nvPr/>
        </p:nvSpPr>
        <p:spPr>
          <a:xfrm>
            <a:off x="3214039" y="2143189"/>
            <a:ext cx="245364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100" dirty="0">
                <a:solidFill>
                  <a:schemeClr val="bg1"/>
                </a:solidFill>
                <a:cs typeface="Calibri" pitchFamily="34" charset="0"/>
              </a:rPr>
              <a:t>This is a sample text that you can edit. You can change font(size, colour, name), or apply any desired formatting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602B62A-8A6E-F24F-46EA-B070806863DD}"/>
              </a:ext>
            </a:extLst>
          </p:cNvPr>
          <p:cNvSpPr txBox="1"/>
          <p:nvPr/>
        </p:nvSpPr>
        <p:spPr>
          <a:xfrm>
            <a:off x="6694365" y="1912934"/>
            <a:ext cx="212415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100" dirty="0">
                <a:solidFill>
                  <a:schemeClr val="bg1"/>
                </a:solidFill>
                <a:cs typeface="Calibri" pitchFamily="34" charset="0"/>
              </a:rPr>
              <a:t>This is a sample text that you can edit. You can change font(size, colour, name), or apply any desired formatting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75EF83A-3F0C-B29B-5139-93C0F7AD4D8F}"/>
              </a:ext>
            </a:extLst>
          </p:cNvPr>
          <p:cNvSpPr txBox="1"/>
          <p:nvPr/>
        </p:nvSpPr>
        <p:spPr>
          <a:xfrm>
            <a:off x="3378783" y="4256421"/>
            <a:ext cx="212415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100" dirty="0">
                <a:solidFill>
                  <a:schemeClr val="bg1"/>
                </a:solidFill>
                <a:cs typeface="Calibri" pitchFamily="34" charset="0"/>
              </a:rPr>
              <a:t>This is a sample text that you can edit. You can change font(size, colour, name), or apply any desired formatting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C81E7A3-4530-FFA0-594E-60082201ECD1}"/>
              </a:ext>
            </a:extLst>
          </p:cNvPr>
          <p:cNvSpPr txBox="1"/>
          <p:nvPr/>
        </p:nvSpPr>
        <p:spPr>
          <a:xfrm>
            <a:off x="7378319" y="4138329"/>
            <a:ext cx="1507638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100" dirty="0">
                <a:solidFill>
                  <a:schemeClr val="bg1"/>
                </a:solidFill>
                <a:cs typeface="Calibri" pitchFamily="34" charset="0"/>
              </a:rPr>
              <a:t>This is a sample text that you can edit. You can change font(size, colour, name), or apply any desired formatting.</a:t>
            </a:r>
          </a:p>
        </p:txBody>
      </p:sp>
    </p:spTree>
    <p:extLst>
      <p:ext uri="{BB962C8B-B14F-4D97-AF65-F5344CB8AC3E}">
        <p14:creationId xmlns:p14="http://schemas.microsoft.com/office/powerpoint/2010/main" val="1861802483"/>
      </p:ext>
    </p:extLst>
  </p:cSld>
  <p:clrMapOvr>
    <a:masterClrMapping/>
  </p:clrMapOvr>
</p:sld>
</file>

<file path=ppt/slides/slide1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FCBD97-0F90-3304-13CF-C529225589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think-cell data - do not delete" hidden="1">
            <a:extLst>
              <a:ext uri="{FF2B5EF4-FFF2-40B4-BE49-F238E27FC236}">
                <a16:creationId xmlns:a16="http://schemas.microsoft.com/office/drawing/2014/main" id="{AD09764D-646E-9B34-9222-564E64802A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153828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C9FEB13-EBD1-E728-0CE9-EDF65442AE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2 Concep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84F50AC-F552-A61C-1166-A6A80075ED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52</a:t>
            </a:fld>
            <a:endParaRPr lang="en-US" dirty="0"/>
          </a:p>
        </p:txBody>
      </p:sp>
      <p:sp>
        <p:nvSpPr>
          <p:cNvPr id="5" name="Folded Corner 67">
            <a:extLst>
              <a:ext uri="{FF2B5EF4-FFF2-40B4-BE49-F238E27FC236}">
                <a16:creationId xmlns:a16="http://schemas.microsoft.com/office/drawing/2014/main" id="{5909596E-C0A7-34EC-0E8C-EF34BC9D248F}"/>
              </a:ext>
            </a:extLst>
          </p:cNvPr>
          <p:cNvSpPr/>
          <p:nvPr/>
        </p:nvSpPr>
        <p:spPr>
          <a:xfrm>
            <a:off x="6111567" y="2279422"/>
            <a:ext cx="5064152" cy="3351824"/>
          </a:xfrm>
          <a:prstGeom prst="foldedCorner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9229" tIns="179229" rtlCol="0" anchor="t"/>
          <a:lstStyle/>
          <a:p>
            <a:pPr defTabSz="896113" fontAlgn="auto">
              <a:spcBef>
                <a:spcPct val="20000"/>
              </a:spcBef>
              <a:spcAft>
                <a:spcPts val="0"/>
              </a:spcAft>
              <a:defRPr/>
            </a:pPr>
            <a:endParaRPr lang="en-US" sz="1372" b="1" dirty="0">
              <a:solidFill>
                <a:srgbClr val="262626">
                  <a:lumMod val="90000"/>
                  <a:lumOff val="10000"/>
                </a:srgbClr>
              </a:solidFill>
              <a:cs typeface="Calibri" panose="020F0502020204030204" pitchFamily="34" charset="0"/>
            </a:endParaRPr>
          </a:p>
        </p:txBody>
      </p:sp>
      <p:sp>
        <p:nvSpPr>
          <p:cNvPr id="6" name="Round Same Side Corner Rectangle 69">
            <a:extLst>
              <a:ext uri="{FF2B5EF4-FFF2-40B4-BE49-F238E27FC236}">
                <a16:creationId xmlns:a16="http://schemas.microsoft.com/office/drawing/2014/main" id="{80CEFED6-AB4F-4236-09E3-619FA30889E3}"/>
              </a:ext>
            </a:extLst>
          </p:cNvPr>
          <p:cNvSpPr/>
          <p:nvPr/>
        </p:nvSpPr>
        <p:spPr>
          <a:xfrm>
            <a:off x="6111567" y="1680686"/>
            <a:ext cx="5064152" cy="553673"/>
          </a:xfrm>
          <a:prstGeom prst="round2Same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9229" tIns="0" bIns="0" rtlCol="0" anchor="ctr"/>
          <a:lstStyle/>
          <a:p>
            <a:pPr defTabSz="896113" fontAlgn="auto">
              <a:spcBef>
                <a:spcPct val="20000"/>
              </a:spcBef>
              <a:spcAft>
                <a:spcPts val="0"/>
              </a:spcAft>
              <a:defRPr/>
            </a:pPr>
            <a:r>
              <a:rPr lang="en-US" sz="1960" b="1" dirty="0">
                <a:solidFill>
                  <a:srgbClr val="FFFFFF"/>
                </a:solidFill>
                <a:cs typeface="Calibri" panose="020F0502020204030204" pitchFamily="34" charset="0"/>
              </a:rPr>
              <a:t>Insert Heading</a:t>
            </a:r>
          </a:p>
        </p:txBody>
      </p:sp>
      <p:sp>
        <p:nvSpPr>
          <p:cNvPr id="7" name="Inhaltsplatzhalter 4">
            <a:extLst>
              <a:ext uri="{FF2B5EF4-FFF2-40B4-BE49-F238E27FC236}">
                <a16:creationId xmlns:a16="http://schemas.microsoft.com/office/drawing/2014/main" id="{9FDF8D41-3325-1538-AD54-3CD398C0462B}"/>
              </a:ext>
            </a:extLst>
          </p:cNvPr>
          <p:cNvSpPr txBox="1">
            <a:spLocks/>
          </p:cNvSpPr>
          <p:nvPr/>
        </p:nvSpPr>
        <p:spPr>
          <a:xfrm>
            <a:off x="6324421" y="2381899"/>
            <a:ext cx="4431950" cy="277101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A65F8AC-88A9-6926-08DC-510AAB2579E1}"/>
              </a:ext>
            </a:extLst>
          </p:cNvPr>
          <p:cNvCxnSpPr>
            <a:cxnSpLocks/>
            <a:stCxn id="9" idx="6"/>
            <a:endCxn id="10" idx="2"/>
          </p:cNvCxnSpPr>
          <p:nvPr/>
        </p:nvCxnSpPr>
        <p:spPr>
          <a:xfrm flipH="1">
            <a:off x="2775398" y="2609671"/>
            <a:ext cx="12626" cy="1953624"/>
          </a:xfrm>
          <a:prstGeom prst="line">
            <a:avLst/>
          </a:prstGeom>
          <a:ln w="19050" cap="rnd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val 8">
            <a:extLst>
              <a:ext uri="{FF2B5EF4-FFF2-40B4-BE49-F238E27FC236}">
                <a16:creationId xmlns:a16="http://schemas.microsoft.com/office/drawing/2014/main" id="{2002BF09-91C5-0C77-DB13-68F72E2BDA99}"/>
              </a:ext>
            </a:extLst>
          </p:cNvPr>
          <p:cNvSpPr/>
          <p:nvPr/>
        </p:nvSpPr>
        <p:spPr>
          <a:xfrm rot="5400000">
            <a:off x="2254046" y="1541690"/>
            <a:ext cx="1067956" cy="106800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764" b="1" dirty="0">
              <a:solidFill>
                <a:srgbClr val="FFFFFF"/>
              </a:solidFill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105F7F22-55A3-1000-936E-E1EB72D11462}"/>
              </a:ext>
            </a:extLst>
          </p:cNvPr>
          <p:cNvSpPr/>
          <p:nvPr/>
        </p:nvSpPr>
        <p:spPr>
          <a:xfrm rot="5400000">
            <a:off x="2241422" y="4563268"/>
            <a:ext cx="1067951" cy="1068004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764" b="1" dirty="0">
              <a:solidFill>
                <a:srgbClr val="FFFFFF"/>
              </a:solidFill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BDE28BCF-70EA-7527-A028-FBCA264FFBC8}"/>
              </a:ext>
            </a:extLst>
          </p:cNvPr>
          <p:cNvSpPr/>
          <p:nvPr/>
        </p:nvSpPr>
        <p:spPr>
          <a:xfrm rot="5400000">
            <a:off x="2242119" y="3040508"/>
            <a:ext cx="1066555" cy="1066556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764" b="1" dirty="0">
              <a:solidFill>
                <a:srgbClr val="FFFFFF"/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DBE0B1F5-0F8E-5ABE-2885-0BED3CC23E09}"/>
              </a:ext>
            </a:extLst>
          </p:cNvPr>
          <p:cNvGrpSpPr>
            <a:grpSpLocks noChangeAspect="1"/>
          </p:cNvGrpSpPr>
          <p:nvPr/>
        </p:nvGrpSpPr>
        <p:grpSpPr>
          <a:xfrm>
            <a:off x="2575304" y="4777932"/>
            <a:ext cx="400186" cy="638676"/>
            <a:chOff x="6513513" y="557213"/>
            <a:chExt cx="471488" cy="752475"/>
          </a:xfrm>
          <a:solidFill>
            <a:schemeClr val="bg1"/>
          </a:solidFill>
        </p:grpSpPr>
        <p:sp>
          <p:nvSpPr>
            <p:cNvPr id="13" name="Freeform 21">
              <a:extLst>
                <a:ext uri="{FF2B5EF4-FFF2-40B4-BE49-F238E27FC236}">
                  <a16:creationId xmlns:a16="http://schemas.microsoft.com/office/drawing/2014/main" id="{EAC73729-80CC-2E74-CC3B-633392C897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13513" y="557213"/>
              <a:ext cx="471488" cy="752475"/>
            </a:xfrm>
            <a:custGeom>
              <a:avLst/>
              <a:gdLst>
                <a:gd name="T0" fmla="*/ 80 w 160"/>
                <a:gd name="T1" fmla="*/ 0 h 256"/>
                <a:gd name="T2" fmla="*/ 11 w 160"/>
                <a:gd name="T3" fmla="*/ 120 h 256"/>
                <a:gd name="T4" fmla="*/ 42 w 160"/>
                <a:gd name="T5" fmla="*/ 179 h 256"/>
                <a:gd name="T6" fmla="*/ 49 w 160"/>
                <a:gd name="T7" fmla="*/ 187 h 256"/>
                <a:gd name="T8" fmla="*/ 48 w 160"/>
                <a:gd name="T9" fmla="*/ 208 h 256"/>
                <a:gd name="T10" fmla="*/ 52 w 160"/>
                <a:gd name="T11" fmla="*/ 231 h 256"/>
                <a:gd name="T12" fmla="*/ 108 w 160"/>
                <a:gd name="T13" fmla="*/ 231 h 256"/>
                <a:gd name="T14" fmla="*/ 112 w 160"/>
                <a:gd name="T15" fmla="*/ 208 h 256"/>
                <a:gd name="T16" fmla="*/ 110 w 160"/>
                <a:gd name="T17" fmla="*/ 187 h 256"/>
                <a:gd name="T18" fmla="*/ 118 w 160"/>
                <a:gd name="T19" fmla="*/ 179 h 256"/>
                <a:gd name="T20" fmla="*/ 149 w 160"/>
                <a:gd name="T21" fmla="*/ 120 h 256"/>
                <a:gd name="T22" fmla="*/ 80 w 160"/>
                <a:gd name="T23" fmla="*/ 248 h 256"/>
                <a:gd name="T24" fmla="*/ 99 w 160"/>
                <a:gd name="T25" fmla="*/ 232 h 256"/>
                <a:gd name="T26" fmla="*/ 108 w 160"/>
                <a:gd name="T27" fmla="*/ 218 h 256"/>
                <a:gd name="T28" fmla="*/ 58 w 160"/>
                <a:gd name="T29" fmla="*/ 224 h 256"/>
                <a:gd name="T30" fmla="*/ 58 w 160"/>
                <a:gd name="T31" fmla="*/ 212 h 256"/>
                <a:gd name="T32" fmla="*/ 108 w 160"/>
                <a:gd name="T33" fmla="*/ 218 h 256"/>
                <a:gd name="T34" fmla="*/ 108 w 160"/>
                <a:gd name="T35" fmla="*/ 198 h 256"/>
                <a:gd name="T36" fmla="*/ 58 w 160"/>
                <a:gd name="T37" fmla="*/ 204 h 256"/>
                <a:gd name="T38" fmla="*/ 58 w 160"/>
                <a:gd name="T39" fmla="*/ 192 h 256"/>
                <a:gd name="T40" fmla="*/ 96 w 160"/>
                <a:gd name="T41" fmla="*/ 192 h 256"/>
                <a:gd name="T42" fmla="*/ 135 w 160"/>
                <a:gd name="T43" fmla="*/ 112 h 256"/>
                <a:gd name="T44" fmla="*/ 104 w 160"/>
                <a:gd name="T45" fmla="*/ 170 h 256"/>
                <a:gd name="T46" fmla="*/ 96 w 160"/>
                <a:gd name="T47" fmla="*/ 176 h 256"/>
                <a:gd name="T48" fmla="*/ 96 w 160"/>
                <a:gd name="T49" fmla="*/ 124 h 256"/>
                <a:gd name="T50" fmla="*/ 88 w 160"/>
                <a:gd name="T51" fmla="*/ 176 h 256"/>
                <a:gd name="T52" fmla="*/ 68 w 160"/>
                <a:gd name="T53" fmla="*/ 128 h 256"/>
                <a:gd name="T54" fmla="*/ 60 w 160"/>
                <a:gd name="T55" fmla="*/ 129 h 256"/>
                <a:gd name="T56" fmla="*/ 57 w 160"/>
                <a:gd name="T57" fmla="*/ 172 h 256"/>
                <a:gd name="T58" fmla="*/ 26 w 160"/>
                <a:gd name="T59" fmla="*/ 114 h 256"/>
                <a:gd name="T60" fmla="*/ 16 w 160"/>
                <a:gd name="T61" fmla="*/ 80 h 256"/>
                <a:gd name="T62" fmla="*/ 144 w 160"/>
                <a:gd name="T63" fmla="*/ 80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0" h="256">
                  <a:moveTo>
                    <a:pt x="160" y="80"/>
                  </a:moveTo>
                  <a:cubicBezTo>
                    <a:pt x="160" y="36"/>
                    <a:pt x="124" y="0"/>
                    <a:pt x="80" y="0"/>
                  </a:cubicBezTo>
                  <a:cubicBezTo>
                    <a:pt x="36" y="0"/>
                    <a:pt x="0" y="36"/>
                    <a:pt x="0" y="80"/>
                  </a:cubicBezTo>
                  <a:cubicBezTo>
                    <a:pt x="0" y="95"/>
                    <a:pt x="4" y="109"/>
                    <a:pt x="11" y="120"/>
                  </a:cubicBezTo>
                  <a:cubicBezTo>
                    <a:pt x="11" y="120"/>
                    <a:pt x="11" y="120"/>
                    <a:pt x="11" y="120"/>
                  </a:cubicBezTo>
                  <a:cubicBezTo>
                    <a:pt x="42" y="179"/>
                    <a:pt x="42" y="179"/>
                    <a:pt x="42" y="179"/>
                  </a:cubicBezTo>
                  <a:cubicBezTo>
                    <a:pt x="42" y="179"/>
                    <a:pt x="42" y="179"/>
                    <a:pt x="42" y="179"/>
                  </a:cubicBezTo>
                  <a:cubicBezTo>
                    <a:pt x="44" y="182"/>
                    <a:pt x="46" y="185"/>
                    <a:pt x="49" y="187"/>
                  </a:cubicBezTo>
                  <a:cubicBezTo>
                    <a:pt x="46" y="190"/>
                    <a:pt x="44" y="194"/>
                    <a:pt x="44" y="198"/>
                  </a:cubicBezTo>
                  <a:cubicBezTo>
                    <a:pt x="44" y="202"/>
                    <a:pt x="46" y="206"/>
                    <a:pt x="48" y="208"/>
                  </a:cubicBezTo>
                  <a:cubicBezTo>
                    <a:pt x="46" y="211"/>
                    <a:pt x="44" y="214"/>
                    <a:pt x="44" y="218"/>
                  </a:cubicBezTo>
                  <a:cubicBezTo>
                    <a:pt x="44" y="224"/>
                    <a:pt x="47" y="229"/>
                    <a:pt x="52" y="231"/>
                  </a:cubicBezTo>
                  <a:cubicBezTo>
                    <a:pt x="53" y="245"/>
                    <a:pt x="65" y="256"/>
                    <a:pt x="80" y="256"/>
                  </a:cubicBezTo>
                  <a:cubicBezTo>
                    <a:pt x="94" y="256"/>
                    <a:pt x="106" y="245"/>
                    <a:pt x="108" y="231"/>
                  </a:cubicBezTo>
                  <a:cubicBezTo>
                    <a:pt x="112" y="229"/>
                    <a:pt x="116" y="224"/>
                    <a:pt x="116" y="218"/>
                  </a:cubicBezTo>
                  <a:cubicBezTo>
                    <a:pt x="116" y="214"/>
                    <a:pt x="114" y="211"/>
                    <a:pt x="112" y="208"/>
                  </a:cubicBezTo>
                  <a:cubicBezTo>
                    <a:pt x="114" y="206"/>
                    <a:pt x="116" y="202"/>
                    <a:pt x="116" y="198"/>
                  </a:cubicBezTo>
                  <a:cubicBezTo>
                    <a:pt x="116" y="194"/>
                    <a:pt x="114" y="190"/>
                    <a:pt x="110" y="187"/>
                  </a:cubicBezTo>
                  <a:cubicBezTo>
                    <a:pt x="113" y="185"/>
                    <a:pt x="116" y="182"/>
                    <a:pt x="118" y="179"/>
                  </a:cubicBezTo>
                  <a:cubicBezTo>
                    <a:pt x="118" y="179"/>
                    <a:pt x="118" y="179"/>
                    <a:pt x="118" y="179"/>
                  </a:cubicBezTo>
                  <a:cubicBezTo>
                    <a:pt x="149" y="120"/>
                    <a:pt x="149" y="120"/>
                    <a:pt x="149" y="120"/>
                  </a:cubicBezTo>
                  <a:cubicBezTo>
                    <a:pt x="149" y="120"/>
                    <a:pt x="149" y="120"/>
                    <a:pt x="149" y="120"/>
                  </a:cubicBezTo>
                  <a:cubicBezTo>
                    <a:pt x="156" y="109"/>
                    <a:pt x="160" y="95"/>
                    <a:pt x="160" y="80"/>
                  </a:cubicBezTo>
                  <a:close/>
                  <a:moveTo>
                    <a:pt x="80" y="248"/>
                  </a:moveTo>
                  <a:cubicBezTo>
                    <a:pt x="70" y="248"/>
                    <a:pt x="62" y="241"/>
                    <a:pt x="60" y="232"/>
                  </a:cubicBezTo>
                  <a:cubicBezTo>
                    <a:pt x="99" y="232"/>
                    <a:pt x="99" y="232"/>
                    <a:pt x="99" y="232"/>
                  </a:cubicBezTo>
                  <a:cubicBezTo>
                    <a:pt x="97" y="241"/>
                    <a:pt x="89" y="248"/>
                    <a:pt x="80" y="248"/>
                  </a:cubicBezTo>
                  <a:close/>
                  <a:moveTo>
                    <a:pt x="108" y="218"/>
                  </a:moveTo>
                  <a:cubicBezTo>
                    <a:pt x="108" y="222"/>
                    <a:pt x="105" y="224"/>
                    <a:pt x="102" y="224"/>
                  </a:cubicBezTo>
                  <a:cubicBezTo>
                    <a:pt x="58" y="224"/>
                    <a:pt x="58" y="224"/>
                    <a:pt x="58" y="224"/>
                  </a:cubicBezTo>
                  <a:cubicBezTo>
                    <a:pt x="55" y="224"/>
                    <a:pt x="52" y="222"/>
                    <a:pt x="52" y="218"/>
                  </a:cubicBezTo>
                  <a:cubicBezTo>
                    <a:pt x="52" y="215"/>
                    <a:pt x="55" y="212"/>
                    <a:pt x="58" y="212"/>
                  </a:cubicBezTo>
                  <a:cubicBezTo>
                    <a:pt x="102" y="212"/>
                    <a:pt x="102" y="212"/>
                    <a:pt x="102" y="212"/>
                  </a:cubicBezTo>
                  <a:cubicBezTo>
                    <a:pt x="105" y="212"/>
                    <a:pt x="108" y="215"/>
                    <a:pt x="108" y="218"/>
                  </a:cubicBezTo>
                  <a:close/>
                  <a:moveTo>
                    <a:pt x="102" y="192"/>
                  </a:moveTo>
                  <a:cubicBezTo>
                    <a:pt x="105" y="192"/>
                    <a:pt x="108" y="195"/>
                    <a:pt x="108" y="198"/>
                  </a:cubicBezTo>
                  <a:cubicBezTo>
                    <a:pt x="108" y="202"/>
                    <a:pt x="105" y="204"/>
                    <a:pt x="102" y="204"/>
                  </a:cubicBezTo>
                  <a:cubicBezTo>
                    <a:pt x="58" y="204"/>
                    <a:pt x="58" y="204"/>
                    <a:pt x="58" y="204"/>
                  </a:cubicBezTo>
                  <a:cubicBezTo>
                    <a:pt x="55" y="204"/>
                    <a:pt x="52" y="202"/>
                    <a:pt x="52" y="198"/>
                  </a:cubicBezTo>
                  <a:cubicBezTo>
                    <a:pt x="52" y="195"/>
                    <a:pt x="55" y="192"/>
                    <a:pt x="58" y="192"/>
                  </a:cubicBezTo>
                  <a:cubicBezTo>
                    <a:pt x="64" y="192"/>
                    <a:pt x="64" y="192"/>
                    <a:pt x="64" y="192"/>
                  </a:cubicBezTo>
                  <a:cubicBezTo>
                    <a:pt x="96" y="192"/>
                    <a:pt x="96" y="192"/>
                    <a:pt x="96" y="192"/>
                  </a:cubicBezTo>
                  <a:lnTo>
                    <a:pt x="102" y="192"/>
                  </a:lnTo>
                  <a:close/>
                  <a:moveTo>
                    <a:pt x="135" y="112"/>
                  </a:moveTo>
                  <a:cubicBezTo>
                    <a:pt x="135" y="113"/>
                    <a:pt x="135" y="114"/>
                    <a:pt x="134" y="114"/>
                  </a:cubicBezTo>
                  <a:cubicBezTo>
                    <a:pt x="104" y="170"/>
                    <a:pt x="104" y="170"/>
                    <a:pt x="104" y="170"/>
                  </a:cubicBezTo>
                  <a:cubicBezTo>
                    <a:pt x="104" y="170"/>
                    <a:pt x="103" y="171"/>
                    <a:pt x="103" y="172"/>
                  </a:cubicBezTo>
                  <a:cubicBezTo>
                    <a:pt x="102" y="174"/>
                    <a:pt x="100" y="176"/>
                    <a:pt x="96" y="176"/>
                  </a:cubicBezTo>
                  <a:cubicBezTo>
                    <a:pt x="100" y="129"/>
                    <a:pt x="100" y="129"/>
                    <a:pt x="100" y="129"/>
                  </a:cubicBezTo>
                  <a:cubicBezTo>
                    <a:pt x="100" y="126"/>
                    <a:pt x="98" y="124"/>
                    <a:pt x="96" y="124"/>
                  </a:cubicBezTo>
                  <a:cubicBezTo>
                    <a:pt x="94" y="124"/>
                    <a:pt x="92" y="126"/>
                    <a:pt x="92" y="128"/>
                  </a:cubicBezTo>
                  <a:cubicBezTo>
                    <a:pt x="88" y="176"/>
                    <a:pt x="88" y="176"/>
                    <a:pt x="88" y="176"/>
                  </a:cubicBezTo>
                  <a:cubicBezTo>
                    <a:pt x="72" y="176"/>
                    <a:pt x="72" y="176"/>
                    <a:pt x="72" y="176"/>
                  </a:cubicBezTo>
                  <a:cubicBezTo>
                    <a:pt x="68" y="128"/>
                    <a:pt x="68" y="128"/>
                    <a:pt x="68" y="128"/>
                  </a:cubicBezTo>
                  <a:cubicBezTo>
                    <a:pt x="68" y="126"/>
                    <a:pt x="66" y="124"/>
                    <a:pt x="64" y="124"/>
                  </a:cubicBezTo>
                  <a:cubicBezTo>
                    <a:pt x="61" y="124"/>
                    <a:pt x="60" y="126"/>
                    <a:pt x="60" y="129"/>
                  </a:cubicBezTo>
                  <a:cubicBezTo>
                    <a:pt x="64" y="176"/>
                    <a:pt x="64" y="176"/>
                    <a:pt x="64" y="176"/>
                  </a:cubicBezTo>
                  <a:cubicBezTo>
                    <a:pt x="60" y="176"/>
                    <a:pt x="58" y="174"/>
                    <a:pt x="57" y="172"/>
                  </a:cubicBezTo>
                  <a:cubicBezTo>
                    <a:pt x="56" y="171"/>
                    <a:pt x="56" y="171"/>
                    <a:pt x="56" y="170"/>
                  </a:cubicBezTo>
                  <a:cubicBezTo>
                    <a:pt x="26" y="114"/>
                    <a:pt x="26" y="114"/>
                    <a:pt x="26" y="114"/>
                  </a:cubicBezTo>
                  <a:cubicBezTo>
                    <a:pt x="25" y="114"/>
                    <a:pt x="25" y="113"/>
                    <a:pt x="25" y="112"/>
                  </a:cubicBezTo>
                  <a:cubicBezTo>
                    <a:pt x="19" y="103"/>
                    <a:pt x="16" y="91"/>
                    <a:pt x="16" y="80"/>
                  </a:cubicBezTo>
                  <a:cubicBezTo>
                    <a:pt x="16" y="45"/>
                    <a:pt x="45" y="16"/>
                    <a:pt x="80" y="16"/>
                  </a:cubicBezTo>
                  <a:cubicBezTo>
                    <a:pt x="115" y="16"/>
                    <a:pt x="144" y="45"/>
                    <a:pt x="144" y="80"/>
                  </a:cubicBezTo>
                  <a:cubicBezTo>
                    <a:pt x="144" y="91"/>
                    <a:pt x="141" y="103"/>
                    <a:pt x="135" y="1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840" b="1"/>
            </a:p>
          </p:txBody>
        </p:sp>
        <p:sp>
          <p:nvSpPr>
            <p:cNvPr id="14" name="Freeform 22">
              <a:extLst>
                <a:ext uri="{FF2B5EF4-FFF2-40B4-BE49-F238E27FC236}">
                  <a16:creationId xmlns:a16="http://schemas.microsoft.com/office/drawing/2014/main" id="{1333D2C7-8AD3-1F4C-97ED-5C5C02920F32}"/>
                </a:ext>
              </a:extLst>
            </p:cNvPr>
            <p:cNvSpPr>
              <a:spLocks/>
            </p:cNvSpPr>
            <p:nvPr/>
          </p:nvSpPr>
          <p:spPr bwMode="auto">
            <a:xfrm>
              <a:off x="6608763" y="642938"/>
              <a:ext cx="120650" cy="103188"/>
            </a:xfrm>
            <a:custGeom>
              <a:avLst/>
              <a:gdLst>
                <a:gd name="T0" fmla="*/ 35 w 41"/>
                <a:gd name="T1" fmla="*/ 1 h 35"/>
                <a:gd name="T2" fmla="*/ 1 w 41"/>
                <a:gd name="T3" fmla="*/ 29 h 35"/>
                <a:gd name="T4" fmla="*/ 3 w 41"/>
                <a:gd name="T5" fmla="*/ 35 h 35"/>
                <a:gd name="T6" fmla="*/ 4 w 41"/>
                <a:gd name="T7" fmla="*/ 35 h 35"/>
                <a:gd name="T8" fmla="*/ 8 w 41"/>
                <a:gd name="T9" fmla="*/ 33 h 35"/>
                <a:gd name="T10" fmla="*/ 37 w 41"/>
                <a:gd name="T11" fmla="*/ 9 h 35"/>
                <a:gd name="T12" fmla="*/ 40 w 41"/>
                <a:gd name="T13" fmla="*/ 4 h 35"/>
                <a:gd name="T14" fmla="*/ 35 w 41"/>
                <a:gd name="T15" fmla="*/ 1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" h="35">
                  <a:moveTo>
                    <a:pt x="35" y="1"/>
                  </a:moveTo>
                  <a:cubicBezTo>
                    <a:pt x="20" y="5"/>
                    <a:pt x="7" y="15"/>
                    <a:pt x="1" y="29"/>
                  </a:cubicBezTo>
                  <a:cubicBezTo>
                    <a:pt x="0" y="31"/>
                    <a:pt x="1" y="34"/>
                    <a:pt x="3" y="35"/>
                  </a:cubicBezTo>
                  <a:cubicBezTo>
                    <a:pt x="3" y="35"/>
                    <a:pt x="4" y="35"/>
                    <a:pt x="4" y="35"/>
                  </a:cubicBezTo>
                  <a:cubicBezTo>
                    <a:pt x="6" y="35"/>
                    <a:pt x="7" y="34"/>
                    <a:pt x="8" y="33"/>
                  </a:cubicBezTo>
                  <a:cubicBezTo>
                    <a:pt x="14" y="21"/>
                    <a:pt x="24" y="12"/>
                    <a:pt x="37" y="9"/>
                  </a:cubicBezTo>
                  <a:cubicBezTo>
                    <a:pt x="39" y="8"/>
                    <a:pt x="41" y="6"/>
                    <a:pt x="40" y="4"/>
                  </a:cubicBezTo>
                  <a:cubicBezTo>
                    <a:pt x="40" y="2"/>
                    <a:pt x="37" y="0"/>
                    <a:pt x="3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840" b="1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54501B82-1FF6-E6F3-6C24-BFECB1CDB467}"/>
              </a:ext>
            </a:extLst>
          </p:cNvPr>
          <p:cNvGrpSpPr/>
          <p:nvPr/>
        </p:nvGrpSpPr>
        <p:grpSpPr>
          <a:xfrm>
            <a:off x="2471788" y="1862438"/>
            <a:ext cx="632472" cy="426508"/>
            <a:chOff x="6716027" y="5411634"/>
            <a:chExt cx="583964" cy="393797"/>
          </a:xfrm>
          <a:solidFill>
            <a:schemeClr val="bg1"/>
          </a:solidFill>
        </p:grpSpPr>
        <p:sp>
          <p:nvSpPr>
            <p:cNvPr id="16" name="Freeform 17">
              <a:extLst>
                <a:ext uri="{FF2B5EF4-FFF2-40B4-BE49-F238E27FC236}">
                  <a16:creationId xmlns:a16="http://schemas.microsoft.com/office/drawing/2014/main" id="{9F0A7E2F-328E-5755-7863-CADC9908AF96}"/>
                </a:ext>
              </a:extLst>
            </p:cNvPr>
            <p:cNvSpPr>
              <a:spLocks noEditPoints="1"/>
            </p:cNvSpPr>
            <p:nvPr/>
          </p:nvSpPr>
          <p:spPr bwMode="auto">
            <a:xfrm rot="2700000">
              <a:off x="6832931" y="5294730"/>
              <a:ext cx="350155" cy="583964"/>
            </a:xfrm>
            <a:custGeom>
              <a:avLst/>
              <a:gdLst>
                <a:gd name="T0" fmla="*/ 50 w 184"/>
                <a:gd name="T1" fmla="*/ 310 h 310"/>
                <a:gd name="T2" fmla="*/ 32 w 184"/>
                <a:gd name="T3" fmla="*/ 282 h 310"/>
                <a:gd name="T4" fmla="*/ 10 w 184"/>
                <a:gd name="T5" fmla="*/ 199 h 310"/>
                <a:gd name="T6" fmla="*/ 39 w 184"/>
                <a:gd name="T7" fmla="*/ 171 h 310"/>
                <a:gd name="T8" fmla="*/ 30 w 184"/>
                <a:gd name="T9" fmla="*/ 116 h 310"/>
                <a:gd name="T10" fmla="*/ 36 w 184"/>
                <a:gd name="T11" fmla="*/ 73 h 310"/>
                <a:gd name="T12" fmla="*/ 36 w 184"/>
                <a:gd name="T13" fmla="*/ 72 h 310"/>
                <a:gd name="T14" fmla="*/ 92 w 184"/>
                <a:gd name="T15" fmla="*/ 0 h 310"/>
                <a:gd name="T16" fmla="*/ 148 w 184"/>
                <a:gd name="T17" fmla="*/ 72 h 310"/>
                <a:gd name="T18" fmla="*/ 148 w 184"/>
                <a:gd name="T19" fmla="*/ 73 h 310"/>
                <a:gd name="T20" fmla="*/ 155 w 184"/>
                <a:gd name="T21" fmla="*/ 116 h 310"/>
                <a:gd name="T22" fmla="*/ 145 w 184"/>
                <a:gd name="T23" fmla="*/ 171 h 310"/>
                <a:gd name="T24" fmla="*/ 174 w 184"/>
                <a:gd name="T25" fmla="*/ 199 h 310"/>
                <a:gd name="T26" fmla="*/ 153 w 184"/>
                <a:gd name="T27" fmla="*/ 282 h 310"/>
                <a:gd name="T28" fmla="*/ 134 w 184"/>
                <a:gd name="T29" fmla="*/ 310 h 310"/>
                <a:gd name="T30" fmla="*/ 134 w 184"/>
                <a:gd name="T31" fmla="*/ 276 h 310"/>
                <a:gd name="T32" fmla="*/ 118 w 184"/>
                <a:gd name="T33" fmla="*/ 239 h 310"/>
                <a:gd name="T34" fmla="*/ 118 w 184"/>
                <a:gd name="T35" fmla="*/ 240 h 310"/>
                <a:gd name="T36" fmla="*/ 115 w 184"/>
                <a:gd name="T37" fmla="*/ 246 h 310"/>
                <a:gd name="T38" fmla="*/ 108 w 184"/>
                <a:gd name="T39" fmla="*/ 245 h 310"/>
                <a:gd name="T40" fmla="*/ 76 w 184"/>
                <a:gd name="T41" fmla="*/ 245 h 310"/>
                <a:gd name="T42" fmla="*/ 69 w 184"/>
                <a:gd name="T43" fmla="*/ 246 h 310"/>
                <a:gd name="T44" fmla="*/ 66 w 184"/>
                <a:gd name="T45" fmla="*/ 240 h 310"/>
                <a:gd name="T46" fmla="*/ 66 w 184"/>
                <a:gd name="T47" fmla="*/ 239 h 310"/>
                <a:gd name="T48" fmla="*/ 50 w 184"/>
                <a:gd name="T49" fmla="*/ 276 h 310"/>
                <a:gd name="T50" fmla="*/ 50 w 184"/>
                <a:gd name="T51" fmla="*/ 310 h 310"/>
                <a:gd name="T52" fmla="*/ 55 w 184"/>
                <a:gd name="T53" fmla="*/ 79 h 310"/>
                <a:gd name="T54" fmla="*/ 50 w 184"/>
                <a:gd name="T55" fmla="*/ 116 h 310"/>
                <a:gd name="T56" fmla="*/ 61 w 184"/>
                <a:gd name="T57" fmla="*/ 174 h 310"/>
                <a:gd name="T58" fmla="*/ 64 w 184"/>
                <a:gd name="T59" fmla="*/ 184 h 310"/>
                <a:gd name="T60" fmla="*/ 54 w 184"/>
                <a:gd name="T61" fmla="*/ 187 h 310"/>
                <a:gd name="T62" fmla="*/ 29 w 184"/>
                <a:gd name="T63" fmla="*/ 205 h 310"/>
                <a:gd name="T64" fmla="*/ 36 w 184"/>
                <a:gd name="T65" fmla="*/ 247 h 310"/>
                <a:gd name="T66" fmla="*/ 65 w 184"/>
                <a:gd name="T67" fmla="*/ 215 h 310"/>
                <a:gd name="T68" fmla="*/ 74 w 184"/>
                <a:gd name="T69" fmla="*/ 209 h 310"/>
                <a:gd name="T70" fmla="*/ 79 w 184"/>
                <a:gd name="T71" fmla="*/ 219 h 310"/>
                <a:gd name="T72" fmla="*/ 82 w 184"/>
                <a:gd name="T73" fmla="*/ 225 h 310"/>
                <a:gd name="T74" fmla="*/ 103 w 184"/>
                <a:gd name="T75" fmla="*/ 225 h 310"/>
                <a:gd name="T76" fmla="*/ 105 w 184"/>
                <a:gd name="T77" fmla="*/ 219 h 310"/>
                <a:gd name="T78" fmla="*/ 110 w 184"/>
                <a:gd name="T79" fmla="*/ 209 h 310"/>
                <a:gd name="T80" fmla="*/ 120 w 184"/>
                <a:gd name="T81" fmla="*/ 215 h 310"/>
                <a:gd name="T82" fmla="*/ 148 w 184"/>
                <a:gd name="T83" fmla="*/ 247 h 310"/>
                <a:gd name="T84" fmla="*/ 155 w 184"/>
                <a:gd name="T85" fmla="*/ 205 h 310"/>
                <a:gd name="T86" fmla="*/ 130 w 184"/>
                <a:gd name="T87" fmla="*/ 187 h 310"/>
                <a:gd name="T88" fmla="*/ 120 w 184"/>
                <a:gd name="T89" fmla="*/ 184 h 310"/>
                <a:gd name="T90" fmla="*/ 123 w 184"/>
                <a:gd name="T91" fmla="*/ 174 h 310"/>
                <a:gd name="T92" fmla="*/ 135 w 184"/>
                <a:gd name="T93" fmla="*/ 116 h 310"/>
                <a:gd name="T94" fmla="*/ 129 w 184"/>
                <a:gd name="T95" fmla="*/ 79 h 310"/>
                <a:gd name="T96" fmla="*/ 92 w 184"/>
                <a:gd name="T97" fmla="*/ 21 h 310"/>
                <a:gd name="T98" fmla="*/ 55 w 184"/>
                <a:gd name="T99" fmla="*/ 79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84" h="310">
                  <a:moveTo>
                    <a:pt x="50" y="310"/>
                  </a:moveTo>
                  <a:cubicBezTo>
                    <a:pt x="32" y="282"/>
                    <a:pt x="32" y="282"/>
                    <a:pt x="32" y="282"/>
                  </a:cubicBezTo>
                  <a:cubicBezTo>
                    <a:pt x="28" y="276"/>
                    <a:pt x="0" y="230"/>
                    <a:pt x="10" y="199"/>
                  </a:cubicBezTo>
                  <a:cubicBezTo>
                    <a:pt x="14" y="187"/>
                    <a:pt x="24" y="178"/>
                    <a:pt x="39" y="171"/>
                  </a:cubicBezTo>
                  <a:cubicBezTo>
                    <a:pt x="33" y="151"/>
                    <a:pt x="30" y="132"/>
                    <a:pt x="30" y="116"/>
                  </a:cubicBezTo>
                  <a:cubicBezTo>
                    <a:pt x="30" y="102"/>
                    <a:pt x="32" y="87"/>
                    <a:pt x="36" y="73"/>
                  </a:cubicBezTo>
                  <a:cubicBezTo>
                    <a:pt x="36" y="72"/>
                    <a:pt x="36" y="72"/>
                    <a:pt x="36" y="72"/>
                  </a:cubicBezTo>
                  <a:cubicBezTo>
                    <a:pt x="50" y="35"/>
                    <a:pt x="77" y="0"/>
                    <a:pt x="92" y="0"/>
                  </a:cubicBezTo>
                  <a:cubicBezTo>
                    <a:pt x="107" y="0"/>
                    <a:pt x="134" y="35"/>
                    <a:pt x="148" y="72"/>
                  </a:cubicBezTo>
                  <a:cubicBezTo>
                    <a:pt x="148" y="73"/>
                    <a:pt x="148" y="73"/>
                    <a:pt x="148" y="73"/>
                  </a:cubicBezTo>
                  <a:cubicBezTo>
                    <a:pt x="152" y="87"/>
                    <a:pt x="155" y="102"/>
                    <a:pt x="155" y="116"/>
                  </a:cubicBezTo>
                  <a:cubicBezTo>
                    <a:pt x="155" y="132"/>
                    <a:pt x="152" y="151"/>
                    <a:pt x="145" y="171"/>
                  </a:cubicBezTo>
                  <a:cubicBezTo>
                    <a:pt x="160" y="178"/>
                    <a:pt x="170" y="187"/>
                    <a:pt x="174" y="199"/>
                  </a:cubicBezTo>
                  <a:cubicBezTo>
                    <a:pt x="184" y="230"/>
                    <a:pt x="156" y="276"/>
                    <a:pt x="153" y="282"/>
                  </a:cubicBezTo>
                  <a:cubicBezTo>
                    <a:pt x="134" y="310"/>
                    <a:pt x="134" y="310"/>
                    <a:pt x="134" y="310"/>
                  </a:cubicBezTo>
                  <a:cubicBezTo>
                    <a:pt x="134" y="276"/>
                    <a:pt x="134" y="276"/>
                    <a:pt x="134" y="276"/>
                  </a:cubicBezTo>
                  <a:cubicBezTo>
                    <a:pt x="134" y="262"/>
                    <a:pt x="128" y="248"/>
                    <a:pt x="118" y="239"/>
                  </a:cubicBezTo>
                  <a:cubicBezTo>
                    <a:pt x="118" y="239"/>
                    <a:pt x="118" y="239"/>
                    <a:pt x="118" y="240"/>
                  </a:cubicBezTo>
                  <a:cubicBezTo>
                    <a:pt x="115" y="246"/>
                    <a:pt x="115" y="246"/>
                    <a:pt x="115" y="246"/>
                  </a:cubicBezTo>
                  <a:cubicBezTo>
                    <a:pt x="108" y="245"/>
                    <a:pt x="108" y="245"/>
                    <a:pt x="108" y="245"/>
                  </a:cubicBezTo>
                  <a:cubicBezTo>
                    <a:pt x="98" y="245"/>
                    <a:pt x="87" y="245"/>
                    <a:pt x="76" y="245"/>
                  </a:cubicBezTo>
                  <a:cubicBezTo>
                    <a:pt x="69" y="246"/>
                    <a:pt x="69" y="246"/>
                    <a:pt x="69" y="246"/>
                  </a:cubicBezTo>
                  <a:cubicBezTo>
                    <a:pt x="66" y="240"/>
                    <a:pt x="66" y="240"/>
                    <a:pt x="66" y="240"/>
                  </a:cubicBezTo>
                  <a:cubicBezTo>
                    <a:pt x="66" y="239"/>
                    <a:pt x="66" y="239"/>
                    <a:pt x="66" y="239"/>
                  </a:cubicBezTo>
                  <a:cubicBezTo>
                    <a:pt x="56" y="249"/>
                    <a:pt x="50" y="262"/>
                    <a:pt x="50" y="276"/>
                  </a:cubicBezTo>
                  <a:lnTo>
                    <a:pt x="50" y="310"/>
                  </a:lnTo>
                  <a:close/>
                  <a:moveTo>
                    <a:pt x="55" y="79"/>
                  </a:moveTo>
                  <a:cubicBezTo>
                    <a:pt x="52" y="91"/>
                    <a:pt x="50" y="104"/>
                    <a:pt x="50" y="116"/>
                  </a:cubicBezTo>
                  <a:cubicBezTo>
                    <a:pt x="50" y="132"/>
                    <a:pt x="53" y="152"/>
                    <a:pt x="61" y="174"/>
                  </a:cubicBezTo>
                  <a:cubicBezTo>
                    <a:pt x="64" y="184"/>
                    <a:pt x="64" y="184"/>
                    <a:pt x="64" y="184"/>
                  </a:cubicBezTo>
                  <a:cubicBezTo>
                    <a:pt x="54" y="187"/>
                    <a:pt x="54" y="187"/>
                    <a:pt x="54" y="187"/>
                  </a:cubicBezTo>
                  <a:cubicBezTo>
                    <a:pt x="45" y="190"/>
                    <a:pt x="33" y="196"/>
                    <a:pt x="29" y="205"/>
                  </a:cubicBezTo>
                  <a:cubicBezTo>
                    <a:pt x="26" y="216"/>
                    <a:pt x="30" y="233"/>
                    <a:pt x="36" y="247"/>
                  </a:cubicBezTo>
                  <a:cubicBezTo>
                    <a:pt x="42" y="234"/>
                    <a:pt x="52" y="223"/>
                    <a:pt x="65" y="215"/>
                  </a:cubicBezTo>
                  <a:cubicBezTo>
                    <a:pt x="74" y="209"/>
                    <a:pt x="74" y="209"/>
                    <a:pt x="74" y="209"/>
                  </a:cubicBezTo>
                  <a:cubicBezTo>
                    <a:pt x="79" y="219"/>
                    <a:pt x="79" y="219"/>
                    <a:pt x="79" y="219"/>
                  </a:cubicBezTo>
                  <a:cubicBezTo>
                    <a:pt x="80" y="221"/>
                    <a:pt x="81" y="223"/>
                    <a:pt x="82" y="225"/>
                  </a:cubicBezTo>
                  <a:cubicBezTo>
                    <a:pt x="89" y="225"/>
                    <a:pt x="96" y="225"/>
                    <a:pt x="103" y="225"/>
                  </a:cubicBezTo>
                  <a:cubicBezTo>
                    <a:pt x="104" y="223"/>
                    <a:pt x="105" y="221"/>
                    <a:pt x="105" y="219"/>
                  </a:cubicBezTo>
                  <a:cubicBezTo>
                    <a:pt x="110" y="209"/>
                    <a:pt x="110" y="209"/>
                    <a:pt x="110" y="209"/>
                  </a:cubicBezTo>
                  <a:cubicBezTo>
                    <a:pt x="120" y="215"/>
                    <a:pt x="120" y="215"/>
                    <a:pt x="120" y="215"/>
                  </a:cubicBezTo>
                  <a:cubicBezTo>
                    <a:pt x="133" y="223"/>
                    <a:pt x="142" y="234"/>
                    <a:pt x="148" y="247"/>
                  </a:cubicBezTo>
                  <a:cubicBezTo>
                    <a:pt x="154" y="233"/>
                    <a:pt x="159" y="216"/>
                    <a:pt x="155" y="205"/>
                  </a:cubicBezTo>
                  <a:cubicBezTo>
                    <a:pt x="152" y="196"/>
                    <a:pt x="140" y="190"/>
                    <a:pt x="130" y="187"/>
                  </a:cubicBezTo>
                  <a:cubicBezTo>
                    <a:pt x="120" y="184"/>
                    <a:pt x="120" y="184"/>
                    <a:pt x="120" y="184"/>
                  </a:cubicBezTo>
                  <a:cubicBezTo>
                    <a:pt x="123" y="174"/>
                    <a:pt x="123" y="174"/>
                    <a:pt x="123" y="174"/>
                  </a:cubicBezTo>
                  <a:cubicBezTo>
                    <a:pt x="131" y="152"/>
                    <a:pt x="135" y="132"/>
                    <a:pt x="135" y="116"/>
                  </a:cubicBezTo>
                  <a:cubicBezTo>
                    <a:pt x="135" y="104"/>
                    <a:pt x="133" y="91"/>
                    <a:pt x="129" y="79"/>
                  </a:cubicBezTo>
                  <a:cubicBezTo>
                    <a:pt x="117" y="47"/>
                    <a:pt x="99" y="26"/>
                    <a:pt x="92" y="21"/>
                  </a:cubicBezTo>
                  <a:cubicBezTo>
                    <a:pt x="85" y="26"/>
                    <a:pt x="67" y="47"/>
                    <a:pt x="55" y="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8">
              <a:extLst>
                <a:ext uri="{FF2B5EF4-FFF2-40B4-BE49-F238E27FC236}">
                  <a16:creationId xmlns:a16="http://schemas.microsoft.com/office/drawing/2014/main" id="{FC0CCBD3-6AB7-3B10-BF15-2960A6BB5AE7}"/>
                </a:ext>
              </a:extLst>
            </p:cNvPr>
            <p:cNvSpPr>
              <a:spLocks noEditPoints="1"/>
            </p:cNvSpPr>
            <p:nvPr/>
          </p:nvSpPr>
          <p:spPr bwMode="auto">
            <a:xfrm rot="2700000">
              <a:off x="6989613" y="5483631"/>
              <a:ext cx="121724" cy="120112"/>
            </a:xfrm>
            <a:custGeom>
              <a:avLst/>
              <a:gdLst>
                <a:gd name="T0" fmla="*/ 32 w 64"/>
                <a:gd name="T1" fmla="*/ 64 h 64"/>
                <a:gd name="T2" fmla="*/ 0 w 64"/>
                <a:gd name="T3" fmla="*/ 32 h 64"/>
                <a:gd name="T4" fmla="*/ 32 w 64"/>
                <a:gd name="T5" fmla="*/ 0 h 64"/>
                <a:gd name="T6" fmla="*/ 64 w 64"/>
                <a:gd name="T7" fmla="*/ 32 h 64"/>
                <a:gd name="T8" fmla="*/ 32 w 64"/>
                <a:gd name="T9" fmla="*/ 64 h 64"/>
                <a:gd name="T10" fmla="*/ 32 w 64"/>
                <a:gd name="T11" fmla="*/ 12 h 64"/>
                <a:gd name="T12" fmla="*/ 12 w 64"/>
                <a:gd name="T13" fmla="*/ 32 h 64"/>
                <a:gd name="T14" fmla="*/ 32 w 64"/>
                <a:gd name="T15" fmla="*/ 52 h 64"/>
                <a:gd name="T16" fmla="*/ 52 w 64"/>
                <a:gd name="T17" fmla="*/ 32 h 64"/>
                <a:gd name="T18" fmla="*/ 32 w 64"/>
                <a:gd name="T19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32" y="64"/>
                  </a:moveTo>
                  <a:cubicBezTo>
                    <a:pt x="14" y="64"/>
                    <a:pt x="0" y="50"/>
                    <a:pt x="0" y="32"/>
                  </a:cubicBezTo>
                  <a:cubicBezTo>
                    <a:pt x="0" y="14"/>
                    <a:pt x="14" y="0"/>
                    <a:pt x="32" y="0"/>
                  </a:cubicBezTo>
                  <a:cubicBezTo>
                    <a:pt x="50" y="0"/>
                    <a:pt x="64" y="14"/>
                    <a:pt x="64" y="32"/>
                  </a:cubicBezTo>
                  <a:cubicBezTo>
                    <a:pt x="64" y="50"/>
                    <a:pt x="50" y="64"/>
                    <a:pt x="32" y="64"/>
                  </a:cubicBezTo>
                  <a:close/>
                  <a:moveTo>
                    <a:pt x="32" y="12"/>
                  </a:moveTo>
                  <a:cubicBezTo>
                    <a:pt x="21" y="12"/>
                    <a:pt x="12" y="21"/>
                    <a:pt x="12" y="32"/>
                  </a:cubicBezTo>
                  <a:cubicBezTo>
                    <a:pt x="12" y="43"/>
                    <a:pt x="21" y="52"/>
                    <a:pt x="32" y="52"/>
                  </a:cubicBezTo>
                  <a:cubicBezTo>
                    <a:pt x="43" y="52"/>
                    <a:pt x="52" y="43"/>
                    <a:pt x="52" y="32"/>
                  </a:cubicBezTo>
                  <a:cubicBezTo>
                    <a:pt x="52" y="21"/>
                    <a:pt x="43" y="12"/>
                    <a:pt x="3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9">
              <a:extLst>
                <a:ext uri="{FF2B5EF4-FFF2-40B4-BE49-F238E27FC236}">
                  <a16:creationId xmlns:a16="http://schemas.microsoft.com/office/drawing/2014/main" id="{E7449247-53CC-B245-F6F8-6CB0EA3D7D03}"/>
                </a:ext>
              </a:extLst>
            </p:cNvPr>
            <p:cNvSpPr>
              <a:spLocks noEditPoints="1"/>
            </p:cNvSpPr>
            <p:nvPr/>
          </p:nvSpPr>
          <p:spPr bwMode="auto">
            <a:xfrm rot="2700000">
              <a:off x="6790966" y="5660018"/>
              <a:ext cx="112239" cy="178587"/>
            </a:xfrm>
            <a:custGeom>
              <a:avLst/>
              <a:gdLst>
                <a:gd name="T0" fmla="*/ 29 w 59"/>
                <a:gd name="T1" fmla="*/ 95 h 95"/>
                <a:gd name="T2" fmla="*/ 24 w 59"/>
                <a:gd name="T3" fmla="*/ 85 h 95"/>
                <a:gd name="T4" fmla="*/ 0 w 59"/>
                <a:gd name="T5" fmla="*/ 26 h 95"/>
                <a:gd name="T6" fmla="*/ 29 w 59"/>
                <a:gd name="T7" fmla="*/ 0 h 95"/>
                <a:gd name="T8" fmla="*/ 59 w 59"/>
                <a:gd name="T9" fmla="*/ 26 h 95"/>
                <a:gd name="T10" fmla="*/ 34 w 59"/>
                <a:gd name="T11" fmla="*/ 85 h 95"/>
                <a:gd name="T12" fmla="*/ 29 w 59"/>
                <a:gd name="T13" fmla="*/ 95 h 95"/>
                <a:gd name="T14" fmla="*/ 29 w 59"/>
                <a:gd name="T15" fmla="*/ 12 h 95"/>
                <a:gd name="T16" fmla="*/ 12 w 59"/>
                <a:gd name="T17" fmla="*/ 26 h 95"/>
                <a:gd name="T18" fmla="*/ 29 w 59"/>
                <a:gd name="T19" fmla="*/ 69 h 95"/>
                <a:gd name="T20" fmla="*/ 47 w 59"/>
                <a:gd name="T21" fmla="*/ 26 h 95"/>
                <a:gd name="T22" fmla="*/ 29 w 59"/>
                <a:gd name="T23" fmla="*/ 12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" h="95">
                  <a:moveTo>
                    <a:pt x="29" y="95"/>
                  </a:moveTo>
                  <a:cubicBezTo>
                    <a:pt x="24" y="85"/>
                    <a:pt x="24" y="85"/>
                    <a:pt x="24" y="85"/>
                  </a:cubicBezTo>
                  <a:cubicBezTo>
                    <a:pt x="20" y="77"/>
                    <a:pt x="0" y="38"/>
                    <a:pt x="0" y="26"/>
                  </a:cubicBezTo>
                  <a:cubicBezTo>
                    <a:pt x="0" y="12"/>
                    <a:pt x="13" y="0"/>
                    <a:pt x="29" y="0"/>
                  </a:cubicBezTo>
                  <a:cubicBezTo>
                    <a:pt x="45" y="0"/>
                    <a:pt x="59" y="12"/>
                    <a:pt x="59" y="26"/>
                  </a:cubicBezTo>
                  <a:cubicBezTo>
                    <a:pt x="59" y="38"/>
                    <a:pt x="39" y="77"/>
                    <a:pt x="34" y="85"/>
                  </a:cubicBezTo>
                  <a:lnTo>
                    <a:pt x="29" y="95"/>
                  </a:lnTo>
                  <a:close/>
                  <a:moveTo>
                    <a:pt x="29" y="12"/>
                  </a:moveTo>
                  <a:cubicBezTo>
                    <a:pt x="19" y="12"/>
                    <a:pt x="12" y="18"/>
                    <a:pt x="12" y="26"/>
                  </a:cubicBezTo>
                  <a:cubicBezTo>
                    <a:pt x="12" y="31"/>
                    <a:pt x="20" y="50"/>
                    <a:pt x="29" y="69"/>
                  </a:cubicBezTo>
                  <a:cubicBezTo>
                    <a:pt x="38" y="50"/>
                    <a:pt x="47" y="31"/>
                    <a:pt x="47" y="26"/>
                  </a:cubicBezTo>
                  <a:cubicBezTo>
                    <a:pt x="47" y="18"/>
                    <a:pt x="39" y="12"/>
                    <a:pt x="29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B376CAA6-3895-E192-EF78-C4C2F1B7D5D4}"/>
              </a:ext>
            </a:extLst>
          </p:cNvPr>
          <p:cNvGrpSpPr>
            <a:grpSpLocks noChangeAspect="1"/>
          </p:cNvGrpSpPr>
          <p:nvPr/>
        </p:nvGrpSpPr>
        <p:grpSpPr>
          <a:xfrm>
            <a:off x="2555167" y="3381079"/>
            <a:ext cx="433084" cy="412235"/>
            <a:chOff x="6719888" y="887413"/>
            <a:chExt cx="492125" cy="468312"/>
          </a:xfrm>
          <a:solidFill>
            <a:schemeClr val="bg1"/>
          </a:solidFill>
        </p:grpSpPr>
        <p:sp>
          <p:nvSpPr>
            <p:cNvPr id="20" name="Freeform 26">
              <a:extLst>
                <a:ext uri="{FF2B5EF4-FFF2-40B4-BE49-F238E27FC236}">
                  <a16:creationId xmlns:a16="http://schemas.microsoft.com/office/drawing/2014/main" id="{460B171E-F91D-29EA-391D-BBD17E51D53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19888" y="887413"/>
              <a:ext cx="492125" cy="468312"/>
            </a:xfrm>
            <a:custGeom>
              <a:avLst/>
              <a:gdLst>
                <a:gd name="T0" fmla="*/ 117 w 128"/>
                <a:gd name="T1" fmla="*/ 0 h 122"/>
                <a:gd name="T2" fmla="*/ 11 w 128"/>
                <a:gd name="T3" fmla="*/ 0 h 122"/>
                <a:gd name="T4" fmla="*/ 0 w 128"/>
                <a:gd name="T5" fmla="*/ 11 h 122"/>
                <a:gd name="T6" fmla="*/ 0 w 128"/>
                <a:gd name="T7" fmla="*/ 93 h 122"/>
                <a:gd name="T8" fmla="*/ 11 w 128"/>
                <a:gd name="T9" fmla="*/ 104 h 122"/>
                <a:gd name="T10" fmla="*/ 43 w 128"/>
                <a:gd name="T11" fmla="*/ 104 h 122"/>
                <a:gd name="T12" fmla="*/ 38 w 128"/>
                <a:gd name="T13" fmla="*/ 110 h 122"/>
                <a:gd name="T14" fmla="*/ 35 w 128"/>
                <a:gd name="T15" fmla="*/ 113 h 122"/>
                <a:gd name="T16" fmla="*/ 34 w 128"/>
                <a:gd name="T17" fmla="*/ 118 h 122"/>
                <a:gd name="T18" fmla="*/ 42 w 128"/>
                <a:gd name="T19" fmla="*/ 122 h 122"/>
                <a:gd name="T20" fmla="*/ 86 w 128"/>
                <a:gd name="T21" fmla="*/ 122 h 122"/>
                <a:gd name="T22" fmla="*/ 94 w 128"/>
                <a:gd name="T23" fmla="*/ 118 h 122"/>
                <a:gd name="T24" fmla="*/ 94 w 128"/>
                <a:gd name="T25" fmla="*/ 113 h 122"/>
                <a:gd name="T26" fmla="*/ 91 w 128"/>
                <a:gd name="T27" fmla="*/ 110 h 122"/>
                <a:gd name="T28" fmla="*/ 85 w 128"/>
                <a:gd name="T29" fmla="*/ 104 h 122"/>
                <a:gd name="T30" fmla="*/ 117 w 128"/>
                <a:gd name="T31" fmla="*/ 104 h 122"/>
                <a:gd name="T32" fmla="*/ 128 w 128"/>
                <a:gd name="T33" fmla="*/ 93 h 122"/>
                <a:gd name="T34" fmla="*/ 128 w 128"/>
                <a:gd name="T35" fmla="*/ 11 h 122"/>
                <a:gd name="T36" fmla="*/ 117 w 128"/>
                <a:gd name="T37" fmla="*/ 0 h 122"/>
                <a:gd name="T38" fmla="*/ 88 w 128"/>
                <a:gd name="T39" fmla="*/ 113 h 122"/>
                <a:gd name="T40" fmla="*/ 90 w 128"/>
                <a:gd name="T41" fmla="*/ 116 h 122"/>
                <a:gd name="T42" fmla="*/ 90 w 128"/>
                <a:gd name="T43" fmla="*/ 116 h 122"/>
                <a:gd name="T44" fmla="*/ 86 w 128"/>
                <a:gd name="T45" fmla="*/ 118 h 122"/>
                <a:gd name="T46" fmla="*/ 42 w 128"/>
                <a:gd name="T47" fmla="*/ 118 h 122"/>
                <a:gd name="T48" fmla="*/ 38 w 128"/>
                <a:gd name="T49" fmla="*/ 116 h 122"/>
                <a:gd name="T50" fmla="*/ 38 w 128"/>
                <a:gd name="T51" fmla="*/ 116 h 122"/>
                <a:gd name="T52" fmla="*/ 38 w 128"/>
                <a:gd name="T53" fmla="*/ 116 h 122"/>
                <a:gd name="T54" fmla="*/ 40 w 128"/>
                <a:gd name="T55" fmla="*/ 113 h 122"/>
                <a:gd name="T56" fmla="*/ 48 w 128"/>
                <a:gd name="T57" fmla="*/ 104 h 122"/>
                <a:gd name="T58" fmla="*/ 80 w 128"/>
                <a:gd name="T59" fmla="*/ 104 h 122"/>
                <a:gd name="T60" fmla="*/ 88 w 128"/>
                <a:gd name="T61" fmla="*/ 113 h 122"/>
                <a:gd name="T62" fmla="*/ 120 w 128"/>
                <a:gd name="T63" fmla="*/ 93 h 122"/>
                <a:gd name="T64" fmla="*/ 117 w 128"/>
                <a:gd name="T65" fmla="*/ 96 h 122"/>
                <a:gd name="T66" fmla="*/ 11 w 128"/>
                <a:gd name="T67" fmla="*/ 96 h 122"/>
                <a:gd name="T68" fmla="*/ 8 w 128"/>
                <a:gd name="T69" fmla="*/ 93 h 122"/>
                <a:gd name="T70" fmla="*/ 8 w 128"/>
                <a:gd name="T71" fmla="*/ 11 h 122"/>
                <a:gd name="T72" fmla="*/ 11 w 128"/>
                <a:gd name="T73" fmla="*/ 8 h 122"/>
                <a:gd name="T74" fmla="*/ 117 w 128"/>
                <a:gd name="T75" fmla="*/ 8 h 122"/>
                <a:gd name="T76" fmla="*/ 120 w 128"/>
                <a:gd name="T77" fmla="*/ 11 h 122"/>
                <a:gd name="T78" fmla="*/ 120 w 128"/>
                <a:gd name="T79" fmla="*/ 93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8" h="122">
                  <a:moveTo>
                    <a:pt x="117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99"/>
                    <a:pt x="5" y="104"/>
                    <a:pt x="11" y="104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42" y="106"/>
                    <a:pt x="39" y="109"/>
                    <a:pt x="38" y="110"/>
                  </a:cubicBezTo>
                  <a:cubicBezTo>
                    <a:pt x="36" y="111"/>
                    <a:pt x="35" y="112"/>
                    <a:pt x="35" y="113"/>
                  </a:cubicBezTo>
                  <a:cubicBezTo>
                    <a:pt x="34" y="114"/>
                    <a:pt x="33" y="116"/>
                    <a:pt x="34" y="118"/>
                  </a:cubicBezTo>
                  <a:cubicBezTo>
                    <a:pt x="35" y="120"/>
                    <a:pt x="37" y="122"/>
                    <a:pt x="42" y="122"/>
                  </a:cubicBezTo>
                  <a:cubicBezTo>
                    <a:pt x="86" y="122"/>
                    <a:pt x="86" y="122"/>
                    <a:pt x="86" y="122"/>
                  </a:cubicBezTo>
                  <a:cubicBezTo>
                    <a:pt x="91" y="122"/>
                    <a:pt x="93" y="120"/>
                    <a:pt x="94" y="118"/>
                  </a:cubicBezTo>
                  <a:cubicBezTo>
                    <a:pt x="95" y="116"/>
                    <a:pt x="95" y="114"/>
                    <a:pt x="94" y="113"/>
                  </a:cubicBezTo>
                  <a:cubicBezTo>
                    <a:pt x="93" y="112"/>
                    <a:pt x="92" y="111"/>
                    <a:pt x="91" y="110"/>
                  </a:cubicBezTo>
                  <a:cubicBezTo>
                    <a:pt x="89" y="109"/>
                    <a:pt x="87" y="106"/>
                    <a:pt x="85" y="104"/>
                  </a:cubicBezTo>
                  <a:cubicBezTo>
                    <a:pt x="117" y="104"/>
                    <a:pt x="117" y="104"/>
                    <a:pt x="117" y="104"/>
                  </a:cubicBezTo>
                  <a:cubicBezTo>
                    <a:pt x="123" y="104"/>
                    <a:pt x="128" y="99"/>
                    <a:pt x="128" y="93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28" y="5"/>
                    <a:pt x="123" y="0"/>
                    <a:pt x="117" y="0"/>
                  </a:cubicBezTo>
                  <a:close/>
                  <a:moveTo>
                    <a:pt x="88" y="113"/>
                  </a:moveTo>
                  <a:cubicBezTo>
                    <a:pt x="89" y="114"/>
                    <a:pt x="90" y="115"/>
                    <a:pt x="90" y="116"/>
                  </a:cubicBezTo>
                  <a:cubicBezTo>
                    <a:pt x="90" y="116"/>
                    <a:pt x="91" y="116"/>
                    <a:pt x="90" y="116"/>
                  </a:cubicBezTo>
                  <a:cubicBezTo>
                    <a:pt x="90" y="117"/>
                    <a:pt x="88" y="118"/>
                    <a:pt x="86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0" y="118"/>
                    <a:pt x="38" y="117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5"/>
                    <a:pt x="39" y="114"/>
                    <a:pt x="40" y="113"/>
                  </a:cubicBezTo>
                  <a:cubicBezTo>
                    <a:pt x="44" y="109"/>
                    <a:pt x="47" y="106"/>
                    <a:pt x="48" y="104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82" y="106"/>
                    <a:pt x="84" y="109"/>
                    <a:pt x="88" y="113"/>
                  </a:cubicBezTo>
                  <a:close/>
                  <a:moveTo>
                    <a:pt x="120" y="93"/>
                  </a:moveTo>
                  <a:cubicBezTo>
                    <a:pt x="120" y="95"/>
                    <a:pt x="119" y="96"/>
                    <a:pt x="117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9" y="96"/>
                    <a:pt x="8" y="95"/>
                    <a:pt x="8" y="93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9"/>
                    <a:pt x="9" y="8"/>
                    <a:pt x="11" y="8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9" y="8"/>
                    <a:pt x="120" y="9"/>
                    <a:pt x="120" y="11"/>
                  </a:cubicBezTo>
                  <a:lnTo>
                    <a:pt x="120" y="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</a:endParaRPr>
            </a:p>
          </p:txBody>
        </p:sp>
        <p:sp>
          <p:nvSpPr>
            <p:cNvPr id="21" name="Freeform 27">
              <a:extLst>
                <a:ext uri="{FF2B5EF4-FFF2-40B4-BE49-F238E27FC236}">
                  <a16:creationId xmlns:a16="http://schemas.microsoft.com/office/drawing/2014/main" id="{5BDF1BE2-FDE4-6390-68EE-8699CC6603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81801" y="947738"/>
              <a:ext cx="368300" cy="247650"/>
            </a:xfrm>
            <a:custGeom>
              <a:avLst/>
              <a:gdLst>
                <a:gd name="T0" fmla="*/ 89 w 96"/>
                <a:gd name="T1" fmla="*/ 0 h 64"/>
                <a:gd name="T2" fmla="*/ 7 w 96"/>
                <a:gd name="T3" fmla="*/ 0 h 64"/>
                <a:gd name="T4" fmla="*/ 0 w 96"/>
                <a:gd name="T5" fmla="*/ 7 h 64"/>
                <a:gd name="T6" fmla="*/ 0 w 96"/>
                <a:gd name="T7" fmla="*/ 57 h 64"/>
                <a:gd name="T8" fmla="*/ 7 w 96"/>
                <a:gd name="T9" fmla="*/ 64 h 64"/>
                <a:gd name="T10" fmla="*/ 89 w 96"/>
                <a:gd name="T11" fmla="*/ 64 h 64"/>
                <a:gd name="T12" fmla="*/ 96 w 96"/>
                <a:gd name="T13" fmla="*/ 57 h 64"/>
                <a:gd name="T14" fmla="*/ 96 w 96"/>
                <a:gd name="T15" fmla="*/ 7 h 64"/>
                <a:gd name="T16" fmla="*/ 89 w 96"/>
                <a:gd name="T17" fmla="*/ 0 h 64"/>
                <a:gd name="T18" fmla="*/ 92 w 96"/>
                <a:gd name="T19" fmla="*/ 57 h 64"/>
                <a:gd name="T20" fmla="*/ 89 w 96"/>
                <a:gd name="T21" fmla="*/ 60 h 64"/>
                <a:gd name="T22" fmla="*/ 7 w 96"/>
                <a:gd name="T23" fmla="*/ 60 h 64"/>
                <a:gd name="T24" fmla="*/ 4 w 96"/>
                <a:gd name="T25" fmla="*/ 57 h 64"/>
                <a:gd name="T26" fmla="*/ 4 w 96"/>
                <a:gd name="T27" fmla="*/ 7 h 64"/>
                <a:gd name="T28" fmla="*/ 7 w 96"/>
                <a:gd name="T29" fmla="*/ 4 h 64"/>
                <a:gd name="T30" fmla="*/ 89 w 96"/>
                <a:gd name="T31" fmla="*/ 4 h 64"/>
                <a:gd name="T32" fmla="*/ 92 w 96"/>
                <a:gd name="T33" fmla="*/ 7 h 64"/>
                <a:gd name="T34" fmla="*/ 92 w 96"/>
                <a:gd name="T35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6" h="64">
                  <a:moveTo>
                    <a:pt x="89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1"/>
                    <a:pt x="3" y="64"/>
                    <a:pt x="7" y="64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93" y="64"/>
                    <a:pt x="96" y="61"/>
                    <a:pt x="96" y="5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3"/>
                    <a:pt x="93" y="0"/>
                    <a:pt x="89" y="0"/>
                  </a:cubicBezTo>
                  <a:close/>
                  <a:moveTo>
                    <a:pt x="92" y="57"/>
                  </a:moveTo>
                  <a:cubicBezTo>
                    <a:pt x="92" y="59"/>
                    <a:pt x="91" y="60"/>
                    <a:pt x="89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5" y="60"/>
                    <a:pt x="4" y="59"/>
                    <a:pt x="4" y="5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5" y="4"/>
                    <a:pt x="7" y="4"/>
                  </a:cubicBezTo>
                  <a:cubicBezTo>
                    <a:pt x="89" y="4"/>
                    <a:pt x="89" y="4"/>
                    <a:pt x="89" y="4"/>
                  </a:cubicBezTo>
                  <a:cubicBezTo>
                    <a:pt x="91" y="4"/>
                    <a:pt x="92" y="5"/>
                    <a:pt x="92" y="7"/>
                  </a:cubicBezTo>
                  <a:lnTo>
                    <a:pt x="92" y="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</a:endParaRPr>
            </a:p>
          </p:txBody>
        </p:sp>
        <p:sp>
          <p:nvSpPr>
            <p:cNvPr id="22" name="Freeform 28">
              <a:extLst>
                <a:ext uri="{FF2B5EF4-FFF2-40B4-BE49-F238E27FC236}">
                  <a16:creationId xmlns:a16="http://schemas.microsoft.com/office/drawing/2014/main" id="{13F14D51-719D-AE2D-14A5-9090B910FF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43726" y="1201738"/>
              <a:ext cx="46038" cy="47625"/>
            </a:xfrm>
            <a:custGeom>
              <a:avLst/>
              <a:gdLst>
                <a:gd name="T0" fmla="*/ 6 w 12"/>
                <a:gd name="T1" fmla="*/ 0 h 12"/>
                <a:gd name="T2" fmla="*/ 0 w 12"/>
                <a:gd name="T3" fmla="*/ 6 h 12"/>
                <a:gd name="T4" fmla="*/ 6 w 12"/>
                <a:gd name="T5" fmla="*/ 12 h 12"/>
                <a:gd name="T6" fmla="*/ 12 w 12"/>
                <a:gd name="T7" fmla="*/ 6 h 12"/>
                <a:gd name="T8" fmla="*/ 6 w 12"/>
                <a:gd name="T9" fmla="*/ 0 h 12"/>
                <a:gd name="T10" fmla="*/ 6 w 12"/>
                <a:gd name="T11" fmla="*/ 8 h 12"/>
                <a:gd name="T12" fmla="*/ 4 w 12"/>
                <a:gd name="T13" fmla="*/ 6 h 12"/>
                <a:gd name="T14" fmla="*/ 6 w 12"/>
                <a:gd name="T15" fmla="*/ 4 h 12"/>
                <a:gd name="T16" fmla="*/ 8 w 12"/>
                <a:gd name="T17" fmla="*/ 6 h 12"/>
                <a:gd name="T18" fmla="*/ 6 w 12"/>
                <a:gd name="T1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9" y="12"/>
                    <a:pt x="12" y="9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lose/>
                  <a:moveTo>
                    <a:pt x="6" y="8"/>
                  </a:moveTo>
                  <a:cubicBezTo>
                    <a:pt x="5" y="8"/>
                    <a:pt x="4" y="7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7" y="4"/>
                    <a:pt x="8" y="5"/>
                    <a:pt x="8" y="6"/>
                  </a:cubicBezTo>
                  <a:cubicBezTo>
                    <a:pt x="8" y="7"/>
                    <a:pt x="7" y="8"/>
                    <a:pt x="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</a:endParaRPr>
            </a:p>
          </p:txBody>
        </p:sp>
        <p:sp>
          <p:nvSpPr>
            <p:cNvPr id="23" name="Freeform 29">
              <a:extLst>
                <a:ext uri="{FF2B5EF4-FFF2-40B4-BE49-F238E27FC236}">
                  <a16:creationId xmlns:a16="http://schemas.microsoft.com/office/drawing/2014/main" id="{AC8E84B7-5AE2-2598-DFAB-4D9886521184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1813" y="1044575"/>
              <a:ext cx="61913" cy="65087"/>
            </a:xfrm>
            <a:custGeom>
              <a:avLst/>
              <a:gdLst>
                <a:gd name="T0" fmla="*/ 0 w 39"/>
                <a:gd name="T1" fmla="*/ 24 h 41"/>
                <a:gd name="T2" fmla="*/ 39 w 39"/>
                <a:gd name="T3" fmla="*/ 41 h 41"/>
                <a:gd name="T4" fmla="*/ 39 w 39"/>
                <a:gd name="T5" fmla="*/ 32 h 41"/>
                <a:gd name="T6" fmla="*/ 12 w 39"/>
                <a:gd name="T7" fmla="*/ 19 h 41"/>
                <a:gd name="T8" fmla="*/ 39 w 39"/>
                <a:gd name="T9" fmla="*/ 10 h 41"/>
                <a:gd name="T10" fmla="*/ 39 w 39"/>
                <a:gd name="T11" fmla="*/ 0 h 41"/>
                <a:gd name="T12" fmla="*/ 0 w 39"/>
                <a:gd name="T13" fmla="*/ 17 h 41"/>
                <a:gd name="T14" fmla="*/ 0 w 39"/>
                <a:gd name="T15" fmla="*/ 2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41">
                  <a:moveTo>
                    <a:pt x="0" y="24"/>
                  </a:moveTo>
                  <a:lnTo>
                    <a:pt x="39" y="41"/>
                  </a:lnTo>
                  <a:lnTo>
                    <a:pt x="39" y="32"/>
                  </a:lnTo>
                  <a:lnTo>
                    <a:pt x="12" y="19"/>
                  </a:lnTo>
                  <a:lnTo>
                    <a:pt x="39" y="10"/>
                  </a:lnTo>
                  <a:lnTo>
                    <a:pt x="39" y="0"/>
                  </a:lnTo>
                  <a:lnTo>
                    <a:pt x="0" y="17"/>
                  </a:lnTo>
                  <a:lnTo>
                    <a:pt x="0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30">
              <a:extLst>
                <a:ext uri="{FF2B5EF4-FFF2-40B4-BE49-F238E27FC236}">
                  <a16:creationId xmlns:a16="http://schemas.microsoft.com/office/drawing/2014/main" id="{36F37AC4-CC5E-A939-BE4B-A2B537522CA0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0076" y="1033463"/>
              <a:ext cx="31750" cy="87312"/>
            </a:xfrm>
            <a:custGeom>
              <a:avLst/>
              <a:gdLst>
                <a:gd name="T0" fmla="*/ 7 w 8"/>
                <a:gd name="T1" fmla="*/ 0 h 23"/>
                <a:gd name="T2" fmla="*/ 5 w 8"/>
                <a:gd name="T3" fmla="*/ 0 h 23"/>
                <a:gd name="T4" fmla="*/ 5 w 8"/>
                <a:gd name="T5" fmla="*/ 2 h 23"/>
                <a:gd name="T6" fmla="*/ 0 w 8"/>
                <a:gd name="T7" fmla="*/ 20 h 23"/>
                <a:gd name="T8" fmla="*/ 0 w 8"/>
                <a:gd name="T9" fmla="*/ 22 h 23"/>
                <a:gd name="T10" fmla="*/ 2 w 8"/>
                <a:gd name="T11" fmla="*/ 23 h 23"/>
                <a:gd name="T12" fmla="*/ 3 w 8"/>
                <a:gd name="T13" fmla="*/ 23 h 23"/>
                <a:gd name="T14" fmla="*/ 3 w 8"/>
                <a:gd name="T15" fmla="*/ 22 h 23"/>
                <a:gd name="T16" fmla="*/ 4 w 8"/>
                <a:gd name="T17" fmla="*/ 21 h 23"/>
                <a:gd name="T18" fmla="*/ 8 w 8"/>
                <a:gd name="T19" fmla="*/ 3 h 23"/>
                <a:gd name="T20" fmla="*/ 8 w 8"/>
                <a:gd name="T21" fmla="*/ 1 h 23"/>
                <a:gd name="T22" fmla="*/ 8 w 8"/>
                <a:gd name="T23" fmla="*/ 0 h 23"/>
                <a:gd name="T24" fmla="*/ 7 w 8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3">
                  <a:moveTo>
                    <a:pt x="7" y="0"/>
                  </a:move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1"/>
                    <a:pt x="5" y="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0" y="23"/>
                    <a:pt x="1" y="23"/>
                    <a:pt x="2" y="23"/>
                  </a:cubicBezTo>
                  <a:cubicBezTo>
                    <a:pt x="2" y="23"/>
                    <a:pt x="2" y="23"/>
                    <a:pt x="3" y="23"/>
                  </a:cubicBezTo>
                  <a:cubicBezTo>
                    <a:pt x="3" y="23"/>
                    <a:pt x="3" y="22"/>
                    <a:pt x="3" y="22"/>
                  </a:cubicBezTo>
                  <a:cubicBezTo>
                    <a:pt x="3" y="22"/>
                    <a:pt x="3" y="21"/>
                    <a:pt x="4" y="2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</a:endParaRPr>
            </a:p>
          </p:txBody>
        </p:sp>
        <p:sp>
          <p:nvSpPr>
            <p:cNvPr id="25" name="Freeform 31">
              <a:extLst>
                <a:ext uri="{FF2B5EF4-FFF2-40B4-BE49-F238E27FC236}">
                  <a16:creationId xmlns:a16="http://schemas.microsoft.com/office/drawing/2014/main" id="{47659FDC-6062-4902-89F9-C4D0629D6103}"/>
                </a:ext>
              </a:extLst>
            </p:cNvPr>
            <p:cNvSpPr>
              <a:spLocks/>
            </p:cNvSpPr>
            <p:nvPr/>
          </p:nvSpPr>
          <p:spPr bwMode="auto">
            <a:xfrm>
              <a:off x="6989763" y="1044575"/>
              <a:ext cx="60325" cy="65087"/>
            </a:xfrm>
            <a:custGeom>
              <a:avLst/>
              <a:gdLst>
                <a:gd name="T0" fmla="*/ 0 w 38"/>
                <a:gd name="T1" fmla="*/ 10 h 41"/>
                <a:gd name="T2" fmla="*/ 26 w 38"/>
                <a:gd name="T3" fmla="*/ 19 h 41"/>
                <a:gd name="T4" fmla="*/ 0 w 38"/>
                <a:gd name="T5" fmla="*/ 32 h 41"/>
                <a:gd name="T6" fmla="*/ 0 w 38"/>
                <a:gd name="T7" fmla="*/ 41 h 41"/>
                <a:gd name="T8" fmla="*/ 38 w 38"/>
                <a:gd name="T9" fmla="*/ 24 h 41"/>
                <a:gd name="T10" fmla="*/ 38 w 38"/>
                <a:gd name="T11" fmla="*/ 17 h 41"/>
                <a:gd name="T12" fmla="*/ 0 w 38"/>
                <a:gd name="T13" fmla="*/ 0 h 41"/>
                <a:gd name="T14" fmla="*/ 0 w 38"/>
                <a:gd name="T15" fmla="*/ 1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41">
                  <a:moveTo>
                    <a:pt x="0" y="10"/>
                  </a:moveTo>
                  <a:lnTo>
                    <a:pt x="26" y="19"/>
                  </a:lnTo>
                  <a:lnTo>
                    <a:pt x="0" y="32"/>
                  </a:lnTo>
                  <a:lnTo>
                    <a:pt x="0" y="41"/>
                  </a:lnTo>
                  <a:lnTo>
                    <a:pt x="38" y="24"/>
                  </a:lnTo>
                  <a:lnTo>
                    <a:pt x="38" y="17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07828787"/>
      </p:ext>
    </p:extLst>
  </p:cSld>
  <p:clrMapOvr>
    <a:masterClrMapping/>
  </p:clrMapOvr>
</p:sld>
</file>

<file path=ppt/slides/slide1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DFF35A-7FA7-A21E-8553-B1F133F365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think-cell data - do not delete" hidden="1">
            <a:extLst>
              <a:ext uri="{FF2B5EF4-FFF2-40B4-BE49-F238E27FC236}">
                <a16:creationId xmlns:a16="http://schemas.microsoft.com/office/drawing/2014/main" id="{0D72012C-3CBE-B4BA-1E39-F77A7F26F59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62619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870B3F3-745C-3401-2937-500393F9E3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3 Concep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27722CC-302A-863E-E6F4-A7A7C9285E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53</a:t>
            </a:fld>
            <a:endParaRPr lang="en-US" dirty="0"/>
          </a:p>
        </p:txBody>
      </p:sp>
      <p:sp>
        <p:nvSpPr>
          <p:cNvPr id="5" name="Folded Corner 67">
            <a:extLst>
              <a:ext uri="{FF2B5EF4-FFF2-40B4-BE49-F238E27FC236}">
                <a16:creationId xmlns:a16="http://schemas.microsoft.com/office/drawing/2014/main" id="{41963608-A82E-8CD3-9978-5ABAD4E3C193}"/>
              </a:ext>
            </a:extLst>
          </p:cNvPr>
          <p:cNvSpPr/>
          <p:nvPr/>
        </p:nvSpPr>
        <p:spPr>
          <a:xfrm>
            <a:off x="6111567" y="2279422"/>
            <a:ext cx="5064152" cy="3351824"/>
          </a:xfrm>
          <a:prstGeom prst="foldedCorner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9229" tIns="179229" rtlCol="0" anchor="t"/>
          <a:lstStyle/>
          <a:p>
            <a:pPr defTabSz="896113" fontAlgn="auto">
              <a:spcBef>
                <a:spcPct val="20000"/>
              </a:spcBef>
              <a:spcAft>
                <a:spcPts val="0"/>
              </a:spcAft>
              <a:defRPr/>
            </a:pPr>
            <a:endParaRPr lang="en-US" sz="1372" b="1" dirty="0">
              <a:solidFill>
                <a:srgbClr val="262626">
                  <a:lumMod val="90000"/>
                  <a:lumOff val="10000"/>
                </a:srgbClr>
              </a:solidFill>
              <a:cs typeface="Calibri" panose="020F0502020204030204" pitchFamily="34" charset="0"/>
            </a:endParaRPr>
          </a:p>
        </p:txBody>
      </p:sp>
      <p:sp>
        <p:nvSpPr>
          <p:cNvPr id="6" name="Round Same Side Corner Rectangle 69">
            <a:extLst>
              <a:ext uri="{FF2B5EF4-FFF2-40B4-BE49-F238E27FC236}">
                <a16:creationId xmlns:a16="http://schemas.microsoft.com/office/drawing/2014/main" id="{99E27683-17F4-83BC-B36C-DF42DCCBC0E2}"/>
              </a:ext>
            </a:extLst>
          </p:cNvPr>
          <p:cNvSpPr/>
          <p:nvPr/>
        </p:nvSpPr>
        <p:spPr>
          <a:xfrm>
            <a:off x="6111567" y="1680686"/>
            <a:ext cx="5064152" cy="553673"/>
          </a:xfrm>
          <a:prstGeom prst="round2Same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9229" tIns="0" bIns="0" rtlCol="0" anchor="ctr"/>
          <a:lstStyle/>
          <a:p>
            <a:pPr defTabSz="896113" fontAlgn="auto">
              <a:spcBef>
                <a:spcPct val="20000"/>
              </a:spcBef>
              <a:spcAft>
                <a:spcPts val="0"/>
              </a:spcAft>
              <a:defRPr/>
            </a:pPr>
            <a:r>
              <a:rPr lang="en-US" sz="1960" b="1" dirty="0">
                <a:solidFill>
                  <a:srgbClr val="FFFFFF"/>
                </a:solidFill>
                <a:cs typeface="Calibri" panose="020F0502020204030204" pitchFamily="34" charset="0"/>
              </a:rPr>
              <a:t>Insert Heading</a:t>
            </a:r>
          </a:p>
        </p:txBody>
      </p:sp>
      <p:sp>
        <p:nvSpPr>
          <p:cNvPr id="7" name="Inhaltsplatzhalter 4">
            <a:extLst>
              <a:ext uri="{FF2B5EF4-FFF2-40B4-BE49-F238E27FC236}">
                <a16:creationId xmlns:a16="http://schemas.microsoft.com/office/drawing/2014/main" id="{C8642C42-EDAE-EC52-CFA4-72B39164D593}"/>
              </a:ext>
            </a:extLst>
          </p:cNvPr>
          <p:cNvSpPr txBox="1">
            <a:spLocks/>
          </p:cNvSpPr>
          <p:nvPr/>
        </p:nvSpPr>
        <p:spPr>
          <a:xfrm>
            <a:off x="6324421" y="2381899"/>
            <a:ext cx="4431950" cy="277101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61F4F72-B39D-B676-40C6-CE0C443BE11E}"/>
              </a:ext>
            </a:extLst>
          </p:cNvPr>
          <p:cNvCxnSpPr>
            <a:stCxn id="13" idx="0"/>
            <a:endCxn id="12" idx="4"/>
          </p:cNvCxnSpPr>
          <p:nvPr/>
        </p:nvCxnSpPr>
        <p:spPr>
          <a:xfrm>
            <a:off x="1944636" y="4349757"/>
            <a:ext cx="1674221" cy="0"/>
          </a:xfrm>
          <a:prstGeom prst="line">
            <a:avLst/>
          </a:prstGeom>
          <a:ln w="19050" cap="rnd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A90C95E-7346-6672-CF55-13F7440E3E90}"/>
              </a:ext>
            </a:extLst>
          </p:cNvPr>
          <p:cNvCxnSpPr>
            <a:stCxn id="11" idx="6"/>
            <a:endCxn id="13" idx="1"/>
          </p:cNvCxnSpPr>
          <p:nvPr/>
        </p:nvCxnSpPr>
        <p:spPr>
          <a:xfrm flipH="1">
            <a:off x="1788229" y="2609671"/>
            <a:ext cx="999794" cy="1362507"/>
          </a:xfrm>
          <a:prstGeom prst="line">
            <a:avLst/>
          </a:prstGeom>
          <a:ln w="19050" cap="rnd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AB4A69A-ACD6-42FD-AB6A-C8C3B5D408FA}"/>
              </a:ext>
            </a:extLst>
          </p:cNvPr>
          <p:cNvCxnSpPr>
            <a:stCxn id="11" idx="6"/>
            <a:endCxn id="12" idx="3"/>
          </p:cNvCxnSpPr>
          <p:nvPr/>
        </p:nvCxnSpPr>
        <p:spPr>
          <a:xfrm>
            <a:off x="2788024" y="2609671"/>
            <a:ext cx="987239" cy="1362507"/>
          </a:xfrm>
          <a:prstGeom prst="line">
            <a:avLst/>
          </a:prstGeom>
          <a:ln w="19050" cap="rnd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Oval 10">
            <a:extLst>
              <a:ext uri="{FF2B5EF4-FFF2-40B4-BE49-F238E27FC236}">
                <a16:creationId xmlns:a16="http://schemas.microsoft.com/office/drawing/2014/main" id="{61A1DF73-A3C8-1872-2DD4-7C488FE330D0}"/>
              </a:ext>
            </a:extLst>
          </p:cNvPr>
          <p:cNvSpPr/>
          <p:nvPr/>
        </p:nvSpPr>
        <p:spPr>
          <a:xfrm rot="5400000">
            <a:off x="2254046" y="1541690"/>
            <a:ext cx="1067956" cy="106800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764" b="1" dirty="0">
              <a:solidFill>
                <a:srgbClr val="FFFFFF"/>
              </a:solidFill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0624C5F6-6BE0-7774-96A3-C4CE6A0FB9AB}"/>
              </a:ext>
            </a:extLst>
          </p:cNvPr>
          <p:cNvSpPr/>
          <p:nvPr/>
        </p:nvSpPr>
        <p:spPr>
          <a:xfrm rot="5400000">
            <a:off x="3618881" y="3815754"/>
            <a:ext cx="1067956" cy="106800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764" b="1" dirty="0">
              <a:solidFill>
                <a:srgbClr val="FFFFFF"/>
              </a:solidFill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CBEFF5F6-59AA-B5C1-89DA-A25F35BEADD3}"/>
              </a:ext>
            </a:extLst>
          </p:cNvPr>
          <p:cNvSpPr/>
          <p:nvPr/>
        </p:nvSpPr>
        <p:spPr>
          <a:xfrm rot="5400000">
            <a:off x="876655" y="3815754"/>
            <a:ext cx="1067956" cy="1068006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764" b="1" dirty="0">
              <a:solidFill>
                <a:srgbClr val="FFFFFF"/>
              </a:solidFill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F70ECA95-0727-4505-884C-B95F22C812D4}"/>
              </a:ext>
            </a:extLst>
          </p:cNvPr>
          <p:cNvSpPr/>
          <p:nvPr/>
        </p:nvSpPr>
        <p:spPr>
          <a:xfrm rot="5400000">
            <a:off x="2242119" y="3158493"/>
            <a:ext cx="1066555" cy="1066556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764" b="1" dirty="0">
              <a:solidFill>
                <a:srgbClr val="FFFFFF"/>
              </a:solidFill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E71DE867-9471-1777-AD7C-7595420CC534}"/>
              </a:ext>
            </a:extLst>
          </p:cNvPr>
          <p:cNvGrpSpPr/>
          <p:nvPr/>
        </p:nvGrpSpPr>
        <p:grpSpPr>
          <a:xfrm>
            <a:off x="1094397" y="4136503"/>
            <a:ext cx="632472" cy="426508"/>
            <a:chOff x="6716027" y="5411634"/>
            <a:chExt cx="583964" cy="393797"/>
          </a:xfrm>
          <a:solidFill>
            <a:schemeClr val="bg1"/>
          </a:solidFill>
        </p:grpSpPr>
        <p:sp>
          <p:nvSpPr>
            <p:cNvPr id="16" name="Freeform 17">
              <a:extLst>
                <a:ext uri="{FF2B5EF4-FFF2-40B4-BE49-F238E27FC236}">
                  <a16:creationId xmlns:a16="http://schemas.microsoft.com/office/drawing/2014/main" id="{D1C657FF-563A-25F5-0226-34CC0F30B14E}"/>
                </a:ext>
              </a:extLst>
            </p:cNvPr>
            <p:cNvSpPr>
              <a:spLocks noEditPoints="1"/>
            </p:cNvSpPr>
            <p:nvPr/>
          </p:nvSpPr>
          <p:spPr bwMode="auto">
            <a:xfrm rot="2700000">
              <a:off x="6832931" y="5294730"/>
              <a:ext cx="350155" cy="583964"/>
            </a:xfrm>
            <a:custGeom>
              <a:avLst/>
              <a:gdLst>
                <a:gd name="T0" fmla="*/ 50 w 184"/>
                <a:gd name="T1" fmla="*/ 310 h 310"/>
                <a:gd name="T2" fmla="*/ 32 w 184"/>
                <a:gd name="T3" fmla="*/ 282 h 310"/>
                <a:gd name="T4" fmla="*/ 10 w 184"/>
                <a:gd name="T5" fmla="*/ 199 h 310"/>
                <a:gd name="T6" fmla="*/ 39 w 184"/>
                <a:gd name="T7" fmla="*/ 171 h 310"/>
                <a:gd name="T8" fmla="*/ 30 w 184"/>
                <a:gd name="T9" fmla="*/ 116 h 310"/>
                <a:gd name="T10" fmla="*/ 36 w 184"/>
                <a:gd name="T11" fmla="*/ 73 h 310"/>
                <a:gd name="T12" fmla="*/ 36 w 184"/>
                <a:gd name="T13" fmla="*/ 72 h 310"/>
                <a:gd name="T14" fmla="*/ 92 w 184"/>
                <a:gd name="T15" fmla="*/ 0 h 310"/>
                <a:gd name="T16" fmla="*/ 148 w 184"/>
                <a:gd name="T17" fmla="*/ 72 h 310"/>
                <a:gd name="T18" fmla="*/ 148 w 184"/>
                <a:gd name="T19" fmla="*/ 73 h 310"/>
                <a:gd name="T20" fmla="*/ 155 w 184"/>
                <a:gd name="T21" fmla="*/ 116 h 310"/>
                <a:gd name="T22" fmla="*/ 145 w 184"/>
                <a:gd name="T23" fmla="*/ 171 h 310"/>
                <a:gd name="T24" fmla="*/ 174 w 184"/>
                <a:gd name="T25" fmla="*/ 199 h 310"/>
                <a:gd name="T26" fmla="*/ 153 w 184"/>
                <a:gd name="T27" fmla="*/ 282 h 310"/>
                <a:gd name="T28" fmla="*/ 134 w 184"/>
                <a:gd name="T29" fmla="*/ 310 h 310"/>
                <a:gd name="T30" fmla="*/ 134 w 184"/>
                <a:gd name="T31" fmla="*/ 276 h 310"/>
                <a:gd name="T32" fmla="*/ 118 w 184"/>
                <a:gd name="T33" fmla="*/ 239 h 310"/>
                <a:gd name="T34" fmla="*/ 118 w 184"/>
                <a:gd name="T35" fmla="*/ 240 h 310"/>
                <a:gd name="T36" fmla="*/ 115 w 184"/>
                <a:gd name="T37" fmla="*/ 246 h 310"/>
                <a:gd name="T38" fmla="*/ 108 w 184"/>
                <a:gd name="T39" fmla="*/ 245 h 310"/>
                <a:gd name="T40" fmla="*/ 76 w 184"/>
                <a:gd name="T41" fmla="*/ 245 h 310"/>
                <a:gd name="T42" fmla="*/ 69 w 184"/>
                <a:gd name="T43" fmla="*/ 246 h 310"/>
                <a:gd name="T44" fmla="*/ 66 w 184"/>
                <a:gd name="T45" fmla="*/ 240 h 310"/>
                <a:gd name="T46" fmla="*/ 66 w 184"/>
                <a:gd name="T47" fmla="*/ 239 h 310"/>
                <a:gd name="T48" fmla="*/ 50 w 184"/>
                <a:gd name="T49" fmla="*/ 276 h 310"/>
                <a:gd name="T50" fmla="*/ 50 w 184"/>
                <a:gd name="T51" fmla="*/ 310 h 310"/>
                <a:gd name="T52" fmla="*/ 55 w 184"/>
                <a:gd name="T53" fmla="*/ 79 h 310"/>
                <a:gd name="T54" fmla="*/ 50 w 184"/>
                <a:gd name="T55" fmla="*/ 116 h 310"/>
                <a:gd name="T56" fmla="*/ 61 w 184"/>
                <a:gd name="T57" fmla="*/ 174 h 310"/>
                <a:gd name="T58" fmla="*/ 64 w 184"/>
                <a:gd name="T59" fmla="*/ 184 h 310"/>
                <a:gd name="T60" fmla="*/ 54 w 184"/>
                <a:gd name="T61" fmla="*/ 187 h 310"/>
                <a:gd name="T62" fmla="*/ 29 w 184"/>
                <a:gd name="T63" fmla="*/ 205 h 310"/>
                <a:gd name="T64" fmla="*/ 36 w 184"/>
                <a:gd name="T65" fmla="*/ 247 h 310"/>
                <a:gd name="T66" fmla="*/ 65 w 184"/>
                <a:gd name="T67" fmla="*/ 215 h 310"/>
                <a:gd name="T68" fmla="*/ 74 w 184"/>
                <a:gd name="T69" fmla="*/ 209 h 310"/>
                <a:gd name="T70" fmla="*/ 79 w 184"/>
                <a:gd name="T71" fmla="*/ 219 h 310"/>
                <a:gd name="T72" fmla="*/ 82 w 184"/>
                <a:gd name="T73" fmla="*/ 225 h 310"/>
                <a:gd name="T74" fmla="*/ 103 w 184"/>
                <a:gd name="T75" fmla="*/ 225 h 310"/>
                <a:gd name="T76" fmla="*/ 105 w 184"/>
                <a:gd name="T77" fmla="*/ 219 h 310"/>
                <a:gd name="T78" fmla="*/ 110 w 184"/>
                <a:gd name="T79" fmla="*/ 209 h 310"/>
                <a:gd name="T80" fmla="*/ 120 w 184"/>
                <a:gd name="T81" fmla="*/ 215 h 310"/>
                <a:gd name="T82" fmla="*/ 148 w 184"/>
                <a:gd name="T83" fmla="*/ 247 h 310"/>
                <a:gd name="T84" fmla="*/ 155 w 184"/>
                <a:gd name="T85" fmla="*/ 205 h 310"/>
                <a:gd name="T86" fmla="*/ 130 w 184"/>
                <a:gd name="T87" fmla="*/ 187 h 310"/>
                <a:gd name="T88" fmla="*/ 120 w 184"/>
                <a:gd name="T89" fmla="*/ 184 h 310"/>
                <a:gd name="T90" fmla="*/ 123 w 184"/>
                <a:gd name="T91" fmla="*/ 174 h 310"/>
                <a:gd name="T92" fmla="*/ 135 w 184"/>
                <a:gd name="T93" fmla="*/ 116 h 310"/>
                <a:gd name="T94" fmla="*/ 129 w 184"/>
                <a:gd name="T95" fmla="*/ 79 h 310"/>
                <a:gd name="T96" fmla="*/ 92 w 184"/>
                <a:gd name="T97" fmla="*/ 21 h 310"/>
                <a:gd name="T98" fmla="*/ 55 w 184"/>
                <a:gd name="T99" fmla="*/ 79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84" h="310">
                  <a:moveTo>
                    <a:pt x="50" y="310"/>
                  </a:moveTo>
                  <a:cubicBezTo>
                    <a:pt x="32" y="282"/>
                    <a:pt x="32" y="282"/>
                    <a:pt x="32" y="282"/>
                  </a:cubicBezTo>
                  <a:cubicBezTo>
                    <a:pt x="28" y="276"/>
                    <a:pt x="0" y="230"/>
                    <a:pt x="10" y="199"/>
                  </a:cubicBezTo>
                  <a:cubicBezTo>
                    <a:pt x="14" y="187"/>
                    <a:pt x="24" y="178"/>
                    <a:pt x="39" y="171"/>
                  </a:cubicBezTo>
                  <a:cubicBezTo>
                    <a:pt x="33" y="151"/>
                    <a:pt x="30" y="132"/>
                    <a:pt x="30" y="116"/>
                  </a:cubicBezTo>
                  <a:cubicBezTo>
                    <a:pt x="30" y="102"/>
                    <a:pt x="32" y="87"/>
                    <a:pt x="36" y="73"/>
                  </a:cubicBezTo>
                  <a:cubicBezTo>
                    <a:pt x="36" y="72"/>
                    <a:pt x="36" y="72"/>
                    <a:pt x="36" y="72"/>
                  </a:cubicBezTo>
                  <a:cubicBezTo>
                    <a:pt x="50" y="35"/>
                    <a:pt x="77" y="0"/>
                    <a:pt x="92" y="0"/>
                  </a:cubicBezTo>
                  <a:cubicBezTo>
                    <a:pt x="107" y="0"/>
                    <a:pt x="134" y="35"/>
                    <a:pt x="148" y="72"/>
                  </a:cubicBezTo>
                  <a:cubicBezTo>
                    <a:pt x="148" y="73"/>
                    <a:pt x="148" y="73"/>
                    <a:pt x="148" y="73"/>
                  </a:cubicBezTo>
                  <a:cubicBezTo>
                    <a:pt x="152" y="87"/>
                    <a:pt x="155" y="102"/>
                    <a:pt x="155" y="116"/>
                  </a:cubicBezTo>
                  <a:cubicBezTo>
                    <a:pt x="155" y="132"/>
                    <a:pt x="152" y="151"/>
                    <a:pt x="145" y="171"/>
                  </a:cubicBezTo>
                  <a:cubicBezTo>
                    <a:pt x="160" y="178"/>
                    <a:pt x="170" y="187"/>
                    <a:pt x="174" y="199"/>
                  </a:cubicBezTo>
                  <a:cubicBezTo>
                    <a:pt x="184" y="230"/>
                    <a:pt x="156" y="276"/>
                    <a:pt x="153" y="282"/>
                  </a:cubicBezTo>
                  <a:cubicBezTo>
                    <a:pt x="134" y="310"/>
                    <a:pt x="134" y="310"/>
                    <a:pt x="134" y="310"/>
                  </a:cubicBezTo>
                  <a:cubicBezTo>
                    <a:pt x="134" y="276"/>
                    <a:pt x="134" y="276"/>
                    <a:pt x="134" y="276"/>
                  </a:cubicBezTo>
                  <a:cubicBezTo>
                    <a:pt x="134" y="262"/>
                    <a:pt x="128" y="248"/>
                    <a:pt x="118" y="239"/>
                  </a:cubicBezTo>
                  <a:cubicBezTo>
                    <a:pt x="118" y="239"/>
                    <a:pt x="118" y="239"/>
                    <a:pt x="118" y="240"/>
                  </a:cubicBezTo>
                  <a:cubicBezTo>
                    <a:pt x="115" y="246"/>
                    <a:pt x="115" y="246"/>
                    <a:pt x="115" y="246"/>
                  </a:cubicBezTo>
                  <a:cubicBezTo>
                    <a:pt x="108" y="245"/>
                    <a:pt x="108" y="245"/>
                    <a:pt x="108" y="245"/>
                  </a:cubicBezTo>
                  <a:cubicBezTo>
                    <a:pt x="98" y="245"/>
                    <a:pt x="87" y="245"/>
                    <a:pt x="76" y="245"/>
                  </a:cubicBezTo>
                  <a:cubicBezTo>
                    <a:pt x="69" y="246"/>
                    <a:pt x="69" y="246"/>
                    <a:pt x="69" y="246"/>
                  </a:cubicBezTo>
                  <a:cubicBezTo>
                    <a:pt x="66" y="240"/>
                    <a:pt x="66" y="240"/>
                    <a:pt x="66" y="240"/>
                  </a:cubicBezTo>
                  <a:cubicBezTo>
                    <a:pt x="66" y="239"/>
                    <a:pt x="66" y="239"/>
                    <a:pt x="66" y="239"/>
                  </a:cubicBezTo>
                  <a:cubicBezTo>
                    <a:pt x="56" y="249"/>
                    <a:pt x="50" y="262"/>
                    <a:pt x="50" y="276"/>
                  </a:cubicBezTo>
                  <a:lnTo>
                    <a:pt x="50" y="310"/>
                  </a:lnTo>
                  <a:close/>
                  <a:moveTo>
                    <a:pt x="55" y="79"/>
                  </a:moveTo>
                  <a:cubicBezTo>
                    <a:pt x="52" y="91"/>
                    <a:pt x="50" y="104"/>
                    <a:pt x="50" y="116"/>
                  </a:cubicBezTo>
                  <a:cubicBezTo>
                    <a:pt x="50" y="132"/>
                    <a:pt x="53" y="152"/>
                    <a:pt x="61" y="174"/>
                  </a:cubicBezTo>
                  <a:cubicBezTo>
                    <a:pt x="64" y="184"/>
                    <a:pt x="64" y="184"/>
                    <a:pt x="64" y="184"/>
                  </a:cubicBezTo>
                  <a:cubicBezTo>
                    <a:pt x="54" y="187"/>
                    <a:pt x="54" y="187"/>
                    <a:pt x="54" y="187"/>
                  </a:cubicBezTo>
                  <a:cubicBezTo>
                    <a:pt x="45" y="190"/>
                    <a:pt x="33" y="196"/>
                    <a:pt x="29" y="205"/>
                  </a:cubicBezTo>
                  <a:cubicBezTo>
                    <a:pt x="26" y="216"/>
                    <a:pt x="30" y="233"/>
                    <a:pt x="36" y="247"/>
                  </a:cubicBezTo>
                  <a:cubicBezTo>
                    <a:pt x="42" y="234"/>
                    <a:pt x="52" y="223"/>
                    <a:pt x="65" y="215"/>
                  </a:cubicBezTo>
                  <a:cubicBezTo>
                    <a:pt x="74" y="209"/>
                    <a:pt x="74" y="209"/>
                    <a:pt x="74" y="209"/>
                  </a:cubicBezTo>
                  <a:cubicBezTo>
                    <a:pt x="79" y="219"/>
                    <a:pt x="79" y="219"/>
                    <a:pt x="79" y="219"/>
                  </a:cubicBezTo>
                  <a:cubicBezTo>
                    <a:pt x="80" y="221"/>
                    <a:pt x="81" y="223"/>
                    <a:pt x="82" y="225"/>
                  </a:cubicBezTo>
                  <a:cubicBezTo>
                    <a:pt x="89" y="225"/>
                    <a:pt x="96" y="225"/>
                    <a:pt x="103" y="225"/>
                  </a:cubicBezTo>
                  <a:cubicBezTo>
                    <a:pt x="104" y="223"/>
                    <a:pt x="105" y="221"/>
                    <a:pt x="105" y="219"/>
                  </a:cubicBezTo>
                  <a:cubicBezTo>
                    <a:pt x="110" y="209"/>
                    <a:pt x="110" y="209"/>
                    <a:pt x="110" y="209"/>
                  </a:cubicBezTo>
                  <a:cubicBezTo>
                    <a:pt x="120" y="215"/>
                    <a:pt x="120" y="215"/>
                    <a:pt x="120" y="215"/>
                  </a:cubicBezTo>
                  <a:cubicBezTo>
                    <a:pt x="133" y="223"/>
                    <a:pt x="142" y="234"/>
                    <a:pt x="148" y="247"/>
                  </a:cubicBezTo>
                  <a:cubicBezTo>
                    <a:pt x="154" y="233"/>
                    <a:pt x="159" y="216"/>
                    <a:pt x="155" y="205"/>
                  </a:cubicBezTo>
                  <a:cubicBezTo>
                    <a:pt x="152" y="196"/>
                    <a:pt x="140" y="190"/>
                    <a:pt x="130" y="187"/>
                  </a:cubicBezTo>
                  <a:cubicBezTo>
                    <a:pt x="120" y="184"/>
                    <a:pt x="120" y="184"/>
                    <a:pt x="120" y="184"/>
                  </a:cubicBezTo>
                  <a:cubicBezTo>
                    <a:pt x="123" y="174"/>
                    <a:pt x="123" y="174"/>
                    <a:pt x="123" y="174"/>
                  </a:cubicBezTo>
                  <a:cubicBezTo>
                    <a:pt x="131" y="152"/>
                    <a:pt x="135" y="132"/>
                    <a:pt x="135" y="116"/>
                  </a:cubicBezTo>
                  <a:cubicBezTo>
                    <a:pt x="135" y="104"/>
                    <a:pt x="133" y="91"/>
                    <a:pt x="129" y="79"/>
                  </a:cubicBezTo>
                  <a:cubicBezTo>
                    <a:pt x="117" y="47"/>
                    <a:pt x="99" y="26"/>
                    <a:pt x="92" y="21"/>
                  </a:cubicBezTo>
                  <a:cubicBezTo>
                    <a:pt x="85" y="26"/>
                    <a:pt x="67" y="47"/>
                    <a:pt x="55" y="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7" name="Freeform 18">
              <a:extLst>
                <a:ext uri="{FF2B5EF4-FFF2-40B4-BE49-F238E27FC236}">
                  <a16:creationId xmlns:a16="http://schemas.microsoft.com/office/drawing/2014/main" id="{3C0F58D9-040A-C9C4-CD14-544719D40AF5}"/>
                </a:ext>
              </a:extLst>
            </p:cNvPr>
            <p:cNvSpPr>
              <a:spLocks noEditPoints="1"/>
            </p:cNvSpPr>
            <p:nvPr/>
          </p:nvSpPr>
          <p:spPr bwMode="auto">
            <a:xfrm rot="2700000">
              <a:off x="6989613" y="5483631"/>
              <a:ext cx="121724" cy="120112"/>
            </a:xfrm>
            <a:custGeom>
              <a:avLst/>
              <a:gdLst>
                <a:gd name="T0" fmla="*/ 32 w 64"/>
                <a:gd name="T1" fmla="*/ 64 h 64"/>
                <a:gd name="T2" fmla="*/ 0 w 64"/>
                <a:gd name="T3" fmla="*/ 32 h 64"/>
                <a:gd name="T4" fmla="*/ 32 w 64"/>
                <a:gd name="T5" fmla="*/ 0 h 64"/>
                <a:gd name="T6" fmla="*/ 64 w 64"/>
                <a:gd name="T7" fmla="*/ 32 h 64"/>
                <a:gd name="T8" fmla="*/ 32 w 64"/>
                <a:gd name="T9" fmla="*/ 64 h 64"/>
                <a:gd name="T10" fmla="*/ 32 w 64"/>
                <a:gd name="T11" fmla="*/ 12 h 64"/>
                <a:gd name="T12" fmla="*/ 12 w 64"/>
                <a:gd name="T13" fmla="*/ 32 h 64"/>
                <a:gd name="T14" fmla="*/ 32 w 64"/>
                <a:gd name="T15" fmla="*/ 52 h 64"/>
                <a:gd name="T16" fmla="*/ 52 w 64"/>
                <a:gd name="T17" fmla="*/ 32 h 64"/>
                <a:gd name="T18" fmla="*/ 32 w 64"/>
                <a:gd name="T19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32" y="64"/>
                  </a:moveTo>
                  <a:cubicBezTo>
                    <a:pt x="14" y="64"/>
                    <a:pt x="0" y="50"/>
                    <a:pt x="0" y="32"/>
                  </a:cubicBezTo>
                  <a:cubicBezTo>
                    <a:pt x="0" y="14"/>
                    <a:pt x="14" y="0"/>
                    <a:pt x="32" y="0"/>
                  </a:cubicBezTo>
                  <a:cubicBezTo>
                    <a:pt x="50" y="0"/>
                    <a:pt x="64" y="14"/>
                    <a:pt x="64" y="32"/>
                  </a:cubicBezTo>
                  <a:cubicBezTo>
                    <a:pt x="64" y="50"/>
                    <a:pt x="50" y="64"/>
                    <a:pt x="32" y="64"/>
                  </a:cubicBezTo>
                  <a:close/>
                  <a:moveTo>
                    <a:pt x="32" y="12"/>
                  </a:moveTo>
                  <a:cubicBezTo>
                    <a:pt x="21" y="12"/>
                    <a:pt x="12" y="21"/>
                    <a:pt x="12" y="32"/>
                  </a:cubicBezTo>
                  <a:cubicBezTo>
                    <a:pt x="12" y="43"/>
                    <a:pt x="21" y="52"/>
                    <a:pt x="32" y="52"/>
                  </a:cubicBezTo>
                  <a:cubicBezTo>
                    <a:pt x="43" y="52"/>
                    <a:pt x="52" y="43"/>
                    <a:pt x="52" y="32"/>
                  </a:cubicBezTo>
                  <a:cubicBezTo>
                    <a:pt x="52" y="21"/>
                    <a:pt x="43" y="12"/>
                    <a:pt x="3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8" name="Freeform 19">
              <a:extLst>
                <a:ext uri="{FF2B5EF4-FFF2-40B4-BE49-F238E27FC236}">
                  <a16:creationId xmlns:a16="http://schemas.microsoft.com/office/drawing/2014/main" id="{E5040D79-1475-1A3F-E8C7-BA0B63E5FADC}"/>
                </a:ext>
              </a:extLst>
            </p:cNvPr>
            <p:cNvSpPr>
              <a:spLocks noEditPoints="1"/>
            </p:cNvSpPr>
            <p:nvPr/>
          </p:nvSpPr>
          <p:spPr bwMode="auto">
            <a:xfrm rot="2700000">
              <a:off x="6790966" y="5660018"/>
              <a:ext cx="112239" cy="178587"/>
            </a:xfrm>
            <a:custGeom>
              <a:avLst/>
              <a:gdLst>
                <a:gd name="T0" fmla="*/ 29 w 59"/>
                <a:gd name="T1" fmla="*/ 95 h 95"/>
                <a:gd name="T2" fmla="*/ 24 w 59"/>
                <a:gd name="T3" fmla="*/ 85 h 95"/>
                <a:gd name="T4" fmla="*/ 0 w 59"/>
                <a:gd name="T5" fmla="*/ 26 h 95"/>
                <a:gd name="T6" fmla="*/ 29 w 59"/>
                <a:gd name="T7" fmla="*/ 0 h 95"/>
                <a:gd name="T8" fmla="*/ 59 w 59"/>
                <a:gd name="T9" fmla="*/ 26 h 95"/>
                <a:gd name="T10" fmla="*/ 34 w 59"/>
                <a:gd name="T11" fmla="*/ 85 h 95"/>
                <a:gd name="T12" fmla="*/ 29 w 59"/>
                <a:gd name="T13" fmla="*/ 95 h 95"/>
                <a:gd name="T14" fmla="*/ 29 w 59"/>
                <a:gd name="T15" fmla="*/ 12 h 95"/>
                <a:gd name="T16" fmla="*/ 12 w 59"/>
                <a:gd name="T17" fmla="*/ 26 h 95"/>
                <a:gd name="T18" fmla="*/ 29 w 59"/>
                <a:gd name="T19" fmla="*/ 69 h 95"/>
                <a:gd name="T20" fmla="*/ 47 w 59"/>
                <a:gd name="T21" fmla="*/ 26 h 95"/>
                <a:gd name="T22" fmla="*/ 29 w 59"/>
                <a:gd name="T23" fmla="*/ 12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" h="95">
                  <a:moveTo>
                    <a:pt x="29" y="95"/>
                  </a:moveTo>
                  <a:cubicBezTo>
                    <a:pt x="24" y="85"/>
                    <a:pt x="24" y="85"/>
                    <a:pt x="24" y="85"/>
                  </a:cubicBezTo>
                  <a:cubicBezTo>
                    <a:pt x="20" y="77"/>
                    <a:pt x="0" y="38"/>
                    <a:pt x="0" y="26"/>
                  </a:cubicBezTo>
                  <a:cubicBezTo>
                    <a:pt x="0" y="12"/>
                    <a:pt x="13" y="0"/>
                    <a:pt x="29" y="0"/>
                  </a:cubicBezTo>
                  <a:cubicBezTo>
                    <a:pt x="45" y="0"/>
                    <a:pt x="59" y="12"/>
                    <a:pt x="59" y="26"/>
                  </a:cubicBezTo>
                  <a:cubicBezTo>
                    <a:pt x="59" y="38"/>
                    <a:pt x="39" y="77"/>
                    <a:pt x="34" y="85"/>
                  </a:cubicBezTo>
                  <a:lnTo>
                    <a:pt x="29" y="95"/>
                  </a:lnTo>
                  <a:close/>
                  <a:moveTo>
                    <a:pt x="29" y="12"/>
                  </a:moveTo>
                  <a:cubicBezTo>
                    <a:pt x="19" y="12"/>
                    <a:pt x="12" y="18"/>
                    <a:pt x="12" y="26"/>
                  </a:cubicBezTo>
                  <a:cubicBezTo>
                    <a:pt x="12" y="31"/>
                    <a:pt x="20" y="50"/>
                    <a:pt x="29" y="69"/>
                  </a:cubicBezTo>
                  <a:cubicBezTo>
                    <a:pt x="38" y="50"/>
                    <a:pt x="47" y="31"/>
                    <a:pt x="47" y="26"/>
                  </a:cubicBezTo>
                  <a:cubicBezTo>
                    <a:pt x="47" y="18"/>
                    <a:pt x="39" y="12"/>
                    <a:pt x="29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19" name="Freeform 23">
            <a:extLst>
              <a:ext uri="{FF2B5EF4-FFF2-40B4-BE49-F238E27FC236}">
                <a16:creationId xmlns:a16="http://schemas.microsoft.com/office/drawing/2014/main" id="{19F89375-8AAD-8C4E-384B-39CBB29F203C}"/>
              </a:ext>
            </a:extLst>
          </p:cNvPr>
          <p:cNvSpPr>
            <a:spLocks noEditPoints="1"/>
          </p:cNvSpPr>
          <p:nvPr/>
        </p:nvSpPr>
        <p:spPr bwMode="auto">
          <a:xfrm>
            <a:off x="3872703" y="4101652"/>
            <a:ext cx="560312" cy="496208"/>
          </a:xfrm>
          <a:custGeom>
            <a:avLst/>
            <a:gdLst>
              <a:gd name="T0" fmla="*/ 232 w 256"/>
              <a:gd name="T1" fmla="*/ 84 h 227"/>
              <a:gd name="T2" fmla="*/ 172 w 256"/>
              <a:gd name="T3" fmla="*/ 44 h 227"/>
              <a:gd name="T4" fmla="*/ 120 w 256"/>
              <a:gd name="T5" fmla="*/ 48 h 227"/>
              <a:gd name="T6" fmla="*/ 64 w 256"/>
              <a:gd name="T7" fmla="*/ 107 h 227"/>
              <a:gd name="T8" fmla="*/ 0 w 256"/>
              <a:gd name="T9" fmla="*/ 131 h 227"/>
              <a:gd name="T10" fmla="*/ 32 w 256"/>
              <a:gd name="T11" fmla="*/ 227 h 227"/>
              <a:gd name="T12" fmla="*/ 87 w 256"/>
              <a:gd name="T13" fmla="*/ 212 h 227"/>
              <a:gd name="T14" fmla="*/ 103 w 256"/>
              <a:gd name="T15" fmla="*/ 219 h 227"/>
              <a:gd name="T16" fmla="*/ 232 w 256"/>
              <a:gd name="T17" fmla="*/ 197 h 227"/>
              <a:gd name="T18" fmla="*/ 240 w 256"/>
              <a:gd name="T19" fmla="*/ 169 h 227"/>
              <a:gd name="T20" fmla="*/ 248 w 256"/>
              <a:gd name="T21" fmla="*/ 140 h 227"/>
              <a:gd name="T22" fmla="*/ 256 w 256"/>
              <a:gd name="T23" fmla="*/ 108 h 227"/>
              <a:gd name="T24" fmla="*/ 32 w 256"/>
              <a:gd name="T25" fmla="*/ 211 h 227"/>
              <a:gd name="T26" fmla="*/ 16 w 256"/>
              <a:gd name="T27" fmla="*/ 131 h 227"/>
              <a:gd name="T28" fmla="*/ 64 w 256"/>
              <a:gd name="T29" fmla="*/ 123 h 227"/>
              <a:gd name="T30" fmla="*/ 72 w 256"/>
              <a:gd name="T31" fmla="*/ 198 h 227"/>
              <a:gd name="T32" fmla="*/ 72 w 256"/>
              <a:gd name="T33" fmla="*/ 203 h 227"/>
              <a:gd name="T34" fmla="*/ 210 w 256"/>
              <a:gd name="T35" fmla="*/ 203 h 227"/>
              <a:gd name="T36" fmla="*/ 88 w 256"/>
              <a:gd name="T37" fmla="*/ 194 h 227"/>
              <a:gd name="T38" fmla="*/ 86 w 256"/>
              <a:gd name="T39" fmla="*/ 121 h 227"/>
              <a:gd name="T40" fmla="*/ 140 w 256"/>
              <a:gd name="T41" fmla="*/ 16 h 227"/>
              <a:gd name="T42" fmla="*/ 152 w 256"/>
              <a:gd name="T43" fmla="*/ 90 h 227"/>
              <a:gd name="T44" fmla="*/ 160 w 256"/>
              <a:gd name="T45" fmla="*/ 100 h 227"/>
              <a:gd name="T46" fmla="*/ 240 w 256"/>
              <a:gd name="T47" fmla="*/ 108 h 227"/>
              <a:gd name="T48" fmla="*/ 223 w 256"/>
              <a:gd name="T49" fmla="*/ 116 h 227"/>
              <a:gd name="T50" fmla="*/ 223 w 256"/>
              <a:gd name="T51" fmla="*/ 132 h 227"/>
              <a:gd name="T52" fmla="*/ 224 w 256"/>
              <a:gd name="T53" fmla="*/ 132 h 227"/>
              <a:gd name="T54" fmla="*/ 224 w 256"/>
              <a:gd name="T55" fmla="*/ 148 h 227"/>
              <a:gd name="T56" fmla="*/ 218 w 256"/>
              <a:gd name="T57" fmla="*/ 147 h 227"/>
              <a:gd name="T58" fmla="*/ 215 w 256"/>
              <a:gd name="T59" fmla="*/ 148 h 227"/>
              <a:gd name="T60" fmla="*/ 215 w 256"/>
              <a:gd name="T61" fmla="*/ 164 h 227"/>
              <a:gd name="T62" fmla="*/ 224 w 256"/>
              <a:gd name="T63" fmla="*/ 169 h 227"/>
              <a:gd name="T64" fmla="*/ 210 w 256"/>
              <a:gd name="T65" fmla="*/ 175 h 227"/>
              <a:gd name="T66" fmla="*/ 210 w 256"/>
              <a:gd name="T67" fmla="*/ 175 h 227"/>
              <a:gd name="T68" fmla="*/ 210 w 256"/>
              <a:gd name="T69" fmla="*/ 191 h 227"/>
              <a:gd name="T70" fmla="*/ 210 w 256"/>
              <a:gd name="T71" fmla="*/ 203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56" h="227">
                <a:moveTo>
                  <a:pt x="256" y="108"/>
                </a:moveTo>
                <a:cubicBezTo>
                  <a:pt x="256" y="94"/>
                  <a:pt x="245" y="84"/>
                  <a:pt x="232" y="84"/>
                </a:cubicBezTo>
                <a:cubicBezTo>
                  <a:pt x="169" y="84"/>
                  <a:pt x="169" y="84"/>
                  <a:pt x="169" y="84"/>
                </a:cubicBezTo>
                <a:cubicBezTo>
                  <a:pt x="171" y="74"/>
                  <a:pt x="172" y="59"/>
                  <a:pt x="172" y="44"/>
                </a:cubicBezTo>
                <a:cubicBezTo>
                  <a:pt x="172" y="13"/>
                  <a:pt x="156" y="0"/>
                  <a:pt x="140" y="0"/>
                </a:cubicBezTo>
                <a:cubicBezTo>
                  <a:pt x="120" y="0"/>
                  <a:pt x="120" y="21"/>
                  <a:pt x="120" y="48"/>
                </a:cubicBezTo>
                <a:cubicBezTo>
                  <a:pt x="120" y="67"/>
                  <a:pt x="90" y="97"/>
                  <a:pt x="75" y="110"/>
                </a:cubicBezTo>
                <a:cubicBezTo>
                  <a:pt x="71" y="108"/>
                  <a:pt x="68" y="107"/>
                  <a:pt x="64" y="107"/>
                </a:cubicBezTo>
                <a:cubicBezTo>
                  <a:pt x="24" y="107"/>
                  <a:pt x="24" y="107"/>
                  <a:pt x="24" y="107"/>
                </a:cubicBezTo>
                <a:cubicBezTo>
                  <a:pt x="11" y="107"/>
                  <a:pt x="0" y="118"/>
                  <a:pt x="0" y="131"/>
                </a:cubicBezTo>
                <a:cubicBezTo>
                  <a:pt x="8" y="203"/>
                  <a:pt x="8" y="203"/>
                  <a:pt x="8" y="203"/>
                </a:cubicBezTo>
                <a:cubicBezTo>
                  <a:pt x="10" y="216"/>
                  <a:pt x="19" y="227"/>
                  <a:pt x="32" y="227"/>
                </a:cubicBezTo>
                <a:cubicBezTo>
                  <a:pt x="64" y="227"/>
                  <a:pt x="64" y="227"/>
                  <a:pt x="64" y="227"/>
                </a:cubicBezTo>
                <a:cubicBezTo>
                  <a:pt x="74" y="227"/>
                  <a:pt x="83" y="221"/>
                  <a:pt x="87" y="212"/>
                </a:cubicBezTo>
                <a:cubicBezTo>
                  <a:pt x="100" y="219"/>
                  <a:pt x="100" y="219"/>
                  <a:pt x="100" y="219"/>
                </a:cubicBezTo>
                <a:cubicBezTo>
                  <a:pt x="101" y="219"/>
                  <a:pt x="102" y="219"/>
                  <a:pt x="103" y="219"/>
                </a:cubicBezTo>
                <a:cubicBezTo>
                  <a:pt x="210" y="219"/>
                  <a:pt x="210" y="219"/>
                  <a:pt x="210" y="219"/>
                </a:cubicBezTo>
                <a:cubicBezTo>
                  <a:pt x="222" y="219"/>
                  <a:pt x="232" y="210"/>
                  <a:pt x="232" y="197"/>
                </a:cubicBezTo>
                <a:cubicBezTo>
                  <a:pt x="232" y="194"/>
                  <a:pt x="231" y="191"/>
                  <a:pt x="230" y="188"/>
                </a:cubicBezTo>
                <a:cubicBezTo>
                  <a:pt x="236" y="184"/>
                  <a:pt x="240" y="177"/>
                  <a:pt x="240" y="169"/>
                </a:cubicBezTo>
                <a:cubicBezTo>
                  <a:pt x="240" y="166"/>
                  <a:pt x="239" y="162"/>
                  <a:pt x="238" y="159"/>
                </a:cubicBezTo>
                <a:cubicBezTo>
                  <a:pt x="244" y="155"/>
                  <a:pt x="248" y="148"/>
                  <a:pt x="248" y="140"/>
                </a:cubicBezTo>
                <a:cubicBezTo>
                  <a:pt x="248" y="135"/>
                  <a:pt x="247" y="131"/>
                  <a:pt x="245" y="128"/>
                </a:cubicBezTo>
                <a:cubicBezTo>
                  <a:pt x="252" y="123"/>
                  <a:pt x="256" y="116"/>
                  <a:pt x="256" y="108"/>
                </a:cubicBezTo>
                <a:close/>
                <a:moveTo>
                  <a:pt x="64" y="211"/>
                </a:moveTo>
                <a:cubicBezTo>
                  <a:pt x="32" y="211"/>
                  <a:pt x="32" y="211"/>
                  <a:pt x="32" y="211"/>
                </a:cubicBezTo>
                <a:cubicBezTo>
                  <a:pt x="28" y="211"/>
                  <a:pt x="25" y="206"/>
                  <a:pt x="24" y="202"/>
                </a:cubicBezTo>
                <a:cubicBezTo>
                  <a:pt x="16" y="131"/>
                  <a:pt x="16" y="131"/>
                  <a:pt x="16" y="131"/>
                </a:cubicBezTo>
                <a:cubicBezTo>
                  <a:pt x="17" y="127"/>
                  <a:pt x="20" y="123"/>
                  <a:pt x="24" y="123"/>
                </a:cubicBezTo>
                <a:cubicBezTo>
                  <a:pt x="64" y="123"/>
                  <a:pt x="64" y="123"/>
                  <a:pt x="64" y="123"/>
                </a:cubicBezTo>
                <a:cubicBezTo>
                  <a:pt x="69" y="123"/>
                  <a:pt x="72" y="127"/>
                  <a:pt x="72" y="131"/>
                </a:cubicBezTo>
                <a:cubicBezTo>
                  <a:pt x="72" y="198"/>
                  <a:pt x="72" y="198"/>
                  <a:pt x="72" y="198"/>
                </a:cubicBezTo>
                <a:cubicBezTo>
                  <a:pt x="72" y="199"/>
                  <a:pt x="72" y="200"/>
                  <a:pt x="72" y="201"/>
                </a:cubicBezTo>
                <a:cubicBezTo>
                  <a:pt x="72" y="203"/>
                  <a:pt x="72" y="203"/>
                  <a:pt x="72" y="203"/>
                </a:cubicBezTo>
                <a:cubicBezTo>
                  <a:pt x="72" y="208"/>
                  <a:pt x="69" y="211"/>
                  <a:pt x="64" y="211"/>
                </a:cubicBezTo>
                <a:close/>
                <a:moveTo>
                  <a:pt x="210" y="203"/>
                </a:moveTo>
                <a:cubicBezTo>
                  <a:pt x="105" y="203"/>
                  <a:pt x="105" y="203"/>
                  <a:pt x="105" y="203"/>
                </a:cubicBezTo>
                <a:cubicBezTo>
                  <a:pt x="88" y="194"/>
                  <a:pt x="88" y="194"/>
                  <a:pt x="88" y="194"/>
                </a:cubicBezTo>
                <a:cubicBezTo>
                  <a:pt x="88" y="131"/>
                  <a:pt x="88" y="131"/>
                  <a:pt x="88" y="131"/>
                </a:cubicBezTo>
                <a:cubicBezTo>
                  <a:pt x="88" y="128"/>
                  <a:pt x="87" y="124"/>
                  <a:pt x="86" y="121"/>
                </a:cubicBezTo>
                <a:cubicBezTo>
                  <a:pt x="100" y="109"/>
                  <a:pt x="136" y="75"/>
                  <a:pt x="136" y="48"/>
                </a:cubicBezTo>
                <a:cubicBezTo>
                  <a:pt x="136" y="31"/>
                  <a:pt x="136" y="16"/>
                  <a:pt x="140" y="16"/>
                </a:cubicBezTo>
                <a:cubicBezTo>
                  <a:pt x="148" y="16"/>
                  <a:pt x="156" y="25"/>
                  <a:pt x="156" y="44"/>
                </a:cubicBezTo>
                <a:cubicBezTo>
                  <a:pt x="156" y="67"/>
                  <a:pt x="152" y="90"/>
                  <a:pt x="152" y="90"/>
                </a:cubicBezTo>
                <a:cubicBezTo>
                  <a:pt x="152" y="93"/>
                  <a:pt x="153" y="95"/>
                  <a:pt x="154" y="97"/>
                </a:cubicBezTo>
                <a:cubicBezTo>
                  <a:pt x="156" y="98"/>
                  <a:pt x="158" y="100"/>
                  <a:pt x="160" y="100"/>
                </a:cubicBezTo>
                <a:cubicBezTo>
                  <a:pt x="232" y="100"/>
                  <a:pt x="232" y="100"/>
                  <a:pt x="232" y="100"/>
                </a:cubicBezTo>
                <a:cubicBezTo>
                  <a:pt x="237" y="100"/>
                  <a:pt x="240" y="103"/>
                  <a:pt x="240" y="108"/>
                </a:cubicBezTo>
                <a:cubicBezTo>
                  <a:pt x="240" y="112"/>
                  <a:pt x="237" y="116"/>
                  <a:pt x="232" y="116"/>
                </a:cubicBezTo>
                <a:cubicBezTo>
                  <a:pt x="223" y="116"/>
                  <a:pt x="223" y="116"/>
                  <a:pt x="223" y="116"/>
                </a:cubicBezTo>
                <a:cubicBezTo>
                  <a:pt x="219" y="116"/>
                  <a:pt x="215" y="119"/>
                  <a:pt x="215" y="124"/>
                </a:cubicBezTo>
                <a:cubicBezTo>
                  <a:pt x="215" y="128"/>
                  <a:pt x="219" y="132"/>
                  <a:pt x="223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9" y="132"/>
                  <a:pt x="232" y="135"/>
                  <a:pt x="232" y="140"/>
                </a:cubicBezTo>
                <a:cubicBezTo>
                  <a:pt x="232" y="144"/>
                  <a:pt x="229" y="148"/>
                  <a:pt x="224" y="148"/>
                </a:cubicBezTo>
                <a:cubicBezTo>
                  <a:pt x="219" y="148"/>
                  <a:pt x="219" y="148"/>
                  <a:pt x="219" y="148"/>
                </a:cubicBezTo>
                <a:cubicBezTo>
                  <a:pt x="219" y="148"/>
                  <a:pt x="218" y="147"/>
                  <a:pt x="218" y="147"/>
                </a:cubicBezTo>
                <a:cubicBezTo>
                  <a:pt x="218" y="147"/>
                  <a:pt x="218" y="148"/>
                  <a:pt x="218" y="148"/>
                </a:cubicBezTo>
                <a:cubicBezTo>
                  <a:pt x="215" y="148"/>
                  <a:pt x="215" y="148"/>
                  <a:pt x="215" y="148"/>
                </a:cubicBezTo>
                <a:cubicBezTo>
                  <a:pt x="211" y="148"/>
                  <a:pt x="207" y="151"/>
                  <a:pt x="207" y="156"/>
                </a:cubicBezTo>
                <a:cubicBezTo>
                  <a:pt x="207" y="160"/>
                  <a:pt x="211" y="164"/>
                  <a:pt x="215" y="164"/>
                </a:cubicBezTo>
                <a:cubicBezTo>
                  <a:pt x="218" y="164"/>
                  <a:pt x="218" y="164"/>
                  <a:pt x="218" y="164"/>
                </a:cubicBezTo>
                <a:cubicBezTo>
                  <a:pt x="222" y="164"/>
                  <a:pt x="224" y="166"/>
                  <a:pt x="224" y="169"/>
                </a:cubicBezTo>
                <a:cubicBezTo>
                  <a:pt x="224" y="173"/>
                  <a:pt x="221" y="175"/>
                  <a:pt x="218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06" y="175"/>
                  <a:pt x="202" y="179"/>
                  <a:pt x="202" y="183"/>
                </a:cubicBezTo>
                <a:cubicBezTo>
                  <a:pt x="202" y="188"/>
                  <a:pt x="206" y="191"/>
                  <a:pt x="210" y="191"/>
                </a:cubicBezTo>
                <a:cubicBezTo>
                  <a:pt x="213" y="191"/>
                  <a:pt x="216" y="194"/>
                  <a:pt x="216" y="197"/>
                </a:cubicBezTo>
                <a:cubicBezTo>
                  <a:pt x="216" y="201"/>
                  <a:pt x="213" y="203"/>
                  <a:pt x="210" y="20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US" sz="840" b="1">
              <a:latin typeface="+mn-lt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51C9D1D1-B97D-CDDF-1570-126F526AEA2D}"/>
              </a:ext>
            </a:extLst>
          </p:cNvPr>
          <p:cNvGrpSpPr/>
          <p:nvPr/>
        </p:nvGrpSpPr>
        <p:grpSpPr>
          <a:xfrm>
            <a:off x="2471788" y="1862438"/>
            <a:ext cx="632472" cy="426508"/>
            <a:chOff x="6716027" y="5411634"/>
            <a:chExt cx="583964" cy="393797"/>
          </a:xfrm>
          <a:solidFill>
            <a:schemeClr val="bg1"/>
          </a:solidFill>
        </p:grpSpPr>
        <p:sp>
          <p:nvSpPr>
            <p:cNvPr id="21" name="Freeform 17">
              <a:extLst>
                <a:ext uri="{FF2B5EF4-FFF2-40B4-BE49-F238E27FC236}">
                  <a16:creationId xmlns:a16="http://schemas.microsoft.com/office/drawing/2014/main" id="{9AD31E53-1DD4-13E1-FB1E-FAA745777DE5}"/>
                </a:ext>
              </a:extLst>
            </p:cNvPr>
            <p:cNvSpPr>
              <a:spLocks noEditPoints="1"/>
            </p:cNvSpPr>
            <p:nvPr/>
          </p:nvSpPr>
          <p:spPr bwMode="auto">
            <a:xfrm rot="2700000">
              <a:off x="6832931" y="5294730"/>
              <a:ext cx="350155" cy="583964"/>
            </a:xfrm>
            <a:custGeom>
              <a:avLst/>
              <a:gdLst>
                <a:gd name="T0" fmla="*/ 50 w 184"/>
                <a:gd name="T1" fmla="*/ 310 h 310"/>
                <a:gd name="T2" fmla="*/ 32 w 184"/>
                <a:gd name="T3" fmla="*/ 282 h 310"/>
                <a:gd name="T4" fmla="*/ 10 w 184"/>
                <a:gd name="T5" fmla="*/ 199 h 310"/>
                <a:gd name="T6" fmla="*/ 39 w 184"/>
                <a:gd name="T7" fmla="*/ 171 h 310"/>
                <a:gd name="T8" fmla="*/ 30 w 184"/>
                <a:gd name="T9" fmla="*/ 116 h 310"/>
                <a:gd name="T10" fmla="*/ 36 w 184"/>
                <a:gd name="T11" fmla="*/ 73 h 310"/>
                <a:gd name="T12" fmla="*/ 36 w 184"/>
                <a:gd name="T13" fmla="*/ 72 h 310"/>
                <a:gd name="T14" fmla="*/ 92 w 184"/>
                <a:gd name="T15" fmla="*/ 0 h 310"/>
                <a:gd name="T16" fmla="*/ 148 w 184"/>
                <a:gd name="T17" fmla="*/ 72 h 310"/>
                <a:gd name="T18" fmla="*/ 148 w 184"/>
                <a:gd name="T19" fmla="*/ 73 h 310"/>
                <a:gd name="T20" fmla="*/ 155 w 184"/>
                <a:gd name="T21" fmla="*/ 116 h 310"/>
                <a:gd name="T22" fmla="*/ 145 w 184"/>
                <a:gd name="T23" fmla="*/ 171 h 310"/>
                <a:gd name="T24" fmla="*/ 174 w 184"/>
                <a:gd name="T25" fmla="*/ 199 h 310"/>
                <a:gd name="T26" fmla="*/ 153 w 184"/>
                <a:gd name="T27" fmla="*/ 282 h 310"/>
                <a:gd name="T28" fmla="*/ 134 w 184"/>
                <a:gd name="T29" fmla="*/ 310 h 310"/>
                <a:gd name="T30" fmla="*/ 134 w 184"/>
                <a:gd name="T31" fmla="*/ 276 h 310"/>
                <a:gd name="T32" fmla="*/ 118 w 184"/>
                <a:gd name="T33" fmla="*/ 239 h 310"/>
                <a:gd name="T34" fmla="*/ 118 w 184"/>
                <a:gd name="T35" fmla="*/ 240 h 310"/>
                <a:gd name="T36" fmla="*/ 115 w 184"/>
                <a:gd name="T37" fmla="*/ 246 h 310"/>
                <a:gd name="T38" fmla="*/ 108 w 184"/>
                <a:gd name="T39" fmla="*/ 245 h 310"/>
                <a:gd name="T40" fmla="*/ 76 w 184"/>
                <a:gd name="T41" fmla="*/ 245 h 310"/>
                <a:gd name="T42" fmla="*/ 69 w 184"/>
                <a:gd name="T43" fmla="*/ 246 h 310"/>
                <a:gd name="T44" fmla="*/ 66 w 184"/>
                <a:gd name="T45" fmla="*/ 240 h 310"/>
                <a:gd name="T46" fmla="*/ 66 w 184"/>
                <a:gd name="T47" fmla="*/ 239 h 310"/>
                <a:gd name="T48" fmla="*/ 50 w 184"/>
                <a:gd name="T49" fmla="*/ 276 h 310"/>
                <a:gd name="T50" fmla="*/ 50 w 184"/>
                <a:gd name="T51" fmla="*/ 310 h 310"/>
                <a:gd name="T52" fmla="*/ 55 w 184"/>
                <a:gd name="T53" fmla="*/ 79 h 310"/>
                <a:gd name="T54" fmla="*/ 50 w 184"/>
                <a:gd name="T55" fmla="*/ 116 h 310"/>
                <a:gd name="T56" fmla="*/ 61 w 184"/>
                <a:gd name="T57" fmla="*/ 174 h 310"/>
                <a:gd name="T58" fmla="*/ 64 w 184"/>
                <a:gd name="T59" fmla="*/ 184 h 310"/>
                <a:gd name="T60" fmla="*/ 54 w 184"/>
                <a:gd name="T61" fmla="*/ 187 h 310"/>
                <a:gd name="T62" fmla="*/ 29 w 184"/>
                <a:gd name="T63" fmla="*/ 205 h 310"/>
                <a:gd name="T64" fmla="*/ 36 w 184"/>
                <a:gd name="T65" fmla="*/ 247 h 310"/>
                <a:gd name="T66" fmla="*/ 65 w 184"/>
                <a:gd name="T67" fmla="*/ 215 h 310"/>
                <a:gd name="T68" fmla="*/ 74 w 184"/>
                <a:gd name="T69" fmla="*/ 209 h 310"/>
                <a:gd name="T70" fmla="*/ 79 w 184"/>
                <a:gd name="T71" fmla="*/ 219 h 310"/>
                <a:gd name="T72" fmla="*/ 82 w 184"/>
                <a:gd name="T73" fmla="*/ 225 h 310"/>
                <a:gd name="T74" fmla="*/ 103 w 184"/>
                <a:gd name="T75" fmla="*/ 225 h 310"/>
                <a:gd name="T76" fmla="*/ 105 w 184"/>
                <a:gd name="T77" fmla="*/ 219 h 310"/>
                <a:gd name="T78" fmla="*/ 110 w 184"/>
                <a:gd name="T79" fmla="*/ 209 h 310"/>
                <a:gd name="T80" fmla="*/ 120 w 184"/>
                <a:gd name="T81" fmla="*/ 215 h 310"/>
                <a:gd name="T82" fmla="*/ 148 w 184"/>
                <a:gd name="T83" fmla="*/ 247 h 310"/>
                <a:gd name="T84" fmla="*/ 155 w 184"/>
                <a:gd name="T85" fmla="*/ 205 h 310"/>
                <a:gd name="T86" fmla="*/ 130 w 184"/>
                <a:gd name="T87" fmla="*/ 187 h 310"/>
                <a:gd name="T88" fmla="*/ 120 w 184"/>
                <a:gd name="T89" fmla="*/ 184 h 310"/>
                <a:gd name="T90" fmla="*/ 123 w 184"/>
                <a:gd name="T91" fmla="*/ 174 h 310"/>
                <a:gd name="T92" fmla="*/ 135 w 184"/>
                <a:gd name="T93" fmla="*/ 116 h 310"/>
                <a:gd name="T94" fmla="*/ 129 w 184"/>
                <a:gd name="T95" fmla="*/ 79 h 310"/>
                <a:gd name="T96" fmla="*/ 92 w 184"/>
                <a:gd name="T97" fmla="*/ 21 h 310"/>
                <a:gd name="T98" fmla="*/ 55 w 184"/>
                <a:gd name="T99" fmla="*/ 79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84" h="310">
                  <a:moveTo>
                    <a:pt x="50" y="310"/>
                  </a:moveTo>
                  <a:cubicBezTo>
                    <a:pt x="32" y="282"/>
                    <a:pt x="32" y="282"/>
                    <a:pt x="32" y="282"/>
                  </a:cubicBezTo>
                  <a:cubicBezTo>
                    <a:pt x="28" y="276"/>
                    <a:pt x="0" y="230"/>
                    <a:pt x="10" y="199"/>
                  </a:cubicBezTo>
                  <a:cubicBezTo>
                    <a:pt x="14" y="187"/>
                    <a:pt x="24" y="178"/>
                    <a:pt x="39" y="171"/>
                  </a:cubicBezTo>
                  <a:cubicBezTo>
                    <a:pt x="33" y="151"/>
                    <a:pt x="30" y="132"/>
                    <a:pt x="30" y="116"/>
                  </a:cubicBezTo>
                  <a:cubicBezTo>
                    <a:pt x="30" y="102"/>
                    <a:pt x="32" y="87"/>
                    <a:pt x="36" y="73"/>
                  </a:cubicBezTo>
                  <a:cubicBezTo>
                    <a:pt x="36" y="72"/>
                    <a:pt x="36" y="72"/>
                    <a:pt x="36" y="72"/>
                  </a:cubicBezTo>
                  <a:cubicBezTo>
                    <a:pt x="50" y="35"/>
                    <a:pt x="77" y="0"/>
                    <a:pt x="92" y="0"/>
                  </a:cubicBezTo>
                  <a:cubicBezTo>
                    <a:pt x="107" y="0"/>
                    <a:pt x="134" y="35"/>
                    <a:pt x="148" y="72"/>
                  </a:cubicBezTo>
                  <a:cubicBezTo>
                    <a:pt x="148" y="73"/>
                    <a:pt x="148" y="73"/>
                    <a:pt x="148" y="73"/>
                  </a:cubicBezTo>
                  <a:cubicBezTo>
                    <a:pt x="152" y="87"/>
                    <a:pt x="155" y="102"/>
                    <a:pt x="155" y="116"/>
                  </a:cubicBezTo>
                  <a:cubicBezTo>
                    <a:pt x="155" y="132"/>
                    <a:pt x="152" y="151"/>
                    <a:pt x="145" y="171"/>
                  </a:cubicBezTo>
                  <a:cubicBezTo>
                    <a:pt x="160" y="178"/>
                    <a:pt x="170" y="187"/>
                    <a:pt x="174" y="199"/>
                  </a:cubicBezTo>
                  <a:cubicBezTo>
                    <a:pt x="184" y="230"/>
                    <a:pt x="156" y="276"/>
                    <a:pt x="153" y="282"/>
                  </a:cubicBezTo>
                  <a:cubicBezTo>
                    <a:pt x="134" y="310"/>
                    <a:pt x="134" y="310"/>
                    <a:pt x="134" y="310"/>
                  </a:cubicBezTo>
                  <a:cubicBezTo>
                    <a:pt x="134" y="276"/>
                    <a:pt x="134" y="276"/>
                    <a:pt x="134" y="276"/>
                  </a:cubicBezTo>
                  <a:cubicBezTo>
                    <a:pt x="134" y="262"/>
                    <a:pt x="128" y="248"/>
                    <a:pt x="118" y="239"/>
                  </a:cubicBezTo>
                  <a:cubicBezTo>
                    <a:pt x="118" y="239"/>
                    <a:pt x="118" y="239"/>
                    <a:pt x="118" y="240"/>
                  </a:cubicBezTo>
                  <a:cubicBezTo>
                    <a:pt x="115" y="246"/>
                    <a:pt x="115" y="246"/>
                    <a:pt x="115" y="246"/>
                  </a:cubicBezTo>
                  <a:cubicBezTo>
                    <a:pt x="108" y="245"/>
                    <a:pt x="108" y="245"/>
                    <a:pt x="108" y="245"/>
                  </a:cubicBezTo>
                  <a:cubicBezTo>
                    <a:pt x="98" y="245"/>
                    <a:pt x="87" y="245"/>
                    <a:pt x="76" y="245"/>
                  </a:cubicBezTo>
                  <a:cubicBezTo>
                    <a:pt x="69" y="246"/>
                    <a:pt x="69" y="246"/>
                    <a:pt x="69" y="246"/>
                  </a:cubicBezTo>
                  <a:cubicBezTo>
                    <a:pt x="66" y="240"/>
                    <a:pt x="66" y="240"/>
                    <a:pt x="66" y="240"/>
                  </a:cubicBezTo>
                  <a:cubicBezTo>
                    <a:pt x="66" y="239"/>
                    <a:pt x="66" y="239"/>
                    <a:pt x="66" y="239"/>
                  </a:cubicBezTo>
                  <a:cubicBezTo>
                    <a:pt x="56" y="249"/>
                    <a:pt x="50" y="262"/>
                    <a:pt x="50" y="276"/>
                  </a:cubicBezTo>
                  <a:lnTo>
                    <a:pt x="50" y="310"/>
                  </a:lnTo>
                  <a:close/>
                  <a:moveTo>
                    <a:pt x="55" y="79"/>
                  </a:moveTo>
                  <a:cubicBezTo>
                    <a:pt x="52" y="91"/>
                    <a:pt x="50" y="104"/>
                    <a:pt x="50" y="116"/>
                  </a:cubicBezTo>
                  <a:cubicBezTo>
                    <a:pt x="50" y="132"/>
                    <a:pt x="53" y="152"/>
                    <a:pt x="61" y="174"/>
                  </a:cubicBezTo>
                  <a:cubicBezTo>
                    <a:pt x="64" y="184"/>
                    <a:pt x="64" y="184"/>
                    <a:pt x="64" y="184"/>
                  </a:cubicBezTo>
                  <a:cubicBezTo>
                    <a:pt x="54" y="187"/>
                    <a:pt x="54" y="187"/>
                    <a:pt x="54" y="187"/>
                  </a:cubicBezTo>
                  <a:cubicBezTo>
                    <a:pt x="45" y="190"/>
                    <a:pt x="33" y="196"/>
                    <a:pt x="29" y="205"/>
                  </a:cubicBezTo>
                  <a:cubicBezTo>
                    <a:pt x="26" y="216"/>
                    <a:pt x="30" y="233"/>
                    <a:pt x="36" y="247"/>
                  </a:cubicBezTo>
                  <a:cubicBezTo>
                    <a:pt x="42" y="234"/>
                    <a:pt x="52" y="223"/>
                    <a:pt x="65" y="215"/>
                  </a:cubicBezTo>
                  <a:cubicBezTo>
                    <a:pt x="74" y="209"/>
                    <a:pt x="74" y="209"/>
                    <a:pt x="74" y="209"/>
                  </a:cubicBezTo>
                  <a:cubicBezTo>
                    <a:pt x="79" y="219"/>
                    <a:pt x="79" y="219"/>
                    <a:pt x="79" y="219"/>
                  </a:cubicBezTo>
                  <a:cubicBezTo>
                    <a:pt x="80" y="221"/>
                    <a:pt x="81" y="223"/>
                    <a:pt x="82" y="225"/>
                  </a:cubicBezTo>
                  <a:cubicBezTo>
                    <a:pt x="89" y="225"/>
                    <a:pt x="96" y="225"/>
                    <a:pt x="103" y="225"/>
                  </a:cubicBezTo>
                  <a:cubicBezTo>
                    <a:pt x="104" y="223"/>
                    <a:pt x="105" y="221"/>
                    <a:pt x="105" y="219"/>
                  </a:cubicBezTo>
                  <a:cubicBezTo>
                    <a:pt x="110" y="209"/>
                    <a:pt x="110" y="209"/>
                    <a:pt x="110" y="209"/>
                  </a:cubicBezTo>
                  <a:cubicBezTo>
                    <a:pt x="120" y="215"/>
                    <a:pt x="120" y="215"/>
                    <a:pt x="120" y="215"/>
                  </a:cubicBezTo>
                  <a:cubicBezTo>
                    <a:pt x="133" y="223"/>
                    <a:pt x="142" y="234"/>
                    <a:pt x="148" y="247"/>
                  </a:cubicBezTo>
                  <a:cubicBezTo>
                    <a:pt x="154" y="233"/>
                    <a:pt x="159" y="216"/>
                    <a:pt x="155" y="205"/>
                  </a:cubicBezTo>
                  <a:cubicBezTo>
                    <a:pt x="152" y="196"/>
                    <a:pt x="140" y="190"/>
                    <a:pt x="130" y="187"/>
                  </a:cubicBezTo>
                  <a:cubicBezTo>
                    <a:pt x="120" y="184"/>
                    <a:pt x="120" y="184"/>
                    <a:pt x="120" y="184"/>
                  </a:cubicBezTo>
                  <a:cubicBezTo>
                    <a:pt x="123" y="174"/>
                    <a:pt x="123" y="174"/>
                    <a:pt x="123" y="174"/>
                  </a:cubicBezTo>
                  <a:cubicBezTo>
                    <a:pt x="131" y="152"/>
                    <a:pt x="135" y="132"/>
                    <a:pt x="135" y="116"/>
                  </a:cubicBezTo>
                  <a:cubicBezTo>
                    <a:pt x="135" y="104"/>
                    <a:pt x="133" y="91"/>
                    <a:pt x="129" y="79"/>
                  </a:cubicBezTo>
                  <a:cubicBezTo>
                    <a:pt x="117" y="47"/>
                    <a:pt x="99" y="26"/>
                    <a:pt x="92" y="21"/>
                  </a:cubicBezTo>
                  <a:cubicBezTo>
                    <a:pt x="85" y="26"/>
                    <a:pt x="67" y="47"/>
                    <a:pt x="55" y="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2" name="Freeform 18">
              <a:extLst>
                <a:ext uri="{FF2B5EF4-FFF2-40B4-BE49-F238E27FC236}">
                  <a16:creationId xmlns:a16="http://schemas.microsoft.com/office/drawing/2014/main" id="{D7CD9F4D-007D-95B7-E8CC-E252ECE5A74F}"/>
                </a:ext>
              </a:extLst>
            </p:cNvPr>
            <p:cNvSpPr>
              <a:spLocks noEditPoints="1"/>
            </p:cNvSpPr>
            <p:nvPr/>
          </p:nvSpPr>
          <p:spPr bwMode="auto">
            <a:xfrm rot="2700000">
              <a:off x="6989613" y="5483631"/>
              <a:ext cx="121724" cy="120112"/>
            </a:xfrm>
            <a:custGeom>
              <a:avLst/>
              <a:gdLst>
                <a:gd name="T0" fmla="*/ 32 w 64"/>
                <a:gd name="T1" fmla="*/ 64 h 64"/>
                <a:gd name="T2" fmla="*/ 0 w 64"/>
                <a:gd name="T3" fmla="*/ 32 h 64"/>
                <a:gd name="T4" fmla="*/ 32 w 64"/>
                <a:gd name="T5" fmla="*/ 0 h 64"/>
                <a:gd name="T6" fmla="*/ 64 w 64"/>
                <a:gd name="T7" fmla="*/ 32 h 64"/>
                <a:gd name="T8" fmla="*/ 32 w 64"/>
                <a:gd name="T9" fmla="*/ 64 h 64"/>
                <a:gd name="T10" fmla="*/ 32 w 64"/>
                <a:gd name="T11" fmla="*/ 12 h 64"/>
                <a:gd name="T12" fmla="*/ 12 w 64"/>
                <a:gd name="T13" fmla="*/ 32 h 64"/>
                <a:gd name="T14" fmla="*/ 32 w 64"/>
                <a:gd name="T15" fmla="*/ 52 h 64"/>
                <a:gd name="T16" fmla="*/ 52 w 64"/>
                <a:gd name="T17" fmla="*/ 32 h 64"/>
                <a:gd name="T18" fmla="*/ 32 w 64"/>
                <a:gd name="T19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32" y="64"/>
                  </a:moveTo>
                  <a:cubicBezTo>
                    <a:pt x="14" y="64"/>
                    <a:pt x="0" y="50"/>
                    <a:pt x="0" y="32"/>
                  </a:cubicBezTo>
                  <a:cubicBezTo>
                    <a:pt x="0" y="14"/>
                    <a:pt x="14" y="0"/>
                    <a:pt x="32" y="0"/>
                  </a:cubicBezTo>
                  <a:cubicBezTo>
                    <a:pt x="50" y="0"/>
                    <a:pt x="64" y="14"/>
                    <a:pt x="64" y="32"/>
                  </a:cubicBezTo>
                  <a:cubicBezTo>
                    <a:pt x="64" y="50"/>
                    <a:pt x="50" y="64"/>
                    <a:pt x="32" y="64"/>
                  </a:cubicBezTo>
                  <a:close/>
                  <a:moveTo>
                    <a:pt x="32" y="12"/>
                  </a:moveTo>
                  <a:cubicBezTo>
                    <a:pt x="21" y="12"/>
                    <a:pt x="12" y="21"/>
                    <a:pt x="12" y="32"/>
                  </a:cubicBezTo>
                  <a:cubicBezTo>
                    <a:pt x="12" y="43"/>
                    <a:pt x="21" y="52"/>
                    <a:pt x="32" y="52"/>
                  </a:cubicBezTo>
                  <a:cubicBezTo>
                    <a:pt x="43" y="52"/>
                    <a:pt x="52" y="43"/>
                    <a:pt x="52" y="32"/>
                  </a:cubicBezTo>
                  <a:cubicBezTo>
                    <a:pt x="52" y="21"/>
                    <a:pt x="43" y="12"/>
                    <a:pt x="3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3" name="Freeform 19">
              <a:extLst>
                <a:ext uri="{FF2B5EF4-FFF2-40B4-BE49-F238E27FC236}">
                  <a16:creationId xmlns:a16="http://schemas.microsoft.com/office/drawing/2014/main" id="{9302B985-E194-8E67-3331-26220CBBAB64}"/>
                </a:ext>
              </a:extLst>
            </p:cNvPr>
            <p:cNvSpPr>
              <a:spLocks noEditPoints="1"/>
            </p:cNvSpPr>
            <p:nvPr/>
          </p:nvSpPr>
          <p:spPr bwMode="auto">
            <a:xfrm rot="2700000">
              <a:off x="6790966" y="5660018"/>
              <a:ext cx="112239" cy="178587"/>
            </a:xfrm>
            <a:custGeom>
              <a:avLst/>
              <a:gdLst>
                <a:gd name="T0" fmla="*/ 29 w 59"/>
                <a:gd name="T1" fmla="*/ 95 h 95"/>
                <a:gd name="T2" fmla="*/ 24 w 59"/>
                <a:gd name="T3" fmla="*/ 85 h 95"/>
                <a:gd name="T4" fmla="*/ 0 w 59"/>
                <a:gd name="T5" fmla="*/ 26 h 95"/>
                <a:gd name="T6" fmla="*/ 29 w 59"/>
                <a:gd name="T7" fmla="*/ 0 h 95"/>
                <a:gd name="T8" fmla="*/ 59 w 59"/>
                <a:gd name="T9" fmla="*/ 26 h 95"/>
                <a:gd name="T10" fmla="*/ 34 w 59"/>
                <a:gd name="T11" fmla="*/ 85 h 95"/>
                <a:gd name="T12" fmla="*/ 29 w 59"/>
                <a:gd name="T13" fmla="*/ 95 h 95"/>
                <a:gd name="T14" fmla="*/ 29 w 59"/>
                <a:gd name="T15" fmla="*/ 12 h 95"/>
                <a:gd name="T16" fmla="*/ 12 w 59"/>
                <a:gd name="T17" fmla="*/ 26 h 95"/>
                <a:gd name="T18" fmla="*/ 29 w 59"/>
                <a:gd name="T19" fmla="*/ 69 h 95"/>
                <a:gd name="T20" fmla="*/ 47 w 59"/>
                <a:gd name="T21" fmla="*/ 26 h 95"/>
                <a:gd name="T22" fmla="*/ 29 w 59"/>
                <a:gd name="T23" fmla="*/ 12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" h="95">
                  <a:moveTo>
                    <a:pt x="29" y="95"/>
                  </a:moveTo>
                  <a:cubicBezTo>
                    <a:pt x="24" y="85"/>
                    <a:pt x="24" y="85"/>
                    <a:pt x="24" y="85"/>
                  </a:cubicBezTo>
                  <a:cubicBezTo>
                    <a:pt x="20" y="77"/>
                    <a:pt x="0" y="38"/>
                    <a:pt x="0" y="26"/>
                  </a:cubicBezTo>
                  <a:cubicBezTo>
                    <a:pt x="0" y="12"/>
                    <a:pt x="13" y="0"/>
                    <a:pt x="29" y="0"/>
                  </a:cubicBezTo>
                  <a:cubicBezTo>
                    <a:pt x="45" y="0"/>
                    <a:pt x="59" y="12"/>
                    <a:pt x="59" y="26"/>
                  </a:cubicBezTo>
                  <a:cubicBezTo>
                    <a:pt x="59" y="38"/>
                    <a:pt x="39" y="77"/>
                    <a:pt x="34" y="85"/>
                  </a:cubicBezTo>
                  <a:lnTo>
                    <a:pt x="29" y="95"/>
                  </a:lnTo>
                  <a:close/>
                  <a:moveTo>
                    <a:pt x="29" y="12"/>
                  </a:moveTo>
                  <a:cubicBezTo>
                    <a:pt x="19" y="12"/>
                    <a:pt x="12" y="18"/>
                    <a:pt x="12" y="26"/>
                  </a:cubicBezTo>
                  <a:cubicBezTo>
                    <a:pt x="12" y="31"/>
                    <a:pt x="20" y="50"/>
                    <a:pt x="29" y="69"/>
                  </a:cubicBezTo>
                  <a:cubicBezTo>
                    <a:pt x="38" y="50"/>
                    <a:pt x="47" y="31"/>
                    <a:pt x="47" y="26"/>
                  </a:cubicBezTo>
                  <a:cubicBezTo>
                    <a:pt x="47" y="18"/>
                    <a:pt x="39" y="12"/>
                    <a:pt x="29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7FB6B5CD-F98D-AB38-4CED-A456D4F408B4}"/>
              </a:ext>
            </a:extLst>
          </p:cNvPr>
          <p:cNvGrpSpPr>
            <a:grpSpLocks noChangeAspect="1"/>
          </p:cNvGrpSpPr>
          <p:nvPr/>
        </p:nvGrpSpPr>
        <p:grpSpPr>
          <a:xfrm>
            <a:off x="2555167" y="3499064"/>
            <a:ext cx="433084" cy="412235"/>
            <a:chOff x="6719888" y="887413"/>
            <a:chExt cx="492125" cy="468312"/>
          </a:xfrm>
          <a:solidFill>
            <a:schemeClr val="bg1"/>
          </a:solidFill>
        </p:grpSpPr>
        <p:sp>
          <p:nvSpPr>
            <p:cNvPr id="25" name="Freeform 26">
              <a:extLst>
                <a:ext uri="{FF2B5EF4-FFF2-40B4-BE49-F238E27FC236}">
                  <a16:creationId xmlns:a16="http://schemas.microsoft.com/office/drawing/2014/main" id="{FE04E934-0A7F-E627-B755-C1BD5C0FA2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19888" y="887413"/>
              <a:ext cx="492125" cy="468312"/>
            </a:xfrm>
            <a:custGeom>
              <a:avLst/>
              <a:gdLst>
                <a:gd name="T0" fmla="*/ 117 w 128"/>
                <a:gd name="T1" fmla="*/ 0 h 122"/>
                <a:gd name="T2" fmla="*/ 11 w 128"/>
                <a:gd name="T3" fmla="*/ 0 h 122"/>
                <a:gd name="T4" fmla="*/ 0 w 128"/>
                <a:gd name="T5" fmla="*/ 11 h 122"/>
                <a:gd name="T6" fmla="*/ 0 w 128"/>
                <a:gd name="T7" fmla="*/ 93 h 122"/>
                <a:gd name="T8" fmla="*/ 11 w 128"/>
                <a:gd name="T9" fmla="*/ 104 h 122"/>
                <a:gd name="T10" fmla="*/ 43 w 128"/>
                <a:gd name="T11" fmla="*/ 104 h 122"/>
                <a:gd name="T12" fmla="*/ 38 w 128"/>
                <a:gd name="T13" fmla="*/ 110 h 122"/>
                <a:gd name="T14" fmla="*/ 35 w 128"/>
                <a:gd name="T15" fmla="*/ 113 h 122"/>
                <a:gd name="T16" fmla="*/ 34 w 128"/>
                <a:gd name="T17" fmla="*/ 118 h 122"/>
                <a:gd name="T18" fmla="*/ 42 w 128"/>
                <a:gd name="T19" fmla="*/ 122 h 122"/>
                <a:gd name="T20" fmla="*/ 86 w 128"/>
                <a:gd name="T21" fmla="*/ 122 h 122"/>
                <a:gd name="T22" fmla="*/ 94 w 128"/>
                <a:gd name="T23" fmla="*/ 118 h 122"/>
                <a:gd name="T24" fmla="*/ 94 w 128"/>
                <a:gd name="T25" fmla="*/ 113 h 122"/>
                <a:gd name="T26" fmla="*/ 91 w 128"/>
                <a:gd name="T27" fmla="*/ 110 h 122"/>
                <a:gd name="T28" fmla="*/ 85 w 128"/>
                <a:gd name="T29" fmla="*/ 104 h 122"/>
                <a:gd name="T30" fmla="*/ 117 w 128"/>
                <a:gd name="T31" fmla="*/ 104 h 122"/>
                <a:gd name="T32" fmla="*/ 128 w 128"/>
                <a:gd name="T33" fmla="*/ 93 h 122"/>
                <a:gd name="T34" fmla="*/ 128 w 128"/>
                <a:gd name="T35" fmla="*/ 11 h 122"/>
                <a:gd name="T36" fmla="*/ 117 w 128"/>
                <a:gd name="T37" fmla="*/ 0 h 122"/>
                <a:gd name="T38" fmla="*/ 88 w 128"/>
                <a:gd name="T39" fmla="*/ 113 h 122"/>
                <a:gd name="T40" fmla="*/ 90 w 128"/>
                <a:gd name="T41" fmla="*/ 116 h 122"/>
                <a:gd name="T42" fmla="*/ 90 w 128"/>
                <a:gd name="T43" fmla="*/ 116 h 122"/>
                <a:gd name="T44" fmla="*/ 86 w 128"/>
                <a:gd name="T45" fmla="*/ 118 h 122"/>
                <a:gd name="T46" fmla="*/ 42 w 128"/>
                <a:gd name="T47" fmla="*/ 118 h 122"/>
                <a:gd name="T48" fmla="*/ 38 w 128"/>
                <a:gd name="T49" fmla="*/ 116 h 122"/>
                <a:gd name="T50" fmla="*/ 38 w 128"/>
                <a:gd name="T51" fmla="*/ 116 h 122"/>
                <a:gd name="T52" fmla="*/ 38 w 128"/>
                <a:gd name="T53" fmla="*/ 116 h 122"/>
                <a:gd name="T54" fmla="*/ 40 w 128"/>
                <a:gd name="T55" fmla="*/ 113 h 122"/>
                <a:gd name="T56" fmla="*/ 48 w 128"/>
                <a:gd name="T57" fmla="*/ 104 h 122"/>
                <a:gd name="T58" fmla="*/ 80 w 128"/>
                <a:gd name="T59" fmla="*/ 104 h 122"/>
                <a:gd name="T60" fmla="*/ 88 w 128"/>
                <a:gd name="T61" fmla="*/ 113 h 122"/>
                <a:gd name="T62" fmla="*/ 120 w 128"/>
                <a:gd name="T63" fmla="*/ 93 h 122"/>
                <a:gd name="T64" fmla="*/ 117 w 128"/>
                <a:gd name="T65" fmla="*/ 96 h 122"/>
                <a:gd name="T66" fmla="*/ 11 w 128"/>
                <a:gd name="T67" fmla="*/ 96 h 122"/>
                <a:gd name="T68" fmla="*/ 8 w 128"/>
                <a:gd name="T69" fmla="*/ 93 h 122"/>
                <a:gd name="T70" fmla="*/ 8 w 128"/>
                <a:gd name="T71" fmla="*/ 11 h 122"/>
                <a:gd name="T72" fmla="*/ 11 w 128"/>
                <a:gd name="T73" fmla="*/ 8 h 122"/>
                <a:gd name="T74" fmla="*/ 117 w 128"/>
                <a:gd name="T75" fmla="*/ 8 h 122"/>
                <a:gd name="T76" fmla="*/ 120 w 128"/>
                <a:gd name="T77" fmla="*/ 11 h 122"/>
                <a:gd name="T78" fmla="*/ 120 w 128"/>
                <a:gd name="T79" fmla="*/ 93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8" h="122">
                  <a:moveTo>
                    <a:pt x="117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99"/>
                    <a:pt x="5" y="104"/>
                    <a:pt x="11" y="104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42" y="106"/>
                    <a:pt x="39" y="109"/>
                    <a:pt x="38" y="110"/>
                  </a:cubicBezTo>
                  <a:cubicBezTo>
                    <a:pt x="36" y="111"/>
                    <a:pt x="35" y="112"/>
                    <a:pt x="35" y="113"/>
                  </a:cubicBezTo>
                  <a:cubicBezTo>
                    <a:pt x="34" y="114"/>
                    <a:pt x="33" y="116"/>
                    <a:pt x="34" y="118"/>
                  </a:cubicBezTo>
                  <a:cubicBezTo>
                    <a:pt x="35" y="120"/>
                    <a:pt x="37" y="122"/>
                    <a:pt x="42" y="122"/>
                  </a:cubicBezTo>
                  <a:cubicBezTo>
                    <a:pt x="86" y="122"/>
                    <a:pt x="86" y="122"/>
                    <a:pt x="86" y="122"/>
                  </a:cubicBezTo>
                  <a:cubicBezTo>
                    <a:pt x="91" y="122"/>
                    <a:pt x="93" y="120"/>
                    <a:pt x="94" y="118"/>
                  </a:cubicBezTo>
                  <a:cubicBezTo>
                    <a:pt x="95" y="116"/>
                    <a:pt x="95" y="114"/>
                    <a:pt x="94" y="113"/>
                  </a:cubicBezTo>
                  <a:cubicBezTo>
                    <a:pt x="93" y="112"/>
                    <a:pt x="92" y="111"/>
                    <a:pt x="91" y="110"/>
                  </a:cubicBezTo>
                  <a:cubicBezTo>
                    <a:pt x="89" y="109"/>
                    <a:pt x="87" y="106"/>
                    <a:pt x="85" y="104"/>
                  </a:cubicBezTo>
                  <a:cubicBezTo>
                    <a:pt x="117" y="104"/>
                    <a:pt x="117" y="104"/>
                    <a:pt x="117" y="104"/>
                  </a:cubicBezTo>
                  <a:cubicBezTo>
                    <a:pt x="123" y="104"/>
                    <a:pt x="128" y="99"/>
                    <a:pt x="128" y="93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28" y="5"/>
                    <a:pt x="123" y="0"/>
                    <a:pt x="117" y="0"/>
                  </a:cubicBezTo>
                  <a:close/>
                  <a:moveTo>
                    <a:pt x="88" y="113"/>
                  </a:moveTo>
                  <a:cubicBezTo>
                    <a:pt x="89" y="114"/>
                    <a:pt x="90" y="115"/>
                    <a:pt x="90" y="116"/>
                  </a:cubicBezTo>
                  <a:cubicBezTo>
                    <a:pt x="90" y="116"/>
                    <a:pt x="91" y="116"/>
                    <a:pt x="90" y="116"/>
                  </a:cubicBezTo>
                  <a:cubicBezTo>
                    <a:pt x="90" y="117"/>
                    <a:pt x="88" y="118"/>
                    <a:pt x="86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0" y="118"/>
                    <a:pt x="38" y="117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5"/>
                    <a:pt x="39" y="114"/>
                    <a:pt x="40" y="113"/>
                  </a:cubicBezTo>
                  <a:cubicBezTo>
                    <a:pt x="44" y="109"/>
                    <a:pt x="47" y="106"/>
                    <a:pt x="48" y="104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82" y="106"/>
                    <a:pt x="84" y="109"/>
                    <a:pt x="88" y="113"/>
                  </a:cubicBezTo>
                  <a:close/>
                  <a:moveTo>
                    <a:pt x="120" y="93"/>
                  </a:moveTo>
                  <a:cubicBezTo>
                    <a:pt x="120" y="95"/>
                    <a:pt x="119" y="96"/>
                    <a:pt x="117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9" y="96"/>
                    <a:pt x="8" y="95"/>
                    <a:pt x="8" y="93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9"/>
                    <a:pt x="9" y="8"/>
                    <a:pt x="11" y="8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9" y="8"/>
                    <a:pt x="120" y="9"/>
                    <a:pt x="120" y="11"/>
                  </a:cubicBezTo>
                  <a:lnTo>
                    <a:pt x="120" y="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6" name="Freeform 27">
              <a:extLst>
                <a:ext uri="{FF2B5EF4-FFF2-40B4-BE49-F238E27FC236}">
                  <a16:creationId xmlns:a16="http://schemas.microsoft.com/office/drawing/2014/main" id="{2B87EC8E-00FF-3F21-0193-EC05F2A8C0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81801" y="947738"/>
              <a:ext cx="368300" cy="247650"/>
            </a:xfrm>
            <a:custGeom>
              <a:avLst/>
              <a:gdLst>
                <a:gd name="T0" fmla="*/ 89 w 96"/>
                <a:gd name="T1" fmla="*/ 0 h 64"/>
                <a:gd name="T2" fmla="*/ 7 w 96"/>
                <a:gd name="T3" fmla="*/ 0 h 64"/>
                <a:gd name="T4" fmla="*/ 0 w 96"/>
                <a:gd name="T5" fmla="*/ 7 h 64"/>
                <a:gd name="T6" fmla="*/ 0 w 96"/>
                <a:gd name="T7" fmla="*/ 57 h 64"/>
                <a:gd name="T8" fmla="*/ 7 w 96"/>
                <a:gd name="T9" fmla="*/ 64 h 64"/>
                <a:gd name="T10" fmla="*/ 89 w 96"/>
                <a:gd name="T11" fmla="*/ 64 h 64"/>
                <a:gd name="T12" fmla="*/ 96 w 96"/>
                <a:gd name="T13" fmla="*/ 57 h 64"/>
                <a:gd name="T14" fmla="*/ 96 w 96"/>
                <a:gd name="T15" fmla="*/ 7 h 64"/>
                <a:gd name="T16" fmla="*/ 89 w 96"/>
                <a:gd name="T17" fmla="*/ 0 h 64"/>
                <a:gd name="T18" fmla="*/ 92 w 96"/>
                <a:gd name="T19" fmla="*/ 57 h 64"/>
                <a:gd name="T20" fmla="*/ 89 w 96"/>
                <a:gd name="T21" fmla="*/ 60 h 64"/>
                <a:gd name="T22" fmla="*/ 7 w 96"/>
                <a:gd name="T23" fmla="*/ 60 h 64"/>
                <a:gd name="T24" fmla="*/ 4 w 96"/>
                <a:gd name="T25" fmla="*/ 57 h 64"/>
                <a:gd name="T26" fmla="*/ 4 w 96"/>
                <a:gd name="T27" fmla="*/ 7 h 64"/>
                <a:gd name="T28" fmla="*/ 7 w 96"/>
                <a:gd name="T29" fmla="*/ 4 h 64"/>
                <a:gd name="T30" fmla="*/ 89 w 96"/>
                <a:gd name="T31" fmla="*/ 4 h 64"/>
                <a:gd name="T32" fmla="*/ 92 w 96"/>
                <a:gd name="T33" fmla="*/ 7 h 64"/>
                <a:gd name="T34" fmla="*/ 92 w 96"/>
                <a:gd name="T35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6" h="64">
                  <a:moveTo>
                    <a:pt x="89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1"/>
                    <a:pt x="3" y="64"/>
                    <a:pt x="7" y="64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93" y="64"/>
                    <a:pt x="96" y="61"/>
                    <a:pt x="96" y="5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3"/>
                    <a:pt x="93" y="0"/>
                    <a:pt x="89" y="0"/>
                  </a:cubicBezTo>
                  <a:close/>
                  <a:moveTo>
                    <a:pt x="92" y="57"/>
                  </a:moveTo>
                  <a:cubicBezTo>
                    <a:pt x="92" y="59"/>
                    <a:pt x="91" y="60"/>
                    <a:pt x="89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5" y="60"/>
                    <a:pt x="4" y="59"/>
                    <a:pt x="4" y="5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5" y="4"/>
                    <a:pt x="7" y="4"/>
                  </a:cubicBezTo>
                  <a:cubicBezTo>
                    <a:pt x="89" y="4"/>
                    <a:pt x="89" y="4"/>
                    <a:pt x="89" y="4"/>
                  </a:cubicBezTo>
                  <a:cubicBezTo>
                    <a:pt x="91" y="4"/>
                    <a:pt x="92" y="5"/>
                    <a:pt x="92" y="7"/>
                  </a:cubicBezTo>
                  <a:lnTo>
                    <a:pt x="92" y="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7" name="Freeform 28">
              <a:extLst>
                <a:ext uri="{FF2B5EF4-FFF2-40B4-BE49-F238E27FC236}">
                  <a16:creationId xmlns:a16="http://schemas.microsoft.com/office/drawing/2014/main" id="{5DE8F4CE-1817-6BD8-98C7-BD3042EB4B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43726" y="1201738"/>
              <a:ext cx="46038" cy="47625"/>
            </a:xfrm>
            <a:custGeom>
              <a:avLst/>
              <a:gdLst>
                <a:gd name="T0" fmla="*/ 6 w 12"/>
                <a:gd name="T1" fmla="*/ 0 h 12"/>
                <a:gd name="T2" fmla="*/ 0 w 12"/>
                <a:gd name="T3" fmla="*/ 6 h 12"/>
                <a:gd name="T4" fmla="*/ 6 w 12"/>
                <a:gd name="T5" fmla="*/ 12 h 12"/>
                <a:gd name="T6" fmla="*/ 12 w 12"/>
                <a:gd name="T7" fmla="*/ 6 h 12"/>
                <a:gd name="T8" fmla="*/ 6 w 12"/>
                <a:gd name="T9" fmla="*/ 0 h 12"/>
                <a:gd name="T10" fmla="*/ 6 w 12"/>
                <a:gd name="T11" fmla="*/ 8 h 12"/>
                <a:gd name="T12" fmla="*/ 4 w 12"/>
                <a:gd name="T13" fmla="*/ 6 h 12"/>
                <a:gd name="T14" fmla="*/ 6 w 12"/>
                <a:gd name="T15" fmla="*/ 4 h 12"/>
                <a:gd name="T16" fmla="*/ 8 w 12"/>
                <a:gd name="T17" fmla="*/ 6 h 12"/>
                <a:gd name="T18" fmla="*/ 6 w 12"/>
                <a:gd name="T1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9" y="12"/>
                    <a:pt x="12" y="9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lose/>
                  <a:moveTo>
                    <a:pt x="6" y="8"/>
                  </a:moveTo>
                  <a:cubicBezTo>
                    <a:pt x="5" y="8"/>
                    <a:pt x="4" y="7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7" y="4"/>
                    <a:pt x="8" y="5"/>
                    <a:pt x="8" y="6"/>
                  </a:cubicBezTo>
                  <a:cubicBezTo>
                    <a:pt x="8" y="7"/>
                    <a:pt x="7" y="8"/>
                    <a:pt x="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8" name="Freeform 29">
              <a:extLst>
                <a:ext uri="{FF2B5EF4-FFF2-40B4-BE49-F238E27FC236}">
                  <a16:creationId xmlns:a16="http://schemas.microsoft.com/office/drawing/2014/main" id="{2B5A0DF3-F7E1-2EC9-84D6-8DECFFC74197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1813" y="1044575"/>
              <a:ext cx="61913" cy="65087"/>
            </a:xfrm>
            <a:custGeom>
              <a:avLst/>
              <a:gdLst>
                <a:gd name="T0" fmla="*/ 0 w 39"/>
                <a:gd name="T1" fmla="*/ 24 h 41"/>
                <a:gd name="T2" fmla="*/ 39 w 39"/>
                <a:gd name="T3" fmla="*/ 41 h 41"/>
                <a:gd name="T4" fmla="*/ 39 w 39"/>
                <a:gd name="T5" fmla="*/ 32 h 41"/>
                <a:gd name="T6" fmla="*/ 12 w 39"/>
                <a:gd name="T7" fmla="*/ 19 h 41"/>
                <a:gd name="T8" fmla="*/ 39 w 39"/>
                <a:gd name="T9" fmla="*/ 10 h 41"/>
                <a:gd name="T10" fmla="*/ 39 w 39"/>
                <a:gd name="T11" fmla="*/ 0 h 41"/>
                <a:gd name="T12" fmla="*/ 0 w 39"/>
                <a:gd name="T13" fmla="*/ 17 h 41"/>
                <a:gd name="T14" fmla="*/ 0 w 39"/>
                <a:gd name="T15" fmla="*/ 2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41">
                  <a:moveTo>
                    <a:pt x="0" y="24"/>
                  </a:moveTo>
                  <a:lnTo>
                    <a:pt x="39" y="41"/>
                  </a:lnTo>
                  <a:lnTo>
                    <a:pt x="39" y="32"/>
                  </a:lnTo>
                  <a:lnTo>
                    <a:pt x="12" y="19"/>
                  </a:lnTo>
                  <a:lnTo>
                    <a:pt x="39" y="10"/>
                  </a:lnTo>
                  <a:lnTo>
                    <a:pt x="39" y="0"/>
                  </a:lnTo>
                  <a:lnTo>
                    <a:pt x="0" y="17"/>
                  </a:lnTo>
                  <a:lnTo>
                    <a:pt x="0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9" name="Freeform 30">
              <a:extLst>
                <a:ext uri="{FF2B5EF4-FFF2-40B4-BE49-F238E27FC236}">
                  <a16:creationId xmlns:a16="http://schemas.microsoft.com/office/drawing/2014/main" id="{5F93E010-A432-5AC2-83E2-5A170D4E9DA7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0076" y="1033463"/>
              <a:ext cx="31750" cy="87312"/>
            </a:xfrm>
            <a:custGeom>
              <a:avLst/>
              <a:gdLst>
                <a:gd name="T0" fmla="*/ 7 w 8"/>
                <a:gd name="T1" fmla="*/ 0 h 23"/>
                <a:gd name="T2" fmla="*/ 5 w 8"/>
                <a:gd name="T3" fmla="*/ 0 h 23"/>
                <a:gd name="T4" fmla="*/ 5 w 8"/>
                <a:gd name="T5" fmla="*/ 2 h 23"/>
                <a:gd name="T6" fmla="*/ 0 w 8"/>
                <a:gd name="T7" fmla="*/ 20 h 23"/>
                <a:gd name="T8" fmla="*/ 0 w 8"/>
                <a:gd name="T9" fmla="*/ 22 h 23"/>
                <a:gd name="T10" fmla="*/ 2 w 8"/>
                <a:gd name="T11" fmla="*/ 23 h 23"/>
                <a:gd name="T12" fmla="*/ 3 w 8"/>
                <a:gd name="T13" fmla="*/ 23 h 23"/>
                <a:gd name="T14" fmla="*/ 3 w 8"/>
                <a:gd name="T15" fmla="*/ 22 h 23"/>
                <a:gd name="T16" fmla="*/ 4 w 8"/>
                <a:gd name="T17" fmla="*/ 21 h 23"/>
                <a:gd name="T18" fmla="*/ 8 w 8"/>
                <a:gd name="T19" fmla="*/ 3 h 23"/>
                <a:gd name="T20" fmla="*/ 8 w 8"/>
                <a:gd name="T21" fmla="*/ 1 h 23"/>
                <a:gd name="T22" fmla="*/ 8 w 8"/>
                <a:gd name="T23" fmla="*/ 0 h 23"/>
                <a:gd name="T24" fmla="*/ 7 w 8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3">
                  <a:moveTo>
                    <a:pt x="7" y="0"/>
                  </a:move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1"/>
                    <a:pt x="5" y="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0" y="23"/>
                    <a:pt x="1" y="23"/>
                    <a:pt x="2" y="23"/>
                  </a:cubicBezTo>
                  <a:cubicBezTo>
                    <a:pt x="2" y="23"/>
                    <a:pt x="2" y="23"/>
                    <a:pt x="3" y="23"/>
                  </a:cubicBezTo>
                  <a:cubicBezTo>
                    <a:pt x="3" y="23"/>
                    <a:pt x="3" y="22"/>
                    <a:pt x="3" y="22"/>
                  </a:cubicBezTo>
                  <a:cubicBezTo>
                    <a:pt x="3" y="22"/>
                    <a:pt x="3" y="21"/>
                    <a:pt x="4" y="2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0" name="Freeform 31">
              <a:extLst>
                <a:ext uri="{FF2B5EF4-FFF2-40B4-BE49-F238E27FC236}">
                  <a16:creationId xmlns:a16="http://schemas.microsoft.com/office/drawing/2014/main" id="{0A904375-C637-97CD-7FB9-79DE2569F643}"/>
                </a:ext>
              </a:extLst>
            </p:cNvPr>
            <p:cNvSpPr>
              <a:spLocks/>
            </p:cNvSpPr>
            <p:nvPr/>
          </p:nvSpPr>
          <p:spPr bwMode="auto">
            <a:xfrm>
              <a:off x="6989763" y="1044575"/>
              <a:ext cx="60325" cy="65087"/>
            </a:xfrm>
            <a:custGeom>
              <a:avLst/>
              <a:gdLst>
                <a:gd name="T0" fmla="*/ 0 w 38"/>
                <a:gd name="T1" fmla="*/ 10 h 41"/>
                <a:gd name="T2" fmla="*/ 26 w 38"/>
                <a:gd name="T3" fmla="*/ 19 h 41"/>
                <a:gd name="T4" fmla="*/ 0 w 38"/>
                <a:gd name="T5" fmla="*/ 32 h 41"/>
                <a:gd name="T6" fmla="*/ 0 w 38"/>
                <a:gd name="T7" fmla="*/ 41 h 41"/>
                <a:gd name="T8" fmla="*/ 38 w 38"/>
                <a:gd name="T9" fmla="*/ 24 h 41"/>
                <a:gd name="T10" fmla="*/ 38 w 38"/>
                <a:gd name="T11" fmla="*/ 17 h 41"/>
                <a:gd name="T12" fmla="*/ 0 w 38"/>
                <a:gd name="T13" fmla="*/ 0 h 41"/>
                <a:gd name="T14" fmla="*/ 0 w 38"/>
                <a:gd name="T15" fmla="*/ 1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41">
                  <a:moveTo>
                    <a:pt x="0" y="10"/>
                  </a:moveTo>
                  <a:lnTo>
                    <a:pt x="26" y="19"/>
                  </a:lnTo>
                  <a:lnTo>
                    <a:pt x="0" y="32"/>
                  </a:lnTo>
                  <a:lnTo>
                    <a:pt x="0" y="41"/>
                  </a:lnTo>
                  <a:lnTo>
                    <a:pt x="38" y="24"/>
                  </a:lnTo>
                  <a:lnTo>
                    <a:pt x="38" y="17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73724679"/>
      </p:ext>
    </p:extLst>
  </p:cSld>
  <p:clrMapOvr>
    <a:masterClrMapping/>
  </p:clrMapOvr>
</p:sld>
</file>

<file path=ppt/slides/slide1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231F2F4-CADB-FA35-15F8-A956C45DDB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" name="think-cell data - do not delete" hidden="1">
            <a:extLst>
              <a:ext uri="{FF2B5EF4-FFF2-40B4-BE49-F238E27FC236}">
                <a16:creationId xmlns:a16="http://schemas.microsoft.com/office/drawing/2014/main" id="{2F997E19-0762-2D6F-360C-5AEA883127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64808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8EA7A0B-C29A-7C88-1254-811F2D1275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4 Concep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9F02A76-9D53-AD75-711D-B476E72F33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54</a:t>
            </a:fld>
            <a:endParaRPr lang="en-US" dirty="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C1AA097D-DC99-B2FC-2AAB-0973EFBECCDC}"/>
              </a:ext>
            </a:extLst>
          </p:cNvPr>
          <p:cNvSpPr/>
          <p:nvPr/>
        </p:nvSpPr>
        <p:spPr>
          <a:xfrm rot="5400000">
            <a:off x="876655" y="2203510"/>
            <a:ext cx="1067956" cy="1068005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764" b="1" dirty="0">
              <a:solidFill>
                <a:srgbClr val="FFFFFF"/>
              </a:solidFill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9FA95633-9124-AE76-FD44-95A382CEC873}"/>
              </a:ext>
            </a:extLst>
          </p:cNvPr>
          <p:cNvSpPr/>
          <p:nvPr/>
        </p:nvSpPr>
        <p:spPr>
          <a:xfrm rot="5400000">
            <a:off x="3618881" y="2203509"/>
            <a:ext cx="1067956" cy="106800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764" b="1" dirty="0">
              <a:solidFill>
                <a:srgbClr val="FFFFFF"/>
              </a:solidFill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E0F797B3-7148-CC8C-EA1A-8DB9D1F8B390}"/>
              </a:ext>
            </a:extLst>
          </p:cNvPr>
          <p:cNvSpPr/>
          <p:nvPr/>
        </p:nvSpPr>
        <p:spPr>
          <a:xfrm rot="5400000">
            <a:off x="3618881" y="3815754"/>
            <a:ext cx="1067956" cy="1068005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764" b="1" dirty="0">
              <a:solidFill>
                <a:srgbClr val="FFFFFF"/>
              </a:solidFill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7B856B16-6574-1698-38DB-EA07D22F4630}"/>
              </a:ext>
            </a:extLst>
          </p:cNvPr>
          <p:cNvSpPr/>
          <p:nvPr/>
        </p:nvSpPr>
        <p:spPr>
          <a:xfrm rot="5400000">
            <a:off x="876655" y="3815754"/>
            <a:ext cx="1067956" cy="1068006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764" b="1" dirty="0">
              <a:solidFill>
                <a:srgbClr val="FFFFFF"/>
              </a:solidFill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9812B2B1-8C5C-6212-4981-9A58368009E0}"/>
              </a:ext>
            </a:extLst>
          </p:cNvPr>
          <p:cNvGrpSpPr/>
          <p:nvPr/>
        </p:nvGrpSpPr>
        <p:grpSpPr>
          <a:xfrm>
            <a:off x="1094397" y="4136503"/>
            <a:ext cx="632472" cy="426508"/>
            <a:chOff x="6716027" y="5411634"/>
            <a:chExt cx="583964" cy="393797"/>
          </a:xfrm>
          <a:solidFill>
            <a:schemeClr val="bg1"/>
          </a:solidFill>
        </p:grpSpPr>
        <p:sp>
          <p:nvSpPr>
            <p:cNvPr id="10" name="Freeform 17">
              <a:extLst>
                <a:ext uri="{FF2B5EF4-FFF2-40B4-BE49-F238E27FC236}">
                  <a16:creationId xmlns:a16="http://schemas.microsoft.com/office/drawing/2014/main" id="{2D73541C-7BAB-727C-17F5-70A7CC776BF0}"/>
                </a:ext>
              </a:extLst>
            </p:cNvPr>
            <p:cNvSpPr>
              <a:spLocks noEditPoints="1"/>
            </p:cNvSpPr>
            <p:nvPr/>
          </p:nvSpPr>
          <p:spPr bwMode="auto">
            <a:xfrm rot="2700000">
              <a:off x="6832931" y="5294730"/>
              <a:ext cx="350155" cy="583964"/>
            </a:xfrm>
            <a:custGeom>
              <a:avLst/>
              <a:gdLst>
                <a:gd name="T0" fmla="*/ 50 w 184"/>
                <a:gd name="T1" fmla="*/ 310 h 310"/>
                <a:gd name="T2" fmla="*/ 32 w 184"/>
                <a:gd name="T3" fmla="*/ 282 h 310"/>
                <a:gd name="T4" fmla="*/ 10 w 184"/>
                <a:gd name="T5" fmla="*/ 199 h 310"/>
                <a:gd name="T6" fmla="*/ 39 w 184"/>
                <a:gd name="T7" fmla="*/ 171 h 310"/>
                <a:gd name="T8" fmla="*/ 30 w 184"/>
                <a:gd name="T9" fmla="*/ 116 h 310"/>
                <a:gd name="T10" fmla="*/ 36 w 184"/>
                <a:gd name="T11" fmla="*/ 73 h 310"/>
                <a:gd name="T12" fmla="*/ 36 w 184"/>
                <a:gd name="T13" fmla="*/ 72 h 310"/>
                <a:gd name="T14" fmla="*/ 92 w 184"/>
                <a:gd name="T15" fmla="*/ 0 h 310"/>
                <a:gd name="T16" fmla="*/ 148 w 184"/>
                <a:gd name="T17" fmla="*/ 72 h 310"/>
                <a:gd name="T18" fmla="*/ 148 w 184"/>
                <a:gd name="T19" fmla="*/ 73 h 310"/>
                <a:gd name="T20" fmla="*/ 155 w 184"/>
                <a:gd name="T21" fmla="*/ 116 h 310"/>
                <a:gd name="T22" fmla="*/ 145 w 184"/>
                <a:gd name="T23" fmla="*/ 171 h 310"/>
                <a:gd name="T24" fmla="*/ 174 w 184"/>
                <a:gd name="T25" fmla="*/ 199 h 310"/>
                <a:gd name="T26" fmla="*/ 153 w 184"/>
                <a:gd name="T27" fmla="*/ 282 h 310"/>
                <a:gd name="T28" fmla="*/ 134 w 184"/>
                <a:gd name="T29" fmla="*/ 310 h 310"/>
                <a:gd name="T30" fmla="*/ 134 w 184"/>
                <a:gd name="T31" fmla="*/ 276 h 310"/>
                <a:gd name="T32" fmla="*/ 118 w 184"/>
                <a:gd name="T33" fmla="*/ 239 h 310"/>
                <a:gd name="T34" fmla="*/ 118 w 184"/>
                <a:gd name="T35" fmla="*/ 240 h 310"/>
                <a:gd name="T36" fmla="*/ 115 w 184"/>
                <a:gd name="T37" fmla="*/ 246 h 310"/>
                <a:gd name="T38" fmla="*/ 108 w 184"/>
                <a:gd name="T39" fmla="*/ 245 h 310"/>
                <a:gd name="T40" fmla="*/ 76 w 184"/>
                <a:gd name="T41" fmla="*/ 245 h 310"/>
                <a:gd name="T42" fmla="*/ 69 w 184"/>
                <a:gd name="T43" fmla="*/ 246 h 310"/>
                <a:gd name="T44" fmla="*/ 66 w 184"/>
                <a:gd name="T45" fmla="*/ 240 h 310"/>
                <a:gd name="T46" fmla="*/ 66 w 184"/>
                <a:gd name="T47" fmla="*/ 239 h 310"/>
                <a:gd name="T48" fmla="*/ 50 w 184"/>
                <a:gd name="T49" fmla="*/ 276 h 310"/>
                <a:gd name="T50" fmla="*/ 50 w 184"/>
                <a:gd name="T51" fmla="*/ 310 h 310"/>
                <a:gd name="T52" fmla="*/ 55 w 184"/>
                <a:gd name="T53" fmla="*/ 79 h 310"/>
                <a:gd name="T54" fmla="*/ 50 w 184"/>
                <a:gd name="T55" fmla="*/ 116 h 310"/>
                <a:gd name="T56" fmla="*/ 61 w 184"/>
                <a:gd name="T57" fmla="*/ 174 h 310"/>
                <a:gd name="T58" fmla="*/ 64 w 184"/>
                <a:gd name="T59" fmla="*/ 184 h 310"/>
                <a:gd name="T60" fmla="*/ 54 w 184"/>
                <a:gd name="T61" fmla="*/ 187 h 310"/>
                <a:gd name="T62" fmla="*/ 29 w 184"/>
                <a:gd name="T63" fmla="*/ 205 h 310"/>
                <a:gd name="T64" fmla="*/ 36 w 184"/>
                <a:gd name="T65" fmla="*/ 247 h 310"/>
                <a:gd name="T66" fmla="*/ 65 w 184"/>
                <a:gd name="T67" fmla="*/ 215 h 310"/>
                <a:gd name="T68" fmla="*/ 74 w 184"/>
                <a:gd name="T69" fmla="*/ 209 h 310"/>
                <a:gd name="T70" fmla="*/ 79 w 184"/>
                <a:gd name="T71" fmla="*/ 219 h 310"/>
                <a:gd name="T72" fmla="*/ 82 w 184"/>
                <a:gd name="T73" fmla="*/ 225 h 310"/>
                <a:gd name="T74" fmla="*/ 103 w 184"/>
                <a:gd name="T75" fmla="*/ 225 h 310"/>
                <a:gd name="T76" fmla="*/ 105 w 184"/>
                <a:gd name="T77" fmla="*/ 219 h 310"/>
                <a:gd name="T78" fmla="*/ 110 w 184"/>
                <a:gd name="T79" fmla="*/ 209 h 310"/>
                <a:gd name="T80" fmla="*/ 120 w 184"/>
                <a:gd name="T81" fmla="*/ 215 h 310"/>
                <a:gd name="T82" fmla="*/ 148 w 184"/>
                <a:gd name="T83" fmla="*/ 247 h 310"/>
                <a:gd name="T84" fmla="*/ 155 w 184"/>
                <a:gd name="T85" fmla="*/ 205 h 310"/>
                <a:gd name="T86" fmla="*/ 130 w 184"/>
                <a:gd name="T87" fmla="*/ 187 h 310"/>
                <a:gd name="T88" fmla="*/ 120 w 184"/>
                <a:gd name="T89" fmla="*/ 184 h 310"/>
                <a:gd name="T90" fmla="*/ 123 w 184"/>
                <a:gd name="T91" fmla="*/ 174 h 310"/>
                <a:gd name="T92" fmla="*/ 135 w 184"/>
                <a:gd name="T93" fmla="*/ 116 h 310"/>
                <a:gd name="T94" fmla="*/ 129 w 184"/>
                <a:gd name="T95" fmla="*/ 79 h 310"/>
                <a:gd name="T96" fmla="*/ 92 w 184"/>
                <a:gd name="T97" fmla="*/ 21 h 310"/>
                <a:gd name="T98" fmla="*/ 55 w 184"/>
                <a:gd name="T99" fmla="*/ 79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84" h="310">
                  <a:moveTo>
                    <a:pt x="50" y="310"/>
                  </a:moveTo>
                  <a:cubicBezTo>
                    <a:pt x="32" y="282"/>
                    <a:pt x="32" y="282"/>
                    <a:pt x="32" y="282"/>
                  </a:cubicBezTo>
                  <a:cubicBezTo>
                    <a:pt x="28" y="276"/>
                    <a:pt x="0" y="230"/>
                    <a:pt x="10" y="199"/>
                  </a:cubicBezTo>
                  <a:cubicBezTo>
                    <a:pt x="14" y="187"/>
                    <a:pt x="24" y="178"/>
                    <a:pt x="39" y="171"/>
                  </a:cubicBezTo>
                  <a:cubicBezTo>
                    <a:pt x="33" y="151"/>
                    <a:pt x="30" y="132"/>
                    <a:pt x="30" y="116"/>
                  </a:cubicBezTo>
                  <a:cubicBezTo>
                    <a:pt x="30" y="102"/>
                    <a:pt x="32" y="87"/>
                    <a:pt x="36" y="73"/>
                  </a:cubicBezTo>
                  <a:cubicBezTo>
                    <a:pt x="36" y="72"/>
                    <a:pt x="36" y="72"/>
                    <a:pt x="36" y="72"/>
                  </a:cubicBezTo>
                  <a:cubicBezTo>
                    <a:pt x="50" y="35"/>
                    <a:pt x="77" y="0"/>
                    <a:pt x="92" y="0"/>
                  </a:cubicBezTo>
                  <a:cubicBezTo>
                    <a:pt x="107" y="0"/>
                    <a:pt x="134" y="35"/>
                    <a:pt x="148" y="72"/>
                  </a:cubicBezTo>
                  <a:cubicBezTo>
                    <a:pt x="148" y="73"/>
                    <a:pt x="148" y="73"/>
                    <a:pt x="148" y="73"/>
                  </a:cubicBezTo>
                  <a:cubicBezTo>
                    <a:pt x="152" y="87"/>
                    <a:pt x="155" y="102"/>
                    <a:pt x="155" y="116"/>
                  </a:cubicBezTo>
                  <a:cubicBezTo>
                    <a:pt x="155" y="132"/>
                    <a:pt x="152" y="151"/>
                    <a:pt x="145" y="171"/>
                  </a:cubicBezTo>
                  <a:cubicBezTo>
                    <a:pt x="160" y="178"/>
                    <a:pt x="170" y="187"/>
                    <a:pt x="174" y="199"/>
                  </a:cubicBezTo>
                  <a:cubicBezTo>
                    <a:pt x="184" y="230"/>
                    <a:pt x="156" y="276"/>
                    <a:pt x="153" y="282"/>
                  </a:cubicBezTo>
                  <a:cubicBezTo>
                    <a:pt x="134" y="310"/>
                    <a:pt x="134" y="310"/>
                    <a:pt x="134" y="310"/>
                  </a:cubicBezTo>
                  <a:cubicBezTo>
                    <a:pt x="134" y="276"/>
                    <a:pt x="134" y="276"/>
                    <a:pt x="134" y="276"/>
                  </a:cubicBezTo>
                  <a:cubicBezTo>
                    <a:pt x="134" y="262"/>
                    <a:pt x="128" y="248"/>
                    <a:pt x="118" y="239"/>
                  </a:cubicBezTo>
                  <a:cubicBezTo>
                    <a:pt x="118" y="239"/>
                    <a:pt x="118" y="239"/>
                    <a:pt x="118" y="240"/>
                  </a:cubicBezTo>
                  <a:cubicBezTo>
                    <a:pt x="115" y="246"/>
                    <a:pt x="115" y="246"/>
                    <a:pt x="115" y="246"/>
                  </a:cubicBezTo>
                  <a:cubicBezTo>
                    <a:pt x="108" y="245"/>
                    <a:pt x="108" y="245"/>
                    <a:pt x="108" y="245"/>
                  </a:cubicBezTo>
                  <a:cubicBezTo>
                    <a:pt x="98" y="245"/>
                    <a:pt x="87" y="245"/>
                    <a:pt x="76" y="245"/>
                  </a:cubicBezTo>
                  <a:cubicBezTo>
                    <a:pt x="69" y="246"/>
                    <a:pt x="69" y="246"/>
                    <a:pt x="69" y="246"/>
                  </a:cubicBezTo>
                  <a:cubicBezTo>
                    <a:pt x="66" y="240"/>
                    <a:pt x="66" y="240"/>
                    <a:pt x="66" y="240"/>
                  </a:cubicBezTo>
                  <a:cubicBezTo>
                    <a:pt x="66" y="239"/>
                    <a:pt x="66" y="239"/>
                    <a:pt x="66" y="239"/>
                  </a:cubicBezTo>
                  <a:cubicBezTo>
                    <a:pt x="56" y="249"/>
                    <a:pt x="50" y="262"/>
                    <a:pt x="50" y="276"/>
                  </a:cubicBezTo>
                  <a:lnTo>
                    <a:pt x="50" y="310"/>
                  </a:lnTo>
                  <a:close/>
                  <a:moveTo>
                    <a:pt x="55" y="79"/>
                  </a:moveTo>
                  <a:cubicBezTo>
                    <a:pt x="52" y="91"/>
                    <a:pt x="50" y="104"/>
                    <a:pt x="50" y="116"/>
                  </a:cubicBezTo>
                  <a:cubicBezTo>
                    <a:pt x="50" y="132"/>
                    <a:pt x="53" y="152"/>
                    <a:pt x="61" y="174"/>
                  </a:cubicBezTo>
                  <a:cubicBezTo>
                    <a:pt x="64" y="184"/>
                    <a:pt x="64" y="184"/>
                    <a:pt x="64" y="184"/>
                  </a:cubicBezTo>
                  <a:cubicBezTo>
                    <a:pt x="54" y="187"/>
                    <a:pt x="54" y="187"/>
                    <a:pt x="54" y="187"/>
                  </a:cubicBezTo>
                  <a:cubicBezTo>
                    <a:pt x="45" y="190"/>
                    <a:pt x="33" y="196"/>
                    <a:pt x="29" y="205"/>
                  </a:cubicBezTo>
                  <a:cubicBezTo>
                    <a:pt x="26" y="216"/>
                    <a:pt x="30" y="233"/>
                    <a:pt x="36" y="247"/>
                  </a:cubicBezTo>
                  <a:cubicBezTo>
                    <a:pt x="42" y="234"/>
                    <a:pt x="52" y="223"/>
                    <a:pt x="65" y="215"/>
                  </a:cubicBezTo>
                  <a:cubicBezTo>
                    <a:pt x="74" y="209"/>
                    <a:pt x="74" y="209"/>
                    <a:pt x="74" y="209"/>
                  </a:cubicBezTo>
                  <a:cubicBezTo>
                    <a:pt x="79" y="219"/>
                    <a:pt x="79" y="219"/>
                    <a:pt x="79" y="219"/>
                  </a:cubicBezTo>
                  <a:cubicBezTo>
                    <a:pt x="80" y="221"/>
                    <a:pt x="81" y="223"/>
                    <a:pt x="82" y="225"/>
                  </a:cubicBezTo>
                  <a:cubicBezTo>
                    <a:pt x="89" y="225"/>
                    <a:pt x="96" y="225"/>
                    <a:pt x="103" y="225"/>
                  </a:cubicBezTo>
                  <a:cubicBezTo>
                    <a:pt x="104" y="223"/>
                    <a:pt x="105" y="221"/>
                    <a:pt x="105" y="219"/>
                  </a:cubicBezTo>
                  <a:cubicBezTo>
                    <a:pt x="110" y="209"/>
                    <a:pt x="110" y="209"/>
                    <a:pt x="110" y="209"/>
                  </a:cubicBezTo>
                  <a:cubicBezTo>
                    <a:pt x="120" y="215"/>
                    <a:pt x="120" y="215"/>
                    <a:pt x="120" y="215"/>
                  </a:cubicBezTo>
                  <a:cubicBezTo>
                    <a:pt x="133" y="223"/>
                    <a:pt x="142" y="234"/>
                    <a:pt x="148" y="247"/>
                  </a:cubicBezTo>
                  <a:cubicBezTo>
                    <a:pt x="154" y="233"/>
                    <a:pt x="159" y="216"/>
                    <a:pt x="155" y="205"/>
                  </a:cubicBezTo>
                  <a:cubicBezTo>
                    <a:pt x="152" y="196"/>
                    <a:pt x="140" y="190"/>
                    <a:pt x="130" y="187"/>
                  </a:cubicBezTo>
                  <a:cubicBezTo>
                    <a:pt x="120" y="184"/>
                    <a:pt x="120" y="184"/>
                    <a:pt x="120" y="184"/>
                  </a:cubicBezTo>
                  <a:cubicBezTo>
                    <a:pt x="123" y="174"/>
                    <a:pt x="123" y="174"/>
                    <a:pt x="123" y="174"/>
                  </a:cubicBezTo>
                  <a:cubicBezTo>
                    <a:pt x="131" y="152"/>
                    <a:pt x="135" y="132"/>
                    <a:pt x="135" y="116"/>
                  </a:cubicBezTo>
                  <a:cubicBezTo>
                    <a:pt x="135" y="104"/>
                    <a:pt x="133" y="91"/>
                    <a:pt x="129" y="79"/>
                  </a:cubicBezTo>
                  <a:cubicBezTo>
                    <a:pt x="117" y="47"/>
                    <a:pt x="99" y="26"/>
                    <a:pt x="92" y="21"/>
                  </a:cubicBezTo>
                  <a:cubicBezTo>
                    <a:pt x="85" y="26"/>
                    <a:pt x="67" y="47"/>
                    <a:pt x="55" y="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" name="Freeform 18">
              <a:extLst>
                <a:ext uri="{FF2B5EF4-FFF2-40B4-BE49-F238E27FC236}">
                  <a16:creationId xmlns:a16="http://schemas.microsoft.com/office/drawing/2014/main" id="{448E8872-37E6-3CED-8BB1-8915C4C21974}"/>
                </a:ext>
              </a:extLst>
            </p:cNvPr>
            <p:cNvSpPr>
              <a:spLocks noEditPoints="1"/>
            </p:cNvSpPr>
            <p:nvPr/>
          </p:nvSpPr>
          <p:spPr bwMode="auto">
            <a:xfrm rot="2700000">
              <a:off x="6989613" y="5483631"/>
              <a:ext cx="121724" cy="120112"/>
            </a:xfrm>
            <a:custGeom>
              <a:avLst/>
              <a:gdLst>
                <a:gd name="T0" fmla="*/ 32 w 64"/>
                <a:gd name="T1" fmla="*/ 64 h 64"/>
                <a:gd name="T2" fmla="*/ 0 w 64"/>
                <a:gd name="T3" fmla="*/ 32 h 64"/>
                <a:gd name="T4" fmla="*/ 32 w 64"/>
                <a:gd name="T5" fmla="*/ 0 h 64"/>
                <a:gd name="T6" fmla="*/ 64 w 64"/>
                <a:gd name="T7" fmla="*/ 32 h 64"/>
                <a:gd name="T8" fmla="*/ 32 w 64"/>
                <a:gd name="T9" fmla="*/ 64 h 64"/>
                <a:gd name="T10" fmla="*/ 32 w 64"/>
                <a:gd name="T11" fmla="*/ 12 h 64"/>
                <a:gd name="T12" fmla="*/ 12 w 64"/>
                <a:gd name="T13" fmla="*/ 32 h 64"/>
                <a:gd name="T14" fmla="*/ 32 w 64"/>
                <a:gd name="T15" fmla="*/ 52 h 64"/>
                <a:gd name="T16" fmla="*/ 52 w 64"/>
                <a:gd name="T17" fmla="*/ 32 h 64"/>
                <a:gd name="T18" fmla="*/ 32 w 64"/>
                <a:gd name="T19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32" y="64"/>
                  </a:moveTo>
                  <a:cubicBezTo>
                    <a:pt x="14" y="64"/>
                    <a:pt x="0" y="50"/>
                    <a:pt x="0" y="32"/>
                  </a:cubicBezTo>
                  <a:cubicBezTo>
                    <a:pt x="0" y="14"/>
                    <a:pt x="14" y="0"/>
                    <a:pt x="32" y="0"/>
                  </a:cubicBezTo>
                  <a:cubicBezTo>
                    <a:pt x="50" y="0"/>
                    <a:pt x="64" y="14"/>
                    <a:pt x="64" y="32"/>
                  </a:cubicBezTo>
                  <a:cubicBezTo>
                    <a:pt x="64" y="50"/>
                    <a:pt x="50" y="64"/>
                    <a:pt x="32" y="64"/>
                  </a:cubicBezTo>
                  <a:close/>
                  <a:moveTo>
                    <a:pt x="32" y="12"/>
                  </a:moveTo>
                  <a:cubicBezTo>
                    <a:pt x="21" y="12"/>
                    <a:pt x="12" y="21"/>
                    <a:pt x="12" y="32"/>
                  </a:cubicBezTo>
                  <a:cubicBezTo>
                    <a:pt x="12" y="43"/>
                    <a:pt x="21" y="52"/>
                    <a:pt x="32" y="52"/>
                  </a:cubicBezTo>
                  <a:cubicBezTo>
                    <a:pt x="43" y="52"/>
                    <a:pt x="52" y="43"/>
                    <a:pt x="52" y="32"/>
                  </a:cubicBezTo>
                  <a:cubicBezTo>
                    <a:pt x="52" y="21"/>
                    <a:pt x="43" y="12"/>
                    <a:pt x="3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" name="Freeform 19">
              <a:extLst>
                <a:ext uri="{FF2B5EF4-FFF2-40B4-BE49-F238E27FC236}">
                  <a16:creationId xmlns:a16="http://schemas.microsoft.com/office/drawing/2014/main" id="{4F0DE175-4D6D-E9E1-0615-50DDDE33CE96}"/>
                </a:ext>
              </a:extLst>
            </p:cNvPr>
            <p:cNvSpPr>
              <a:spLocks noEditPoints="1"/>
            </p:cNvSpPr>
            <p:nvPr/>
          </p:nvSpPr>
          <p:spPr bwMode="auto">
            <a:xfrm rot="2700000">
              <a:off x="6790966" y="5660018"/>
              <a:ext cx="112239" cy="178587"/>
            </a:xfrm>
            <a:custGeom>
              <a:avLst/>
              <a:gdLst>
                <a:gd name="T0" fmla="*/ 29 w 59"/>
                <a:gd name="T1" fmla="*/ 95 h 95"/>
                <a:gd name="T2" fmla="*/ 24 w 59"/>
                <a:gd name="T3" fmla="*/ 85 h 95"/>
                <a:gd name="T4" fmla="*/ 0 w 59"/>
                <a:gd name="T5" fmla="*/ 26 h 95"/>
                <a:gd name="T6" fmla="*/ 29 w 59"/>
                <a:gd name="T7" fmla="*/ 0 h 95"/>
                <a:gd name="T8" fmla="*/ 59 w 59"/>
                <a:gd name="T9" fmla="*/ 26 h 95"/>
                <a:gd name="T10" fmla="*/ 34 w 59"/>
                <a:gd name="T11" fmla="*/ 85 h 95"/>
                <a:gd name="T12" fmla="*/ 29 w 59"/>
                <a:gd name="T13" fmla="*/ 95 h 95"/>
                <a:gd name="T14" fmla="*/ 29 w 59"/>
                <a:gd name="T15" fmla="*/ 12 h 95"/>
                <a:gd name="T16" fmla="*/ 12 w 59"/>
                <a:gd name="T17" fmla="*/ 26 h 95"/>
                <a:gd name="T18" fmla="*/ 29 w 59"/>
                <a:gd name="T19" fmla="*/ 69 h 95"/>
                <a:gd name="T20" fmla="*/ 47 w 59"/>
                <a:gd name="T21" fmla="*/ 26 h 95"/>
                <a:gd name="T22" fmla="*/ 29 w 59"/>
                <a:gd name="T23" fmla="*/ 12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" h="95">
                  <a:moveTo>
                    <a:pt x="29" y="95"/>
                  </a:moveTo>
                  <a:cubicBezTo>
                    <a:pt x="24" y="85"/>
                    <a:pt x="24" y="85"/>
                    <a:pt x="24" y="85"/>
                  </a:cubicBezTo>
                  <a:cubicBezTo>
                    <a:pt x="20" y="77"/>
                    <a:pt x="0" y="38"/>
                    <a:pt x="0" y="26"/>
                  </a:cubicBezTo>
                  <a:cubicBezTo>
                    <a:pt x="0" y="12"/>
                    <a:pt x="13" y="0"/>
                    <a:pt x="29" y="0"/>
                  </a:cubicBezTo>
                  <a:cubicBezTo>
                    <a:pt x="45" y="0"/>
                    <a:pt x="59" y="12"/>
                    <a:pt x="59" y="26"/>
                  </a:cubicBezTo>
                  <a:cubicBezTo>
                    <a:pt x="59" y="38"/>
                    <a:pt x="39" y="77"/>
                    <a:pt x="34" y="85"/>
                  </a:cubicBezTo>
                  <a:lnTo>
                    <a:pt x="29" y="95"/>
                  </a:lnTo>
                  <a:close/>
                  <a:moveTo>
                    <a:pt x="29" y="12"/>
                  </a:moveTo>
                  <a:cubicBezTo>
                    <a:pt x="19" y="12"/>
                    <a:pt x="12" y="18"/>
                    <a:pt x="12" y="26"/>
                  </a:cubicBezTo>
                  <a:cubicBezTo>
                    <a:pt x="12" y="31"/>
                    <a:pt x="20" y="50"/>
                    <a:pt x="29" y="69"/>
                  </a:cubicBezTo>
                  <a:cubicBezTo>
                    <a:pt x="38" y="50"/>
                    <a:pt x="47" y="31"/>
                    <a:pt x="47" y="26"/>
                  </a:cubicBezTo>
                  <a:cubicBezTo>
                    <a:pt x="47" y="18"/>
                    <a:pt x="39" y="12"/>
                    <a:pt x="29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13" name="Freeform 23">
            <a:extLst>
              <a:ext uri="{FF2B5EF4-FFF2-40B4-BE49-F238E27FC236}">
                <a16:creationId xmlns:a16="http://schemas.microsoft.com/office/drawing/2014/main" id="{B3627B82-CDAA-1DFE-2888-BBA5B46C5485}"/>
              </a:ext>
            </a:extLst>
          </p:cNvPr>
          <p:cNvSpPr>
            <a:spLocks noEditPoints="1"/>
          </p:cNvSpPr>
          <p:nvPr/>
        </p:nvSpPr>
        <p:spPr bwMode="auto">
          <a:xfrm>
            <a:off x="3872703" y="4101652"/>
            <a:ext cx="560312" cy="496208"/>
          </a:xfrm>
          <a:custGeom>
            <a:avLst/>
            <a:gdLst>
              <a:gd name="T0" fmla="*/ 232 w 256"/>
              <a:gd name="T1" fmla="*/ 84 h 227"/>
              <a:gd name="T2" fmla="*/ 172 w 256"/>
              <a:gd name="T3" fmla="*/ 44 h 227"/>
              <a:gd name="T4" fmla="*/ 120 w 256"/>
              <a:gd name="T5" fmla="*/ 48 h 227"/>
              <a:gd name="T6" fmla="*/ 64 w 256"/>
              <a:gd name="T7" fmla="*/ 107 h 227"/>
              <a:gd name="T8" fmla="*/ 0 w 256"/>
              <a:gd name="T9" fmla="*/ 131 h 227"/>
              <a:gd name="T10" fmla="*/ 32 w 256"/>
              <a:gd name="T11" fmla="*/ 227 h 227"/>
              <a:gd name="T12" fmla="*/ 87 w 256"/>
              <a:gd name="T13" fmla="*/ 212 h 227"/>
              <a:gd name="T14" fmla="*/ 103 w 256"/>
              <a:gd name="T15" fmla="*/ 219 h 227"/>
              <a:gd name="T16" fmla="*/ 232 w 256"/>
              <a:gd name="T17" fmla="*/ 197 h 227"/>
              <a:gd name="T18" fmla="*/ 240 w 256"/>
              <a:gd name="T19" fmla="*/ 169 h 227"/>
              <a:gd name="T20" fmla="*/ 248 w 256"/>
              <a:gd name="T21" fmla="*/ 140 h 227"/>
              <a:gd name="T22" fmla="*/ 256 w 256"/>
              <a:gd name="T23" fmla="*/ 108 h 227"/>
              <a:gd name="T24" fmla="*/ 32 w 256"/>
              <a:gd name="T25" fmla="*/ 211 h 227"/>
              <a:gd name="T26" fmla="*/ 16 w 256"/>
              <a:gd name="T27" fmla="*/ 131 h 227"/>
              <a:gd name="T28" fmla="*/ 64 w 256"/>
              <a:gd name="T29" fmla="*/ 123 h 227"/>
              <a:gd name="T30" fmla="*/ 72 w 256"/>
              <a:gd name="T31" fmla="*/ 198 h 227"/>
              <a:gd name="T32" fmla="*/ 72 w 256"/>
              <a:gd name="T33" fmla="*/ 203 h 227"/>
              <a:gd name="T34" fmla="*/ 210 w 256"/>
              <a:gd name="T35" fmla="*/ 203 h 227"/>
              <a:gd name="T36" fmla="*/ 88 w 256"/>
              <a:gd name="T37" fmla="*/ 194 h 227"/>
              <a:gd name="T38" fmla="*/ 86 w 256"/>
              <a:gd name="T39" fmla="*/ 121 h 227"/>
              <a:gd name="T40" fmla="*/ 140 w 256"/>
              <a:gd name="T41" fmla="*/ 16 h 227"/>
              <a:gd name="T42" fmla="*/ 152 w 256"/>
              <a:gd name="T43" fmla="*/ 90 h 227"/>
              <a:gd name="T44" fmla="*/ 160 w 256"/>
              <a:gd name="T45" fmla="*/ 100 h 227"/>
              <a:gd name="T46" fmla="*/ 240 w 256"/>
              <a:gd name="T47" fmla="*/ 108 h 227"/>
              <a:gd name="T48" fmla="*/ 223 w 256"/>
              <a:gd name="T49" fmla="*/ 116 h 227"/>
              <a:gd name="T50" fmla="*/ 223 w 256"/>
              <a:gd name="T51" fmla="*/ 132 h 227"/>
              <a:gd name="T52" fmla="*/ 224 w 256"/>
              <a:gd name="T53" fmla="*/ 132 h 227"/>
              <a:gd name="T54" fmla="*/ 224 w 256"/>
              <a:gd name="T55" fmla="*/ 148 h 227"/>
              <a:gd name="T56" fmla="*/ 218 w 256"/>
              <a:gd name="T57" fmla="*/ 147 h 227"/>
              <a:gd name="T58" fmla="*/ 215 w 256"/>
              <a:gd name="T59" fmla="*/ 148 h 227"/>
              <a:gd name="T60" fmla="*/ 215 w 256"/>
              <a:gd name="T61" fmla="*/ 164 h 227"/>
              <a:gd name="T62" fmla="*/ 224 w 256"/>
              <a:gd name="T63" fmla="*/ 169 h 227"/>
              <a:gd name="T64" fmla="*/ 210 w 256"/>
              <a:gd name="T65" fmla="*/ 175 h 227"/>
              <a:gd name="T66" fmla="*/ 210 w 256"/>
              <a:gd name="T67" fmla="*/ 175 h 227"/>
              <a:gd name="T68" fmla="*/ 210 w 256"/>
              <a:gd name="T69" fmla="*/ 191 h 227"/>
              <a:gd name="T70" fmla="*/ 210 w 256"/>
              <a:gd name="T71" fmla="*/ 203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56" h="227">
                <a:moveTo>
                  <a:pt x="256" y="108"/>
                </a:moveTo>
                <a:cubicBezTo>
                  <a:pt x="256" y="94"/>
                  <a:pt x="245" y="84"/>
                  <a:pt x="232" y="84"/>
                </a:cubicBezTo>
                <a:cubicBezTo>
                  <a:pt x="169" y="84"/>
                  <a:pt x="169" y="84"/>
                  <a:pt x="169" y="84"/>
                </a:cubicBezTo>
                <a:cubicBezTo>
                  <a:pt x="171" y="74"/>
                  <a:pt x="172" y="59"/>
                  <a:pt x="172" y="44"/>
                </a:cubicBezTo>
                <a:cubicBezTo>
                  <a:pt x="172" y="13"/>
                  <a:pt x="156" y="0"/>
                  <a:pt x="140" y="0"/>
                </a:cubicBezTo>
                <a:cubicBezTo>
                  <a:pt x="120" y="0"/>
                  <a:pt x="120" y="21"/>
                  <a:pt x="120" y="48"/>
                </a:cubicBezTo>
                <a:cubicBezTo>
                  <a:pt x="120" y="67"/>
                  <a:pt x="90" y="97"/>
                  <a:pt x="75" y="110"/>
                </a:cubicBezTo>
                <a:cubicBezTo>
                  <a:pt x="71" y="108"/>
                  <a:pt x="68" y="107"/>
                  <a:pt x="64" y="107"/>
                </a:cubicBezTo>
                <a:cubicBezTo>
                  <a:pt x="24" y="107"/>
                  <a:pt x="24" y="107"/>
                  <a:pt x="24" y="107"/>
                </a:cubicBezTo>
                <a:cubicBezTo>
                  <a:pt x="11" y="107"/>
                  <a:pt x="0" y="118"/>
                  <a:pt x="0" y="131"/>
                </a:cubicBezTo>
                <a:cubicBezTo>
                  <a:pt x="8" y="203"/>
                  <a:pt x="8" y="203"/>
                  <a:pt x="8" y="203"/>
                </a:cubicBezTo>
                <a:cubicBezTo>
                  <a:pt x="10" y="216"/>
                  <a:pt x="19" y="227"/>
                  <a:pt x="32" y="227"/>
                </a:cubicBezTo>
                <a:cubicBezTo>
                  <a:pt x="64" y="227"/>
                  <a:pt x="64" y="227"/>
                  <a:pt x="64" y="227"/>
                </a:cubicBezTo>
                <a:cubicBezTo>
                  <a:pt x="74" y="227"/>
                  <a:pt x="83" y="221"/>
                  <a:pt x="87" y="212"/>
                </a:cubicBezTo>
                <a:cubicBezTo>
                  <a:pt x="100" y="219"/>
                  <a:pt x="100" y="219"/>
                  <a:pt x="100" y="219"/>
                </a:cubicBezTo>
                <a:cubicBezTo>
                  <a:pt x="101" y="219"/>
                  <a:pt x="102" y="219"/>
                  <a:pt x="103" y="219"/>
                </a:cubicBezTo>
                <a:cubicBezTo>
                  <a:pt x="210" y="219"/>
                  <a:pt x="210" y="219"/>
                  <a:pt x="210" y="219"/>
                </a:cubicBezTo>
                <a:cubicBezTo>
                  <a:pt x="222" y="219"/>
                  <a:pt x="232" y="210"/>
                  <a:pt x="232" y="197"/>
                </a:cubicBezTo>
                <a:cubicBezTo>
                  <a:pt x="232" y="194"/>
                  <a:pt x="231" y="191"/>
                  <a:pt x="230" y="188"/>
                </a:cubicBezTo>
                <a:cubicBezTo>
                  <a:pt x="236" y="184"/>
                  <a:pt x="240" y="177"/>
                  <a:pt x="240" y="169"/>
                </a:cubicBezTo>
                <a:cubicBezTo>
                  <a:pt x="240" y="166"/>
                  <a:pt x="239" y="162"/>
                  <a:pt x="238" y="159"/>
                </a:cubicBezTo>
                <a:cubicBezTo>
                  <a:pt x="244" y="155"/>
                  <a:pt x="248" y="148"/>
                  <a:pt x="248" y="140"/>
                </a:cubicBezTo>
                <a:cubicBezTo>
                  <a:pt x="248" y="135"/>
                  <a:pt x="247" y="131"/>
                  <a:pt x="245" y="128"/>
                </a:cubicBezTo>
                <a:cubicBezTo>
                  <a:pt x="252" y="123"/>
                  <a:pt x="256" y="116"/>
                  <a:pt x="256" y="108"/>
                </a:cubicBezTo>
                <a:close/>
                <a:moveTo>
                  <a:pt x="64" y="211"/>
                </a:moveTo>
                <a:cubicBezTo>
                  <a:pt x="32" y="211"/>
                  <a:pt x="32" y="211"/>
                  <a:pt x="32" y="211"/>
                </a:cubicBezTo>
                <a:cubicBezTo>
                  <a:pt x="28" y="211"/>
                  <a:pt x="25" y="206"/>
                  <a:pt x="24" y="202"/>
                </a:cubicBezTo>
                <a:cubicBezTo>
                  <a:pt x="16" y="131"/>
                  <a:pt x="16" y="131"/>
                  <a:pt x="16" y="131"/>
                </a:cubicBezTo>
                <a:cubicBezTo>
                  <a:pt x="17" y="127"/>
                  <a:pt x="20" y="123"/>
                  <a:pt x="24" y="123"/>
                </a:cubicBezTo>
                <a:cubicBezTo>
                  <a:pt x="64" y="123"/>
                  <a:pt x="64" y="123"/>
                  <a:pt x="64" y="123"/>
                </a:cubicBezTo>
                <a:cubicBezTo>
                  <a:pt x="69" y="123"/>
                  <a:pt x="72" y="127"/>
                  <a:pt x="72" y="131"/>
                </a:cubicBezTo>
                <a:cubicBezTo>
                  <a:pt x="72" y="198"/>
                  <a:pt x="72" y="198"/>
                  <a:pt x="72" y="198"/>
                </a:cubicBezTo>
                <a:cubicBezTo>
                  <a:pt x="72" y="199"/>
                  <a:pt x="72" y="200"/>
                  <a:pt x="72" y="201"/>
                </a:cubicBezTo>
                <a:cubicBezTo>
                  <a:pt x="72" y="203"/>
                  <a:pt x="72" y="203"/>
                  <a:pt x="72" y="203"/>
                </a:cubicBezTo>
                <a:cubicBezTo>
                  <a:pt x="72" y="208"/>
                  <a:pt x="69" y="211"/>
                  <a:pt x="64" y="211"/>
                </a:cubicBezTo>
                <a:close/>
                <a:moveTo>
                  <a:pt x="210" y="203"/>
                </a:moveTo>
                <a:cubicBezTo>
                  <a:pt x="105" y="203"/>
                  <a:pt x="105" y="203"/>
                  <a:pt x="105" y="203"/>
                </a:cubicBezTo>
                <a:cubicBezTo>
                  <a:pt x="88" y="194"/>
                  <a:pt x="88" y="194"/>
                  <a:pt x="88" y="194"/>
                </a:cubicBezTo>
                <a:cubicBezTo>
                  <a:pt x="88" y="131"/>
                  <a:pt x="88" y="131"/>
                  <a:pt x="88" y="131"/>
                </a:cubicBezTo>
                <a:cubicBezTo>
                  <a:pt x="88" y="128"/>
                  <a:pt x="87" y="124"/>
                  <a:pt x="86" y="121"/>
                </a:cubicBezTo>
                <a:cubicBezTo>
                  <a:pt x="100" y="109"/>
                  <a:pt x="136" y="75"/>
                  <a:pt x="136" y="48"/>
                </a:cubicBezTo>
                <a:cubicBezTo>
                  <a:pt x="136" y="31"/>
                  <a:pt x="136" y="16"/>
                  <a:pt x="140" y="16"/>
                </a:cubicBezTo>
                <a:cubicBezTo>
                  <a:pt x="148" y="16"/>
                  <a:pt x="156" y="25"/>
                  <a:pt x="156" y="44"/>
                </a:cubicBezTo>
                <a:cubicBezTo>
                  <a:pt x="156" y="67"/>
                  <a:pt x="152" y="90"/>
                  <a:pt x="152" y="90"/>
                </a:cubicBezTo>
                <a:cubicBezTo>
                  <a:pt x="152" y="93"/>
                  <a:pt x="153" y="95"/>
                  <a:pt x="154" y="97"/>
                </a:cubicBezTo>
                <a:cubicBezTo>
                  <a:pt x="156" y="98"/>
                  <a:pt x="158" y="100"/>
                  <a:pt x="160" y="100"/>
                </a:cubicBezTo>
                <a:cubicBezTo>
                  <a:pt x="232" y="100"/>
                  <a:pt x="232" y="100"/>
                  <a:pt x="232" y="100"/>
                </a:cubicBezTo>
                <a:cubicBezTo>
                  <a:pt x="237" y="100"/>
                  <a:pt x="240" y="103"/>
                  <a:pt x="240" y="108"/>
                </a:cubicBezTo>
                <a:cubicBezTo>
                  <a:pt x="240" y="112"/>
                  <a:pt x="237" y="116"/>
                  <a:pt x="232" y="116"/>
                </a:cubicBezTo>
                <a:cubicBezTo>
                  <a:pt x="223" y="116"/>
                  <a:pt x="223" y="116"/>
                  <a:pt x="223" y="116"/>
                </a:cubicBezTo>
                <a:cubicBezTo>
                  <a:pt x="219" y="116"/>
                  <a:pt x="215" y="119"/>
                  <a:pt x="215" y="124"/>
                </a:cubicBezTo>
                <a:cubicBezTo>
                  <a:pt x="215" y="128"/>
                  <a:pt x="219" y="132"/>
                  <a:pt x="223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9" y="132"/>
                  <a:pt x="232" y="135"/>
                  <a:pt x="232" y="140"/>
                </a:cubicBezTo>
                <a:cubicBezTo>
                  <a:pt x="232" y="144"/>
                  <a:pt x="229" y="148"/>
                  <a:pt x="224" y="148"/>
                </a:cubicBezTo>
                <a:cubicBezTo>
                  <a:pt x="219" y="148"/>
                  <a:pt x="219" y="148"/>
                  <a:pt x="219" y="148"/>
                </a:cubicBezTo>
                <a:cubicBezTo>
                  <a:pt x="219" y="148"/>
                  <a:pt x="218" y="147"/>
                  <a:pt x="218" y="147"/>
                </a:cubicBezTo>
                <a:cubicBezTo>
                  <a:pt x="218" y="147"/>
                  <a:pt x="218" y="148"/>
                  <a:pt x="218" y="148"/>
                </a:cubicBezTo>
                <a:cubicBezTo>
                  <a:pt x="215" y="148"/>
                  <a:pt x="215" y="148"/>
                  <a:pt x="215" y="148"/>
                </a:cubicBezTo>
                <a:cubicBezTo>
                  <a:pt x="211" y="148"/>
                  <a:pt x="207" y="151"/>
                  <a:pt x="207" y="156"/>
                </a:cubicBezTo>
                <a:cubicBezTo>
                  <a:pt x="207" y="160"/>
                  <a:pt x="211" y="164"/>
                  <a:pt x="215" y="164"/>
                </a:cubicBezTo>
                <a:cubicBezTo>
                  <a:pt x="218" y="164"/>
                  <a:pt x="218" y="164"/>
                  <a:pt x="218" y="164"/>
                </a:cubicBezTo>
                <a:cubicBezTo>
                  <a:pt x="222" y="164"/>
                  <a:pt x="224" y="166"/>
                  <a:pt x="224" y="169"/>
                </a:cubicBezTo>
                <a:cubicBezTo>
                  <a:pt x="224" y="173"/>
                  <a:pt x="221" y="175"/>
                  <a:pt x="218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06" y="175"/>
                  <a:pt x="202" y="179"/>
                  <a:pt x="202" y="183"/>
                </a:cubicBezTo>
                <a:cubicBezTo>
                  <a:pt x="202" y="188"/>
                  <a:pt x="206" y="191"/>
                  <a:pt x="210" y="191"/>
                </a:cubicBezTo>
                <a:cubicBezTo>
                  <a:pt x="213" y="191"/>
                  <a:pt x="216" y="194"/>
                  <a:pt x="216" y="197"/>
                </a:cubicBezTo>
                <a:cubicBezTo>
                  <a:pt x="216" y="201"/>
                  <a:pt x="213" y="203"/>
                  <a:pt x="210" y="20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US" sz="840" b="1">
              <a:latin typeface="+mn-lt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88907A03-8DAC-837C-4B97-9265B7BC7F38}"/>
              </a:ext>
            </a:extLst>
          </p:cNvPr>
          <p:cNvGrpSpPr>
            <a:grpSpLocks noChangeAspect="1"/>
          </p:cNvGrpSpPr>
          <p:nvPr/>
        </p:nvGrpSpPr>
        <p:grpSpPr>
          <a:xfrm>
            <a:off x="3936317" y="2531394"/>
            <a:ext cx="433084" cy="412235"/>
            <a:chOff x="6719888" y="887413"/>
            <a:chExt cx="492125" cy="468312"/>
          </a:xfrm>
          <a:solidFill>
            <a:schemeClr val="bg1"/>
          </a:solidFill>
        </p:grpSpPr>
        <p:sp>
          <p:nvSpPr>
            <p:cNvPr id="15" name="Freeform 26">
              <a:extLst>
                <a:ext uri="{FF2B5EF4-FFF2-40B4-BE49-F238E27FC236}">
                  <a16:creationId xmlns:a16="http://schemas.microsoft.com/office/drawing/2014/main" id="{A3BA87B8-DECA-049E-05FF-A7BC34F168B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19888" y="887413"/>
              <a:ext cx="492125" cy="468312"/>
            </a:xfrm>
            <a:custGeom>
              <a:avLst/>
              <a:gdLst>
                <a:gd name="T0" fmla="*/ 117 w 128"/>
                <a:gd name="T1" fmla="*/ 0 h 122"/>
                <a:gd name="T2" fmla="*/ 11 w 128"/>
                <a:gd name="T3" fmla="*/ 0 h 122"/>
                <a:gd name="T4" fmla="*/ 0 w 128"/>
                <a:gd name="T5" fmla="*/ 11 h 122"/>
                <a:gd name="T6" fmla="*/ 0 w 128"/>
                <a:gd name="T7" fmla="*/ 93 h 122"/>
                <a:gd name="T8" fmla="*/ 11 w 128"/>
                <a:gd name="T9" fmla="*/ 104 h 122"/>
                <a:gd name="T10" fmla="*/ 43 w 128"/>
                <a:gd name="T11" fmla="*/ 104 h 122"/>
                <a:gd name="T12" fmla="*/ 38 w 128"/>
                <a:gd name="T13" fmla="*/ 110 h 122"/>
                <a:gd name="T14" fmla="*/ 35 w 128"/>
                <a:gd name="T15" fmla="*/ 113 h 122"/>
                <a:gd name="T16" fmla="*/ 34 w 128"/>
                <a:gd name="T17" fmla="*/ 118 h 122"/>
                <a:gd name="T18" fmla="*/ 42 w 128"/>
                <a:gd name="T19" fmla="*/ 122 h 122"/>
                <a:gd name="T20" fmla="*/ 86 w 128"/>
                <a:gd name="T21" fmla="*/ 122 h 122"/>
                <a:gd name="T22" fmla="*/ 94 w 128"/>
                <a:gd name="T23" fmla="*/ 118 h 122"/>
                <a:gd name="T24" fmla="*/ 94 w 128"/>
                <a:gd name="T25" fmla="*/ 113 h 122"/>
                <a:gd name="T26" fmla="*/ 91 w 128"/>
                <a:gd name="T27" fmla="*/ 110 h 122"/>
                <a:gd name="T28" fmla="*/ 85 w 128"/>
                <a:gd name="T29" fmla="*/ 104 h 122"/>
                <a:gd name="T30" fmla="*/ 117 w 128"/>
                <a:gd name="T31" fmla="*/ 104 h 122"/>
                <a:gd name="T32" fmla="*/ 128 w 128"/>
                <a:gd name="T33" fmla="*/ 93 h 122"/>
                <a:gd name="T34" fmla="*/ 128 w 128"/>
                <a:gd name="T35" fmla="*/ 11 h 122"/>
                <a:gd name="T36" fmla="*/ 117 w 128"/>
                <a:gd name="T37" fmla="*/ 0 h 122"/>
                <a:gd name="T38" fmla="*/ 88 w 128"/>
                <a:gd name="T39" fmla="*/ 113 h 122"/>
                <a:gd name="T40" fmla="*/ 90 w 128"/>
                <a:gd name="T41" fmla="*/ 116 h 122"/>
                <a:gd name="T42" fmla="*/ 90 w 128"/>
                <a:gd name="T43" fmla="*/ 116 h 122"/>
                <a:gd name="T44" fmla="*/ 86 w 128"/>
                <a:gd name="T45" fmla="*/ 118 h 122"/>
                <a:gd name="T46" fmla="*/ 42 w 128"/>
                <a:gd name="T47" fmla="*/ 118 h 122"/>
                <a:gd name="T48" fmla="*/ 38 w 128"/>
                <a:gd name="T49" fmla="*/ 116 h 122"/>
                <a:gd name="T50" fmla="*/ 38 w 128"/>
                <a:gd name="T51" fmla="*/ 116 h 122"/>
                <a:gd name="T52" fmla="*/ 38 w 128"/>
                <a:gd name="T53" fmla="*/ 116 h 122"/>
                <a:gd name="T54" fmla="*/ 40 w 128"/>
                <a:gd name="T55" fmla="*/ 113 h 122"/>
                <a:gd name="T56" fmla="*/ 48 w 128"/>
                <a:gd name="T57" fmla="*/ 104 h 122"/>
                <a:gd name="T58" fmla="*/ 80 w 128"/>
                <a:gd name="T59" fmla="*/ 104 h 122"/>
                <a:gd name="T60" fmla="*/ 88 w 128"/>
                <a:gd name="T61" fmla="*/ 113 h 122"/>
                <a:gd name="T62" fmla="*/ 120 w 128"/>
                <a:gd name="T63" fmla="*/ 93 h 122"/>
                <a:gd name="T64" fmla="*/ 117 w 128"/>
                <a:gd name="T65" fmla="*/ 96 h 122"/>
                <a:gd name="T66" fmla="*/ 11 w 128"/>
                <a:gd name="T67" fmla="*/ 96 h 122"/>
                <a:gd name="T68" fmla="*/ 8 w 128"/>
                <a:gd name="T69" fmla="*/ 93 h 122"/>
                <a:gd name="T70" fmla="*/ 8 w 128"/>
                <a:gd name="T71" fmla="*/ 11 h 122"/>
                <a:gd name="T72" fmla="*/ 11 w 128"/>
                <a:gd name="T73" fmla="*/ 8 h 122"/>
                <a:gd name="T74" fmla="*/ 117 w 128"/>
                <a:gd name="T75" fmla="*/ 8 h 122"/>
                <a:gd name="T76" fmla="*/ 120 w 128"/>
                <a:gd name="T77" fmla="*/ 11 h 122"/>
                <a:gd name="T78" fmla="*/ 120 w 128"/>
                <a:gd name="T79" fmla="*/ 93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8" h="122">
                  <a:moveTo>
                    <a:pt x="117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99"/>
                    <a:pt x="5" y="104"/>
                    <a:pt x="11" y="104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42" y="106"/>
                    <a:pt x="39" y="109"/>
                    <a:pt x="38" y="110"/>
                  </a:cubicBezTo>
                  <a:cubicBezTo>
                    <a:pt x="36" y="111"/>
                    <a:pt x="35" y="112"/>
                    <a:pt x="35" y="113"/>
                  </a:cubicBezTo>
                  <a:cubicBezTo>
                    <a:pt x="34" y="114"/>
                    <a:pt x="33" y="116"/>
                    <a:pt x="34" y="118"/>
                  </a:cubicBezTo>
                  <a:cubicBezTo>
                    <a:pt x="35" y="120"/>
                    <a:pt x="37" y="122"/>
                    <a:pt x="42" y="122"/>
                  </a:cubicBezTo>
                  <a:cubicBezTo>
                    <a:pt x="86" y="122"/>
                    <a:pt x="86" y="122"/>
                    <a:pt x="86" y="122"/>
                  </a:cubicBezTo>
                  <a:cubicBezTo>
                    <a:pt x="91" y="122"/>
                    <a:pt x="93" y="120"/>
                    <a:pt x="94" y="118"/>
                  </a:cubicBezTo>
                  <a:cubicBezTo>
                    <a:pt x="95" y="116"/>
                    <a:pt x="95" y="114"/>
                    <a:pt x="94" y="113"/>
                  </a:cubicBezTo>
                  <a:cubicBezTo>
                    <a:pt x="93" y="112"/>
                    <a:pt x="92" y="111"/>
                    <a:pt x="91" y="110"/>
                  </a:cubicBezTo>
                  <a:cubicBezTo>
                    <a:pt x="89" y="109"/>
                    <a:pt x="87" y="106"/>
                    <a:pt x="85" y="104"/>
                  </a:cubicBezTo>
                  <a:cubicBezTo>
                    <a:pt x="117" y="104"/>
                    <a:pt x="117" y="104"/>
                    <a:pt x="117" y="104"/>
                  </a:cubicBezTo>
                  <a:cubicBezTo>
                    <a:pt x="123" y="104"/>
                    <a:pt x="128" y="99"/>
                    <a:pt x="128" y="93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28" y="5"/>
                    <a:pt x="123" y="0"/>
                    <a:pt x="117" y="0"/>
                  </a:cubicBezTo>
                  <a:close/>
                  <a:moveTo>
                    <a:pt x="88" y="113"/>
                  </a:moveTo>
                  <a:cubicBezTo>
                    <a:pt x="89" y="114"/>
                    <a:pt x="90" y="115"/>
                    <a:pt x="90" y="116"/>
                  </a:cubicBezTo>
                  <a:cubicBezTo>
                    <a:pt x="90" y="116"/>
                    <a:pt x="91" y="116"/>
                    <a:pt x="90" y="116"/>
                  </a:cubicBezTo>
                  <a:cubicBezTo>
                    <a:pt x="90" y="117"/>
                    <a:pt x="88" y="118"/>
                    <a:pt x="86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0" y="118"/>
                    <a:pt x="38" y="117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5"/>
                    <a:pt x="39" y="114"/>
                    <a:pt x="40" y="113"/>
                  </a:cubicBezTo>
                  <a:cubicBezTo>
                    <a:pt x="44" y="109"/>
                    <a:pt x="47" y="106"/>
                    <a:pt x="48" y="104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82" y="106"/>
                    <a:pt x="84" y="109"/>
                    <a:pt x="88" y="113"/>
                  </a:cubicBezTo>
                  <a:close/>
                  <a:moveTo>
                    <a:pt x="120" y="93"/>
                  </a:moveTo>
                  <a:cubicBezTo>
                    <a:pt x="120" y="95"/>
                    <a:pt x="119" y="96"/>
                    <a:pt x="117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9" y="96"/>
                    <a:pt x="8" y="95"/>
                    <a:pt x="8" y="93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9"/>
                    <a:pt x="9" y="8"/>
                    <a:pt x="11" y="8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9" y="8"/>
                    <a:pt x="120" y="9"/>
                    <a:pt x="120" y="11"/>
                  </a:cubicBezTo>
                  <a:lnTo>
                    <a:pt x="120" y="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6" name="Freeform 27">
              <a:extLst>
                <a:ext uri="{FF2B5EF4-FFF2-40B4-BE49-F238E27FC236}">
                  <a16:creationId xmlns:a16="http://schemas.microsoft.com/office/drawing/2014/main" id="{996FCED6-8520-21E0-0845-82F33E4A14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81801" y="947738"/>
              <a:ext cx="368300" cy="247650"/>
            </a:xfrm>
            <a:custGeom>
              <a:avLst/>
              <a:gdLst>
                <a:gd name="T0" fmla="*/ 89 w 96"/>
                <a:gd name="T1" fmla="*/ 0 h 64"/>
                <a:gd name="T2" fmla="*/ 7 w 96"/>
                <a:gd name="T3" fmla="*/ 0 h 64"/>
                <a:gd name="T4" fmla="*/ 0 w 96"/>
                <a:gd name="T5" fmla="*/ 7 h 64"/>
                <a:gd name="T6" fmla="*/ 0 w 96"/>
                <a:gd name="T7" fmla="*/ 57 h 64"/>
                <a:gd name="T8" fmla="*/ 7 w 96"/>
                <a:gd name="T9" fmla="*/ 64 h 64"/>
                <a:gd name="T10" fmla="*/ 89 w 96"/>
                <a:gd name="T11" fmla="*/ 64 h 64"/>
                <a:gd name="T12" fmla="*/ 96 w 96"/>
                <a:gd name="T13" fmla="*/ 57 h 64"/>
                <a:gd name="T14" fmla="*/ 96 w 96"/>
                <a:gd name="T15" fmla="*/ 7 h 64"/>
                <a:gd name="T16" fmla="*/ 89 w 96"/>
                <a:gd name="T17" fmla="*/ 0 h 64"/>
                <a:gd name="T18" fmla="*/ 92 w 96"/>
                <a:gd name="T19" fmla="*/ 57 h 64"/>
                <a:gd name="T20" fmla="*/ 89 w 96"/>
                <a:gd name="T21" fmla="*/ 60 h 64"/>
                <a:gd name="T22" fmla="*/ 7 w 96"/>
                <a:gd name="T23" fmla="*/ 60 h 64"/>
                <a:gd name="T24" fmla="*/ 4 w 96"/>
                <a:gd name="T25" fmla="*/ 57 h 64"/>
                <a:gd name="T26" fmla="*/ 4 w 96"/>
                <a:gd name="T27" fmla="*/ 7 h 64"/>
                <a:gd name="T28" fmla="*/ 7 w 96"/>
                <a:gd name="T29" fmla="*/ 4 h 64"/>
                <a:gd name="T30" fmla="*/ 89 w 96"/>
                <a:gd name="T31" fmla="*/ 4 h 64"/>
                <a:gd name="T32" fmla="*/ 92 w 96"/>
                <a:gd name="T33" fmla="*/ 7 h 64"/>
                <a:gd name="T34" fmla="*/ 92 w 96"/>
                <a:gd name="T35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6" h="64">
                  <a:moveTo>
                    <a:pt x="89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1"/>
                    <a:pt x="3" y="64"/>
                    <a:pt x="7" y="64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93" y="64"/>
                    <a:pt x="96" y="61"/>
                    <a:pt x="96" y="5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3"/>
                    <a:pt x="93" y="0"/>
                    <a:pt x="89" y="0"/>
                  </a:cubicBezTo>
                  <a:close/>
                  <a:moveTo>
                    <a:pt x="92" y="57"/>
                  </a:moveTo>
                  <a:cubicBezTo>
                    <a:pt x="92" y="59"/>
                    <a:pt x="91" y="60"/>
                    <a:pt x="89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5" y="60"/>
                    <a:pt x="4" y="59"/>
                    <a:pt x="4" y="5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5" y="4"/>
                    <a:pt x="7" y="4"/>
                  </a:cubicBezTo>
                  <a:cubicBezTo>
                    <a:pt x="89" y="4"/>
                    <a:pt x="89" y="4"/>
                    <a:pt x="89" y="4"/>
                  </a:cubicBezTo>
                  <a:cubicBezTo>
                    <a:pt x="91" y="4"/>
                    <a:pt x="92" y="5"/>
                    <a:pt x="92" y="7"/>
                  </a:cubicBezTo>
                  <a:lnTo>
                    <a:pt x="92" y="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7" name="Freeform 28">
              <a:extLst>
                <a:ext uri="{FF2B5EF4-FFF2-40B4-BE49-F238E27FC236}">
                  <a16:creationId xmlns:a16="http://schemas.microsoft.com/office/drawing/2014/main" id="{CAC0F593-5C78-2B34-27E3-B6B1E39C2E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43726" y="1201738"/>
              <a:ext cx="46038" cy="47625"/>
            </a:xfrm>
            <a:custGeom>
              <a:avLst/>
              <a:gdLst>
                <a:gd name="T0" fmla="*/ 6 w 12"/>
                <a:gd name="T1" fmla="*/ 0 h 12"/>
                <a:gd name="T2" fmla="*/ 0 w 12"/>
                <a:gd name="T3" fmla="*/ 6 h 12"/>
                <a:gd name="T4" fmla="*/ 6 w 12"/>
                <a:gd name="T5" fmla="*/ 12 h 12"/>
                <a:gd name="T6" fmla="*/ 12 w 12"/>
                <a:gd name="T7" fmla="*/ 6 h 12"/>
                <a:gd name="T8" fmla="*/ 6 w 12"/>
                <a:gd name="T9" fmla="*/ 0 h 12"/>
                <a:gd name="T10" fmla="*/ 6 w 12"/>
                <a:gd name="T11" fmla="*/ 8 h 12"/>
                <a:gd name="T12" fmla="*/ 4 w 12"/>
                <a:gd name="T13" fmla="*/ 6 h 12"/>
                <a:gd name="T14" fmla="*/ 6 w 12"/>
                <a:gd name="T15" fmla="*/ 4 h 12"/>
                <a:gd name="T16" fmla="*/ 8 w 12"/>
                <a:gd name="T17" fmla="*/ 6 h 12"/>
                <a:gd name="T18" fmla="*/ 6 w 12"/>
                <a:gd name="T1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9" y="12"/>
                    <a:pt x="12" y="9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lose/>
                  <a:moveTo>
                    <a:pt x="6" y="8"/>
                  </a:moveTo>
                  <a:cubicBezTo>
                    <a:pt x="5" y="8"/>
                    <a:pt x="4" y="7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7" y="4"/>
                    <a:pt x="8" y="5"/>
                    <a:pt x="8" y="6"/>
                  </a:cubicBezTo>
                  <a:cubicBezTo>
                    <a:pt x="8" y="7"/>
                    <a:pt x="7" y="8"/>
                    <a:pt x="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8" name="Freeform 29">
              <a:extLst>
                <a:ext uri="{FF2B5EF4-FFF2-40B4-BE49-F238E27FC236}">
                  <a16:creationId xmlns:a16="http://schemas.microsoft.com/office/drawing/2014/main" id="{5B3BE636-87C4-058C-EC8D-91CD90709AB6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1813" y="1044575"/>
              <a:ext cx="61913" cy="65087"/>
            </a:xfrm>
            <a:custGeom>
              <a:avLst/>
              <a:gdLst>
                <a:gd name="T0" fmla="*/ 0 w 39"/>
                <a:gd name="T1" fmla="*/ 24 h 41"/>
                <a:gd name="T2" fmla="*/ 39 w 39"/>
                <a:gd name="T3" fmla="*/ 41 h 41"/>
                <a:gd name="T4" fmla="*/ 39 w 39"/>
                <a:gd name="T5" fmla="*/ 32 h 41"/>
                <a:gd name="T6" fmla="*/ 12 w 39"/>
                <a:gd name="T7" fmla="*/ 19 h 41"/>
                <a:gd name="T8" fmla="*/ 39 w 39"/>
                <a:gd name="T9" fmla="*/ 10 h 41"/>
                <a:gd name="T10" fmla="*/ 39 w 39"/>
                <a:gd name="T11" fmla="*/ 0 h 41"/>
                <a:gd name="T12" fmla="*/ 0 w 39"/>
                <a:gd name="T13" fmla="*/ 17 h 41"/>
                <a:gd name="T14" fmla="*/ 0 w 39"/>
                <a:gd name="T15" fmla="*/ 2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41">
                  <a:moveTo>
                    <a:pt x="0" y="24"/>
                  </a:moveTo>
                  <a:lnTo>
                    <a:pt x="39" y="41"/>
                  </a:lnTo>
                  <a:lnTo>
                    <a:pt x="39" y="32"/>
                  </a:lnTo>
                  <a:lnTo>
                    <a:pt x="12" y="19"/>
                  </a:lnTo>
                  <a:lnTo>
                    <a:pt x="39" y="10"/>
                  </a:lnTo>
                  <a:lnTo>
                    <a:pt x="39" y="0"/>
                  </a:lnTo>
                  <a:lnTo>
                    <a:pt x="0" y="17"/>
                  </a:lnTo>
                  <a:lnTo>
                    <a:pt x="0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9" name="Freeform 30">
              <a:extLst>
                <a:ext uri="{FF2B5EF4-FFF2-40B4-BE49-F238E27FC236}">
                  <a16:creationId xmlns:a16="http://schemas.microsoft.com/office/drawing/2014/main" id="{9288168B-E2D5-1C29-5FF1-633814C2CA11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0076" y="1033463"/>
              <a:ext cx="31750" cy="87312"/>
            </a:xfrm>
            <a:custGeom>
              <a:avLst/>
              <a:gdLst>
                <a:gd name="T0" fmla="*/ 7 w 8"/>
                <a:gd name="T1" fmla="*/ 0 h 23"/>
                <a:gd name="T2" fmla="*/ 5 w 8"/>
                <a:gd name="T3" fmla="*/ 0 h 23"/>
                <a:gd name="T4" fmla="*/ 5 w 8"/>
                <a:gd name="T5" fmla="*/ 2 h 23"/>
                <a:gd name="T6" fmla="*/ 0 w 8"/>
                <a:gd name="T7" fmla="*/ 20 h 23"/>
                <a:gd name="T8" fmla="*/ 0 w 8"/>
                <a:gd name="T9" fmla="*/ 22 h 23"/>
                <a:gd name="T10" fmla="*/ 2 w 8"/>
                <a:gd name="T11" fmla="*/ 23 h 23"/>
                <a:gd name="T12" fmla="*/ 3 w 8"/>
                <a:gd name="T13" fmla="*/ 23 h 23"/>
                <a:gd name="T14" fmla="*/ 3 w 8"/>
                <a:gd name="T15" fmla="*/ 22 h 23"/>
                <a:gd name="T16" fmla="*/ 4 w 8"/>
                <a:gd name="T17" fmla="*/ 21 h 23"/>
                <a:gd name="T18" fmla="*/ 8 w 8"/>
                <a:gd name="T19" fmla="*/ 3 h 23"/>
                <a:gd name="T20" fmla="*/ 8 w 8"/>
                <a:gd name="T21" fmla="*/ 1 h 23"/>
                <a:gd name="T22" fmla="*/ 8 w 8"/>
                <a:gd name="T23" fmla="*/ 0 h 23"/>
                <a:gd name="T24" fmla="*/ 7 w 8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3">
                  <a:moveTo>
                    <a:pt x="7" y="0"/>
                  </a:move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1"/>
                    <a:pt x="5" y="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0" y="23"/>
                    <a:pt x="1" y="23"/>
                    <a:pt x="2" y="23"/>
                  </a:cubicBezTo>
                  <a:cubicBezTo>
                    <a:pt x="2" y="23"/>
                    <a:pt x="2" y="23"/>
                    <a:pt x="3" y="23"/>
                  </a:cubicBezTo>
                  <a:cubicBezTo>
                    <a:pt x="3" y="23"/>
                    <a:pt x="3" y="22"/>
                    <a:pt x="3" y="22"/>
                  </a:cubicBezTo>
                  <a:cubicBezTo>
                    <a:pt x="3" y="22"/>
                    <a:pt x="3" y="21"/>
                    <a:pt x="4" y="2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0" name="Freeform 31">
              <a:extLst>
                <a:ext uri="{FF2B5EF4-FFF2-40B4-BE49-F238E27FC236}">
                  <a16:creationId xmlns:a16="http://schemas.microsoft.com/office/drawing/2014/main" id="{7CD5E6DE-6EE2-2C1A-527A-65D0501019DE}"/>
                </a:ext>
              </a:extLst>
            </p:cNvPr>
            <p:cNvSpPr>
              <a:spLocks/>
            </p:cNvSpPr>
            <p:nvPr/>
          </p:nvSpPr>
          <p:spPr bwMode="auto">
            <a:xfrm>
              <a:off x="6989763" y="1044575"/>
              <a:ext cx="60325" cy="65087"/>
            </a:xfrm>
            <a:custGeom>
              <a:avLst/>
              <a:gdLst>
                <a:gd name="T0" fmla="*/ 0 w 38"/>
                <a:gd name="T1" fmla="*/ 10 h 41"/>
                <a:gd name="T2" fmla="*/ 26 w 38"/>
                <a:gd name="T3" fmla="*/ 19 h 41"/>
                <a:gd name="T4" fmla="*/ 0 w 38"/>
                <a:gd name="T5" fmla="*/ 32 h 41"/>
                <a:gd name="T6" fmla="*/ 0 w 38"/>
                <a:gd name="T7" fmla="*/ 41 h 41"/>
                <a:gd name="T8" fmla="*/ 38 w 38"/>
                <a:gd name="T9" fmla="*/ 24 h 41"/>
                <a:gd name="T10" fmla="*/ 38 w 38"/>
                <a:gd name="T11" fmla="*/ 17 h 41"/>
                <a:gd name="T12" fmla="*/ 0 w 38"/>
                <a:gd name="T13" fmla="*/ 0 h 41"/>
                <a:gd name="T14" fmla="*/ 0 w 38"/>
                <a:gd name="T15" fmla="*/ 1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41">
                  <a:moveTo>
                    <a:pt x="0" y="10"/>
                  </a:moveTo>
                  <a:lnTo>
                    <a:pt x="26" y="19"/>
                  </a:lnTo>
                  <a:lnTo>
                    <a:pt x="0" y="32"/>
                  </a:lnTo>
                  <a:lnTo>
                    <a:pt x="0" y="41"/>
                  </a:lnTo>
                  <a:lnTo>
                    <a:pt x="38" y="24"/>
                  </a:lnTo>
                  <a:lnTo>
                    <a:pt x="38" y="17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25" name="Freeform 23">
            <a:extLst>
              <a:ext uri="{FF2B5EF4-FFF2-40B4-BE49-F238E27FC236}">
                <a16:creationId xmlns:a16="http://schemas.microsoft.com/office/drawing/2014/main" id="{CCA30FED-CC59-6404-28A2-AAE1D83BCAC0}"/>
              </a:ext>
            </a:extLst>
          </p:cNvPr>
          <p:cNvSpPr>
            <a:spLocks noEditPoints="1"/>
          </p:cNvSpPr>
          <p:nvPr/>
        </p:nvSpPr>
        <p:spPr bwMode="auto">
          <a:xfrm>
            <a:off x="1130477" y="2489408"/>
            <a:ext cx="560312" cy="496208"/>
          </a:xfrm>
          <a:custGeom>
            <a:avLst/>
            <a:gdLst>
              <a:gd name="T0" fmla="*/ 232 w 256"/>
              <a:gd name="T1" fmla="*/ 84 h 227"/>
              <a:gd name="T2" fmla="*/ 172 w 256"/>
              <a:gd name="T3" fmla="*/ 44 h 227"/>
              <a:gd name="T4" fmla="*/ 120 w 256"/>
              <a:gd name="T5" fmla="*/ 48 h 227"/>
              <a:gd name="T6" fmla="*/ 64 w 256"/>
              <a:gd name="T7" fmla="*/ 107 h 227"/>
              <a:gd name="T8" fmla="*/ 0 w 256"/>
              <a:gd name="T9" fmla="*/ 131 h 227"/>
              <a:gd name="T10" fmla="*/ 32 w 256"/>
              <a:gd name="T11" fmla="*/ 227 h 227"/>
              <a:gd name="T12" fmla="*/ 87 w 256"/>
              <a:gd name="T13" fmla="*/ 212 h 227"/>
              <a:gd name="T14" fmla="*/ 103 w 256"/>
              <a:gd name="T15" fmla="*/ 219 h 227"/>
              <a:gd name="T16" fmla="*/ 232 w 256"/>
              <a:gd name="T17" fmla="*/ 197 h 227"/>
              <a:gd name="T18" fmla="*/ 240 w 256"/>
              <a:gd name="T19" fmla="*/ 169 h 227"/>
              <a:gd name="T20" fmla="*/ 248 w 256"/>
              <a:gd name="T21" fmla="*/ 140 h 227"/>
              <a:gd name="T22" fmla="*/ 256 w 256"/>
              <a:gd name="T23" fmla="*/ 108 h 227"/>
              <a:gd name="T24" fmla="*/ 32 w 256"/>
              <a:gd name="T25" fmla="*/ 211 h 227"/>
              <a:gd name="T26" fmla="*/ 16 w 256"/>
              <a:gd name="T27" fmla="*/ 131 h 227"/>
              <a:gd name="T28" fmla="*/ 64 w 256"/>
              <a:gd name="T29" fmla="*/ 123 h 227"/>
              <a:gd name="T30" fmla="*/ 72 w 256"/>
              <a:gd name="T31" fmla="*/ 198 h 227"/>
              <a:gd name="T32" fmla="*/ 72 w 256"/>
              <a:gd name="T33" fmla="*/ 203 h 227"/>
              <a:gd name="T34" fmla="*/ 210 w 256"/>
              <a:gd name="T35" fmla="*/ 203 h 227"/>
              <a:gd name="T36" fmla="*/ 88 w 256"/>
              <a:gd name="T37" fmla="*/ 194 h 227"/>
              <a:gd name="T38" fmla="*/ 86 w 256"/>
              <a:gd name="T39" fmla="*/ 121 h 227"/>
              <a:gd name="T40" fmla="*/ 140 w 256"/>
              <a:gd name="T41" fmla="*/ 16 h 227"/>
              <a:gd name="T42" fmla="*/ 152 w 256"/>
              <a:gd name="T43" fmla="*/ 90 h 227"/>
              <a:gd name="T44" fmla="*/ 160 w 256"/>
              <a:gd name="T45" fmla="*/ 100 h 227"/>
              <a:gd name="T46" fmla="*/ 240 w 256"/>
              <a:gd name="T47" fmla="*/ 108 h 227"/>
              <a:gd name="T48" fmla="*/ 223 w 256"/>
              <a:gd name="T49" fmla="*/ 116 h 227"/>
              <a:gd name="T50" fmla="*/ 223 w 256"/>
              <a:gd name="T51" fmla="*/ 132 h 227"/>
              <a:gd name="T52" fmla="*/ 224 w 256"/>
              <a:gd name="T53" fmla="*/ 132 h 227"/>
              <a:gd name="T54" fmla="*/ 224 w 256"/>
              <a:gd name="T55" fmla="*/ 148 h 227"/>
              <a:gd name="T56" fmla="*/ 218 w 256"/>
              <a:gd name="T57" fmla="*/ 147 h 227"/>
              <a:gd name="T58" fmla="*/ 215 w 256"/>
              <a:gd name="T59" fmla="*/ 148 h 227"/>
              <a:gd name="T60" fmla="*/ 215 w 256"/>
              <a:gd name="T61" fmla="*/ 164 h 227"/>
              <a:gd name="T62" fmla="*/ 224 w 256"/>
              <a:gd name="T63" fmla="*/ 169 h 227"/>
              <a:gd name="T64" fmla="*/ 210 w 256"/>
              <a:gd name="T65" fmla="*/ 175 h 227"/>
              <a:gd name="T66" fmla="*/ 210 w 256"/>
              <a:gd name="T67" fmla="*/ 175 h 227"/>
              <a:gd name="T68" fmla="*/ 210 w 256"/>
              <a:gd name="T69" fmla="*/ 191 h 227"/>
              <a:gd name="T70" fmla="*/ 210 w 256"/>
              <a:gd name="T71" fmla="*/ 203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56" h="227">
                <a:moveTo>
                  <a:pt x="256" y="108"/>
                </a:moveTo>
                <a:cubicBezTo>
                  <a:pt x="256" y="94"/>
                  <a:pt x="245" y="84"/>
                  <a:pt x="232" y="84"/>
                </a:cubicBezTo>
                <a:cubicBezTo>
                  <a:pt x="169" y="84"/>
                  <a:pt x="169" y="84"/>
                  <a:pt x="169" y="84"/>
                </a:cubicBezTo>
                <a:cubicBezTo>
                  <a:pt x="171" y="74"/>
                  <a:pt x="172" y="59"/>
                  <a:pt x="172" y="44"/>
                </a:cubicBezTo>
                <a:cubicBezTo>
                  <a:pt x="172" y="13"/>
                  <a:pt x="156" y="0"/>
                  <a:pt x="140" y="0"/>
                </a:cubicBezTo>
                <a:cubicBezTo>
                  <a:pt x="120" y="0"/>
                  <a:pt x="120" y="21"/>
                  <a:pt x="120" y="48"/>
                </a:cubicBezTo>
                <a:cubicBezTo>
                  <a:pt x="120" y="67"/>
                  <a:pt x="90" y="97"/>
                  <a:pt x="75" y="110"/>
                </a:cubicBezTo>
                <a:cubicBezTo>
                  <a:pt x="71" y="108"/>
                  <a:pt x="68" y="107"/>
                  <a:pt x="64" y="107"/>
                </a:cubicBezTo>
                <a:cubicBezTo>
                  <a:pt x="24" y="107"/>
                  <a:pt x="24" y="107"/>
                  <a:pt x="24" y="107"/>
                </a:cubicBezTo>
                <a:cubicBezTo>
                  <a:pt x="11" y="107"/>
                  <a:pt x="0" y="118"/>
                  <a:pt x="0" y="131"/>
                </a:cubicBezTo>
                <a:cubicBezTo>
                  <a:pt x="8" y="203"/>
                  <a:pt x="8" y="203"/>
                  <a:pt x="8" y="203"/>
                </a:cubicBezTo>
                <a:cubicBezTo>
                  <a:pt x="10" y="216"/>
                  <a:pt x="19" y="227"/>
                  <a:pt x="32" y="227"/>
                </a:cubicBezTo>
                <a:cubicBezTo>
                  <a:pt x="64" y="227"/>
                  <a:pt x="64" y="227"/>
                  <a:pt x="64" y="227"/>
                </a:cubicBezTo>
                <a:cubicBezTo>
                  <a:pt x="74" y="227"/>
                  <a:pt x="83" y="221"/>
                  <a:pt x="87" y="212"/>
                </a:cubicBezTo>
                <a:cubicBezTo>
                  <a:pt x="100" y="219"/>
                  <a:pt x="100" y="219"/>
                  <a:pt x="100" y="219"/>
                </a:cubicBezTo>
                <a:cubicBezTo>
                  <a:pt x="101" y="219"/>
                  <a:pt x="102" y="219"/>
                  <a:pt x="103" y="219"/>
                </a:cubicBezTo>
                <a:cubicBezTo>
                  <a:pt x="210" y="219"/>
                  <a:pt x="210" y="219"/>
                  <a:pt x="210" y="219"/>
                </a:cubicBezTo>
                <a:cubicBezTo>
                  <a:pt x="222" y="219"/>
                  <a:pt x="232" y="210"/>
                  <a:pt x="232" y="197"/>
                </a:cubicBezTo>
                <a:cubicBezTo>
                  <a:pt x="232" y="194"/>
                  <a:pt x="231" y="191"/>
                  <a:pt x="230" y="188"/>
                </a:cubicBezTo>
                <a:cubicBezTo>
                  <a:pt x="236" y="184"/>
                  <a:pt x="240" y="177"/>
                  <a:pt x="240" y="169"/>
                </a:cubicBezTo>
                <a:cubicBezTo>
                  <a:pt x="240" y="166"/>
                  <a:pt x="239" y="162"/>
                  <a:pt x="238" y="159"/>
                </a:cubicBezTo>
                <a:cubicBezTo>
                  <a:pt x="244" y="155"/>
                  <a:pt x="248" y="148"/>
                  <a:pt x="248" y="140"/>
                </a:cubicBezTo>
                <a:cubicBezTo>
                  <a:pt x="248" y="135"/>
                  <a:pt x="247" y="131"/>
                  <a:pt x="245" y="128"/>
                </a:cubicBezTo>
                <a:cubicBezTo>
                  <a:pt x="252" y="123"/>
                  <a:pt x="256" y="116"/>
                  <a:pt x="256" y="108"/>
                </a:cubicBezTo>
                <a:close/>
                <a:moveTo>
                  <a:pt x="64" y="211"/>
                </a:moveTo>
                <a:cubicBezTo>
                  <a:pt x="32" y="211"/>
                  <a:pt x="32" y="211"/>
                  <a:pt x="32" y="211"/>
                </a:cubicBezTo>
                <a:cubicBezTo>
                  <a:pt x="28" y="211"/>
                  <a:pt x="25" y="206"/>
                  <a:pt x="24" y="202"/>
                </a:cubicBezTo>
                <a:cubicBezTo>
                  <a:pt x="16" y="131"/>
                  <a:pt x="16" y="131"/>
                  <a:pt x="16" y="131"/>
                </a:cubicBezTo>
                <a:cubicBezTo>
                  <a:pt x="17" y="127"/>
                  <a:pt x="20" y="123"/>
                  <a:pt x="24" y="123"/>
                </a:cubicBezTo>
                <a:cubicBezTo>
                  <a:pt x="64" y="123"/>
                  <a:pt x="64" y="123"/>
                  <a:pt x="64" y="123"/>
                </a:cubicBezTo>
                <a:cubicBezTo>
                  <a:pt x="69" y="123"/>
                  <a:pt x="72" y="127"/>
                  <a:pt x="72" y="131"/>
                </a:cubicBezTo>
                <a:cubicBezTo>
                  <a:pt x="72" y="198"/>
                  <a:pt x="72" y="198"/>
                  <a:pt x="72" y="198"/>
                </a:cubicBezTo>
                <a:cubicBezTo>
                  <a:pt x="72" y="199"/>
                  <a:pt x="72" y="200"/>
                  <a:pt x="72" y="201"/>
                </a:cubicBezTo>
                <a:cubicBezTo>
                  <a:pt x="72" y="203"/>
                  <a:pt x="72" y="203"/>
                  <a:pt x="72" y="203"/>
                </a:cubicBezTo>
                <a:cubicBezTo>
                  <a:pt x="72" y="208"/>
                  <a:pt x="69" y="211"/>
                  <a:pt x="64" y="211"/>
                </a:cubicBezTo>
                <a:close/>
                <a:moveTo>
                  <a:pt x="210" y="203"/>
                </a:moveTo>
                <a:cubicBezTo>
                  <a:pt x="105" y="203"/>
                  <a:pt x="105" y="203"/>
                  <a:pt x="105" y="203"/>
                </a:cubicBezTo>
                <a:cubicBezTo>
                  <a:pt x="88" y="194"/>
                  <a:pt x="88" y="194"/>
                  <a:pt x="88" y="194"/>
                </a:cubicBezTo>
                <a:cubicBezTo>
                  <a:pt x="88" y="131"/>
                  <a:pt x="88" y="131"/>
                  <a:pt x="88" y="131"/>
                </a:cubicBezTo>
                <a:cubicBezTo>
                  <a:pt x="88" y="128"/>
                  <a:pt x="87" y="124"/>
                  <a:pt x="86" y="121"/>
                </a:cubicBezTo>
                <a:cubicBezTo>
                  <a:pt x="100" y="109"/>
                  <a:pt x="136" y="75"/>
                  <a:pt x="136" y="48"/>
                </a:cubicBezTo>
                <a:cubicBezTo>
                  <a:pt x="136" y="31"/>
                  <a:pt x="136" y="16"/>
                  <a:pt x="140" y="16"/>
                </a:cubicBezTo>
                <a:cubicBezTo>
                  <a:pt x="148" y="16"/>
                  <a:pt x="156" y="25"/>
                  <a:pt x="156" y="44"/>
                </a:cubicBezTo>
                <a:cubicBezTo>
                  <a:pt x="156" y="67"/>
                  <a:pt x="152" y="90"/>
                  <a:pt x="152" y="90"/>
                </a:cubicBezTo>
                <a:cubicBezTo>
                  <a:pt x="152" y="93"/>
                  <a:pt x="153" y="95"/>
                  <a:pt x="154" y="97"/>
                </a:cubicBezTo>
                <a:cubicBezTo>
                  <a:pt x="156" y="98"/>
                  <a:pt x="158" y="100"/>
                  <a:pt x="160" y="100"/>
                </a:cubicBezTo>
                <a:cubicBezTo>
                  <a:pt x="232" y="100"/>
                  <a:pt x="232" y="100"/>
                  <a:pt x="232" y="100"/>
                </a:cubicBezTo>
                <a:cubicBezTo>
                  <a:pt x="237" y="100"/>
                  <a:pt x="240" y="103"/>
                  <a:pt x="240" y="108"/>
                </a:cubicBezTo>
                <a:cubicBezTo>
                  <a:pt x="240" y="112"/>
                  <a:pt x="237" y="116"/>
                  <a:pt x="232" y="116"/>
                </a:cubicBezTo>
                <a:cubicBezTo>
                  <a:pt x="223" y="116"/>
                  <a:pt x="223" y="116"/>
                  <a:pt x="223" y="116"/>
                </a:cubicBezTo>
                <a:cubicBezTo>
                  <a:pt x="219" y="116"/>
                  <a:pt x="215" y="119"/>
                  <a:pt x="215" y="124"/>
                </a:cubicBezTo>
                <a:cubicBezTo>
                  <a:pt x="215" y="128"/>
                  <a:pt x="219" y="132"/>
                  <a:pt x="223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9" y="132"/>
                  <a:pt x="232" y="135"/>
                  <a:pt x="232" y="140"/>
                </a:cubicBezTo>
                <a:cubicBezTo>
                  <a:pt x="232" y="144"/>
                  <a:pt x="229" y="148"/>
                  <a:pt x="224" y="148"/>
                </a:cubicBezTo>
                <a:cubicBezTo>
                  <a:pt x="219" y="148"/>
                  <a:pt x="219" y="148"/>
                  <a:pt x="219" y="148"/>
                </a:cubicBezTo>
                <a:cubicBezTo>
                  <a:pt x="219" y="148"/>
                  <a:pt x="218" y="147"/>
                  <a:pt x="218" y="147"/>
                </a:cubicBezTo>
                <a:cubicBezTo>
                  <a:pt x="218" y="147"/>
                  <a:pt x="218" y="148"/>
                  <a:pt x="218" y="148"/>
                </a:cubicBezTo>
                <a:cubicBezTo>
                  <a:pt x="215" y="148"/>
                  <a:pt x="215" y="148"/>
                  <a:pt x="215" y="148"/>
                </a:cubicBezTo>
                <a:cubicBezTo>
                  <a:pt x="211" y="148"/>
                  <a:pt x="207" y="151"/>
                  <a:pt x="207" y="156"/>
                </a:cubicBezTo>
                <a:cubicBezTo>
                  <a:pt x="207" y="160"/>
                  <a:pt x="211" y="164"/>
                  <a:pt x="215" y="164"/>
                </a:cubicBezTo>
                <a:cubicBezTo>
                  <a:pt x="218" y="164"/>
                  <a:pt x="218" y="164"/>
                  <a:pt x="218" y="164"/>
                </a:cubicBezTo>
                <a:cubicBezTo>
                  <a:pt x="222" y="164"/>
                  <a:pt x="224" y="166"/>
                  <a:pt x="224" y="169"/>
                </a:cubicBezTo>
                <a:cubicBezTo>
                  <a:pt x="224" y="173"/>
                  <a:pt x="221" y="175"/>
                  <a:pt x="218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06" y="175"/>
                  <a:pt x="202" y="179"/>
                  <a:pt x="202" y="183"/>
                </a:cubicBezTo>
                <a:cubicBezTo>
                  <a:pt x="202" y="188"/>
                  <a:pt x="206" y="191"/>
                  <a:pt x="210" y="191"/>
                </a:cubicBezTo>
                <a:cubicBezTo>
                  <a:pt x="213" y="191"/>
                  <a:pt x="216" y="194"/>
                  <a:pt x="216" y="197"/>
                </a:cubicBezTo>
                <a:cubicBezTo>
                  <a:pt x="216" y="201"/>
                  <a:pt x="213" y="203"/>
                  <a:pt x="210" y="20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US" sz="840" b="1">
              <a:latin typeface="+mn-lt"/>
            </a:endParaRPr>
          </a:p>
        </p:txBody>
      </p:sp>
      <p:sp>
        <p:nvSpPr>
          <p:cNvPr id="26" name="Folded Corner 67">
            <a:extLst>
              <a:ext uri="{FF2B5EF4-FFF2-40B4-BE49-F238E27FC236}">
                <a16:creationId xmlns:a16="http://schemas.microsoft.com/office/drawing/2014/main" id="{B10D6759-299B-CAB2-F252-04DA0A545A4A}"/>
              </a:ext>
            </a:extLst>
          </p:cNvPr>
          <p:cNvSpPr/>
          <p:nvPr/>
        </p:nvSpPr>
        <p:spPr>
          <a:xfrm>
            <a:off x="6111567" y="2279422"/>
            <a:ext cx="5064152" cy="3351824"/>
          </a:xfrm>
          <a:prstGeom prst="foldedCorner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9229" tIns="179229" rtlCol="0" anchor="t"/>
          <a:lstStyle/>
          <a:p>
            <a:pPr defTabSz="896113" fontAlgn="auto">
              <a:spcBef>
                <a:spcPct val="20000"/>
              </a:spcBef>
              <a:spcAft>
                <a:spcPts val="0"/>
              </a:spcAft>
              <a:defRPr/>
            </a:pPr>
            <a:endParaRPr lang="en-US" sz="1372" b="1" dirty="0">
              <a:solidFill>
                <a:srgbClr val="262626">
                  <a:lumMod val="90000"/>
                  <a:lumOff val="10000"/>
                </a:srgbClr>
              </a:solidFill>
              <a:cs typeface="Calibri" panose="020F0502020204030204" pitchFamily="34" charset="0"/>
            </a:endParaRPr>
          </a:p>
        </p:txBody>
      </p:sp>
      <p:sp>
        <p:nvSpPr>
          <p:cNvPr id="27" name="Round Same Side Corner Rectangle 69">
            <a:extLst>
              <a:ext uri="{FF2B5EF4-FFF2-40B4-BE49-F238E27FC236}">
                <a16:creationId xmlns:a16="http://schemas.microsoft.com/office/drawing/2014/main" id="{A1624DEA-F11A-BA7B-708E-86151846695F}"/>
              </a:ext>
            </a:extLst>
          </p:cNvPr>
          <p:cNvSpPr/>
          <p:nvPr/>
        </p:nvSpPr>
        <p:spPr>
          <a:xfrm>
            <a:off x="6111567" y="1680686"/>
            <a:ext cx="5064152" cy="553673"/>
          </a:xfrm>
          <a:prstGeom prst="round2Same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9229" tIns="0" bIns="0" rtlCol="0" anchor="ctr"/>
          <a:lstStyle/>
          <a:p>
            <a:pPr defTabSz="896113" fontAlgn="auto">
              <a:spcBef>
                <a:spcPct val="20000"/>
              </a:spcBef>
              <a:spcAft>
                <a:spcPts val="0"/>
              </a:spcAft>
              <a:defRPr/>
            </a:pPr>
            <a:r>
              <a:rPr lang="en-US" sz="1960" b="1" dirty="0">
                <a:solidFill>
                  <a:srgbClr val="FFFFFF"/>
                </a:solidFill>
                <a:cs typeface="Calibri" panose="020F0502020204030204" pitchFamily="34" charset="0"/>
              </a:rPr>
              <a:t>Insert Heading</a:t>
            </a:r>
          </a:p>
        </p:txBody>
      </p:sp>
      <p:sp>
        <p:nvSpPr>
          <p:cNvPr id="28" name="Inhaltsplatzhalter 4">
            <a:extLst>
              <a:ext uri="{FF2B5EF4-FFF2-40B4-BE49-F238E27FC236}">
                <a16:creationId xmlns:a16="http://schemas.microsoft.com/office/drawing/2014/main" id="{382FB76B-9091-3689-ECFD-A7E6AC08EA0F}"/>
              </a:ext>
            </a:extLst>
          </p:cNvPr>
          <p:cNvSpPr txBox="1">
            <a:spLocks/>
          </p:cNvSpPr>
          <p:nvPr/>
        </p:nvSpPr>
        <p:spPr>
          <a:xfrm>
            <a:off x="6324421" y="2381899"/>
            <a:ext cx="4431950" cy="277101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C83FFA86-1A33-7239-0261-65C017016886}"/>
              </a:ext>
            </a:extLst>
          </p:cNvPr>
          <p:cNvCxnSpPr>
            <a:cxnSpLocks/>
            <a:stCxn id="5" idx="0"/>
            <a:endCxn id="6" idx="4"/>
          </p:cNvCxnSpPr>
          <p:nvPr/>
        </p:nvCxnSpPr>
        <p:spPr>
          <a:xfrm flipV="1">
            <a:off x="1944636" y="2737512"/>
            <a:ext cx="1674221" cy="1"/>
          </a:xfrm>
          <a:prstGeom prst="line">
            <a:avLst/>
          </a:prstGeom>
          <a:ln w="19050" cap="rnd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2F270937-7EE6-71BE-691D-7E659805635A}"/>
              </a:ext>
            </a:extLst>
          </p:cNvPr>
          <p:cNvCxnSpPr>
            <a:cxnSpLocks/>
            <a:stCxn id="6" idx="6"/>
            <a:endCxn id="7" idx="2"/>
          </p:cNvCxnSpPr>
          <p:nvPr/>
        </p:nvCxnSpPr>
        <p:spPr>
          <a:xfrm>
            <a:off x="4152859" y="3271490"/>
            <a:ext cx="0" cy="544289"/>
          </a:xfrm>
          <a:prstGeom prst="line">
            <a:avLst/>
          </a:prstGeom>
          <a:ln w="19050" cap="rnd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A05A39C9-5A4A-3945-8C85-F6C6A07CCB91}"/>
              </a:ext>
            </a:extLst>
          </p:cNvPr>
          <p:cNvCxnSpPr>
            <a:cxnSpLocks/>
            <a:stCxn id="7" idx="4"/>
            <a:endCxn id="8" idx="0"/>
          </p:cNvCxnSpPr>
          <p:nvPr/>
        </p:nvCxnSpPr>
        <p:spPr>
          <a:xfrm flipH="1">
            <a:off x="1944636" y="4349757"/>
            <a:ext cx="1674221" cy="0"/>
          </a:xfrm>
          <a:prstGeom prst="line">
            <a:avLst/>
          </a:prstGeom>
          <a:ln w="19050" cap="rnd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4A38E282-2891-BFA9-7B97-5ED360314A29}"/>
              </a:ext>
            </a:extLst>
          </p:cNvPr>
          <p:cNvCxnSpPr>
            <a:cxnSpLocks/>
            <a:stCxn id="5" idx="6"/>
            <a:endCxn id="8" idx="2"/>
          </p:cNvCxnSpPr>
          <p:nvPr/>
        </p:nvCxnSpPr>
        <p:spPr>
          <a:xfrm>
            <a:off x="1410633" y="3271491"/>
            <a:ext cx="0" cy="544288"/>
          </a:xfrm>
          <a:prstGeom prst="line">
            <a:avLst/>
          </a:prstGeom>
          <a:ln w="19050" cap="rnd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37F8F09C-4057-E123-453C-6AFDFE107862}"/>
              </a:ext>
            </a:extLst>
          </p:cNvPr>
          <p:cNvCxnSpPr>
            <a:cxnSpLocks/>
            <a:stCxn id="6" idx="5"/>
            <a:endCxn id="8" idx="1"/>
          </p:cNvCxnSpPr>
          <p:nvPr/>
        </p:nvCxnSpPr>
        <p:spPr>
          <a:xfrm flipH="1">
            <a:off x="1788230" y="3115091"/>
            <a:ext cx="1987033" cy="857087"/>
          </a:xfrm>
          <a:prstGeom prst="line">
            <a:avLst/>
          </a:prstGeom>
          <a:ln w="19050" cap="rnd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5012233C-9ADF-5F38-9393-EBDD4000EF64}"/>
              </a:ext>
            </a:extLst>
          </p:cNvPr>
          <p:cNvCxnSpPr>
            <a:cxnSpLocks/>
            <a:stCxn id="5" idx="7"/>
            <a:endCxn id="7" idx="3"/>
          </p:cNvCxnSpPr>
          <p:nvPr/>
        </p:nvCxnSpPr>
        <p:spPr>
          <a:xfrm>
            <a:off x="1788230" y="3115092"/>
            <a:ext cx="1987033" cy="857086"/>
          </a:xfrm>
          <a:prstGeom prst="line">
            <a:avLst/>
          </a:prstGeom>
          <a:ln w="19050" cap="rnd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5" name="Group 34">
            <a:extLst>
              <a:ext uri="{FF2B5EF4-FFF2-40B4-BE49-F238E27FC236}">
                <a16:creationId xmlns:a16="http://schemas.microsoft.com/office/drawing/2014/main" id="{8FB35150-8BAD-0FBA-2890-A8B95D5F5B94}"/>
              </a:ext>
            </a:extLst>
          </p:cNvPr>
          <p:cNvGrpSpPr/>
          <p:nvPr/>
        </p:nvGrpSpPr>
        <p:grpSpPr>
          <a:xfrm>
            <a:off x="2242119" y="3040508"/>
            <a:ext cx="1066556" cy="1066555"/>
            <a:chOff x="2242119" y="3040508"/>
            <a:chExt cx="1066556" cy="1066555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70E41606-4E5F-6BF4-DF12-3E4BE04543E4}"/>
                </a:ext>
              </a:extLst>
            </p:cNvPr>
            <p:cNvSpPr/>
            <p:nvPr/>
          </p:nvSpPr>
          <p:spPr>
            <a:xfrm rot="5400000">
              <a:off x="2242119" y="3040508"/>
              <a:ext cx="1066555" cy="1066556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764" b="1" dirty="0">
                <a:solidFill>
                  <a:srgbClr val="FFFFFF"/>
                </a:solidFill>
              </a:endParaRPr>
            </a:p>
          </p:txBody>
        </p:sp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6D1FE308-1ADD-329E-EB68-428898F6521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555167" y="3381079"/>
              <a:ext cx="433084" cy="412235"/>
              <a:chOff x="6719888" y="887413"/>
              <a:chExt cx="492125" cy="468312"/>
            </a:xfrm>
            <a:solidFill>
              <a:schemeClr val="bg1"/>
            </a:solidFill>
          </p:grpSpPr>
          <p:sp>
            <p:nvSpPr>
              <p:cNvPr id="38" name="Freeform 26">
                <a:extLst>
                  <a:ext uri="{FF2B5EF4-FFF2-40B4-BE49-F238E27FC236}">
                    <a16:creationId xmlns:a16="http://schemas.microsoft.com/office/drawing/2014/main" id="{B373F558-8F0A-C658-59CB-8883930DF27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19888" y="887413"/>
                <a:ext cx="492125" cy="468312"/>
              </a:xfrm>
              <a:custGeom>
                <a:avLst/>
                <a:gdLst>
                  <a:gd name="T0" fmla="*/ 117 w 128"/>
                  <a:gd name="T1" fmla="*/ 0 h 122"/>
                  <a:gd name="T2" fmla="*/ 11 w 128"/>
                  <a:gd name="T3" fmla="*/ 0 h 122"/>
                  <a:gd name="T4" fmla="*/ 0 w 128"/>
                  <a:gd name="T5" fmla="*/ 11 h 122"/>
                  <a:gd name="T6" fmla="*/ 0 w 128"/>
                  <a:gd name="T7" fmla="*/ 93 h 122"/>
                  <a:gd name="T8" fmla="*/ 11 w 128"/>
                  <a:gd name="T9" fmla="*/ 104 h 122"/>
                  <a:gd name="T10" fmla="*/ 43 w 128"/>
                  <a:gd name="T11" fmla="*/ 104 h 122"/>
                  <a:gd name="T12" fmla="*/ 38 w 128"/>
                  <a:gd name="T13" fmla="*/ 110 h 122"/>
                  <a:gd name="T14" fmla="*/ 35 w 128"/>
                  <a:gd name="T15" fmla="*/ 113 h 122"/>
                  <a:gd name="T16" fmla="*/ 34 w 128"/>
                  <a:gd name="T17" fmla="*/ 118 h 122"/>
                  <a:gd name="T18" fmla="*/ 42 w 128"/>
                  <a:gd name="T19" fmla="*/ 122 h 122"/>
                  <a:gd name="T20" fmla="*/ 86 w 128"/>
                  <a:gd name="T21" fmla="*/ 122 h 122"/>
                  <a:gd name="T22" fmla="*/ 94 w 128"/>
                  <a:gd name="T23" fmla="*/ 118 h 122"/>
                  <a:gd name="T24" fmla="*/ 94 w 128"/>
                  <a:gd name="T25" fmla="*/ 113 h 122"/>
                  <a:gd name="T26" fmla="*/ 91 w 128"/>
                  <a:gd name="T27" fmla="*/ 110 h 122"/>
                  <a:gd name="T28" fmla="*/ 85 w 128"/>
                  <a:gd name="T29" fmla="*/ 104 h 122"/>
                  <a:gd name="T30" fmla="*/ 117 w 128"/>
                  <a:gd name="T31" fmla="*/ 104 h 122"/>
                  <a:gd name="T32" fmla="*/ 128 w 128"/>
                  <a:gd name="T33" fmla="*/ 93 h 122"/>
                  <a:gd name="T34" fmla="*/ 128 w 128"/>
                  <a:gd name="T35" fmla="*/ 11 h 122"/>
                  <a:gd name="T36" fmla="*/ 117 w 128"/>
                  <a:gd name="T37" fmla="*/ 0 h 122"/>
                  <a:gd name="T38" fmla="*/ 88 w 128"/>
                  <a:gd name="T39" fmla="*/ 113 h 122"/>
                  <a:gd name="T40" fmla="*/ 90 w 128"/>
                  <a:gd name="T41" fmla="*/ 116 h 122"/>
                  <a:gd name="T42" fmla="*/ 90 w 128"/>
                  <a:gd name="T43" fmla="*/ 116 h 122"/>
                  <a:gd name="T44" fmla="*/ 86 w 128"/>
                  <a:gd name="T45" fmla="*/ 118 h 122"/>
                  <a:gd name="T46" fmla="*/ 42 w 128"/>
                  <a:gd name="T47" fmla="*/ 118 h 122"/>
                  <a:gd name="T48" fmla="*/ 38 w 128"/>
                  <a:gd name="T49" fmla="*/ 116 h 122"/>
                  <a:gd name="T50" fmla="*/ 38 w 128"/>
                  <a:gd name="T51" fmla="*/ 116 h 122"/>
                  <a:gd name="T52" fmla="*/ 38 w 128"/>
                  <a:gd name="T53" fmla="*/ 116 h 122"/>
                  <a:gd name="T54" fmla="*/ 40 w 128"/>
                  <a:gd name="T55" fmla="*/ 113 h 122"/>
                  <a:gd name="T56" fmla="*/ 48 w 128"/>
                  <a:gd name="T57" fmla="*/ 104 h 122"/>
                  <a:gd name="T58" fmla="*/ 80 w 128"/>
                  <a:gd name="T59" fmla="*/ 104 h 122"/>
                  <a:gd name="T60" fmla="*/ 88 w 128"/>
                  <a:gd name="T61" fmla="*/ 113 h 122"/>
                  <a:gd name="T62" fmla="*/ 120 w 128"/>
                  <a:gd name="T63" fmla="*/ 93 h 122"/>
                  <a:gd name="T64" fmla="*/ 117 w 128"/>
                  <a:gd name="T65" fmla="*/ 96 h 122"/>
                  <a:gd name="T66" fmla="*/ 11 w 128"/>
                  <a:gd name="T67" fmla="*/ 96 h 122"/>
                  <a:gd name="T68" fmla="*/ 8 w 128"/>
                  <a:gd name="T69" fmla="*/ 93 h 122"/>
                  <a:gd name="T70" fmla="*/ 8 w 128"/>
                  <a:gd name="T71" fmla="*/ 11 h 122"/>
                  <a:gd name="T72" fmla="*/ 11 w 128"/>
                  <a:gd name="T73" fmla="*/ 8 h 122"/>
                  <a:gd name="T74" fmla="*/ 117 w 128"/>
                  <a:gd name="T75" fmla="*/ 8 h 122"/>
                  <a:gd name="T76" fmla="*/ 120 w 128"/>
                  <a:gd name="T77" fmla="*/ 11 h 122"/>
                  <a:gd name="T78" fmla="*/ 120 w 128"/>
                  <a:gd name="T79" fmla="*/ 93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28" h="122">
                    <a:moveTo>
                      <a:pt x="117" y="0"/>
                    </a:move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5"/>
                      <a:pt x="0" y="11"/>
                    </a:cubicBezTo>
                    <a:cubicBezTo>
                      <a:pt x="0" y="93"/>
                      <a:pt x="0" y="93"/>
                      <a:pt x="0" y="93"/>
                    </a:cubicBezTo>
                    <a:cubicBezTo>
                      <a:pt x="0" y="99"/>
                      <a:pt x="5" y="104"/>
                      <a:pt x="11" y="104"/>
                    </a:cubicBezTo>
                    <a:cubicBezTo>
                      <a:pt x="43" y="104"/>
                      <a:pt x="43" y="104"/>
                      <a:pt x="43" y="104"/>
                    </a:cubicBezTo>
                    <a:cubicBezTo>
                      <a:pt x="42" y="106"/>
                      <a:pt x="39" y="109"/>
                      <a:pt x="38" y="110"/>
                    </a:cubicBezTo>
                    <a:cubicBezTo>
                      <a:pt x="36" y="111"/>
                      <a:pt x="35" y="112"/>
                      <a:pt x="35" y="113"/>
                    </a:cubicBezTo>
                    <a:cubicBezTo>
                      <a:pt x="34" y="114"/>
                      <a:pt x="33" y="116"/>
                      <a:pt x="34" y="118"/>
                    </a:cubicBezTo>
                    <a:cubicBezTo>
                      <a:pt x="35" y="120"/>
                      <a:pt x="37" y="122"/>
                      <a:pt x="42" y="122"/>
                    </a:cubicBezTo>
                    <a:cubicBezTo>
                      <a:pt x="86" y="122"/>
                      <a:pt x="86" y="122"/>
                      <a:pt x="86" y="122"/>
                    </a:cubicBezTo>
                    <a:cubicBezTo>
                      <a:pt x="91" y="122"/>
                      <a:pt x="93" y="120"/>
                      <a:pt x="94" y="118"/>
                    </a:cubicBezTo>
                    <a:cubicBezTo>
                      <a:pt x="95" y="116"/>
                      <a:pt x="95" y="114"/>
                      <a:pt x="94" y="113"/>
                    </a:cubicBezTo>
                    <a:cubicBezTo>
                      <a:pt x="93" y="112"/>
                      <a:pt x="92" y="111"/>
                      <a:pt x="91" y="110"/>
                    </a:cubicBezTo>
                    <a:cubicBezTo>
                      <a:pt x="89" y="109"/>
                      <a:pt x="87" y="106"/>
                      <a:pt x="85" y="104"/>
                    </a:cubicBezTo>
                    <a:cubicBezTo>
                      <a:pt x="117" y="104"/>
                      <a:pt x="117" y="104"/>
                      <a:pt x="117" y="104"/>
                    </a:cubicBezTo>
                    <a:cubicBezTo>
                      <a:pt x="123" y="104"/>
                      <a:pt x="128" y="99"/>
                      <a:pt x="128" y="93"/>
                    </a:cubicBezTo>
                    <a:cubicBezTo>
                      <a:pt x="128" y="11"/>
                      <a:pt x="128" y="11"/>
                      <a:pt x="128" y="11"/>
                    </a:cubicBezTo>
                    <a:cubicBezTo>
                      <a:pt x="128" y="5"/>
                      <a:pt x="123" y="0"/>
                      <a:pt x="117" y="0"/>
                    </a:cubicBezTo>
                    <a:close/>
                    <a:moveTo>
                      <a:pt x="88" y="113"/>
                    </a:moveTo>
                    <a:cubicBezTo>
                      <a:pt x="89" y="114"/>
                      <a:pt x="90" y="115"/>
                      <a:pt x="90" y="116"/>
                    </a:cubicBezTo>
                    <a:cubicBezTo>
                      <a:pt x="90" y="116"/>
                      <a:pt x="91" y="116"/>
                      <a:pt x="90" y="116"/>
                    </a:cubicBezTo>
                    <a:cubicBezTo>
                      <a:pt x="90" y="117"/>
                      <a:pt x="88" y="118"/>
                      <a:pt x="86" y="118"/>
                    </a:cubicBezTo>
                    <a:cubicBezTo>
                      <a:pt x="42" y="118"/>
                      <a:pt x="42" y="118"/>
                      <a:pt x="42" y="118"/>
                    </a:cubicBezTo>
                    <a:cubicBezTo>
                      <a:pt x="40" y="118"/>
                      <a:pt x="38" y="117"/>
                      <a:pt x="38" y="116"/>
                    </a:cubicBezTo>
                    <a:cubicBezTo>
                      <a:pt x="38" y="116"/>
                      <a:pt x="38" y="116"/>
                      <a:pt x="38" y="116"/>
                    </a:cubicBezTo>
                    <a:cubicBezTo>
                      <a:pt x="38" y="116"/>
                      <a:pt x="38" y="116"/>
                      <a:pt x="38" y="116"/>
                    </a:cubicBezTo>
                    <a:cubicBezTo>
                      <a:pt x="38" y="115"/>
                      <a:pt x="39" y="114"/>
                      <a:pt x="40" y="113"/>
                    </a:cubicBezTo>
                    <a:cubicBezTo>
                      <a:pt x="44" y="109"/>
                      <a:pt x="47" y="106"/>
                      <a:pt x="48" y="104"/>
                    </a:cubicBezTo>
                    <a:cubicBezTo>
                      <a:pt x="80" y="104"/>
                      <a:pt x="80" y="104"/>
                      <a:pt x="80" y="104"/>
                    </a:cubicBezTo>
                    <a:cubicBezTo>
                      <a:pt x="82" y="106"/>
                      <a:pt x="84" y="109"/>
                      <a:pt x="88" y="113"/>
                    </a:cubicBezTo>
                    <a:close/>
                    <a:moveTo>
                      <a:pt x="120" y="93"/>
                    </a:moveTo>
                    <a:cubicBezTo>
                      <a:pt x="120" y="95"/>
                      <a:pt x="119" y="96"/>
                      <a:pt x="117" y="96"/>
                    </a:cubicBezTo>
                    <a:cubicBezTo>
                      <a:pt x="11" y="96"/>
                      <a:pt x="11" y="96"/>
                      <a:pt x="11" y="96"/>
                    </a:cubicBezTo>
                    <a:cubicBezTo>
                      <a:pt x="9" y="96"/>
                      <a:pt x="8" y="95"/>
                      <a:pt x="8" y="93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8" y="9"/>
                      <a:pt x="9" y="8"/>
                      <a:pt x="11" y="8"/>
                    </a:cubicBezTo>
                    <a:cubicBezTo>
                      <a:pt x="117" y="8"/>
                      <a:pt x="117" y="8"/>
                      <a:pt x="117" y="8"/>
                    </a:cubicBezTo>
                    <a:cubicBezTo>
                      <a:pt x="119" y="8"/>
                      <a:pt x="120" y="9"/>
                      <a:pt x="120" y="11"/>
                    </a:cubicBezTo>
                    <a:lnTo>
                      <a:pt x="120" y="9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39" name="Freeform 27">
                <a:extLst>
                  <a:ext uri="{FF2B5EF4-FFF2-40B4-BE49-F238E27FC236}">
                    <a16:creationId xmlns:a16="http://schemas.microsoft.com/office/drawing/2014/main" id="{6E97A3D7-2D67-617A-CE72-E06B59DAE65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81801" y="947738"/>
                <a:ext cx="368300" cy="247650"/>
              </a:xfrm>
              <a:custGeom>
                <a:avLst/>
                <a:gdLst>
                  <a:gd name="T0" fmla="*/ 89 w 96"/>
                  <a:gd name="T1" fmla="*/ 0 h 64"/>
                  <a:gd name="T2" fmla="*/ 7 w 96"/>
                  <a:gd name="T3" fmla="*/ 0 h 64"/>
                  <a:gd name="T4" fmla="*/ 0 w 96"/>
                  <a:gd name="T5" fmla="*/ 7 h 64"/>
                  <a:gd name="T6" fmla="*/ 0 w 96"/>
                  <a:gd name="T7" fmla="*/ 57 h 64"/>
                  <a:gd name="T8" fmla="*/ 7 w 96"/>
                  <a:gd name="T9" fmla="*/ 64 h 64"/>
                  <a:gd name="T10" fmla="*/ 89 w 96"/>
                  <a:gd name="T11" fmla="*/ 64 h 64"/>
                  <a:gd name="T12" fmla="*/ 96 w 96"/>
                  <a:gd name="T13" fmla="*/ 57 h 64"/>
                  <a:gd name="T14" fmla="*/ 96 w 96"/>
                  <a:gd name="T15" fmla="*/ 7 h 64"/>
                  <a:gd name="T16" fmla="*/ 89 w 96"/>
                  <a:gd name="T17" fmla="*/ 0 h 64"/>
                  <a:gd name="T18" fmla="*/ 92 w 96"/>
                  <a:gd name="T19" fmla="*/ 57 h 64"/>
                  <a:gd name="T20" fmla="*/ 89 w 96"/>
                  <a:gd name="T21" fmla="*/ 60 h 64"/>
                  <a:gd name="T22" fmla="*/ 7 w 96"/>
                  <a:gd name="T23" fmla="*/ 60 h 64"/>
                  <a:gd name="T24" fmla="*/ 4 w 96"/>
                  <a:gd name="T25" fmla="*/ 57 h 64"/>
                  <a:gd name="T26" fmla="*/ 4 w 96"/>
                  <a:gd name="T27" fmla="*/ 7 h 64"/>
                  <a:gd name="T28" fmla="*/ 7 w 96"/>
                  <a:gd name="T29" fmla="*/ 4 h 64"/>
                  <a:gd name="T30" fmla="*/ 89 w 96"/>
                  <a:gd name="T31" fmla="*/ 4 h 64"/>
                  <a:gd name="T32" fmla="*/ 92 w 96"/>
                  <a:gd name="T33" fmla="*/ 7 h 64"/>
                  <a:gd name="T34" fmla="*/ 92 w 96"/>
                  <a:gd name="T35" fmla="*/ 57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6" h="64">
                    <a:moveTo>
                      <a:pt x="89" y="0"/>
                    </a:moveTo>
                    <a:cubicBezTo>
                      <a:pt x="7" y="0"/>
                      <a:pt x="7" y="0"/>
                      <a:pt x="7" y="0"/>
                    </a:cubicBezTo>
                    <a:cubicBezTo>
                      <a:pt x="3" y="0"/>
                      <a:pt x="0" y="3"/>
                      <a:pt x="0" y="7"/>
                    </a:cubicBezTo>
                    <a:cubicBezTo>
                      <a:pt x="0" y="57"/>
                      <a:pt x="0" y="57"/>
                      <a:pt x="0" y="57"/>
                    </a:cubicBezTo>
                    <a:cubicBezTo>
                      <a:pt x="0" y="61"/>
                      <a:pt x="3" y="64"/>
                      <a:pt x="7" y="64"/>
                    </a:cubicBezTo>
                    <a:cubicBezTo>
                      <a:pt x="89" y="64"/>
                      <a:pt x="89" y="64"/>
                      <a:pt x="89" y="64"/>
                    </a:cubicBezTo>
                    <a:cubicBezTo>
                      <a:pt x="93" y="64"/>
                      <a:pt x="96" y="61"/>
                      <a:pt x="96" y="57"/>
                    </a:cubicBezTo>
                    <a:cubicBezTo>
                      <a:pt x="96" y="7"/>
                      <a:pt x="96" y="7"/>
                      <a:pt x="96" y="7"/>
                    </a:cubicBezTo>
                    <a:cubicBezTo>
                      <a:pt x="96" y="3"/>
                      <a:pt x="93" y="0"/>
                      <a:pt x="89" y="0"/>
                    </a:cubicBezTo>
                    <a:close/>
                    <a:moveTo>
                      <a:pt x="92" y="57"/>
                    </a:moveTo>
                    <a:cubicBezTo>
                      <a:pt x="92" y="59"/>
                      <a:pt x="91" y="60"/>
                      <a:pt x="89" y="60"/>
                    </a:cubicBezTo>
                    <a:cubicBezTo>
                      <a:pt x="7" y="60"/>
                      <a:pt x="7" y="60"/>
                      <a:pt x="7" y="60"/>
                    </a:cubicBezTo>
                    <a:cubicBezTo>
                      <a:pt x="5" y="60"/>
                      <a:pt x="4" y="59"/>
                      <a:pt x="4" y="5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5"/>
                      <a:pt x="5" y="4"/>
                      <a:pt x="7" y="4"/>
                    </a:cubicBezTo>
                    <a:cubicBezTo>
                      <a:pt x="89" y="4"/>
                      <a:pt x="89" y="4"/>
                      <a:pt x="89" y="4"/>
                    </a:cubicBezTo>
                    <a:cubicBezTo>
                      <a:pt x="91" y="4"/>
                      <a:pt x="92" y="5"/>
                      <a:pt x="92" y="7"/>
                    </a:cubicBezTo>
                    <a:lnTo>
                      <a:pt x="92" y="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40" name="Freeform 28">
                <a:extLst>
                  <a:ext uri="{FF2B5EF4-FFF2-40B4-BE49-F238E27FC236}">
                    <a16:creationId xmlns:a16="http://schemas.microsoft.com/office/drawing/2014/main" id="{260404A5-98BB-249B-EF68-260B851AEEB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43726" y="1201738"/>
                <a:ext cx="46038" cy="47625"/>
              </a:xfrm>
              <a:custGeom>
                <a:avLst/>
                <a:gdLst>
                  <a:gd name="T0" fmla="*/ 6 w 12"/>
                  <a:gd name="T1" fmla="*/ 0 h 12"/>
                  <a:gd name="T2" fmla="*/ 0 w 12"/>
                  <a:gd name="T3" fmla="*/ 6 h 12"/>
                  <a:gd name="T4" fmla="*/ 6 w 12"/>
                  <a:gd name="T5" fmla="*/ 12 h 12"/>
                  <a:gd name="T6" fmla="*/ 12 w 12"/>
                  <a:gd name="T7" fmla="*/ 6 h 12"/>
                  <a:gd name="T8" fmla="*/ 6 w 12"/>
                  <a:gd name="T9" fmla="*/ 0 h 12"/>
                  <a:gd name="T10" fmla="*/ 6 w 12"/>
                  <a:gd name="T11" fmla="*/ 8 h 12"/>
                  <a:gd name="T12" fmla="*/ 4 w 12"/>
                  <a:gd name="T13" fmla="*/ 6 h 12"/>
                  <a:gd name="T14" fmla="*/ 6 w 12"/>
                  <a:gd name="T15" fmla="*/ 4 h 12"/>
                  <a:gd name="T16" fmla="*/ 8 w 12"/>
                  <a:gd name="T17" fmla="*/ 6 h 12"/>
                  <a:gd name="T18" fmla="*/ 6 w 12"/>
                  <a:gd name="T19" fmla="*/ 8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cubicBezTo>
                      <a:pt x="3" y="0"/>
                      <a:pt x="0" y="3"/>
                      <a:pt x="0" y="6"/>
                    </a:cubicBezTo>
                    <a:cubicBezTo>
                      <a:pt x="0" y="9"/>
                      <a:pt x="3" y="12"/>
                      <a:pt x="6" y="12"/>
                    </a:cubicBezTo>
                    <a:cubicBezTo>
                      <a:pt x="9" y="12"/>
                      <a:pt x="12" y="9"/>
                      <a:pt x="12" y="6"/>
                    </a:cubicBezTo>
                    <a:cubicBezTo>
                      <a:pt x="12" y="3"/>
                      <a:pt x="9" y="0"/>
                      <a:pt x="6" y="0"/>
                    </a:cubicBezTo>
                    <a:close/>
                    <a:moveTo>
                      <a:pt x="6" y="8"/>
                    </a:moveTo>
                    <a:cubicBezTo>
                      <a:pt x="5" y="8"/>
                      <a:pt x="4" y="7"/>
                      <a:pt x="4" y="6"/>
                    </a:cubicBezTo>
                    <a:cubicBezTo>
                      <a:pt x="4" y="5"/>
                      <a:pt x="5" y="4"/>
                      <a:pt x="6" y="4"/>
                    </a:cubicBezTo>
                    <a:cubicBezTo>
                      <a:pt x="7" y="4"/>
                      <a:pt x="8" y="5"/>
                      <a:pt x="8" y="6"/>
                    </a:cubicBezTo>
                    <a:cubicBezTo>
                      <a:pt x="8" y="7"/>
                      <a:pt x="7" y="8"/>
                      <a:pt x="6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41" name="Freeform 29">
                <a:extLst>
                  <a:ext uri="{FF2B5EF4-FFF2-40B4-BE49-F238E27FC236}">
                    <a16:creationId xmlns:a16="http://schemas.microsoft.com/office/drawing/2014/main" id="{B69B1249-5412-5B76-9AF9-A66AF3F3A7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81813" y="1044575"/>
                <a:ext cx="61913" cy="65087"/>
              </a:xfrm>
              <a:custGeom>
                <a:avLst/>
                <a:gdLst>
                  <a:gd name="T0" fmla="*/ 0 w 39"/>
                  <a:gd name="T1" fmla="*/ 24 h 41"/>
                  <a:gd name="T2" fmla="*/ 39 w 39"/>
                  <a:gd name="T3" fmla="*/ 41 h 41"/>
                  <a:gd name="T4" fmla="*/ 39 w 39"/>
                  <a:gd name="T5" fmla="*/ 32 h 41"/>
                  <a:gd name="T6" fmla="*/ 12 w 39"/>
                  <a:gd name="T7" fmla="*/ 19 h 41"/>
                  <a:gd name="T8" fmla="*/ 39 w 39"/>
                  <a:gd name="T9" fmla="*/ 10 h 41"/>
                  <a:gd name="T10" fmla="*/ 39 w 39"/>
                  <a:gd name="T11" fmla="*/ 0 h 41"/>
                  <a:gd name="T12" fmla="*/ 0 w 39"/>
                  <a:gd name="T13" fmla="*/ 17 h 41"/>
                  <a:gd name="T14" fmla="*/ 0 w 39"/>
                  <a:gd name="T15" fmla="*/ 24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9" h="41">
                    <a:moveTo>
                      <a:pt x="0" y="24"/>
                    </a:moveTo>
                    <a:lnTo>
                      <a:pt x="39" y="41"/>
                    </a:lnTo>
                    <a:lnTo>
                      <a:pt x="39" y="32"/>
                    </a:lnTo>
                    <a:lnTo>
                      <a:pt x="12" y="19"/>
                    </a:lnTo>
                    <a:lnTo>
                      <a:pt x="39" y="10"/>
                    </a:lnTo>
                    <a:lnTo>
                      <a:pt x="39" y="0"/>
                    </a:lnTo>
                    <a:lnTo>
                      <a:pt x="0" y="17"/>
                    </a:lnTo>
                    <a:lnTo>
                      <a:pt x="0" y="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42" name="Freeform 30">
                <a:extLst>
                  <a:ext uri="{FF2B5EF4-FFF2-40B4-BE49-F238E27FC236}">
                    <a16:creationId xmlns:a16="http://schemas.microsoft.com/office/drawing/2014/main" id="{026EC5B2-0D0D-8AD5-28BC-A6A865F809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50076" y="1033463"/>
                <a:ext cx="31750" cy="87312"/>
              </a:xfrm>
              <a:custGeom>
                <a:avLst/>
                <a:gdLst>
                  <a:gd name="T0" fmla="*/ 7 w 8"/>
                  <a:gd name="T1" fmla="*/ 0 h 23"/>
                  <a:gd name="T2" fmla="*/ 5 w 8"/>
                  <a:gd name="T3" fmla="*/ 0 h 23"/>
                  <a:gd name="T4" fmla="*/ 5 w 8"/>
                  <a:gd name="T5" fmla="*/ 2 h 23"/>
                  <a:gd name="T6" fmla="*/ 0 w 8"/>
                  <a:gd name="T7" fmla="*/ 20 h 23"/>
                  <a:gd name="T8" fmla="*/ 0 w 8"/>
                  <a:gd name="T9" fmla="*/ 22 h 23"/>
                  <a:gd name="T10" fmla="*/ 2 w 8"/>
                  <a:gd name="T11" fmla="*/ 23 h 23"/>
                  <a:gd name="T12" fmla="*/ 3 w 8"/>
                  <a:gd name="T13" fmla="*/ 23 h 23"/>
                  <a:gd name="T14" fmla="*/ 3 w 8"/>
                  <a:gd name="T15" fmla="*/ 22 h 23"/>
                  <a:gd name="T16" fmla="*/ 4 w 8"/>
                  <a:gd name="T17" fmla="*/ 21 h 23"/>
                  <a:gd name="T18" fmla="*/ 8 w 8"/>
                  <a:gd name="T19" fmla="*/ 3 h 23"/>
                  <a:gd name="T20" fmla="*/ 8 w 8"/>
                  <a:gd name="T21" fmla="*/ 1 h 23"/>
                  <a:gd name="T22" fmla="*/ 8 w 8"/>
                  <a:gd name="T23" fmla="*/ 0 h 23"/>
                  <a:gd name="T24" fmla="*/ 7 w 8"/>
                  <a:gd name="T25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" h="23">
                    <a:moveTo>
                      <a:pt x="7" y="0"/>
                    </a:moveTo>
                    <a:cubicBezTo>
                      <a:pt x="6" y="0"/>
                      <a:pt x="6" y="0"/>
                      <a:pt x="5" y="0"/>
                    </a:cubicBezTo>
                    <a:cubicBezTo>
                      <a:pt x="5" y="0"/>
                      <a:pt x="5" y="1"/>
                      <a:pt x="5" y="2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1"/>
                      <a:pt x="0" y="22"/>
                      <a:pt x="0" y="22"/>
                    </a:cubicBezTo>
                    <a:cubicBezTo>
                      <a:pt x="0" y="23"/>
                      <a:pt x="1" y="23"/>
                      <a:pt x="2" y="23"/>
                    </a:cubicBezTo>
                    <a:cubicBezTo>
                      <a:pt x="2" y="23"/>
                      <a:pt x="2" y="23"/>
                      <a:pt x="3" y="23"/>
                    </a:cubicBezTo>
                    <a:cubicBezTo>
                      <a:pt x="3" y="23"/>
                      <a:pt x="3" y="22"/>
                      <a:pt x="3" y="22"/>
                    </a:cubicBezTo>
                    <a:cubicBezTo>
                      <a:pt x="3" y="22"/>
                      <a:pt x="3" y="21"/>
                      <a:pt x="4" y="21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2"/>
                      <a:pt x="8" y="1"/>
                      <a:pt x="8" y="1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0"/>
                      <a:pt x="7" y="0"/>
                      <a:pt x="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43" name="Freeform 31">
                <a:extLst>
                  <a:ext uri="{FF2B5EF4-FFF2-40B4-BE49-F238E27FC236}">
                    <a16:creationId xmlns:a16="http://schemas.microsoft.com/office/drawing/2014/main" id="{A3938FED-D751-FF54-3CE9-E519CA8A16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89763" y="1044575"/>
                <a:ext cx="60325" cy="65087"/>
              </a:xfrm>
              <a:custGeom>
                <a:avLst/>
                <a:gdLst>
                  <a:gd name="T0" fmla="*/ 0 w 38"/>
                  <a:gd name="T1" fmla="*/ 10 h 41"/>
                  <a:gd name="T2" fmla="*/ 26 w 38"/>
                  <a:gd name="T3" fmla="*/ 19 h 41"/>
                  <a:gd name="T4" fmla="*/ 0 w 38"/>
                  <a:gd name="T5" fmla="*/ 32 h 41"/>
                  <a:gd name="T6" fmla="*/ 0 w 38"/>
                  <a:gd name="T7" fmla="*/ 41 h 41"/>
                  <a:gd name="T8" fmla="*/ 38 w 38"/>
                  <a:gd name="T9" fmla="*/ 24 h 41"/>
                  <a:gd name="T10" fmla="*/ 38 w 38"/>
                  <a:gd name="T11" fmla="*/ 17 h 41"/>
                  <a:gd name="T12" fmla="*/ 0 w 38"/>
                  <a:gd name="T13" fmla="*/ 0 h 41"/>
                  <a:gd name="T14" fmla="*/ 0 w 38"/>
                  <a:gd name="T15" fmla="*/ 1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8" h="41">
                    <a:moveTo>
                      <a:pt x="0" y="10"/>
                    </a:moveTo>
                    <a:lnTo>
                      <a:pt x="26" y="19"/>
                    </a:lnTo>
                    <a:lnTo>
                      <a:pt x="0" y="32"/>
                    </a:lnTo>
                    <a:lnTo>
                      <a:pt x="0" y="41"/>
                    </a:lnTo>
                    <a:lnTo>
                      <a:pt x="38" y="24"/>
                    </a:lnTo>
                    <a:lnTo>
                      <a:pt x="38" y="17"/>
                    </a:lnTo>
                    <a:lnTo>
                      <a:pt x="0" y="0"/>
                    </a:lnTo>
                    <a:lnTo>
                      <a:pt x="0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78886273"/>
      </p:ext>
    </p:extLst>
  </p:cSld>
  <p:clrMapOvr>
    <a:masterClrMapping/>
  </p:clrMapOvr>
</p:sld>
</file>

<file path=ppt/slides/slide1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1AE641-82C6-3D01-7F11-C46370EBC64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think-cell data - do not delete" hidden="1">
            <a:extLst>
              <a:ext uri="{FF2B5EF4-FFF2-40B4-BE49-F238E27FC236}">
                <a16:creationId xmlns:a16="http://schemas.microsoft.com/office/drawing/2014/main" id="{74DFF1C4-88FF-C52C-99F8-72CD1632D03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633576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2D68179-A5D3-4384-5279-69F6480621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5 Concep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E71ABC-38C2-BEDB-320D-A4A6F07083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55</a:t>
            </a:fld>
            <a:endParaRPr lang="en-US" dirty="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E824B52D-79C7-BB8C-10E4-FBF1F0CDE401}"/>
              </a:ext>
            </a:extLst>
          </p:cNvPr>
          <p:cNvSpPr/>
          <p:nvPr/>
        </p:nvSpPr>
        <p:spPr>
          <a:xfrm rot="5400000">
            <a:off x="876655" y="2203510"/>
            <a:ext cx="1067956" cy="1068005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764" b="1" dirty="0">
              <a:solidFill>
                <a:srgbClr val="FFFFFF"/>
              </a:solidFill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E19974BA-8B0F-AA32-BA7C-8650AD8B249B}"/>
              </a:ext>
            </a:extLst>
          </p:cNvPr>
          <p:cNvSpPr/>
          <p:nvPr/>
        </p:nvSpPr>
        <p:spPr>
          <a:xfrm rot="5400000">
            <a:off x="2254046" y="1541690"/>
            <a:ext cx="1067956" cy="106800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764" b="1" dirty="0">
              <a:solidFill>
                <a:srgbClr val="FFFFFF"/>
              </a:solidFill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86AD7217-8087-00C4-A141-5B1A9ADAC3C9}"/>
              </a:ext>
            </a:extLst>
          </p:cNvPr>
          <p:cNvSpPr/>
          <p:nvPr/>
        </p:nvSpPr>
        <p:spPr>
          <a:xfrm rot="5400000">
            <a:off x="3618881" y="2203509"/>
            <a:ext cx="1067956" cy="106800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764" b="1" dirty="0">
              <a:solidFill>
                <a:srgbClr val="FFFFFF"/>
              </a:solidFill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D9D2FB3B-D5EB-6420-2A2A-4B85213F7BFD}"/>
              </a:ext>
            </a:extLst>
          </p:cNvPr>
          <p:cNvSpPr/>
          <p:nvPr/>
        </p:nvSpPr>
        <p:spPr>
          <a:xfrm rot="5400000">
            <a:off x="3618881" y="3815754"/>
            <a:ext cx="1067956" cy="1068005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764" b="1" dirty="0">
              <a:solidFill>
                <a:srgbClr val="FFFFFF"/>
              </a:solidFill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47AF9FB6-F9D7-C8E7-E2BF-9C1090826836}"/>
              </a:ext>
            </a:extLst>
          </p:cNvPr>
          <p:cNvSpPr/>
          <p:nvPr/>
        </p:nvSpPr>
        <p:spPr>
          <a:xfrm rot="5400000">
            <a:off x="876655" y="3815754"/>
            <a:ext cx="1067956" cy="1068006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764" b="1" dirty="0">
              <a:solidFill>
                <a:srgbClr val="FFFFFF"/>
              </a:solidFill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49D6DD86-7CBA-1E4C-CB8B-DED35C9E5807}"/>
              </a:ext>
            </a:extLst>
          </p:cNvPr>
          <p:cNvGrpSpPr/>
          <p:nvPr/>
        </p:nvGrpSpPr>
        <p:grpSpPr>
          <a:xfrm>
            <a:off x="1094397" y="4136503"/>
            <a:ext cx="632472" cy="426508"/>
            <a:chOff x="6716027" y="5411634"/>
            <a:chExt cx="583964" cy="393797"/>
          </a:xfrm>
          <a:solidFill>
            <a:schemeClr val="bg1"/>
          </a:solidFill>
        </p:grpSpPr>
        <p:sp>
          <p:nvSpPr>
            <p:cNvPr id="11" name="Freeform 17">
              <a:extLst>
                <a:ext uri="{FF2B5EF4-FFF2-40B4-BE49-F238E27FC236}">
                  <a16:creationId xmlns:a16="http://schemas.microsoft.com/office/drawing/2014/main" id="{8E337CDE-B5A3-755C-F764-BC18185191E6}"/>
                </a:ext>
              </a:extLst>
            </p:cNvPr>
            <p:cNvSpPr>
              <a:spLocks noEditPoints="1"/>
            </p:cNvSpPr>
            <p:nvPr/>
          </p:nvSpPr>
          <p:spPr bwMode="auto">
            <a:xfrm rot="2700000">
              <a:off x="6832931" y="5294730"/>
              <a:ext cx="350155" cy="583964"/>
            </a:xfrm>
            <a:custGeom>
              <a:avLst/>
              <a:gdLst>
                <a:gd name="T0" fmla="*/ 50 w 184"/>
                <a:gd name="T1" fmla="*/ 310 h 310"/>
                <a:gd name="T2" fmla="*/ 32 w 184"/>
                <a:gd name="T3" fmla="*/ 282 h 310"/>
                <a:gd name="T4" fmla="*/ 10 w 184"/>
                <a:gd name="T5" fmla="*/ 199 h 310"/>
                <a:gd name="T6" fmla="*/ 39 w 184"/>
                <a:gd name="T7" fmla="*/ 171 h 310"/>
                <a:gd name="T8" fmla="*/ 30 w 184"/>
                <a:gd name="T9" fmla="*/ 116 h 310"/>
                <a:gd name="T10" fmla="*/ 36 w 184"/>
                <a:gd name="T11" fmla="*/ 73 h 310"/>
                <a:gd name="T12" fmla="*/ 36 w 184"/>
                <a:gd name="T13" fmla="*/ 72 h 310"/>
                <a:gd name="T14" fmla="*/ 92 w 184"/>
                <a:gd name="T15" fmla="*/ 0 h 310"/>
                <a:gd name="T16" fmla="*/ 148 w 184"/>
                <a:gd name="T17" fmla="*/ 72 h 310"/>
                <a:gd name="T18" fmla="*/ 148 w 184"/>
                <a:gd name="T19" fmla="*/ 73 h 310"/>
                <a:gd name="T20" fmla="*/ 155 w 184"/>
                <a:gd name="T21" fmla="*/ 116 h 310"/>
                <a:gd name="T22" fmla="*/ 145 w 184"/>
                <a:gd name="T23" fmla="*/ 171 h 310"/>
                <a:gd name="T24" fmla="*/ 174 w 184"/>
                <a:gd name="T25" fmla="*/ 199 h 310"/>
                <a:gd name="T26" fmla="*/ 153 w 184"/>
                <a:gd name="T27" fmla="*/ 282 h 310"/>
                <a:gd name="T28" fmla="*/ 134 w 184"/>
                <a:gd name="T29" fmla="*/ 310 h 310"/>
                <a:gd name="T30" fmla="*/ 134 w 184"/>
                <a:gd name="T31" fmla="*/ 276 h 310"/>
                <a:gd name="T32" fmla="*/ 118 w 184"/>
                <a:gd name="T33" fmla="*/ 239 h 310"/>
                <a:gd name="T34" fmla="*/ 118 w 184"/>
                <a:gd name="T35" fmla="*/ 240 h 310"/>
                <a:gd name="T36" fmla="*/ 115 w 184"/>
                <a:gd name="T37" fmla="*/ 246 h 310"/>
                <a:gd name="T38" fmla="*/ 108 w 184"/>
                <a:gd name="T39" fmla="*/ 245 h 310"/>
                <a:gd name="T40" fmla="*/ 76 w 184"/>
                <a:gd name="T41" fmla="*/ 245 h 310"/>
                <a:gd name="T42" fmla="*/ 69 w 184"/>
                <a:gd name="T43" fmla="*/ 246 h 310"/>
                <a:gd name="T44" fmla="*/ 66 w 184"/>
                <a:gd name="T45" fmla="*/ 240 h 310"/>
                <a:gd name="T46" fmla="*/ 66 w 184"/>
                <a:gd name="T47" fmla="*/ 239 h 310"/>
                <a:gd name="T48" fmla="*/ 50 w 184"/>
                <a:gd name="T49" fmla="*/ 276 h 310"/>
                <a:gd name="T50" fmla="*/ 50 w 184"/>
                <a:gd name="T51" fmla="*/ 310 h 310"/>
                <a:gd name="T52" fmla="*/ 55 w 184"/>
                <a:gd name="T53" fmla="*/ 79 h 310"/>
                <a:gd name="T54" fmla="*/ 50 w 184"/>
                <a:gd name="T55" fmla="*/ 116 h 310"/>
                <a:gd name="T56" fmla="*/ 61 w 184"/>
                <a:gd name="T57" fmla="*/ 174 h 310"/>
                <a:gd name="T58" fmla="*/ 64 w 184"/>
                <a:gd name="T59" fmla="*/ 184 h 310"/>
                <a:gd name="T60" fmla="*/ 54 w 184"/>
                <a:gd name="T61" fmla="*/ 187 h 310"/>
                <a:gd name="T62" fmla="*/ 29 w 184"/>
                <a:gd name="T63" fmla="*/ 205 h 310"/>
                <a:gd name="T64" fmla="*/ 36 w 184"/>
                <a:gd name="T65" fmla="*/ 247 h 310"/>
                <a:gd name="T66" fmla="*/ 65 w 184"/>
                <a:gd name="T67" fmla="*/ 215 h 310"/>
                <a:gd name="T68" fmla="*/ 74 w 184"/>
                <a:gd name="T69" fmla="*/ 209 h 310"/>
                <a:gd name="T70" fmla="*/ 79 w 184"/>
                <a:gd name="T71" fmla="*/ 219 h 310"/>
                <a:gd name="T72" fmla="*/ 82 w 184"/>
                <a:gd name="T73" fmla="*/ 225 h 310"/>
                <a:gd name="T74" fmla="*/ 103 w 184"/>
                <a:gd name="T75" fmla="*/ 225 h 310"/>
                <a:gd name="T76" fmla="*/ 105 w 184"/>
                <a:gd name="T77" fmla="*/ 219 h 310"/>
                <a:gd name="T78" fmla="*/ 110 w 184"/>
                <a:gd name="T79" fmla="*/ 209 h 310"/>
                <a:gd name="T80" fmla="*/ 120 w 184"/>
                <a:gd name="T81" fmla="*/ 215 h 310"/>
                <a:gd name="T82" fmla="*/ 148 w 184"/>
                <a:gd name="T83" fmla="*/ 247 h 310"/>
                <a:gd name="T84" fmla="*/ 155 w 184"/>
                <a:gd name="T85" fmla="*/ 205 h 310"/>
                <a:gd name="T86" fmla="*/ 130 w 184"/>
                <a:gd name="T87" fmla="*/ 187 h 310"/>
                <a:gd name="T88" fmla="*/ 120 w 184"/>
                <a:gd name="T89" fmla="*/ 184 h 310"/>
                <a:gd name="T90" fmla="*/ 123 w 184"/>
                <a:gd name="T91" fmla="*/ 174 h 310"/>
                <a:gd name="T92" fmla="*/ 135 w 184"/>
                <a:gd name="T93" fmla="*/ 116 h 310"/>
                <a:gd name="T94" fmla="*/ 129 w 184"/>
                <a:gd name="T95" fmla="*/ 79 h 310"/>
                <a:gd name="T96" fmla="*/ 92 w 184"/>
                <a:gd name="T97" fmla="*/ 21 h 310"/>
                <a:gd name="T98" fmla="*/ 55 w 184"/>
                <a:gd name="T99" fmla="*/ 79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84" h="310">
                  <a:moveTo>
                    <a:pt x="50" y="310"/>
                  </a:moveTo>
                  <a:cubicBezTo>
                    <a:pt x="32" y="282"/>
                    <a:pt x="32" y="282"/>
                    <a:pt x="32" y="282"/>
                  </a:cubicBezTo>
                  <a:cubicBezTo>
                    <a:pt x="28" y="276"/>
                    <a:pt x="0" y="230"/>
                    <a:pt x="10" y="199"/>
                  </a:cubicBezTo>
                  <a:cubicBezTo>
                    <a:pt x="14" y="187"/>
                    <a:pt x="24" y="178"/>
                    <a:pt x="39" y="171"/>
                  </a:cubicBezTo>
                  <a:cubicBezTo>
                    <a:pt x="33" y="151"/>
                    <a:pt x="30" y="132"/>
                    <a:pt x="30" y="116"/>
                  </a:cubicBezTo>
                  <a:cubicBezTo>
                    <a:pt x="30" y="102"/>
                    <a:pt x="32" y="87"/>
                    <a:pt x="36" y="73"/>
                  </a:cubicBezTo>
                  <a:cubicBezTo>
                    <a:pt x="36" y="72"/>
                    <a:pt x="36" y="72"/>
                    <a:pt x="36" y="72"/>
                  </a:cubicBezTo>
                  <a:cubicBezTo>
                    <a:pt x="50" y="35"/>
                    <a:pt x="77" y="0"/>
                    <a:pt x="92" y="0"/>
                  </a:cubicBezTo>
                  <a:cubicBezTo>
                    <a:pt x="107" y="0"/>
                    <a:pt x="134" y="35"/>
                    <a:pt x="148" y="72"/>
                  </a:cubicBezTo>
                  <a:cubicBezTo>
                    <a:pt x="148" y="73"/>
                    <a:pt x="148" y="73"/>
                    <a:pt x="148" y="73"/>
                  </a:cubicBezTo>
                  <a:cubicBezTo>
                    <a:pt x="152" y="87"/>
                    <a:pt x="155" y="102"/>
                    <a:pt x="155" y="116"/>
                  </a:cubicBezTo>
                  <a:cubicBezTo>
                    <a:pt x="155" y="132"/>
                    <a:pt x="152" y="151"/>
                    <a:pt x="145" y="171"/>
                  </a:cubicBezTo>
                  <a:cubicBezTo>
                    <a:pt x="160" y="178"/>
                    <a:pt x="170" y="187"/>
                    <a:pt x="174" y="199"/>
                  </a:cubicBezTo>
                  <a:cubicBezTo>
                    <a:pt x="184" y="230"/>
                    <a:pt x="156" y="276"/>
                    <a:pt x="153" y="282"/>
                  </a:cubicBezTo>
                  <a:cubicBezTo>
                    <a:pt x="134" y="310"/>
                    <a:pt x="134" y="310"/>
                    <a:pt x="134" y="310"/>
                  </a:cubicBezTo>
                  <a:cubicBezTo>
                    <a:pt x="134" y="276"/>
                    <a:pt x="134" y="276"/>
                    <a:pt x="134" y="276"/>
                  </a:cubicBezTo>
                  <a:cubicBezTo>
                    <a:pt x="134" y="262"/>
                    <a:pt x="128" y="248"/>
                    <a:pt x="118" y="239"/>
                  </a:cubicBezTo>
                  <a:cubicBezTo>
                    <a:pt x="118" y="239"/>
                    <a:pt x="118" y="239"/>
                    <a:pt x="118" y="240"/>
                  </a:cubicBezTo>
                  <a:cubicBezTo>
                    <a:pt x="115" y="246"/>
                    <a:pt x="115" y="246"/>
                    <a:pt x="115" y="246"/>
                  </a:cubicBezTo>
                  <a:cubicBezTo>
                    <a:pt x="108" y="245"/>
                    <a:pt x="108" y="245"/>
                    <a:pt x="108" y="245"/>
                  </a:cubicBezTo>
                  <a:cubicBezTo>
                    <a:pt x="98" y="245"/>
                    <a:pt x="87" y="245"/>
                    <a:pt x="76" y="245"/>
                  </a:cubicBezTo>
                  <a:cubicBezTo>
                    <a:pt x="69" y="246"/>
                    <a:pt x="69" y="246"/>
                    <a:pt x="69" y="246"/>
                  </a:cubicBezTo>
                  <a:cubicBezTo>
                    <a:pt x="66" y="240"/>
                    <a:pt x="66" y="240"/>
                    <a:pt x="66" y="240"/>
                  </a:cubicBezTo>
                  <a:cubicBezTo>
                    <a:pt x="66" y="239"/>
                    <a:pt x="66" y="239"/>
                    <a:pt x="66" y="239"/>
                  </a:cubicBezTo>
                  <a:cubicBezTo>
                    <a:pt x="56" y="249"/>
                    <a:pt x="50" y="262"/>
                    <a:pt x="50" y="276"/>
                  </a:cubicBezTo>
                  <a:lnTo>
                    <a:pt x="50" y="310"/>
                  </a:lnTo>
                  <a:close/>
                  <a:moveTo>
                    <a:pt x="55" y="79"/>
                  </a:moveTo>
                  <a:cubicBezTo>
                    <a:pt x="52" y="91"/>
                    <a:pt x="50" y="104"/>
                    <a:pt x="50" y="116"/>
                  </a:cubicBezTo>
                  <a:cubicBezTo>
                    <a:pt x="50" y="132"/>
                    <a:pt x="53" y="152"/>
                    <a:pt x="61" y="174"/>
                  </a:cubicBezTo>
                  <a:cubicBezTo>
                    <a:pt x="64" y="184"/>
                    <a:pt x="64" y="184"/>
                    <a:pt x="64" y="184"/>
                  </a:cubicBezTo>
                  <a:cubicBezTo>
                    <a:pt x="54" y="187"/>
                    <a:pt x="54" y="187"/>
                    <a:pt x="54" y="187"/>
                  </a:cubicBezTo>
                  <a:cubicBezTo>
                    <a:pt x="45" y="190"/>
                    <a:pt x="33" y="196"/>
                    <a:pt x="29" y="205"/>
                  </a:cubicBezTo>
                  <a:cubicBezTo>
                    <a:pt x="26" y="216"/>
                    <a:pt x="30" y="233"/>
                    <a:pt x="36" y="247"/>
                  </a:cubicBezTo>
                  <a:cubicBezTo>
                    <a:pt x="42" y="234"/>
                    <a:pt x="52" y="223"/>
                    <a:pt x="65" y="215"/>
                  </a:cubicBezTo>
                  <a:cubicBezTo>
                    <a:pt x="74" y="209"/>
                    <a:pt x="74" y="209"/>
                    <a:pt x="74" y="209"/>
                  </a:cubicBezTo>
                  <a:cubicBezTo>
                    <a:pt x="79" y="219"/>
                    <a:pt x="79" y="219"/>
                    <a:pt x="79" y="219"/>
                  </a:cubicBezTo>
                  <a:cubicBezTo>
                    <a:pt x="80" y="221"/>
                    <a:pt x="81" y="223"/>
                    <a:pt x="82" y="225"/>
                  </a:cubicBezTo>
                  <a:cubicBezTo>
                    <a:pt x="89" y="225"/>
                    <a:pt x="96" y="225"/>
                    <a:pt x="103" y="225"/>
                  </a:cubicBezTo>
                  <a:cubicBezTo>
                    <a:pt x="104" y="223"/>
                    <a:pt x="105" y="221"/>
                    <a:pt x="105" y="219"/>
                  </a:cubicBezTo>
                  <a:cubicBezTo>
                    <a:pt x="110" y="209"/>
                    <a:pt x="110" y="209"/>
                    <a:pt x="110" y="209"/>
                  </a:cubicBezTo>
                  <a:cubicBezTo>
                    <a:pt x="120" y="215"/>
                    <a:pt x="120" y="215"/>
                    <a:pt x="120" y="215"/>
                  </a:cubicBezTo>
                  <a:cubicBezTo>
                    <a:pt x="133" y="223"/>
                    <a:pt x="142" y="234"/>
                    <a:pt x="148" y="247"/>
                  </a:cubicBezTo>
                  <a:cubicBezTo>
                    <a:pt x="154" y="233"/>
                    <a:pt x="159" y="216"/>
                    <a:pt x="155" y="205"/>
                  </a:cubicBezTo>
                  <a:cubicBezTo>
                    <a:pt x="152" y="196"/>
                    <a:pt x="140" y="190"/>
                    <a:pt x="130" y="187"/>
                  </a:cubicBezTo>
                  <a:cubicBezTo>
                    <a:pt x="120" y="184"/>
                    <a:pt x="120" y="184"/>
                    <a:pt x="120" y="184"/>
                  </a:cubicBezTo>
                  <a:cubicBezTo>
                    <a:pt x="123" y="174"/>
                    <a:pt x="123" y="174"/>
                    <a:pt x="123" y="174"/>
                  </a:cubicBezTo>
                  <a:cubicBezTo>
                    <a:pt x="131" y="152"/>
                    <a:pt x="135" y="132"/>
                    <a:pt x="135" y="116"/>
                  </a:cubicBezTo>
                  <a:cubicBezTo>
                    <a:pt x="135" y="104"/>
                    <a:pt x="133" y="91"/>
                    <a:pt x="129" y="79"/>
                  </a:cubicBezTo>
                  <a:cubicBezTo>
                    <a:pt x="117" y="47"/>
                    <a:pt x="99" y="26"/>
                    <a:pt x="92" y="21"/>
                  </a:cubicBezTo>
                  <a:cubicBezTo>
                    <a:pt x="85" y="26"/>
                    <a:pt x="67" y="47"/>
                    <a:pt x="55" y="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" name="Freeform 18">
              <a:extLst>
                <a:ext uri="{FF2B5EF4-FFF2-40B4-BE49-F238E27FC236}">
                  <a16:creationId xmlns:a16="http://schemas.microsoft.com/office/drawing/2014/main" id="{DA58EB40-BC1E-FD20-1167-7355BB9B4B8C}"/>
                </a:ext>
              </a:extLst>
            </p:cNvPr>
            <p:cNvSpPr>
              <a:spLocks noEditPoints="1"/>
            </p:cNvSpPr>
            <p:nvPr/>
          </p:nvSpPr>
          <p:spPr bwMode="auto">
            <a:xfrm rot="2700000">
              <a:off x="6989613" y="5483631"/>
              <a:ext cx="121724" cy="120112"/>
            </a:xfrm>
            <a:custGeom>
              <a:avLst/>
              <a:gdLst>
                <a:gd name="T0" fmla="*/ 32 w 64"/>
                <a:gd name="T1" fmla="*/ 64 h 64"/>
                <a:gd name="T2" fmla="*/ 0 w 64"/>
                <a:gd name="T3" fmla="*/ 32 h 64"/>
                <a:gd name="T4" fmla="*/ 32 w 64"/>
                <a:gd name="T5" fmla="*/ 0 h 64"/>
                <a:gd name="T6" fmla="*/ 64 w 64"/>
                <a:gd name="T7" fmla="*/ 32 h 64"/>
                <a:gd name="T8" fmla="*/ 32 w 64"/>
                <a:gd name="T9" fmla="*/ 64 h 64"/>
                <a:gd name="T10" fmla="*/ 32 w 64"/>
                <a:gd name="T11" fmla="*/ 12 h 64"/>
                <a:gd name="T12" fmla="*/ 12 w 64"/>
                <a:gd name="T13" fmla="*/ 32 h 64"/>
                <a:gd name="T14" fmla="*/ 32 w 64"/>
                <a:gd name="T15" fmla="*/ 52 h 64"/>
                <a:gd name="T16" fmla="*/ 52 w 64"/>
                <a:gd name="T17" fmla="*/ 32 h 64"/>
                <a:gd name="T18" fmla="*/ 32 w 64"/>
                <a:gd name="T19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32" y="64"/>
                  </a:moveTo>
                  <a:cubicBezTo>
                    <a:pt x="14" y="64"/>
                    <a:pt x="0" y="50"/>
                    <a:pt x="0" y="32"/>
                  </a:cubicBezTo>
                  <a:cubicBezTo>
                    <a:pt x="0" y="14"/>
                    <a:pt x="14" y="0"/>
                    <a:pt x="32" y="0"/>
                  </a:cubicBezTo>
                  <a:cubicBezTo>
                    <a:pt x="50" y="0"/>
                    <a:pt x="64" y="14"/>
                    <a:pt x="64" y="32"/>
                  </a:cubicBezTo>
                  <a:cubicBezTo>
                    <a:pt x="64" y="50"/>
                    <a:pt x="50" y="64"/>
                    <a:pt x="32" y="64"/>
                  </a:cubicBezTo>
                  <a:close/>
                  <a:moveTo>
                    <a:pt x="32" y="12"/>
                  </a:moveTo>
                  <a:cubicBezTo>
                    <a:pt x="21" y="12"/>
                    <a:pt x="12" y="21"/>
                    <a:pt x="12" y="32"/>
                  </a:cubicBezTo>
                  <a:cubicBezTo>
                    <a:pt x="12" y="43"/>
                    <a:pt x="21" y="52"/>
                    <a:pt x="32" y="52"/>
                  </a:cubicBezTo>
                  <a:cubicBezTo>
                    <a:pt x="43" y="52"/>
                    <a:pt x="52" y="43"/>
                    <a:pt x="52" y="32"/>
                  </a:cubicBezTo>
                  <a:cubicBezTo>
                    <a:pt x="52" y="21"/>
                    <a:pt x="43" y="12"/>
                    <a:pt x="3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3" name="Freeform 19">
              <a:extLst>
                <a:ext uri="{FF2B5EF4-FFF2-40B4-BE49-F238E27FC236}">
                  <a16:creationId xmlns:a16="http://schemas.microsoft.com/office/drawing/2014/main" id="{59F645A6-DF9D-AB18-83D0-FAE7C61B496B}"/>
                </a:ext>
              </a:extLst>
            </p:cNvPr>
            <p:cNvSpPr>
              <a:spLocks noEditPoints="1"/>
            </p:cNvSpPr>
            <p:nvPr/>
          </p:nvSpPr>
          <p:spPr bwMode="auto">
            <a:xfrm rot="2700000">
              <a:off x="6790966" y="5660018"/>
              <a:ext cx="112239" cy="178587"/>
            </a:xfrm>
            <a:custGeom>
              <a:avLst/>
              <a:gdLst>
                <a:gd name="T0" fmla="*/ 29 w 59"/>
                <a:gd name="T1" fmla="*/ 95 h 95"/>
                <a:gd name="T2" fmla="*/ 24 w 59"/>
                <a:gd name="T3" fmla="*/ 85 h 95"/>
                <a:gd name="T4" fmla="*/ 0 w 59"/>
                <a:gd name="T5" fmla="*/ 26 h 95"/>
                <a:gd name="T6" fmla="*/ 29 w 59"/>
                <a:gd name="T7" fmla="*/ 0 h 95"/>
                <a:gd name="T8" fmla="*/ 59 w 59"/>
                <a:gd name="T9" fmla="*/ 26 h 95"/>
                <a:gd name="T10" fmla="*/ 34 w 59"/>
                <a:gd name="T11" fmla="*/ 85 h 95"/>
                <a:gd name="T12" fmla="*/ 29 w 59"/>
                <a:gd name="T13" fmla="*/ 95 h 95"/>
                <a:gd name="T14" fmla="*/ 29 w 59"/>
                <a:gd name="T15" fmla="*/ 12 h 95"/>
                <a:gd name="T16" fmla="*/ 12 w 59"/>
                <a:gd name="T17" fmla="*/ 26 h 95"/>
                <a:gd name="T18" fmla="*/ 29 w 59"/>
                <a:gd name="T19" fmla="*/ 69 h 95"/>
                <a:gd name="T20" fmla="*/ 47 w 59"/>
                <a:gd name="T21" fmla="*/ 26 h 95"/>
                <a:gd name="T22" fmla="*/ 29 w 59"/>
                <a:gd name="T23" fmla="*/ 12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" h="95">
                  <a:moveTo>
                    <a:pt x="29" y="95"/>
                  </a:moveTo>
                  <a:cubicBezTo>
                    <a:pt x="24" y="85"/>
                    <a:pt x="24" y="85"/>
                    <a:pt x="24" y="85"/>
                  </a:cubicBezTo>
                  <a:cubicBezTo>
                    <a:pt x="20" y="77"/>
                    <a:pt x="0" y="38"/>
                    <a:pt x="0" y="26"/>
                  </a:cubicBezTo>
                  <a:cubicBezTo>
                    <a:pt x="0" y="12"/>
                    <a:pt x="13" y="0"/>
                    <a:pt x="29" y="0"/>
                  </a:cubicBezTo>
                  <a:cubicBezTo>
                    <a:pt x="45" y="0"/>
                    <a:pt x="59" y="12"/>
                    <a:pt x="59" y="26"/>
                  </a:cubicBezTo>
                  <a:cubicBezTo>
                    <a:pt x="59" y="38"/>
                    <a:pt x="39" y="77"/>
                    <a:pt x="34" y="85"/>
                  </a:cubicBezTo>
                  <a:lnTo>
                    <a:pt x="29" y="95"/>
                  </a:lnTo>
                  <a:close/>
                  <a:moveTo>
                    <a:pt x="29" y="12"/>
                  </a:moveTo>
                  <a:cubicBezTo>
                    <a:pt x="19" y="12"/>
                    <a:pt x="12" y="18"/>
                    <a:pt x="12" y="26"/>
                  </a:cubicBezTo>
                  <a:cubicBezTo>
                    <a:pt x="12" y="31"/>
                    <a:pt x="20" y="50"/>
                    <a:pt x="29" y="69"/>
                  </a:cubicBezTo>
                  <a:cubicBezTo>
                    <a:pt x="38" y="50"/>
                    <a:pt x="47" y="31"/>
                    <a:pt x="47" y="26"/>
                  </a:cubicBezTo>
                  <a:cubicBezTo>
                    <a:pt x="47" y="18"/>
                    <a:pt x="39" y="12"/>
                    <a:pt x="29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14" name="Freeform 23">
            <a:extLst>
              <a:ext uri="{FF2B5EF4-FFF2-40B4-BE49-F238E27FC236}">
                <a16:creationId xmlns:a16="http://schemas.microsoft.com/office/drawing/2014/main" id="{B4AE1FFD-6FC3-3FAA-9FC5-1F6FBFC930CF}"/>
              </a:ext>
            </a:extLst>
          </p:cNvPr>
          <p:cNvSpPr>
            <a:spLocks noEditPoints="1"/>
          </p:cNvSpPr>
          <p:nvPr/>
        </p:nvSpPr>
        <p:spPr bwMode="auto">
          <a:xfrm>
            <a:off x="3872703" y="4101652"/>
            <a:ext cx="560312" cy="496208"/>
          </a:xfrm>
          <a:custGeom>
            <a:avLst/>
            <a:gdLst>
              <a:gd name="T0" fmla="*/ 232 w 256"/>
              <a:gd name="T1" fmla="*/ 84 h 227"/>
              <a:gd name="T2" fmla="*/ 172 w 256"/>
              <a:gd name="T3" fmla="*/ 44 h 227"/>
              <a:gd name="T4" fmla="*/ 120 w 256"/>
              <a:gd name="T5" fmla="*/ 48 h 227"/>
              <a:gd name="T6" fmla="*/ 64 w 256"/>
              <a:gd name="T7" fmla="*/ 107 h 227"/>
              <a:gd name="T8" fmla="*/ 0 w 256"/>
              <a:gd name="T9" fmla="*/ 131 h 227"/>
              <a:gd name="T10" fmla="*/ 32 w 256"/>
              <a:gd name="T11" fmla="*/ 227 h 227"/>
              <a:gd name="T12" fmla="*/ 87 w 256"/>
              <a:gd name="T13" fmla="*/ 212 h 227"/>
              <a:gd name="T14" fmla="*/ 103 w 256"/>
              <a:gd name="T15" fmla="*/ 219 h 227"/>
              <a:gd name="T16" fmla="*/ 232 w 256"/>
              <a:gd name="T17" fmla="*/ 197 h 227"/>
              <a:gd name="T18" fmla="*/ 240 w 256"/>
              <a:gd name="T19" fmla="*/ 169 h 227"/>
              <a:gd name="T20" fmla="*/ 248 w 256"/>
              <a:gd name="T21" fmla="*/ 140 h 227"/>
              <a:gd name="T22" fmla="*/ 256 w 256"/>
              <a:gd name="T23" fmla="*/ 108 h 227"/>
              <a:gd name="T24" fmla="*/ 32 w 256"/>
              <a:gd name="T25" fmla="*/ 211 h 227"/>
              <a:gd name="T26" fmla="*/ 16 w 256"/>
              <a:gd name="T27" fmla="*/ 131 h 227"/>
              <a:gd name="T28" fmla="*/ 64 w 256"/>
              <a:gd name="T29" fmla="*/ 123 h 227"/>
              <a:gd name="T30" fmla="*/ 72 w 256"/>
              <a:gd name="T31" fmla="*/ 198 h 227"/>
              <a:gd name="T32" fmla="*/ 72 w 256"/>
              <a:gd name="T33" fmla="*/ 203 h 227"/>
              <a:gd name="T34" fmla="*/ 210 w 256"/>
              <a:gd name="T35" fmla="*/ 203 h 227"/>
              <a:gd name="T36" fmla="*/ 88 w 256"/>
              <a:gd name="T37" fmla="*/ 194 h 227"/>
              <a:gd name="T38" fmla="*/ 86 w 256"/>
              <a:gd name="T39" fmla="*/ 121 h 227"/>
              <a:gd name="T40" fmla="*/ 140 w 256"/>
              <a:gd name="T41" fmla="*/ 16 h 227"/>
              <a:gd name="T42" fmla="*/ 152 w 256"/>
              <a:gd name="T43" fmla="*/ 90 h 227"/>
              <a:gd name="T44" fmla="*/ 160 w 256"/>
              <a:gd name="T45" fmla="*/ 100 h 227"/>
              <a:gd name="T46" fmla="*/ 240 w 256"/>
              <a:gd name="T47" fmla="*/ 108 h 227"/>
              <a:gd name="T48" fmla="*/ 223 w 256"/>
              <a:gd name="T49" fmla="*/ 116 h 227"/>
              <a:gd name="T50" fmla="*/ 223 w 256"/>
              <a:gd name="T51" fmla="*/ 132 h 227"/>
              <a:gd name="T52" fmla="*/ 224 w 256"/>
              <a:gd name="T53" fmla="*/ 132 h 227"/>
              <a:gd name="T54" fmla="*/ 224 w 256"/>
              <a:gd name="T55" fmla="*/ 148 h 227"/>
              <a:gd name="T56" fmla="*/ 218 w 256"/>
              <a:gd name="T57" fmla="*/ 147 h 227"/>
              <a:gd name="T58" fmla="*/ 215 w 256"/>
              <a:gd name="T59" fmla="*/ 148 h 227"/>
              <a:gd name="T60" fmla="*/ 215 w 256"/>
              <a:gd name="T61" fmla="*/ 164 h 227"/>
              <a:gd name="T62" fmla="*/ 224 w 256"/>
              <a:gd name="T63" fmla="*/ 169 h 227"/>
              <a:gd name="T64" fmla="*/ 210 w 256"/>
              <a:gd name="T65" fmla="*/ 175 h 227"/>
              <a:gd name="T66" fmla="*/ 210 w 256"/>
              <a:gd name="T67" fmla="*/ 175 h 227"/>
              <a:gd name="T68" fmla="*/ 210 w 256"/>
              <a:gd name="T69" fmla="*/ 191 h 227"/>
              <a:gd name="T70" fmla="*/ 210 w 256"/>
              <a:gd name="T71" fmla="*/ 203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56" h="227">
                <a:moveTo>
                  <a:pt x="256" y="108"/>
                </a:moveTo>
                <a:cubicBezTo>
                  <a:pt x="256" y="94"/>
                  <a:pt x="245" y="84"/>
                  <a:pt x="232" y="84"/>
                </a:cubicBezTo>
                <a:cubicBezTo>
                  <a:pt x="169" y="84"/>
                  <a:pt x="169" y="84"/>
                  <a:pt x="169" y="84"/>
                </a:cubicBezTo>
                <a:cubicBezTo>
                  <a:pt x="171" y="74"/>
                  <a:pt x="172" y="59"/>
                  <a:pt x="172" y="44"/>
                </a:cubicBezTo>
                <a:cubicBezTo>
                  <a:pt x="172" y="13"/>
                  <a:pt x="156" y="0"/>
                  <a:pt x="140" y="0"/>
                </a:cubicBezTo>
                <a:cubicBezTo>
                  <a:pt x="120" y="0"/>
                  <a:pt x="120" y="21"/>
                  <a:pt x="120" y="48"/>
                </a:cubicBezTo>
                <a:cubicBezTo>
                  <a:pt x="120" y="67"/>
                  <a:pt x="90" y="97"/>
                  <a:pt x="75" y="110"/>
                </a:cubicBezTo>
                <a:cubicBezTo>
                  <a:pt x="71" y="108"/>
                  <a:pt x="68" y="107"/>
                  <a:pt x="64" y="107"/>
                </a:cubicBezTo>
                <a:cubicBezTo>
                  <a:pt x="24" y="107"/>
                  <a:pt x="24" y="107"/>
                  <a:pt x="24" y="107"/>
                </a:cubicBezTo>
                <a:cubicBezTo>
                  <a:pt x="11" y="107"/>
                  <a:pt x="0" y="118"/>
                  <a:pt x="0" y="131"/>
                </a:cubicBezTo>
                <a:cubicBezTo>
                  <a:pt x="8" y="203"/>
                  <a:pt x="8" y="203"/>
                  <a:pt x="8" y="203"/>
                </a:cubicBezTo>
                <a:cubicBezTo>
                  <a:pt x="10" y="216"/>
                  <a:pt x="19" y="227"/>
                  <a:pt x="32" y="227"/>
                </a:cubicBezTo>
                <a:cubicBezTo>
                  <a:pt x="64" y="227"/>
                  <a:pt x="64" y="227"/>
                  <a:pt x="64" y="227"/>
                </a:cubicBezTo>
                <a:cubicBezTo>
                  <a:pt x="74" y="227"/>
                  <a:pt x="83" y="221"/>
                  <a:pt x="87" y="212"/>
                </a:cubicBezTo>
                <a:cubicBezTo>
                  <a:pt x="100" y="219"/>
                  <a:pt x="100" y="219"/>
                  <a:pt x="100" y="219"/>
                </a:cubicBezTo>
                <a:cubicBezTo>
                  <a:pt x="101" y="219"/>
                  <a:pt x="102" y="219"/>
                  <a:pt x="103" y="219"/>
                </a:cubicBezTo>
                <a:cubicBezTo>
                  <a:pt x="210" y="219"/>
                  <a:pt x="210" y="219"/>
                  <a:pt x="210" y="219"/>
                </a:cubicBezTo>
                <a:cubicBezTo>
                  <a:pt x="222" y="219"/>
                  <a:pt x="232" y="210"/>
                  <a:pt x="232" y="197"/>
                </a:cubicBezTo>
                <a:cubicBezTo>
                  <a:pt x="232" y="194"/>
                  <a:pt x="231" y="191"/>
                  <a:pt x="230" y="188"/>
                </a:cubicBezTo>
                <a:cubicBezTo>
                  <a:pt x="236" y="184"/>
                  <a:pt x="240" y="177"/>
                  <a:pt x="240" y="169"/>
                </a:cubicBezTo>
                <a:cubicBezTo>
                  <a:pt x="240" y="166"/>
                  <a:pt x="239" y="162"/>
                  <a:pt x="238" y="159"/>
                </a:cubicBezTo>
                <a:cubicBezTo>
                  <a:pt x="244" y="155"/>
                  <a:pt x="248" y="148"/>
                  <a:pt x="248" y="140"/>
                </a:cubicBezTo>
                <a:cubicBezTo>
                  <a:pt x="248" y="135"/>
                  <a:pt x="247" y="131"/>
                  <a:pt x="245" y="128"/>
                </a:cubicBezTo>
                <a:cubicBezTo>
                  <a:pt x="252" y="123"/>
                  <a:pt x="256" y="116"/>
                  <a:pt x="256" y="108"/>
                </a:cubicBezTo>
                <a:close/>
                <a:moveTo>
                  <a:pt x="64" y="211"/>
                </a:moveTo>
                <a:cubicBezTo>
                  <a:pt x="32" y="211"/>
                  <a:pt x="32" y="211"/>
                  <a:pt x="32" y="211"/>
                </a:cubicBezTo>
                <a:cubicBezTo>
                  <a:pt x="28" y="211"/>
                  <a:pt x="25" y="206"/>
                  <a:pt x="24" y="202"/>
                </a:cubicBezTo>
                <a:cubicBezTo>
                  <a:pt x="16" y="131"/>
                  <a:pt x="16" y="131"/>
                  <a:pt x="16" y="131"/>
                </a:cubicBezTo>
                <a:cubicBezTo>
                  <a:pt x="17" y="127"/>
                  <a:pt x="20" y="123"/>
                  <a:pt x="24" y="123"/>
                </a:cubicBezTo>
                <a:cubicBezTo>
                  <a:pt x="64" y="123"/>
                  <a:pt x="64" y="123"/>
                  <a:pt x="64" y="123"/>
                </a:cubicBezTo>
                <a:cubicBezTo>
                  <a:pt x="69" y="123"/>
                  <a:pt x="72" y="127"/>
                  <a:pt x="72" y="131"/>
                </a:cubicBezTo>
                <a:cubicBezTo>
                  <a:pt x="72" y="198"/>
                  <a:pt x="72" y="198"/>
                  <a:pt x="72" y="198"/>
                </a:cubicBezTo>
                <a:cubicBezTo>
                  <a:pt x="72" y="199"/>
                  <a:pt x="72" y="200"/>
                  <a:pt x="72" y="201"/>
                </a:cubicBezTo>
                <a:cubicBezTo>
                  <a:pt x="72" y="203"/>
                  <a:pt x="72" y="203"/>
                  <a:pt x="72" y="203"/>
                </a:cubicBezTo>
                <a:cubicBezTo>
                  <a:pt x="72" y="208"/>
                  <a:pt x="69" y="211"/>
                  <a:pt x="64" y="211"/>
                </a:cubicBezTo>
                <a:close/>
                <a:moveTo>
                  <a:pt x="210" y="203"/>
                </a:moveTo>
                <a:cubicBezTo>
                  <a:pt x="105" y="203"/>
                  <a:pt x="105" y="203"/>
                  <a:pt x="105" y="203"/>
                </a:cubicBezTo>
                <a:cubicBezTo>
                  <a:pt x="88" y="194"/>
                  <a:pt x="88" y="194"/>
                  <a:pt x="88" y="194"/>
                </a:cubicBezTo>
                <a:cubicBezTo>
                  <a:pt x="88" y="131"/>
                  <a:pt x="88" y="131"/>
                  <a:pt x="88" y="131"/>
                </a:cubicBezTo>
                <a:cubicBezTo>
                  <a:pt x="88" y="128"/>
                  <a:pt x="87" y="124"/>
                  <a:pt x="86" y="121"/>
                </a:cubicBezTo>
                <a:cubicBezTo>
                  <a:pt x="100" y="109"/>
                  <a:pt x="136" y="75"/>
                  <a:pt x="136" y="48"/>
                </a:cubicBezTo>
                <a:cubicBezTo>
                  <a:pt x="136" y="31"/>
                  <a:pt x="136" y="16"/>
                  <a:pt x="140" y="16"/>
                </a:cubicBezTo>
                <a:cubicBezTo>
                  <a:pt x="148" y="16"/>
                  <a:pt x="156" y="25"/>
                  <a:pt x="156" y="44"/>
                </a:cubicBezTo>
                <a:cubicBezTo>
                  <a:pt x="156" y="67"/>
                  <a:pt x="152" y="90"/>
                  <a:pt x="152" y="90"/>
                </a:cubicBezTo>
                <a:cubicBezTo>
                  <a:pt x="152" y="93"/>
                  <a:pt x="153" y="95"/>
                  <a:pt x="154" y="97"/>
                </a:cubicBezTo>
                <a:cubicBezTo>
                  <a:pt x="156" y="98"/>
                  <a:pt x="158" y="100"/>
                  <a:pt x="160" y="100"/>
                </a:cubicBezTo>
                <a:cubicBezTo>
                  <a:pt x="232" y="100"/>
                  <a:pt x="232" y="100"/>
                  <a:pt x="232" y="100"/>
                </a:cubicBezTo>
                <a:cubicBezTo>
                  <a:pt x="237" y="100"/>
                  <a:pt x="240" y="103"/>
                  <a:pt x="240" y="108"/>
                </a:cubicBezTo>
                <a:cubicBezTo>
                  <a:pt x="240" y="112"/>
                  <a:pt x="237" y="116"/>
                  <a:pt x="232" y="116"/>
                </a:cubicBezTo>
                <a:cubicBezTo>
                  <a:pt x="223" y="116"/>
                  <a:pt x="223" y="116"/>
                  <a:pt x="223" y="116"/>
                </a:cubicBezTo>
                <a:cubicBezTo>
                  <a:pt x="219" y="116"/>
                  <a:pt x="215" y="119"/>
                  <a:pt x="215" y="124"/>
                </a:cubicBezTo>
                <a:cubicBezTo>
                  <a:pt x="215" y="128"/>
                  <a:pt x="219" y="132"/>
                  <a:pt x="223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9" y="132"/>
                  <a:pt x="232" y="135"/>
                  <a:pt x="232" y="140"/>
                </a:cubicBezTo>
                <a:cubicBezTo>
                  <a:pt x="232" y="144"/>
                  <a:pt x="229" y="148"/>
                  <a:pt x="224" y="148"/>
                </a:cubicBezTo>
                <a:cubicBezTo>
                  <a:pt x="219" y="148"/>
                  <a:pt x="219" y="148"/>
                  <a:pt x="219" y="148"/>
                </a:cubicBezTo>
                <a:cubicBezTo>
                  <a:pt x="219" y="148"/>
                  <a:pt x="218" y="147"/>
                  <a:pt x="218" y="147"/>
                </a:cubicBezTo>
                <a:cubicBezTo>
                  <a:pt x="218" y="147"/>
                  <a:pt x="218" y="148"/>
                  <a:pt x="218" y="148"/>
                </a:cubicBezTo>
                <a:cubicBezTo>
                  <a:pt x="215" y="148"/>
                  <a:pt x="215" y="148"/>
                  <a:pt x="215" y="148"/>
                </a:cubicBezTo>
                <a:cubicBezTo>
                  <a:pt x="211" y="148"/>
                  <a:pt x="207" y="151"/>
                  <a:pt x="207" y="156"/>
                </a:cubicBezTo>
                <a:cubicBezTo>
                  <a:pt x="207" y="160"/>
                  <a:pt x="211" y="164"/>
                  <a:pt x="215" y="164"/>
                </a:cubicBezTo>
                <a:cubicBezTo>
                  <a:pt x="218" y="164"/>
                  <a:pt x="218" y="164"/>
                  <a:pt x="218" y="164"/>
                </a:cubicBezTo>
                <a:cubicBezTo>
                  <a:pt x="222" y="164"/>
                  <a:pt x="224" y="166"/>
                  <a:pt x="224" y="169"/>
                </a:cubicBezTo>
                <a:cubicBezTo>
                  <a:pt x="224" y="173"/>
                  <a:pt x="221" y="175"/>
                  <a:pt x="218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06" y="175"/>
                  <a:pt x="202" y="179"/>
                  <a:pt x="202" y="183"/>
                </a:cubicBezTo>
                <a:cubicBezTo>
                  <a:pt x="202" y="188"/>
                  <a:pt x="206" y="191"/>
                  <a:pt x="210" y="191"/>
                </a:cubicBezTo>
                <a:cubicBezTo>
                  <a:pt x="213" y="191"/>
                  <a:pt x="216" y="194"/>
                  <a:pt x="216" y="197"/>
                </a:cubicBezTo>
                <a:cubicBezTo>
                  <a:pt x="216" y="201"/>
                  <a:pt x="213" y="203"/>
                  <a:pt x="210" y="20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US" sz="840" b="1">
              <a:latin typeface="+mn-lt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184610C6-73F3-5886-61A6-68D01D2FF4C3}"/>
              </a:ext>
            </a:extLst>
          </p:cNvPr>
          <p:cNvGrpSpPr>
            <a:grpSpLocks noChangeAspect="1"/>
          </p:cNvGrpSpPr>
          <p:nvPr/>
        </p:nvGrpSpPr>
        <p:grpSpPr>
          <a:xfrm>
            <a:off x="3936317" y="2531394"/>
            <a:ext cx="433084" cy="412235"/>
            <a:chOff x="6719888" y="887413"/>
            <a:chExt cx="492125" cy="468312"/>
          </a:xfrm>
          <a:solidFill>
            <a:schemeClr val="bg1"/>
          </a:solidFill>
        </p:grpSpPr>
        <p:sp>
          <p:nvSpPr>
            <p:cNvPr id="16" name="Freeform 26">
              <a:extLst>
                <a:ext uri="{FF2B5EF4-FFF2-40B4-BE49-F238E27FC236}">
                  <a16:creationId xmlns:a16="http://schemas.microsoft.com/office/drawing/2014/main" id="{7FDF5152-480D-C381-C63A-84361E4D835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19888" y="887413"/>
              <a:ext cx="492125" cy="468312"/>
            </a:xfrm>
            <a:custGeom>
              <a:avLst/>
              <a:gdLst>
                <a:gd name="T0" fmla="*/ 117 w 128"/>
                <a:gd name="T1" fmla="*/ 0 h 122"/>
                <a:gd name="T2" fmla="*/ 11 w 128"/>
                <a:gd name="T3" fmla="*/ 0 h 122"/>
                <a:gd name="T4" fmla="*/ 0 w 128"/>
                <a:gd name="T5" fmla="*/ 11 h 122"/>
                <a:gd name="T6" fmla="*/ 0 w 128"/>
                <a:gd name="T7" fmla="*/ 93 h 122"/>
                <a:gd name="T8" fmla="*/ 11 w 128"/>
                <a:gd name="T9" fmla="*/ 104 h 122"/>
                <a:gd name="T10" fmla="*/ 43 w 128"/>
                <a:gd name="T11" fmla="*/ 104 h 122"/>
                <a:gd name="T12" fmla="*/ 38 w 128"/>
                <a:gd name="T13" fmla="*/ 110 h 122"/>
                <a:gd name="T14" fmla="*/ 35 w 128"/>
                <a:gd name="T15" fmla="*/ 113 h 122"/>
                <a:gd name="T16" fmla="*/ 34 w 128"/>
                <a:gd name="T17" fmla="*/ 118 h 122"/>
                <a:gd name="T18" fmla="*/ 42 w 128"/>
                <a:gd name="T19" fmla="*/ 122 h 122"/>
                <a:gd name="T20" fmla="*/ 86 w 128"/>
                <a:gd name="T21" fmla="*/ 122 h 122"/>
                <a:gd name="T22" fmla="*/ 94 w 128"/>
                <a:gd name="T23" fmla="*/ 118 h 122"/>
                <a:gd name="T24" fmla="*/ 94 w 128"/>
                <a:gd name="T25" fmla="*/ 113 h 122"/>
                <a:gd name="T26" fmla="*/ 91 w 128"/>
                <a:gd name="T27" fmla="*/ 110 h 122"/>
                <a:gd name="T28" fmla="*/ 85 w 128"/>
                <a:gd name="T29" fmla="*/ 104 h 122"/>
                <a:gd name="T30" fmla="*/ 117 w 128"/>
                <a:gd name="T31" fmla="*/ 104 h 122"/>
                <a:gd name="T32" fmla="*/ 128 w 128"/>
                <a:gd name="T33" fmla="*/ 93 h 122"/>
                <a:gd name="T34" fmla="*/ 128 w 128"/>
                <a:gd name="T35" fmla="*/ 11 h 122"/>
                <a:gd name="T36" fmla="*/ 117 w 128"/>
                <a:gd name="T37" fmla="*/ 0 h 122"/>
                <a:gd name="T38" fmla="*/ 88 w 128"/>
                <a:gd name="T39" fmla="*/ 113 h 122"/>
                <a:gd name="T40" fmla="*/ 90 w 128"/>
                <a:gd name="T41" fmla="*/ 116 h 122"/>
                <a:gd name="T42" fmla="*/ 90 w 128"/>
                <a:gd name="T43" fmla="*/ 116 h 122"/>
                <a:gd name="T44" fmla="*/ 86 w 128"/>
                <a:gd name="T45" fmla="*/ 118 h 122"/>
                <a:gd name="T46" fmla="*/ 42 w 128"/>
                <a:gd name="T47" fmla="*/ 118 h 122"/>
                <a:gd name="T48" fmla="*/ 38 w 128"/>
                <a:gd name="T49" fmla="*/ 116 h 122"/>
                <a:gd name="T50" fmla="*/ 38 w 128"/>
                <a:gd name="T51" fmla="*/ 116 h 122"/>
                <a:gd name="T52" fmla="*/ 38 w 128"/>
                <a:gd name="T53" fmla="*/ 116 h 122"/>
                <a:gd name="T54" fmla="*/ 40 w 128"/>
                <a:gd name="T55" fmla="*/ 113 h 122"/>
                <a:gd name="T56" fmla="*/ 48 w 128"/>
                <a:gd name="T57" fmla="*/ 104 h 122"/>
                <a:gd name="T58" fmla="*/ 80 w 128"/>
                <a:gd name="T59" fmla="*/ 104 h 122"/>
                <a:gd name="T60" fmla="*/ 88 w 128"/>
                <a:gd name="T61" fmla="*/ 113 h 122"/>
                <a:gd name="T62" fmla="*/ 120 w 128"/>
                <a:gd name="T63" fmla="*/ 93 h 122"/>
                <a:gd name="T64" fmla="*/ 117 w 128"/>
                <a:gd name="T65" fmla="*/ 96 h 122"/>
                <a:gd name="T66" fmla="*/ 11 w 128"/>
                <a:gd name="T67" fmla="*/ 96 h 122"/>
                <a:gd name="T68" fmla="*/ 8 w 128"/>
                <a:gd name="T69" fmla="*/ 93 h 122"/>
                <a:gd name="T70" fmla="*/ 8 w 128"/>
                <a:gd name="T71" fmla="*/ 11 h 122"/>
                <a:gd name="T72" fmla="*/ 11 w 128"/>
                <a:gd name="T73" fmla="*/ 8 h 122"/>
                <a:gd name="T74" fmla="*/ 117 w 128"/>
                <a:gd name="T75" fmla="*/ 8 h 122"/>
                <a:gd name="T76" fmla="*/ 120 w 128"/>
                <a:gd name="T77" fmla="*/ 11 h 122"/>
                <a:gd name="T78" fmla="*/ 120 w 128"/>
                <a:gd name="T79" fmla="*/ 93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8" h="122">
                  <a:moveTo>
                    <a:pt x="117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99"/>
                    <a:pt x="5" y="104"/>
                    <a:pt x="11" y="104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42" y="106"/>
                    <a:pt x="39" y="109"/>
                    <a:pt x="38" y="110"/>
                  </a:cubicBezTo>
                  <a:cubicBezTo>
                    <a:pt x="36" y="111"/>
                    <a:pt x="35" y="112"/>
                    <a:pt x="35" y="113"/>
                  </a:cubicBezTo>
                  <a:cubicBezTo>
                    <a:pt x="34" y="114"/>
                    <a:pt x="33" y="116"/>
                    <a:pt x="34" y="118"/>
                  </a:cubicBezTo>
                  <a:cubicBezTo>
                    <a:pt x="35" y="120"/>
                    <a:pt x="37" y="122"/>
                    <a:pt x="42" y="122"/>
                  </a:cubicBezTo>
                  <a:cubicBezTo>
                    <a:pt x="86" y="122"/>
                    <a:pt x="86" y="122"/>
                    <a:pt x="86" y="122"/>
                  </a:cubicBezTo>
                  <a:cubicBezTo>
                    <a:pt x="91" y="122"/>
                    <a:pt x="93" y="120"/>
                    <a:pt x="94" y="118"/>
                  </a:cubicBezTo>
                  <a:cubicBezTo>
                    <a:pt x="95" y="116"/>
                    <a:pt x="95" y="114"/>
                    <a:pt x="94" y="113"/>
                  </a:cubicBezTo>
                  <a:cubicBezTo>
                    <a:pt x="93" y="112"/>
                    <a:pt x="92" y="111"/>
                    <a:pt x="91" y="110"/>
                  </a:cubicBezTo>
                  <a:cubicBezTo>
                    <a:pt x="89" y="109"/>
                    <a:pt x="87" y="106"/>
                    <a:pt x="85" y="104"/>
                  </a:cubicBezTo>
                  <a:cubicBezTo>
                    <a:pt x="117" y="104"/>
                    <a:pt x="117" y="104"/>
                    <a:pt x="117" y="104"/>
                  </a:cubicBezTo>
                  <a:cubicBezTo>
                    <a:pt x="123" y="104"/>
                    <a:pt x="128" y="99"/>
                    <a:pt x="128" y="93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28" y="5"/>
                    <a:pt x="123" y="0"/>
                    <a:pt x="117" y="0"/>
                  </a:cubicBezTo>
                  <a:close/>
                  <a:moveTo>
                    <a:pt x="88" y="113"/>
                  </a:moveTo>
                  <a:cubicBezTo>
                    <a:pt x="89" y="114"/>
                    <a:pt x="90" y="115"/>
                    <a:pt x="90" y="116"/>
                  </a:cubicBezTo>
                  <a:cubicBezTo>
                    <a:pt x="90" y="116"/>
                    <a:pt x="91" y="116"/>
                    <a:pt x="90" y="116"/>
                  </a:cubicBezTo>
                  <a:cubicBezTo>
                    <a:pt x="90" y="117"/>
                    <a:pt x="88" y="118"/>
                    <a:pt x="86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0" y="118"/>
                    <a:pt x="38" y="117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5"/>
                    <a:pt x="39" y="114"/>
                    <a:pt x="40" y="113"/>
                  </a:cubicBezTo>
                  <a:cubicBezTo>
                    <a:pt x="44" y="109"/>
                    <a:pt x="47" y="106"/>
                    <a:pt x="48" y="104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82" y="106"/>
                    <a:pt x="84" y="109"/>
                    <a:pt x="88" y="113"/>
                  </a:cubicBezTo>
                  <a:close/>
                  <a:moveTo>
                    <a:pt x="120" y="93"/>
                  </a:moveTo>
                  <a:cubicBezTo>
                    <a:pt x="120" y="95"/>
                    <a:pt x="119" y="96"/>
                    <a:pt x="117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9" y="96"/>
                    <a:pt x="8" y="95"/>
                    <a:pt x="8" y="93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9"/>
                    <a:pt x="9" y="8"/>
                    <a:pt x="11" y="8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9" y="8"/>
                    <a:pt x="120" y="9"/>
                    <a:pt x="120" y="11"/>
                  </a:cubicBezTo>
                  <a:lnTo>
                    <a:pt x="120" y="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7" name="Freeform 27">
              <a:extLst>
                <a:ext uri="{FF2B5EF4-FFF2-40B4-BE49-F238E27FC236}">
                  <a16:creationId xmlns:a16="http://schemas.microsoft.com/office/drawing/2014/main" id="{08A37C86-3A70-9058-A820-BAC3A886B62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81801" y="947738"/>
              <a:ext cx="368300" cy="247650"/>
            </a:xfrm>
            <a:custGeom>
              <a:avLst/>
              <a:gdLst>
                <a:gd name="T0" fmla="*/ 89 w 96"/>
                <a:gd name="T1" fmla="*/ 0 h 64"/>
                <a:gd name="T2" fmla="*/ 7 w 96"/>
                <a:gd name="T3" fmla="*/ 0 h 64"/>
                <a:gd name="T4" fmla="*/ 0 w 96"/>
                <a:gd name="T5" fmla="*/ 7 h 64"/>
                <a:gd name="T6" fmla="*/ 0 w 96"/>
                <a:gd name="T7" fmla="*/ 57 h 64"/>
                <a:gd name="T8" fmla="*/ 7 w 96"/>
                <a:gd name="T9" fmla="*/ 64 h 64"/>
                <a:gd name="T10" fmla="*/ 89 w 96"/>
                <a:gd name="T11" fmla="*/ 64 h 64"/>
                <a:gd name="T12" fmla="*/ 96 w 96"/>
                <a:gd name="T13" fmla="*/ 57 h 64"/>
                <a:gd name="T14" fmla="*/ 96 w 96"/>
                <a:gd name="T15" fmla="*/ 7 h 64"/>
                <a:gd name="T16" fmla="*/ 89 w 96"/>
                <a:gd name="T17" fmla="*/ 0 h 64"/>
                <a:gd name="T18" fmla="*/ 92 w 96"/>
                <a:gd name="T19" fmla="*/ 57 h 64"/>
                <a:gd name="T20" fmla="*/ 89 w 96"/>
                <a:gd name="T21" fmla="*/ 60 h 64"/>
                <a:gd name="T22" fmla="*/ 7 w 96"/>
                <a:gd name="T23" fmla="*/ 60 h 64"/>
                <a:gd name="T24" fmla="*/ 4 w 96"/>
                <a:gd name="T25" fmla="*/ 57 h 64"/>
                <a:gd name="T26" fmla="*/ 4 w 96"/>
                <a:gd name="T27" fmla="*/ 7 h 64"/>
                <a:gd name="T28" fmla="*/ 7 w 96"/>
                <a:gd name="T29" fmla="*/ 4 h 64"/>
                <a:gd name="T30" fmla="*/ 89 w 96"/>
                <a:gd name="T31" fmla="*/ 4 h 64"/>
                <a:gd name="T32" fmla="*/ 92 w 96"/>
                <a:gd name="T33" fmla="*/ 7 h 64"/>
                <a:gd name="T34" fmla="*/ 92 w 96"/>
                <a:gd name="T35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6" h="64">
                  <a:moveTo>
                    <a:pt x="89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1"/>
                    <a:pt x="3" y="64"/>
                    <a:pt x="7" y="64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93" y="64"/>
                    <a:pt x="96" y="61"/>
                    <a:pt x="96" y="5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3"/>
                    <a:pt x="93" y="0"/>
                    <a:pt x="89" y="0"/>
                  </a:cubicBezTo>
                  <a:close/>
                  <a:moveTo>
                    <a:pt x="92" y="57"/>
                  </a:moveTo>
                  <a:cubicBezTo>
                    <a:pt x="92" y="59"/>
                    <a:pt x="91" y="60"/>
                    <a:pt x="89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5" y="60"/>
                    <a:pt x="4" y="59"/>
                    <a:pt x="4" y="5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5" y="4"/>
                    <a:pt x="7" y="4"/>
                  </a:cubicBezTo>
                  <a:cubicBezTo>
                    <a:pt x="89" y="4"/>
                    <a:pt x="89" y="4"/>
                    <a:pt x="89" y="4"/>
                  </a:cubicBezTo>
                  <a:cubicBezTo>
                    <a:pt x="91" y="4"/>
                    <a:pt x="92" y="5"/>
                    <a:pt x="92" y="7"/>
                  </a:cubicBezTo>
                  <a:lnTo>
                    <a:pt x="92" y="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8" name="Freeform 28">
              <a:extLst>
                <a:ext uri="{FF2B5EF4-FFF2-40B4-BE49-F238E27FC236}">
                  <a16:creationId xmlns:a16="http://schemas.microsoft.com/office/drawing/2014/main" id="{33B6F3CC-90C6-5E18-19BA-55AD016B6D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43726" y="1201738"/>
              <a:ext cx="46038" cy="47625"/>
            </a:xfrm>
            <a:custGeom>
              <a:avLst/>
              <a:gdLst>
                <a:gd name="T0" fmla="*/ 6 w 12"/>
                <a:gd name="T1" fmla="*/ 0 h 12"/>
                <a:gd name="T2" fmla="*/ 0 w 12"/>
                <a:gd name="T3" fmla="*/ 6 h 12"/>
                <a:gd name="T4" fmla="*/ 6 w 12"/>
                <a:gd name="T5" fmla="*/ 12 h 12"/>
                <a:gd name="T6" fmla="*/ 12 w 12"/>
                <a:gd name="T7" fmla="*/ 6 h 12"/>
                <a:gd name="T8" fmla="*/ 6 w 12"/>
                <a:gd name="T9" fmla="*/ 0 h 12"/>
                <a:gd name="T10" fmla="*/ 6 w 12"/>
                <a:gd name="T11" fmla="*/ 8 h 12"/>
                <a:gd name="T12" fmla="*/ 4 w 12"/>
                <a:gd name="T13" fmla="*/ 6 h 12"/>
                <a:gd name="T14" fmla="*/ 6 w 12"/>
                <a:gd name="T15" fmla="*/ 4 h 12"/>
                <a:gd name="T16" fmla="*/ 8 w 12"/>
                <a:gd name="T17" fmla="*/ 6 h 12"/>
                <a:gd name="T18" fmla="*/ 6 w 12"/>
                <a:gd name="T1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9" y="12"/>
                    <a:pt x="12" y="9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lose/>
                  <a:moveTo>
                    <a:pt x="6" y="8"/>
                  </a:moveTo>
                  <a:cubicBezTo>
                    <a:pt x="5" y="8"/>
                    <a:pt x="4" y="7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7" y="4"/>
                    <a:pt x="8" y="5"/>
                    <a:pt x="8" y="6"/>
                  </a:cubicBezTo>
                  <a:cubicBezTo>
                    <a:pt x="8" y="7"/>
                    <a:pt x="7" y="8"/>
                    <a:pt x="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9" name="Freeform 29">
              <a:extLst>
                <a:ext uri="{FF2B5EF4-FFF2-40B4-BE49-F238E27FC236}">
                  <a16:creationId xmlns:a16="http://schemas.microsoft.com/office/drawing/2014/main" id="{2D03FCA1-73C5-1E0D-4D55-E04ECC178382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1813" y="1044575"/>
              <a:ext cx="61913" cy="65087"/>
            </a:xfrm>
            <a:custGeom>
              <a:avLst/>
              <a:gdLst>
                <a:gd name="T0" fmla="*/ 0 w 39"/>
                <a:gd name="T1" fmla="*/ 24 h 41"/>
                <a:gd name="T2" fmla="*/ 39 w 39"/>
                <a:gd name="T3" fmla="*/ 41 h 41"/>
                <a:gd name="T4" fmla="*/ 39 w 39"/>
                <a:gd name="T5" fmla="*/ 32 h 41"/>
                <a:gd name="T6" fmla="*/ 12 w 39"/>
                <a:gd name="T7" fmla="*/ 19 h 41"/>
                <a:gd name="T8" fmla="*/ 39 w 39"/>
                <a:gd name="T9" fmla="*/ 10 h 41"/>
                <a:gd name="T10" fmla="*/ 39 w 39"/>
                <a:gd name="T11" fmla="*/ 0 h 41"/>
                <a:gd name="T12" fmla="*/ 0 w 39"/>
                <a:gd name="T13" fmla="*/ 17 h 41"/>
                <a:gd name="T14" fmla="*/ 0 w 39"/>
                <a:gd name="T15" fmla="*/ 2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41">
                  <a:moveTo>
                    <a:pt x="0" y="24"/>
                  </a:moveTo>
                  <a:lnTo>
                    <a:pt x="39" y="41"/>
                  </a:lnTo>
                  <a:lnTo>
                    <a:pt x="39" y="32"/>
                  </a:lnTo>
                  <a:lnTo>
                    <a:pt x="12" y="19"/>
                  </a:lnTo>
                  <a:lnTo>
                    <a:pt x="39" y="10"/>
                  </a:lnTo>
                  <a:lnTo>
                    <a:pt x="39" y="0"/>
                  </a:lnTo>
                  <a:lnTo>
                    <a:pt x="0" y="17"/>
                  </a:lnTo>
                  <a:lnTo>
                    <a:pt x="0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0" name="Freeform 30">
              <a:extLst>
                <a:ext uri="{FF2B5EF4-FFF2-40B4-BE49-F238E27FC236}">
                  <a16:creationId xmlns:a16="http://schemas.microsoft.com/office/drawing/2014/main" id="{1293BD24-F111-D651-95ED-B23E1367ABA8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0076" y="1033463"/>
              <a:ext cx="31750" cy="87312"/>
            </a:xfrm>
            <a:custGeom>
              <a:avLst/>
              <a:gdLst>
                <a:gd name="T0" fmla="*/ 7 w 8"/>
                <a:gd name="T1" fmla="*/ 0 h 23"/>
                <a:gd name="T2" fmla="*/ 5 w 8"/>
                <a:gd name="T3" fmla="*/ 0 h 23"/>
                <a:gd name="T4" fmla="*/ 5 w 8"/>
                <a:gd name="T5" fmla="*/ 2 h 23"/>
                <a:gd name="T6" fmla="*/ 0 w 8"/>
                <a:gd name="T7" fmla="*/ 20 h 23"/>
                <a:gd name="T8" fmla="*/ 0 w 8"/>
                <a:gd name="T9" fmla="*/ 22 h 23"/>
                <a:gd name="T10" fmla="*/ 2 w 8"/>
                <a:gd name="T11" fmla="*/ 23 h 23"/>
                <a:gd name="T12" fmla="*/ 3 w 8"/>
                <a:gd name="T13" fmla="*/ 23 h 23"/>
                <a:gd name="T14" fmla="*/ 3 w 8"/>
                <a:gd name="T15" fmla="*/ 22 h 23"/>
                <a:gd name="T16" fmla="*/ 4 w 8"/>
                <a:gd name="T17" fmla="*/ 21 h 23"/>
                <a:gd name="T18" fmla="*/ 8 w 8"/>
                <a:gd name="T19" fmla="*/ 3 h 23"/>
                <a:gd name="T20" fmla="*/ 8 w 8"/>
                <a:gd name="T21" fmla="*/ 1 h 23"/>
                <a:gd name="T22" fmla="*/ 8 w 8"/>
                <a:gd name="T23" fmla="*/ 0 h 23"/>
                <a:gd name="T24" fmla="*/ 7 w 8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3">
                  <a:moveTo>
                    <a:pt x="7" y="0"/>
                  </a:move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1"/>
                    <a:pt x="5" y="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0" y="23"/>
                    <a:pt x="1" y="23"/>
                    <a:pt x="2" y="23"/>
                  </a:cubicBezTo>
                  <a:cubicBezTo>
                    <a:pt x="2" y="23"/>
                    <a:pt x="2" y="23"/>
                    <a:pt x="3" y="23"/>
                  </a:cubicBezTo>
                  <a:cubicBezTo>
                    <a:pt x="3" y="23"/>
                    <a:pt x="3" y="22"/>
                    <a:pt x="3" y="22"/>
                  </a:cubicBezTo>
                  <a:cubicBezTo>
                    <a:pt x="3" y="22"/>
                    <a:pt x="3" y="21"/>
                    <a:pt x="4" y="2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1" name="Freeform 31">
              <a:extLst>
                <a:ext uri="{FF2B5EF4-FFF2-40B4-BE49-F238E27FC236}">
                  <a16:creationId xmlns:a16="http://schemas.microsoft.com/office/drawing/2014/main" id="{F3465EA1-278B-BE95-A8D0-76F6BB43DDCE}"/>
                </a:ext>
              </a:extLst>
            </p:cNvPr>
            <p:cNvSpPr>
              <a:spLocks/>
            </p:cNvSpPr>
            <p:nvPr/>
          </p:nvSpPr>
          <p:spPr bwMode="auto">
            <a:xfrm>
              <a:off x="6989763" y="1044575"/>
              <a:ext cx="60325" cy="65087"/>
            </a:xfrm>
            <a:custGeom>
              <a:avLst/>
              <a:gdLst>
                <a:gd name="T0" fmla="*/ 0 w 38"/>
                <a:gd name="T1" fmla="*/ 10 h 41"/>
                <a:gd name="T2" fmla="*/ 26 w 38"/>
                <a:gd name="T3" fmla="*/ 19 h 41"/>
                <a:gd name="T4" fmla="*/ 0 w 38"/>
                <a:gd name="T5" fmla="*/ 32 h 41"/>
                <a:gd name="T6" fmla="*/ 0 w 38"/>
                <a:gd name="T7" fmla="*/ 41 h 41"/>
                <a:gd name="T8" fmla="*/ 38 w 38"/>
                <a:gd name="T9" fmla="*/ 24 h 41"/>
                <a:gd name="T10" fmla="*/ 38 w 38"/>
                <a:gd name="T11" fmla="*/ 17 h 41"/>
                <a:gd name="T12" fmla="*/ 0 w 38"/>
                <a:gd name="T13" fmla="*/ 0 h 41"/>
                <a:gd name="T14" fmla="*/ 0 w 38"/>
                <a:gd name="T15" fmla="*/ 1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41">
                  <a:moveTo>
                    <a:pt x="0" y="10"/>
                  </a:moveTo>
                  <a:lnTo>
                    <a:pt x="26" y="19"/>
                  </a:lnTo>
                  <a:lnTo>
                    <a:pt x="0" y="32"/>
                  </a:lnTo>
                  <a:lnTo>
                    <a:pt x="0" y="41"/>
                  </a:lnTo>
                  <a:lnTo>
                    <a:pt x="38" y="24"/>
                  </a:lnTo>
                  <a:lnTo>
                    <a:pt x="38" y="17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2D2FF3DA-8CE1-40B4-0263-2D8E00BE1A33}"/>
              </a:ext>
            </a:extLst>
          </p:cNvPr>
          <p:cNvGrpSpPr/>
          <p:nvPr/>
        </p:nvGrpSpPr>
        <p:grpSpPr>
          <a:xfrm>
            <a:off x="2471788" y="1862438"/>
            <a:ext cx="632472" cy="426508"/>
            <a:chOff x="6716027" y="5411634"/>
            <a:chExt cx="583964" cy="393797"/>
          </a:xfrm>
          <a:solidFill>
            <a:schemeClr val="bg1"/>
          </a:solidFill>
        </p:grpSpPr>
        <p:sp>
          <p:nvSpPr>
            <p:cNvPr id="23" name="Freeform 17">
              <a:extLst>
                <a:ext uri="{FF2B5EF4-FFF2-40B4-BE49-F238E27FC236}">
                  <a16:creationId xmlns:a16="http://schemas.microsoft.com/office/drawing/2014/main" id="{7C8A91E0-C1B3-6E51-2C3A-6B386E61E8CF}"/>
                </a:ext>
              </a:extLst>
            </p:cNvPr>
            <p:cNvSpPr>
              <a:spLocks noEditPoints="1"/>
            </p:cNvSpPr>
            <p:nvPr/>
          </p:nvSpPr>
          <p:spPr bwMode="auto">
            <a:xfrm rot="2700000">
              <a:off x="6832931" y="5294730"/>
              <a:ext cx="350155" cy="583964"/>
            </a:xfrm>
            <a:custGeom>
              <a:avLst/>
              <a:gdLst>
                <a:gd name="T0" fmla="*/ 50 w 184"/>
                <a:gd name="T1" fmla="*/ 310 h 310"/>
                <a:gd name="T2" fmla="*/ 32 w 184"/>
                <a:gd name="T3" fmla="*/ 282 h 310"/>
                <a:gd name="T4" fmla="*/ 10 w 184"/>
                <a:gd name="T5" fmla="*/ 199 h 310"/>
                <a:gd name="T6" fmla="*/ 39 w 184"/>
                <a:gd name="T7" fmla="*/ 171 h 310"/>
                <a:gd name="T8" fmla="*/ 30 w 184"/>
                <a:gd name="T9" fmla="*/ 116 h 310"/>
                <a:gd name="T10" fmla="*/ 36 w 184"/>
                <a:gd name="T11" fmla="*/ 73 h 310"/>
                <a:gd name="T12" fmla="*/ 36 w 184"/>
                <a:gd name="T13" fmla="*/ 72 h 310"/>
                <a:gd name="T14" fmla="*/ 92 w 184"/>
                <a:gd name="T15" fmla="*/ 0 h 310"/>
                <a:gd name="T16" fmla="*/ 148 w 184"/>
                <a:gd name="T17" fmla="*/ 72 h 310"/>
                <a:gd name="T18" fmla="*/ 148 w 184"/>
                <a:gd name="T19" fmla="*/ 73 h 310"/>
                <a:gd name="T20" fmla="*/ 155 w 184"/>
                <a:gd name="T21" fmla="*/ 116 h 310"/>
                <a:gd name="T22" fmla="*/ 145 w 184"/>
                <a:gd name="T23" fmla="*/ 171 h 310"/>
                <a:gd name="T24" fmla="*/ 174 w 184"/>
                <a:gd name="T25" fmla="*/ 199 h 310"/>
                <a:gd name="T26" fmla="*/ 153 w 184"/>
                <a:gd name="T27" fmla="*/ 282 h 310"/>
                <a:gd name="T28" fmla="*/ 134 w 184"/>
                <a:gd name="T29" fmla="*/ 310 h 310"/>
                <a:gd name="T30" fmla="*/ 134 w 184"/>
                <a:gd name="T31" fmla="*/ 276 h 310"/>
                <a:gd name="T32" fmla="*/ 118 w 184"/>
                <a:gd name="T33" fmla="*/ 239 h 310"/>
                <a:gd name="T34" fmla="*/ 118 w 184"/>
                <a:gd name="T35" fmla="*/ 240 h 310"/>
                <a:gd name="T36" fmla="*/ 115 w 184"/>
                <a:gd name="T37" fmla="*/ 246 h 310"/>
                <a:gd name="T38" fmla="*/ 108 w 184"/>
                <a:gd name="T39" fmla="*/ 245 h 310"/>
                <a:gd name="T40" fmla="*/ 76 w 184"/>
                <a:gd name="T41" fmla="*/ 245 h 310"/>
                <a:gd name="T42" fmla="*/ 69 w 184"/>
                <a:gd name="T43" fmla="*/ 246 h 310"/>
                <a:gd name="T44" fmla="*/ 66 w 184"/>
                <a:gd name="T45" fmla="*/ 240 h 310"/>
                <a:gd name="T46" fmla="*/ 66 w 184"/>
                <a:gd name="T47" fmla="*/ 239 h 310"/>
                <a:gd name="T48" fmla="*/ 50 w 184"/>
                <a:gd name="T49" fmla="*/ 276 h 310"/>
                <a:gd name="T50" fmla="*/ 50 w 184"/>
                <a:gd name="T51" fmla="*/ 310 h 310"/>
                <a:gd name="T52" fmla="*/ 55 w 184"/>
                <a:gd name="T53" fmla="*/ 79 h 310"/>
                <a:gd name="T54" fmla="*/ 50 w 184"/>
                <a:gd name="T55" fmla="*/ 116 h 310"/>
                <a:gd name="T56" fmla="*/ 61 w 184"/>
                <a:gd name="T57" fmla="*/ 174 h 310"/>
                <a:gd name="T58" fmla="*/ 64 w 184"/>
                <a:gd name="T59" fmla="*/ 184 h 310"/>
                <a:gd name="T60" fmla="*/ 54 w 184"/>
                <a:gd name="T61" fmla="*/ 187 h 310"/>
                <a:gd name="T62" fmla="*/ 29 w 184"/>
                <a:gd name="T63" fmla="*/ 205 h 310"/>
                <a:gd name="T64" fmla="*/ 36 w 184"/>
                <a:gd name="T65" fmla="*/ 247 h 310"/>
                <a:gd name="T66" fmla="*/ 65 w 184"/>
                <a:gd name="T67" fmla="*/ 215 h 310"/>
                <a:gd name="T68" fmla="*/ 74 w 184"/>
                <a:gd name="T69" fmla="*/ 209 h 310"/>
                <a:gd name="T70" fmla="*/ 79 w 184"/>
                <a:gd name="T71" fmla="*/ 219 h 310"/>
                <a:gd name="T72" fmla="*/ 82 w 184"/>
                <a:gd name="T73" fmla="*/ 225 h 310"/>
                <a:gd name="T74" fmla="*/ 103 w 184"/>
                <a:gd name="T75" fmla="*/ 225 h 310"/>
                <a:gd name="T76" fmla="*/ 105 w 184"/>
                <a:gd name="T77" fmla="*/ 219 h 310"/>
                <a:gd name="T78" fmla="*/ 110 w 184"/>
                <a:gd name="T79" fmla="*/ 209 h 310"/>
                <a:gd name="T80" fmla="*/ 120 w 184"/>
                <a:gd name="T81" fmla="*/ 215 h 310"/>
                <a:gd name="T82" fmla="*/ 148 w 184"/>
                <a:gd name="T83" fmla="*/ 247 h 310"/>
                <a:gd name="T84" fmla="*/ 155 w 184"/>
                <a:gd name="T85" fmla="*/ 205 h 310"/>
                <a:gd name="T86" fmla="*/ 130 w 184"/>
                <a:gd name="T87" fmla="*/ 187 h 310"/>
                <a:gd name="T88" fmla="*/ 120 w 184"/>
                <a:gd name="T89" fmla="*/ 184 h 310"/>
                <a:gd name="T90" fmla="*/ 123 w 184"/>
                <a:gd name="T91" fmla="*/ 174 h 310"/>
                <a:gd name="T92" fmla="*/ 135 w 184"/>
                <a:gd name="T93" fmla="*/ 116 h 310"/>
                <a:gd name="T94" fmla="*/ 129 w 184"/>
                <a:gd name="T95" fmla="*/ 79 h 310"/>
                <a:gd name="T96" fmla="*/ 92 w 184"/>
                <a:gd name="T97" fmla="*/ 21 h 310"/>
                <a:gd name="T98" fmla="*/ 55 w 184"/>
                <a:gd name="T99" fmla="*/ 79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84" h="310">
                  <a:moveTo>
                    <a:pt x="50" y="310"/>
                  </a:moveTo>
                  <a:cubicBezTo>
                    <a:pt x="32" y="282"/>
                    <a:pt x="32" y="282"/>
                    <a:pt x="32" y="282"/>
                  </a:cubicBezTo>
                  <a:cubicBezTo>
                    <a:pt x="28" y="276"/>
                    <a:pt x="0" y="230"/>
                    <a:pt x="10" y="199"/>
                  </a:cubicBezTo>
                  <a:cubicBezTo>
                    <a:pt x="14" y="187"/>
                    <a:pt x="24" y="178"/>
                    <a:pt x="39" y="171"/>
                  </a:cubicBezTo>
                  <a:cubicBezTo>
                    <a:pt x="33" y="151"/>
                    <a:pt x="30" y="132"/>
                    <a:pt x="30" y="116"/>
                  </a:cubicBezTo>
                  <a:cubicBezTo>
                    <a:pt x="30" y="102"/>
                    <a:pt x="32" y="87"/>
                    <a:pt x="36" y="73"/>
                  </a:cubicBezTo>
                  <a:cubicBezTo>
                    <a:pt x="36" y="72"/>
                    <a:pt x="36" y="72"/>
                    <a:pt x="36" y="72"/>
                  </a:cubicBezTo>
                  <a:cubicBezTo>
                    <a:pt x="50" y="35"/>
                    <a:pt x="77" y="0"/>
                    <a:pt x="92" y="0"/>
                  </a:cubicBezTo>
                  <a:cubicBezTo>
                    <a:pt x="107" y="0"/>
                    <a:pt x="134" y="35"/>
                    <a:pt x="148" y="72"/>
                  </a:cubicBezTo>
                  <a:cubicBezTo>
                    <a:pt x="148" y="73"/>
                    <a:pt x="148" y="73"/>
                    <a:pt x="148" y="73"/>
                  </a:cubicBezTo>
                  <a:cubicBezTo>
                    <a:pt x="152" y="87"/>
                    <a:pt x="155" y="102"/>
                    <a:pt x="155" y="116"/>
                  </a:cubicBezTo>
                  <a:cubicBezTo>
                    <a:pt x="155" y="132"/>
                    <a:pt x="152" y="151"/>
                    <a:pt x="145" y="171"/>
                  </a:cubicBezTo>
                  <a:cubicBezTo>
                    <a:pt x="160" y="178"/>
                    <a:pt x="170" y="187"/>
                    <a:pt x="174" y="199"/>
                  </a:cubicBezTo>
                  <a:cubicBezTo>
                    <a:pt x="184" y="230"/>
                    <a:pt x="156" y="276"/>
                    <a:pt x="153" y="282"/>
                  </a:cubicBezTo>
                  <a:cubicBezTo>
                    <a:pt x="134" y="310"/>
                    <a:pt x="134" y="310"/>
                    <a:pt x="134" y="310"/>
                  </a:cubicBezTo>
                  <a:cubicBezTo>
                    <a:pt x="134" y="276"/>
                    <a:pt x="134" y="276"/>
                    <a:pt x="134" y="276"/>
                  </a:cubicBezTo>
                  <a:cubicBezTo>
                    <a:pt x="134" y="262"/>
                    <a:pt x="128" y="248"/>
                    <a:pt x="118" y="239"/>
                  </a:cubicBezTo>
                  <a:cubicBezTo>
                    <a:pt x="118" y="239"/>
                    <a:pt x="118" y="239"/>
                    <a:pt x="118" y="240"/>
                  </a:cubicBezTo>
                  <a:cubicBezTo>
                    <a:pt x="115" y="246"/>
                    <a:pt x="115" y="246"/>
                    <a:pt x="115" y="246"/>
                  </a:cubicBezTo>
                  <a:cubicBezTo>
                    <a:pt x="108" y="245"/>
                    <a:pt x="108" y="245"/>
                    <a:pt x="108" y="245"/>
                  </a:cubicBezTo>
                  <a:cubicBezTo>
                    <a:pt x="98" y="245"/>
                    <a:pt x="87" y="245"/>
                    <a:pt x="76" y="245"/>
                  </a:cubicBezTo>
                  <a:cubicBezTo>
                    <a:pt x="69" y="246"/>
                    <a:pt x="69" y="246"/>
                    <a:pt x="69" y="246"/>
                  </a:cubicBezTo>
                  <a:cubicBezTo>
                    <a:pt x="66" y="240"/>
                    <a:pt x="66" y="240"/>
                    <a:pt x="66" y="240"/>
                  </a:cubicBezTo>
                  <a:cubicBezTo>
                    <a:pt x="66" y="239"/>
                    <a:pt x="66" y="239"/>
                    <a:pt x="66" y="239"/>
                  </a:cubicBezTo>
                  <a:cubicBezTo>
                    <a:pt x="56" y="249"/>
                    <a:pt x="50" y="262"/>
                    <a:pt x="50" y="276"/>
                  </a:cubicBezTo>
                  <a:lnTo>
                    <a:pt x="50" y="310"/>
                  </a:lnTo>
                  <a:close/>
                  <a:moveTo>
                    <a:pt x="55" y="79"/>
                  </a:moveTo>
                  <a:cubicBezTo>
                    <a:pt x="52" y="91"/>
                    <a:pt x="50" y="104"/>
                    <a:pt x="50" y="116"/>
                  </a:cubicBezTo>
                  <a:cubicBezTo>
                    <a:pt x="50" y="132"/>
                    <a:pt x="53" y="152"/>
                    <a:pt x="61" y="174"/>
                  </a:cubicBezTo>
                  <a:cubicBezTo>
                    <a:pt x="64" y="184"/>
                    <a:pt x="64" y="184"/>
                    <a:pt x="64" y="184"/>
                  </a:cubicBezTo>
                  <a:cubicBezTo>
                    <a:pt x="54" y="187"/>
                    <a:pt x="54" y="187"/>
                    <a:pt x="54" y="187"/>
                  </a:cubicBezTo>
                  <a:cubicBezTo>
                    <a:pt x="45" y="190"/>
                    <a:pt x="33" y="196"/>
                    <a:pt x="29" y="205"/>
                  </a:cubicBezTo>
                  <a:cubicBezTo>
                    <a:pt x="26" y="216"/>
                    <a:pt x="30" y="233"/>
                    <a:pt x="36" y="247"/>
                  </a:cubicBezTo>
                  <a:cubicBezTo>
                    <a:pt x="42" y="234"/>
                    <a:pt x="52" y="223"/>
                    <a:pt x="65" y="215"/>
                  </a:cubicBezTo>
                  <a:cubicBezTo>
                    <a:pt x="74" y="209"/>
                    <a:pt x="74" y="209"/>
                    <a:pt x="74" y="209"/>
                  </a:cubicBezTo>
                  <a:cubicBezTo>
                    <a:pt x="79" y="219"/>
                    <a:pt x="79" y="219"/>
                    <a:pt x="79" y="219"/>
                  </a:cubicBezTo>
                  <a:cubicBezTo>
                    <a:pt x="80" y="221"/>
                    <a:pt x="81" y="223"/>
                    <a:pt x="82" y="225"/>
                  </a:cubicBezTo>
                  <a:cubicBezTo>
                    <a:pt x="89" y="225"/>
                    <a:pt x="96" y="225"/>
                    <a:pt x="103" y="225"/>
                  </a:cubicBezTo>
                  <a:cubicBezTo>
                    <a:pt x="104" y="223"/>
                    <a:pt x="105" y="221"/>
                    <a:pt x="105" y="219"/>
                  </a:cubicBezTo>
                  <a:cubicBezTo>
                    <a:pt x="110" y="209"/>
                    <a:pt x="110" y="209"/>
                    <a:pt x="110" y="209"/>
                  </a:cubicBezTo>
                  <a:cubicBezTo>
                    <a:pt x="120" y="215"/>
                    <a:pt x="120" y="215"/>
                    <a:pt x="120" y="215"/>
                  </a:cubicBezTo>
                  <a:cubicBezTo>
                    <a:pt x="133" y="223"/>
                    <a:pt x="142" y="234"/>
                    <a:pt x="148" y="247"/>
                  </a:cubicBezTo>
                  <a:cubicBezTo>
                    <a:pt x="154" y="233"/>
                    <a:pt x="159" y="216"/>
                    <a:pt x="155" y="205"/>
                  </a:cubicBezTo>
                  <a:cubicBezTo>
                    <a:pt x="152" y="196"/>
                    <a:pt x="140" y="190"/>
                    <a:pt x="130" y="187"/>
                  </a:cubicBezTo>
                  <a:cubicBezTo>
                    <a:pt x="120" y="184"/>
                    <a:pt x="120" y="184"/>
                    <a:pt x="120" y="184"/>
                  </a:cubicBezTo>
                  <a:cubicBezTo>
                    <a:pt x="123" y="174"/>
                    <a:pt x="123" y="174"/>
                    <a:pt x="123" y="174"/>
                  </a:cubicBezTo>
                  <a:cubicBezTo>
                    <a:pt x="131" y="152"/>
                    <a:pt x="135" y="132"/>
                    <a:pt x="135" y="116"/>
                  </a:cubicBezTo>
                  <a:cubicBezTo>
                    <a:pt x="135" y="104"/>
                    <a:pt x="133" y="91"/>
                    <a:pt x="129" y="79"/>
                  </a:cubicBezTo>
                  <a:cubicBezTo>
                    <a:pt x="117" y="47"/>
                    <a:pt x="99" y="26"/>
                    <a:pt x="92" y="21"/>
                  </a:cubicBezTo>
                  <a:cubicBezTo>
                    <a:pt x="85" y="26"/>
                    <a:pt x="67" y="47"/>
                    <a:pt x="55" y="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4" name="Freeform 18">
              <a:extLst>
                <a:ext uri="{FF2B5EF4-FFF2-40B4-BE49-F238E27FC236}">
                  <a16:creationId xmlns:a16="http://schemas.microsoft.com/office/drawing/2014/main" id="{364C44AE-20A8-6F98-F154-C94C17FBB42E}"/>
                </a:ext>
              </a:extLst>
            </p:cNvPr>
            <p:cNvSpPr>
              <a:spLocks noEditPoints="1"/>
            </p:cNvSpPr>
            <p:nvPr/>
          </p:nvSpPr>
          <p:spPr bwMode="auto">
            <a:xfrm rot="2700000">
              <a:off x="6989613" y="5483631"/>
              <a:ext cx="121724" cy="120112"/>
            </a:xfrm>
            <a:custGeom>
              <a:avLst/>
              <a:gdLst>
                <a:gd name="T0" fmla="*/ 32 w 64"/>
                <a:gd name="T1" fmla="*/ 64 h 64"/>
                <a:gd name="T2" fmla="*/ 0 w 64"/>
                <a:gd name="T3" fmla="*/ 32 h 64"/>
                <a:gd name="T4" fmla="*/ 32 w 64"/>
                <a:gd name="T5" fmla="*/ 0 h 64"/>
                <a:gd name="T6" fmla="*/ 64 w 64"/>
                <a:gd name="T7" fmla="*/ 32 h 64"/>
                <a:gd name="T8" fmla="*/ 32 w 64"/>
                <a:gd name="T9" fmla="*/ 64 h 64"/>
                <a:gd name="T10" fmla="*/ 32 w 64"/>
                <a:gd name="T11" fmla="*/ 12 h 64"/>
                <a:gd name="T12" fmla="*/ 12 w 64"/>
                <a:gd name="T13" fmla="*/ 32 h 64"/>
                <a:gd name="T14" fmla="*/ 32 w 64"/>
                <a:gd name="T15" fmla="*/ 52 h 64"/>
                <a:gd name="T16" fmla="*/ 52 w 64"/>
                <a:gd name="T17" fmla="*/ 32 h 64"/>
                <a:gd name="T18" fmla="*/ 32 w 64"/>
                <a:gd name="T19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32" y="64"/>
                  </a:moveTo>
                  <a:cubicBezTo>
                    <a:pt x="14" y="64"/>
                    <a:pt x="0" y="50"/>
                    <a:pt x="0" y="32"/>
                  </a:cubicBezTo>
                  <a:cubicBezTo>
                    <a:pt x="0" y="14"/>
                    <a:pt x="14" y="0"/>
                    <a:pt x="32" y="0"/>
                  </a:cubicBezTo>
                  <a:cubicBezTo>
                    <a:pt x="50" y="0"/>
                    <a:pt x="64" y="14"/>
                    <a:pt x="64" y="32"/>
                  </a:cubicBezTo>
                  <a:cubicBezTo>
                    <a:pt x="64" y="50"/>
                    <a:pt x="50" y="64"/>
                    <a:pt x="32" y="64"/>
                  </a:cubicBezTo>
                  <a:close/>
                  <a:moveTo>
                    <a:pt x="32" y="12"/>
                  </a:moveTo>
                  <a:cubicBezTo>
                    <a:pt x="21" y="12"/>
                    <a:pt x="12" y="21"/>
                    <a:pt x="12" y="32"/>
                  </a:cubicBezTo>
                  <a:cubicBezTo>
                    <a:pt x="12" y="43"/>
                    <a:pt x="21" y="52"/>
                    <a:pt x="32" y="52"/>
                  </a:cubicBezTo>
                  <a:cubicBezTo>
                    <a:pt x="43" y="52"/>
                    <a:pt x="52" y="43"/>
                    <a:pt x="52" y="32"/>
                  </a:cubicBezTo>
                  <a:cubicBezTo>
                    <a:pt x="52" y="21"/>
                    <a:pt x="43" y="12"/>
                    <a:pt x="3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5" name="Freeform 19">
              <a:extLst>
                <a:ext uri="{FF2B5EF4-FFF2-40B4-BE49-F238E27FC236}">
                  <a16:creationId xmlns:a16="http://schemas.microsoft.com/office/drawing/2014/main" id="{7BA62765-BE08-8C99-1A07-F69B7C608623}"/>
                </a:ext>
              </a:extLst>
            </p:cNvPr>
            <p:cNvSpPr>
              <a:spLocks noEditPoints="1"/>
            </p:cNvSpPr>
            <p:nvPr/>
          </p:nvSpPr>
          <p:spPr bwMode="auto">
            <a:xfrm rot="2700000">
              <a:off x="6790966" y="5660018"/>
              <a:ext cx="112239" cy="178587"/>
            </a:xfrm>
            <a:custGeom>
              <a:avLst/>
              <a:gdLst>
                <a:gd name="T0" fmla="*/ 29 w 59"/>
                <a:gd name="T1" fmla="*/ 95 h 95"/>
                <a:gd name="T2" fmla="*/ 24 w 59"/>
                <a:gd name="T3" fmla="*/ 85 h 95"/>
                <a:gd name="T4" fmla="*/ 0 w 59"/>
                <a:gd name="T5" fmla="*/ 26 h 95"/>
                <a:gd name="T6" fmla="*/ 29 w 59"/>
                <a:gd name="T7" fmla="*/ 0 h 95"/>
                <a:gd name="T8" fmla="*/ 59 w 59"/>
                <a:gd name="T9" fmla="*/ 26 h 95"/>
                <a:gd name="T10" fmla="*/ 34 w 59"/>
                <a:gd name="T11" fmla="*/ 85 h 95"/>
                <a:gd name="T12" fmla="*/ 29 w 59"/>
                <a:gd name="T13" fmla="*/ 95 h 95"/>
                <a:gd name="T14" fmla="*/ 29 w 59"/>
                <a:gd name="T15" fmla="*/ 12 h 95"/>
                <a:gd name="T16" fmla="*/ 12 w 59"/>
                <a:gd name="T17" fmla="*/ 26 h 95"/>
                <a:gd name="T18" fmla="*/ 29 w 59"/>
                <a:gd name="T19" fmla="*/ 69 h 95"/>
                <a:gd name="T20" fmla="*/ 47 w 59"/>
                <a:gd name="T21" fmla="*/ 26 h 95"/>
                <a:gd name="T22" fmla="*/ 29 w 59"/>
                <a:gd name="T23" fmla="*/ 12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" h="95">
                  <a:moveTo>
                    <a:pt x="29" y="95"/>
                  </a:moveTo>
                  <a:cubicBezTo>
                    <a:pt x="24" y="85"/>
                    <a:pt x="24" y="85"/>
                    <a:pt x="24" y="85"/>
                  </a:cubicBezTo>
                  <a:cubicBezTo>
                    <a:pt x="20" y="77"/>
                    <a:pt x="0" y="38"/>
                    <a:pt x="0" y="26"/>
                  </a:cubicBezTo>
                  <a:cubicBezTo>
                    <a:pt x="0" y="12"/>
                    <a:pt x="13" y="0"/>
                    <a:pt x="29" y="0"/>
                  </a:cubicBezTo>
                  <a:cubicBezTo>
                    <a:pt x="45" y="0"/>
                    <a:pt x="59" y="12"/>
                    <a:pt x="59" y="26"/>
                  </a:cubicBezTo>
                  <a:cubicBezTo>
                    <a:pt x="59" y="38"/>
                    <a:pt x="39" y="77"/>
                    <a:pt x="34" y="85"/>
                  </a:cubicBezTo>
                  <a:lnTo>
                    <a:pt x="29" y="95"/>
                  </a:lnTo>
                  <a:close/>
                  <a:moveTo>
                    <a:pt x="29" y="12"/>
                  </a:moveTo>
                  <a:cubicBezTo>
                    <a:pt x="19" y="12"/>
                    <a:pt x="12" y="18"/>
                    <a:pt x="12" y="26"/>
                  </a:cubicBezTo>
                  <a:cubicBezTo>
                    <a:pt x="12" y="31"/>
                    <a:pt x="20" y="50"/>
                    <a:pt x="29" y="69"/>
                  </a:cubicBezTo>
                  <a:cubicBezTo>
                    <a:pt x="38" y="50"/>
                    <a:pt x="47" y="31"/>
                    <a:pt x="47" y="26"/>
                  </a:cubicBezTo>
                  <a:cubicBezTo>
                    <a:pt x="47" y="18"/>
                    <a:pt x="39" y="12"/>
                    <a:pt x="29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26" name="Freeform 23">
            <a:extLst>
              <a:ext uri="{FF2B5EF4-FFF2-40B4-BE49-F238E27FC236}">
                <a16:creationId xmlns:a16="http://schemas.microsoft.com/office/drawing/2014/main" id="{395CAE4E-B123-DDA2-DA6E-406F32B9CD84}"/>
              </a:ext>
            </a:extLst>
          </p:cNvPr>
          <p:cNvSpPr>
            <a:spLocks noEditPoints="1"/>
          </p:cNvSpPr>
          <p:nvPr/>
        </p:nvSpPr>
        <p:spPr bwMode="auto">
          <a:xfrm>
            <a:off x="1130477" y="2489408"/>
            <a:ext cx="560312" cy="496208"/>
          </a:xfrm>
          <a:custGeom>
            <a:avLst/>
            <a:gdLst>
              <a:gd name="T0" fmla="*/ 232 w 256"/>
              <a:gd name="T1" fmla="*/ 84 h 227"/>
              <a:gd name="T2" fmla="*/ 172 w 256"/>
              <a:gd name="T3" fmla="*/ 44 h 227"/>
              <a:gd name="T4" fmla="*/ 120 w 256"/>
              <a:gd name="T5" fmla="*/ 48 h 227"/>
              <a:gd name="T6" fmla="*/ 64 w 256"/>
              <a:gd name="T7" fmla="*/ 107 h 227"/>
              <a:gd name="T8" fmla="*/ 0 w 256"/>
              <a:gd name="T9" fmla="*/ 131 h 227"/>
              <a:gd name="T10" fmla="*/ 32 w 256"/>
              <a:gd name="T11" fmla="*/ 227 h 227"/>
              <a:gd name="T12" fmla="*/ 87 w 256"/>
              <a:gd name="T13" fmla="*/ 212 h 227"/>
              <a:gd name="T14" fmla="*/ 103 w 256"/>
              <a:gd name="T15" fmla="*/ 219 h 227"/>
              <a:gd name="T16" fmla="*/ 232 w 256"/>
              <a:gd name="T17" fmla="*/ 197 h 227"/>
              <a:gd name="T18" fmla="*/ 240 w 256"/>
              <a:gd name="T19" fmla="*/ 169 h 227"/>
              <a:gd name="T20" fmla="*/ 248 w 256"/>
              <a:gd name="T21" fmla="*/ 140 h 227"/>
              <a:gd name="T22" fmla="*/ 256 w 256"/>
              <a:gd name="T23" fmla="*/ 108 h 227"/>
              <a:gd name="T24" fmla="*/ 32 w 256"/>
              <a:gd name="T25" fmla="*/ 211 h 227"/>
              <a:gd name="T26" fmla="*/ 16 w 256"/>
              <a:gd name="T27" fmla="*/ 131 h 227"/>
              <a:gd name="T28" fmla="*/ 64 w 256"/>
              <a:gd name="T29" fmla="*/ 123 h 227"/>
              <a:gd name="T30" fmla="*/ 72 w 256"/>
              <a:gd name="T31" fmla="*/ 198 h 227"/>
              <a:gd name="T32" fmla="*/ 72 w 256"/>
              <a:gd name="T33" fmla="*/ 203 h 227"/>
              <a:gd name="T34" fmla="*/ 210 w 256"/>
              <a:gd name="T35" fmla="*/ 203 h 227"/>
              <a:gd name="T36" fmla="*/ 88 w 256"/>
              <a:gd name="T37" fmla="*/ 194 h 227"/>
              <a:gd name="T38" fmla="*/ 86 w 256"/>
              <a:gd name="T39" fmla="*/ 121 h 227"/>
              <a:gd name="T40" fmla="*/ 140 w 256"/>
              <a:gd name="T41" fmla="*/ 16 h 227"/>
              <a:gd name="T42" fmla="*/ 152 w 256"/>
              <a:gd name="T43" fmla="*/ 90 h 227"/>
              <a:gd name="T44" fmla="*/ 160 w 256"/>
              <a:gd name="T45" fmla="*/ 100 h 227"/>
              <a:gd name="T46" fmla="*/ 240 w 256"/>
              <a:gd name="T47" fmla="*/ 108 h 227"/>
              <a:gd name="T48" fmla="*/ 223 w 256"/>
              <a:gd name="T49" fmla="*/ 116 h 227"/>
              <a:gd name="T50" fmla="*/ 223 w 256"/>
              <a:gd name="T51" fmla="*/ 132 h 227"/>
              <a:gd name="T52" fmla="*/ 224 w 256"/>
              <a:gd name="T53" fmla="*/ 132 h 227"/>
              <a:gd name="T54" fmla="*/ 224 w 256"/>
              <a:gd name="T55" fmla="*/ 148 h 227"/>
              <a:gd name="T56" fmla="*/ 218 w 256"/>
              <a:gd name="T57" fmla="*/ 147 h 227"/>
              <a:gd name="T58" fmla="*/ 215 w 256"/>
              <a:gd name="T59" fmla="*/ 148 h 227"/>
              <a:gd name="T60" fmla="*/ 215 w 256"/>
              <a:gd name="T61" fmla="*/ 164 h 227"/>
              <a:gd name="T62" fmla="*/ 224 w 256"/>
              <a:gd name="T63" fmla="*/ 169 h 227"/>
              <a:gd name="T64" fmla="*/ 210 w 256"/>
              <a:gd name="T65" fmla="*/ 175 h 227"/>
              <a:gd name="T66" fmla="*/ 210 w 256"/>
              <a:gd name="T67" fmla="*/ 175 h 227"/>
              <a:gd name="T68" fmla="*/ 210 w 256"/>
              <a:gd name="T69" fmla="*/ 191 h 227"/>
              <a:gd name="T70" fmla="*/ 210 w 256"/>
              <a:gd name="T71" fmla="*/ 203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56" h="227">
                <a:moveTo>
                  <a:pt x="256" y="108"/>
                </a:moveTo>
                <a:cubicBezTo>
                  <a:pt x="256" y="94"/>
                  <a:pt x="245" y="84"/>
                  <a:pt x="232" y="84"/>
                </a:cubicBezTo>
                <a:cubicBezTo>
                  <a:pt x="169" y="84"/>
                  <a:pt x="169" y="84"/>
                  <a:pt x="169" y="84"/>
                </a:cubicBezTo>
                <a:cubicBezTo>
                  <a:pt x="171" y="74"/>
                  <a:pt x="172" y="59"/>
                  <a:pt x="172" y="44"/>
                </a:cubicBezTo>
                <a:cubicBezTo>
                  <a:pt x="172" y="13"/>
                  <a:pt x="156" y="0"/>
                  <a:pt x="140" y="0"/>
                </a:cubicBezTo>
                <a:cubicBezTo>
                  <a:pt x="120" y="0"/>
                  <a:pt x="120" y="21"/>
                  <a:pt x="120" y="48"/>
                </a:cubicBezTo>
                <a:cubicBezTo>
                  <a:pt x="120" y="67"/>
                  <a:pt x="90" y="97"/>
                  <a:pt x="75" y="110"/>
                </a:cubicBezTo>
                <a:cubicBezTo>
                  <a:pt x="71" y="108"/>
                  <a:pt x="68" y="107"/>
                  <a:pt x="64" y="107"/>
                </a:cubicBezTo>
                <a:cubicBezTo>
                  <a:pt x="24" y="107"/>
                  <a:pt x="24" y="107"/>
                  <a:pt x="24" y="107"/>
                </a:cubicBezTo>
                <a:cubicBezTo>
                  <a:pt x="11" y="107"/>
                  <a:pt x="0" y="118"/>
                  <a:pt x="0" y="131"/>
                </a:cubicBezTo>
                <a:cubicBezTo>
                  <a:pt x="8" y="203"/>
                  <a:pt x="8" y="203"/>
                  <a:pt x="8" y="203"/>
                </a:cubicBezTo>
                <a:cubicBezTo>
                  <a:pt x="10" y="216"/>
                  <a:pt x="19" y="227"/>
                  <a:pt x="32" y="227"/>
                </a:cubicBezTo>
                <a:cubicBezTo>
                  <a:pt x="64" y="227"/>
                  <a:pt x="64" y="227"/>
                  <a:pt x="64" y="227"/>
                </a:cubicBezTo>
                <a:cubicBezTo>
                  <a:pt x="74" y="227"/>
                  <a:pt x="83" y="221"/>
                  <a:pt x="87" y="212"/>
                </a:cubicBezTo>
                <a:cubicBezTo>
                  <a:pt x="100" y="219"/>
                  <a:pt x="100" y="219"/>
                  <a:pt x="100" y="219"/>
                </a:cubicBezTo>
                <a:cubicBezTo>
                  <a:pt x="101" y="219"/>
                  <a:pt x="102" y="219"/>
                  <a:pt x="103" y="219"/>
                </a:cubicBezTo>
                <a:cubicBezTo>
                  <a:pt x="210" y="219"/>
                  <a:pt x="210" y="219"/>
                  <a:pt x="210" y="219"/>
                </a:cubicBezTo>
                <a:cubicBezTo>
                  <a:pt x="222" y="219"/>
                  <a:pt x="232" y="210"/>
                  <a:pt x="232" y="197"/>
                </a:cubicBezTo>
                <a:cubicBezTo>
                  <a:pt x="232" y="194"/>
                  <a:pt x="231" y="191"/>
                  <a:pt x="230" y="188"/>
                </a:cubicBezTo>
                <a:cubicBezTo>
                  <a:pt x="236" y="184"/>
                  <a:pt x="240" y="177"/>
                  <a:pt x="240" y="169"/>
                </a:cubicBezTo>
                <a:cubicBezTo>
                  <a:pt x="240" y="166"/>
                  <a:pt x="239" y="162"/>
                  <a:pt x="238" y="159"/>
                </a:cubicBezTo>
                <a:cubicBezTo>
                  <a:pt x="244" y="155"/>
                  <a:pt x="248" y="148"/>
                  <a:pt x="248" y="140"/>
                </a:cubicBezTo>
                <a:cubicBezTo>
                  <a:pt x="248" y="135"/>
                  <a:pt x="247" y="131"/>
                  <a:pt x="245" y="128"/>
                </a:cubicBezTo>
                <a:cubicBezTo>
                  <a:pt x="252" y="123"/>
                  <a:pt x="256" y="116"/>
                  <a:pt x="256" y="108"/>
                </a:cubicBezTo>
                <a:close/>
                <a:moveTo>
                  <a:pt x="64" y="211"/>
                </a:moveTo>
                <a:cubicBezTo>
                  <a:pt x="32" y="211"/>
                  <a:pt x="32" y="211"/>
                  <a:pt x="32" y="211"/>
                </a:cubicBezTo>
                <a:cubicBezTo>
                  <a:pt x="28" y="211"/>
                  <a:pt x="25" y="206"/>
                  <a:pt x="24" y="202"/>
                </a:cubicBezTo>
                <a:cubicBezTo>
                  <a:pt x="16" y="131"/>
                  <a:pt x="16" y="131"/>
                  <a:pt x="16" y="131"/>
                </a:cubicBezTo>
                <a:cubicBezTo>
                  <a:pt x="17" y="127"/>
                  <a:pt x="20" y="123"/>
                  <a:pt x="24" y="123"/>
                </a:cubicBezTo>
                <a:cubicBezTo>
                  <a:pt x="64" y="123"/>
                  <a:pt x="64" y="123"/>
                  <a:pt x="64" y="123"/>
                </a:cubicBezTo>
                <a:cubicBezTo>
                  <a:pt x="69" y="123"/>
                  <a:pt x="72" y="127"/>
                  <a:pt x="72" y="131"/>
                </a:cubicBezTo>
                <a:cubicBezTo>
                  <a:pt x="72" y="198"/>
                  <a:pt x="72" y="198"/>
                  <a:pt x="72" y="198"/>
                </a:cubicBezTo>
                <a:cubicBezTo>
                  <a:pt x="72" y="199"/>
                  <a:pt x="72" y="200"/>
                  <a:pt x="72" y="201"/>
                </a:cubicBezTo>
                <a:cubicBezTo>
                  <a:pt x="72" y="203"/>
                  <a:pt x="72" y="203"/>
                  <a:pt x="72" y="203"/>
                </a:cubicBezTo>
                <a:cubicBezTo>
                  <a:pt x="72" y="208"/>
                  <a:pt x="69" y="211"/>
                  <a:pt x="64" y="211"/>
                </a:cubicBezTo>
                <a:close/>
                <a:moveTo>
                  <a:pt x="210" y="203"/>
                </a:moveTo>
                <a:cubicBezTo>
                  <a:pt x="105" y="203"/>
                  <a:pt x="105" y="203"/>
                  <a:pt x="105" y="203"/>
                </a:cubicBezTo>
                <a:cubicBezTo>
                  <a:pt x="88" y="194"/>
                  <a:pt x="88" y="194"/>
                  <a:pt x="88" y="194"/>
                </a:cubicBezTo>
                <a:cubicBezTo>
                  <a:pt x="88" y="131"/>
                  <a:pt x="88" y="131"/>
                  <a:pt x="88" y="131"/>
                </a:cubicBezTo>
                <a:cubicBezTo>
                  <a:pt x="88" y="128"/>
                  <a:pt x="87" y="124"/>
                  <a:pt x="86" y="121"/>
                </a:cubicBezTo>
                <a:cubicBezTo>
                  <a:pt x="100" y="109"/>
                  <a:pt x="136" y="75"/>
                  <a:pt x="136" y="48"/>
                </a:cubicBezTo>
                <a:cubicBezTo>
                  <a:pt x="136" y="31"/>
                  <a:pt x="136" y="16"/>
                  <a:pt x="140" y="16"/>
                </a:cubicBezTo>
                <a:cubicBezTo>
                  <a:pt x="148" y="16"/>
                  <a:pt x="156" y="25"/>
                  <a:pt x="156" y="44"/>
                </a:cubicBezTo>
                <a:cubicBezTo>
                  <a:pt x="156" y="67"/>
                  <a:pt x="152" y="90"/>
                  <a:pt x="152" y="90"/>
                </a:cubicBezTo>
                <a:cubicBezTo>
                  <a:pt x="152" y="93"/>
                  <a:pt x="153" y="95"/>
                  <a:pt x="154" y="97"/>
                </a:cubicBezTo>
                <a:cubicBezTo>
                  <a:pt x="156" y="98"/>
                  <a:pt x="158" y="100"/>
                  <a:pt x="160" y="100"/>
                </a:cubicBezTo>
                <a:cubicBezTo>
                  <a:pt x="232" y="100"/>
                  <a:pt x="232" y="100"/>
                  <a:pt x="232" y="100"/>
                </a:cubicBezTo>
                <a:cubicBezTo>
                  <a:pt x="237" y="100"/>
                  <a:pt x="240" y="103"/>
                  <a:pt x="240" y="108"/>
                </a:cubicBezTo>
                <a:cubicBezTo>
                  <a:pt x="240" y="112"/>
                  <a:pt x="237" y="116"/>
                  <a:pt x="232" y="116"/>
                </a:cubicBezTo>
                <a:cubicBezTo>
                  <a:pt x="223" y="116"/>
                  <a:pt x="223" y="116"/>
                  <a:pt x="223" y="116"/>
                </a:cubicBezTo>
                <a:cubicBezTo>
                  <a:pt x="219" y="116"/>
                  <a:pt x="215" y="119"/>
                  <a:pt x="215" y="124"/>
                </a:cubicBezTo>
                <a:cubicBezTo>
                  <a:pt x="215" y="128"/>
                  <a:pt x="219" y="132"/>
                  <a:pt x="223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9" y="132"/>
                  <a:pt x="232" y="135"/>
                  <a:pt x="232" y="140"/>
                </a:cubicBezTo>
                <a:cubicBezTo>
                  <a:pt x="232" y="144"/>
                  <a:pt x="229" y="148"/>
                  <a:pt x="224" y="148"/>
                </a:cubicBezTo>
                <a:cubicBezTo>
                  <a:pt x="219" y="148"/>
                  <a:pt x="219" y="148"/>
                  <a:pt x="219" y="148"/>
                </a:cubicBezTo>
                <a:cubicBezTo>
                  <a:pt x="219" y="148"/>
                  <a:pt x="218" y="147"/>
                  <a:pt x="218" y="147"/>
                </a:cubicBezTo>
                <a:cubicBezTo>
                  <a:pt x="218" y="147"/>
                  <a:pt x="218" y="148"/>
                  <a:pt x="218" y="148"/>
                </a:cubicBezTo>
                <a:cubicBezTo>
                  <a:pt x="215" y="148"/>
                  <a:pt x="215" y="148"/>
                  <a:pt x="215" y="148"/>
                </a:cubicBezTo>
                <a:cubicBezTo>
                  <a:pt x="211" y="148"/>
                  <a:pt x="207" y="151"/>
                  <a:pt x="207" y="156"/>
                </a:cubicBezTo>
                <a:cubicBezTo>
                  <a:pt x="207" y="160"/>
                  <a:pt x="211" y="164"/>
                  <a:pt x="215" y="164"/>
                </a:cubicBezTo>
                <a:cubicBezTo>
                  <a:pt x="218" y="164"/>
                  <a:pt x="218" y="164"/>
                  <a:pt x="218" y="164"/>
                </a:cubicBezTo>
                <a:cubicBezTo>
                  <a:pt x="222" y="164"/>
                  <a:pt x="224" y="166"/>
                  <a:pt x="224" y="169"/>
                </a:cubicBezTo>
                <a:cubicBezTo>
                  <a:pt x="224" y="173"/>
                  <a:pt x="221" y="175"/>
                  <a:pt x="218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06" y="175"/>
                  <a:pt x="202" y="179"/>
                  <a:pt x="202" y="183"/>
                </a:cubicBezTo>
                <a:cubicBezTo>
                  <a:pt x="202" y="188"/>
                  <a:pt x="206" y="191"/>
                  <a:pt x="210" y="191"/>
                </a:cubicBezTo>
                <a:cubicBezTo>
                  <a:pt x="213" y="191"/>
                  <a:pt x="216" y="194"/>
                  <a:pt x="216" y="197"/>
                </a:cubicBezTo>
                <a:cubicBezTo>
                  <a:pt x="216" y="201"/>
                  <a:pt x="213" y="203"/>
                  <a:pt x="210" y="20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US" sz="840" b="1">
              <a:latin typeface="+mn-lt"/>
            </a:endParaRPr>
          </a:p>
        </p:txBody>
      </p:sp>
      <p:sp>
        <p:nvSpPr>
          <p:cNvPr id="27" name="Folded Corner 67">
            <a:extLst>
              <a:ext uri="{FF2B5EF4-FFF2-40B4-BE49-F238E27FC236}">
                <a16:creationId xmlns:a16="http://schemas.microsoft.com/office/drawing/2014/main" id="{E9C98101-4F9F-81A9-58D0-BFE155EA5642}"/>
              </a:ext>
            </a:extLst>
          </p:cNvPr>
          <p:cNvSpPr/>
          <p:nvPr/>
        </p:nvSpPr>
        <p:spPr>
          <a:xfrm>
            <a:off x="6111567" y="2279422"/>
            <a:ext cx="5064152" cy="3351824"/>
          </a:xfrm>
          <a:prstGeom prst="foldedCorner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9229" tIns="179229" rtlCol="0" anchor="t"/>
          <a:lstStyle/>
          <a:p>
            <a:pPr defTabSz="896113" fontAlgn="auto">
              <a:spcBef>
                <a:spcPct val="20000"/>
              </a:spcBef>
              <a:spcAft>
                <a:spcPts val="0"/>
              </a:spcAft>
              <a:defRPr/>
            </a:pPr>
            <a:endParaRPr lang="en-US" sz="1372" b="1" dirty="0">
              <a:solidFill>
                <a:srgbClr val="262626">
                  <a:lumMod val="90000"/>
                  <a:lumOff val="10000"/>
                </a:srgbClr>
              </a:solidFill>
              <a:cs typeface="Calibri" panose="020F0502020204030204" pitchFamily="34" charset="0"/>
            </a:endParaRPr>
          </a:p>
        </p:txBody>
      </p:sp>
      <p:sp>
        <p:nvSpPr>
          <p:cNvPr id="28" name="Round Same Side Corner Rectangle 69">
            <a:extLst>
              <a:ext uri="{FF2B5EF4-FFF2-40B4-BE49-F238E27FC236}">
                <a16:creationId xmlns:a16="http://schemas.microsoft.com/office/drawing/2014/main" id="{83926DA8-141A-DAC9-A340-F95720C22FAA}"/>
              </a:ext>
            </a:extLst>
          </p:cNvPr>
          <p:cNvSpPr/>
          <p:nvPr/>
        </p:nvSpPr>
        <p:spPr>
          <a:xfrm>
            <a:off x="6111567" y="1680686"/>
            <a:ext cx="5064152" cy="553673"/>
          </a:xfrm>
          <a:prstGeom prst="round2Same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9229" tIns="0" bIns="0" rtlCol="0" anchor="ctr"/>
          <a:lstStyle/>
          <a:p>
            <a:pPr defTabSz="896113" fontAlgn="auto">
              <a:spcBef>
                <a:spcPct val="20000"/>
              </a:spcBef>
              <a:spcAft>
                <a:spcPts val="0"/>
              </a:spcAft>
              <a:defRPr/>
            </a:pPr>
            <a:r>
              <a:rPr lang="en-US" sz="1960" b="1" dirty="0">
                <a:solidFill>
                  <a:srgbClr val="FFFFFF"/>
                </a:solidFill>
                <a:cs typeface="Calibri" panose="020F0502020204030204" pitchFamily="34" charset="0"/>
              </a:rPr>
              <a:t>Insert Heading</a:t>
            </a:r>
          </a:p>
        </p:txBody>
      </p:sp>
      <p:sp>
        <p:nvSpPr>
          <p:cNvPr id="29" name="Inhaltsplatzhalter 4">
            <a:extLst>
              <a:ext uri="{FF2B5EF4-FFF2-40B4-BE49-F238E27FC236}">
                <a16:creationId xmlns:a16="http://schemas.microsoft.com/office/drawing/2014/main" id="{AB443EF9-68BD-4F41-D219-B0E5D2CC6A57}"/>
              </a:ext>
            </a:extLst>
          </p:cNvPr>
          <p:cNvSpPr txBox="1">
            <a:spLocks/>
          </p:cNvSpPr>
          <p:nvPr/>
        </p:nvSpPr>
        <p:spPr>
          <a:xfrm>
            <a:off x="6324421" y="2381899"/>
            <a:ext cx="4431950" cy="277101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7BA82067-EA29-560F-0FE7-3FE851908A56}"/>
              </a:ext>
            </a:extLst>
          </p:cNvPr>
          <p:cNvCxnSpPr>
            <a:cxnSpLocks/>
            <a:stCxn id="9" idx="2"/>
            <a:endCxn id="5" idx="6"/>
          </p:cNvCxnSpPr>
          <p:nvPr/>
        </p:nvCxnSpPr>
        <p:spPr>
          <a:xfrm flipV="1">
            <a:off x="1410633" y="3271491"/>
            <a:ext cx="0" cy="544288"/>
          </a:xfrm>
          <a:prstGeom prst="line">
            <a:avLst/>
          </a:prstGeom>
          <a:ln w="19050" cap="rnd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96C7DA19-1B13-E965-A1ED-0FCB34AEDD2A}"/>
              </a:ext>
            </a:extLst>
          </p:cNvPr>
          <p:cNvCxnSpPr>
            <a:cxnSpLocks/>
            <a:stCxn id="5" idx="1"/>
            <a:endCxn id="6" idx="4"/>
          </p:cNvCxnSpPr>
          <p:nvPr/>
        </p:nvCxnSpPr>
        <p:spPr>
          <a:xfrm flipV="1">
            <a:off x="1788230" y="2075693"/>
            <a:ext cx="465792" cy="284241"/>
          </a:xfrm>
          <a:prstGeom prst="line">
            <a:avLst/>
          </a:prstGeom>
          <a:ln w="19050" cap="rnd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6ABA9584-5DF5-4786-AD59-034B46AE516E}"/>
              </a:ext>
            </a:extLst>
          </p:cNvPr>
          <p:cNvCxnSpPr>
            <a:cxnSpLocks/>
            <a:stCxn id="6" idx="0"/>
            <a:endCxn id="7" idx="3"/>
          </p:cNvCxnSpPr>
          <p:nvPr/>
        </p:nvCxnSpPr>
        <p:spPr>
          <a:xfrm>
            <a:off x="3322027" y="2075693"/>
            <a:ext cx="453236" cy="284240"/>
          </a:xfrm>
          <a:prstGeom prst="line">
            <a:avLst/>
          </a:prstGeom>
          <a:ln w="19050" cap="rnd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8C0372DF-7D4D-CBEF-CCFA-50AFA05906A1}"/>
              </a:ext>
            </a:extLst>
          </p:cNvPr>
          <p:cNvCxnSpPr>
            <a:cxnSpLocks/>
            <a:stCxn id="7" idx="6"/>
            <a:endCxn id="8" idx="2"/>
          </p:cNvCxnSpPr>
          <p:nvPr/>
        </p:nvCxnSpPr>
        <p:spPr>
          <a:xfrm>
            <a:off x="4152859" y="3271490"/>
            <a:ext cx="0" cy="544289"/>
          </a:xfrm>
          <a:prstGeom prst="line">
            <a:avLst/>
          </a:prstGeom>
          <a:ln w="19050" cap="rnd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1A76E26F-E073-B910-6B6B-116442AEE2C4}"/>
              </a:ext>
            </a:extLst>
          </p:cNvPr>
          <p:cNvCxnSpPr>
            <a:cxnSpLocks/>
            <a:stCxn id="9" idx="0"/>
            <a:endCxn id="8" idx="4"/>
          </p:cNvCxnSpPr>
          <p:nvPr/>
        </p:nvCxnSpPr>
        <p:spPr>
          <a:xfrm>
            <a:off x="1944636" y="4349757"/>
            <a:ext cx="1674221" cy="0"/>
          </a:xfrm>
          <a:prstGeom prst="line">
            <a:avLst/>
          </a:prstGeom>
          <a:ln w="19050" cap="rnd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9DB030A2-D429-473E-FE0E-D6A65A8EFE75}"/>
              </a:ext>
            </a:extLst>
          </p:cNvPr>
          <p:cNvCxnSpPr>
            <a:cxnSpLocks/>
            <a:stCxn id="5" idx="0"/>
            <a:endCxn id="8" idx="3"/>
          </p:cNvCxnSpPr>
          <p:nvPr/>
        </p:nvCxnSpPr>
        <p:spPr>
          <a:xfrm>
            <a:off x="1944636" y="2737513"/>
            <a:ext cx="1830627" cy="1234665"/>
          </a:xfrm>
          <a:prstGeom prst="line">
            <a:avLst/>
          </a:prstGeom>
          <a:ln w="19050" cap="rnd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59BC36D8-32C3-3145-FE6D-287A6E753989}"/>
              </a:ext>
            </a:extLst>
          </p:cNvPr>
          <p:cNvCxnSpPr>
            <a:cxnSpLocks/>
            <a:stCxn id="7" idx="4"/>
            <a:endCxn id="9" idx="1"/>
          </p:cNvCxnSpPr>
          <p:nvPr/>
        </p:nvCxnSpPr>
        <p:spPr>
          <a:xfrm flipH="1">
            <a:off x="1788230" y="2737512"/>
            <a:ext cx="1830627" cy="1234666"/>
          </a:xfrm>
          <a:prstGeom prst="line">
            <a:avLst/>
          </a:prstGeom>
          <a:ln w="19050" cap="rnd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Oval 36">
            <a:extLst>
              <a:ext uri="{FF2B5EF4-FFF2-40B4-BE49-F238E27FC236}">
                <a16:creationId xmlns:a16="http://schemas.microsoft.com/office/drawing/2014/main" id="{88637B08-B437-5D83-8843-6E153558C9A5}"/>
              </a:ext>
            </a:extLst>
          </p:cNvPr>
          <p:cNvSpPr/>
          <p:nvPr/>
        </p:nvSpPr>
        <p:spPr>
          <a:xfrm rot="5400000">
            <a:off x="2242119" y="2789787"/>
            <a:ext cx="1066555" cy="1066556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764" b="1" dirty="0">
              <a:solidFill>
                <a:srgbClr val="FFFFFF"/>
              </a:solidFill>
            </a:endParaRP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D20FAF8D-3552-5688-4823-AC61F9A3FAA6}"/>
              </a:ext>
            </a:extLst>
          </p:cNvPr>
          <p:cNvGrpSpPr>
            <a:grpSpLocks noChangeAspect="1"/>
          </p:cNvGrpSpPr>
          <p:nvPr/>
        </p:nvGrpSpPr>
        <p:grpSpPr>
          <a:xfrm>
            <a:off x="2555167" y="3130358"/>
            <a:ext cx="433084" cy="412235"/>
            <a:chOff x="6719888" y="887413"/>
            <a:chExt cx="492125" cy="468312"/>
          </a:xfrm>
          <a:solidFill>
            <a:schemeClr val="bg1"/>
          </a:solidFill>
        </p:grpSpPr>
        <p:sp>
          <p:nvSpPr>
            <p:cNvPr id="39" name="Freeform 26">
              <a:extLst>
                <a:ext uri="{FF2B5EF4-FFF2-40B4-BE49-F238E27FC236}">
                  <a16:creationId xmlns:a16="http://schemas.microsoft.com/office/drawing/2014/main" id="{6A8D48EA-D5F6-4C89-2D85-CDD11D8CB49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19888" y="887413"/>
              <a:ext cx="492125" cy="468312"/>
            </a:xfrm>
            <a:custGeom>
              <a:avLst/>
              <a:gdLst>
                <a:gd name="T0" fmla="*/ 117 w 128"/>
                <a:gd name="T1" fmla="*/ 0 h 122"/>
                <a:gd name="T2" fmla="*/ 11 w 128"/>
                <a:gd name="T3" fmla="*/ 0 h 122"/>
                <a:gd name="T4" fmla="*/ 0 w 128"/>
                <a:gd name="T5" fmla="*/ 11 h 122"/>
                <a:gd name="T6" fmla="*/ 0 w 128"/>
                <a:gd name="T7" fmla="*/ 93 h 122"/>
                <a:gd name="T8" fmla="*/ 11 w 128"/>
                <a:gd name="T9" fmla="*/ 104 h 122"/>
                <a:gd name="T10" fmla="*/ 43 w 128"/>
                <a:gd name="T11" fmla="*/ 104 h 122"/>
                <a:gd name="T12" fmla="*/ 38 w 128"/>
                <a:gd name="T13" fmla="*/ 110 h 122"/>
                <a:gd name="T14" fmla="*/ 35 w 128"/>
                <a:gd name="T15" fmla="*/ 113 h 122"/>
                <a:gd name="T16" fmla="*/ 34 w 128"/>
                <a:gd name="T17" fmla="*/ 118 h 122"/>
                <a:gd name="T18" fmla="*/ 42 w 128"/>
                <a:gd name="T19" fmla="*/ 122 h 122"/>
                <a:gd name="T20" fmla="*/ 86 w 128"/>
                <a:gd name="T21" fmla="*/ 122 h 122"/>
                <a:gd name="T22" fmla="*/ 94 w 128"/>
                <a:gd name="T23" fmla="*/ 118 h 122"/>
                <a:gd name="T24" fmla="*/ 94 w 128"/>
                <a:gd name="T25" fmla="*/ 113 h 122"/>
                <a:gd name="T26" fmla="*/ 91 w 128"/>
                <a:gd name="T27" fmla="*/ 110 h 122"/>
                <a:gd name="T28" fmla="*/ 85 w 128"/>
                <a:gd name="T29" fmla="*/ 104 h 122"/>
                <a:gd name="T30" fmla="*/ 117 w 128"/>
                <a:gd name="T31" fmla="*/ 104 h 122"/>
                <a:gd name="T32" fmla="*/ 128 w 128"/>
                <a:gd name="T33" fmla="*/ 93 h 122"/>
                <a:gd name="T34" fmla="*/ 128 w 128"/>
                <a:gd name="T35" fmla="*/ 11 h 122"/>
                <a:gd name="T36" fmla="*/ 117 w 128"/>
                <a:gd name="T37" fmla="*/ 0 h 122"/>
                <a:gd name="T38" fmla="*/ 88 w 128"/>
                <a:gd name="T39" fmla="*/ 113 h 122"/>
                <a:gd name="T40" fmla="*/ 90 w 128"/>
                <a:gd name="T41" fmla="*/ 116 h 122"/>
                <a:gd name="T42" fmla="*/ 90 w 128"/>
                <a:gd name="T43" fmla="*/ 116 h 122"/>
                <a:gd name="T44" fmla="*/ 86 w 128"/>
                <a:gd name="T45" fmla="*/ 118 h 122"/>
                <a:gd name="T46" fmla="*/ 42 w 128"/>
                <a:gd name="T47" fmla="*/ 118 h 122"/>
                <a:gd name="T48" fmla="*/ 38 w 128"/>
                <a:gd name="T49" fmla="*/ 116 h 122"/>
                <a:gd name="T50" fmla="*/ 38 w 128"/>
                <a:gd name="T51" fmla="*/ 116 h 122"/>
                <a:gd name="T52" fmla="*/ 38 w 128"/>
                <a:gd name="T53" fmla="*/ 116 h 122"/>
                <a:gd name="T54" fmla="*/ 40 w 128"/>
                <a:gd name="T55" fmla="*/ 113 h 122"/>
                <a:gd name="T56" fmla="*/ 48 w 128"/>
                <a:gd name="T57" fmla="*/ 104 h 122"/>
                <a:gd name="T58" fmla="*/ 80 w 128"/>
                <a:gd name="T59" fmla="*/ 104 h 122"/>
                <a:gd name="T60" fmla="*/ 88 w 128"/>
                <a:gd name="T61" fmla="*/ 113 h 122"/>
                <a:gd name="T62" fmla="*/ 120 w 128"/>
                <a:gd name="T63" fmla="*/ 93 h 122"/>
                <a:gd name="T64" fmla="*/ 117 w 128"/>
                <a:gd name="T65" fmla="*/ 96 h 122"/>
                <a:gd name="T66" fmla="*/ 11 w 128"/>
                <a:gd name="T67" fmla="*/ 96 h 122"/>
                <a:gd name="T68" fmla="*/ 8 w 128"/>
                <a:gd name="T69" fmla="*/ 93 h 122"/>
                <a:gd name="T70" fmla="*/ 8 w 128"/>
                <a:gd name="T71" fmla="*/ 11 h 122"/>
                <a:gd name="T72" fmla="*/ 11 w 128"/>
                <a:gd name="T73" fmla="*/ 8 h 122"/>
                <a:gd name="T74" fmla="*/ 117 w 128"/>
                <a:gd name="T75" fmla="*/ 8 h 122"/>
                <a:gd name="T76" fmla="*/ 120 w 128"/>
                <a:gd name="T77" fmla="*/ 11 h 122"/>
                <a:gd name="T78" fmla="*/ 120 w 128"/>
                <a:gd name="T79" fmla="*/ 93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8" h="122">
                  <a:moveTo>
                    <a:pt x="117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99"/>
                    <a:pt x="5" y="104"/>
                    <a:pt x="11" y="104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42" y="106"/>
                    <a:pt x="39" y="109"/>
                    <a:pt x="38" y="110"/>
                  </a:cubicBezTo>
                  <a:cubicBezTo>
                    <a:pt x="36" y="111"/>
                    <a:pt x="35" y="112"/>
                    <a:pt x="35" y="113"/>
                  </a:cubicBezTo>
                  <a:cubicBezTo>
                    <a:pt x="34" y="114"/>
                    <a:pt x="33" y="116"/>
                    <a:pt x="34" y="118"/>
                  </a:cubicBezTo>
                  <a:cubicBezTo>
                    <a:pt x="35" y="120"/>
                    <a:pt x="37" y="122"/>
                    <a:pt x="42" y="122"/>
                  </a:cubicBezTo>
                  <a:cubicBezTo>
                    <a:pt x="86" y="122"/>
                    <a:pt x="86" y="122"/>
                    <a:pt x="86" y="122"/>
                  </a:cubicBezTo>
                  <a:cubicBezTo>
                    <a:pt x="91" y="122"/>
                    <a:pt x="93" y="120"/>
                    <a:pt x="94" y="118"/>
                  </a:cubicBezTo>
                  <a:cubicBezTo>
                    <a:pt x="95" y="116"/>
                    <a:pt x="95" y="114"/>
                    <a:pt x="94" y="113"/>
                  </a:cubicBezTo>
                  <a:cubicBezTo>
                    <a:pt x="93" y="112"/>
                    <a:pt x="92" y="111"/>
                    <a:pt x="91" y="110"/>
                  </a:cubicBezTo>
                  <a:cubicBezTo>
                    <a:pt x="89" y="109"/>
                    <a:pt x="87" y="106"/>
                    <a:pt x="85" y="104"/>
                  </a:cubicBezTo>
                  <a:cubicBezTo>
                    <a:pt x="117" y="104"/>
                    <a:pt x="117" y="104"/>
                    <a:pt x="117" y="104"/>
                  </a:cubicBezTo>
                  <a:cubicBezTo>
                    <a:pt x="123" y="104"/>
                    <a:pt x="128" y="99"/>
                    <a:pt x="128" y="93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28" y="5"/>
                    <a:pt x="123" y="0"/>
                    <a:pt x="117" y="0"/>
                  </a:cubicBezTo>
                  <a:close/>
                  <a:moveTo>
                    <a:pt x="88" y="113"/>
                  </a:moveTo>
                  <a:cubicBezTo>
                    <a:pt x="89" y="114"/>
                    <a:pt x="90" y="115"/>
                    <a:pt x="90" y="116"/>
                  </a:cubicBezTo>
                  <a:cubicBezTo>
                    <a:pt x="90" y="116"/>
                    <a:pt x="91" y="116"/>
                    <a:pt x="90" y="116"/>
                  </a:cubicBezTo>
                  <a:cubicBezTo>
                    <a:pt x="90" y="117"/>
                    <a:pt x="88" y="118"/>
                    <a:pt x="86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0" y="118"/>
                    <a:pt x="38" y="117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5"/>
                    <a:pt x="39" y="114"/>
                    <a:pt x="40" y="113"/>
                  </a:cubicBezTo>
                  <a:cubicBezTo>
                    <a:pt x="44" y="109"/>
                    <a:pt x="47" y="106"/>
                    <a:pt x="48" y="104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82" y="106"/>
                    <a:pt x="84" y="109"/>
                    <a:pt x="88" y="113"/>
                  </a:cubicBezTo>
                  <a:close/>
                  <a:moveTo>
                    <a:pt x="120" y="93"/>
                  </a:moveTo>
                  <a:cubicBezTo>
                    <a:pt x="120" y="95"/>
                    <a:pt x="119" y="96"/>
                    <a:pt x="117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9" y="96"/>
                    <a:pt x="8" y="95"/>
                    <a:pt x="8" y="93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9"/>
                    <a:pt x="9" y="8"/>
                    <a:pt x="11" y="8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9" y="8"/>
                    <a:pt x="120" y="9"/>
                    <a:pt x="120" y="11"/>
                  </a:cubicBezTo>
                  <a:lnTo>
                    <a:pt x="120" y="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40" name="Freeform 27">
              <a:extLst>
                <a:ext uri="{FF2B5EF4-FFF2-40B4-BE49-F238E27FC236}">
                  <a16:creationId xmlns:a16="http://schemas.microsoft.com/office/drawing/2014/main" id="{372F8718-CDC2-832F-3A06-3B8C1EBF31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81801" y="947738"/>
              <a:ext cx="368300" cy="247650"/>
            </a:xfrm>
            <a:custGeom>
              <a:avLst/>
              <a:gdLst>
                <a:gd name="T0" fmla="*/ 89 w 96"/>
                <a:gd name="T1" fmla="*/ 0 h 64"/>
                <a:gd name="T2" fmla="*/ 7 w 96"/>
                <a:gd name="T3" fmla="*/ 0 h 64"/>
                <a:gd name="T4" fmla="*/ 0 w 96"/>
                <a:gd name="T5" fmla="*/ 7 h 64"/>
                <a:gd name="T6" fmla="*/ 0 w 96"/>
                <a:gd name="T7" fmla="*/ 57 h 64"/>
                <a:gd name="T8" fmla="*/ 7 w 96"/>
                <a:gd name="T9" fmla="*/ 64 h 64"/>
                <a:gd name="T10" fmla="*/ 89 w 96"/>
                <a:gd name="T11" fmla="*/ 64 h 64"/>
                <a:gd name="T12" fmla="*/ 96 w 96"/>
                <a:gd name="T13" fmla="*/ 57 h 64"/>
                <a:gd name="T14" fmla="*/ 96 w 96"/>
                <a:gd name="T15" fmla="*/ 7 h 64"/>
                <a:gd name="T16" fmla="*/ 89 w 96"/>
                <a:gd name="T17" fmla="*/ 0 h 64"/>
                <a:gd name="T18" fmla="*/ 92 w 96"/>
                <a:gd name="T19" fmla="*/ 57 h 64"/>
                <a:gd name="T20" fmla="*/ 89 w 96"/>
                <a:gd name="T21" fmla="*/ 60 h 64"/>
                <a:gd name="T22" fmla="*/ 7 w 96"/>
                <a:gd name="T23" fmla="*/ 60 h 64"/>
                <a:gd name="T24" fmla="*/ 4 w 96"/>
                <a:gd name="T25" fmla="*/ 57 h 64"/>
                <a:gd name="T26" fmla="*/ 4 w 96"/>
                <a:gd name="T27" fmla="*/ 7 h 64"/>
                <a:gd name="T28" fmla="*/ 7 w 96"/>
                <a:gd name="T29" fmla="*/ 4 h 64"/>
                <a:gd name="T30" fmla="*/ 89 w 96"/>
                <a:gd name="T31" fmla="*/ 4 h 64"/>
                <a:gd name="T32" fmla="*/ 92 w 96"/>
                <a:gd name="T33" fmla="*/ 7 h 64"/>
                <a:gd name="T34" fmla="*/ 92 w 96"/>
                <a:gd name="T35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6" h="64">
                  <a:moveTo>
                    <a:pt x="89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1"/>
                    <a:pt x="3" y="64"/>
                    <a:pt x="7" y="64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93" y="64"/>
                    <a:pt x="96" y="61"/>
                    <a:pt x="96" y="5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3"/>
                    <a:pt x="93" y="0"/>
                    <a:pt x="89" y="0"/>
                  </a:cubicBezTo>
                  <a:close/>
                  <a:moveTo>
                    <a:pt x="92" y="57"/>
                  </a:moveTo>
                  <a:cubicBezTo>
                    <a:pt x="92" y="59"/>
                    <a:pt x="91" y="60"/>
                    <a:pt x="89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5" y="60"/>
                    <a:pt x="4" y="59"/>
                    <a:pt x="4" y="5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5" y="4"/>
                    <a:pt x="7" y="4"/>
                  </a:cubicBezTo>
                  <a:cubicBezTo>
                    <a:pt x="89" y="4"/>
                    <a:pt x="89" y="4"/>
                    <a:pt x="89" y="4"/>
                  </a:cubicBezTo>
                  <a:cubicBezTo>
                    <a:pt x="91" y="4"/>
                    <a:pt x="92" y="5"/>
                    <a:pt x="92" y="7"/>
                  </a:cubicBezTo>
                  <a:lnTo>
                    <a:pt x="92" y="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41" name="Freeform 28">
              <a:extLst>
                <a:ext uri="{FF2B5EF4-FFF2-40B4-BE49-F238E27FC236}">
                  <a16:creationId xmlns:a16="http://schemas.microsoft.com/office/drawing/2014/main" id="{8FAA0D88-F6D6-7993-5E68-BC9669424DB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43726" y="1201738"/>
              <a:ext cx="46038" cy="47625"/>
            </a:xfrm>
            <a:custGeom>
              <a:avLst/>
              <a:gdLst>
                <a:gd name="T0" fmla="*/ 6 w 12"/>
                <a:gd name="T1" fmla="*/ 0 h 12"/>
                <a:gd name="T2" fmla="*/ 0 w 12"/>
                <a:gd name="T3" fmla="*/ 6 h 12"/>
                <a:gd name="T4" fmla="*/ 6 w 12"/>
                <a:gd name="T5" fmla="*/ 12 h 12"/>
                <a:gd name="T6" fmla="*/ 12 w 12"/>
                <a:gd name="T7" fmla="*/ 6 h 12"/>
                <a:gd name="T8" fmla="*/ 6 w 12"/>
                <a:gd name="T9" fmla="*/ 0 h 12"/>
                <a:gd name="T10" fmla="*/ 6 w 12"/>
                <a:gd name="T11" fmla="*/ 8 h 12"/>
                <a:gd name="T12" fmla="*/ 4 w 12"/>
                <a:gd name="T13" fmla="*/ 6 h 12"/>
                <a:gd name="T14" fmla="*/ 6 w 12"/>
                <a:gd name="T15" fmla="*/ 4 h 12"/>
                <a:gd name="T16" fmla="*/ 8 w 12"/>
                <a:gd name="T17" fmla="*/ 6 h 12"/>
                <a:gd name="T18" fmla="*/ 6 w 12"/>
                <a:gd name="T1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9" y="12"/>
                    <a:pt x="12" y="9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lose/>
                  <a:moveTo>
                    <a:pt x="6" y="8"/>
                  </a:moveTo>
                  <a:cubicBezTo>
                    <a:pt x="5" y="8"/>
                    <a:pt x="4" y="7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7" y="4"/>
                    <a:pt x="8" y="5"/>
                    <a:pt x="8" y="6"/>
                  </a:cubicBezTo>
                  <a:cubicBezTo>
                    <a:pt x="8" y="7"/>
                    <a:pt x="7" y="8"/>
                    <a:pt x="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42" name="Freeform 29">
              <a:extLst>
                <a:ext uri="{FF2B5EF4-FFF2-40B4-BE49-F238E27FC236}">
                  <a16:creationId xmlns:a16="http://schemas.microsoft.com/office/drawing/2014/main" id="{5D081D96-3513-1BBA-1934-0B5D1C10714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1813" y="1044575"/>
              <a:ext cx="61913" cy="65087"/>
            </a:xfrm>
            <a:custGeom>
              <a:avLst/>
              <a:gdLst>
                <a:gd name="T0" fmla="*/ 0 w 39"/>
                <a:gd name="T1" fmla="*/ 24 h 41"/>
                <a:gd name="T2" fmla="*/ 39 w 39"/>
                <a:gd name="T3" fmla="*/ 41 h 41"/>
                <a:gd name="T4" fmla="*/ 39 w 39"/>
                <a:gd name="T5" fmla="*/ 32 h 41"/>
                <a:gd name="T6" fmla="*/ 12 w 39"/>
                <a:gd name="T7" fmla="*/ 19 h 41"/>
                <a:gd name="T8" fmla="*/ 39 w 39"/>
                <a:gd name="T9" fmla="*/ 10 h 41"/>
                <a:gd name="T10" fmla="*/ 39 w 39"/>
                <a:gd name="T11" fmla="*/ 0 h 41"/>
                <a:gd name="T12" fmla="*/ 0 w 39"/>
                <a:gd name="T13" fmla="*/ 17 h 41"/>
                <a:gd name="T14" fmla="*/ 0 w 39"/>
                <a:gd name="T15" fmla="*/ 2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41">
                  <a:moveTo>
                    <a:pt x="0" y="24"/>
                  </a:moveTo>
                  <a:lnTo>
                    <a:pt x="39" y="41"/>
                  </a:lnTo>
                  <a:lnTo>
                    <a:pt x="39" y="32"/>
                  </a:lnTo>
                  <a:lnTo>
                    <a:pt x="12" y="19"/>
                  </a:lnTo>
                  <a:lnTo>
                    <a:pt x="39" y="10"/>
                  </a:lnTo>
                  <a:lnTo>
                    <a:pt x="39" y="0"/>
                  </a:lnTo>
                  <a:lnTo>
                    <a:pt x="0" y="17"/>
                  </a:lnTo>
                  <a:lnTo>
                    <a:pt x="0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43" name="Freeform 30">
              <a:extLst>
                <a:ext uri="{FF2B5EF4-FFF2-40B4-BE49-F238E27FC236}">
                  <a16:creationId xmlns:a16="http://schemas.microsoft.com/office/drawing/2014/main" id="{9395EAC0-FE78-6D05-E8BD-3DCACDF7C33D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0076" y="1033463"/>
              <a:ext cx="31750" cy="87312"/>
            </a:xfrm>
            <a:custGeom>
              <a:avLst/>
              <a:gdLst>
                <a:gd name="T0" fmla="*/ 7 w 8"/>
                <a:gd name="T1" fmla="*/ 0 h 23"/>
                <a:gd name="T2" fmla="*/ 5 w 8"/>
                <a:gd name="T3" fmla="*/ 0 h 23"/>
                <a:gd name="T4" fmla="*/ 5 w 8"/>
                <a:gd name="T5" fmla="*/ 2 h 23"/>
                <a:gd name="T6" fmla="*/ 0 w 8"/>
                <a:gd name="T7" fmla="*/ 20 h 23"/>
                <a:gd name="T8" fmla="*/ 0 w 8"/>
                <a:gd name="T9" fmla="*/ 22 h 23"/>
                <a:gd name="T10" fmla="*/ 2 w 8"/>
                <a:gd name="T11" fmla="*/ 23 h 23"/>
                <a:gd name="T12" fmla="*/ 3 w 8"/>
                <a:gd name="T13" fmla="*/ 23 h 23"/>
                <a:gd name="T14" fmla="*/ 3 w 8"/>
                <a:gd name="T15" fmla="*/ 22 h 23"/>
                <a:gd name="T16" fmla="*/ 4 w 8"/>
                <a:gd name="T17" fmla="*/ 21 h 23"/>
                <a:gd name="T18" fmla="*/ 8 w 8"/>
                <a:gd name="T19" fmla="*/ 3 h 23"/>
                <a:gd name="T20" fmla="*/ 8 w 8"/>
                <a:gd name="T21" fmla="*/ 1 h 23"/>
                <a:gd name="T22" fmla="*/ 8 w 8"/>
                <a:gd name="T23" fmla="*/ 0 h 23"/>
                <a:gd name="T24" fmla="*/ 7 w 8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3">
                  <a:moveTo>
                    <a:pt x="7" y="0"/>
                  </a:move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1"/>
                    <a:pt x="5" y="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0" y="23"/>
                    <a:pt x="1" y="23"/>
                    <a:pt x="2" y="23"/>
                  </a:cubicBezTo>
                  <a:cubicBezTo>
                    <a:pt x="2" y="23"/>
                    <a:pt x="2" y="23"/>
                    <a:pt x="3" y="23"/>
                  </a:cubicBezTo>
                  <a:cubicBezTo>
                    <a:pt x="3" y="23"/>
                    <a:pt x="3" y="22"/>
                    <a:pt x="3" y="22"/>
                  </a:cubicBezTo>
                  <a:cubicBezTo>
                    <a:pt x="3" y="22"/>
                    <a:pt x="3" y="21"/>
                    <a:pt x="4" y="2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44" name="Freeform 31">
              <a:extLst>
                <a:ext uri="{FF2B5EF4-FFF2-40B4-BE49-F238E27FC236}">
                  <a16:creationId xmlns:a16="http://schemas.microsoft.com/office/drawing/2014/main" id="{128E33EF-DAF8-6EB3-E651-79BC4003AC21}"/>
                </a:ext>
              </a:extLst>
            </p:cNvPr>
            <p:cNvSpPr>
              <a:spLocks/>
            </p:cNvSpPr>
            <p:nvPr/>
          </p:nvSpPr>
          <p:spPr bwMode="auto">
            <a:xfrm>
              <a:off x="6989763" y="1044575"/>
              <a:ext cx="60325" cy="65087"/>
            </a:xfrm>
            <a:custGeom>
              <a:avLst/>
              <a:gdLst>
                <a:gd name="T0" fmla="*/ 0 w 38"/>
                <a:gd name="T1" fmla="*/ 10 h 41"/>
                <a:gd name="T2" fmla="*/ 26 w 38"/>
                <a:gd name="T3" fmla="*/ 19 h 41"/>
                <a:gd name="T4" fmla="*/ 0 w 38"/>
                <a:gd name="T5" fmla="*/ 32 h 41"/>
                <a:gd name="T6" fmla="*/ 0 w 38"/>
                <a:gd name="T7" fmla="*/ 41 h 41"/>
                <a:gd name="T8" fmla="*/ 38 w 38"/>
                <a:gd name="T9" fmla="*/ 24 h 41"/>
                <a:gd name="T10" fmla="*/ 38 w 38"/>
                <a:gd name="T11" fmla="*/ 17 h 41"/>
                <a:gd name="T12" fmla="*/ 0 w 38"/>
                <a:gd name="T13" fmla="*/ 0 h 41"/>
                <a:gd name="T14" fmla="*/ 0 w 38"/>
                <a:gd name="T15" fmla="*/ 1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41">
                  <a:moveTo>
                    <a:pt x="0" y="10"/>
                  </a:moveTo>
                  <a:lnTo>
                    <a:pt x="26" y="19"/>
                  </a:lnTo>
                  <a:lnTo>
                    <a:pt x="0" y="32"/>
                  </a:lnTo>
                  <a:lnTo>
                    <a:pt x="0" y="41"/>
                  </a:lnTo>
                  <a:lnTo>
                    <a:pt x="38" y="24"/>
                  </a:lnTo>
                  <a:lnTo>
                    <a:pt x="38" y="17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46648192"/>
      </p:ext>
    </p:extLst>
  </p:cSld>
  <p:clrMapOvr>
    <a:masterClrMapping/>
  </p:clrMapOvr>
</p:sld>
</file>

<file path=ppt/slides/slide1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3AB040-FF2F-0B6A-6600-FF9E11DD61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C2AF0768-1F33-CA86-3F91-37EAA6F7B76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84830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5A24931-DFF1-BE7E-1D56-7078834903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6 Concep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742EA73-3CD3-A47E-0E9B-B61309F9E2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56</a:t>
            </a:fld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AD6AC76-0F4B-08D5-2251-354F31A32778}"/>
              </a:ext>
            </a:extLst>
          </p:cNvPr>
          <p:cNvGrpSpPr/>
          <p:nvPr/>
        </p:nvGrpSpPr>
        <p:grpSpPr>
          <a:xfrm>
            <a:off x="876630" y="1541715"/>
            <a:ext cx="3810231" cy="4089530"/>
            <a:chOff x="876630" y="1541715"/>
            <a:chExt cx="3810231" cy="4089530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38ADB893-0B6A-384B-4F12-F43C5E5B2B76}"/>
                </a:ext>
              </a:extLst>
            </p:cNvPr>
            <p:cNvGrpSpPr/>
            <p:nvPr/>
          </p:nvGrpSpPr>
          <p:grpSpPr>
            <a:xfrm>
              <a:off x="1398006" y="1976010"/>
              <a:ext cx="2754783" cy="3195551"/>
              <a:chOff x="3505200" y="1562862"/>
              <a:chExt cx="2133600" cy="2474976"/>
            </a:xfrm>
          </p:grpSpPr>
          <p:sp>
            <p:nvSpPr>
              <p:cNvPr id="41" name="Hexagon 40">
                <a:extLst>
                  <a:ext uri="{FF2B5EF4-FFF2-40B4-BE49-F238E27FC236}">
                    <a16:creationId xmlns:a16="http://schemas.microsoft.com/office/drawing/2014/main" id="{09D9C21E-B4C8-D343-8661-AC95588E363D}"/>
                  </a:ext>
                </a:extLst>
              </p:cNvPr>
              <p:cNvSpPr/>
              <p:nvPr/>
            </p:nvSpPr>
            <p:spPr>
              <a:xfrm rot="5400000">
                <a:off x="3334512" y="1733550"/>
                <a:ext cx="2474976" cy="2133600"/>
              </a:xfrm>
              <a:prstGeom prst="hexagon">
                <a:avLst/>
              </a:prstGeom>
              <a:noFill/>
              <a:ln w="19050" cap="rnd">
                <a:solidFill>
                  <a:schemeClr val="tx1"/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764" b="1" dirty="0">
                  <a:solidFill>
                    <a:srgbClr val="FFFFFF"/>
                  </a:solidFill>
                </a:endParaRPr>
              </a:p>
            </p:txBody>
          </p: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1C04F9D9-5BA8-5218-035F-4447DEBA4BB3}"/>
                  </a:ext>
                </a:extLst>
              </p:cNvPr>
              <p:cNvCxnSpPr>
                <a:stCxn id="7" idx="0"/>
                <a:endCxn id="9" idx="4"/>
              </p:cNvCxnSpPr>
              <p:nvPr/>
            </p:nvCxnSpPr>
            <p:spPr>
              <a:xfrm flipV="1">
                <a:off x="3928569" y="2152650"/>
                <a:ext cx="1296697" cy="1"/>
              </a:xfrm>
              <a:prstGeom prst="line">
                <a:avLst/>
              </a:prstGeom>
              <a:ln w="19050" cap="rnd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61647C76-6C04-D95B-EF9E-6CBBC9DA4F5E}"/>
                  </a:ext>
                </a:extLst>
              </p:cNvPr>
              <p:cNvCxnSpPr>
                <a:stCxn id="12" idx="0"/>
                <a:endCxn id="10" idx="4"/>
              </p:cNvCxnSpPr>
              <p:nvPr/>
            </p:nvCxnSpPr>
            <p:spPr>
              <a:xfrm>
                <a:off x="3928569" y="3401345"/>
                <a:ext cx="1296697" cy="0"/>
              </a:xfrm>
              <a:prstGeom prst="line">
                <a:avLst/>
              </a:prstGeom>
              <a:ln w="19050" cap="rnd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548C4099-8EDA-2E7E-5C53-C3D13E2E1CB1}"/>
                  </a:ext>
                </a:extLst>
              </p:cNvPr>
              <p:cNvCxnSpPr>
                <a:stCxn id="8" idx="6"/>
                <a:endCxn id="11" idx="2"/>
              </p:cNvCxnSpPr>
              <p:nvPr/>
            </p:nvCxnSpPr>
            <p:spPr>
              <a:xfrm flipH="1">
                <a:off x="4572000" y="2053637"/>
                <a:ext cx="9779" cy="1513095"/>
              </a:xfrm>
              <a:prstGeom prst="line">
                <a:avLst/>
              </a:prstGeom>
              <a:ln w="19050" cap="rnd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D185BB6D-C823-7F93-69D3-6F2BC6B5E4CF}"/>
                  </a:ext>
                </a:extLst>
              </p:cNvPr>
              <p:cNvCxnSpPr>
                <a:stCxn id="8" idx="6"/>
                <a:endCxn id="12" idx="1"/>
              </p:cNvCxnSpPr>
              <p:nvPr/>
            </p:nvCxnSpPr>
            <p:spPr>
              <a:xfrm flipH="1">
                <a:off x="3807431" y="2053637"/>
                <a:ext cx="774348" cy="1055271"/>
              </a:xfrm>
              <a:prstGeom prst="line">
                <a:avLst/>
              </a:prstGeom>
              <a:ln w="19050" cap="rnd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75548590-344C-F57A-AEEC-A313BD9CACF4}"/>
                  </a:ext>
                </a:extLst>
              </p:cNvPr>
              <p:cNvCxnSpPr>
                <a:stCxn id="8" idx="6"/>
                <a:endCxn id="10" idx="3"/>
              </p:cNvCxnSpPr>
              <p:nvPr/>
            </p:nvCxnSpPr>
            <p:spPr>
              <a:xfrm>
                <a:off x="4581779" y="2053637"/>
                <a:ext cx="764624" cy="1055271"/>
              </a:xfrm>
              <a:prstGeom prst="line">
                <a:avLst/>
              </a:prstGeom>
              <a:ln w="19050" cap="rnd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5846E119-0F49-4C79-EE7C-021CCBC20316}"/>
                  </a:ext>
                </a:extLst>
              </p:cNvPr>
              <p:cNvCxnSpPr>
                <a:stCxn id="11" idx="2"/>
                <a:endCxn id="7" idx="7"/>
              </p:cNvCxnSpPr>
              <p:nvPr/>
            </p:nvCxnSpPr>
            <p:spPr>
              <a:xfrm flipH="1" flipV="1">
                <a:off x="3807431" y="2445089"/>
                <a:ext cx="764569" cy="1121643"/>
              </a:xfrm>
              <a:prstGeom prst="line">
                <a:avLst/>
              </a:prstGeom>
              <a:ln w="19050" cap="rnd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63E63F4F-C5EF-FE89-F6F3-F4C06A104198}"/>
                  </a:ext>
                </a:extLst>
              </p:cNvPr>
              <p:cNvCxnSpPr>
                <a:stCxn id="11" idx="2"/>
                <a:endCxn id="9" idx="5"/>
              </p:cNvCxnSpPr>
              <p:nvPr/>
            </p:nvCxnSpPr>
            <p:spPr>
              <a:xfrm flipV="1">
                <a:off x="4572000" y="2445088"/>
                <a:ext cx="774403" cy="1121644"/>
              </a:xfrm>
              <a:prstGeom prst="line">
                <a:avLst/>
              </a:prstGeom>
              <a:ln w="19050" cap="rnd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669351B1-8C75-1D56-7A86-25FFAB88C2F8}"/>
                  </a:ext>
                </a:extLst>
              </p:cNvPr>
              <p:cNvCxnSpPr>
                <a:stCxn id="7" idx="7"/>
                <a:endCxn id="10" idx="3"/>
              </p:cNvCxnSpPr>
              <p:nvPr/>
            </p:nvCxnSpPr>
            <p:spPr>
              <a:xfrm>
                <a:off x="3807431" y="2445089"/>
                <a:ext cx="1538972" cy="663819"/>
              </a:xfrm>
              <a:prstGeom prst="line">
                <a:avLst/>
              </a:prstGeom>
              <a:ln w="19050" cap="rnd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AF86F6E6-F127-9BF6-C919-B809F962E1A8}"/>
                  </a:ext>
                </a:extLst>
              </p:cNvPr>
              <p:cNvCxnSpPr>
                <a:stCxn id="9" idx="5"/>
                <a:endCxn id="12" idx="1"/>
              </p:cNvCxnSpPr>
              <p:nvPr/>
            </p:nvCxnSpPr>
            <p:spPr>
              <a:xfrm flipH="1">
                <a:off x="3807431" y="2445088"/>
                <a:ext cx="1538972" cy="663820"/>
              </a:xfrm>
              <a:prstGeom prst="line">
                <a:avLst/>
              </a:prstGeom>
              <a:ln w="19050" cap="rnd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CD7A0EC3-6062-916B-FE0E-F56199957E87}"/>
                </a:ext>
              </a:extLst>
            </p:cNvPr>
            <p:cNvSpPr/>
            <p:nvPr/>
          </p:nvSpPr>
          <p:spPr>
            <a:xfrm rot="5400000">
              <a:off x="876655" y="2203510"/>
              <a:ext cx="1067956" cy="1068005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764" b="1" dirty="0">
                <a:solidFill>
                  <a:srgbClr val="FFFFFF"/>
                </a:solidFill>
              </a:endParaRPr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EEECB4BB-EE3A-DE00-EAFF-E90B92164F3F}"/>
                </a:ext>
              </a:extLst>
            </p:cNvPr>
            <p:cNvSpPr/>
            <p:nvPr/>
          </p:nvSpPr>
          <p:spPr>
            <a:xfrm rot="5400000">
              <a:off x="2254046" y="1541690"/>
              <a:ext cx="1067956" cy="1068005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764" b="1" dirty="0">
                <a:solidFill>
                  <a:srgbClr val="FFFFFF"/>
                </a:solidFill>
              </a:endParaRPr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E5E2C816-2FF3-33AE-7AC2-E9A28188A901}"/>
                </a:ext>
              </a:extLst>
            </p:cNvPr>
            <p:cNvSpPr/>
            <p:nvPr/>
          </p:nvSpPr>
          <p:spPr>
            <a:xfrm rot="5400000">
              <a:off x="3618881" y="2203509"/>
              <a:ext cx="1067956" cy="106800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764" b="1" dirty="0">
                <a:solidFill>
                  <a:srgbClr val="FFFFFF"/>
                </a:solidFill>
              </a:endParaRPr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CFC203CF-F143-B68B-E007-DF3A462B7E3E}"/>
                </a:ext>
              </a:extLst>
            </p:cNvPr>
            <p:cNvSpPr/>
            <p:nvPr/>
          </p:nvSpPr>
          <p:spPr>
            <a:xfrm rot="5400000">
              <a:off x="3618881" y="3815754"/>
              <a:ext cx="1067956" cy="1068005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764" b="1" dirty="0">
                <a:solidFill>
                  <a:srgbClr val="FFFFFF"/>
                </a:solidFill>
              </a:endParaRPr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12514F15-E565-AB22-F846-A28C6F6C748F}"/>
                </a:ext>
              </a:extLst>
            </p:cNvPr>
            <p:cNvSpPr/>
            <p:nvPr/>
          </p:nvSpPr>
          <p:spPr>
            <a:xfrm rot="5400000">
              <a:off x="2241422" y="4563268"/>
              <a:ext cx="1067951" cy="1068004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764" b="1" dirty="0">
                <a:solidFill>
                  <a:srgbClr val="FFFFFF"/>
                </a:solidFill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8EA7461B-A278-30E5-E936-B8FEE823F1D3}"/>
                </a:ext>
              </a:extLst>
            </p:cNvPr>
            <p:cNvSpPr/>
            <p:nvPr/>
          </p:nvSpPr>
          <p:spPr>
            <a:xfrm rot="5400000">
              <a:off x="876655" y="3815754"/>
              <a:ext cx="1067956" cy="1068006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764" b="1" dirty="0">
                <a:solidFill>
                  <a:srgbClr val="FFFFFF"/>
                </a:solidFill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517F24A3-1DE9-BE39-C2C9-5F03FF339FC5}"/>
                </a:ext>
              </a:extLst>
            </p:cNvPr>
            <p:cNvSpPr/>
            <p:nvPr/>
          </p:nvSpPr>
          <p:spPr>
            <a:xfrm rot="5400000">
              <a:off x="2242119" y="3040508"/>
              <a:ext cx="1066555" cy="1066556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764" b="1" dirty="0">
                <a:solidFill>
                  <a:srgbClr val="FFFFFF"/>
                </a:solidFill>
              </a:endParaRPr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6D31F1B2-B839-63E1-B1E3-E1FEFC1CABFD}"/>
                </a:ext>
              </a:extLst>
            </p:cNvPr>
            <p:cNvGrpSpPr/>
            <p:nvPr/>
          </p:nvGrpSpPr>
          <p:grpSpPr>
            <a:xfrm>
              <a:off x="1094397" y="4136503"/>
              <a:ext cx="632472" cy="426508"/>
              <a:chOff x="6716027" y="5411634"/>
              <a:chExt cx="583964" cy="393797"/>
            </a:xfrm>
            <a:solidFill>
              <a:schemeClr val="bg1"/>
            </a:solidFill>
          </p:grpSpPr>
          <p:sp>
            <p:nvSpPr>
              <p:cNvPr id="38" name="Freeform 17">
                <a:extLst>
                  <a:ext uri="{FF2B5EF4-FFF2-40B4-BE49-F238E27FC236}">
                    <a16:creationId xmlns:a16="http://schemas.microsoft.com/office/drawing/2014/main" id="{5C13042D-F72F-6A91-298A-4392F028908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2700000">
                <a:off x="6832931" y="5294730"/>
                <a:ext cx="350155" cy="583964"/>
              </a:xfrm>
              <a:custGeom>
                <a:avLst/>
                <a:gdLst>
                  <a:gd name="T0" fmla="*/ 50 w 184"/>
                  <a:gd name="T1" fmla="*/ 310 h 310"/>
                  <a:gd name="T2" fmla="*/ 32 w 184"/>
                  <a:gd name="T3" fmla="*/ 282 h 310"/>
                  <a:gd name="T4" fmla="*/ 10 w 184"/>
                  <a:gd name="T5" fmla="*/ 199 h 310"/>
                  <a:gd name="T6" fmla="*/ 39 w 184"/>
                  <a:gd name="T7" fmla="*/ 171 h 310"/>
                  <a:gd name="T8" fmla="*/ 30 w 184"/>
                  <a:gd name="T9" fmla="*/ 116 h 310"/>
                  <a:gd name="T10" fmla="*/ 36 w 184"/>
                  <a:gd name="T11" fmla="*/ 73 h 310"/>
                  <a:gd name="T12" fmla="*/ 36 w 184"/>
                  <a:gd name="T13" fmla="*/ 72 h 310"/>
                  <a:gd name="T14" fmla="*/ 92 w 184"/>
                  <a:gd name="T15" fmla="*/ 0 h 310"/>
                  <a:gd name="T16" fmla="*/ 148 w 184"/>
                  <a:gd name="T17" fmla="*/ 72 h 310"/>
                  <a:gd name="T18" fmla="*/ 148 w 184"/>
                  <a:gd name="T19" fmla="*/ 73 h 310"/>
                  <a:gd name="T20" fmla="*/ 155 w 184"/>
                  <a:gd name="T21" fmla="*/ 116 h 310"/>
                  <a:gd name="T22" fmla="*/ 145 w 184"/>
                  <a:gd name="T23" fmla="*/ 171 h 310"/>
                  <a:gd name="T24" fmla="*/ 174 w 184"/>
                  <a:gd name="T25" fmla="*/ 199 h 310"/>
                  <a:gd name="T26" fmla="*/ 153 w 184"/>
                  <a:gd name="T27" fmla="*/ 282 h 310"/>
                  <a:gd name="T28" fmla="*/ 134 w 184"/>
                  <a:gd name="T29" fmla="*/ 310 h 310"/>
                  <a:gd name="T30" fmla="*/ 134 w 184"/>
                  <a:gd name="T31" fmla="*/ 276 h 310"/>
                  <a:gd name="T32" fmla="*/ 118 w 184"/>
                  <a:gd name="T33" fmla="*/ 239 h 310"/>
                  <a:gd name="T34" fmla="*/ 118 w 184"/>
                  <a:gd name="T35" fmla="*/ 240 h 310"/>
                  <a:gd name="T36" fmla="*/ 115 w 184"/>
                  <a:gd name="T37" fmla="*/ 246 h 310"/>
                  <a:gd name="T38" fmla="*/ 108 w 184"/>
                  <a:gd name="T39" fmla="*/ 245 h 310"/>
                  <a:gd name="T40" fmla="*/ 76 w 184"/>
                  <a:gd name="T41" fmla="*/ 245 h 310"/>
                  <a:gd name="T42" fmla="*/ 69 w 184"/>
                  <a:gd name="T43" fmla="*/ 246 h 310"/>
                  <a:gd name="T44" fmla="*/ 66 w 184"/>
                  <a:gd name="T45" fmla="*/ 240 h 310"/>
                  <a:gd name="T46" fmla="*/ 66 w 184"/>
                  <a:gd name="T47" fmla="*/ 239 h 310"/>
                  <a:gd name="T48" fmla="*/ 50 w 184"/>
                  <a:gd name="T49" fmla="*/ 276 h 310"/>
                  <a:gd name="T50" fmla="*/ 50 w 184"/>
                  <a:gd name="T51" fmla="*/ 310 h 310"/>
                  <a:gd name="T52" fmla="*/ 55 w 184"/>
                  <a:gd name="T53" fmla="*/ 79 h 310"/>
                  <a:gd name="T54" fmla="*/ 50 w 184"/>
                  <a:gd name="T55" fmla="*/ 116 h 310"/>
                  <a:gd name="T56" fmla="*/ 61 w 184"/>
                  <a:gd name="T57" fmla="*/ 174 h 310"/>
                  <a:gd name="T58" fmla="*/ 64 w 184"/>
                  <a:gd name="T59" fmla="*/ 184 h 310"/>
                  <a:gd name="T60" fmla="*/ 54 w 184"/>
                  <a:gd name="T61" fmla="*/ 187 h 310"/>
                  <a:gd name="T62" fmla="*/ 29 w 184"/>
                  <a:gd name="T63" fmla="*/ 205 h 310"/>
                  <a:gd name="T64" fmla="*/ 36 w 184"/>
                  <a:gd name="T65" fmla="*/ 247 h 310"/>
                  <a:gd name="T66" fmla="*/ 65 w 184"/>
                  <a:gd name="T67" fmla="*/ 215 h 310"/>
                  <a:gd name="T68" fmla="*/ 74 w 184"/>
                  <a:gd name="T69" fmla="*/ 209 h 310"/>
                  <a:gd name="T70" fmla="*/ 79 w 184"/>
                  <a:gd name="T71" fmla="*/ 219 h 310"/>
                  <a:gd name="T72" fmla="*/ 82 w 184"/>
                  <a:gd name="T73" fmla="*/ 225 h 310"/>
                  <a:gd name="T74" fmla="*/ 103 w 184"/>
                  <a:gd name="T75" fmla="*/ 225 h 310"/>
                  <a:gd name="T76" fmla="*/ 105 w 184"/>
                  <a:gd name="T77" fmla="*/ 219 h 310"/>
                  <a:gd name="T78" fmla="*/ 110 w 184"/>
                  <a:gd name="T79" fmla="*/ 209 h 310"/>
                  <a:gd name="T80" fmla="*/ 120 w 184"/>
                  <a:gd name="T81" fmla="*/ 215 h 310"/>
                  <a:gd name="T82" fmla="*/ 148 w 184"/>
                  <a:gd name="T83" fmla="*/ 247 h 310"/>
                  <a:gd name="T84" fmla="*/ 155 w 184"/>
                  <a:gd name="T85" fmla="*/ 205 h 310"/>
                  <a:gd name="T86" fmla="*/ 130 w 184"/>
                  <a:gd name="T87" fmla="*/ 187 h 310"/>
                  <a:gd name="T88" fmla="*/ 120 w 184"/>
                  <a:gd name="T89" fmla="*/ 184 h 310"/>
                  <a:gd name="T90" fmla="*/ 123 w 184"/>
                  <a:gd name="T91" fmla="*/ 174 h 310"/>
                  <a:gd name="T92" fmla="*/ 135 w 184"/>
                  <a:gd name="T93" fmla="*/ 116 h 310"/>
                  <a:gd name="T94" fmla="*/ 129 w 184"/>
                  <a:gd name="T95" fmla="*/ 79 h 310"/>
                  <a:gd name="T96" fmla="*/ 92 w 184"/>
                  <a:gd name="T97" fmla="*/ 21 h 310"/>
                  <a:gd name="T98" fmla="*/ 55 w 184"/>
                  <a:gd name="T99" fmla="*/ 79 h 3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84" h="310">
                    <a:moveTo>
                      <a:pt x="50" y="310"/>
                    </a:moveTo>
                    <a:cubicBezTo>
                      <a:pt x="32" y="282"/>
                      <a:pt x="32" y="282"/>
                      <a:pt x="32" y="282"/>
                    </a:cubicBezTo>
                    <a:cubicBezTo>
                      <a:pt x="28" y="276"/>
                      <a:pt x="0" y="230"/>
                      <a:pt x="10" y="199"/>
                    </a:cubicBezTo>
                    <a:cubicBezTo>
                      <a:pt x="14" y="187"/>
                      <a:pt x="24" y="178"/>
                      <a:pt x="39" y="171"/>
                    </a:cubicBezTo>
                    <a:cubicBezTo>
                      <a:pt x="33" y="151"/>
                      <a:pt x="30" y="132"/>
                      <a:pt x="30" y="116"/>
                    </a:cubicBezTo>
                    <a:cubicBezTo>
                      <a:pt x="30" y="102"/>
                      <a:pt x="32" y="87"/>
                      <a:pt x="36" y="73"/>
                    </a:cubicBezTo>
                    <a:cubicBezTo>
                      <a:pt x="36" y="72"/>
                      <a:pt x="36" y="72"/>
                      <a:pt x="36" y="72"/>
                    </a:cubicBezTo>
                    <a:cubicBezTo>
                      <a:pt x="50" y="35"/>
                      <a:pt x="77" y="0"/>
                      <a:pt x="92" y="0"/>
                    </a:cubicBezTo>
                    <a:cubicBezTo>
                      <a:pt x="107" y="0"/>
                      <a:pt x="134" y="35"/>
                      <a:pt x="148" y="72"/>
                    </a:cubicBezTo>
                    <a:cubicBezTo>
                      <a:pt x="148" y="73"/>
                      <a:pt x="148" y="73"/>
                      <a:pt x="148" y="73"/>
                    </a:cubicBezTo>
                    <a:cubicBezTo>
                      <a:pt x="152" y="87"/>
                      <a:pt x="155" y="102"/>
                      <a:pt x="155" y="116"/>
                    </a:cubicBezTo>
                    <a:cubicBezTo>
                      <a:pt x="155" y="132"/>
                      <a:pt x="152" y="151"/>
                      <a:pt x="145" y="171"/>
                    </a:cubicBezTo>
                    <a:cubicBezTo>
                      <a:pt x="160" y="178"/>
                      <a:pt x="170" y="187"/>
                      <a:pt x="174" y="199"/>
                    </a:cubicBezTo>
                    <a:cubicBezTo>
                      <a:pt x="184" y="230"/>
                      <a:pt x="156" y="276"/>
                      <a:pt x="153" y="282"/>
                    </a:cubicBezTo>
                    <a:cubicBezTo>
                      <a:pt x="134" y="310"/>
                      <a:pt x="134" y="310"/>
                      <a:pt x="134" y="310"/>
                    </a:cubicBezTo>
                    <a:cubicBezTo>
                      <a:pt x="134" y="276"/>
                      <a:pt x="134" y="276"/>
                      <a:pt x="134" y="276"/>
                    </a:cubicBezTo>
                    <a:cubicBezTo>
                      <a:pt x="134" y="262"/>
                      <a:pt x="128" y="248"/>
                      <a:pt x="118" y="239"/>
                    </a:cubicBezTo>
                    <a:cubicBezTo>
                      <a:pt x="118" y="239"/>
                      <a:pt x="118" y="239"/>
                      <a:pt x="118" y="240"/>
                    </a:cubicBezTo>
                    <a:cubicBezTo>
                      <a:pt x="115" y="246"/>
                      <a:pt x="115" y="246"/>
                      <a:pt x="115" y="246"/>
                    </a:cubicBezTo>
                    <a:cubicBezTo>
                      <a:pt x="108" y="245"/>
                      <a:pt x="108" y="245"/>
                      <a:pt x="108" y="245"/>
                    </a:cubicBezTo>
                    <a:cubicBezTo>
                      <a:pt x="98" y="245"/>
                      <a:pt x="87" y="245"/>
                      <a:pt x="76" y="245"/>
                    </a:cubicBezTo>
                    <a:cubicBezTo>
                      <a:pt x="69" y="246"/>
                      <a:pt x="69" y="246"/>
                      <a:pt x="69" y="246"/>
                    </a:cubicBezTo>
                    <a:cubicBezTo>
                      <a:pt x="66" y="240"/>
                      <a:pt x="66" y="240"/>
                      <a:pt x="66" y="240"/>
                    </a:cubicBezTo>
                    <a:cubicBezTo>
                      <a:pt x="66" y="239"/>
                      <a:pt x="66" y="239"/>
                      <a:pt x="66" y="239"/>
                    </a:cubicBezTo>
                    <a:cubicBezTo>
                      <a:pt x="56" y="249"/>
                      <a:pt x="50" y="262"/>
                      <a:pt x="50" y="276"/>
                    </a:cubicBezTo>
                    <a:lnTo>
                      <a:pt x="50" y="310"/>
                    </a:lnTo>
                    <a:close/>
                    <a:moveTo>
                      <a:pt x="55" y="79"/>
                    </a:moveTo>
                    <a:cubicBezTo>
                      <a:pt x="52" y="91"/>
                      <a:pt x="50" y="104"/>
                      <a:pt x="50" y="116"/>
                    </a:cubicBezTo>
                    <a:cubicBezTo>
                      <a:pt x="50" y="132"/>
                      <a:pt x="53" y="152"/>
                      <a:pt x="61" y="174"/>
                    </a:cubicBezTo>
                    <a:cubicBezTo>
                      <a:pt x="64" y="184"/>
                      <a:pt x="64" y="184"/>
                      <a:pt x="64" y="184"/>
                    </a:cubicBezTo>
                    <a:cubicBezTo>
                      <a:pt x="54" y="187"/>
                      <a:pt x="54" y="187"/>
                      <a:pt x="54" y="187"/>
                    </a:cubicBezTo>
                    <a:cubicBezTo>
                      <a:pt x="45" y="190"/>
                      <a:pt x="33" y="196"/>
                      <a:pt x="29" y="205"/>
                    </a:cubicBezTo>
                    <a:cubicBezTo>
                      <a:pt x="26" y="216"/>
                      <a:pt x="30" y="233"/>
                      <a:pt x="36" y="247"/>
                    </a:cubicBezTo>
                    <a:cubicBezTo>
                      <a:pt x="42" y="234"/>
                      <a:pt x="52" y="223"/>
                      <a:pt x="65" y="215"/>
                    </a:cubicBezTo>
                    <a:cubicBezTo>
                      <a:pt x="74" y="209"/>
                      <a:pt x="74" y="209"/>
                      <a:pt x="74" y="209"/>
                    </a:cubicBezTo>
                    <a:cubicBezTo>
                      <a:pt x="79" y="219"/>
                      <a:pt x="79" y="219"/>
                      <a:pt x="79" y="219"/>
                    </a:cubicBezTo>
                    <a:cubicBezTo>
                      <a:pt x="80" y="221"/>
                      <a:pt x="81" y="223"/>
                      <a:pt x="82" y="225"/>
                    </a:cubicBezTo>
                    <a:cubicBezTo>
                      <a:pt x="89" y="225"/>
                      <a:pt x="96" y="225"/>
                      <a:pt x="103" y="225"/>
                    </a:cubicBezTo>
                    <a:cubicBezTo>
                      <a:pt x="104" y="223"/>
                      <a:pt x="105" y="221"/>
                      <a:pt x="105" y="219"/>
                    </a:cubicBezTo>
                    <a:cubicBezTo>
                      <a:pt x="110" y="209"/>
                      <a:pt x="110" y="209"/>
                      <a:pt x="110" y="209"/>
                    </a:cubicBezTo>
                    <a:cubicBezTo>
                      <a:pt x="120" y="215"/>
                      <a:pt x="120" y="215"/>
                      <a:pt x="120" y="215"/>
                    </a:cubicBezTo>
                    <a:cubicBezTo>
                      <a:pt x="133" y="223"/>
                      <a:pt x="142" y="234"/>
                      <a:pt x="148" y="247"/>
                    </a:cubicBezTo>
                    <a:cubicBezTo>
                      <a:pt x="154" y="233"/>
                      <a:pt x="159" y="216"/>
                      <a:pt x="155" y="205"/>
                    </a:cubicBezTo>
                    <a:cubicBezTo>
                      <a:pt x="152" y="196"/>
                      <a:pt x="140" y="190"/>
                      <a:pt x="130" y="187"/>
                    </a:cubicBezTo>
                    <a:cubicBezTo>
                      <a:pt x="120" y="184"/>
                      <a:pt x="120" y="184"/>
                      <a:pt x="120" y="184"/>
                    </a:cubicBezTo>
                    <a:cubicBezTo>
                      <a:pt x="123" y="174"/>
                      <a:pt x="123" y="174"/>
                      <a:pt x="123" y="174"/>
                    </a:cubicBezTo>
                    <a:cubicBezTo>
                      <a:pt x="131" y="152"/>
                      <a:pt x="135" y="132"/>
                      <a:pt x="135" y="116"/>
                    </a:cubicBezTo>
                    <a:cubicBezTo>
                      <a:pt x="135" y="104"/>
                      <a:pt x="133" y="91"/>
                      <a:pt x="129" y="79"/>
                    </a:cubicBezTo>
                    <a:cubicBezTo>
                      <a:pt x="117" y="47"/>
                      <a:pt x="99" y="26"/>
                      <a:pt x="92" y="21"/>
                    </a:cubicBezTo>
                    <a:cubicBezTo>
                      <a:pt x="85" y="26"/>
                      <a:pt x="67" y="47"/>
                      <a:pt x="55" y="7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39" name="Freeform 18">
                <a:extLst>
                  <a:ext uri="{FF2B5EF4-FFF2-40B4-BE49-F238E27FC236}">
                    <a16:creationId xmlns:a16="http://schemas.microsoft.com/office/drawing/2014/main" id="{4DB4CFAD-D829-2261-7421-AB0D7ADFC53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2700000">
                <a:off x="6989613" y="5483631"/>
                <a:ext cx="121724" cy="120112"/>
              </a:xfrm>
              <a:custGeom>
                <a:avLst/>
                <a:gdLst>
                  <a:gd name="T0" fmla="*/ 32 w 64"/>
                  <a:gd name="T1" fmla="*/ 64 h 64"/>
                  <a:gd name="T2" fmla="*/ 0 w 64"/>
                  <a:gd name="T3" fmla="*/ 32 h 64"/>
                  <a:gd name="T4" fmla="*/ 32 w 64"/>
                  <a:gd name="T5" fmla="*/ 0 h 64"/>
                  <a:gd name="T6" fmla="*/ 64 w 64"/>
                  <a:gd name="T7" fmla="*/ 32 h 64"/>
                  <a:gd name="T8" fmla="*/ 32 w 64"/>
                  <a:gd name="T9" fmla="*/ 64 h 64"/>
                  <a:gd name="T10" fmla="*/ 32 w 64"/>
                  <a:gd name="T11" fmla="*/ 12 h 64"/>
                  <a:gd name="T12" fmla="*/ 12 w 64"/>
                  <a:gd name="T13" fmla="*/ 32 h 64"/>
                  <a:gd name="T14" fmla="*/ 32 w 64"/>
                  <a:gd name="T15" fmla="*/ 52 h 64"/>
                  <a:gd name="T16" fmla="*/ 52 w 64"/>
                  <a:gd name="T17" fmla="*/ 32 h 64"/>
                  <a:gd name="T18" fmla="*/ 32 w 64"/>
                  <a:gd name="T19" fmla="*/ 12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4" h="64">
                    <a:moveTo>
                      <a:pt x="32" y="64"/>
                    </a:moveTo>
                    <a:cubicBezTo>
                      <a:pt x="14" y="64"/>
                      <a:pt x="0" y="50"/>
                      <a:pt x="0" y="32"/>
                    </a:cubicBezTo>
                    <a:cubicBezTo>
                      <a:pt x="0" y="14"/>
                      <a:pt x="14" y="0"/>
                      <a:pt x="32" y="0"/>
                    </a:cubicBezTo>
                    <a:cubicBezTo>
                      <a:pt x="50" y="0"/>
                      <a:pt x="64" y="14"/>
                      <a:pt x="64" y="32"/>
                    </a:cubicBezTo>
                    <a:cubicBezTo>
                      <a:pt x="64" y="50"/>
                      <a:pt x="50" y="64"/>
                      <a:pt x="32" y="64"/>
                    </a:cubicBezTo>
                    <a:close/>
                    <a:moveTo>
                      <a:pt x="32" y="12"/>
                    </a:moveTo>
                    <a:cubicBezTo>
                      <a:pt x="21" y="12"/>
                      <a:pt x="12" y="21"/>
                      <a:pt x="12" y="32"/>
                    </a:cubicBezTo>
                    <a:cubicBezTo>
                      <a:pt x="12" y="43"/>
                      <a:pt x="21" y="52"/>
                      <a:pt x="32" y="52"/>
                    </a:cubicBezTo>
                    <a:cubicBezTo>
                      <a:pt x="43" y="52"/>
                      <a:pt x="52" y="43"/>
                      <a:pt x="52" y="32"/>
                    </a:cubicBezTo>
                    <a:cubicBezTo>
                      <a:pt x="52" y="21"/>
                      <a:pt x="43" y="12"/>
                      <a:pt x="3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40" name="Freeform 19">
                <a:extLst>
                  <a:ext uri="{FF2B5EF4-FFF2-40B4-BE49-F238E27FC236}">
                    <a16:creationId xmlns:a16="http://schemas.microsoft.com/office/drawing/2014/main" id="{6551E12A-D13F-6F8B-3397-43067B2DB7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2700000">
                <a:off x="6790966" y="5660018"/>
                <a:ext cx="112239" cy="178587"/>
              </a:xfrm>
              <a:custGeom>
                <a:avLst/>
                <a:gdLst>
                  <a:gd name="T0" fmla="*/ 29 w 59"/>
                  <a:gd name="T1" fmla="*/ 95 h 95"/>
                  <a:gd name="T2" fmla="*/ 24 w 59"/>
                  <a:gd name="T3" fmla="*/ 85 h 95"/>
                  <a:gd name="T4" fmla="*/ 0 w 59"/>
                  <a:gd name="T5" fmla="*/ 26 h 95"/>
                  <a:gd name="T6" fmla="*/ 29 w 59"/>
                  <a:gd name="T7" fmla="*/ 0 h 95"/>
                  <a:gd name="T8" fmla="*/ 59 w 59"/>
                  <a:gd name="T9" fmla="*/ 26 h 95"/>
                  <a:gd name="T10" fmla="*/ 34 w 59"/>
                  <a:gd name="T11" fmla="*/ 85 h 95"/>
                  <a:gd name="T12" fmla="*/ 29 w 59"/>
                  <a:gd name="T13" fmla="*/ 95 h 95"/>
                  <a:gd name="T14" fmla="*/ 29 w 59"/>
                  <a:gd name="T15" fmla="*/ 12 h 95"/>
                  <a:gd name="T16" fmla="*/ 12 w 59"/>
                  <a:gd name="T17" fmla="*/ 26 h 95"/>
                  <a:gd name="T18" fmla="*/ 29 w 59"/>
                  <a:gd name="T19" fmla="*/ 69 h 95"/>
                  <a:gd name="T20" fmla="*/ 47 w 59"/>
                  <a:gd name="T21" fmla="*/ 26 h 95"/>
                  <a:gd name="T22" fmla="*/ 29 w 59"/>
                  <a:gd name="T23" fmla="*/ 12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9" h="95">
                    <a:moveTo>
                      <a:pt x="29" y="95"/>
                    </a:moveTo>
                    <a:cubicBezTo>
                      <a:pt x="24" y="85"/>
                      <a:pt x="24" y="85"/>
                      <a:pt x="24" y="85"/>
                    </a:cubicBezTo>
                    <a:cubicBezTo>
                      <a:pt x="20" y="77"/>
                      <a:pt x="0" y="38"/>
                      <a:pt x="0" y="26"/>
                    </a:cubicBezTo>
                    <a:cubicBezTo>
                      <a:pt x="0" y="12"/>
                      <a:pt x="13" y="0"/>
                      <a:pt x="29" y="0"/>
                    </a:cubicBezTo>
                    <a:cubicBezTo>
                      <a:pt x="45" y="0"/>
                      <a:pt x="59" y="12"/>
                      <a:pt x="59" y="26"/>
                    </a:cubicBezTo>
                    <a:cubicBezTo>
                      <a:pt x="59" y="38"/>
                      <a:pt x="39" y="77"/>
                      <a:pt x="34" y="85"/>
                    </a:cubicBezTo>
                    <a:lnTo>
                      <a:pt x="29" y="95"/>
                    </a:lnTo>
                    <a:close/>
                    <a:moveTo>
                      <a:pt x="29" y="12"/>
                    </a:moveTo>
                    <a:cubicBezTo>
                      <a:pt x="19" y="12"/>
                      <a:pt x="12" y="18"/>
                      <a:pt x="12" y="26"/>
                    </a:cubicBezTo>
                    <a:cubicBezTo>
                      <a:pt x="12" y="31"/>
                      <a:pt x="20" y="50"/>
                      <a:pt x="29" y="69"/>
                    </a:cubicBezTo>
                    <a:cubicBezTo>
                      <a:pt x="38" y="50"/>
                      <a:pt x="47" y="31"/>
                      <a:pt x="47" y="26"/>
                    </a:cubicBezTo>
                    <a:cubicBezTo>
                      <a:pt x="47" y="18"/>
                      <a:pt x="39" y="12"/>
                      <a:pt x="29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</p:grp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AEE87356-2135-10DB-D084-D2580E387BBA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575304" y="4777932"/>
              <a:ext cx="400186" cy="638676"/>
              <a:chOff x="6513513" y="557213"/>
              <a:chExt cx="471488" cy="752475"/>
            </a:xfrm>
            <a:solidFill>
              <a:schemeClr val="bg1"/>
            </a:solidFill>
          </p:grpSpPr>
          <p:sp>
            <p:nvSpPr>
              <p:cNvPr id="36" name="Freeform 21">
                <a:extLst>
                  <a:ext uri="{FF2B5EF4-FFF2-40B4-BE49-F238E27FC236}">
                    <a16:creationId xmlns:a16="http://schemas.microsoft.com/office/drawing/2014/main" id="{A14EB98C-F123-BB70-3195-63907EC64E0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13513" y="557213"/>
                <a:ext cx="471488" cy="752475"/>
              </a:xfrm>
              <a:custGeom>
                <a:avLst/>
                <a:gdLst>
                  <a:gd name="T0" fmla="*/ 80 w 160"/>
                  <a:gd name="T1" fmla="*/ 0 h 256"/>
                  <a:gd name="T2" fmla="*/ 11 w 160"/>
                  <a:gd name="T3" fmla="*/ 120 h 256"/>
                  <a:gd name="T4" fmla="*/ 42 w 160"/>
                  <a:gd name="T5" fmla="*/ 179 h 256"/>
                  <a:gd name="T6" fmla="*/ 49 w 160"/>
                  <a:gd name="T7" fmla="*/ 187 h 256"/>
                  <a:gd name="T8" fmla="*/ 48 w 160"/>
                  <a:gd name="T9" fmla="*/ 208 h 256"/>
                  <a:gd name="T10" fmla="*/ 52 w 160"/>
                  <a:gd name="T11" fmla="*/ 231 h 256"/>
                  <a:gd name="T12" fmla="*/ 108 w 160"/>
                  <a:gd name="T13" fmla="*/ 231 h 256"/>
                  <a:gd name="T14" fmla="*/ 112 w 160"/>
                  <a:gd name="T15" fmla="*/ 208 h 256"/>
                  <a:gd name="T16" fmla="*/ 110 w 160"/>
                  <a:gd name="T17" fmla="*/ 187 h 256"/>
                  <a:gd name="T18" fmla="*/ 118 w 160"/>
                  <a:gd name="T19" fmla="*/ 179 h 256"/>
                  <a:gd name="T20" fmla="*/ 149 w 160"/>
                  <a:gd name="T21" fmla="*/ 120 h 256"/>
                  <a:gd name="T22" fmla="*/ 80 w 160"/>
                  <a:gd name="T23" fmla="*/ 248 h 256"/>
                  <a:gd name="T24" fmla="*/ 99 w 160"/>
                  <a:gd name="T25" fmla="*/ 232 h 256"/>
                  <a:gd name="T26" fmla="*/ 108 w 160"/>
                  <a:gd name="T27" fmla="*/ 218 h 256"/>
                  <a:gd name="T28" fmla="*/ 58 w 160"/>
                  <a:gd name="T29" fmla="*/ 224 h 256"/>
                  <a:gd name="T30" fmla="*/ 58 w 160"/>
                  <a:gd name="T31" fmla="*/ 212 h 256"/>
                  <a:gd name="T32" fmla="*/ 108 w 160"/>
                  <a:gd name="T33" fmla="*/ 218 h 256"/>
                  <a:gd name="T34" fmla="*/ 108 w 160"/>
                  <a:gd name="T35" fmla="*/ 198 h 256"/>
                  <a:gd name="T36" fmla="*/ 58 w 160"/>
                  <a:gd name="T37" fmla="*/ 204 h 256"/>
                  <a:gd name="T38" fmla="*/ 58 w 160"/>
                  <a:gd name="T39" fmla="*/ 192 h 256"/>
                  <a:gd name="T40" fmla="*/ 96 w 160"/>
                  <a:gd name="T41" fmla="*/ 192 h 256"/>
                  <a:gd name="T42" fmla="*/ 135 w 160"/>
                  <a:gd name="T43" fmla="*/ 112 h 256"/>
                  <a:gd name="T44" fmla="*/ 104 w 160"/>
                  <a:gd name="T45" fmla="*/ 170 h 256"/>
                  <a:gd name="T46" fmla="*/ 96 w 160"/>
                  <a:gd name="T47" fmla="*/ 176 h 256"/>
                  <a:gd name="T48" fmla="*/ 96 w 160"/>
                  <a:gd name="T49" fmla="*/ 124 h 256"/>
                  <a:gd name="T50" fmla="*/ 88 w 160"/>
                  <a:gd name="T51" fmla="*/ 176 h 256"/>
                  <a:gd name="T52" fmla="*/ 68 w 160"/>
                  <a:gd name="T53" fmla="*/ 128 h 256"/>
                  <a:gd name="T54" fmla="*/ 60 w 160"/>
                  <a:gd name="T55" fmla="*/ 129 h 256"/>
                  <a:gd name="T56" fmla="*/ 57 w 160"/>
                  <a:gd name="T57" fmla="*/ 172 h 256"/>
                  <a:gd name="T58" fmla="*/ 26 w 160"/>
                  <a:gd name="T59" fmla="*/ 114 h 256"/>
                  <a:gd name="T60" fmla="*/ 16 w 160"/>
                  <a:gd name="T61" fmla="*/ 80 h 256"/>
                  <a:gd name="T62" fmla="*/ 144 w 160"/>
                  <a:gd name="T63" fmla="*/ 80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60" h="256">
                    <a:moveTo>
                      <a:pt x="160" y="80"/>
                    </a:moveTo>
                    <a:cubicBezTo>
                      <a:pt x="160" y="36"/>
                      <a:pt x="124" y="0"/>
                      <a:pt x="80" y="0"/>
                    </a:cubicBezTo>
                    <a:cubicBezTo>
                      <a:pt x="36" y="0"/>
                      <a:pt x="0" y="36"/>
                      <a:pt x="0" y="80"/>
                    </a:cubicBezTo>
                    <a:cubicBezTo>
                      <a:pt x="0" y="95"/>
                      <a:pt x="4" y="109"/>
                      <a:pt x="11" y="120"/>
                    </a:cubicBezTo>
                    <a:cubicBezTo>
                      <a:pt x="11" y="120"/>
                      <a:pt x="11" y="120"/>
                      <a:pt x="11" y="120"/>
                    </a:cubicBezTo>
                    <a:cubicBezTo>
                      <a:pt x="42" y="179"/>
                      <a:pt x="42" y="179"/>
                      <a:pt x="42" y="179"/>
                    </a:cubicBezTo>
                    <a:cubicBezTo>
                      <a:pt x="42" y="179"/>
                      <a:pt x="42" y="179"/>
                      <a:pt x="42" y="179"/>
                    </a:cubicBezTo>
                    <a:cubicBezTo>
                      <a:pt x="44" y="182"/>
                      <a:pt x="46" y="185"/>
                      <a:pt x="49" y="187"/>
                    </a:cubicBezTo>
                    <a:cubicBezTo>
                      <a:pt x="46" y="190"/>
                      <a:pt x="44" y="194"/>
                      <a:pt x="44" y="198"/>
                    </a:cubicBezTo>
                    <a:cubicBezTo>
                      <a:pt x="44" y="202"/>
                      <a:pt x="46" y="206"/>
                      <a:pt x="48" y="208"/>
                    </a:cubicBezTo>
                    <a:cubicBezTo>
                      <a:pt x="46" y="211"/>
                      <a:pt x="44" y="214"/>
                      <a:pt x="44" y="218"/>
                    </a:cubicBezTo>
                    <a:cubicBezTo>
                      <a:pt x="44" y="224"/>
                      <a:pt x="47" y="229"/>
                      <a:pt x="52" y="231"/>
                    </a:cubicBezTo>
                    <a:cubicBezTo>
                      <a:pt x="53" y="245"/>
                      <a:pt x="65" y="256"/>
                      <a:pt x="80" y="256"/>
                    </a:cubicBezTo>
                    <a:cubicBezTo>
                      <a:pt x="94" y="256"/>
                      <a:pt x="106" y="245"/>
                      <a:pt x="108" y="231"/>
                    </a:cubicBezTo>
                    <a:cubicBezTo>
                      <a:pt x="112" y="229"/>
                      <a:pt x="116" y="224"/>
                      <a:pt x="116" y="218"/>
                    </a:cubicBezTo>
                    <a:cubicBezTo>
                      <a:pt x="116" y="214"/>
                      <a:pt x="114" y="211"/>
                      <a:pt x="112" y="208"/>
                    </a:cubicBezTo>
                    <a:cubicBezTo>
                      <a:pt x="114" y="206"/>
                      <a:pt x="116" y="202"/>
                      <a:pt x="116" y="198"/>
                    </a:cubicBezTo>
                    <a:cubicBezTo>
                      <a:pt x="116" y="194"/>
                      <a:pt x="114" y="190"/>
                      <a:pt x="110" y="187"/>
                    </a:cubicBezTo>
                    <a:cubicBezTo>
                      <a:pt x="113" y="185"/>
                      <a:pt x="116" y="182"/>
                      <a:pt x="118" y="179"/>
                    </a:cubicBezTo>
                    <a:cubicBezTo>
                      <a:pt x="118" y="179"/>
                      <a:pt x="118" y="179"/>
                      <a:pt x="118" y="179"/>
                    </a:cubicBezTo>
                    <a:cubicBezTo>
                      <a:pt x="149" y="120"/>
                      <a:pt x="149" y="120"/>
                      <a:pt x="149" y="120"/>
                    </a:cubicBezTo>
                    <a:cubicBezTo>
                      <a:pt x="149" y="120"/>
                      <a:pt x="149" y="120"/>
                      <a:pt x="149" y="120"/>
                    </a:cubicBezTo>
                    <a:cubicBezTo>
                      <a:pt x="156" y="109"/>
                      <a:pt x="160" y="95"/>
                      <a:pt x="160" y="80"/>
                    </a:cubicBezTo>
                    <a:close/>
                    <a:moveTo>
                      <a:pt x="80" y="248"/>
                    </a:moveTo>
                    <a:cubicBezTo>
                      <a:pt x="70" y="248"/>
                      <a:pt x="62" y="241"/>
                      <a:pt x="60" y="232"/>
                    </a:cubicBezTo>
                    <a:cubicBezTo>
                      <a:pt x="99" y="232"/>
                      <a:pt x="99" y="232"/>
                      <a:pt x="99" y="232"/>
                    </a:cubicBezTo>
                    <a:cubicBezTo>
                      <a:pt x="97" y="241"/>
                      <a:pt x="89" y="248"/>
                      <a:pt x="80" y="248"/>
                    </a:cubicBezTo>
                    <a:close/>
                    <a:moveTo>
                      <a:pt x="108" y="218"/>
                    </a:moveTo>
                    <a:cubicBezTo>
                      <a:pt x="108" y="222"/>
                      <a:pt x="105" y="224"/>
                      <a:pt x="102" y="224"/>
                    </a:cubicBezTo>
                    <a:cubicBezTo>
                      <a:pt x="58" y="224"/>
                      <a:pt x="58" y="224"/>
                      <a:pt x="58" y="224"/>
                    </a:cubicBezTo>
                    <a:cubicBezTo>
                      <a:pt x="55" y="224"/>
                      <a:pt x="52" y="222"/>
                      <a:pt x="52" y="218"/>
                    </a:cubicBezTo>
                    <a:cubicBezTo>
                      <a:pt x="52" y="215"/>
                      <a:pt x="55" y="212"/>
                      <a:pt x="58" y="212"/>
                    </a:cubicBezTo>
                    <a:cubicBezTo>
                      <a:pt x="102" y="212"/>
                      <a:pt x="102" y="212"/>
                      <a:pt x="102" y="212"/>
                    </a:cubicBezTo>
                    <a:cubicBezTo>
                      <a:pt x="105" y="212"/>
                      <a:pt x="108" y="215"/>
                      <a:pt x="108" y="218"/>
                    </a:cubicBezTo>
                    <a:close/>
                    <a:moveTo>
                      <a:pt x="102" y="192"/>
                    </a:moveTo>
                    <a:cubicBezTo>
                      <a:pt x="105" y="192"/>
                      <a:pt x="108" y="195"/>
                      <a:pt x="108" y="198"/>
                    </a:cubicBezTo>
                    <a:cubicBezTo>
                      <a:pt x="108" y="202"/>
                      <a:pt x="105" y="204"/>
                      <a:pt x="102" y="204"/>
                    </a:cubicBezTo>
                    <a:cubicBezTo>
                      <a:pt x="58" y="204"/>
                      <a:pt x="58" y="204"/>
                      <a:pt x="58" y="204"/>
                    </a:cubicBezTo>
                    <a:cubicBezTo>
                      <a:pt x="55" y="204"/>
                      <a:pt x="52" y="202"/>
                      <a:pt x="52" y="198"/>
                    </a:cubicBezTo>
                    <a:cubicBezTo>
                      <a:pt x="52" y="195"/>
                      <a:pt x="55" y="192"/>
                      <a:pt x="58" y="192"/>
                    </a:cubicBezTo>
                    <a:cubicBezTo>
                      <a:pt x="64" y="192"/>
                      <a:pt x="64" y="192"/>
                      <a:pt x="64" y="192"/>
                    </a:cubicBezTo>
                    <a:cubicBezTo>
                      <a:pt x="96" y="192"/>
                      <a:pt x="96" y="192"/>
                      <a:pt x="96" y="192"/>
                    </a:cubicBezTo>
                    <a:lnTo>
                      <a:pt x="102" y="192"/>
                    </a:lnTo>
                    <a:close/>
                    <a:moveTo>
                      <a:pt x="135" y="112"/>
                    </a:moveTo>
                    <a:cubicBezTo>
                      <a:pt x="135" y="113"/>
                      <a:pt x="135" y="114"/>
                      <a:pt x="134" y="114"/>
                    </a:cubicBezTo>
                    <a:cubicBezTo>
                      <a:pt x="104" y="170"/>
                      <a:pt x="104" y="170"/>
                      <a:pt x="104" y="170"/>
                    </a:cubicBezTo>
                    <a:cubicBezTo>
                      <a:pt x="104" y="170"/>
                      <a:pt x="103" y="171"/>
                      <a:pt x="103" y="172"/>
                    </a:cubicBezTo>
                    <a:cubicBezTo>
                      <a:pt x="102" y="174"/>
                      <a:pt x="100" y="176"/>
                      <a:pt x="96" y="176"/>
                    </a:cubicBezTo>
                    <a:cubicBezTo>
                      <a:pt x="100" y="129"/>
                      <a:pt x="100" y="129"/>
                      <a:pt x="100" y="129"/>
                    </a:cubicBezTo>
                    <a:cubicBezTo>
                      <a:pt x="100" y="126"/>
                      <a:pt x="98" y="124"/>
                      <a:pt x="96" y="124"/>
                    </a:cubicBezTo>
                    <a:cubicBezTo>
                      <a:pt x="94" y="124"/>
                      <a:pt x="92" y="126"/>
                      <a:pt x="92" y="128"/>
                    </a:cubicBezTo>
                    <a:cubicBezTo>
                      <a:pt x="88" y="176"/>
                      <a:pt x="88" y="176"/>
                      <a:pt x="88" y="176"/>
                    </a:cubicBezTo>
                    <a:cubicBezTo>
                      <a:pt x="72" y="176"/>
                      <a:pt x="72" y="176"/>
                      <a:pt x="72" y="176"/>
                    </a:cubicBezTo>
                    <a:cubicBezTo>
                      <a:pt x="68" y="128"/>
                      <a:pt x="68" y="128"/>
                      <a:pt x="68" y="128"/>
                    </a:cubicBezTo>
                    <a:cubicBezTo>
                      <a:pt x="68" y="126"/>
                      <a:pt x="66" y="124"/>
                      <a:pt x="64" y="124"/>
                    </a:cubicBezTo>
                    <a:cubicBezTo>
                      <a:pt x="61" y="124"/>
                      <a:pt x="60" y="126"/>
                      <a:pt x="60" y="129"/>
                    </a:cubicBezTo>
                    <a:cubicBezTo>
                      <a:pt x="64" y="176"/>
                      <a:pt x="64" y="176"/>
                      <a:pt x="64" y="176"/>
                    </a:cubicBezTo>
                    <a:cubicBezTo>
                      <a:pt x="60" y="176"/>
                      <a:pt x="58" y="174"/>
                      <a:pt x="57" y="172"/>
                    </a:cubicBezTo>
                    <a:cubicBezTo>
                      <a:pt x="56" y="171"/>
                      <a:pt x="56" y="171"/>
                      <a:pt x="56" y="170"/>
                    </a:cubicBezTo>
                    <a:cubicBezTo>
                      <a:pt x="26" y="114"/>
                      <a:pt x="26" y="114"/>
                      <a:pt x="26" y="114"/>
                    </a:cubicBezTo>
                    <a:cubicBezTo>
                      <a:pt x="25" y="114"/>
                      <a:pt x="25" y="113"/>
                      <a:pt x="25" y="112"/>
                    </a:cubicBezTo>
                    <a:cubicBezTo>
                      <a:pt x="19" y="103"/>
                      <a:pt x="16" y="91"/>
                      <a:pt x="16" y="80"/>
                    </a:cubicBezTo>
                    <a:cubicBezTo>
                      <a:pt x="16" y="45"/>
                      <a:pt x="45" y="16"/>
                      <a:pt x="80" y="16"/>
                    </a:cubicBezTo>
                    <a:cubicBezTo>
                      <a:pt x="115" y="16"/>
                      <a:pt x="144" y="45"/>
                      <a:pt x="144" y="80"/>
                    </a:cubicBezTo>
                    <a:cubicBezTo>
                      <a:pt x="144" y="91"/>
                      <a:pt x="141" y="103"/>
                      <a:pt x="135" y="1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40" b="1">
                  <a:latin typeface="+mn-lt"/>
                </a:endParaRPr>
              </a:p>
            </p:txBody>
          </p:sp>
          <p:sp>
            <p:nvSpPr>
              <p:cNvPr id="37" name="Freeform 22">
                <a:extLst>
                  <a:ext uri="{FF2B5EF4-FFF2-40B4-BE49-F238E27FC236}">
                    <a16:creationId xmlns:a16="http://schemas.microsoft.com/office/drawing/2014/main" id="{EA2D8DBE-E5CE-0D08-DB22-1D4E89BC67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08763" y="642938"/>
                <a:ext cx="120650" cy="103188"/>
              </a:xfrm>
              <a:custGeom>
                <a:avLst/>
                <a:gdLst>
                  <a:gd name="T0" fmla="*/ 35 w 41"/>
                  <a:gd name="T1" fmla="*/ 1 h 35"/>
                  <a:gd name="T2" fmla="*/ 1 w 41"/>
                  <a:gd name="T3" fmla="*/ 29 h 35"/>
                  <a:gd name="T4" fmla="*/ 3 w 41"/>
                  <a:gd name="T5" fmla="*/ 35 h 35"/>
                  <a:gd name="T6" fmla="*/ 4 w 41"/>
                  <a:gd name="T7" fmla="*/ 35 h 35"/>
                  <a:gd name="T8" fmla="*/ 8 w 41"/>
                  <a:gd name="T9" fmla="*/ 33 h 35"/>
                  <a:gd name="T10" fmla="*/ 37 w 41"/>
                  <a:gd name="T11" fmla="*/ 9 h 35"/>
                  <a:gd name="T12" fmla="*/ 40 w 41"/>
                  <a:gd name="T13" fmla="*/ 4 h 35"/>
                  <a:gd name="T14" fmla="*/ 35 w 41"/>
                  <a:gd name="T15" fmla="*/ 1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1" h="35">
                    <a:moveTo>
                      <a:pt x="35" y="1"/>
                    </a:moveTo>
                    <a:cubicBezTo>
                      <a:pt x="20" y="5"/>
                      <a:pt x="7" y="15"/>
                      <a:pt x="1" y="29"/>
                    </a:cubicBezTo>
                    <a:cubicBezTo>
                      <a:pt x="0" y="31"/>
                      <a:pt x="1" y="34"/>
                      <a:pt x="3" y="35"/>
                    </a:cubicBezTo>
                    <a:cubicBezTo>
                      <a:pt x="3" y="35"/>
                      <a:pt x="4" y="35"/>
                      <a:pt x="4" y="35"/>
                    </a:cubicBezTo>
                    <a:cubicBezTo>
                      <a:pt x="6" y="35"/>
                      <a:pt x="7" y="34"/>
                      <a:pt x="8" y="33"/>
                    </a:cubicBezTo>
                    <a:cubicBezTo>
                      <a:pt x="14" y="21"/>
                      <a:pt x="24" y="12"/>
                      <a:pt x="37" y="9"/>
                    </a:cubicBezTo>
                    <a:cubicBezTo>
                      <a:pt x="39" y="8"/>
                      <a:pt x="41" y="6"/>
                      <a:pt x="40" y="4"/>
                    </a:cubicBezTo>
                    <a:cubicBezTo>
                      <a:pt x="40" y="2"/>
                      <a:pt x="37" y="0"/>
                      <a:pt x="35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40" b="1">
                  <a:latin typeface="+mn-lt"/>
                </a:endParaRPr>
              </a:p>
            </p:txBody>
          </p:sp>
        </p:grpSp>
        <p:sp>
          <p:nvSpPr>
            <p:cNvPr id="16" name="Freeform 23">
              <a:extLst>
                <a:ext uri="{FF2B5EF4-FFF2-40B4-BE49-F238E27FC236}">
                  <a16:creationId xmlns:a16="http://schemas.microsoft.com/office/drawing/2014/main" id="{6B6620C9-AB8F-2C49-E850-58204005714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72703" y="4101652"/>
              <a:ext cx="560312" cy="496208"/>
            </a:xfrm>
            <a:custGeom>
              <a:avLst/>
              <a:gdLst>
                <a:gd name="T0" fmla="*/ 232 w 256"/>
                <a:gd name="T1" fmla="*/ 84 h 227"/>
                <a:gd name="T2" fmla="*/ 172 w 256"/>
                <a:gd name="T3" fmla="*/ 44 h 227"/>
                <a:gd name="T4" fmla="*/ 120 w 256"/>
                <a:gd name="T5" fmla="*/ 48 h 227"/>
                <a:gd name="T6" fmla="*/ 64 w 256"/>
                <a:gd name="T7" fmla="*/ 107 h 227"/>
                <a:gd name="T8" fmla="*/ 0 w 256"/>
                <a:gd name="T9" fmla="*/ 131 h 227"/>
                <a:gd name="T10" fmla="*/ 32 w 256"/>
                <a:gd name="T11" fmla="*/ 227 h 227"/>
                <a:gd name="T12" fmla="*/ 87 w 256"/>
                <a:gd name="T13" fmla="*/ 212 h 227"/>
                <a:gd name="T14" fmla="*/ 103 w 256"/>
                <a:gd name="T15" fmla="*/ 219 h 227"/>
                <a:gd name="T16" fmla="*/ 232 w 256"/>
                <a:gd name="T17" fmla="*/ 197 h 227"/>
                <a:gd name="T18" fmla="*/ 240 w 256"/>
                <a:gd name="T19" fmla="*/ 169 h 227"/>
                <a:gd name="T20" fmla="*/ 248 w 256"/>
                <a:gd name="T21" fmla="*/ 140 h 227"/>
                <a:gd name="T22" fmla="*/ 256 w 256"/>
                <a:gd name="T23" fmla="*/ 108 h 227"/>
                <a:gd name="T24" fmla="*/ 32 w 256"/>
                <a:gd name="T25" fmla="*/ 211 h 227"/>
                <a:gd name="T26" fmla="*/ 16 w 256"/>
                <a:gd name="T27" fmla="*/ 131 h 227"/>
                <a:gd name="T28" fmla="*/ 64 w 256"/>
                <a:gd name="T29" fmla="*/ 123 h 227"/>
                <a:gd name="T30" fmla="*/ 72 w 256"/>
                <a:gd name="T31" fmla="*/ 198 h 227"/>
                <a:gd name="T32" fmla="*/ 72 w 256"/>
                <a:gd name="T33" fmla="*/ 203 h 227"/>
                <a:gd name="T34" fmla="*/ 210 w 256"/>
                <a:gd name="T35" fmla="*/ 203 h 227"/>
                <a:gd name="T36" fmla="*/ 88 w 256"/>
                <a:gd name="T37" fmla="*/ 194 h 227"/>
                <a:gd name="T38" fmla="*/ 86 w 256"/>
                <a:gd name="T39" fmla="*/ 121 h 227"/>
                <a:gd name="T40" fmla="*/ 140 w 256"/>
                <a:gd name="T41" fmla="*/ 16 h 227"/>
                <a:gd name="T42" fmla="*/ 152 w 256"/>
                <a:gd name="T43" fmla="*/ 90 h 227"/>
                <a:gd name="T44" fmla="*/ 160 w 256"/>
                <a:gd name="T45" fmla="*/ 100 h 227"/>
                <a:gd name="T46" fmla="*/ 240 w 256"/>
                <a:gd name="T47" fmla="*/ 108 h 227"/>
                <a:gd name="T48" fmla="*/ 223 w 256"/>
                <a:gd name="T49" fmla="*/ 116 h 227"/>
                <a:gd name="T50" fmla="*/ 223 w 256"/>
                <a:gd name="T51" fmla="*/ 132 h 227"/>
                <a:gd name="T52" fmla="*/ 224 w 256"/>
                <a:gd name="T53" fmla="*/ 132 h 227"/>
                <a:gd name="T54" fmla="*/ 224 w 256"/>
                <a:gd name="T55" fmla="*/ 148 h 227"/>
                <a:gd name="T56" fmla="*/ 218 w 256"/>
                <a:gd name="T57" fmla="*/ 147 h 227"/>
                <a:gd name="T58" fmla="*/ 215 w 256"/>
                <a:gd name="T59" fmla="*/ 148 h 227"/>
                <a:gd name="T60" fmla="*/ 215 w 256"/>
                <a:gd name="T61" fmla="*/ 164 h 227"/>
                <a:gd name="T62" fmla="*/ 224 w 256"/>
                <a:gd name="T63" fmla="*/ 169 h 227"/>
                <a:gd name="T64" fmla="*/ 210 w 256"/>
                <a:gd name="T65" fmla="*/ 175 h 227"/>
                <a:gd name="T66" fmla="*/ 210 w 256"/>
                <a:gd name="T67" fmla="*/ 175 h 227"/>
                <a:gd name="T68" fmla="*/ 210 w 256"/>
                <a:gd name="T69" fmla="*/ 191 h 227"/>
                <a:gd name="T70" fmla="*/ 210 w 256"/>
                <a:gd name="T71" fmla="*/ 203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56" h="227">
                  <a:moveTo>
                    <a:pt x="256" y="108"/>
                  </a:moveTo>
                  <a:cubicBezTo>
                    <a:pt x="256" y="94"/>
                    <a:pt x="245" y="84"/>
                    <a:pt x="232" y="84"/>
                  </a:cubicBezTo>
                  <a:cubicBezTo>
                    <a:pt x="169" y="84"/>
                    <a:pt x="169" y="84"/>
                    <a:pt x="169" y="84"/>
                  </a:cubicBezTo>
                  <a:cubicBezTo>
                    <a:pt x="171" y="74"/>
                    <a:pt x="172" y="59"/>
                    <a:pt x="172" y="44"/>
                  </a:cubicBezTo>
                  <a:cubicBezTo>
                    <a:pt x="172" y="13"/>
                    <a:pt x="156" y="0"/>
                    <a:pt x="140" y="0"/>
                  </a:cubicBezTo>
                  <a:cubicBezTo>
                    <a:pt x="120" y="0"/>
                    <a:pt x="120" y="21"/>
                    <a:pt x="120" y="48"/>
                  </a:cubicBezTo>
                  <a:cubicBezTo>
                    <a:pt x="120" y="67"/>
                    <a:pt x="90" y="97"/>
                    <a:pt x="75" y="110"/>
                  </a:cubicBezTo>
                  <a:cubicBezTo>
                    <a:pt x="71" y="108"/>
                    <a:pt x="68" y="107"/>
                    <a:pt x="64" y="107"/>
                  </a:cubicBezTo>
                  <a:cubicBezTo>
                    <a:pt x="24" y="107"/>
                    <a:pt x="24" y="107"/>
                    <a:pt x="24" y="107"/>
                  </a:cubicBezTo>
                  <a:cubicBezTo>
                    <a:pt x="11" y="107"/>
                    <a:pt x="0" y="118"/>
                    <a:pt x="0" y="131"/>
                  </a:cubicBezTo>
                  <a:cubicBezTo>
                    <a:pt x="8" y="203"/>
                    <a:pt x="8" y="203"/>
                    <a:pt x="8" y="203"/>
                  </a:cubicBezTo>
                  <a:cubicBezTo>
                    <a:pt x="10" y="216"/>
                    <a:pt x="19" y="227"/>
                    <a:pt x="32" y="227"/>
                  </a:cubicBezTo>
                  <a:cubicBezTo>
                    <a:pt x="64" y="227"/>
                    <a:pt x="64" y="227"/>
                    <a:pt x="64" y="227"/>
                  </a:cubicBezTo>
                  <a:cubicBezTo>
                    <a:pt x="74" y="227"/>
                    <a:pt x="83" y="221"/>
                    <a:pt x="87" y="212"/>
                  </a:cubicBezTo>
                  <a:cubicBezTo>
                    <a:pt x="100" y="219"/>
                    <a:pt x="100" y="219"/>
                    <a:pt x="100" y="219"/>
                  </a:cubicBezTo>
                  <a:cubicBezTo>
                    <a:pt x="101" y="219"/>
                    <a:pt x="102" y="219"/>
                    <a:pt x="103" y="219"/>
                  </a:cubicBezTo>
                  <a:cubicBezTo>
                    <a:pt x="210" y="219"/>
                    <a:pt x="210" y="219"/>
                    <a:pt x="210" y="219"/>
                  </a:cubicBezTo>
                  <a:cubicBezTo>
                    <a:pt x="222" y="219"/>
                    <a:pt x="232" y="210"/>
                    <a:pt x="232" y="197"/>
                  </a:cubicBezTo>
                  <a:cubicBezTo>
                    <a:pt x="232" y="194"/>
                    <a:pt x="231" y="191"/>
                    <a:pt x="230" y="188"/>
                  </a:cubicBezTo>
                  <a:cubicBezTo>
                    <a:pt x="236" y="184"/>
                    <a:pt x="240" y="177"/>
                    <a:pt x="240" y="169"/>
                  </a:cubicBezTo>
                  <a:cubicBezTo>
                    <a:pt x="240" y="166"/>
                    <a:pt x="239" y="162"/>
                    <a:pt x="238" y="159"/>
                  </a:cubicBezTo>
                  <a:cubicBezTo>
                    <a:pt x="244" y="155"/>
                    <a:pt x="248" y="148"/>
                    <a:pt x="248" y="140"/>
                  </a:cubicBezTo>
                  <a:cubicBezTo>
                    <a:pt x="248" y="135"/>
                    <a:pt x="247" y="131"/>
                    <a:pt x="245" y="128"/>
                  </a:cubicBezTo>
                  <a:cubicBezTo>
                    <a:pt x="252" y="123"/>
                    <a:pt x="256" y="116"/>
                    <a:pt x="256" y="108"/>
                  </a:cubicBezTo>
                  <a:close/>
                  <a:moveTo>
                    <a:pt x="64" y="211"/>
                  </a:moveTo>
                  <a:cubicBezTo>
                    <a:pt x="32" y="211"/>
                    <a:pt x="32" y="211"/>
                    <a:pt x="32" y="211"/>
                  </a:cubicBezTo>
                  <a:cubicBezTo>
                    <a:pt x="28" y="211"/>
                    <a:pt x="25" y="206"/>
                    <a:pt x="24" y="202"/>
                  </a:cubicBezTo>
                  <a:cubicBezTo>
                    <a:pt x="16" y="131"/>
                    <a:pt x="16" y="131"/>
                    <a:pt x="16" y="131"/>
                  </a:cubicBezTo>
                  <a:cubicBezTo>
                    <a:pt x="17" y="127"/>
                    <a:pt x="20" y="123"/>
                    <a:pt x="24" y="123"/>
                  </a:cubicBezTo>
                  <a:cubicBezTo>
                    <a:pt x="64" y="123"/>
                    <a:pt x="64" y="123"/>
                    <a:pt x="64" y="123"/>
                  </a:cubicBezTo>
                  <a:cubicBezTo>
                    <a:pt x="69" y="123"/>
                    <a:pt x="72" y="127"/>
                    <a:pt x="72" y="131"/>
                  </a:cubicBezTo>
                  <a:cubicBezTo>
                    <a:pt x="72" y="198"/>
                    <a:pt x="72" y="198"/>
                    <a:pt x="72" y="198"/>
                  </a:cubicBezTo>
                  <a:cubicBezTo>
                    <a:pt x="72" y="199"/>
                    <a:pt x="72" y="200"/>
                    <a:pt x="72" y="201"/>
                  </a:cubicBezTo>
                  <a:cubicBezTo>
                    <a:pt x="72" y="203"/>
                    <a:pt x="72" y="203"/>
                    <a:pt x="72" y="203"/>
                  </a:cubicBezTo>
                  <a:cubicBezTo>
                    <a:pt x="72" y="208"/>
                    <a:pt x="69" y="211"/>
                    <a:pt x="64" y="211"/>
                  </a:cubicBezTo>
                  <a:close/>
                  <a:moveTo>
                    <a:pt x="210" y="203"/>
                  </a:moveTo>
                  <a:cubicBezTo>
                    <a:pt x="105" y="203"/>
                    <a:pt x="105" y="203"/>
                    <a:pt x="105" y="203"/>
                  </a:cubicBezTo>
                  <a:cubicBezTo>
                    <a:pt x="88" y="194"/>
                    <a:pt x="88" y="194"/>
                    <a:pt x="88" y="194"/>
                  </a:cubicBezTo>
                  <a:cubicBezTo>
                    <a:pt x="88" y="131"/>
                    <a:pt x="88" y="131"/>
                    <a:pt x="88" y="131"/>
                  </a:cubicBezTo>
                  <a:cubicBezTo>
                    <a:pt x="88" y="128"/>
                    <a:pt x="87" y="124"/>
                    <a:pt x="86" y="121"/>
                  </a:cubicBezTo>
                  <a:cubicBezTo>
                    <a:pt x="100" y="109"/>
                    <a:pt x="136" y="75"/>
                    <a:pt x="136" y="48"/>
                  </a:cubicBezTo>
                  <a:cubicBezTo>
                    <a:pt x="136" y="31"/>
                    <a:pt x="136" y="16"/>
                    <a:pt x="140" y="16"/>
                  </a:cubicBezTo>
                  <a:cubicBezTo>
                    <a:pt x="148" y="16"/>
                    <a:pt x="156" y="25"/>
                    <a:pt x="156" y="44"/>
                  </a:cubicBezTo>
                  <a:cubicBezTo>
                    <a:pt x="156" y="67"/>
                    <a:pt x="152" y="90"/>
                    <a:pt x="152" y="90"/>
                  </a:cubicBezTo>
                  <a:cubicBezTo>
                    <a:pt x="152" y="93"/>
                    <a:pt x="153" y="95"/>
                    <a:pt x="154" y="97"/>
                  </a:cubicBezTo>
                  <a:cubicBezTo>
                    <a:pt x="156" y="98"/>
                    <a:pt x="158" y="100"/>
                    <a:pt x="160" y="100"/>
                  </a:cubicBezTo>
                  <a:cubicBezTo>
                    <a:pt x="232" y="100"/>
                    <a:pt x="232" y="100"/>
                    <a:pt x="232" y="100"/>
                  </a:cubicBezTo>
                  <a:cubicBezTo>
                    <a:pt x="237" y="100"/>
                    <a:pt x="240" y="103"/>
                    <a:pt x="240" y="108"/>
                  </a:cubicBezTo>
                  <a:cubicBezTo>
                    <a:pt x="240" y="112"/>
                    <a:pt x="237" y="116"/>
                    <a:pt x="232" y="116"/>
                  </a:cubicBezTo>
                  <a:cubicBezTo>
                    <a:pt x="223" y="116"/>
                    <a:pt x="223" y="116"/>
                    <a:pt x="223" y="116"/>
                  </a:cubicBezTo>
                  <a:cubicBezTo>
                    <a:pt x="219" y="116"/>
                    <a:pt x="215" y="119"/>
                    <a:pt x="215" y="124"/>
                  </a:cubicBezTo>
                  <a:cubicBezTo>
                    <a:pt x="215" y="128"/>
                    <a:pt x="219" y="132"/>
                    <a:pt x="223" y="132"/>
                  </a:cubicBezTo>
                  <a:cubicBezTo>
                    <a:pt x="224" y="132"/>
                    <a:pt x="224" y="132"/>
                    <a:pt x="224" y="132"/>
                  </a:cubicBezTo>
                  <a:cubicBezTo>
                    <a:pt x="224" y="132"/>
                    <a:pt x="224" y="132"/>
                    <a:pt x="224" y="132"/>
                  </a:cubicBezTo>
                  <a:cubicBezTo>
                    <a:pt x="229" y="132"/>
                    <a:pt x="232" y="135"/>
                    <a:pt x="232" y="140"/>
                  </a:cubicBezTo>
                  <a:cubicBezTo>
                    <a:pt x="232" y="144"/>
                    <a:pt x="229" y="148"/>
                    <a:pt x="224" y="148"/>
                  </a:cubicBezTo>
                  <a:cubicBezTo>
                    <a:pt x="219" y="148"/>
                    <a:pt x="219" y="148"/>
                    <a:pt x="219" y="148"/>
                  </a:cubicBezTo>
                  <a:cubicBezTo>
                    <a:pt x="219" y="148"/>
                    <a:pt x="218" y="147"/>
                    <a:pt x="218" y="147"/>
                  </a:cubicBezTo>
                  <a:cubicBezTo>
                    <a:pt x="218" y="147"/>
                    <a:pt x="218" y="148"/>
                    <a:pt x="218" y="148"/>
                  </a:cubicBezTo>
                  <a:cubicBezTo>
                    <a:pt x="215" y="148"/>
                    <a:pt x="215" y="148"/>
                    <a:pt x="215" y="148"/>
                  </a:cubicBezTo>
                  <a:cubicBezTo>
                    <a:pt x="211" y="148"/>
                    <a:pt x="207" y="151"/>
                    <a:pt x="207" y="156"/>
                  </a:cubicBezTo>
                  <a:cubicBezTo>
                    <a:pt x="207" y="160"/>
                    <a:pt x="211" y="164"/>
                    <a:pt x="215" y="164"/>
                  </a:cubicBezTo>
                  <a:cubicBezTo>
                    <a:pt x="218" y="164"/>
                    <a:pt x="218" y="164"/>
                    <a:pt x="218" y="164"/>
                  </a:cubicBezTo>
                  <a:cubicBezTo>
                    <a:pt x="222" y="164"/>
                    <a:pt x="224" y="166"/>
                    <a:pt x="224" y="169"/>
                  </a:cubicBezTo>
                  <a:cubicBezTo>
                    <a:pt x="224" y="173"/>
                    <a:pt x="221" y="175"/>
                    <a:pt x="218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06" y="175"/>
                    <a:pt x="202" y="179"/>
                    <a:pt x="202" y="183"/>
                  </a:cubicBezTo>
                  <a:cubicBezTo>
                    <a:pt x="202" y="188"/>
                    <a:pt x="206" y="191"/>
                    <a:pt x="210" y="191"/>
                  </a:cubicBezTo>
                  <a:cubicBezTo>
                    <a:pt x="213" y="191"/>
                    <a:pt x="216" y="194"/>
                    <a:pt x="216" y="197"/>
                  </a:cubicBezTo>
                  <a:cubicBezTo>
                    <a:pt x="216" y="201"/>
                    <a:pt x="213" y="203"/>
                    <a:pt x="210" y="20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840" b="1">
                <a:latin typeface="+mn-lt"/>
              </a:endParaRPr>
            </a:p>
          </p:txBody>
        </p: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04847AAB-ECF0-98D0-DB2B-16CCCC8D7E44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936317" y="2531394"/>
              <a:ext cx="433084" cy="412235"/>
              <a:chOff x="6719888" y="887413"/>
              <a:chExt cx="492125" cy="468312"/>
            </a:xfrm>
            <a:solidFill>
              <a:schemeClr val="bg1"/>
            </a:solidFill>
          </p:grpSpPr>
          <p:sp>
            <p:nvSpPr>
              <p:cNvPr id="30" name="Freeform 26">
                <a:extLst>
                  <a:ext uri="{FF2B5EF4-FFF2-40B4-BE49-F238E27FC236}">
                    <a16:creationId xmlns:a16="http://schemas.microsoft.com/office/drawing/2014/main" id="{A3BC55EB-E37F-82C5-E9DF-B24FABDFA3B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19888" y="887413"/>
                <a:ext cx="492125" cy="468312"/>
              </a:xfrm>
              <a:custGeom>
                <a:avLst/>
                <a:gdLst>
                  <a:gd name="T0" fmla="*/ 117 w 128"/>
                  <a:gd name="T1" fmla="*/ 0 h 122"/>
                  <a:gd name="T2" fmla="*/ 11 w 128"/>
                  <a:gd name="T3" fmla="*/ 0 h 122"/>
                  <a:gd name="T4" fmla="*/ 0 w 128"/>
                  <a:gd name="T5" fmla="*/ 11 h 122"/>
                  <a:gd name="T6" fmla="*/ 0 w 128"/>
                  <a:gd name="T7" fmla="*/ 93 h 122"/>
                  <a:gd name="T8" fmla="*/ 11 w 128"/>
                  <a:gd name="T9" fmla="*/ 104 h 122"/>
                  <a:gd name="T10" fmla="*/ 43 w 128"/>
                  <a:gd name="T11" fmla="*/ 104 h 122"/>
                  <a:gd name="T12" fmla="*/ 38 w 128"/>
                  <a:gd name="T13" fmla="*/ 110 h 122"/>
                  <a:gd name="T14" fmla="*/ 35 w 128"/>
                  <a:gd name="T15" fmla="*/ 113 h 122"/>
                  <a:gd name="T16" fmla="*/ 34 w 128"/>
                  <a:gd name="T17" fmla="*/ 118 h 122"/>
                  <a:gd name="T18" fmla="*/ 42 w 128"/>
                  <a:gd name="T19" fmla="*/ 122 h 122"/>
                  <a:gd name="T20" fmla="*/ 86 w 128"/>
                  <a:gd name="T21" fmla="*/ 122 h 122"/>
                  <a:gd name="T22" fmla="*/ 94 w 128"/>
                  <a:gd name="T23" fmla="*/ 118 h 122"/>
                  <a:gd name="T24" fmla="*/ 94 w 128"/>
                  <a:gd name="T25" fmla="*/ 113 h 122"/>
                  <a:gd name="T26" fmla="*/ 91 w 128"/>
                  <a:gd name="T27" fmla="*/ 110 h 122"/>
                  <a:gd name="T28" fmla="*/ 85 w 128"/>
                  <a:gd name="T29" fmla="*/ 104 h 122"/>
                  <a:gd name="T30" fmla="*/ 117 w 128"/>
                  <a:gd name="T31" fmla="*/ 104 h 122"/>
                  <a:gd name="T32" fmla="*/ 128 w 128"/>
                  <a:gd name="T33" fmla="*/ 93 h 122"/>
                  <a:gd name="T34" fmla="*/ 128 w 128"/>
                  <a:gd name="T35" fmla="*/ 11 h 122"/>
                  <a:gd name="T36" fmla="*/ 117 w 128"/>
                  <a:gd name="T37" fmla="*/ 0 h 122"/>
                  <a:gd name="T38" fmla="*/ 88 w 128"/>
                  <a:gd name="T39" fmla="*/ 113 h 122"/>
                  <a:gd name="T40" fmla="*/ 90 w 128"/>
                  <a:gd name="T41" fmla="*/ 116 h 122"/>
                  <a:gd name="T42" fmla="*/ 90 w 128"/>
                  <a:gd name="T43" fmla="*/ 116 h 122"/>
                  <a:gd name="T44" fmla="*/ 86 w 128"/>
                  <a:gd name="T45" fmla="*/ 118 h 122"/>
                  <a:gd name="T46" fmla="*/ 42 w 128"/>
                  <a:gd name="T47" fmla="*/ 118 h 122"/>
                  <a:gd name="T48" fmla="*/ 38 w 128"/>
                  <a:gd name="T49" fmla="*/ 116 h 122"/>
                  <a:gd name="T50" fmla="*/ 38 w 128"/>
                  <a:gd name="T51" fmla="*/ 116 h 122"/>
                  <a:gd name="T52" fmla="*/ 38 w 128"/>
                  <a:gd name="T53" fmla="*/ 116 h 122"/>
                  <a:gd name="T54" fmla="*/ 40 w 128"/>
                  <a:gd name="T55" fmla="*/ 113 h 122"/>
                  <a:gd name="T56" fmla="*/ 48 w 128"/>
                  <a:gd name="T57" fmla="*/ 104 h 122"/>
                  <a:gd name="T58" fmla="*/ 80 w 128"/>
                  <a:gd name="T59" fmla="*/ 104 h 122"/>
                  <a:gd name="T60" fmla="*/ 88 w 128"/>
                  <a:gd name="T61" fmla="*/ 113 h 122"/>
                  <a:gd name="T62" fmla="*/ 120 w 128"/>
                  <a:gd name="T63" fmla="*/ 93 h 122"/>
                  <a:gd name="T64" fmla="*/ 117 w 128"/>
                  <a:gd name="T65" fmla="*/ 96 h 122"/>
                  <a:gd name="T66" fmla="*/ 11 w 128"/>
                  <a:gd name="T67" fmla="*/ 96 h 122"/>
                  <a:gd name="T68" fmla="*/ 8 w 128"/>
                  <a:gd name="T69" fmla="*/ 93 h 122"/>
                  <a:gd name="T70" fmla="*/ 8 w 128"/>
                  <a:gd name="T71" fmla="*/ 11 h 122"/>
                  <a:gd name="T72" fmla="*/ 11 w 128"/>
                  <a:gd name="T73" fmla="*/ 8 h 122"/>
                  <a:gd name="T74" fmla="*/ 117 w 128"/>
                  <a:gd name="T75" fmla="*/ 8 h 122"/>
                  <a:gd name="T76" fmla="*/ 120 w 128"/>
                  <a:gd name="T77" fmla="*/ 11 h 122"/>
                  <a:gd name="T78" fmla="*/ 120 w 128"/>
                  <a:gd name="T79" fmla="*/ 93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28" h="122">
                    <a:moveTo>
                      <a:pt x="117" y="0"/>
                    </a:move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5"/>
                      <a:pt x="0" y="11"/>
                    </a:cubicBezTo>
                    <a:cubicBezTo>
                      <a:pt x="0" y="93"/>
                      <a:pt x="0" y="93"/>
                      <a:pt x="0" y="93"/>
                    </a:cubicBezTo>
                    <a:cubicBezTo>
                      <a:pt x="0" y="99"/>
                      <a:pt x="5" y="104"/>
                      <a:pt x="11" y="104"/>
                    </a:cubicBezTo>
                    <a:cubicBezTo>
                      <a:pt x="43" y="104"/>
                      <a:pt x="43" y="104"/>
                      <a:pt x="43" y="104"/>
                    </a:cubicBezTo>
                    <a:cubicBezTo>
                      <a:pt x="42" y="106"/>
                      <a:pt x="39" y="109"/>
                      <a:pt x="38" y="110"/>
                    </a:cubicBezTo>
                    <a:cubicBezTo>
                      <a:pt x="36" y="111"/>
                      <a:pt x="35" y="112"/>
                      <a:pt x="35" y="113"/>
                    </a:cubicBezTo>
                    <a:cubicBezTo>
                      <a:pt x="34" y="114"/>
                      <a:pt x="33" y="116"/>
                      <a:pt x="34" y="118"/>
                    </a:cubicBezTo>
                    <a:cubicBezTo>
                      <a:pt x="35" y="120"/>
                      <a:pt x="37" y="122"/>
                      <a:pt x="42" y="122"/>
                    </a:cubicBezTo>
                    <a:cubicBezTo>
                      <a:pt x="86" y="122"/>
                      <a:pt x="86" y="122"/>
                      <a:pt x="86" y="122"/>
                    </a:cubicBezTo>
                    <a:cubicBezTo>
                      <a:pt x="91" y="122"/>
                      <a:pt x="93" y="120"/>
                      <a:pt x="94" y="118"/>
                    </a:cubicBezTo>
                    <a:cubicBezTo>
                      <a:pt x="95" y="116"/>
                      <a:pt x="95" y="114"/>
                      <a:pt x="94" y="113"/>
                    </a:cubicBezTo>
                    <a:cubicBezTo>
                      <a:pt x="93" y="112"/>
                      <a:pt x="92" y="111"/>
                      <a:pt x="91" y="110"/>
                    </a:cubicBezTo>
                    <a:cubicBezTo>
                      <a:pt x="89" y="109"/>
                      <a:pt x="87" y="106"/>
                      <a:pt x="85" y="104"/>
                    </a:cubicBezTo>
                    <a:cubicBezTo>
                      <a:pt x="117" y="104"/>
                      <a:pt x="117" y="104"/>
                      <a:pt x="117" y="104"/>
                    </a:cubicBezTo>
                    <a:cubicBezTo>
                      <a:pt x="123" y="104"/>
                      <a:pt x="128" y="99"/>
                      <a:pt x="128" y="93"/>
                    </a:cubicBezTo>
                    <a:cubicBezTo>
                      <a:pt x="128" y="11"/>
                      <a:pt x="128" y="11"/>
                      <a:pt x="128" y="11"/>
                    </a:cubicBezTo>
                    <a:cubicBezTo>
                      <a:pt x="128" y="5"/>
                      <a:pt x="123" y="0"/>
                      <a:pt x="117" y="0"/>
                    </a:cubicBezTo>
                    <a:close/>
                    <a:moveTo>
                      <a:pt x="88" y="113"/>
                    </a:moveTo>
                    <a:cubicBezTo>
                      <a:pt x="89" y="114"/>
                      <a:pt x="90" y="115"/>
                      <a:pt x="90" y="116"/>
                    </a:cubicBezTo>
                    <a:cubicBezTo>
                      <a:pt x="90" y="116"/>
                      <a:pt x="91" y="116"/>
                      <a:pt x="90" y="116"/>
                    </a:cubicBezTo>
                    <a:cubicBezTo>
                      <a:pt x="90" y="117"/>
                      <a:pt x="88" y="118"/>
                      <a:pt x="86" y="118"/>
                    </a:cubicBezTo>
                    <a:cubicBezTo>
                      <a:pt x="42" y="118"/>
                      <a:pt x="42" y="118"/>
                      <a:pt x="42" y="118"/>
                    </a:cubicBezTo>
                    <a:cubicBezTo>
                      <a:pt x="40" y="118"/>
                      <a:pt x="38" y="117"/>
                      <a:pt x="38" y="116"/>
                    </a:cubicBezTo>
                    <a:cubicBezTo>
                      <a:pt x="38" y="116"/>
                      <a:pt x="38" y="116"/>
                      <a:pt x="38" y="116"/>
                    </a:cubicBezTo>
                    <a:cubicBezTo>
                      <a:pt x="38" y="116"/>
                      <a:pt x="38" y="116"/>
                      <a:pt x="38" y="116"/>
                    </a:cubicBezTo>
                    <a:cubicBezTo>
                      <a:pt x="38" y="115"/>
                      <a:pt x="39" y="114"/>
                      <a:pt x="40" y="113"/>
                    </a:cubicBezTo>
                    <a:cubicBezTo>
                      <a:pt x="44" y="109"/>
                      <a:pt x="47" y="106"/>
                      <a:pt x="48" y="104"/>
                    </a:cubicBezTo>
                    <a:cubicBezTo>
                      <a:pt x="80" y="104"/>
                      <a:pt x="80" y="104"/>
                      <a:pt x="80" y="104"/>
                    </a:cubicBezTo>
                    <a:cubicBezTo>
                      <a:pt x="82" y="106"/>
                      <a:pt x="84" y="109"/>
                      <a:pt x="88" y="113"/>
                    </a:cubicBezTo>
                    <a:close/>
                    <a:moveTo>
                      <a:pt x="120" y="93"/>
                    </a:moveTo>
                    <a:cubicBezTo>
                      <a:pt x="120" y="95"/>
                      <a:pt x="119" y="96"/>
                      <a:pt x="117" y="96"/>
                    </a:cubicBezTo>
                    <a:cubicBezTo>
                      <a:pt x="11" y="96"/>
                      <a:pt x="11" y="96"/>
                      <a:pt x="11" y="96"/>
                    </a:cubicBezTo>
                    <a:cubicBezTo>
                      <a:pt x="9" y="96"/>
                      <a:pt x="8" y="95"/>
                      <a:pt x="8" y="93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8" y="9"/>
                      <a:pt x="9" y="8"/>
                      <a:pt x="11" y="8"/>
                    </a:cubicBezTo>
                    <a:cubicBezTo>
                      <a:pt x="117" y="8"/>
                      <a:pt x="117" y="8"/>
                      <a:pt x="117" y="8"/>
                    </a:cubicBezTo>
                    <a:cubicBezTo>
                      <a:pt x="119" y="8"/>
                      <a:pt x="120" y="9"/>
                      <a:pt x="120" y="11"/>
                    </a:cubicBezTo>
                    <a:lnTo>
                      <a:pt x="120" y="9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31" name="Freeform 27">
                <a:extLst>
                  <a:ext uri="{FF2B5EF4-FFF2-40B4-BE49-F238E27FC236}">
                    <a16:creationId xmlns:a16="http://schemas.microsoft.com/office/drawing/2014/main" id="{7953D46E-3FBB-95FF-FC5A-67E37D4272F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81801" y="947738"/>
                <a:ext cx="368300" cy="247650"/>
              </a:xfrm>
              <a:custGeom>
                <a:avLst/>
                <a:gdLst>
                  <a:gd name="T0" fmla="*/ 89 w 96"/>
                  <a:gd name="T1" fmla="*/ 0 h 64"/>
                  <a:gd name="T2" fmla="*/ 7 w 96"/>
                  <a:gd name="T3" fmla="*/ 0 h 64"/>
                  <a:gd name="T4" fmla="*/ 0 w 96"/>
                  <a:gd name="T5" fmla="*/ 7 h 64"/>
                  <a:gd name="T6" fmla="*/ 0 w 96"/>
                  <a:gd name="T7" fmla="*/ 57 h 64"/>
                  <a:gd name="T8" fmla="*/ 7 w 96"/>
                  <a:gd name="T9" fmla="*/ 64 h 64"/>
                  <a:gd name="T10" fmla="*/ 89 w 96"/>
                  <a:gd name="T11" fmla="*/ 64 h 64"/>
                  <a:gd name="T12" fmla="*/ 96 w 96"/>
                  <a:gd name="T13" fmla="*/ 57 h 64"/>
                  <a:gd name="T14" fmla="*/ 96 w 96"/>
                  <a:gd name="T15" fmla="*/ 7 h 64"/>
                  <a:gd name="T16" fmla="*/ 89 w 96"/>
                  <a:gd name="T17" fmla="*/ 0 h 64"/>
                  <a:gd name="T18" fmla="*/ 92 w 96"/>
                  <a:gd name="T19" fmla="*/ 57 h 64"/>
                  <a:gd name="T20" fmla="*/ 89 w 96"/>
                  <a:gd name="T21" fmla="*/ 60 h 64"/>
                  <a:gd name="T22" fmla="*/ 7 w 96"/>
                  <a:gd name="T23" fmla="*/ 60 h 64"/>
                  <a:gd name="T24" fmla="*/ 4 w 96"/>
                  <a:gd name="T25" fmla="*/ 57 h 64"/>
                  <a:gd name="T26" fmla="*/ 4 w 96"/>
                  <a:gd name="T27" fmla="*/ 7 h 64"/>
                  <a:gd name="T28" fmla="*/ 7 w 96"/>
                  <a:gd name="T29" fmla="*/ 4 h 64"/>
                  <a:gd name="T30" fmla="*/ 89 w 96"/>
                  <a:gd name="T31" fmla="*/ 4 h 64"/>
                  <a:gd name="T32" fmla="*/ 92 w 96"/>
                  <a:gd name="T33" fmla="*/ 7 h 64"/>
                  <a:gd name="T34" fmla="*/ 92 w 96"/>
                  <a:gd name="T35" fmla="*/ 57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6" h="64">
                    <a:moveTo>
                      <a:pt x="89" y="0"/>
                    </a:moveTo>
                    <a:cubicBezTo>
                      <a:pt x="7" y="0"/>
                      <a:pt x="7" y="0"/>
                      <a:pt x="7" y="0"/>
                    </a:cubicBezTo>
                    <a:cubicBezTo>
                      <a:pt x="3" y="0"/>
                      <a:pt x="0" y="3"/>
                      <a:pt x="0" y="7"/>
                    </a:cubicBezTo>
                    <a:cubicBezTo>
                      <a:pt x="0" y="57"/>
                      <a:pt x="0" y="57"/>
                      <a:pt x="0" y="57"/>
                    </a:cubicBezTo>
                    <a:cubicBezTo>
                      <a:pt x="0" y="61"/>
                      <a:pt x="3" y="64"/>
                      <a:pt x="7" y="64"/>
                    </a:cubicBezTo>
                    <a:cubicBezTo>
                      <a:pt x="89" y="64"/>
                      <a:pt x="89" y="64"/>
                      <a:pt x="89" y="64"/>
                    </a:cubicBezTo>
                    <a:cubicBezTo>
                      <a:pt x="93" y="64"/>
                      <a:pt x="96" y="61"/>
                      <a:pt x="96" y="57"/>
                    </a:cubicBezTo>
                    <a:cubicBezTo>
                      <a:pt x="96" y="7"/>
                      <a:pt x="96" y="7"/>
                      <a:pt x="96" y="7"/>
                    </a:cubicBezTo>
                    <a:cubicBezTo>
                      <a:pt x="96" y="3"/>
                      <a:pt x="93" y="0"/>
                      <a:pt x="89" y="0"/>
                    </a:cubicBezTo>
                    <a:close/>
                    <a:moveTo>
                      <a:pt x="92" y="57"/>
                    </a:moveTo>
                    <a:cubicBezTo>
                      <a:pt x="92" y="59"/>
                      <a:pt x="91" y="60"/>
                      <a:pt x="89" y="60"/>
                    </a:cubicBezTo>
                    <a:cubicBezTo>
                      <a:pt x="7" y="60"/>
                      <a:pt x="7" y="60"/>
                      <a:pt x="7" y="60"/>
                    </a:cubicBezTo>
                    <a:cubicBezTo>
                      <a:pt x="5" y="60"/>
                      <a:pt x="4" y="59"/>
                      <a:pt x="4" y="5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5"/>
                      <a:pt x="5" y="4"/>
                      <a:pt x="7" y="4"/>
                    </a:cubicBezTo>
                    <a:cubicBezTo>
                      <a:pt x="89" y="4"/>
                      <a:pt x="89" y="4"/>
                      <a:pt x="89" y="4"/>
                    </a:cubicBezTo>
                    <a:cubicBezTo>
                      <a:pt x="91" y="4"/>
                      <a:pt x="92" y="5"/>
                      <a:pt x="92" y="7"/>
                    </a:cubicBezTo>
                    <a:lnTo>
                      <a:pt x="92" y="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32" name="Freeform 28">
                <a:extLst>
                  <a:ext uri="{FF2B5EF4-FFF2-40B4-BE49-F238E27FC236}">
                    <a16:creationId xmlns:a16="http://schemas.microsoft.com/office/drawing/2014/main" id="{1C472C1B-D672-B6D0-2F29-3F9B3A8AE53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43726" y="1201738"/>
                <a:ext cx="46038" cy="47625"/>
              </a:xfrm>
              <a:custGeom>
                <a:avLst/>
                <a:gdLst>
                  <a:gd name="T0" fmla="*/ 6 w 12"/>
                  <a:gd name="T1" fmla="*/ 0 h 12"/>
                  <a:gd name="T2" fmla="*/ 0 w 12"/>
                  <a:gd name="T3" fmla="*/ 6 h 12"/>
                  <a:gd name="T4" fmla="*/ 6 w 12"/>
                  <a:gd name="T5" fmla="*/ 12 h 12"/>
                  <a:gd name="T6" fmla="*/ 12 w 12"/>
                  <a:gd name="T7" fmla="*/ 6 h 12"/>
                  <a:gd name="T8" fmla="*/ 6 w 12"/>
                  <a:gd name="T9" fmla="*/ 0 h 12"/>
                  <a:gd name="T10" fmla="*/ 6 w 12"/>
                  <a:gd name="T11" fmla="*/ 8 h 12"/>
                  <a:gd name="T12" fmla="*/ 4 w 12"/>
                  <a:gd name="T13" fmla="*/ 6 h 12"/>
                  <a:gd name="T14" fmla="*/ 6 w 12"/>
                  <a:gd name="T15" fmla="*/ 4 h 12"/>
                  <a:gd name="T16" fmla="*/ 8 w 12"/>
                  <a:gd name="T17" fmla="*/ 6 h 12"/>
                  <a:gd name="T18" fmla="*/ 6 w 12"/>
                  <a:gd name="T19" fmla="*/ 8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cubicBezTo>
                      <a:pt x="3" y="0"/>
                      <a:pt x="0" y="3"/>
                      <a:pt x="0" y="6"/>
                    </a:cubicBezTo>
                    <a:cubicBezTo>
                      <a:pt x="0" y="9"/>
                      <a:pt x="3" y="12"/>
                      <a:pt x="6" y="12"/>
                    </a:cubicBezTo>
                    <a:cubicBezTo>
                      <a:pt x="9" y="12"/>
                      <a:pt x="12" y="9"/>
                      <a:pt x="12" y="6"/>
                    </a:cubicBezTo>
                    <a:cubicBezTo>
                      <a:pt x="12" y="3"/>
                      <a:pt x="9" y="0"/>
                      <a:pt x="6" y="0"/>
                    </a:cubicBezTo>
                    <a:close/>
                    <a:moveTo>
                      <a:pt x="6" y="8"/>
                    </a:moveTo>
                    <a:cubicBezTo>
                      <a:pt x="5" y="8"/>
                      <a:pt x="4" y="7"/>
                      <a:pt x="4" y="6"/>
                    </a:cubicBezTo>
                    <a:cubicBezTo>
                      <a:pt x="4" y="5"/>
                      <a:pt x="5" y="4"/>
                      <a:pt x="6" y="4"/>
                    </a:cubicBezTo>
                    <a:cubicBezTo>
                      <a:pt x="7" y="4"/>
                      <a:pt x="8" y="5"/>
                      <a:pt x="8" y="6"/>
                    </a:cubicBezTo>
                    <a:cubicBezTo>
                      <a:pt x="8" y="7"/>
                      <a:pt x="7" y="8"/>
                      <a:pt x="6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33" name="Freeform 29">
                <a:extLst>
                  <a:ext uri="{FF2B5EF4-FFF2-40B4-BE49-F238E27FC236}">
                    <a16:creationId xmlns:a16="http://schemas.microsoft.com/office/drawing/2014/main" id="{D2BA2AC6-6DB6-9D28-C58B-70E4A9714E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81813" y="1044575"/>
                <a:ext cx="61913" cy="65087"/>
              </a:xfrm>
              <a:custGeom>
                <a:avLst/>
                <a:gdLst>
                  <a:gd name="T0" fmla="*/ 0 w 39"/>
                  <a:gd name="T1" fmla="*/ 24 h 41"/>
                  <a:gd name="T2" fmla="*/ 39 w 39"/>
                  <a:gd name="T3" fmla="*/ 41 h 41"/>
                  <a:gd name="T4" fmla="*/ 39 w 39"/>
                  <a:gd name="T5" fmla="*/ 32 h 41"/>
                  <a:gd name="T6" fmla="*/ 12 w 39"/>
                  <a:gd name="T7" fmla="*/ 19 h 41"/>
                  <a:gd name="T8" fmla="*/ 39 w 39"/>
                  <a:gd name="T9" fmla="*/ 10 h 41"/>
                  <a:gd name="T10" fmla="*/ 39 w 39"/>
                  <a:gd name="T11" fmla="*/ 0 h 41"/>
                  <a:gd name="T12" fmla="*/ 0 w 39"/>
                  <a:gd name="T13" fmla="*/ 17 h 41"/>
                  <a:gd name="T14" fmla="*/ 0 w 39"/>
                  <a:gd name="T15" fmla="*/ 24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9" h="41">
                    <a:moveTo>
                      <a:pt x="0" y="24"/>
                    </a:moveTo>
                    <a:lnTo>
                      <a:pt x="39" y="41"/>
                    </a:lnTo>
                    <a:lnTo>
                      <a:pt x="39" y="32"/>
                    </a:lnTo>
                    <a:lnTo>
                      <a:pt x="12" y="19"/>
                    </a:lnTo>
                    <a:lnTo>
                      <a:pt x="39" y="10"/>
                    </a:lnTo>
                    <a:lnTo>
                      <a:pt x="39" y="0"/>
                    </a:lnTo>
                    <a:lnTo>
                      <a:pt x="0" y="17"/>
                    </a:lnTo>
                    <a:lnTo>
                      <a:pt x="0" y="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34" name="Freeform 30">
                <a:extLst>
                  <a:ext uri="{FF2B5EF4-FFF2-40B4-BE49-F238E27FC236}">
                    <a16:creationId xmlns:a16="http://schemas.microsoft.com/office/drawing/2014/main" id="{4DC075DA-61B5-5284-17FA-B4793FB8F2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50076" y="1033463"/>
                <a:ext cx="31750" cy="87312"/>
              </a:xfrm>
              <a:custGeom>
                <a:avLst/>
                <a:gdLst>
                  <a:gd name="T0" fmla="*/ 7 w 8"/>
                  <a:gd name="T1" fmla="*/ 0 h 23"/>
                  <a:gd name="T2" fmla="*/ 5 w 8"/>
                  <a:gd name="T3" fmla="*/ 0 h 23"/>
                  <a:gd name="T4" fmla="*/ 5 w 8"/>
                  <a:gd name="T5" fmla="*/ 2 h 23"/>
                  <a:gd name="T6" fmla="*/ 0 w 8"/>
                  <a:gd name="T7" fmla="*/ 20 h 23"/>
                  <a:gd name="T8" fmla="*/ 0 w 8"/>
                  <a:gd name="T9" fmla="*/ 22 h 23"/>
                  <a:gd name="T10" fmla="*/ 2 w 8"/>
                  <a:gd name="T11" fmla="*/ 23 h 23"/>
                  <a:gd name="T12" fmla="*/ 3 w 8"/>
                  <a:gd name="T13" fmla="*/ 23 h 23"/>
                  <a:gd name="T14" fmla="*/ 3 w 8"/>
                  <a:gd name="T15" fmla="*/ 22 h 23"/>
                  <a:gd name="T16" fmla="*/ 4 w 8"/>
                  <a:gd name="T17" fmla="*/ 21 h 23"/>
                  <a:gd name="T18" fmla="*/ 8 w 8"/>
                  <a:gd name="T19" fmla="*/ 3 h 23"/>
                  <a:gd name="T20" fmla="*/ 8 w 8"/>
                  <a:gd name="T21" fmla="*/ 1 h 23"/>
                  <a:gd name="T22" fmla="*/ 8 w 8"/>
                  <a:gd name="T23" fmla="*/ 0 h 23"/>
                  <a:gd name="T24" fmla="*/ 7 w 8"/>
                  <a:gd name="T25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" h="23">
                    <a:moveTo>
                      <a:pt x="7" y="0"/>
                    </a:moveTo>
                    <a:cubicBezTo>
                      <a:pt x="6" y="0"/>
                      <a:pt x="6" y="0"/>
                      <a:pt x="5" y="0"/>
                    </a:cubicBezTo>
                    <a:cubicBezTo>
                      <a:pt x="5" y="0"/>
                      <a:pt x="5" y="1"/>
                      <a:pt x="5" y="2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1"/>
                      <a:pt x="0" y="22"/>
                      <a:pt x="0" y="22"/>
                    </a:cubicBezTo>
                    <a:cubicBezTo>
                      <a:pt x="0" y="23"/>
                      <a:pt x="1" y="23"/>
                      <a:pt x="2" y="23"/>
                    </a:cubicBezTo>
                    <a:cubicBezTo>
                      <a:pt x="2" y="23"/>
                      <a:pt x="2" y="23"/>
                      <a:pt x="3" y="23"/>
                    </a:cubicBezTo>
                    <a:cubicBezTo>
                      <a:pt x="3" y="23"/>
                      <a:pt x="3" y="22"/>
                      <a:pt x="3" y="22"/>
                    </a:cubicBezTo>
                    <a:cubicBezTo>
                      <a:pt x="3" y="22"/>
                      <a:pt x="3" y="21"/>
                      <a:pt x="4" y="21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2"/>
                      <a:pt x="8" y="1"/>
                      <a:pt x="8" y="1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0"/>
                      <a:pt x="7" y="0"/>
                      <a:pt x="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35" name="Freeform 31">
                <a:extLst>
                  <a:ext uri="{FF2B5EF4-FFF2-40B4-BE49-F238E27FC236}">
                    <a16:creationId xmlns:a16="http://schemas.microsoft.com/office/drawing/2014/main" id="{45492884-A0A9-1F36-E105-2A6536BCFD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89763" y="1044575"/>
                <a:ext cx="60325" cy="65087"/>
              </a:xfrm>
              <a:custGeom>
                <a:avLst/>
                <a:gdLst>
                  <a:gd name="T0" fmla="*/ 0 w 38"/>
                  <a:gd name="T1" fmla="*/ 10 h 41"/>
                  <a:gd name="T2" fmla="*/ 26 w 38"/>
                  <a:gd name="T3" fmla="*/ 19 h 41"/>
                  <a:gd name="T4" fmla="*/ 0 w 38"/>
                  <a:gd name="T5" fmla="*/ 32 h 41"/>
                  <a:gd name="T6" fmla="*/ 0 w 38"/>
                  <a:gd name="T7" fmla="*/ 41 h 41"/>
                  <a:gd name="T8" fmla="*/ 38 w 38"/>
                  <a:gd name="T9" fmla="*/ 24 h 41"/>
                  <a:gd name="T10" fmla="*/ 38 w 38"/>
                  <a:gd name="T11" fmla="*/ 17 h 41"/>
                  <a:gd name="T12" fmla="*/ 0 w 38"/>
                  <a:gd name="T13" fmla="*/ 0 h 41"/>
                  <a:gd name="T14" fmla="*/ 0 w 38"/>
                  <a:gd name="T15" fmla="*/ 1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8" h="41">
                    <a:moveTo>
                      <a:pt x="0" y="10"/>
                    </a:moveTo>
                    <a:lnTo>
                      <a:pt x="26" y="19"/>
                    </a:lnTo>
                    <a:lnTo>
                      <a:pt x="0" y="32"/>
                    </a:lnTo>
                    <a:lnTo>
                      <a:pt x="0" y="41"/>
                    </a:lnTo>
                    <a:lnTo>
                      <a:pt x="38" y="24"/>
                    </a:lnTo>
                    <a:lnTo>
                      <a:pt x="38" y="17"/>
                    </a:lnTo>
                    <a:lnTo>
                      <a:pt x="0" y="0"/>
                    </a:lnTo>
                    <a:lnTo>
                      <a:pt x="0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8615336E-F172-F669-7591-AA68DD0CFE70}"/>
                </a:ext>
              </a:extLst>
            </p:cNvPr>
            <p:cNvGrpSpPr/>
            <p:nvPr/>
          </p:nvGrpSpPr>
          <p:grpSpPr>
            <a:xfrm>
              <a:off x="2471788" y="1862438"/>
              <a:ext cx="632472" cy="426508"/>
              <a:chOff x="6716027" y="5411634"/>
              <a:chExt cx="583964" cy="393797"/>
            </a:xfrm>
            <a:solidFill>
              <a:schemeClr val="bg1"/>
            </a:solidFill>
          </p:grpSpPr>
          <p:sp>
            <p:nvSpPr>
              <p:cNvPr id="27" name="Freeform 17">
                <a:extLst>
                  <a:ext uri="{FF2B5EF4-FFF2-40B4-BE49-F238E27FC236}">
                    <a16:creationId xmlns:a16="http://schemas.microsoft.com/office/drawing/2014/main" id="{F9B856E7-B95D-C00B-51AF-DA65BA75C8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2700000">
                <a:off x="6832931" y="5294730"/>
                <a:ext cx="350155" cy="583964"/>
              </a:xfrm>
              <a:custGeom>
                <a:avLst/>
                <a:gdLst>
                  <a:gd name="T0" fmla="*/ 50 w 184"/>
                  <a:gd name="T1" fmla="*/ 310 h 310"/>
                  <a:gd name="T2" fmla="*/ 32 w 184"/>
                  <a:gd name="T3" fmla="*/ 282 h 310"/>
                  <a:gd name="T4" fmla="*/ 10 w 184"/>
                  <a:gd name="T5" fmla="*/ 199 h 310"/>
                  <a:gd name="T6" fmla="*/ 39 w 184"/>
                  <a:gd name="T7" fmla="*/ 171 h 310"/>
                  <a:gd name="T8" fmla="*/ 30 w 184"/>
                  <a:gd name="T9" fmla="*/ 116 h 310"/>
                  <a:gd name="T10" fmla="*/ 36 w 184"/>
                  <a:gd name="T11" fmla="*/ 73 h 310"/>
                  <a:gd name="T12" fmla="*/ 36 w 184"/>
                  <a:gd name="T13" fmla="*/ 72 h 310"/>
                  <a:gd name="T14" fmla="*/ 92 w 184"/>
                  <a:gd name="T15" fmla="*/ 0 h 310"/>
                  <a:gd name="T16" fmla="*/ 148 w 184"/>
                  <a:gd name="T17" fmla="*/ 72 h 310"/>
                  <a:gd name="T18" fmla="*/ 148 w 184"/>
                  <a:gd name="T19" fmla="*/ 73 h 310"/>
                  <a:gd name="T20" fmla="*/ 155 w 184"/>
                  <a:gd name="T21" fmla="*/ 116 h 310"/>
                  <a:gd name="T22" fmla="*/ 145 w 184"/>
                  <a:gd name="T23" fmla="*/ 171 h 310"/>
                  <a:gd name="T24" fmla="*/ 174 w 184"/>
                  <a:gd name="T25" fmla="*/ 199 h 310"/>
                  <a:gd name="T26" fmla="*/ 153 w 184"/>
                  <a:gd name="T27" fmla="*/ 282 h 310"/>
                  <a:gd name="T28" fmla="*/ 134 w 184"/>
                  <a:gd name="T29" fmla="*/ 310 h 310"/>
                  <a:gd name="T30" fmla="*/ 134 w 184"/>
                  <a:gd name="T31" fmla="*/ 276 h 310"/>
                  <a:gd name="T32" fmla="*/ 118 w 184"/>
                  <a:gd name="T33" fmla="*/ 239 h 310"/>
                  <a:gd name="T34" fmla="*/ 118 w 184"/>
                  <a:gd name="T35" fmla="*/ 240 h 310"/>
                  <a:gd name="T36" fmla="*/ 115 w 184"/>
                  <a:gd name="T37" fmla="*/ 246 h 310"/>
                  <a:gd name="T38" fmla="*/ 108 w 184"/>
                  <a:gd name="T39" fmla="*/ 245 h 310"/>
                  <a:gd name="T40" fmla="*/ 76 w 184"/>
                  <a:gd name="T41" fmla="*/ 245 h 310"/>
                  <a:gd name="T42" fmla="*/ 69 w 184"/>
                  <a:gd name="T43" fmla="*/ 246 h 310"/>
                  <a:gd name="T44" fmla="*/ 66 w 184"/>
                  <a:gd name="T45" fmla="*/ 240 h 310"/>
                  <a:gd name="T46" fmla="*/ 66 w 184"/>
                  <a:gd name="T47" fmla="*/ 239 h 310"/>
                  <a:gd name="T48" fmla="*/ 50 w 184"/>
                  <a:gd name="T49" fmla="*/ 276 h 310"/>
                  <a:gd name="T50" fmla="*/ 50 w 184"/>
                  <a:gd name="T51" fmla="*/ 310 h 310"/>
                  <a:gd name="T52" fmla="*/ 55 w 184"/>
                  <a:gd name="T53" fmla="*/ 79 h 310"/>
                  <a:gd name="T54" fmla="*/ 50 w 184"/>
                  <a:gd name="T55" fmla="*/ 116 h 310"/>
                  <a:gd name="T56" fmla="*/ 61 w 184"/>
                  <a:gd name="T57" fmla="*/ 174 h 310"/>
                  <a:gd name="T58" fmla="*/ 64 w 184"/>
                  <a:gd name="T59" fmla="*/ 184 h 310"/>
                  <a:gd name="T60" fmla="*/ 54 w 184"/>
                  <a:gd name="T61" fmla="*/ 187 h 310"/>
                  <a:gd name="T62" fmla="*/ 29 w 184"/>
                  <a:gd name="T63" fmla="*/ 205 h 310"/>
                  <a:gd name="T64" fmla="*/ 36 w 184"/>
                  <a:gd name="T65" fmla="*/ 247 h 310"/>
                  <a:gd name="T66" fmla="*/ 65 w 184"/>
                  <a:gd name="T67" fmla="*/ 215 h 310"/>
                  <a:gd name="T68" fmla="*/ 74 w 184"/>
                  <a:gd name="T69" fmla="*/ 209 h 310"/>
                  <a:gd name="T70" fmla="*/ 79 w 184"/>
                  <a:gd name="T71" fmla="*/ 219 h 310"/>
                  <a:gd name="T72" fmla="*/ 82 w 184"/>
                  <a:gd name="T73" fmla="*/ 225 h 310"/>
                  <a:gd name="T74" fmla="*/ 103 w 184"/>
                  <a:gd name="T75" fmla="*/ 225 h 310"/>
                  <a:gd name="T76" fmla="*/ 105 w 184"/>
                  <a:gd name="T77" fmla="*/ 219 h 310"/>
                  <a:gd name="T78" fmla="*/ 110 w 184"/>
                  <a:gd name="T79" fmla="*/ 209 h 310"/>
                  <a:gd name="T80" fmla="*/ 120 w 184"/>
                  <a:gd name="T81" fmla="*/ 215 h 310"/>
                  <a:gd name="T82" fmla="*/ 148 w 184"/>
                  <a:gd name="T83" fmla="*/ 247 h 310"/>
                  <a:gd name="T84" fmla="*/ 155 w 184"/>
                  <a:gd name="T85" fmla="*/ 205 h 310"/>
                  <a:gd name="T86" fmla="*/ 130 w 184"/>
                  <a:gd name="T87" fmla="*/ 187 h 310"/>
                  <a:gd name="T88" fmla="*/ 120 w 184"/>
                  <a:gd name="T89" fmla="*/ 184 h 310"/>
                  <a:gd name="T90" fmla="*/ 123 w 184"/>
                  <a:gd name="T91" fmla="*/ 174 h 310"/>
                  <a:gd name="T92" fmla="*/ 135 w 184"/>
                  <a:gd name="T93" fmla="*/ 116 h 310"/>
                  <a:gd name="T94" fmla="*/ 129 w 184"/>
                  <a:gd name="T95" fmla="*/ 79 h 310"/>
                  <a:gd name="T96" fmla="*/ 92 w 184"/>
                  <a:gd name="T97" fmla="*/ 21 h 310"/>
                  <a:gd name="T98" fmla="*/ 55 w 184"/>
                  <a:gd name="T99" fmla="*/ 79 h 3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84" h="310">
                    <a:moveTo>
                      <a:pt x="50" y="310"/>
                    </a:moveTo>
                    <a:cubicBezTo>
                      <a:pt x="32" y="282"/>
                      <a:pt x="32" y="282"/>
                      <a:pt x="32" y="282"/>
                    </a:cubicBezTo>
                    <a:cubicBezTo>
                      <a:pt x="28" y="276"/>
                      <a:pt x="0" y="230"/>
                      <a:pt x="10" y="199"/>
                    </a:cubicBezTo>
                    <a:cubicBezTo>
                      <a:pt x="14" y="187"/>
                      <a:pt x="24" y="178"/>
                      <a:pt x="39" y="171"/>
                    </a:cubicBezTo>
                    <a:cubicBezTo>
                      <a:pt x="33" y="151"/>
                      <a:pt x="30" y="132"/>
                      <a:pt x="30" y="116"/>
                    </a:cubicBezTo>
                    <a:cubicBezTo>
                      <a:pt x="30" y="102"/>
                      <a:pt x="32" y="87"/>
                      <a:pt x="36" y="73"/>
                    </a:cubicBezTo>
                    <a:cubicBezTo>
                      <a:pt x="36" y="72"/>
                      <a:pt x="36" y="72"/>
                      <a:pt x="36" y="72"/>
                    </a:cubicBezTo>
                    <a:cubicBezTo>
                      <a:pt x="50" y="35"/>
                      <a:pt x="77" y="0"/>
                      <a:pt x="92" y="0"/>
                    </a:cubicBezTo>
                    <a:cubicBezTo>
                      <a:pt x="107" y="0"/>
                      <a:pt x="134" y="35"/>
                      <a:pt x="148" y="72"/>
                    </a:cubicBezTo>
                    <a:cubicBezTo>
                      <a:pt x="148" y="73"/>
                      <a:pt x="148" y="73"/>
                      <a:pt x="148" y="73"/>
                    </a:cubicBezTo>
                    <a:cubicBezTo>
                      <a:pt x="152" y="87"/>
                      <a:pt x="155" y="102"/>
                      <a:pt x="155" y="116"/>
                    </a:cubicBezTo>
                    <a:cubicBezTo>
                      <a:pt x="155" y="132"/>
                      <a:pt x="152" y="151"/>
                      <a:pt x="145" y="171"/>
                    </a:cubicBezTo>
                    <a:cubicBezTo>
                      <a:pt x="160" y="178"/>
                      <a:pt x="170" y="187"/>
                      <a:pt x="174" y="199"/>
                    </a:cubicBezTo>
                    <a:cubicBezTo>
                      <a:pt x="184" y="230"/>
                      <a:pt x="156" y="276"/>
                      <a:pt x="153" y="282"/>
                    </a:cubicBezTo>
                    <a:cubicBezTo>
                      <a:pt x="134" y="310"/>
                      <a:pt x="134" y="310"/>
                      <a:pt x="134" y="310"/>
                    </a:cubicBezTo>
                    <a:cubicBezTo>
                      <a:pt x="134" y="276"/>
                      <a:pt x="134" y="276"/>
                      <a:pt x="134" y="276"/>
                    </a:cubicBezTo>
                    <a:cubicBezTo>
                      <a:pt x="134" y="262"/>
                      <a:pt x="128" y="248"/>
                      <a:pt x="118" y="239"/>
                    </a:cubicBezTo>
                    <a:cubicBezTo>
                      <a:pt x="118" y="239"/>
                      <a:pt x="118" y="239"/>
                      <a:pt x="118" y="240"/>
                    </a:cubicBezTo>
                    <a:cubicBezTo>
                      <a:pt x="115" y="246"/>
                      <a:pt x="115" y="246"/>
                      <a:pt x="115" y="246"/>
                    </a:cubicBezTo>
                    <a:cubicBezTo>
                      <a:pt x="108" y="245"/>
                      <a:pt x="108" y="245"/>
                      <a:pt x="108" y="245"/>
                    </a:cubicBezTo>
                    <a:cubicBezTo>
                      <a:pt x="98" y="245"/>
                      <a:pt x="87" y="245"/>
                      <a:pt x="76" y="245"/>
                    </a:cubicBezTo>
                    <a:cubicBezTo>
                      <a:pt x="69" y="246"/>
                      <a:pt x="69" y="246"/>
                      <a:pt x="69" y="246"/>
                    </a:cubicBezTo>
                    <a:cubicBezTo>
                      <a:pt x="66" y="240"/>
                      <a:pt x="66" y="240"/>
                      <a:pt x="66" y="240"/>
                    </a:cubicBezTo>
                    <a:cubicBezTo>
                      <a:pt x="66" y="239"/>
                      <a:pt x="66" y="239"/>
                      <a:pt x="66" y="239"/>
                    </a:cubicBezTo>
                    <a:cubicBezTo>
                      <a:pt x="56" y="249"/>
                      <a:pt x="50" y="262"/>
                      <a:pt x="50" y="276"/>
                    </a:cubicBezTo>
                    <a:lnTo>
                      <a:pt x="50" y="310"/>
                    </a:lnTo>
                    <a:close/>
                    <a:moveTo>
                      <a:pt x="55" y="79"/>
                    </a:moveTo>
                    <a:cubicBezTo>
                      <a:pt x="52" y="91"/>
                      <a:pt x="50" y="104"/>
                      <a:pt x="50" y="116"/>
                    </a:cubicBezTo>
                    <a:cubicBezTo>
                      <a:pt x="50" y="132"/>
                      <a:pt x="53" y="152"/>
                      <a:pt x="61" y="174"/>
                    </a:cubicBezTo>
                    <a:cubicBezTo>
                      <a:pt x="64" y="184"/>
                      <a:pt x="64" y="184"/>
                      <a:pt x="64" y="184"/>
                    </a:cubicBezTo>
                    <a:cubicBezTo>
                      <a:pt x="54" y="187"/>
                      <a:pt x="54" y="187"/>
                      <a:pt x="54" y="187"/>
                    </a:cubicBezTo>
                    <a:cubicBezTo>
                      <a:pt x="45" y="190"/>
                      <a:pt x="33" y="196"/>
                      <a:pt x="29" y="205"/>
                    </a:cubicBezTo>
                    <a:cubicBezTo>
                      <a:pt x="26" y="216"/>
                      <a:pt x="30" y="233"/>
                      <a:pt x="36" y="247"/>
                    </a:cubicBezTo>
                    <a:cubicBezTo>
                      <a:pt x="42" y="234"/>
                      <a:pt x="52" y="223"/>
                      <a:pt x="65" y="215"/>
                    </a:cubicBezTo>
                    <a:cubicBezTo>
                      <a:pt x="74" y="209"/>
                      <a:pt x="74" y="209"/>
                      <a:pt x="74" y="209"/>
                    </a:cubicBezTo>
                    <a:cubicBezTo>
                      <a:pt x="79" y="219"/>
                      <a:pt x="79" y="219"/>
                      <a:pt x="79" y="219"/>
                    </a:cubicBezTo>
                    <a:cubicBezTo>
                      <a:pt x="80" y="221"/>
                      <a:pt x="81" y="223"/>
                      <a:pt x="82" y="225"/>
                    </a:cubicBezTo>
                    <a:cubicBezTo>
                      <a:pt x="89" y="225"/>
                      <a:pt x="96" y="225"/>
                      <a:pt x="103" y="225"/>
                    </a:cubicBezTo>
                    <a:cubicBezTo>
                      <a:pt x="104" y="223"/>
                      <a:pt x="105" y="221"/>
                      <a:pt x="105" y="219"/>
                    </a:cubicBezTo>
                    <a:cubicBezTo>
                      <a:pt x="110" y="209"/>
                      <a:pt x="110" y="209"/>
                      <a:pt x="110" y="209"/>
                    </a:cubicBezTo>
                    <a:cubicBezTo>
                      <a:pt x="120" y="215"/>
                      <a:pt x="120" y="215"/>
                      <a:pt x="120" y="215"/>
                    </a:cubicBezTo>
                    <a:cubicBezTo>
                      <a:pt x="133" y="223"/>
                      <a:pt x="142" y="234"/>
                      <a:pt x="148" y="247"/>
                    </a:cubicBezTo>
                    <a:cubicBezTo>
                      <a:pt x="154" y="233"/>
                      <a:pt x="159" y="216"/>
                      <a:pt x="155" y="205"/>
                    </a:cubicBezTo>
                    <a:cubicBezTo>
                      <a:pt x="152" y="196"/>
                      <a:pt x="140" y="190"/>
                      <a:pt x="130" y="187"/>
                    </a:cubicBezTo>
                    <a:cubicBezTo>
                      <a:pt x="120" y="184"/>
                      <a:pt x="120" y="184"/>
                      <a:pt x="120" y="184"/>
                    </a:cubicBezTo>
                    <a:cubicBezTo>
                      <a:pt x="123" y="174"/>
                      <a:pt x="123" y="174"/>
                      <a:pt x="123" y="174"/>
                    </a:cubicBezTo>
                    <a:cubicBezTo>
                      <a:pt x="131" y="152"/>
                      <a:pt x="135" y="132"/>
                      <a:pt x="135" y="116"/>
                    </a:cubicBezTo>
                    <a:cubicBezTo>
                      <a:pt x="135" y="104"/>
                      <a:pt x="133" y="91"/>
                      <a:pt x="129" y="79"/>
                    </a:cubicBezTo>
                    <a:cubicBezTo>
                      <a:pt x="117" y="47"/>
                      <a:pt x="99" y="26"/>
                      <a:pt x="92" y="21"/>
                    </a:cubicBezTo>
                    <a:cubicBezTo>
                      <a:pt x="85" y="26"/>
                      <a:pt x="67" y="47"/>
                      <a:pt x="55" y="7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28" name="Freeform 18">
                <a:extLst>
                  <a:ext uri="{FF2B5EF4-FFF2-40B4-BE49-F238E27FC236}">
                    <a16:creationId xmlns:a16="http://schemas.microsoft.com/office/drawing/2014/main" id="{B4789F75-6F20-3590-EC38-7ECFAFE0C14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2700000">
                <a:off x="6989613" y="5483631"/>
                <a:ext cx="121724" cy="120112"/>
              </a:xfrm>
              <a:custGeom>
                <a:avLst/>
                <a:gdLst>
                  <a:gd name="T0" fmla="*/ 32 w 64"/>
                  <a:gd name="T1" fmla="*/ 64 h 64"/>
                  <a:gd name="T2" fmla="*/ 0 w 64"/>
                  <a:gd name="T3" fmla="*/ 32 h 64"/>
                  <a:gd name="T4" fmla="*/ 32 w 64"/>
                  <a:gd name="T5" fmla="*/ 0 h 64"/>
                  <a:gd name="T6" fmla="*/ 64 w 64"/>
                  <a:gd name="T7" fmla="*/ 32 h 64"/>
                  <a:gd name="T8" fmla="*/ 32 w 64"/>
                  <a:gd name="T9" fmla="*/ 64 h 64"/>
                  <a:gd name="T10" fmla="*/ 32 w 64"/>
                  <a:gd name="T11" fmla="*/ 12 h 64"/>
                  <a:gd name="T12" fmla="*/ 12 w 64"/>
                  <a:gd name="T13" fmla="*/ 32 h 64"/>
                  <a:gd name="T14" fmla="*/ 32 w 64"/>
                  <a:gd name="T15" fmla="*/ 52 h 64"/>
                  <a:gd name="T16" fmla="*/ 52 w 64"/>
                  <a:gd name="T17" fmla="*/ 32 h 64"/>
                  <a:gd name="T18" fmla="*/ 32 w 64"/>
                  <a:gd name="T19" fmla="*/ 12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4" h="64">
                    <a:moveTo>
                      <a:pt x="32" y="64"/>
                    </a:moveTo>
                    <a:cubicBezTo>
                      <a:pt x="14" y="64"/>
                      <a:pt x="0" y="50"/>
                      <a:pt x="0" y="32"/>
                    </a:cubicBezTo>
                    <a:cubicBezTo>
                      <a:pt x="0" y="14"/>
                      <a:pt x="14" y="0"/>
                      <a:pt x="32" y="0"/>
                    </a:cubicBezTo>
                    <a:cubicBezTo>
                      <a:pt x="50" y="0"/>
                      <a:pt x="64" y="14"/>
                      <a:pt x="64" y="32"/>
                    </a:cubicBezTo>
                    <a:cubicBezTo>
                      <a:pt x="64" y="50"/>
                      <a:pt x="50" y="64"/>
                      <a:pt x="32" y="64"/>
                    </a:cubicBezTo>
                    <a:close/>
                    <a:moveTo>
                      <a:pt x="32" y="12"/>
                    </a:moveTo>
                    <a:cubicBezTo>
                      <a:pt x="21" y="12"/>
                      <a:pt x="12" y="21"/>
                      <a:pt x="12" y="32"/>
                    </a:cubicBezTo>
                    <a:cubicBezTo>
                      <a:pt x="12" y="43"/>
                      <a:pt x="21" y="52"/>
                      <a:pt x="32" y="52"/>
                    </a:cubicBezTo>
                    <a:cubicBezTo>
                      <a:pt x="43" y="52"/>
                      <a:pt x="52" y="43"/>
                      <a:pt x="52" y="32"/>
                    </a:cubicBezTo>
                    <a:cubicBezTo>
                      <a:pt x="52" y="21"/>
                      <a:pt x="43" y="12"/>
                      <a:pt x="3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29" name="Freeform 19">
                <a:extLst>
                  <a:ext uri="{FF2B5EF4-FFF2-40B4-BE49-F238E27FC236}">
                    <a16:creationId xmlns:a16="http://schemas.microsoft.com/office/drawing/2014/main" id="{862EA9E2-C86E-9E47-96C8-D52135116EE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2700000">
                <a:off x="6790966" y="5660018"/>
                <a:ext cx="112239" cy="178587"/>
              </a:xfrm>
              <a:custGeom>
                <a:avLst/>
                <a:gdLst>
                  <a:gd name="T0" fmla="*/ 29 w 59"/>
                  <a:gd name="T1" fmla="*/ 95 h 95"/>
                  <a:gd name="T2" fmla="*/ 24 w 59"/>
                  <a:gd name="T3" fmla="*/ 85 h 95"/>
                  <a:gd name="T4" fmla="*/ 0 w 59"/>
                  <a:gd name="T5" fmla="*/ 26 h 95"/>
                  <a:gd name="T6" fmla="*/ 29 w 59"/>
                  <a:gd name="T7" fmla="*/ 0 h 95"/>
                  <a:gd name="T8" fmla="*/ 59 w 59"/>
                  <a:gd name="T9" fmla="*/ 26 h 95"/>
                  <a:gd name="T10" fmla="*/ 34 w 59"/>
                  <a:gd name="T11" fmla="*/ 85 h 95"/>
                  <a:gd name="T12" fmla="*/ 29 w 59"/>
                  <a:gd name="T13" fmla="*/ 95 h 95"/>
                  <a:gd name="T14" fmla="*/ 29 w 59"/>
                  <a:gd name="T15" fmla="*/ 12 h 95"/>
                  <a:gd name="T16" fmla="*/ 12 w 59"/>
                  <a:gd name="T17" fmla="*/ 26 h 95"/>
                  <a:gd name="T18" fmla="*/ 29 w 59"/>
                  <a:gd name="T19" fmla="*/ 69 h 95"/>
                  <a:gd name="T20" fmla="*/ 47 w 59"/>
                  <a:gd name="T21" fmla="*/ 26 h 95"/>
                  <a:gd name="T22" fmla="*/ 29 w 59"/>
                  <a:gd name="T23" fmla="*/ 12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9" h="95">
                    <a:moveTo>
                      <a:pt x="29" y="95"/>
                    </a:moveTo>
                    <a:cubicBezTo>
                      <a:pt x="24" y="85"/>
                      <a:pt x="24" y="85"/>
                      <a:pt x="24" y="85"/>
                    </a:cubicBezTo>
                    <a:cubicBezTo>
                      <a:pt x="20" y="77"/>
                      <a:pt x="0" y="38"/>
                      <a:pt x="0" y="26"/>
                    </a:cubicBezTo>
                    <a:cubicBezTo>
                      <a:pt x="0" y="12"/>
                      <a:pt x="13" y="0"/>
                      <a:pt x="29" y="0"/>
                    </a:cubicBezTo>
                    <a:cubicBezTo>
                      <a:pt x="45" y="0"/>
                      <a:pt x="59" y="12"/>
                      <a:pt x="59" y="26"/>
                    </a:cubicBezTo>
                    <a:cubicBezTo>
                      <a:pt x="59" y="38"/>
                      <a:pt x="39" y="77"/>
                      <a:pt x="34" y="85"/>
                    </a:cubicBezTo>
                    <a:lnTo>
                      <a:pt x="29" y="95"/>
                    </a:lnTo>
                    <a:close/>
                    <a:moveTo>
                      <a:pt x="29" y="12"/>
                    </a:moveTo>
                    <a:cubicBezTo>
                      <a:pt x="19" y="12"/>
                      <a:pt x="12" y="18"/>
                      <a:pt x="12" y="26"/>
                    </a:cubicBezTo>
                    <a:cubicBezTo>
                      <a:pt x="12" y="31"/>
                      <a:pt x="20" y="50"/>
                      <a:pt x="29" y="69"/>
                    </a:cubicBezTo>
                    <a:cubicBezTo>
                      <a:pt x="38" y="50"/>
                      <a:pt x="47" y="31"/>
                      <a:pt x="47" y="26"/>
                    </a:cubicBezTo>
                    <a:cubicBezTo>
                      <a:pt x="47" y="18"/>
                      <a:pt x="39" y="12"/>
                      <a:pt x="29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</p:grpSp>
        <p:sp>
          <p:nvSpPr>
            <p:cNvPr id="19" name="Freeform 23">
              <a:extLst>
                <a:ext uri="{FF2B5EF4-FFF2-40B4-BE49-F238E27FC236}">
                  <a16:creationId xmlns:a16="http://schemas.microsoft.com/office/drawing/2014/main" id="{B5BA0C8F-39A8-B81B-ABFA-2049252E20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30477" y="2489408"/>
              <a:ext cx="560312" cy="496208"/>
            </a:xfrm>
            <a:custGeom>
              <a:avLst/>
              <a:gdLst>
                <a:gd name="T0" fmla="*/ 232 w 256"/>
                <a:gd name="T1" fmla="*/ 84 h 227"/>
                <a:gd name="T2" fmla="*/ 172 w 256"/>
                <a:gd name="T3" fmla="*/ 44 h 227"/>
                <a:gd name="T4" fmla="*/ 120 w 256"/>
                <a:gd name="T5" fmla="*/ 48 h 227"/>
                <a:gd name="T6" fmla="*/ 64 w 256"/>
                <a:gd name="T7" fmla="*/ 107 h 227"/>
                <a:gd name="T8" fmla="*/ 0 w 256"/>
                <a:gd name="T9" fmla="*/ 131 h 227"/>
                <a:gd name="T10" fmla="*/ 32 w 256"/>
                <a:gd name="T11" fmla="*/ 227 h 227"/>
                <a:gd name="T12" fmla="*/ 87 w 256"/>
                <a:gd name="T13" fmla="*/ 212 h 227"/>
                <a:gd name="T14" fmla="*/ 103 w 256"/>
                <a:gd name="T15" fmla="*/ 219 h 227"/>
                <a:gd name="T16" fmla="*/ 232 w 256"/>
                <a:gd name="T17" fmla="*/ 197 h 227"/>
                <a:gd name="T18" fmla="*/ 240 w 256"/>
                <a:gd name="T19" fmla="*/ 169 h 227"/>
                <a:gd name="T20" fmla="*/ 248 w 256"/>
                <a:gd name="T21" fmla="*/ 140 h 227"/>
                <a:gd name="T22" fmla="*/ 256 w 256"/>
                <a:gd name="T23" fmla="*/ 108 h 227"/>
                <a:gd name="T24" fmla="*/ 32 w 256"/>
                <a:gd name="T25" fmla="*/ 211 h 227"/>
                <a:gd name="T26" fmla="*/ 16 w 256"/>
                <a:gd name="T27" fmla="*/ 131 h 227"/>
                <a:gd name="T28" fmla="*/ 64 w 256"/>
                <a:gd name="T29" fmla="*/ 123 h 227"/>
                <a:gd name="T30" fmla="*/ 72 w 256"/>
                <a:gd name="T31" fmla="*/ 198 h 227"/>
                <a:gd name="T32" fmla="*/ 72 w 256"/>
                <a:gd name="T33" fmla="*/ 203 h 227"/>
                <a:gd name="T34" fmla="*/ 210 w 256"/>
                <a:gd name="T35" fmla="*/ 203 h 227"/>
                <a:gd name="T36" fmla="*/ 88 w 256"/>
                <a:gd name="T37" fmla="*/ 194 h 227"/>
                <a:gd name="T38" fmla="*/ 86 w 256"/>
                <a:gd name="T39" fmla="*/ 121 h 227"/>
                <a:gd name="T40" fmla="*/ 140 w 256"/>
                <a:gd name="T41" fmla="*/ 16 h 227"/>
                <a:gd name="T42" fmla="*/ 152 w 256"/>
                <a:gd name="T43" fmla="*/ 90 h 227"/>
                <a:gd name="T44" fmla="*/ 160 w 256"/>
                <a:gd name="T45" fmla="*/ 100 h 227"/>
                <a:gd name="T46" fmla="*/ 240 w 256"/>
                <a:gd name="T47" fmla="*/ 108 h 227"/>
                <a:gd name="T48" fmla="*/ 223 w 256"/>
                <a:gd name="T49" fmla="*/ 116 h 227"/>
                <a:gd name="T50" fmla="*/ 223 w 256"/>
                <a:gd name="T51" fmla="*/ 132 h 227"/>
                <a:gd name="T52" fmla="*/ 224 w 256"/>
                <a:gd name="T53" fmla="*/ 132 h 227"/>
                <a:gd name="T54" fmla="*/ 224 w 256"/>
                <a:gd name="T55" fmla="*/ 148 h 227"/>
                <a:gd name="T56" fmla="*/ 218 w 256"/>
                <a:gd name="T57" fmla="*/ 147 h 227"/>
                <a:gd name="T58" fmla="*/ 215 w 256"/>
                <a:gd name="T59" fmla="*/ 148 h 227"/>
                <a:gd name="T60" fmla="*/ 215 w 256"/>
                <a:gd name="T61" fmla="*/ 164 h 227"/>
                <a:gd name="T62" fmla="*/ 224 w 256"/>
                <a:gd name="T63" fmla="*/ 169 h 227"/>
                <a:gd name="T64" fmla="*/ 210 w 256"/>
                <a:gd name="T65" fmla="*/ 175 h 227"/>
                <a:gd name="T66" fmla="*/ 210 w 256"/>
                <a:gd name="T67" fmla="*/ 175 h 227"/>
                <a:gd name="T68" fmla="*/ 210 w 256"/>
                <a:gd name="T69" fmla="*/ 191 h 227"/>
                <a:gd name="T70" fmla="*/ 210 w 256"/>
                <a:gd name="T71" fmla="*/ 203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56" h="227">
                  <a:moveTo>
                    <a:pt x="256" y="108"/>
                  </a:moveTo>
                  <a:cubicBezTo>
                    <a:pt x="256" y="94"/>
                    <a:pt x="245" y="84"/>
                    <a:pt x="232" y="84"/>
                  </a:cubicBezTo>
                  <a:cubicBezTo>
                    <a:pt x="169" y="84"/>
                    <a:pt x="169" y="84"/>
                    <a:pt x="169" y="84"/>
                  </a:cubicBezTo>
                  <a:cubicBezTo>
                    <a:pt x="171" y="74"/>
                    <a:pt x="172" y="59"/>
                    <a:pt x="172" y="44"/>
                  </a:cubicBezTo>
                  <a:cubicBezTo>
                    <a:pt x="172" y="13"/>
                    <a:pt x="156" y="0"/>
                    <a:pt x="140" y="0"/>
                  </a:cubicBezTo>
                  <a:cubicBezTo>
                    <a:pt x="120" y="0"/>
                    <a:pt x="120" y="21"/>
                    <a:pt x="120" y="48"/>
                  </a:cubicBezTo>
                  <a:cubicBezTo>
                    <a:pt x="120" y="67"/>
                    <a:pt x="90" y="97"/>
                    <a:pt x="75" y="110"/>
                  </a:cubicBezTo>
                  <a:cubicBezTo>
                    <a:pt x="71" y="108"/>
                    <a:pt x="68" y="107"/>
                    <a:pt x="64" y="107"/>
                  </a:cubicBezTo>
                  <a:cubicBezTo>
                    <a:pt x="24" y="107"/>
                    <a:pt x="24" y="107"/>
                    <a:pt x="24" y="107"/>
                  </a:cubicBezTo>
                  <a:cubicBezTo>
                    <a:pt x="11" y="107"/>
                    <a:pt x="0" y="118"/>
                    <a:pt x="0" y="131"/>
                  </a:cubicBezTo>
                  <a:cubicBezTo>
                    <a:pt x="8" y="203"/>
                    <a:pt x="8" y="203"/>
                    <a:pt x="8" y="203"/>
                  </a:cubicBezTo>
                  <a:cubicBezTo>
                    <a:pt x="10" y="216"/>
                    <a:pt x="19" y="227"/>
                    <a:pt x="32" y="227"/>
                  </a:cubicBezTo>
                  <a:cubicBezTo>
                    <a:pt x="64" y="227"/>
                    <a:pt x="64" y="227"/>
                    <a:pt x="64" y="227"/>
                  </a:cubicBezTo>
                  <a:cubicBezTo>
                    <a:pt x="74" y="227"/>
                    <a:pt x="83" y="221"/>
                    <a:pt x="87" y="212"/>
                  </a:cubicBezTo>
                  <a:cubicBezTo>
                    <a:pt x="100" y="219"/>
                    <a:pt x="100" y="219"/>
                    <a:pt x="100" y="219"/>
                  </a:cubicBezTo>
                  <a:cubicBezTo>
                    <a:pt x="101" y="219"/>
                    <a:pt x="102" y="219"/>
                    <a:pt x="103" y="219"/>
                  </a:cubicBezTo>
                  <a:cubicBezTo>
                    <a:pt x="210" y="219"/>
                    <a:pt x="210" y="219"/>
                    <a:pt x="210" y="219"/>
                  </a:cubicBezTo>
                  <a:cubicBezTo>
                    <a:pt x="222" y="219"/>
                    <a:pt x="232" y="210"/>
                    <a:pt x="232" y="197"/>
                  </a:cubicBezTo>
                  <a:cubicBezTo>
                    <a:pt x="232" y="194"/>
                    <a:pt x="231" y="191"/>
                    <a:pt x="230" y="188"/>
                  </a:cubicBezTo>
                  <a:cubicBezTo>
                    <a:pt x="236" y="184"/>
                    <a:pt x="240" y="177"/>
                    <a:pt x="240" y="169"/>
                  </a:cubicBezTo>
                  <a:cubicBezTo>
                    <a:pt x="240" y="166"/>
                    <a:pt x="239" y="162"/>
                    <a:pt x="238" y="159"/>
                  </a:cubicBezTo>
                  <a:cubicBezTo>
                    <a:pt x="244" y="155"/>
                    <a:pt x="248" y="148"/>
                    <a:pt x="248" y="140"/>
                  </a:cubicBezTo>
                  <a:cubicBezTo>
                    <a:pt x="248" y="135"/>
                    <a:pt x="247" y="131"/>
                    <a:pt x="245" y="128"/>
                  </a:cubicBezTo>
                  <a:cubicBezTo>
                    <a:pt x="252" y="123"/>
                    <a:pt x="256" y="116"/>
                    <a:pt x="256" y="108"/>
                  </a:cubicBezTo>
                  <a:close/>
                  <a:moveTo>
                    <a:pt x="64" y="211"/>
                  </a:moveTo>
                  <a:cubicBezTo>
                    <a:pt x="32" y="211"/>
                    <a:pt x="32" y="211"/>
                    <a:pt x="32" y="211"/>
                  </a:cubicBezTo>
                  <a:cubicBezTo>
                    <a:pt x="28" y="211"/>
                    <a:pt x="25" y="206"/>
                    <a:pt x="24" y="202"/>
                  </a:cubicBezTo>
                  <a:cubicBezTo>
                    <a:pt x="16" y="131"/>
                    <a:pt x="16" y="131"/>
                    <a:pt x="16" y="131"/>
                  </a:cubicBezTo>
                  <a:cubicBezTo>
                    <a:pt x="17" y="127"/>
                    <a:pt x="20" y="123"/>
                    <a:pt x="24" y="123"/>
                  </a:cubicBezTo>
                  <a:cubicBezTo>
                    <a:pt x="64" y="123"/>
                    <a:pt x="64" y="123"/>
                    <a:pt x="64" y="123"/>
                  </a:cubicBezTo>
                  <a:cubicBezTo>
                    <a:pt x="69" y="123"/>
                    <a:pt x="72" y="127"/>
                    <a:pt x="72" y="131"/>
                  </a:cubicBezTo>
                  <a:cubicBezTo>
                    <a:pt x="72" y="198"/>
                    <a:pt x="72" y="198"/>
                    <a:pt x="72" y="198"/>
                  </a:cubicBezTo>
                  <a:cubicBezTo>
                    <a:pt x="72" y="199"/>
                    <a:pt x="72" y="200"/>
                    <a:pt x="72" y="201"/>
                  </a:cubicBezTo>
                  <a:cubicBezTo>
                    <a:pt x="72" y="203"/>
                    <a:pt x="72" y="203"/>
                    <a:pt x="72" y="203"/>
                  </a:cubicBezTo>
                  <a:cubicBezTo>
                    <a:pt x="72" y="208"/>
                    <a:pt x="69" y="211"/>
                    <a:pt x="64" y="211"/>
                  </a:cubicBezTo>
                  <a:close/>
                  <a:moveTo>
                    <a:pt x="210" y="203"/>
                  </a:moveTo>
                  <a:cubicBezTo>
                    <a:pt x="105" y="203"/>
                    <a:pt x="105" y="203"/>
                    <a:pt x="105" y="203"/>
                  </a:cubicBezTo>
                  <a:cubicBezTo>
                    <a:pt x="88" y="194"/>
                    <a:pt x="88" y="194"/>
                    <a:pt x="88" y="194"/>
                  </a:cubicBezTo>
                  <a:cubicBezTo>
                    <a:pt x="88" y="131"/>
                    <a:pt x="88" y="131"/>
                    <a:pt x="88" y="131"/>
                  </a:cubicBezTo>
                  <a:cubicBezTo>
                    <a:pt x="88" y="128"/>
                    <a:pt x="87" y="124"/>
                    <a:pt x="86" y="121"/>
                  </a:cubicBezTo>
                  <a:cubicBezTo>
                    <a:pt x="100" y="109"/>
                    <a:pt x="136" y="75"/>
                    <a:pt x="136" y="48"/>
                  </a:cubicBezTo>
                  <a:cubicBezTo>
                    <a:pt x="136" y="31"/>
                    <a:pt x="136" y="16"/>
                    <a:pt x="140" y="16"/>
                  </a:cubicBezTo>
                  <a:cubicBezTo>
                    <a:pt x="148" y="16"/>
                    <a:pt x="156" y="25"/>
                    <a:pt x="156" y="44"/>
                  </a:cubicBezTo>
                  <a:cubicBezTo>
                    <a:pt x="156" y="67"/>
                    <a:pt x="152" y="90"/>
                    <a:pt x="152" y="90"/>
                  </a:cubicBezTo>
                  <a:cubicBezTo>
                    <a:pt x="152" y="93"/>
                    <a:pt x="153" y="95"/>
                    <a:pt x="154" y="97"/>
                  </a:cubicBezTo>
                  <a:cubicBezTo>
                    <a:pt x="156" y="98"/>
                    <a:pt x="158" y="100"/>
                    <a:pt x="160" y="100"/>
                  </a:cubicBezTo>
                  <a:cubicBezTo>
                    <a:pt x="232" y="100"/>
                    <a:pt x="232" y="100"/>
                    <a:pt x="232" y="100"/>
                  </a:cubicBezTo>
                  <a:cubicBezTo>
                    <a:pt x="237" y="100"/>
                    <a:pt x="240" y="103"/>
                    <a:pt x="240" y="108"/>
                  </a:cubicBezTo>
                  <a:cubicBezTo>
                    <a:pt x="240" y="112"/>
                    <a:pt x="237" y="116"/>
                    <a:pt x="232" y="116"/>
                  </a:cubicBezTo>
                  <a:cubicBezTo>
                    <a:pt x="223" y="116"/>
                    <a:pt x="223" y="116"/>
                    <a:pt x="223" y="116"/>
                  </a:cubicBezTo>
                  <a:cubicBezTo>
                    <a:pt x="219" y="116"/>
                    <a:pt x="215" y="119"/>
                    <a:pt x="215" y="124"/>
                  </a:cubicBezTo>
                  <a:cubicBezTo>
                    <a:pt x="215" y="128"/>
                    <a:pt x="219" y="132"/>
                    <a:pt x="223" y="132"/>
                  </a:cubicBezTo>
                  <a:cubicBezTo>
                    <a:pt x="224" y="132"/>
                    <a:pt x="224" y="132"/>
                    <a:pt x="224" y="132"/>
                  </a:cubicBezTo>
                  <a:cubicBezTo>
                    <a:pt x="224" y="132"/>
                    <a:pt x="224" y="132"/>
                    <a:pt x="224" y="132"/>
                  </a:cubicBezTo>
                  <a:cubicBezTo>
                    <a:pt x="229" y="132"/>
                    <a:pt x="232" y="135"/>
                    <a:pt x="232" y="140"/>
                  </a:cubicBezTo>
                  <a:cubicBezTo>
                    <a:pt x="232" y="144"/>
                    <a:pt x="229" y="148"/>
                    <a:pt x="224" y="148"/>
                  </a:cubicBezTo>
                  <a:cubicBezTo>
                    <a:pt x="219" y="148"/>
                    <a:pt x="219" y="148"/>
                    <a:pt x="219" y="148"/>
                  </a:cubicBezTo>
                  <a:cubicBezTo>
                    <a:pt x="219" y="148"/>
                    <a:pt x="218" y="147"/>
                    <a:pt x="218" y="147"/>
                  </a:cubicBezTo>
                  <a:cubicBezTo>
                    <a:pt x="218" y="147"/>
                    <a:pt x="218" y="148"/>
                    <a:pt x="218" y="148"/>
                  </a:cubicBezTo>
                  <a:cubicBezTo>
                    <a:pt x="215" y="148"/>
                    <a:pt x="215" y="148"/>
                    <a:pt x="215" y="148"/>
                  </a:cubicBezTo>
                  <a:cubicBezTo>
                    <a:pt x="211" y="148"/>
                    <a:pt x="207" y="151"/>
                    <a:pt x="207" y="156"/>
                  </a:cubicBezTo>
                  <a:cubicBezTo>
                    <a:pt x="207" y="160"/>
                    <a:pt x="211" y="164"/>
                    <a:pt x="215" y="164"/>
                  </a:cubicBezTo>
                  <a:cubicBezTo>
                    <a:pt x="218" y="164"/>
                    <a:pt x="218" y="164"/>
                    <a:pt x="218" y="164"/>
                  </a:cubicBezTo>
                  <a:cubicBezTo>
                    <a:pt x="222" y="164"/>
                    <a:pt x="224" y="166"/>
                    <a:pt x="224" y="169"/>
                  </a:cubicBezTo>
                  <a:cubicBezTo>
                    <a:pt x="224" y="173"/>
                    <a:pt x="221" y="175"/>
                    <a:pt x="218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06" y="175"/>
                    <a:pt x="202" y="179"/>
                    <a:pt x="202" y="183"/>
                  </a:cubicBezTo>
                  <a:cubicBezTo>
                    <a:pt x="202" y="188"/>
                    <a:pt x="206" y="191"/>
                    <a:pt x="210" y="191"/>
                  </a:cubicBezTo>
                  <a:cubicBezTo>
                    <a:pt x="213" y="191"/>
                    <a:pt x="216" y="194"/>
                    <a:pt x="216" y="197"/>
                  </a:cubicBezTo>
                  <a:cubicBezTo>
                    <a:pt x="216" y="201"/>
                    <a:pt x="213" y="203"/>
                    <a:pt x="210" y="20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840" b="1">
                <a:latin typeface="+mn-lt"/>
              </a:endParaRPr>
            </a:p>
          </p:txBody>
        </p: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85653CEA-6411-8F7B-4F01-266AEB3F544A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555167" y="3381079"/>
              <a:ext cx="433084" cy="412235"/>
              <a:chOff x="6719888" y="887413"/>
              <a:chExt cx="492125" cy="468312"/>
            </a:xfrm>
            <a:solidFill>
              <a:schemeClr val="bg1"/>
            </a:solidFill>
          </p:grpSpPr>
          <p:sp>
            <p:nvSpPr>
              <p:cNvPr id="21" name="Freeform 26">
                <a:extLst>
                  <a:ext uri="{FF2B5EF4-FFF2-40B4-BE49-F238E27FC236}">
                    <a16:creationId xmlns:a16="http://schemas.microsoft.com/office/drawing/2014/main" id="{382A190A-B436-E915-EC89-02BBC0DA159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19888" y="887413"/>
                <a:ext cx="492125" cy="468312"/>
              </a:xfrm>
              <a:custGeom>
                <a:avLst/>
                <a:gdLst>
                  <a:gd name="T0" fmla="*/ 117 w 128"/>
                  <a:gd name="T1" fmla="*/ 0 h 122"/>
                  <a:gd name="T2" fmla="*/ 11 w 128"/>
                  <a:gd name="T3" fmla="*/ 0 h 122"/>
                  <a:gd name="T4" fmla="*/ 0 w 128"/>
                  <a:gd name="T5" fmla="*/ 11 h 122"/>
                  <a:gd name="T6" fmla="*/ 0 w 128"/>
                  <a:gd name="T7" fmla="*/ 93 h 122"/>
                  <a:gd name="T8" fmla="*/ 11 w 128"/>
                  <a:gd name="T9" fmla="*/ 104 h 122"/>
                  <a:gd name="T10" fmla="*/ 43 w 128"/>
                  <a:gd name="T11" fmla="*/ 104 h 122"/>
                  <a:gd name="T12" fmla="*/ 38 w 128"/>
                  <a:gd name="T13" fmla="*/ 110 h 122"/>
                  <a:gd name="T14" fmla="*/ 35 w 128"/>
                  <a:gd name="T15" fmla="*/ 113 h 122"/>
                  <a:gd name="T16" fmla="*/ 34 w 128"/>
                  <a:gd name="T17" fmla="*/ 118 h 122"/>
                  <a:gd name="T18" fmla="*/ 42 w 128"/>
                  <a:gd name="T19" fmla="*/ 122 h 122"/>
                  <a:gd name="T20" fmla="*/ 86 w 128"/>
                  <a:gd name="T21" fmla="*/ 122 h 122"/>
                  <a:gd name="T22" fmla="*/ 94 w 128"/>
                  <a:gd name="T23" fmla="*/ 118 h 122"/>
                  <a:gd name="T24" fmla="*/ 94 w 128"/>
                  <a:gd name="T25" fmla="*/ 113 h 122"/>
                  <a:gd name="T26" fmla="*/ 91 w 128"/>
                  <a:gd name="T27" fmla="*/ 110 h 122"/>
                  <a:gd name="T28" fmla="*/ 85 w 128"/>
                  <a:gd name="T29" fmla="*/ 104 h 122"/>
                  <a:gd name="T30" fmla="*/ 117 w 128"/>
                  <a:gd name="T31" fmla="*/ 104 h 122"/>
                  <a:gd name="T32" fmla="*/ 128 w 128"/>
                  <a:gd name="T33" fmla="*/ 93 h 122"/>
                  <a:gd name="T34" fmla="*/ 128 w 128"/>
                  <a:gd name="T35" fmla="*/ 11 h 122"/>
                  <a:gd name="T36" fmla="*/ 117 w 128"/>
                  <a:gd name="T37" fmla="*/ 0 h 122"/>
                  <a:gd name="T38" fmla="*/ 88 w 128"/>
                  <a:gd name="T39" fmla="*/ 113 h 122"/>
                  <a:gd name="T40" fmla="*/ 90 w 128"/>
                  <a:gd name="T41" fmla="*/ 116 h 122"/>
                  <a:gd name="T42" fmla="*/ 90 w 128"/>
                  <a:gd name="T43" fmla="*/ 116 h 122"/>
                  <a:gd name="T44" fmla="*/ 86 w 128"/>
                  <a:gd name="T45" fmla="*/ 118 h 122"/>
                  <a:gd name="T46" fmla="*/ 42 w 128"/>
                  <a:gd name="T47" fmla="*/ 118 h 122"/>
                  <a:gd name="T48" fmla="*/ 38 w 128"/>
                  <a:gd name="T49" fmla="*/ 116 h 122"/>
                  <a:gd name="T50" fmla="*/ 38 w 128"/>
                  <a:gd name="T51" fmla="*/ 116 h 122"/>
                  <a:gd name="T52" fmla="*/ 38 w 128"/>
                  <a:gd name="T53" fmla="*/ 116 h 122"/>
                  <a:gd name="T54" fmla="*/ 40 w 128"/>
                  <a:gd name="T55" fmla="*/ 113 h 122"/>
                  <a:gd name="T56" fmla="*/ 48 w 128"/>
                  <a:gd name="T57" fmla="*/ 104 h 122"/>
                  <a:gd name="T58" fmla="*/ 80 w 128"/>
                  <a:gd name="T59" fmla="*/ 104 h 122"/>
                  <a:gd name="T60" fmla="*/ 88 w 128"/>
                  <a:gd name="T61" fmla="*/ 113 h 122"/>
                  <a:gd name="T62" fmla="*/ 120 w 128"/>
                  <a:gd name="T63" fmla="*/ 93 h 122"/>
                  <a:gd name="T64" fmla="*/ 117 w 128"/>
                  <a:gd name="T65" fmla="*/ 96 h 122"/>
                  <a:gd name="T66" fmla="*/ 11 w 128"/>
                  <a:gd name="T67" fmla="*/ 96 h 122"/>
                  <a:gd name="T68" fmla="*/ 8 w 128"/>
                  <a:gd name="T69" fmla="*/ 93 h 122"/>
                  <a:gd name="T70" fmla="*/ 8 w 128"/>
                  <a:gd name="T71" fmla="*/ 11 h 122"/>
                  <a:gd name="T72" fmla="*/ 11 w 128"/>
                  <a:gd name="T73" fmla="*/ 8 h 122"/>
                  <a:gd name="T74" fmla="*/ 117 w 128"/>
                  <a:gd name="T75" fmla="*/ 8 h 122"/>
                  <a:gd name="T76" fmla="*/ 120 w 128"/>
                  <a:gd name="T77" fmla="*/ 11 h 122"/>
                  <a:gd name="T78" fmla="*/ 120 w 128"/>
                  <a:gd name="T79" fmla="*/ 93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28" h="122">
                    <a:moveTo>
                      <a:pt x="117" y="0"/>
                    </a:move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5"/>
                      <a:pt x="0" y="11"/>
                    </a:cubicBezTo>
                    <a:cubicBezTo>
                      <a:pt x="0" y="93"/>
                      <a:pt x="0" y="93"/>
                      <a:pt x="0" y="93"/>
                    </a:cubicBezTo>
                    <a:cubicBezTo>
                      <a:pt x="0" y="99"/>
                      <a:pt x="5" y="104"/>
                      <a:pt x="11" y="104"/>
                    </a:cubicBezTo>
                    <a:cubicBezTo>
                      <a:pt x="43" y="104"/>
                      <a:pt x="43" y="104"/>
                      <a:pt x="43" y="104"/>
                    </a:cubicBezTo>
                    <a:cubicBezTo>
                      <a:pt x="42" y="106"/>
                      <a:pt x="39" y="109"/>
                      <a:pt x="38" y="110"/>
                    </a:cubicBezTo>
                    <a:cubicBezTo>
                      <a:pt x="36" y="111"/>
                      <a:pt x="35" y="112"/>
                      <a:pt x="35" y="113"/>
                    </a:cubicBezTo>
                    <a:cubicBezTo>
                      <a:pt x="34" y="114"/>
                      <a:pt x="33" y="116"/>
                      <a:pt x="34" y="118"/>
                    </a:cubicBezTo>
                    <a:cubicBezTo>
                      <a:pt x="35" y="120"/>
                      <a:pt x="37" y="122"/>
                      <a:pt x="42" y="122"/>
                    </a:cubicBezTo>
                    <a:cubicBezTo>
                      <a:pt x="86" y="122"/>
                      <a:pt x="86" y="122"/>
                      <a:pt x="86" y="122"/>
                    </a:cubicBezTo>
                    <a:cubicBezTo>
                      <a:pt x="91" y="122"/>
                      <a:pt x="93" y="120"/>
                      <a:pt x="94" y="118"/>
                    </a:cubicBezTo>
                    <a:cubicBezTo>
                      <a:pt x="95" y="116"/>
                      <a:pt x="95" y="114"/>
                      <a:pt x="94" y="113"/>
                    </a:cubicBezTo>
                    <a:cubicBezTo>
                      <a:pt x="93" y="112"/>
                      <a:pt x="92" y="111"/>
                      <a:pt x="91" y="110"/>
                    </a:cubicBezTo>
                    <a:cubicBezTo>
                      <a:pt x="89" y="109"/>
                      <a:pt x="87" y="106"/>
                      <a:pt x="85" y="104"/>
                    </a:cubicBezTo>
                    <a:cubicBezTo>
                      <a:pt x="117" y="104"/>
                      <a:pt x="117" y="104"/>
                      <a:pt x="117" y="104"/>
                    </a:cubicBezTo>
                    <a:cubicBezTo>
                      <a:pt x="123" y="104"/>
                      <a:pt x="128" y="99"/>
                      <a:pt x="128" y="93"/>
                    </a:cubicBezTo>
                    <a:cubicBezTo>
                      <a:pt x="128" y="11"/>
                      <a:pt x="128" y="11"/>
                      <a:pt x="128" y="11"/>
                    </a:cubicBezTo>
                    <a:cubicBezTo>
                      <a:pt x="128" y="5"/>
                      <a:pt x="123" y="0"/>
                      <a:pt x="117" y="0"/>
                    </a:cubicBezTo>
                    <a:close/>
                    <a:moveTo>
                      <a:pt x="88" y="113"/>
                    </a:moveTo>
                    <a:cubicBezTo>
                      <a:pt x="89" y="114"/>
                      <a:pt x="90" y="115"/>
                      <a:pt x="90" y="116"/>
                    </a:cubicBezTo>
                    <a:cubicBezTo>
                      <a:pt x="90" y="116"/>
                      <a:pt x="91" y="116"/>
                      <a:pt x="90" y="116"/>
                    </a:cubicBezTo>
                    <a:cubicBezTo>
                      <a:pt x="90" y="117"/>
                      <a:pt x="88" y="118"/>
                      <a:pt x="86" y="118"/>
                    </a:cubicBezTo>
                    <a:cubicBezTo>
                      <a:pt x="42" y="118"/>
                      <a:pt x="42" y="118"/>
                      <a:pt x="42" y="118"/>
                    </a:cubicBezTo>
                    <a:cubicBezTo>
                      <a:pt x="40" y="118"/>
                      <a:pt x="38" y="117"/>
                      <a:pt x="38" y="116"/>
                    </a:cubicBezTo>
                    <a:cubicBezTo>
                      <a:pt x="38" y="116"/>
                      <a:pt x="38" y="116"/>
                      <a:pt x="38" y="116"/>
                    </a:cubicBezTo>
                    <a:cubicBezTo>
                      <a:pt x="38" y="116"/>
                      <a:pt x="38" y="116"/>
                      <a:pt x="38" y="116"/>
                    </a:cubicBezTo>
                    <a:cubicBezTo>
                      <a:pt x="38" y="115"/>
                      <a:pt x="39" y="114"/>
                      <a:pt x="40" y="113"/>
                    </a:cubicBezTo>
                    <a:cubicBezTo>
                      <a:pt x="44" y="109"/>
                      <a:pt x="47" y="106"/>
                      <a:pt x="48" y="104"/>
                    </a:cubicBezTo>
                    <a:cubicBezTo>
                      <a:pt x="80" y="104"/>
                      <a:pt x="80" y="104"/>
                      <a:pt x="80" y="104"/>
                    </a:cubicBezTo>
                    <a:cubicBezTo>
                      <a:pt x="82" y="106"/>
                      <a:pt x="84" y="109"/>
                      <a:pt x="88" y="113"/>
                    </a:cubicBezTo>
                    <a:close/>
                    <a:moveTo>
                      <a:pt x="120" y="93"/>
                    </a:moveTo>
                    <a:cubicBezTo>
                      <a:pt x="120" y="95"/>
                      <a:pt x="119" y="96"/>
                      <a:pt x="117" y="96"/>
                    </a:cubicBezTo>
                    <a:cubicBezTo>
                      <a:pt x="11" y="96"/>
                      <a:pt x="11" y="96"/>
                      <a:pt x="11" y="96"/>
                    </a:cubicBezTo>
                    <a:cubicBezTo>
                      <a:pt x="9" y="96"/>
                      <a:pt x="8" y="95"/>
                      <a:pt x="8" y="93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8" y="9"/>
                      <a:pt x="9" y="8"/>
                      <a:pt x="11" y="8"/>
                    </a:cubicBezTo>
                    <a:cubicBezTo>
                      <a:pt x="117" y="8"/>
                      <a:pt x="117" y="8"/>
                      <a:pt x="117" y="8"/>
                    </a:cubicBezTo>
                    <a:cubicBezTo>
                      <a:pt x="119" y="8"/>
                      <a:pt x="120" y="9"/>
                      <a:pt x="120" y="11"/>
                    </a:cubicBezTo>
                    <a:lnTo>
                      <a:pt x="120" y="9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22" name="Freeform 27">
                <a:extLst>
                  <a:ext uri="{FF2B5EF4-FFF2-40B4-BE49-F238E27FC236}">
                    <a16:creationId xmlns:a16="http://schemas.microsoft.com/office/drawing/2014/main" id="{CFFB56DF-CCB3-047C-DB6B-847D92A5047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81801" y="947738"/>
                <a:ext cx="368300" cy="247650"/>
              </a:xfrm>
              <a:custGeom>
                <a:avLst/>
                <a:gdLst>
                  <a:gd name="T0" fmla="*/ 89 w 96"/>
                  <a:gd name="T1" fmla="*/ 0 h 64"/>
                  <a:gd name="T2" fmla="*/ 7 w 96"/>
                  <a:gd name="T3" fmla="*/ 0 h 64"/>
                  <a:gd name="T4" fmla="*/ 0 w 96"/>
                  <a:gd name="T5" fmla="*/ 7 h 64"/>
                  <a:gd name="T6" fmla="*/ 0 w 96"/>
                  <a:gd name="T7" fmla="*/ 57 h 64"/>
                  <a:gd name="T8" fmla="*/ 7 w 96"/>
                  <a:gd name="T9" fmla="*/ 64 h 64"/>
                  <a:gd name="T10" fmla="*/ 89 w 96"/>
                  <a:gd name="T11" fmla="*/ 64 h 64"/>
                  <a:gd name="T12" fmla="*/ 96 w 96"/>
                  <a:gd name="T13" fmla="*/ 57 h 64"/>
                  <a:gd name="T14" fmla="*/ 96 w 96"/>
                  <a:gd name="T15" fmla="*/ 7 h 64"/>
                  <a:gd name="T16" fmla="*/ 89 w 96"/>
                  <a:gd name="T17" fmla="*/ 0 h 64"/>
                  <a:gd name="T18" fmla="*/ 92 w 96"/>
                  <a:gd name="T19" fmla="*/ 57 h 64"/>
                  <a:gd name="T20" fmla="*/ 89 w 96"/>
                  <a:gd name="T21" fmla="*/ 60 h 64"/>
                  <a:gd name="T22" fmla="*/ 7 w 96"/>
                  <a:gd name="T23" fmla="*/ 60 h 64"/>
                  <a:gd name="T24" fmla="*/ 4 w 96"/>
                  <a:gd name="T25" fmla="*/ 57 h 64"/>
                  <a:gd name="T26" fmla="*/ 4 w 96"/>
                  <a:gd name="T27" fmla="*/ 7 h 64"/>
                  <a:gd name="T28" fmla="*/ 7 w 96"/>
                  <a:gd name="T29" fmla="*/ 4 h 64"/>
                  <a:gd name="T30" fmla="*/ 89 w 96"/>
                  <a:gd name="T31" fmla="*/ 4 h 64"/>
                  <a:gd name="T32" fmla="*/ 92 w 96"/>
                  <a:gd name="T33" fmla="*/ 7 h 64"/>
                  <a:gd name="T34" fmla="*/ 92 w 96"/>
                  <a:gd name="T35" fmla="*/ 57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6" h="64">
                    <a:moveTo>
                      <a:pt x="89" y="0"/>
                    </a:moveTo>
                    <a:cubicBezTo>
                      <a:pt x="7" y="0"/>
                      <a:pt x="7" y="0"/>
                      <a:pt x="7" y="0"/>
                    </a:cubicBezTo>
                    <a:cubicBezTo>
                      <a:pt x="3" y="0"/>
                      <a:pt x="0" y="3"/>
                      <a:pt x="0" y="7"/>
                    </a:cubicBezTo>
                    <a:cubicBezTo>
                      <a:pt x="0" y="57"/>
                      <a:pt x="0" y="57"/>
                      <a:pt x="0" y="57"/>
                    </a:cubicBezTo>
                    <a:cubicBezTo>
                      <a:pt x="0" y="61"/>
                      <a:pt x="3" y="64"/>
                      <a:pt x="7" y="64"/>
                    </a:cubicBezTo>
                    <a:cubicBezTo>
                      <a:pt x="89" y="64"/>
                      <a:pt x="89" y="64"/>
                      <a:pt x="89" y="64"/>
                    </a:cubicBezTo>
                    <a:cubicBezTo>
                      <a:pt x="93" y="64"/>
                      <a:pt x="96" y="61"/>
                      <a:pt x="96" y="57"/>
                    </a:cubicBezTo>
                    <a:cubicBezTo>
                      <a:pt x="96" y="7"/>
                      <a:pt x="96" y="7"/>
                      <a:pt x="96" y="7"/>
                    </a:cubicBezTo>
                    <a:cubicBezTo>
                      <a:pt x="96" y="3"/>
                      <a:pt x="93" y="0"/>
                      <a:pt x="89" y="0"/>
                    </a:cubicBezTo>
                    <a:close/>
                    <a:moveTo>
                      <a:pt x="92" y="57"/>
                    </a:moveTo>
                    <a:cubicBezTo>
                      <a:pt x="92" y="59"/>
                      <a:pt x="91" y="60"/>
                      <a:pt x="89" y="60"/>
                    </a:cubicBezTo>
                    <a:cubicBezTo>
                      <a:pt x="7" y="60"/>
                      <a:pt x="7" y="60"/>
                      <a:pt x="7" y="60"/>
                    </a:cubicBezTo>
                    <a:cubicBezTo>
                      <a:pt x="5" y="60"/>
                      <a:pt x="4" y="59"/>
                      <a:pt x="4" y="5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5"/>
                      <a:pt x="5" y="4"/>
                      <a:pt x="7" y="4"/>
                    </a:cubicBezTo>
                    <a:cubicBezTo>
                      <a:pt x="89" y="4"/>
                      <a:pt x="89" y="4"/>
                      <a:pt x="89" y="4"/>
                    </a:cubicBezTo>
                    <a:cubicBezTo>
                      <a:pt x="91" y="4"/>
                      <a:pt x="92" y="5"/>
                      <a:pt x="92" y="7"/>
                    </a:cubicBezTo>
                    <a:lnTo>
                      <a:pt x="92" y="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23" name="Freeform 28">
                <a:extLst>
                  <a:ext uri="{FF2B5EF4-FFF2-40B4-BE49-F238E27FC236}">
                    <a16:creationId xmlns:a16="http://schemas.microsoft.com/office/drawing/2014/main" id="{CCFE6014-6185-09CF-0BD9-886C263481A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43726" y="1201738"/>
                <a:ext cx="46038" cy="47625"/>
              </a:xfrm>
              <a:custGeom>
                <a:avLst/>
                <a:gdLst>
                  <a:gd name="T0" fmla="*/ 6 w 12"/>
                  <a:gd name="T1" fmla="*/ 0 h 12"/>
                  <a:gd name="T2" fmla="*/ 0 w 12"/>
                  <a:gd name="T3" fmla="*/ 6 h 12"/>
                  <a:gd name="T4" fmla="*/ 6 w 12"/>
                  <a:gd name="T5" fmla="*/ 12 h 12"/>
                  <a:gd name="T6" fmla="*/ 12 w 12"/>
                  <a:gd name="T7" fmla="*/ 6 h 12"/>
                  <a:gd name="T8" fmla="*/ 6 w 12"/>
                  <a:gd name="T9" fmla="*/ 0 h 12"/>
                  <a:gd name="T10" fmla="*/ 6 w 12"/>
                  <a:gd name="T11" fmla="*/ 8 h 12"/>
                  <a:gd name="T12" fmla="*/ 4 w 12"/>
                  <a:gd name="T13" fmla="*/ 6 h 12"/>
                  <a:gd name="T14" fmla="*/ 6 w 12"/>
                  <a:gd name="T15" fmla="*/ 4 h 12"/>
                  <a:gd name="T16" fmla="*/ 8 w 12"/>
                  <a:gd name="T17" fmla="*/ 6 h 12"/>
                  <a:gd name="T18" fmla="*/ 6 w 12"/>
                  <a:gd name="T19" fmla="*/ 8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cubicBezTo>
                      <a:pt x="3" y="0"/>
                      <a:pt x="0" y="3"/>
                      <a:pt x="0" y="6"/>
                    </a:cubicBezTo>
                    <a:cubicBezTo>
                      <a:pt x="0" y="9"/>
                      <a:pt x="3" y="12"/>
                      <a:pt x="6" y="12"/>
                    </a:cubicBezTo>
                    <a:cubicBezTo>
                      <a:pt x="9" y="12"/>
                      <a:pt x="12" y="9"/>
                      <a:pt x="12" y="6"/>
                    </a:cubicBezTo>
                    <a:cubicBezTo>
                      <a:pt x="12" y="3"/>
                      <a:pt x="9" y="0"/>
                      <a:pt x="6" y="0"/>
                    </a:cubicBezTo>
                    <a:close/>
                    <a:moveTo>
                      <a:pt x="6" y="8"/>
                    </a:moveTo>
                    <a:cubicBezTo>
                      <a:pt x="5" y="8"/>
                      <a:pt x="4" y="7"/>
                      <a:pt x="4" y="6"/>
                    </a:cubicBezTo>
                    <a:cubicBezTo>
                      <a:pt x="4" y="5"/>
                      <a:pt x="5" y="4"/>
                      <a:pt x="6" y="4"/>
                    </a:cubicBezTo>
                    <a:cubicBezTo>
                      <a:pt x="7" y="4"/>
                      <a:pt x="8" y="5"/>
                      <a:pt x="8" y="6"/>
                    </a:cubicBezTo>
                    <a:cubicBezTo>
                      <a:pt x="8" y="7"/>
                      <a:pt x="7" y="8"/>
                      <a:pt x="6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24" name="Freeform 29">
                <a:extLst>
                  <a:ext uri="{FF2B5EF4-FFF2-40B4-BE49-F238E27FC236}">
                    <a16:creationId xmlns:a16="http://schemas.microsoft.com/office/drawing/2014/main" id="{886C1899-863A-84FF-37E1-52F0F0CE1C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81813" y="1044575"/>
                <a:ext cx="61913" cy="65087"/>
              </a:xfrm>
              <a:custGeom>
                <a:avLst/>
                <a:gdLst>
                  <a:gd name="T0" fmla="*/ 0 w 39"/>
                  <a:gd name="T1" fmla="*/ 24 h 41"/>
                  <a:gd name="T2" fmla="*/ 39 w 39"/>
                  <a:gd name="T3" fmla="*/ 41 h 41"/>
                  <a:gd name="T4" fmla="*/ 39 w 39"/>
                  <a:gd name="T5" fmla="*/ 32 h 41"/>
                  <a:gd name="T6" fmla="*/ 12 w 39"/>
                  <a:gd name="T7" fmla="*/ 19 h 41"/>
                  <a:gd name="T8" fmla="*/ 39 w 39"/>
                  <a:gd name="T9" fmla="*/ 10 h 41"/>
                  <a:gd name="T10" fmla="*/ 39 w 39"/>
                  <a:gd name="T11" fmla="*/ 0 h 41"/>
                  <a:gd name="T12" fmla="*/ 0 w 39"/>
                  <a:gd name="T13" fmla="*/ 17 h 41"/>
                  <a:gd name="T14" fmla="*/ 0 w 39"/>
                  <a:gd name="T15" fmla="*/ 24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9" h="41">
                    <a:moveTo>
                      <a:pt x="0" y="24"/>
                    </a:moveTo>
                    <a:lnTo>
                      <a:pt x="39" y="41"/>
                    </a:lnTo>
                    <a:lnTo>
                      <a:pt x="39" y="32"/>
                    </a:lnTo>
                    <a:lnTo>
                      <a:pt x="12" y="19"/>
                    </a:lnTo>
                    <a:lnTo>
                      <a:pt x="39" y="10"/>
                    </a:lnTo>
                    <a:lnTo>
                      <a:pt x="39" y="0"/>
                    </a:lnTo>
                    <a:lnTo>
                      <a:pt x="0" y="17"/>
                    </a:lnTo>
                    <a:lnTo>
                      <a:pt x="0" y="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25" name="Freeform 30">
                <a:extLst>
                  <a:ext uri="{FF2B5EF4-FFF2-40B4-BE49-F238E27FC236}">
                    <a16:creationId xmlns:a16="http://schemas.microsoft.com/office/drawing/2014/main" id="{CD834244-81E2-FF5E-A4B8-48BAE4C4AC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50076" y="1033463"/>
                <a:ext cx="31750" cy="87312"/>
              </a:xfrm>
              <a:custGeom>
                <a:avLst/>
                <a:gdLst>
                  <a:gd name="T0" fmla="*/ 7 w 8"/>
                  <a:gd name="T1" fmla="*/ 0 h 23"/>
                  <a:gd name="T2" fmla="*/ 5 w 8"/>
                  <a:gd name="T3" fmla="*/ 0 h 23"/>
                  <a:gd name="T4" fmla="*/ 5 w 8"/>
                  <a:gd name="T5" fmla="*/ 2 h 23"/>
                  <a:gd name="T6" fmla="*/ 0 w 8"/>
                  <a:gd name="T7" fmla="*/ 20 h 23"/>
                  <a:gd name="T8" fmla="*/ 0 w 8"/>
                  <a:gd name="T9" fmla="*/ 22 h 23"/>
                  <a:gd name="T10" fmla="*/ 2 w 8"/>
                  <a:gd name="T11" fmla="*/ 23 h 23"/>
                  <a:gd name="T12" fmla="*/ 3 w 8"/>
                  <a:gd name="T13" fmla="*/ 23 h 23"/>
                  <a:gd name="T14" fmla="*/ 3 w 8"/>
                  <a:gd name="T15" fmla="*/ 22 h 23"/>
                  <a:gd name="T16" fmla="*/ 4 w 8"/>
                  <a:gd name="T17" fmla="*/ 21 h 23"/>
                  <a:gd name="T18" fmla="*/ 8 w 8"/>
                  <a:gd name="T19" fmla="*/ 3 h 23"/>
                  <a:gd name="T20" fmla="*/ 8 w 8"/>
                  <a:gd name="T21" fmla="*/ 1 h 23"/>
                  <a:gd name="T22" fmla="*/ 8 w 8"/>
                  <a:gd name="T23" fmla="*/ 0 h 23"/>
                  <a:gd name="T24" fmla="*/ 7 w 8"/>
                  <a:gd name="T25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" h="23">
                    <a:moveTo>
                      <a:pt x="7" y="0"/>
                    </a:moveTo>
                    <a:cubicBezTo>
                      <a:pt x="6" y="0"/>
                      <a:pt x="6" y="0"/>
                      <a:pt x="5" y="0"/>
                    </a:cubicBezTo>
                    <a:cubicBezTo>
                      <a:pt x="5" y="0"/>
                      <a:pt x="5" y="1"/>
                      <a:pt x="5" y="2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1"/>
                      <a:pt x="0" y="22"/>
                      <a:pt x="0" y="22"/>
                    </a:cubicBezTo>
                    <a:cubicBezTo>
                      <a:pt x="0" y="23"/>
                      <a:pt x="1" y="23"/>
                      <a:pt x="2" y="23"/>
                    </a:cubicBezTo>
                    <a:cubicBezTo>
                      <a:pt x="2" y="23"/>
                      <a:pt x="2" y="23"/>
                      <a:pt x="3" y="23"/>
                    </a:cubicBezTo>
                    <a:cubicBezTo>
                      <a:pt x="3" y="23"/>
                      <a:pt x="3" y="22"/>
                      <a:pt x="3" y="22"/>
                    </a:cubicBezTo>
                    <a:cubicBezTo>
                      <a:pt x="3" y="22"/>
                      <a:pt x="3" y="21"/>
                      <a:pt x="4" y="21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2"/>
                      <a:pt x="8" y="1"/>
                      <a:pt x="8" y="1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0"/>
                      <a:pt x="7" y="0"/>
                      <a:pt x="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26" name="Freeform 31">
                <a:extLst>
                  <a:ext uri="{FF2B5EF4-FFF2-40B4-BE49-F238E27FC236}">
                    <a16:creationId xmlns:a16="http://schemas.microsoft.com/office/drawing/2014/main" id="{4641E0B8-74B1-BCE4-C4AB-C398E2DB94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89763" y="1044575"/>
                <a:ext cx="60325" cy="65087"/>
              </a:xfrm>
              <a:custGeom>
                <a:avLst/>
                <a:gdLst>
                  <a:gd name="T0" fmla="*/ 0 w 38"/>
                  <a:gd name="T1" fmla="*/ 10 h 41"/>
                  <a:gd name="T2" fmla="*/ 26 w 38"/>
                  <a:gd name="T3" fmla="*/ 19 h 41"/>
                  <a:gd name="T4" fmla="*/ 0 w 38"/>
                  <a:gd name="T5" fmla="*/ 32 h 41"/>
                  <a:gd name="T6" fmla="*/ 0 w 38"/>
                  <a:gd name="T7" fmla="*/ 41 h 41"/>
                  <a:gd name="T8" fmla="*/ 38 w 38"/>
                  <a:gd name="T9" fmla="*/ 24 h 41"/>
                  <a:gd name="T10" fmla="*/ 38 w 38"/>
                  <a:gd name="T11" fmla="*/ 17 h 41"/>
                  <a:gd name="T12" fmla="*/ 0 w 38"/>
                  <a:gd name="T13" fmla="*/ 0 h 41"/>
                  <a:gd name="T14" fmla="*/ 0 w 38"/>
                  <a:gd name="T15" fmla="*/ 1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8" h="41">
                    <a:moveTo>
                      <a:pt x="0" y="10"/>
                    </a:moveTo>
                    <a:lnTo>
                      <a:pt x="26" y="19"/>
                    </a:lnTo>
                    <a:lnTo>
                      <a:pt x="0" y="32"/>
                    </a:lnTo>
                    <a:lnTo>
                      <a:pt x="0" y="41"/>
                    </a:lnTo>
                    <a:lnTo>
                      <a:pt x="38" y="24"/>
                    </a:lnTo>
                    <a:lnTo>
                      <a:pt x="38" y="17"/>
                    </a:lnTo>
                    <a:lnTo>
                      <a:pt x="0" y="0"/>
                    </a:lnTo>
                    <a:lnTo>
                      <a:pt x="0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</p:grpSp>
      </p:grpSp>
      <p:sp>
        <p:nvSpPr>
          <p:cNvPr id="51" name="Folded Corner 67">
            <a:extLst>
              <a:ext uri="{FF2B5EF4-FFF2-40B4-BE49-F238E27FC236}">
                <a16:creationId xmlns:a16="http://schemas.microsoft.com/office/drawing/2014/main" id="{33F5ABBD-57D2-B96A-00DD-AF04D424D16C}"/>
              </a:ext>
            </a:extLst>
          </p:cNvPr>
          <p:cNvSpPr/>
          <p:nvPr/>
        </p:nvSpPr>
        <p:spPr>
          <a:xfrm>
            <a:off x="6111567" y="2279422"/>
            <a:ext cx="5064152" cy="3351824"/>
          </a:xfrm>
          <a:prstGeom prst="foldedCorner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9229" tIns="179229" rtlCol="0" anchor="t"/>
          <a:lstStyle/>
          <a:p>
            <a:pPr defTabSz="896113" fontAlgn="auto">
              <a:spcBef>
                <a:spcPct val="20000"/>
              </a:spcBef>
              <a:spcAft>
                <a:spcPts val="0"/>
              </a:spcAft>
              <a:defRPr/>
            </a:pPr>
            <a:endParaRPr lang="en-US" sz="1372" b="1" dirty="0">
              <a:solidFill>
                <a:srgbClr val="262626">
                  <a:lumMod val="90000"/>
                  <a:lumOff val="10000"/>
                </a:srgbClr>
              </a:solidFill>
              <a:cs typeface="Calibri" panose="020F0502020204030204" pitchFamily="34" charset="0"/>
            </a:endParaRPr>
          </a:p>
        </p:txBody>
      </p:sp>
      <p:sp>
        <p:nvSpPr>
          <p:cNvPr id="52" name="Round Same Side Corner Rectangle 69">
            <a:extLst>
              <a:ext uri="{FF2B5EF4-FFF2-40B4-BE49-F238E27FC236}">
                <a16:creationId xmlns:a16="http://schemas.microsoft.com/office/drawing/2014/main" id="{0567545B-CB71-15C1-CC10-4AA6559FB36E}"/>
              </a:ext>
            </a:extLst>
          </p:cNvPr>
          <p:cNvSpPr/>
          <p:nvPr/>
        </p:nvSpPr>
        <p:spPr>
          <a:xfrm>
            <a:off x="6111567" y="1680686"/>
            <a:ext cx="5064152" cy="553673"/>
          </a:xfrm>
          <a:prstGeom prst="round2Same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9229" tIns="0" bIns="0" rtlCol="0" anchor="ctr"/>
          <a:lstStyle/>
          <a:p>
            <a:pPr defTabSz="896113" fontAlgn="auto">
              <a:spcBef>
                <a:spcPct val="20000"/>
              </a:spcBef>
              <a:spcAft>
                <a:spcPts val="0"/>
              </a:spcAft>
              <a:defRPr/>
            </a:pPr>
            <a:r>
              <a:rPr lang="en-US" sz="1960" b="1" dirty="0">
                <a:solidFill>
                  <a:srgbClr val="FFFFFF"/>
                </a:solidFill>
                <a:cs typeface="Calibri" panose="020F0502020204030204" pitchFamily="34" charset="0"/>
              </a:rPr>
              <a:t>Insert Heading</a:t>
            </a:r>
          </a:p>
        </p:txBody>
      </p:sp>
      <p:sp>
        <p:nvSpPr>
          <p:cNvPr id="53" name="Inhaltsplatzhalter 4">
            <a:extLst>
              <a:ext uri="{FF2B5EF4-FFF2-40B4-BE49-F238E27FC236}">
                <a16:creationId xmlns:a16="http://schemas.microsoft.com/office/drawing/2014/main" id="{A1AF7D62-27C6-B9B2-FA20-641A91E1C14E}"/>
              </a:ext>
            </a:extLst>
          </p:cNvPr>
          <p:cNvSpPr txBox="1">
            <a:spLocks/>
          </p:cNvSpPr>
          <p:nvPr/>
        </p:nvSpPr>
        <p:spPr>
          <a:xfrm>
            <a:off x="6324421" y="2381899"/>
            <a:ext cx="4431950" cy="277101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</p:txBody>
      </p:sp>
    </p:spTree>
    <p:extLst>
      <p:ext uri="{BB962C8B-B14F-4D97-AF65-F5344CB8AC3E}">
        <p14:creationId xmlns:p14="http://schemas.microsoft.com/office/powerpoint/2010/main" val="1379455486"/>
      </p:ext>
    </p:extLst>
  </p:cSld>
  <p:clrMapOvr>
    <a:masterClrMapping/>
  </p:clrMapOvr>
</p:sld>
</file>

<file path=ppt/slides/slide1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8C10FC-A47E-1BD1-6BC3-218C48826D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2" name="think-cell data - do not delete" hidden="1">
            <a:extLst>
              <a:ext uri="{FF2B5EF4-FFF2-40B4-BE49-F238E27FC236}">
                <a16:creationId xmlns:a16="http://schemas.microsoft.com/office/drawing/2014/main" id="{21FD5985-F8D0-74AC-0B68-2ABB63B709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77976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EA46841-EEAE-1523-E59B-674850EF3E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7 Concep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BF71481-5E32-29F7-145D-6B005EA4A8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57</a:t>
            </a:fld>
            <a:endParaRPr lang="en-US" dirty="0"/>
          </a:p>
        </p:txBody>
      </p:sp>
      <p:sp>
        <p:nvSpPr>
          <p:cNvPr id="5" name="Heptagon 4">
            <a:extLst>
              <a:ext uri="{FF2B5EF4-FFF2-40B4-BE49-F238E27FC236}">
                <a16:creationId xmlns:a16="http://schemas.microsoft.com/office/drawing/2014/main" id="{E8AFD414-C229-B289-7E09-4A1FDFE9E813}"/>
              </a:ext>
            </a:extLst>
          </p:cNvPr>
          <p:cNvSpPr/>
          <p:nvPr/>
        </p:nvSpPr>
        <p:spPr>
          <a:xfrm rot="5400000">
            <a:off x="1161645" y="2021702"/>
            <a:ext cx="3227508" cy="3104166"/>
          </a:xfrm>
          <a:prstGeom prst="heptagon">
            <a:avLst/>
          </a:prstGeom>
          <a:noFill/>
          <a:ln w="19050" cap="rnd"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764" b="1" dirty="0">
              <a:solidFill>
                <a:srgbClr val="FFFFFF"/>
              </a:solidFill>
            </a:endParaRPr>
          </a:p>
        </p:txBody>
      </p:sp>
      <p:sp>
        <p:nvSpPr>
          <p:cNvPr id="6" name="Folded Corner 67">
            <a:extLst>
              <a:ext uri="{FF2B5EF4-FFF2-40B4-BE49-F238E27FC236}">
                <a16:creationId xmlns:a16="http://schemas.microsoft.com/office/drawing/2014/main" id="{30D672C9-2EA6-AC85-49CB-05FA53A9D9C7}"/>
              </a:ext>
            </a:extLst>
          </p:cNvPr>
          <p:cNvSpPr/>
          <p:nvPr/>
        </p:nvSpPr>
        <p:spPr>
          <a:xfrm>
            <a:off x="6111567" y="2279422"/>
            <a:ext cx="5064152" cy="3351824"/>
          </a:xfrm>
          <a:prstGeom prst="foldedCorner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9229" tIns="179229" rtlCol="0" anchor="t"/>
          <a:lstStyle/>
          <a:p>
            <a:pPr defTabSz="896113" fontAlgn="auto">
              <a:spcBef>
                <a:spcPct val="20000"/>
              </a:spcBef>
              <a:spcAft>
                <a:spcPts val="0"/>
              </a:spcAft>
              <a:defRPr/>
            </a:pPr>
            <a:endParaRPr lang="en-US" sz="1372" b="1" dirty="0">
              <a:solidFill>
                <a:srgbClr val="262626">
                  <a:lumMod val="90000"/>
                  <a:lumOff val="10000"/>
                </a:srgbClr>
              </a:solidFill>
              <a:cs typeface="Calibri" panose="020F0502020204030204" pitchFamily="34" charset="0"/>
            </a:endParaRPr>
          </a:p>
        </p:txBody>
      </p:sp>
      <p:sp>
        <p:nvSpPr>
          <p:cNvPr id="7" name="Round Same Side Corner Rectangle 69">
            <a:extLst>
              <a:ext uri="{FF2B5EF4-FFF2-40B4-BE49-F238E27FC236}">
                <a16:creationId xmlns:a16="http://schemas.microsoft.com/office/drawing/2014/main" id="{6CA81FE0-247B-1F99-1945-6B90AC647F61}"/>
              </a:ext>
            </a:extLst>
          </p:cNvPr>
          <p:cNvSpPr/>
          <p:nvPr/>
        </p:nvSpPr>
        <p:spPr>
          <a:xfrm>
            <a:off x="6111567" y="1680686"/>
            <a:ext cx="5064152" cy="553673"/>
          </a:xfrm>
          <a:prstGeom prst="round2Same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9229" tIns="0" bIns="0" rtlCol="0" anchor="ctr"/>
          <a:lstStyle/>
          <a:p>
            <a:pPr defTabSz="896113" fontAlgn="auto">
              <a:spcBef>
                <a:spcPct val="20000"/>
              </a:spcBef>
              <a:spcAft>
                <a:spcPts val="0"/>
              </a:spcAft>
              <a:defRPr/>
            </a:pPr>
            <a:r>
              <a:rPr lang="en-US" sz="1960" b="1" dirty="0">
                <a:solidFill>
                  <a:srgbClr val="FFFFFF"/>
                </a:solidFill>
                <a:cs typeface="Calibri" panose="020F0502020204030204" pitchFamily="34" charset="0"/>
              </a:rPr>
              <a:t>Insert Heading</a:t>
            </a:r>
          </a:p>
        </p:txBody>
      </p:sp>
      <p:sp>
        <p:nvSpPr>
          <p:cNvPr id="8" name="Inhaltsplatzhalter 4">
            <a:extLst>
              <a:ext uri="{FF2B5EF4-FFF2-40B4-BE49-F238E27FC236}">
                <a16:creationId xmlns:a16="http://schemas.microsoft.com/office/drawing/2014/main" id="{59C46045-648B-BD38-5185-825FBE8B91CE}"/>
              </a:ext>
            </a:extLst>
          </p:cNvPr>
          <p:cNvSpPr txBox="1">
            <a:spLocks/>
          </p:cNvSpPr>
          <p:nvPr/>
        </p:nvSpPr>
        <p:spPr>
          <a:xfrm>
            <a:off x="6324421" y="2381899"/>
            <a:ext cx="4431950" cy="277101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7274D5E-FBF7-F953-0742-F163666C4738}"/>
              </a:ext>
            </a:extLst>
          </p:cNvPr>
          <p:cNvCxnSpPr>
            <a:cxnSpLocks/>
          </p:cNvCxnSpPr>
          <p:nvPr/>
        </p:nvCxnSpPr>
        <p:spPr>
          <a:xfrm flipH="1">
            <a:off x="1844041" y="3787140"/>
            <a:ext cx="441959" cy="167640"/>
          </a:xfrm>
          <a:prstGeom prst="line">
            <a:avLst/>
          </a:prstGeom>
          <a:ln w="19050" cap="rnd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7008947-09AC-8EED-ECC0-99764069360B}"/>
              </a:ext>
            </a:extLst>
          </p:cNvPr>
          <p:cNvCxnSpPr>
            <a:cxnSpLocks/>
          </p:cNvCxnSpPr>
          <p:nvPr/>
        </p:nvCxnSpPr>
        <p:spPr>
          <a:xfrm flipH="1" flipV="1">
            <a:off x="1821180" y="3070860"/>
            <a:ext cx="480061" cy="228600"/>
          </a:xfrm>
          <a:prstGeom prst="line">
            <a:avLst/>
          </a:prstGeom>
          <a:ln w="19050" cap="rnd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5B44465-FFE5-9DFF-E4D6-8F19DFC600C4}"/>
              </a:ext>
            </a:extLst>
          </p:cNvPr>
          <p:cNvCxnSpPr>
            <a:cxnSpLocks/>
          </p:cNvCxnSpPr>
          <p:nvPr/>
        </p:nvCxnSpPr>
        <p:spPr>
          <a:xfrm flipH="1" flipV="1">
            <a:off x="2598420" y="2583180"/>
            <a:ext cx="60960" cy="495300"/>
          </a:xfrm>
          <a:prstGeom prst="line">
            <a:avLst/>
          </a:prstGeom>
          <a:ln w="19050" cap="rnd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DF85E26-0EC5-7F4D-C0C9-FD3520642A32}"/>
              </a:ext>
            </a:extLst>
          </p:cNvPr>
          <p:cNvCxnSpPr>
            <a:cxnSpLocks/>
          </p:cNvCxnSpPr>
          <p:nvPr/>
        </p:nvCxnSpPr>
        <p:spPr>
          <a:xfrm flipV="1">
            <a:off x="3093720" y="2804160"/>
            <a:ext cx="251460" cy="358140"/>
          </a:xfrm>
          <a:prstGeom prst="line">
            <a:avLst/>
          </a:prstGeom>
          <a:ln w="19050" cap="rnd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A0E7FBD-6266-3117-1812-4FD3EAF5B23B}"/>
              </a:ext>
            </a:extLst>
          </p:cNvPr>
          <p:cNvCxnSpPr>
            <a:cxnSpLocks/>
            <a:stCxn id="53" idx="0"/>
            <a:endCxn id="49" idx="4"/>
          </p:cNvCxnSpPr>
          <p:nvPr/>
        </p:nvCxnSpPr>
        <p:spPr>
          <a:xfrm>
            <a:off x="3308675" y="3573787"/>
            <a:ext cx="365667" cy="12691"/>
          </a:xfrm>
          <a:prstGeom prst="line">
            <a:avLst/>
          </a:prstGeom>
          <a:ln w="19050" cap="rnd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2007134-162D-1744-0C42-049A042008E2}"/>
              </a:ext>
            </a:extLst>
          </p:cNvPr>
          <p:cNvCxnSpPr>
            <a:cxnSpLocks/>
          </p:cNvCxnSpPr>
          <p:nvPr/>
        </p:nvCxnSpPr>
        <p:spPr>
          <a:xfrm flipH="1" flipV="1">
            <a:off x="3086100" y="3988536"/>
            <a:ext cx="274321" cy="313488"/>
          </a:xfrm>
          <a:prstGeom prst="line">
            <a:avLst/>
          </a:prstGeom>
          <a:ln w="19050" cap="rnd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C9BF9B26-5D3A-76A1-734F-15D63EF2BC62}"/>
              </a:ext>
            </a:extLst>
          </p:cNvPr>
          <p:cNvCxnSpPr>
            <a:cxnSpLocks/>
          </p:cNvCxnSpPr>
          <p:nvPr/>
        </p:nvCxnSpPr>
        <p:spPr>
          <a:xfrm flipV="1">
            <a:off x="2522220" y="4085844"/>
            <a:ext cx="114300" cy="469393"/>
          </a:xfrm>
          <a:prstGeom prst="line">
            <a:avLst/>
          </a:prstGeom>
          <a:ln w="19050" cap="rnd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oup 15">
            <a:extLst>
              <a:ext uri="{FF2B5EF4-FFF2-40B4-BE49-F238E27FC236}">
                <a16:creationId xmlns:a16="http://schemas.microsoft.com/office/drawing/2014/main" id="{F09167CA-FB5D-2318-14CE-65E6C6FBCC02}"/>
              </a:ext>
            </a:extLst>
          </p:cNvPr>
          <p:cNvGrpSpPr/>
          <p:nvPr/>
        </p:nvGrpSpPr>
        <p:grpSpPr>
          <a:xfrm>
            <a:off x="3122169" y="1938565"/>
            <a:ext cx="1002681" cy="1002634"/>
            <a:chOff x="876630" y="3815779"/>
            <a:chExt cx="1068006" cy="1067956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95C397FA-4F7F-9C43-F511-A3ACAB5A58EB}"/>
                </a:ext>
              </a:extLst>
            </p:cNvPr>
            <p:cNvSpPr/>
            <p:nvPr/>
          </p:nvSpPr>
          <p:spPr>
            <a:xfrm rot="5400000">
              <a:off x="876655" y="3815754"/>
              <a:ext cx="1067956" cy="1068006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764" b="1" dirty="0">
                <a:solidFill>
                  <a:srgbClr val="FFFFFF"/>
                </a:solidFill>
              </a:endParaRP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36D7E422-DD08-C179-56A2-CC8DAFEBF036}"/>
                </a:ext>
              </a:extLst>
            </p:cNvPr>
            <p:cNvGrpSpPr/>
            <p:nvPr/>
          </p:nvGrpSpPr>
          <p:grpSpPr>
            <a:xfrm>
              <a:off x="1094397" y="4136503"/>
              <a:ext cx="632472" cy="426508"/>
              <a:chOff x="6716027" y="5411634"/>
              <a:chExt cx="583964" cy="393797"/>
            </a:xfrm>
            <a:solidFill>
              <a:schemeClr val="bg1"/>
            </a:solidFill>
          </p:grpSpPr>
          <p:sp>
            <p:nvSpPr>
              <p:cNvPr id="19" name="Freeform 17">
                <a:extLst>
                  <a:ext uri="{FF2B5EF4-FFF2-40B4-BE49-F238E27FC236}">
                    <a16:creationId xmlns:a16="http://schemas.microsoft.com/office/drawing/2014/main" id="{D8674607-1802-FEE3-E34B-DEF4B68F9BA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2700000">
                <a:off x="6832931" y="5294730"/>
                <a:ext cx="350155" cy="583964"/>
              </a:xfrm>
              <a:custGeom>
                <a:avLst/>
                <a:gdLst>
                  <a:gd name="T0" fmla="*/ 50 w 184"/>
                  <a:gd name="T1" fmla="*/ 310 h 310"/>
                  <a:gd name="T2" fmla="*/ 32 w 184"/>
                  <a:gd name="T3" fmla="*/ 282 h 310"/>
                  <a:gd name="T4" fmla="*/ 10 w 184"/>
                  <a:gd name="T5" fmla="*/ 199 h 310"/>
                  <a:gd name="T6" fmla="*/ 39 w 184"/>
                  <a:gd name="T7" fmla="*/ 171 h 310"/>
                  <a:gd name="T8" fmla="*/ 30 w 184"/>
                  <a:gd name="T9" fmla="*/ 116 h 310"/>
                  <a:gd name="T10" fmla="*/ 36 w 184"/>
                  <a:gd name="T11" fmla="*/ 73 h 310"/>
                  <a:gd name="T12" fmla="*/ 36 w 184"/>
                  <a:gd name="T13" fmla="*/ 72 h 310"/>
                  <a:gd name="T14" fmla="*/ 92 w 184"/>
                  <a:gd name="T15" fmla="*/ 0 h 310"/>
                  <a:gd name="T16" fmla="*/ 148 w 184"/>
                  <a:gd name="T17" fmla="*/ 72 h 310"/>
                  <a:gd name="T18" fmla="*/ 148 w 184"/>
                  <a:gd name="T19" fmla="*/ 73 h 310"/>
                  <a:gd name="T20" fmla="*/ 155 w 184"/>
                  <a:gd name="T21" fmla="*/ 116 h 310"/>
                  <a:gd name="T22" fmla="*/ 145 w 184"/>
                  <a:gd name="T23" fmla="*/ 171 h 310"/>
                  <a:gd name="T24" fmla="*/ 174 w 184"/>
                  <a:gd name="T25" fmla="*/ 199 h 310"/>
                  <a:gd name="T26" fmla="*/ 153 w 184"/>
                  <a:gd name="T27" fmla="*/ 282 h 310"/>
                  <a:gd name="T28" fmla="*/ 134 w 184"/>
                  <a:gd name="T29" fmla="*/ 310 h 310"/>
                  <a:gd name="T30" fmla="*/ 134 w 184"/>
                  <a:gd name="T31" fmla="*/ 276 h 310"/>
                  <a:gd name="T32" fmla="*/ 118 w 184"/>
                  <a:gd name="T33" fmla="*/ 239 h 310"/>
                  <a:gd name="T34" fmla="*/ 118 w 184"/>
                  <a:gd name="T35" fmla="*/ 240 h 310"/>
                  <a:gd name="T36" fmla="*/ 115 w 184"/>
                  <a:gd name="T37" fmla="*/ 246 h 310"/>
                  <a:gd name="T38" fmla="*/ 108 w 184"/>
                  <a:gd name="T39" fmla="*/ 245 h 310"/>
                  <a:gd name="T40" fmla="*/ 76 w 184"/>
                  <a:gd name="T41" fmla="*/ 245 h 310"/>
                  <a:gd name="T42" fmla="*/ 69 w 184"/>
                  <a:gd name="T43" fmla="*/ 246 h 310"/>
                  <a:gd name="T44" fmla="*/ 66 w 184"/>
                  <a:gd name="T45" fmla="*/ 240 h 310"/>
                  <a:gd name="T46" fmla="*/ 66 w 184"/>
                  <a:gd name="T47" fmla="*/ 239 h 310"/>
                  <a:gd name="T48" fmla="*/ 50 w 184"/>
                  <a:gd name="T49" fmla="*/ 276 h 310"/>
                  <a:gd name="T50" fmla="*/ 50 w 184"/>
                  <a:gd name="T51" fmla="*/ 310 h 310"/>
                  <a:gd name="T52" fmla="*/ 55 w 184"/>
                  <a:gd name="T53" fmla="*/ 79 h 310"/>
                  <a:gd name="T54" fmla="*/ 50 w 184"/>
                  <a:gd name="T55" fmla="*/ 116 h 310"/>
                  <a:gd name="T56" fmla="*/ 61 w 184"/>
                  <a:gd name="T57" fmla="*/ 174 h 310"/>
                  <a:gd name="T58" fmla="*/ 64 w 184"/>
                  <a:gd name="T59" fmla="*/ 184 h 310"/>
                  <a:gd name="T60" fmla="*/ 54 w 184"/>
                  <a:gd name="T61" fmla="*/ 187 h 310"/>
                  <a:gd name="T62" fmla="*/ 29 w 184"/>
                  <a:gd name="T63" fmla="*/ 205 h 310"/>
                  <a:gd name="T64" fmla="*/ 36 w 184"/>
                  <a:gd name="T65" fmla="*/ 247 h 310"/>
                  <a:gd name="T66" fmla="*/ 65 w 184"/>
                  <a:gd name="T67" fmla="*/ 215 h 310"/>
                  <a:gd name="T68" fmla="*/ 74 w 184"/>
                  <a:gd name="T69" fmla="*/ 209 h 310"/>
                  <a:gd name="T70" fmla="*/ 79 w 184"/>
                  <a:gd name="T71" fmla="*/ 219 h 310"/>
                  <a:gd name="T72" fmla="*/ 82 w 184"/>
                  <a:gd name="T73" fmla="*/ 225 h 310"/>
                  <a:gd name="T74" fmla="*/ 103 w 184"/>
                  <a:gd name="T75" fmla="*/ 225 h 310"/>
                  <a:gd name="T76" fmla="*/ 105 w 184"/>
                  <a:gd name="T77" fmla="*/ 219 h 310"/>
                  <a:gd name="T78" fmla="*/ 110 w 184"/>
                  <a:gd name="T79" fmla="*/ 209 h 310"/>
                  <a:gd name="T80" fmla="*/ 120 w 184"/>
                  <a:gd name="T81" fmla="*/ 215 h 310"/>
                  <a:gd name="T82" fmla="*/ 148 w 184"/>
                  <a:gd name="T83" fmla="*/ 247 h 310"/>
                  <a:gd name="T84" fmla="*/ 155 w 184"/>
                  <a:gd name="T85" fmla="*/ 205 h 310"/>
                  <a:gd name="T86" fmla="*/ 130 w 184"/>
                  <a:gd name="T87" fmla="*/ 187 h 310"/>
                  <a:gd name="T88" fmla="*/ 120 w 184"/>
                  <a:gd name="T89" fmla="*/ 184 h 310"/>
                  <a:gd name="T90" fmla="*/ 123 w 184"/>
                  <a:gd name="T91" fmla="*/ 174 h 310"/>
                  <a:gd name="T92" fmla="*/ 135 w 184"/>
                  <a:gd name="T93" fmla="*/ 116 h 310"/>
                  <a:gd name="T94" fmla="*/ 129 w 184"/>
                  <a:gd name="T95" fmla="*/ 79 h 310"/>
                  <a:gd name="T96" fmla="*/ 92 w 184"/>
                  <a:gd name="T97" fmla="*/ 21 h 310"/>
                  <a:gd name="T98" fmla="*/ 55 w 184"/>
                  <a:gd name="T99" fmla="*/ 79 h 3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84" h="310">
                    <a:moveTo>
                      <a:pt x="50" y="310"/>
                    </a:moveTo>
                    <a:cubicBezTo>
                      <a:pt x="32" y="282"/>
                      <a:pt x="32" y="282"/>
                      <a:pt x="32" y="282"/>
                    </a:cubicBezTo>
                    <a:cubicBezTo>
                      <a:pt x="28" y="276"/>
                      <a:pt x="0" y="230"/>
                      <a:pt x="10" y="199"/>
                    </a:cubicBezTo>
                    <a:cubicBezTo>
                      <a:pt x="14" y="187"/>
                      <a:pt x="24" y="178"/>
                      <a:pt x="39" y="171"/>
                    </a:cubicBezTo>
                    <a:cubicBezTo>
                      <a:pt x="33" y="151"/>
                      <a:pt x="30" y="132"/>
                      <a:pt x="30" y="116"/>
                    </a:cubicBezTo>
                    <a:cubicBezTo>
                      <a:pt x="30" y="102"/>
                      <a:pt x="32" y="87"/>
                      <a:pt x="36" y="73"/>
                    </a:cubicBezTo>
                    <a:cubicBezTo>
                      <a:pt x="36" y="72"/>
                      <a:pt x="36" y="72"/>
                      <a:pt x="36" y="72"/>
                    </a:cubicBezTo>
                    <a:cubicBezTo>
                      <a:pt x="50" y="35"/>
                      <a:pt x="77" y="0"/>
                      <a:pt x="92" y="0"/>
                    </a:cubicBezTo>
                    <a:cubicBezTo>
                      <a:pt x="107" y="0"/>
                      <a:pt x="134" y="35"/>
                      <a:pt x="148" y="72"/>
                    </a:cubicBezTo>
                    <a:cubicBezTo>
                      <a:pt x="148" y="73"/>
                      <a:pt x="148" y="73"/>
                      <a:pt x="148" y="73"/>
                    </a:cubicBezTo>
                    <a:cubicBezTo>
                      <a:pt x="152" y="87"/>
                      <a:pt x="155" y="102"/>
                      <a:pt x="155" y="116"/>
                    </a:cubicBezTo>
                    <a:cubicBezTo>
                      <a:pt x="155" y="132"/>
                      <a:pt x="152" y="151"/>
                      <a:pt x="145" y="171"/>
                    </a:cubicBezTo>
                    <a:cubicBezTo>
                      <a:pt x="160" y="178"/>
                      <a:pt x="170" y="187"/>
                      <a:pt x="174" y="199"/>
                    </a:cubicBezTo>
                    <a:cubicBezTo>
                      <a:pt x="184" y="230"/>
                      <a:pt x="156" y="276"/>
                      <a:pt x="153" y="282"/>
                    </a:cubicBezTo>
                    <a:cubicBezTo>
                      <a:pt x="134" y="310"/>
                      <a:pt x="134" y="310"/>
                      <a:pt x="134" y="310"/>
                    </a:cubicBezTo>
                    <a:cubicBezTo>
                      <a:pt x="134" y="276"/>
                      <a:pt x="134" y="276"/>
                      <a:pt x="134" y="276"/>
                    </a:cubicBezTo>
                    <a:cubicBezTo>
                      <a:pt x="134" y="262"/>
                      <a:pt x="128" y="248"/>
                      <a:pt x="118" y="239"/>
                    </a:cubicBezTo>
                    <a:cubicBezTo>
                      <a:pt x="118" y="239"/>
                      <a:pt x="118" y="239"/>
                      <a:pt x="118" y="240"/>
                    </a:cubicBezTo>
                    <a:cubicBezTo>
                      <a:pt x="115" y="246"/>
                      <a:pt x="115" y="246"/>
                      <a:pt x="115" y="246"/>
                    </a:cubicBezTo>
                    <a:cubicBezTo>
                      <a:pt x="108" y="245"/>
                      <a:pt x="108" y="245"/>
                      <a:pt x="108" y="245"/>
                    </a:cubicBezTo>
                    <a:cubicBezTo>
                      <a:pt x="98" y="245"/>
                      <a:pt x="87" y="245"/>
                      <a:pt x="76" y="245"/>
                    </a:cubicBezTo>
                    <a:cubicBezTo>
                      <a:pt x="69" y="246"/>
                      <a:pt x="69" y="246"/>
                      <a:pt x="69" y="246"/>
                    </a:cubicBezTo>
                    <a:cubicBezTo>
                      <a:pt x="66" y="240"/>
                      <a:pt x="66" y="240"/>
                      <a:pt x="66" y="240"/>
                    </a:cubicBezTo>
                    <a:cubicBezTo>
                      <a:pt x="66" y="239"/>
                      <a:pt x="66" y="239"/>
                      <a:pt x="66" y="239"/>
                    </a:cubicBezTo>
                    <a:cubicBezTo>
                      <a:pt x="56" y="249"/>
                      <a:pt x="50" y="262"/>
                      <a:pt x="50" y="276"/>
                    </a:cubicBezTo>
                    <a:lnTo>
                      <a:pt x="50" y="310"/>
                    </a:lnTo>
                    <a:close/>
                    <a:moveTo>
                      <a:pt x="55" y="79"/>
                    </a:moveTo>
                    <a:cubicBezTo>
                      <a:pt x="52" y="91"/>
                      <a:pt x="50" y="104"/>
                      <a:pt x="50" y="116"/>
                    </a:cubicBezTo>
                    <a:cubicBezTo>
                      <a:pt x="50" y="132"/>
                      <a:pt x="53" y="152"/>
                      <a:pt x="61" y="174"/>
                    </a:cubicBezTo>
                    <a:cubicBezTo>
                      <a:pt x="64" y="184"/>
                      <a:pt x="64" y="184"/>
                      <a:pt x="64" y="184"/>
                    </a:cubicBezTo>
                    <a:cubicBezTo>
                      <a:pt x="54" y="187"/>
                      <a:pt x="54" y="187"/>
                      <a:pt x="54" y="187"/>
                    </a:cubicBezTo>
                    <a:cubicBezTo>
                      <a:pt x="45" y="190"/>
                      <a:pt x="33" y="196"/>
                      <a:pt x="29" y="205"/>
                    </a:cubicBezTo>
                    <a:cubicBezTo>
                      <a:pt x="26" y="216"/>
                      <a:pt x="30" y="233"/>
                      <a:pt x="36" y="247"/>
                    </a:cubicBezTo>
                    <a:cubicBezTo>
                      <a:pt x="42" y="234"/>
                      <a:pt x="52" y="223"/>
                      <a:pt x="65" y="215"/>
                    </a:cubicBezTo>
                    <a:cubicBezTo>
                      <a:pt x="74" y="209"/>
                      <a:pt x="74" y="209"/>
                      <a:pt x="74" y="209"/>
                    </a:cubicBezTo>
                    <a:cubicBezTo>
                      <a:pt x="79" y="219"/>
                      <a:pt x="79" y="219"/>
                      <a:pt x="79" y="219"/>
                    </a:cubicBezTo>
                    <a:cubicBezTo>
                      <a:pt x="80" y="221"/>
                      <a:pt x="81" y="223"/>
                      <a:pt x="82" y="225"/>
                    </a:cubicBezTo>
                    <a:cubicBezTo>
                      <a:pt x="89" y="225"/>
                      <a:pt x="96" y="225"/>
                      <a:pt x="103" y="225"/>
                    </a:cubicBezTo>
                    <a:cubicBezTo>
                      <a:pt x="104" y="223"/>
                      <a:pt x="105" y="221"/>
                      <a:pt x="105" y="219"/>
                    </a:cubicBezTo>
                    <a:cubicBezTo>
                      <a:pt x="110" y="209"/>
                      <a:pt x="110" y="209"/>
                      <a:pt x="110" y="209"/>
                    </a:cubicBezTo>
                    <a:cubicBezTo>
                      <a:pt x="120" y="215"/>
                      <a:pt x="120" y="215"/>
                      <a:pt x="120" y="215"/>
                    </a:cubicBezTo>
                    <a:cubicBezTo>
                      <a:pt x="133" y="223"/>
                      <a:pt x="142" y="234"/>
                      <a:pt x="148" y="247"/>
                    </a:cubicBezTo>
                    <a:cubicBezTo>
                      <a:pt x="154" y="233"/>
                      <a:pt x="159" y="216"/>
                      <a:pt x="155" y="205"/>
                    </a:cubicBezTo>
                    <a:cubicBezTo>
                      <a:pt x="152" y="196"/>
                      <a:pt x="140" y="190"/>
                      <a:pt x="130" y="187"/>
                    </a:cubicBezTo>
                    <a:cubicBezTo>
                      <a:pt x="120" y="184"/>
                      <a:pt x="120" y="184"/>
                      <a:pt x="120" y="184"/>
                    </a:cubicBezTo>
                    <a:cubicBezTo>
                      <a:pt x="123" y="174"/>
                      <a:pt x="123" y="174"/>
                      <a:pt x="123" y="174"/>
                    </a:cubicBezTo>
                    <a:cubicBezTo>
                      <a:pt x="131" y="152"/>
                      <a:pt x="135" y="132"/>
                      <a:pt x="135" y="116"/>
                    </a:cubicBezTo>
                    <a:cubicBezTo>
                      <a:pt x="135" y="104"/>
                      <a:pt x="133" y="91"/>
                      <a:pt x="129" y="79"/>
                    </a:cubicBezTo>
                    <a:cubicBezTo>
                      <a:pt x="117" y="47"/>
                      <a:pt x="99" y="26"/>
                      <a:pt x="92" y="21"/>
                    </a:cubicBezTo>
                    <a:cubicBezTo>
                      <a:pt x="85" y="26"/>
                      <a:pt x="67" y="47"/>
                      <a:pt x="55" y="7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20" name="Freeform 18">
                <a:extLst>
                  <a:ext uri="{FF2B5EF4-FFF2-40B4-BE49-F238E27FC236}">
                    <a16:creationId xmlns:a16="http://schemas.microsoft.com/office/drawing/2014/main" id="{C87834F9-587C-668C-86A1-16EF0E09FD9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2700000">
                <a:off x="6989613" y="5483631"/>
                <a:ext cx="121724" cy="120112"/>
              </a:xfrm>
              <a:custGeom>
                <a:avLst/>
                <a:gdLst>
                  <a:gd name="T0" fmla="*/ 32 w 64"/>
                  <a:gd name="T1" fmla="*/ 64 h 64"/>
                  <a:gd name="T2" fmla="*/ 0 w 64"/>
                  <a:gd name="T3" fmla="*/ 32 h 64"/>
                  <a:gd name="T4" fmla="*/ 32 w 64"/>
                  <a:gd name="T5" fmla="*/ 0 h 64"/>
                  <a:gd name="T6" fmla="*/ 64 w 64"/>
                  <a:gd name="T7" fmla="*/ 32 h 64"/>
                  <a:gd name="T8" fmla="*/ 32 w 64"/>
                  <a:gd name="T9" fmla="*/ 64 h 64"/>
                  <a:gd name="T10" fmla="*/ 32 w 64"/>
                  <a:gd name="T11" fmla="*/ 12 h 64"/>
                  <a:gd name="T12" fmla="*/ 12 w 64"/>
                  <a:gd name="T13" fmla="*/ 32 h 64"/>
                  <a:gd name="T14" fmla="*/ 32 w 64"/>
                  <a:gd name="T15" fmla="*/ 52 h 64"/>
                  <a:gd name="T16" fmla="*/ 52 w 64"/>
                  <a:gd name="T17" fmla="*/ 32 h 64"/>
                  <a:gd name="T18" fmla="*/ 32 w 64"/>
                  <a:gd name="T19" fmla="*/ 12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4" h="64">
                    <a:moveTo>
                      <a:pt x="32" y="64"/>
                    </a:moveTo>
                    <a:cubicBezTo>
                      <a:pt x="14" y="64"/>
                      <a:pt x="0" y="50"/>
                      <a:pt x="0" y="32"/>
                    </a:cubicBezTo>
                    <a:cubicBezTo>
                      <a:pt x="0" y="14"/>
                      <a:pt x="14" y="0"/>
                      <a:pt x="32" y="0"/>
                    </a:cubicBezTo>
                    <a:cubicBezTo>
                      <a:pt x="50" y="0"/>
                      <a:pt x="64" y="14"/>
                      <a:pt x="64" y="32"/>
                    </a:cubicBezTo>
                    <a:cubicBezTo>
                      <a:pt x="64" y="50"/>
                      <a:pt x="50" y="64"/>
                      <a:pt x="32" y="64"/>
                    </a:cubicBezTo>
                    <a:close/>
                    <a:moveTo>
                      <a:pt x="32" y="12"/>
                    </a:moveTo>
                    <a:cubicBezTo>
                      <a:pt x="21" y="12"/>
                      <a:pt x="12" y="21"/>
                      <a:pt x="12" y="32"/>
                    </a:cubicBezTo>
                    <a:cubicBezTo>
                      <a:pt x="12" y="43"/>
                      <a:pt x="21" y="52"/>
                      <a:pt x="32" y="52"/>
                    </a:cubicBezTo>
                    <a:cubicBezTo>
                      <a:pt x="43" y="52"/>
                      <a:pt x="52" y="43"/>
                      <a:pt x="52" y="32"/>
                    </a:cubicBezTo>
                    <a:cubicBezTo>
                      <a:pt x="52" y="21"/>
                      <a:pt x="43" y="12"/>
                      <a:pt x="3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21" name="Freeform 19">
                <a:extLst>
                  <a:ext uri="{FF2B5EF4-FFF2-40B4-BE49-F238E27FC236}">
                    <a16:creationId xmlns:a16="http://schemas.microsoft.com/office/drawing/2014/main" id="{EC86A40E-536F-16AB-95BC-C91525ED57B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2700000">
                <a:off x="6790966" y="5660018"/>
                <a:ext cx="112239" cy="178587"/>
              </a:xfrm>
              <a:custGeom>
                <a:avLst/>
                <a:gdLst>
                  <a:gd name="T0" fmla="*/ 29 w 59"/>
                  <a:gd name="T1" fmla="*/ 95 h 95"/>
                  <a:gd name="T2" fmla="*/ 24 w 59"/>
                  <a:gd name="T3" fmla="*/ 85 h 95"/>
                  <a:gd name="T4" fmla="*/ 0 w 59"/>
                  <a:gd name="T5" fmla="*/ 26 h 95"/>
                  <a:gd name="T6" fmla="*/ 29 w 59"/>
                  <a:gd name="T7" fmla="*/ 0 h 95"/>
                  <a:gd name="T8" fmla="*/ 59 w 59"/>
                  <a:gd name="T9" fmla="*/ 26 h 95"/>
                  <a:gd name="T10" fmla="*/ 34 w 59"/>
                  <a:gd name="T11" fmla="*/ 85 h 95"/>
                  <a:gd name="T12" fmla="*/ 29 w 59"/>
                  <a:gd name="T13" fmla="*/ 95 h 95"/>
                  <a:gd name="T14" fmla="*/ 29 w 59"/>
                  <a:gd name="T15" fmla="*/ 12 h 95"/>
                  <a:gd name="T16" fmla="*/ 12 w 59"/>
                  <a:gd name="T17" fmla="*/ 26 h 95"/>
                  <a:gd name="T18" fmla="*/ 29 w 59"/>
                  <a:gd name="T19" fmla="*/ 69 h 95"/>
                  <a:gd name="T20" fmla="*/ 47 w 59"/>
                  <a:gd name="T21" fmla="*/ 26 h 95"/>
                  <a:gd name="T22" fmla="*/ 29 w 59"/>
                  <a:gd name="T23" fmla="*/ 12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9" h="95">
                    <a:moveTo>
                      <a:pt x="29" y="95"/>
                    </a:moveTo>
                    <a:cubicBezTo>
                      <a:pt x="24" y="85"/>
                      <a:pt x="24" y="85"/>
                      <a:pt x="24" y="85"/>
                    </a:cubicBezTo>
                    <a:cubicBezTo>
                      <a:pt x="20" y="77"/>
                      <a:pt x="0" y="38"/>
                      <a:pt x="0" y="26"/>
                    </a:cubicBezTo>
                    <a:cubicBezTo>
                      <a:pt x="0" y="12"/>
                      <a:pt x="13" y="0"/>
                      <a:pt x="29" y="0"/>
                    </a:cubicBezTo>
                    <a:cubicBezTo>
                      <a:pt x="45" y="0"/>
                      <a:pt x="59" y="12"/>
                      <a:pt x="59" y="26"/>
                    </a:cubicBezTo>
                    <a:cubicBezTo>
                      <a:pt x="59" y="38"/>
                      <a:pt x="39" y="77"/>
                      <a:pt x="34" y="85"/>
                    </a:cubicBezTo>
                    <a:lnTo>
                      <a:pt x="29" y="95"/>
                    </a:lnTo>
                    <a:close/>
                    <a:moveTo>
                      <a:pt x="29" y="12"/>
                    </a:moveTo>
                    <a:cubicBezTo>
                      <a:pt x="19" y="12"/>
                      <a:pt x="12" y="18"/>
                      <a:pt x="12" y="26"/>
                    </a:cubicBezTo>
                    <a:cubicBezTo>
                      <a:pt x="12" y="31"/>
                      <a:pt x="20" y="50"/>
                      <a:pt x="29" y="69"/>
                    </a:cubicBezTo>
                    <a:cubicBezTo>
                      <a:pt x="38" y="50"/>
                      <a:pt x="47" y="31"/>
                      <a:pt x="47" y="26"/>
                    </a:cubicBezTo>
                    <a:cubicBezTo>
                      <a:pt x="47" y="18"/>
                      <a:pt x="39" y="12"/>
                      <a:pt x="29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</p:grp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846347C6-D819-74E4-5B49-01E152151AF8}"/>
              </a:ext>
            </a:extLst>
          </p:cNvPr>
          <p:cNvGrpSpPr/>
          <p:nvPr/>
        </p:nvGrpSpPr>
        <p:grpSpPr>
          <a:xfrm>
            <a:off x="3122169" y="4231761"/>
            <a:ext cx="1002679" cy="1002629"/>
            <a:chOff x="2241396" y="4563294"/>
            <a:chExt cx="1068004" cy="1067951"/>
          </a:xfrm>
        </p:grpSpPr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7F2972B7-1D2D-A133-634D-64781097E02E}"/>
                </a:ext>
              </a:extLst>
            </p:cNvPr>
            <p:cNvSpPr/>
            <p:nvPr/>
          </p:nvSpPr>
          <p:spPr>
            <a:xfrm rot="5400000">
              <a:off x="2241422" y="4563268"/>
              <a:ext cx="1067951" cy="1068004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764" b="1" dirty="0">
                <a:solidFill>
                  <a:srgbClr val="FFFFFF"/>
                </a:solidFill>
              </a:endParaRPr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6E01E90F-C255-D18F-634F-D4ED0AB471BF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575304" y="4777932"/>
              <a:ext cx="400186" cy="638676"/>
              <a:chOff x="6513513" y="557213"/>
              <a:chExt cx="471488" cy="752475"/>
            </a:xfrm>
            <a:solidFill>
              <a:schemeClr val="bg1"/>
            </a:solidFill>
          </p:grpSpPr>
          <p:sp>
            <p:nvSpPr>
              <p:cNvPr id="25" name="Freeform 21">
                <a:extLst>
                  <a:ext uri="{FF2B5EF4-FFF2-40B4-BE49-F238E27FC236}">
                    <a16:creationId xmlns:a16="http://schemas.microsoft.com/office/drawing/2014/main" id="{D846F577-4A0F-D68E-2216-01493CD6FC1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13513" y="557213"/>
                <a:ext cx="471488" cy="752475"/>
              </a:xfrm>
              <a:custGeom>
                <a:avLst/>
                <a:gdLst>
                  <a:gd name="T0" fmla="*/ 80 w 160"/>
                  <a:gd name="T1" fmla="*/ 0 h 256"/>
                  <a:gd name="T2" fmla="*/ 11 w 160"/>
                  <a:gd name="T3" fmla="*/ 120 h 256"/>
                  <a:gd name="T4" fmla="*/ 42 w 160"/>
                  <a:gd name="T5" fmla="*/ 179 h 256"/>
                  <a:gd name="T6" fmla="*/ 49 w 160"/>
                  <a:gd name="T7" fmla="*/ 187 h 256"/>
                  <a:gd name="T8" fmla="*/ 48 w 160"/>
                  <a:gd name="T9" fmla="*/ 208 h 256"/>
                  <a:gd name="T10" fmla="*/ 52 w 160"/>
                  <a:gd name="T11" fmla="*/ 231 h 256"/>
                  <a:gd name="T12" fmla="*/ 108 w 160"/>
                  <a:gd name="T13" fmla="*/ 231 h 256"/>
                  <a:gd name="T14" fmla="*/ 112 w 160"/>
                  <a:gd name="T15" fmla="*/ 208 h 256"/>
                  <a:gd name="T16" fmla="*/ 110 w 160"/>
                  <a:gd name="T17" fmla="*/ 187 h 256"/>
                  <a:gd name="T18" fmla="*/ 118 w 160"/>
                  <a:gd name="T19" fmla="*/ 179 h 256"/>
                  <a:gd name="T20" fmla="*/ 149 w 160"/>
                  <a:gd name="T21" fmla="*/ 120 h 256"/>
                  <a:gd name="T22" fmla="*/ 80 w 160"/>
                  <a:gd name="T23" fmla="*/ 248 h 256"/>
                  <a:gd name="T24" fmla="*/ 99 w 160"/>
                  <a:gd name="T25" fmla="*/ 232 h 256"/>
                  <a:gd name="T26" fmla="*/ 108 w 160"/>
                  <a:gd name="T27" fmla="*/ 218 h 256"/>
                  <a:gd name="T28" fmla="*/ 58 w 160"/>
                  <a:gd name="T29" fmla="*/ 224 h 256"/>
                  <a:gd name="T30" fmla="*/ 58 w 160"/>
                  <a:gd name="T31" fmla="*/ 212 h 256"/>
                  <a:gd name="T32" fmla="*/ 108 w 160"/>
                  <a:gd name="T33" fmla="*/ 218 h 256"/>
                  <a:gd name="T34" fmla="*/ 108 w 160"/>
                  <a:gd name="T35" fmla="*/ 198 h 256"/>
                  <a:gd name="T36" fmla="*/ 58 w 160"/>
                  <a:gd name="T37" fmla="*/ 204 h 256"/>
                  <a:gd name="T38" fmla="*/ 58 w 160"/>
                  <a:gd name="T39" fmla="*/ 192 h 256"/>
                  <a:gd name="T40" fmla="*/ 96 w 160"/>
                  <a:gd name="T41" fmla="*/ 192 h 256"/>
                  <a:gd name="T42" fmla="*/ 135 w 160"/>
                  <a:gd name="T43" fmla="*/ 112 h 256"/>
                  <a:gd name="T44" fmla="*/ 104 w 160"/>
                  <a:gd name="T45" fmla="*/ 170 h 256"/>
                  <a:gd name="T46" fmla="*/ 96 w 160"/>
                  <a:gd name="T47" fmla="*/ 176 h 256"/>
                  <a:gd name="T48" fmla="*/ 96 w 160"/>
                  <a:gd name="T49" fmla="*/ 124 h 256"/>
                  <a:gd name="T50" fmla="*/ 88 w 160"/>
                  <a:gd name="T51" fmla="*/ 176 h 256"/>
                  <a:gd name="T52" fmla="*/ 68 w 160"/>
                  <a:gd name="T53" fmla="*/ 128 h 256"/>
                  <a:gd name="T54" fmla="*/ 60 w 160"/>
                  <a:gd name="T55" fmla="*/ 129 h 256"/>
                  <a:gd name="T56" fmla="*/ 57 w 160"/>
                  <a:gd name="T57" fmla="*/ 172 h 256"/>
                  <a:gd name="T58" fmla="*/ 26 w 160"/>
                  <a:gd name="T59" fmla="*/ 114 h 256"/>
                  <a:gd name="T60" fmla="*/ 16 w 160"/>
                  <a:gd name="T61" fmla="*/ 80 h 256"/>
                  <a:gd name="T62" fmla="*/ 144 w 160"/>
                  <a:gd name="T63" fmla="*/ 80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60" h="256">
                    <a:moveTo>
                      <a:pt x="160" y="80"/>
                    </a:moveTo>
                    <a:cubicBezTo>
                      <a:pt x="160" y="36"/>
                      <a:pt x="124" y="0"/>
                      <a:pt x="80" y="0"/>
                    </a:cubicBezTo>
                    <a:cubicBezTo>
                      <a:pt x="36" y="0"/>
                      <a:pt x="0" y="36"/>
                      <a:pt x="0" y="80"/>
                    </a:cubicBezTo>
                    <a:cubicBezTo>
                      <a:pt x="0" y="95"/>
                      <a:pt x="4" y="109"/>
                      <a:pt x="11" y="120"/>
                    </a:cubicBezTo>
                    <a:cubicBezTo>
                      <a:pt x="11" y="120"/>
                      <a:pt x="11" y="120"/>
                      <a:pt x="11" y="120"/>
                    </a:cubicBezTo>
                    <a:cubicBezTo>
                      <a:pt x="42" y="179"/>
                      <a:pt x="42" y="179"/>
                      <a:pt x="42" y="179"/>
                    </a:cubicBezTo>
                    <a:cubicBezTo>
                      <a:pt x="42" y="179"/>
                      <a:pt x="42" y="179"/>
                      <a:pt x="42" y="179"/>
                    </a:cubicBezTo>
                    <a:cubicBezTo>
                      <a:pt x="44" y="182"/>
                      <a:pt x="46" y="185"/>
                      <a:pt x="49" y="187"/>
                    </a:cubicBezTo>
                    <a:cubicBezTo>
                      <a:pt x="46" y="190"/>
                      <a:pt x="44" y="194"/>
                      <a:pt x="44" y="198"/>
                    </a:cubicBezTo>
                    <a:cubicBezTo>
                      <a:pt x="44" y="202"/>
                      <a:pt x="46" y="206"/>
                      <a:pt x="48" y="208"/>
                    </a:cubicBezTo>
                    <a:cubicBezTo>
                      <a:pt x="46" y="211"/>
                      <a:pt x="44" y="214"/>
                      <a:pt x="44" y="218"/>
                    </a:cubicBezTo>
                    <a:cubicBezTo>
                      <a:pt x="44" y="224"/>
                      <a:pt x="47" y="229"/>
                      <a:pt x="52" y="231"/>
                    </a:cubicBezTo>
                    <a:cubicBezTo>
                      <a:pt x="53" y="245"/>
                      <a:pt x="65" y="256"/>
                      <a:pt x="80" y="256"/>
                    </a:cubicBezTo>
                    <a:cubicBezTo>
                      <a:pt x="94" y="256"/>
                      <a:pt x="106" y="245"/>
                      <a:pt x="108" y="231"/>
                    </a:cubicBezTo>
                    <a:cubicBezTo>
                      <a:pt x="112" y="229"/>
                      <a:pt x="116" y="224"/>
                      <a:pt x="116" y="218"/>
                    </a:cubicBezTo>
                    <a:cubicBezTo>
                      <a:pt x="116" y="214"/>
                      <a:pt x="114" y="211"/>
                      <a:pt x="112" y="208"/>
                    </a:cubicBezTo>
                    <a:cubicBezTo>
                      <a:pt x="114" y="206"/>
                      <a:pt x="116" y="202"/>
                      <a:pt x="116" y="198"/>
                    </a:cubicBezTo>
                    <a:cubicBezTo>
                      <a:pt x="116" y="194"/>
                      <a:pt x="114" y="190"/>
                      <a:pt x="110" y="187"/>
                    </a:cubicBezTo>
                    <a:cubicBezTo>
                      <a:pt x="113" y="185"/>
                      <a:pt x="116" y="182"/>
                      <a:pt x="118" y="179"/>
                    </a:cubicBezTo>
                    <a:cubicBezTo>
                      <a:pt x="118" y="179"/>
                      <a:pt x="118" y="179"/>
                      <a:pt x="118" y="179"/>
                    </a:cubicBezTo>
                    <a:cubicBezTo>
                      <a:pt x="149" y="120"/>
                      <a:pt x="149" y="120"/>
                      <a:pt x="149" y="120"/>
                    </a:cubicBezTo>
                    <a:cubicBezTo>
                      <a:pt x="149" y="120"/>
                      <a:pt x="149" y="120"/>
                      <a:pt x="149" y="120"/>
                    </a:cubicBezTo>
                    <a:cubicBezTo>
                      <a:pt x="156" y="109"/>
                      <a:pt x="160" y="95"/>
                      <a:pt x="160" y="80"/>
                    </a:cubicBezTo>
                    <a:close/>
                    <a:moveTo>
                      <a:pt x="80" y="248"/>
                    </a:moveTo>
                    <a:cubicBezTo>
                      <a:pt x="70" y="248"/>
                      <a:pt x="62" y="241"/>
                      <a:pt x="60" y="232"/>
                    </a:cubicBezTo>
                    <a:cubicBezTo>
                      <a:pt x="99" y="232"/>
                      <a:pt x="99" y="232"/>
                      <a:pt x="99" y="232"/>
                    </a:cubicBezTo>
                    <a:cubicBezTo>
                      <a:pt x="97" y="241"/>
                      <a:pt x="89" y="248"/>
                      <a:pt x="80" y="248"/>
                    </a:cubicBezTo>
                    <a:close/>
                    <a:moveTo>
                      <a:pt x="108" y="218"/>
                    </a:moveTo>
                    <a:cubicBezTo>
                      <a:pt x="108" y="222"/>
                      <a:pt x="105" y="224"/>
                      <a:pt x="102" y="224"/>
                    </a:cubicBezTo>
                    <a:cubicBezTo>
                      <a:pt x="58" y="224"/>
                      <a:pt x="58" y="224"/>
                      <a:pt x="58" y="224"/>
                    </a:cubicBezTo>
                    <a:cubicBezTo>
                      <a:pt x="55" y="224"/>
                      <a:pt x="52" y="222"/>
                      <a:pt x="52" y="218"/>
                    </a:cubicBezTo>
                    <a:cubicBezTo>
                      <a:pt x="52" y="215"/>
                      <a:pt x="55" y="212"/>
                      <a:pt x="58" y="212"/>
                    </a:cubicBezTo>
                    <a:cubicBezTo>
                      <a:pt x="102" y="212"/>
                      <a:pt x="102" y="212"/>
                      <a:pt x="102" y="212"/>
                    </a:cubicBezTo>
                    <a:cubicBezTo>
                      <a:pt x="105" y="212"/>
                      <a:pt x="108" y="215"/>
                      <a:pt x="108" y="218"/>
                    </a:cubicBezTo>
                    <a:close/>
                    <a:moveTo>
                      <a:pt x="102" y="192"/>
                    </a:moveTo>
                    <a:cubicBezTo>
                      <a:pt x="105" y="192"/>
                      <a:pt x="108" y="195"/>
                      <a:pt x="108" y="198"/>
                    </a:cubicBezTo>
                    <a:cubicBezTo>
                      <a:pt x="108" y="202"/>
                      <a:pt x="105" y="204"/>
                      <a:pt x="102" y="204"/>
                    </a:cubicBezTo>
                    <a:cubicBezTo>
                      <a:pt x="58" y="204"/>
                      <a:pt x="58" y="204"/>
                      <a:pt x="58" y="204"/>
                    </a:cubicBezTo>
                    <a:cubicBezTo>
                      <a:pt x="55" y="204"/>
                      <a:pt x="52" y="202"/>
                      <a:pt x="52" y="198"/>
                    </a:cubicBezTo>
                    <a:cubicBezTo>
                      <a:pt x="52" y="195"/>
                      <a:pt x="55" y="192"/>
                      <a:pt x="58" y="192"/>
                    </a:cubicBezTo>
                    <a:cubicBezTo>
                      <a:pt x="64" y="192"/>
                      <a:pt x="64" y="192"/>
                      <a:pt x="64" y="192"/>
                    </a:cubicBezTo>
                    <a:cubicBezTo>
                      <a:pt x="96" y="192"/>
                      <a:pt x="96" y="192"/>
                      <a:pt x="96" y="192"/>
                    </a:cubicBezTo>
                    <a:lnTo>
                      <a:pt x="102" y="192"/>
                    </a:lnTo>
                    <a:close/>
                    <a:moveTo>
                      <a:pt x="135" y="112"/>
                    </a:moveTo>
                    <a:cubicBezTo>
                      <a:pt x="135" y="113"/>
                      <a:pt x="135" y="114"/>
                      <a:pt x="134" y="114"/>
                    </a:cubicBezTo>
                    <a:cubicBezTo>
                      <a:pt x="104" y="170"/>
                      <a:pt x="104" y="170"/>
                      <a:pt x="104" y="170"/>
                    </a:cubicBezTo>
                    <a:cubicBezTo>
                      <a:pt x="104" y="170"/>
                      <a:pt x="103" y="171"/>
                      <a:pt x="103" y="172"/>
                    </a:cubicBezTo>
                    <a:cubicBezTo>
                      <a:pt x="102" y="174"/>
                      <a:pt x="100" y="176"/>
                      <a:pt x="96" y="176"/>
                    </a:cubicBezTo>
                    <a:cubicBezTo>
                      <a:pt x="100" y="129"/>
                      <a:pt x="100" y="129"/>
                      <a:pt x="100" y="129"/>
                    </a:cubicBezTo>
                    <a:cubicBezTo>
                      <a:pt x="100" y="126"/>
                      <a:pt x="98" y="124"/>
                      <a:pt x="96" y="124"/>
                    </a:cubicBezTo>
                    <a:cubicBezTo>
                      <a:pt x="94" y="124"/>
                      <a:pt x="92" y="126"/>
                      <a:pt x="92" y="128"/>
                    </a:cubicBezTo>
                    <a:cubicBezTo>
                      <a:pt x="88" y="176"/>
                      <a:pt x="88" y="176"/>
                      <a:pt x="88" y="176"/>
                    </a:cubicBezTo>
                    <a:cubicBezTo>
                      <a:pt x="72" y="176"/>
                      <a:pt x="72" y="176"/>
                      <a:pt x="72" y="176"/>
                    </a:cubicBezTo>
                    <a:cubicBezTo>
                      <a:pt x="68" y="128"/>
                      <a:pt x="68" y="128"/>
                      <a:pt x="68" y="128"/>
                    </a:cubicBezTo>
                    <a:cubicBezTo>
                      <a:pt x="68" y="126"/>
                      <a:pt x="66" y="124"/>
                      <a:pt x="64" y="124"/>
                    </a:cubicBezTo>
                    <a:cubicBezTo>
                      <a:pt x="61" y="124"/>
                      <a:pt x="60" y="126"/>
                      <a:pt x="60" y="129"/>
                    </a:cubicBezTo>
                    <a:cubicBezTo>
                      <a:pt x="64" y="176"/>
                      <a:pt x="64" y="176"/>
                      <a:pt x="64" y="176"/>
                    </a:cubicBezTo>
                    <a:cubicBezTo>
                      <a:pt x="60" y="176"/>
                      <a:pt x="58" y="174"/>
                      <a:pt x="57" y="172"/>
                    </a:cubicBezTo>
                    <a:cubicBezTo>
                      <a:pt x="56" y="171"/>
                      <a:pt x="56" y="171"/>
                      <a:pt x="56" y="170"/>
                    </a:cubicBezTo>
                    <a:cubicBezTo>
                      <a:pt x="26" y="114"/>
                      <a:pt x="26" y="114"/>
                      <a:pt x="26" y="114"/>
                    </a:cubicBezTo>
                    <a:cubicBezTo>
                      <a:pt x="25" y="114"/>
                      <a:pt x="25" y="113"/>
                      <a:pt x="25" y="112"/>
                    </a:cubicBezTo>
                    <a:cubicBezTo>
                      <a:pt x="19" y="103"/>
                      <a:pt x="16" y="91"/>
                      <a:pt x="16" y="80"/>
                    </a:cubicBezTo>
                    <a:cubicBezTo>
                      <a:pt x="16" y="45"/>
                      <a:pt x="45" y="16"/>
                      <a:pt x="80" y="16"/>
                    </a:cubicBezTo>
                    <a:cubicBezTo>
                      <a:pt x="115" y="16"/>
                      <a:pt x="144" y="45"/>
                      <a:pt x="144" y="80"/>
                    </a:cubicBezTo>
                    <a:cubicBezTo>
                      <a:pt x="144" y="91"/>
                      <a:pt x="141" y="103"/>
                      <a:pt x="135" y="1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40" b="1">
                  <a:latin typeface="+mn-lt"/>
                </a:endParaRPr>
              </a:p>
            </p:txBody>
          </p:sp>
          <p:sp>
            <p:nvSpPr>
              <p:cNvPr id="26" name="Freeform 22">
                <a:extLst>
                  <a:ext uri="{FF2B5EF4-FFF2-40B4-BE49-F238E27FC236}">
                    <a16:creationId xmlns:a16="http://schemas.microsoft.com/office/drawing/2014/main" id="{57130F77-119C-4CB4-4A8A-10B8879E9B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08763" y="642938"/>
                <a:ext cx="120650" cy="103188"/>
              </a:xfrm>
              <a:custGeom>
                <a:avLst/>
                <a:gdLst>
                  <a:gd name="T0" fmla="*/ 35 w 41"/>
                  <a:gd name="T1" fmla="*/ 1 h 35"/>
                  <a:gd name="T2" fmla="*/ 1 w 41"/>
                  <a:gd name="T3" fmla="*/ 29 h 35"/>
                  <a:gd name="T4" fmla="*/ 3 w 41"/>
                  <a:gd name="T5" fmla="*/ 35 h 35"/>
                  <a:gd name="T6" fmla="*/ 4 w 41"/>
                  <a:gd name="T7" fmla="*/ 35 h 35"/>
                  <a:gd name="T8" fmla="*/ 8 w 41"/>
                  <a:gd name="T9" fmla="*/ 33 h 35"/>
                  <a:gd name="T10" fmla="*/ 37 w 41"/>
                  <a:gd name="T11" fmla="*/ 9 h 35"/>
                  <a:gd name="T12" fmla="*/ 40 w 41"/>
                  <a:gd name="T13" fmla="*/ 4 h 35"/>
                  <a:gd name="T14" fmla="*/ 35 w 41"/>
                  <a:gd name="T15" fmla="*/ 1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1" h="35">
                    <a:moveTo>
                      <a:pt x="35" y="1"/>
                    </a:moveTo>
                    <a:cubicBezTo>
                      <a:pt x="20" y="5"/>
                      <a:pt x="7" y="15"/>
                      <a:pt x="1" y="29"/>
                    </a:cubicBezTo>
                    <a:cubicBezTo>
                      <a:pt x="0" y="31"/>
                      <a:pt x="1" y="34"/>
                      <a:pt x="3" y="35"/>
                    </a:cubicBezTo>
                    <a:cubicBezTo>
                      <a:pt x="3" y="35"/>
                      <a:pt x="4" y="35"/>
                      <a:pt x="4" y="35"/>
                    </a:cubicBezTo>
                    <a:cubicBezTo>
                      <a:pt x="6" y="35"/>
                      <a:pt x="7" y="34"/>
                      <a:pt x="8" y="33"/>
                    </a:cubicBezTo>
                    <a:cubicBezTo>
                      <a:pt x="14" y="21"/>
                      <a:pt x="24" y="12"/>
                      <a:pt x="37" y="9"/>
                    </a:cubicBezTo>
                    <a:cubicBezTo>
                      <a:pt x="39" y="8"/>
                      <a:pt x="41" y="6"/>
                      <a:pt x="40" y="4"/>
                    </a:cubicBezTo>
                    <a:cubicBezTo>
                      <a:pt x="40" y="2"/>
                      <a:pt x="37" y="0"/>
                      <a:pt x="35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40" b="1">
                  <a:latin typeface="+mn-lt"/>
                </a:endParaRPr>
              </a:p>
            </p:txBody>
          </p:sp>
        </p:grp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5C8DD320-B5D5-5A52-89BA-773D5F03D4BE}"/>
              </a:ext>
            </a:extLst>
          </p:cNvPr>
          <p:cNvGrpSpPr/>
          <p:nvPr/>
        </p:nvGrpSpPr>
        <p:grpSpPr>
          <a:xfrm>
            <a:off x="1881450" y="4514947"/>
            <a:ext cx="1002680" cy="1002634"/>
            <a:chOff x="3618856" y="3815779"/>
            <a:chExt cx="1068005" cy="1067956"/>
          </a:xfrm>
        </p:grpSpPr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01034CF1-2DCA-7ADD-326F-0A4A3C361C92}"/>
                </a:ext>
              </a:extLst>
            </p:cNvPr>
            <p:cNvSpPr/>
            <p:nvPr/>
          </p:nvSpPr>
          <p:spPr>
            <a:xfrm rot="5400000">
              <a:off x="3618881" y="3815754"/>
              <a:ext cx="1067956" cy="1068005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764" b="1" dirty="0">
                <a:solidFill>
                  <a:srgbClr val="FFFFFF"/>
                </a:solidFill>
              </a:endParaRPr>
            </a:p>
          </p:txBody>
        </p:sp>
        <p:sp>
          <p:nvSpPr>
            <p:cNvPr id="29" name="Freeform 23">
              <a:extLst>
                <a:ext uri="{FF2B5EF4-FFF2-40B4-BE49-F238E27FC236}">
                  <a16:creationId xmlns:a16="http://schemas.microsoft.com/office/drawing/2014/main" id="{A79F1AA7-3233-4819-96FD-4EE11ABE21A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72703" y="4101652"/>
              <a:ext cx="560312" cy="496208"/>
            </a:xfrm>
            <a:custGeom>
              <a:avLst/>
              <a:gdLst>
                <a:gd name="T0" fmla="*/ 232 w 256"/>
                <a:gd name="T1" fmla="*/ 84 h 227"/>
                <a:gd name="T2" fmla="*/ 172 w 256"/>
                <a:gd name="T3" fmla="*/ 44 h 227"/>
                <a:gd name="T4" fmla="*/ 120 w 256"/>
                <a:gd name="T5" fmla="*/ 48 h 227"/>
                <a:gd name="T6" fmla="*/ 64 w 256"/>
                <a:gd name="T7" fmla="*/ 107 h 227"/>
                <a:gd name="T8" fmla="*/ 0 w 256"/>
                <a:gd name="T9" fmla="*/ 131 h 227"/>
                <a:gd name="T10" fmla="*/ 32 w 256"/>
                <a:gd name="T11" fmla="*/ 227 h 227"/>
                <a:gd name="T12" fmla="*/ 87 w 256"/>
                <a:gd name="T13" fmla="*/ 212 h 227"/>
                <a:gd name="T14" fmla="*/ 103 w 256"/>
                <a:gd name="T15" fmla="*/ 219 h 227"/>
                <a:gd name="T16" fmla="*/ 232 w 256"/>
                <a:gd name="T17" fmla="*/ 197 h 227"/>
                <a:gd name="T18" fmla="*/ 240 w 256"/>
                <a:gd name="T19" fmla="*/ 169 h 227"/>
                <a:gd name="T20" fmla="*/ 248 w 256"/>
                <a:gd name="T21" fmla="*/ 140 h 227"/>
                <a:gd name="T22" fmla="*/ 256 w 256"/>
                <a:gd name="T23" fmla="*/ 108 h 227"/>
                <a:gd name="T24" fmla="*/ 32 w 256"/>
                <a:gd name="T25" fmla="*/ 211 h 227"/>
                <a:gd name="T26" fmla="*/ 16 w 256"/>
                <a:gd name="T27" fmla="*/ 131 h 227"/>
                <a:gd name="T28" fmla="*/ 64 w 256"/>
                <a:gd name="T29" fmla="*/ 123 h 227"/>
                <a:gd name="T30" fmla="*/ 72 w 256"/>
                <a:gd name="T31" fmla="*/ 198 h 227"/>
                <a:gd name="T32" fmla="*/ 72 w 256"/>
                <a:gd name="T33" fmla="*/ 203 h 227"/>
                <a:gd name="T34" fmla="*/ 210 w 256"/>
                <a:gd name="T35" fmla="*/ 203 h 227"/>
                <a:gd name="T36" fmla="*/ 88 w 256"/>
                <a:gd name="T37" fmla="*/ 194 h 227"/>
                <a:gd name="T38" fmla="*/ 86 w 256"/>
                <a:gd name="T39" fmla="*/ 121 h 227"/>
                <a:gd name="T40" fmla="*/ 140 w 256"/>
                <a:gd name="T41" fmla="*/ 16 h 227"/>
                <a:gd name="T42" fmla="*/ 152 w 256"/>
                <a:gd name="T43" fmla="*/ 90 h 227"/>
                <a:gd name="T44" fmla="*/ 160 w 256"/>
                <a:gd name="T45" fmla="*/ 100 h 227"/>
                <a:gd name="T46" fmla="*/ 240 w 256"/>
                <a:gd name="T47" fmla="*/ 108 h 227"/>
                <a:gd name="T48" fmla="*/ 223 w 256"/>
                <a:gd name="T49" fmla="*/ 116 h 227"/>
                <a:gd name="T50" fmla="*/ 223 w 256"/>
                <a:gd name="T51" fmla="*/ 132 h 227"/>
                <a:gd name="T52" fmla="*/ 224 w 256"/>
                <a:gd name="T53" fmla="*/ 132 h 227"/>
                <a:gd name="T54" fmla="*/ 224 w 256"/>
                <a:gd name="T55" fmla="*/ 148 h 227"/>
                <a:gd name="T56" fmla="*/ 218 w 256"/>
                <a:gd name="T57" fmla="*/ 147 h 227"/>
                <a:gd name="T58" fmla="*/ 215 w 256"/>
                <a:gd name="T59" fmla="*/ 148 h 227"/>
                <a:gd name="T60" fmla="*/ 215 w 256"/>
                <a:gd name="T61" fmla="*/ 164 h 227"/>
                <a:gd name="T62" fmla="*/ 224 w 256"/>
                <a:gd name="T63" fmla="*/ 169 h 227"/>
                <a:gd name="T64" fmla="*/ 210 w 256"/>
                <a:gd name="T65" fmla="*/ 175 h 227"/>
                <a:gd name="T66" fmla="*/ 210 w 256"/>
                <a:gd name="T67" fmla="*/ 175 h 227"/>
                <a:gd name="T68" fmla="*/ 210 w 256"/>
                <a:gd name="T69" fmla="*/ 191 h 227"/>
                <a:gd name="T70" fmla="*/ 210 w 256"/>
                <a:gd name="T71" fmla="*/ 203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56" h="227">
                  <a:moveTo>
                    <a:pt x="256" y="108"/>
                  </a:moveTo>
                  <a:cubicBezTo>
                    <a:pt x="256" y="94"/>
                    <a:pt x="245" y="84"/>
                    <a:pt x="232" y="84"/>
                  </a:cubicBezTo>
                  <a:cubicBezTo>
                    <a:pt x="169" y="84"/>
                    <a:pt x="169" y="84"/>
                    <a:pt x="169" y="84"/>
                  </a:cubicBezTo>
                  <a:cubicBezTo>
                    <a:pt x="171" y="74"/>
                    <a:pt x="172" y="59"/>
                    <a:pt x="172" y="44"/>
                  </a:cubicBezTo>
                  <a:cubicBezTo>
                    <a:pt x="172" y="13"/>
                    <a:pt x="156" y="0"/>
                    <a:pt x="140" y="0"/>
                  </a:cubicBezTo>
                  <a:cubicBezTo>
                    <a:pt x="120" y="0"/>
                    <a:pt x="120" y="21"/>
                    <a:pt x="120" y="48"/>
                  </a:cubicBezTo>
                  <a:cubicBezTo>
                    <a:pt x="120" y="67"/>
                    <a:pt x="90" y="97"/>
                    <a:pt x="75" y="110"/>
                  </a:cubicBezTo>
                  <a:cubicBezTo>
                    <a:pt x="71" y="108"/>
                    <a:pt x="68" y="107"/>
                    <a:pt x="64" y="107"/>
                  </a:cubicBezTo>
                  <a:cubicBezTo>
                    <a:pt x="24" y="107"/>
                    <a:pt x="24" y="107"/>
                    <a:pt x="24" y="107"/>
                  </a:cubicBezTo>
                  <a:cubicBezTo>
                    <a:pt x="11" y="107"/>
                    <a:pt x="0" y="118"/>
                    <a:pt x="0" y="131"/>
                  </a:cubicBezTo>
                  <a:cubicBezTo>
                    <a:pt x="8" y="203"/>
                    <a:pt x="8" y="203"/>
                    <a:pt x="8" y="203"/>
                  </a:cubicBezTo>
                  <a:cubicBezTo>
                    <a:pt x="10" y="216"/>
                    <a:pt x="19" y="227"/>
                    <a:pt x="32" y="227"/>
                  </a:cubicBezTo>
                  <a:cubicBezTo>
                    <a:pt x="64" y="227"/>
                    <a:pt x="64" y="227"/>
                    <a:pt x="64" y="227"/>
                  </a:cubicBezTo>
                  <a:cubicBezTo>
                    <a:pt x="74" y="227"/>
                    <a:pt x="83" y="221"/>
                    <a:pt x="87" y="212"/>
                  </a:cubicBezTo>
                  <a:cubicBezTo>
                    <a:pt x="100" y="219"/>
                    <a:pt x="100" y="219"/>
                    <a:pt x="100" y="219"/>
                  </a:cubicBezTo>
                  <a:cubicBezTo>
                    <a:pt x="101" y="219"/>
                    <a:pt x="102" y="219"/>
                    <a:pt x="103" y="219"/>
                  </a:cubicBezTo>
                  <a:cubicBezTo>
                    <a:pt x="210" y="219"/>
                    <a:pt x="210" y="219"/>
                    <a:pt x="210" y="219"/>
                  </a:cubicBezTo>
                  <a:cubicBezTo>
                    <a:pt x="222" y="219"/>
                    <a:pt x="232" y="210"/>
                    <a:pt x="232" y="197"/>
                  </a:cubicBezTo>
                  <a:cubicBezTo>
                    <a:pt x="232" y="194"/>
                    <a:pt x="231" y="191"/>
                    <a:pt x="230" y="188"/>
                  </a:cubicBezTo>
                  <a:cubicBezTo>
                    <a:pt x="236" y="184"/>
                    <a:pt x="240" y="177"/>
                    <a:pt x="240" y="169"/>
                  </a:cubicBezTo>
                  <a:cubicBezTo>
                    <a:pt x="240" y="166"/>
                    <a:pt x="239" y="162"/>
                    <a:pt x="238" y="159"/>
                  </a:cubicBezTo>
                  <a:cubicBezTo>
                    <a:pt x="244" y="155"/>
                    <a:pt x="248" y="148"/>
                    <a:pt x="248" y="140"/>
                  </a:cubicBezTo>
                  <a:cubicBezTo>
                    <a:pt x="248" y="135"/>
                    <a:pt x="247" y="131"/>
                    <a:pt x="245" y="128"/>
                  </a:cubicBezTo>
                  <a:cubicBezTo>
                    <a:pt x="252" y="123"/>
                    <a:pt x="256" y="116"/>
                    <a:pt x="256" y="108"/>
                  </a:cubicBezTo>
                  <a:close/>
                  <a:moveTo>
                    <a:pt x="64" y="211"/>
                  </a:moveTo>
                  <a:cubicBezTo>
                    <a:pt x="32" y="211"/>
                    <a:pt x="32" y="211"/>
                    <a:pt x="32" y="211"/>
                  </a:cubicBezTo>
                  <a:cubicBezTo>
                    <a:pt x="28" y="211"/>
                    <a:pt x="25" y="206"/>
                    <a:pt x="24" y="202"/>
                  </a:cubicBezTo>
                  <a:cubicBezTo>
                    <a:pt x="16" y="131"/>
                    <a:pt x="16" y="131"/>
                    <a:pt x="16" y="131"/>
                  </a:cubicBezTo>
                  <a:cubicBezTo>
                    <a:pt x="17" y="127"/>
                    <a:pt x="20" y="123"/>
                    <a:pt x="24" y="123"/>
                  </a:cubicBezTo>
                  <a:cubicBezTo>
                    <a:pt x="64" y="123"/>
                    <a:pt x="64" y="123"/>
                    <a:pt x="64" y="123"/>
                  </a:cubicBezTo>
                  <a:cubicBezTo>
                    <a:pt x="69" y="123"/>
                    <a:pt x="72" y="127"/>
                    <a:pt x="72" y="131"/>
                  </a:cubicBezTo>
                  <a:cubicBezTo>
                    <a:pt x="72" y="198"/>
                    <a:pt x="72" y="198"/>
                    <a:pt x="72" y="198"/>
                  </a:cubicBezTo>
                  <a:cubicBezTo>
                    <a:pt x="72" y="199"/>
                    <a:pt x="72" y="200"/>
                    <a:pt x="72" y="201"/>
                  </a:cubicBezTo>
                  <a:cubicBezTo>
                    <a:pt x="72" y="203"/>
                    <a:pt x="72" y="203"/>
                    <a:pt x="72" y="203"/>
                  </a:cubicBezTo>
                  <a:cubicBezTo>
                    <a:pt x="72" y="208"/>
                    <a:pt x="69" y="211"/>
                    <a:pt x="64" y="211"/>
                  </a:cubicBezTo>
                  <a:close/>
                  <a:moveTo>
                    <a:pt x="210" y="203"/>
                  </a:moveTo>
                  <a:cubicBezTo>
                    <a:pt x="105" y="203"/>
                    <a:pt x="105" y="203"/>
                    <a:pt x="105" y="203"/>
                  </a:cubicBezTo>
                  <a:cubicBezTo>
                    <a:pt x="88" y="194"/>
                    <a:pt x="88" y="194"/>
                    <a:pt x="88" y="194"/>
                  </a:cubicBezTo>
                  <a:cubicBezTo>
                    <a:pt x="88" y="131"/>
                    <a:pt x="88" y="131"/>
                    <a:pt x="88" y="131"/>
                  </a:cubicBezTo>
                  <a:cubicBezTo>
                    <a:pt x="88" y="128"/>
                    <a:pt x="87" y="124"/>
                    <a:pt x="86" y="121"/>
                  </a:cubicBezTo>
                  <a:cubicBezTo>
                    <a:pt x="100" y="109"/>
                    <a:pt x="136" y="75"/>
                    <a:pt x="136" y="48"/>
                  </a:cubicBezTo>
                  <a:cubicBezTo>
                    <a:pt x="136" y="31"/>
                    <a:pt x="136" y="16"/>
                    <a:pt x="140" y="16"/>
                  </a:cubicBezTo>
                  <a:cubicBezTo>
                    <a:pt x="148" y="16"/>
                    <a:pt x="156" y="25"/>
                    <a:pt x="156" y="44"/>
                  </a:cubicBezTo>
                  <a:cubicBezTo>
                    <a:pt x="156" y="67"/>
                    <a:pt x="152" y="90"/>
                    <a:pt x="152" y="90"/>
                  </a:cubicBezTo>
                  <a:cubicBezTo>
                    <a:pt x="152" y="93"/>
                    <a:pt x="153" y="95"/>
                    <a:pt x="154" y="97"/>
                  </a:cubicBezTo>
                  <a:cubicBezTo>
                    <a:pt x="156" y="98"/>
                    <a:pt x="158" y="100"/>
                    <a:pt x="160" y="100"/>
                  </a:cubicBezTo>
                  <a:cubicBezTo>
                    <a:pt x="232" y="100"/>
                    <a:pt x="232" y="100"/>
                    <a:pt x="232" y="100"/>
                  </a:cubicBezTo>
                  <a:cubicBezTo>
                    <a:pt x="237" y="100"/>
                    <a:pt x="240" y="103"/>
                    <a:pt x="240" y="108"/>
                  </a:cubicBezTo>
                  <a:cubicBezTo>
                    <a:pt x="240" y="112"/>
                    <a:pt x="237" y="116"/>
                    <a:pt x="232" y="116"/>
                  </a:cubicBezTo>
                  <a:cubicBezTo>
                    <a:pt x="223" y="116"/>
                    <a:pt x="223" y="116"/>
                    <a:pt x="223" y="116"/>
                  </a:cubicBezTo>
                  <a:cubicBezTo>
                    <a:pt x="219" y="116"/>
                    <a:pt x="215" y="119"/>
                    <a:pt x="215" y="124"/>
                  </a:cubicBezTo>
                  <a:cubicBezTo>
                    <a:pt x="215" y="128"/>
                    <a:pt x="219" y="132"/>
                    <a:pt x="223" y="132"/>
                  </a:cubicBezTo>
                  <a:cubicBezTo>
                    <a:pt x="224" y="132"/>
                    <a:pt x="224" y="132"/>
                    <a:pt x="224" y="132"/>
                  </a:cubicBezTo>
                  <a:cubicBezTo>
                    <a:pt x="224" y="132"/>
                    <a:pt x="224" y="132"/>
                    <a:pt x="224" y="132"/>
                  </a:cubicBezTo>
                  <a:cubicBezTo>
                    <a:pt x="229" y="132"/>
                    <a:pt x="232" y="135"/>
                    <a:pt x="232" y="140"/>
                  </a:cubicBezTo>
                  <a:cubicBezTo>
                    <a:pt x="232" y="144"/>
                    <a:pt x="229" y="148"/>
                    <a:pt x="224" y="148"/>
                  </a:cubicBezTo>
                  <a:cubicBezTo>
                    <a:pt x="219" y="148"/>
                    <a:pt x="219" y="148"/>
                    <a:pt x="219" y="148"/>
                  </a:cubicBezTo>
                  <a:cubicBezTo>
                    <a:pt x="219" y="148"/>
                    <a:pt x="218" y="147"/>
                    <a:pt x="218" y="147"/>
                  </a:cubicBezTo>
                  <a:cubicBezTo>
                    <a:pt x="218" y="147"/>
                    <a:pt x="218" y="148"/>
                    <a:pt x="218" y="148"/>
                  </a:cubicBezTo>
                  <a:cubicBezTo>
                    <a:pt x="215" y="148"/>
                    <a:pt x="215" y="148"/>
                    <a:pt x="215" y="148"/>
                  </a:cubicBezTo>
                  <a:cubicBezTo>
                    <a:pt x="211" y="148"/>
                    <a:pt x="207" y="151"/>
                    <a:pt x="207" y="156"/>
                  </a:cubicBezTo>
                  <a:cubicBezTo>
                    <a:pt x="207" y="160"/>
                    <a:pt x="211" y="164"/>
                    <a:pt x="215" y="164"/>
                  </a:cubicBezTo>
                  <a:cubicBezTo>
                    <a:pt x="218" y="164"/>
                    <a:pt x="218" y="164"/>
                    <a:pt x="218" y="164"/>
                  </a:cubicBezTo>
                  <a:cubicBezTo>
                    <a:pt x="222" y="164"/>
                    <a:pt x="224" y="166"/>
                    <a:pt x="224" y="169"/>
                  </a:cubicBezTo>
                  <a:cubicBezTo>
                    <a:pt x="224" y="173"/>
                    <a:pt x="221" y="175"/>
                    <a:pt x="218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06" y="175"/>
                    <a:pt x="202" y="179"/>
                    <a:pt x="202" y="183"/>
                  </a:cubicBezTo>
                  <a:cubicBezTo>
                    <a:pt x="202" y="188"/>
                    <a:pt x="206" y="191"/>
                    <a:pt x="210" y="191"/>
                  </a:cubicBezTo>
                  <a:cubicBezTo>
                    <a:pt x="213" y="191"/>
                    <a:pt x="216" y="194"/>
                    <a:pt x="216" y="197"/>
                  </a:cubicBezTo>
                  <a:cubicBezTo>
                    <a:pt x="216" y="201"/>
                    <a:pt x="213" y="203"/>
                    <a:pt x="210" y="20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840" b="1">
                <a:latin typeface="+mn-lt"/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412C0555-FD9A-0A47-FBA8-596EEB260578}"/>
              </a:ext>
            </a:extLst>
          </p:cNvPr>
          <p:cNvGrpSpPr/>
          <p:nvPr/>
        </p:nvGrpSpPr>
        <p:grpSpPr>
          <a:xfrm>
            <a:off x="886470" y="3721477"/>
            <a:ext cx="1002680" cy="1002634"/>
            <a:chOff x="3618856" y="2203534"/>
            <a:chExt cx="1068005" cy="1067956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D7208959-53E8-1631-8E90-AD959474356B}"/>
                </a:ext>
              </a:extLst>
            </p:cNvPr>
            <p:cNvSpPr/>
            <p:nvPr/>
          </p:nvSpPr>
          <p:spPr>
            <a:xfrm rot="5400000">
              <a:off x="3618881" y="2203509"/>
              <a:ext cx="1067956" cy="1068005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764" b="1" dirty="0">
                <a:solidFill>
                  <a:srgbClr val="FFFFFF"/>
                </a:solidFill>
              </a:endParaRPr>
            </a:p>
          </p:txBody>
        </p: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1CC64604-EB6A-610A-7BAA-1A09C825B790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936317" y="2531394"/>
              <a:ext cx="433084" cy="412235"/>
              <a:chOff x="6719888" y="887413"/>
              <a:chExt cx="492125" cy="468312"/>
            </a:xfrm>
            <a:solidFill>
              <a:schemeClr val="bg1"/>
            </a:solidFill>
          </p:grpSpPr>
          <p:sp>
            <p:nvSpPr>
              <p:cNvPr id="33" name="Freeform 26">
                <a:extLst>
                  <a:ext uri="{FF2B5EF4-FFF2-40B4-BE49-F238E27FC236}">
                    <a16:creationId xmlns:a16="http://schemas.microsoft.com/office/drawing/2014/main" id="{0201E549-F6FB-335B-34F2-63D35E890A2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19888" y="887413"/>
                <a:ext cx="492125" cy="468312"/>
              </a:xfrm>
              <a:custGeom>
                <a:avLst/>
                <a:gdLst>
                  <a:gd name="T0" fmla="*/ 117 w 128"/>
                  <a:gd name="T1" fmla="*/ 0 h 122"/>
                  <a:gd name="T2" fmla="*/ 11 w 128"/>
                  <a:gd name="T3" fmla="*/ 0 h 122"/>
                  <a:gd name="T4" fmla="*/ 0 w 128"/>
                  <a:gd name="T5" fmla="*/ 11 h 122"/>
                  <a:gd name="T6" fmla="*/ 0 w 128"/>
                  <a:gd name="T7" fmla="*/ 93 h 122"/>
                  <a:gd name="T8" fmla="*/ 11 w 128"/>
                  <a:gd name="T9" fmla="*/ 104 h 122"/>
                  <a:gd name="T10" fmla="*/ 43 w 128"/>
                  <a:gd name="T11" fmla="*/ 104 h 122"/>
                  <a:gd name="T12" fmla="*/ 38 w 128"/>
                  <a:gd name="T13" fmla="*/ 110 h 122"/>
                  <a:gd name="T14" fmla="*/ 35 w 128"/>
                  <a:gd name="T15" fmla="*/ 113 h 122"/>
                  <a:gd name="T16" fmla="*/ 34 w 128"/>
                  <a:gd name="T17" fmla="*/ 118 h 122"/>
                  <a:gd name="T18" fmla="*/ 42 w 128"/>
                  <a:gd name="T19" fmla="*/ 122 h 122"/>
                  <a:gd name="T20" fmla="*/ 86 w 128"/>
                  <a:gd name="T21" fmla="*/ 122 h 122"/>
                  <a:gd name="T22" fmla="*/ 94 w 128"/>
                  <a:gd name="T23" fmla="*/ 118 h 122"/>
                  <a:gd name="T24" fmla="*/ 94 w 128"/>
                  <a:gd name="T25" fmla="*/ 113 h 122"/>
                  <a:gd name="T26" fmla="*/ 91 w 128"/>
                  <a:gd name="T27" fmla="*/ 110 h 122"/>
                  <a:gd name="T28" fmla="*/ 85 w 128"/>
                  <a:gd name="T29" fmla="*/ 104 h 122"/>
                  <a:gd name="T30" fmla="*/ 117 w 128"/>
                  <a:gd name="T31" fmla="*/ 104 h 122"/>
                  <a:gd name="T32" fmla="*/ 128 w 128"/>
                  <a:gd name="T33" fmla="*/ 93 h 122"/>
                  <a:gd name="T34" fmla="*/ 128 w 128"/>
                  <a:gd name="T35" fmla="*/ 11 h 122"/>
                  <a:gd name="T36" fmla="*/ 117 w 128"/>
                  <a:gd name="T37" fmla="*/ 0 h 122"/>
                  <a:gd name="T38" fmla="*/ 88 w 128"/>
                  <a:gd name="T39" fmla="*/ 113 h 122"/>
                  <a:gd name="T40" fmla="*/ 90 w 128"/>
                  <a:gd name="T41" fmla="*/ 116 h 122"/>
                  <a:gd name="T42" fmla="*/ 90 w 128"/>
                  <a:gd name="T43" fmla="*/ 116 h 122"/>
                  <a:gd name="T44" fmla="*/ 86 w 128"/>
                  <a:gd name="T45" fmla="*/ 118 h 122"/>
                  <a:gd name="T46" fmla="*/ 42 w 128"/>
                  <a:gd name="T47" fmla="*/ 118 h 122"/>
                  <a:gd name="T48" fmla="*/ 38 w 128"/>
                  <a:gd name="T49" fmla="*/ 116 h 122"/>
                  <a:gd name="T50" fmla="*/ 38 w 128"/>
                  <a:gd name="T51" fmla="*/ 116 h 122"/>
                  <a:gd name="T52" fmla="*/ 38 w 128"/>
                  <a:gd name="T53" fmla="*/ 116 h 122"/>
                  <a:gd name="T54" fmla="*/ 40 w 128"/>
                  <a:gd name="T55" fmla="*/ 113 h 122"/>
                  <a:gd name="T56" fmla="*/ 48 w 128"/>
                  <a:gd name="T57" fmla="*/ 104 h 122"/>
                  <a:gd name="T58" fmla="*/ 80 w 128"/>
                  <a:gd name="T59" fmla="*/ 104 h 122"/>
                  <a:gd name="T60" fmla="*/ 88 w 128"/>
                  <a:gd name="T61" fmla="*/ 113 h 122"/>
                  <a:gd name="T62" fmla="*/ 120 w 128"/>
                  <a:gd name="T63" fmla="*/ 93 h 122"/>
                  <a:gd name="T64" fmla="*/ 117 w 128"/>
                  <a:gd name="T65" fmla="*/ 96 h 122"/>
                  <a:gd name="T66" fmla="*/ 11 w 128"/>
                  <a:gd name="T67" fmla="*/ 96 h 122"/>
                  <a:gd name="T68" fmla="*/ 8 w 128"/>
                  <a:gd name="T69" fmla="*/ 93 h 122"/>
                  <a:gd name="T70" fmla="*/ 8 w 128"/>
                  <a:gd name="T71" fmla="*/ 11 h 122"/>
                  <a:gd name="T72" fmla="*/ 11 w 128"/>
                  <a:gd name="T73" fmla="*/ 8 h 122"/>
                  <a:gd name="T74" fmla="*/ 117 w 128"/>
                  <a:gd name="T75" fmla="*/ 8 h 122"/>
                  <a:gd name="T76" fmla="*/ 120 w 128"/>
                  <a:gd name="T77" fmla="*/ 11 h 122"/>
                  <a:gd name="T78" fmla="*/ 120 w 128"/>
                  <a:gd name="T79" fmla="*/ 93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28" h="122">
                    <a:moveTo>
                      <a:pt x="117" y="0"/>
                    </a:move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5"/>
                      <a:pt x="0" y="11"/>
                    </a:cubicBezTo>
                    <a:cubicBezTo>
                      <a:pt x="0" y="93"/>
                      <a:pt x="0" y="93"/>
                      <a:pt x="0" y="93"/>
                    </a:cubicBezTo>
                    <a:cubicBezTo>
                      <a:pt x="0" y="99"/>
                      <a:pt x="5" y="104"/>
                      <a:pt x="11" y="104"/>
                    </a:cubicBezTo>
                    <a:cubicBezTo>
                      <a:pt x="43" y="104"/>
                      <a:pt x="43" y="104"/>
                      <a:pt x="43" y="104"/>
                    </a:cubicBezTo>
                    <a:cubicBezTo>
                      <a:pt x="42" y="106"/>
                      <a:pt x="39" y="109"/>
                      <a:pt x="38" y="110"/>
                    </a:cubicBezTo>
                    <a:cubicBezTo>
                      <a:pt x="36" y="111"/>
                      <a:pt x="35" y="112"/>
                      <a:pt x="35" y="113"/>
                    </a:cubicBezTo>
                    <a:cubicBezTo>
                      <a:pt x="34" y="114"/>
                      <a:pt x="33" y="116"/>
                      <a:pt x="34" y="118"/>
                    </a:cubicBezTo>
                    <a:cubicBezTo>
                      <a:pt x="35" y="120"/>
                      <a:pt x="37" y="122"/>
                      <a:pt x="42" y="122"/>
                    </a:cubicBezTo>
                    <a:cubicBezTo>
                      <a:pt x="86" y="122"/>
                      <a:pt x="86" y="122"/>
                      <a:pt x="86" y="122"/>
                    </a:cubicBezTo>
                    <a:cubicBezTo>
                      <a:pt x="91" y="122"/>
                      <a:pt x="93" y="120"/>
                      <a:pt x="94" y="118"/>
                    </a:cubicBezTo>
                    <a:cubicBezTo>
                      <a:pt x="95" y="116"/>
                      <a:pt x="95" y="114"/>
                      <a:pt x="94" y="113"/>
                    </a:cubicBezTo>
                    <a:cubicBezTo>
                      <a:pt x="93" y="112"/>
                      <a:pt x="92" y="111"/>
                      <a:pt x="91" y="110"/>
                    </a:cubicBezTo>
                    <a:cubicBezTo>
                      <a:pt x="89" y="109"/>
                      <a:pt x="87" y="106"/>
                      <a:pt x="85" y="104"/>
                    </a:cubicBezTo>
                    <a:cubicBezTo>
                      <a:pt x="117" y="104"/>
                      <a:pt x="117" y="104"/>
                      <a:pt x="117" y="104"/>
                    </a:cubicBezTo>
                    <a:cubicBezTo>
                      <a:pt x="123" y="104"/>
                      <a:pt x="128" y="99"/>
                      <a:pt x="128" y="93"/>
                    </a:cubicBezTo>
                    <a:cubicBezTo>
                      <a:pt x="128" y="11"/>
                      <a:pt x="128" y="11"/>
                      <a:pt x="128" y="11"/>
                    </a:cubicBezTo>
                    <a:cubicBezTo>
                      <a:pt x="128" y="5"/>
                      <a:pt x="123" y="0"/>
                      <a:pt x="117" y="0"/>
                    </a:cubicBezTo>
                    <a:close/>
                    <a:moveTo>
                      <a:pt x="88" y="113"/>
                    </a:moveTo>
                    <a:cubicBezTo>
                      <a:pt x="89" y="114"/>
                      <a:pt x="90" y="115"/>
                      <a:pt x="90" y="116"/>
                    </a:cubicBezTo>
                    <a:cubicBezTo>
                      <a:pt x="90" y="116"/>
                      <a:pt x="91" y="116"/>
                      <a:pt x="90" y="116"/>
                    </a:cubicBezTo>
                    <a:cubicBezTo>
                      <a:pt x="90" y="117"/>
                      <a:pt x="88" y="118"/>
                      <a:pt x="86" y="118"/>
                    </a:cubicBezTo>
                    <a:cubicBezTo>
                      <a:pt x="42" y="118"/>
                      <a:pt x="42" y="118"/>
                      <a:pt x="42" y="118"/>
                    </a:cubicBezTo>
                    <a:cubicBezTo>
                      <a:pt x="40" y="118"/>
                      <a:pt x="38" y="117"/>
                      <a:pt x="38" y="116"/>
                    </a:cubicBezTo>
                    <a:cubicBezTo>
                      <a:pt x="38" y="116"/>
                      <a:pt x="38" y="116"/>
                      <a:pt x="38" y="116"/>
                    </a:cubicBezTo>
                    <a:cubicBezTo>
                      <a:pt x="38" y="116"/>
                      <a:pt x="38" y="116"/>
                      <a:pt x="38" y="116"/>
                    </a:cubicBezTo>
                    <a:cubicBezTo>
                      <a:pt x="38" y="115"/>
                      <a:pt x="39" y="114"/>
                      <a:pt x="40" y="113"/>
                    </a:cubicBezTo>
                    <a:cubicBezTo>
                      <a:pt x="44" y="109"/>
                      <a:pt x="47" y="106"/>
                      <a:pt x="48" y="104"/>
                    </a:cubicBezTo>
                    <a:cubicBezTo>
                      <a:pt x="80" y="104"/>
                      <a:pt x="80" y="104"/>
                      <a:pt x="80" y="104"/>
                    </a:cubicBezTo>
                    <a:cubicBezTo>
                      <a:pt x="82" y="106"/>
                      <a:pt x="84" y="109"/>
                      <a:pt x="88" y="113"/>
                    </a:cubicBezTo>
                    <a:close/>
                    <a:moveTo>
                      <a:pt x="120" y="93"/>
                    </a:moveTo>
                    <a:cubicBezTo>
                      <a:pt x="120" y="95"/>
                      <a:pt x="119" y="96"/>
                      <a:pt x="117" y="96"/>
                    </a:cubicBezTo>
                    <a:cubicBezTo>
                      <a:pt x="11" y="96"/>
                      <a:pt x="11" y="96"/>
                      <a:pt x="11" y="96"/>
                    </a:cubicBezTo>
                    <a:cubicBezTo>
                      <a:pt x="9" y="96"/>
                      <a:pt x="8" y="95"/>
                      <a:pt x="8" y="93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8" y="9"/>
                      <a:pt x="9" y="8"/>
                      <a:pt x="11" y="8"/>
                    </a:cubicBezTo>
                    <a:cubicBezTo>
                      <a:pt x="117" y="8"/>
                      <a:pt x="117" y="8"/>
                      <a:pt x="117" y="8"/>
                    </a:cubicBezTo>
                    <a:cubicBezTo>
                      <a:pt x="119" y="8"/>
                      <a:pt x="120" y="9"/>
                      <a:pt x="120" y="11"/>
                    </a:cubicBezTo>
                    <a:lnTo>
                      <a:pt x="120" y="9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34" name="Freeform 27">
                <a:extLst>
                  <a:ext uri="{FF2B5EF4-FFF2-40B4-BE49-F238E27FC236}">
                    <a16:creationId xmlns:a16="http://schemas.microsoft.com/office/drawing/2014/main" id="{D7806203-F5B7-FA7E-69C5-640430CFC73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81801" y="947738"/>
                <a:ext cx="368300" cy="247650"/>
              </a:xfrm>
              <a:custGeom>
                <a:avLst/>
                <a:gdLst>
                  <a:gd name="T0" fmla="*/ 89 w 96"/>
                  <a:gd name="T1" fmla="*/ 0 h 64"/>
                  <a:gd name="T2" fmla="*/ 7 w 96"/>
                  <a:gd name="T3" fmla="*/ 0 h 64"/>
                  <a:gd name="T4" fmla="*/ 0 w 96"/>
                  <a:gd name="T5" fmla="*/ 7 h 64"/>
                  <a:gd name="T6" fmla="*/ 0 w 96"/>
                  <a:gd name="T7" fmla="*/ 57 h 64"/>
                  <a:gd name="T8" fmla="*/ 7 w 96"/>
                  <a:gd name="T9" fmla="*/ 64 h 64"/>
                  <a:gd name="T10" fmla="*/ 89 w 96"/>
                  <a:gd name="T11" fmla="*/ 64 h 64"/>
                  <a:gd name="T12" fmla="*/ 96 w 96"/>
                  <a:gd name="T13" fmla="*/ 57 h 64"/>
                  <a:gd name="T14" fmla="*/ 96 w 96"/>
                  <a:gd name="T15" fmla="*/ 7 h 64"/>
                  <a:gd name="T16" fmla="*/ 89 w 96"/>
                  <a:gd name="T17" fmla="*/ 0 h 64"/>
                  <a:gd name="T18" fmla="*/ 92 w 96"/>
                  <a:gd name="T19" fmla="*/ 57 h 64"/>
                  <a:gd name="T20" fmla="*/ 89 w 96"/>
                  <a:gd name="T21" fmla="*/ 60 h 64"/>
                  <a:gd name="T22" fmla="*/ 7 w 96"/>
                  <a:gd name="T23" fmla="*/ 60 h 64"/>
                  <a:gd name="T24" fmla="*/ 4 w 96"/>
                  <a:gd name="T25" fmla="*/ 57 h 64"/>
                  <a:gd name="T26" fmla="*/ 4 w 96"/>
                  <a:gd name="T27" fmla="*/ 7 h 64"/>
                  <a:gd name="T28" fmla="*/ 7 w 96"/>
                  <a:gd name="T29" fmla="*/ 4 h 64"/>
                  <a:gd name="T30" fmla="*/ 89 w 96"/>
                  <a:gd name="T31" fmla="*/ 4 h 64"/>
                  <a:gd name="T32" fmla="*/ 92 w 96"/>
                  <a:gd name="T33" fmla="*/ 7 h 64"/>
                  <a:gd name="T34" fmla="*/ 92 w 96"/>
                  <a:gd name="T35" fmla="*/ 57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6" h="64">
                    <a:moveTo>
                      <a:pt x="89" y="0"/>
                    </a:moveTo>
                    <a:cubicBezTo>
                      <a:pt x="7" y="0"/>
                      <a:pt x="7" y="0"/>
                      <a:pt x="7" y="0"/>
                    </a:cubicBezTo>
                    <a:cubicBezTo>
                      <a:pt x="3" y="0"/>
                      <a:pt x="0" y="3"/>
                      <a:pt x="0" y="7"/>
                    </a:cubicBezTo>
                    <a:cubicBezTo>
                      <a:pt x="0" y="57"/>
                      <a:pt x="0" y="57"/>
                      <a:pt x="0" y="57"/>
                    </a:cubicBezTo>
                    <a:cubicBezTo>
                      <a:pt x="0" y="61"/>
                      <a:pt x="3" y="64"/>
                      <a:pt x="7" y="64"/>
                    </a:cubicBezTo>
                    <a:cubicBezTo>
                      <a:pt x="89" y="64"/>
                      <a:pt x="89" y="64"/>
                      <a:pt x="89" y="64"/>
                    </a:cubicBezTo>
                    <a:cubicBezTo>
                      <a:pt x="93" y="64"/>
                      <a:pt x="96" y="61"/>
                      <a:pt x="96" y="57"/>
                    </a:cubicBezTo>
                    <a:cubicBezTo>
                      <a:pt x="96" y="7"/>
                      <a:pt x="96" y="7"/>
                      <a:pt x="96" y="7"/>
                    </a:cubicBezTo>
                    <a:cubicBezTo>
                      <a:pt x="96" y="3"/>
                      <a:pt x="93" y="0"/>
                      <a:pt x="89" y="0"/>
                    </a:cubicBezTo>
                    <a:close/>
                    <a:moveTo>
                      <a:pt x="92" y="57"/>
                    </a:moveTo>
                    <a:cubicBezTo>
                      <a:pt x="92" y="59"/>
                      <a:pt x="91" y="60"/>
                      <a:pt x="89" y="60"/>
                    </a:cubicBezTo>
                    <a:cubicBezTo>
                      <a:pt x="7" y="60"/>
                      <a:pt x="7" y="60"/>
                      <a:pt x="7" y="60"/>
                    </a:cubicBezTo>
                    <a:cubicBezTo>
                      <a:pt x="5" y="60"/>
                      <a:pt x="4" y="59"/>
                      <a:pt x="4" y="5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5"/>
                      <a:pt x="5" y="4"/>
                      <a:pt x="7" y="4"/>
                    </a:cubicBezTo>
                    <a:cubicBezTo>
                      <a:pt x="89" y="4"/>
                      <a:pt x="89" y="4"/>
                      <a:pt x="89" y="4"/>
                    </a:cubicBezTo>
                    <a:cubicBezTo>
                      <a:pt x="91" y="4"/>
                      <a:pt x="92" y="5"/>
                      <a:pt x="92" y="7"/>
                    </a:cubicBezTo>
                    <a:lnTo>
                      <a:pt x="92" y="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35" name="Freeform 28">
                <a:extLst>
                  <a:ext uri="{FF2B5EF4-FFF2-40B4-BE49-F238E27FC236}">
                    <a16:creationId xmlns:a16="http://schemas.microsoft.com/office/drawing/2014/main" id="{CA5748FF-4135-F179-E29A-D5FF53D81DC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43726" y="1201738"/>
                <a:ext cx="46038" cy="47625"/>
              </a:xfrm>
              <a:custGeom>
                <a:avLst/>
                <a:gdLst>
                  <a:gd name="T0" fmla="*/ 6 w 12"/>
                  <a:gd name="T1" fmla="*/ 0 h 12"/>
                  <a:gd name="T2" fmla="*/ 0 w 12"/>
                  <a:gd name="T3" fmla="*/ 6 h 12"/>
                  <a:gd name="T4" fmla="*/ 6 w 12"/>
                  <a:gd name="T5" fmla="*/ 12 h 12"/>
                  <a:gd name="T6" fmla="*/ 12 w 12"/>
                  <a:gd name="T7" fmla="*/ 6 h 12"/>
                  <a:gd name="T8" fmla="*/ 6 w 12"/>
                  <a:gd name="T9" fmla="*/ 0 h 12"/>
                  <a:gd name="T10" fmla="*/ 6 w 12"/>
                  <a:gd name="T11" fmla="*/ 8 h 12"/>
                  <a:gd name="T12" fmla="*/ 4 w 12"/>
                  <a:gd name="T13" fmla="*/ 6 h 12"/>
                  <a:gd name="T14" fmla="*/ 6 w 12"/>
                  <a:gd name="T15" fmla="*/ 4 h 12"/>
                  <a:gd name="T16" fmla="*/ 8 w 12"/>
                  <a:gd name="T17" fmla="*/ 6 h 12"/>
                  <a:gd name="T18" fmla="*/ 6 w 12"/>
                  <a:gd name="T19" fmla="*/ 8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cubicBezTo>
                      <a:pt x="3" y="0"/>
                      <a:pt x="0" y="3"/>
                      <a:pt x="0" y="6"/>
                    </a:cubicBezTo>
                    <a:cubicBezTo>
                      <a:pt x="0" y="9"/>
                      <a:pt x="3" y="12"/>
                      <a:pt x="6" y="12"/>
                    </a:cubicBezTo>
                    <a:cubicBezTo>
                      <a:pt x="9" y="12"/>
                      <a:pt x="12" y="9"/>
                      <a:pt x="12" y="6"/>
                    </a:cubicBezTo>
                    <a:cubicBezTo>
                      <a:pt x="12" y="3"/>
                      <a:pt x="9" y="0"/>
                      <a:pt x="6" y="0"/>
                    </a:cubicBezTo>
                    <a:close/>
                    <a:moveTo>
                      <a:pt x="6" y="8"/>
                    </a:moveTo>
                    <a:cubicBezTo>
                      <a:pt x="5" y="8"/>
                      <a:pt x="4" y="7"/>
                      <a:pt x="4" y="6"/>
                    </a:cubicBezTo>
                    <a:cubicBezTo>
                      <a:pt x="4" y="5"/>
                      <a:pt x="5" y="4"/>
                      <a:pt x="6" y="4"/>
                    </a:cubicBezTo>
                    <a:cubicBezTo>
                      <a:pt x="7" y="4"/>
                      <a:pt x="8" y="5"/>
                      <a:pt x="8" y="6"/>
                    </a:cubicBezTo>
                    <a:cubicBezTo>
                      <a:pt x="8" y="7"/>
                      <a:pt x="7" y="8"/>
                      <a:pt x="6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36" name="Freeform 29">
                <a:extLst>
                  <a:ext uri="{FF2B5EF4-FFF2-40B4-BE49-F238E27FC236}">
                    <a16:creationId xmlns:a16="http://schemas.microsoft.com/office/drawing/2014/main" id="{43E12517-AF06-3121-8BC6-B1ECA68900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81813" y="1044575"/>
                <a:ext cx="61913" cy="65087"/>
              </a:xfrm>
              <a:custGeom>
                <a:avLst/>
                <a:gdLst>
                  <a:gd name="T0" fmla="*/ 0 w 39"/>
                  <a:gd name="T1" fmla="*/ 24 h 41"/>
                  <a:gd name="T2" fmla="*/ 39 w 39"/>
                  <a:gd name="T3" fmla="*/ 41 h 41"/>
                  <a:gd name="T4" fmla="*/ 39 w 39"/>
                  <a:gd name="T5" fmla="*/ 32 h 41"/>
                  <a:gd name="T6" fmla="*/ 12 w 39"/>
                  <a:gd name="T7" fmla="*/ 19 h 41"/>
                  <a:gd name="T8" fmla="*/ 39 w 39"/>
                  <a:gd name="T9" fmla="*/ 10 h 41"/>
                  <a:gd name="T10" fmla="*/ 39 w 39"/>
                  <a:gd name="T11" fmla="*/ 0 h 41"/>
                  <a:gd name="T12" fmla="*/ 0 w 39"/>
                  <a:gd name="T13" fmla="*/ 17 h 41"/>
                  <a:gd name="T14" fmla="*/ 0 w 39"/>
                  <a:gd name="T15" fmla="*/ 24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9" h="41">
                    <a:moveTo>
                      <a:pt x="0" y="24"/>
                    </a:moveTo>
                    <a:lnTo>
                      <a:pt x="39" y="41"/>
                    </a:lnTo>
                    <a:lnTo>
                      <a:pt x="39" y="32"/>
                    </a:lnTo>
                    <a:lnTo>
                      <a:pt x="12" y="19"/>
                    </a:lnTo>
                    <a:lnTo>
                      <a:pt x="39" y="10"/>
                    </a:lnTo>
                    <a:lnTo>
                      <a:pt x="39" y="0"/>
                    </a:lnTo>
                    <a:lnTo>
                      <a:pt x="0" y="17"/>
                    </a:lnTo>
                    <a:lnTo>
                      <a:pt x="0" y="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37" name="Freeform 30">
                <a:extLst>
                  <a:ext uri="{FF2B5EF4-FFF2-40B4-BE49-F238E27FC236}">
                    <a16:creationId xmlns:a16="http://schemas.microsoft.com/office/drawing/2014/main" id="{414BFDE9-D1A7-8EB8-4E77-9F32F2031A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50076" y="1033463"/>
                <a:ext cx="31750" cy="87312"/>
              </a:xfrm>
              <a:custGeom>
                <a:avLst/>
                <a:gdLst>
                  <a:gd name="T0" fmla="*/ 7 w 8"/>
                  <a:gd name="T1" fmla="*/ 0 h 23"/>
                  <a:gd name="T2" fmla="*/ 5 w 8"/>
                  <a:gd name="T3" fmla="*/ 0 h 23"/>
                  <a:gd name="T4" fmla="*/ 5 w 8"/>
                  <a:gd name="T5" fmla="*/ 2 h 23"/>
                  <a:gd name="T6" fmla="*/ 0 w 8"/>
                  <a:gd name="T7" fmla="*/ 20 h 23"/>
                  <a:gd name="T8" fmla="*/ 0 w 8"/>
                  <a:gd name="T9" fmla="*/ 22 h 23"/>
                  <a:gd name="T10" fmla="*/ 2 w 8"/>
                  <a:gd name="T11" fmla="*/ 23 h 23"/>
                  <a:gd name="T12" fmla="*/ 3 w 8"/>
                  <a:gd name="T13" fmla="*/ 23 h 23"/>
                  <a:gd name="T14" fmla="*/ 3 w 8"/>
                  <a:gd name="T15" fmla="*/ 22 h 23"/>
                  <a:gd name="T16" fmla="*/ 4 w 8"/>
                  <a:gd name="T17" fmla="*/ 21 h 23"/>
                  <a:gd name="T18" fmla="*/ 8 w 8"/>
                  <a:gd name="T19" fmla="*/ 3 h 23"/>
                  <a:gd name="T20" fmla="*/ 8 w 8"/>
                  <a:gd name="T21" fmla="*/ 1 h 23"/>
                  <a:gd name="T22" fmla="*/ 8 w 8"/>
                  <a:gd name="T23" fmla="*/ 0 h 23"/>
                  <a:gd name="T24" fmla="*/ 7 w 8"/>
                  <a:gd name="T25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" h="23">
                    <a:moveTo>
                      <a:pt x="7" y="0"/>
                    </a:moveTo>
                    <a:cubicBezTo>
                      <a:pt x="6" y="0"/>
                      <a:pt x="6" y="0"/>
                      <a:pt x="5" y="0"/>
                    </a:cubicBezTo>
                    <a:cubicBezTo>
                      <a:pt x="5" y="0"/>
                      <a:pt x="5" y="1"/>
                      <a:pt x="5" y="2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1"/>
                      <a:pt x="0" y="22"/>
                      <a:pt x="0" y="22"/>
                    </a:cubicBezTo>
                    <a:cubicBezTo>
                      <a:pt x="0" y="23"/>
                      <a:pt x="1" y="23"/>
                      <a:pt x="2" y="23"/>
                    </a:cubicBezTo>
                    <a:cubicBezTo>
                      <a:pt x="2" y="23"/>
                      <a:pt x="2" y="23"/>
                      <a:pt x="3" y="23"/>
                    </a:cubicBezTo>
                    <a:cubicBezTo>
                      <a:pt x="3" y="23"/>
                      <a:pt x="3" y="22"/>
                      <a:pt x="3" y="22"/>
                    </a:cubicBezTo>
                    <a:cubicBezTo>
                      <a:pt x="3" y="22"/>
                      <a:pt x="3" y="21"/>
                      <a:pt x="4" y="21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2"/>
                      <a:pt x="8" y="1"/>
                      <a:pt x="8" y="1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0"/>
                      <a:pt x="7" y="0"/>
                      <a:pt x="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38" name="Freeform 31">
                <a:extLst>
                  <a:ext uri="{FF2B5EF4-FFF2-40B4-BE49-F238E27FC236}">
                    <a16:creationId xmlns:a16="http://schemas.microsoft.com/office/drawing/2014/main" id="{AECDD8E9-A37D-9531-66D0-25D3AFCF43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89763" y="1044575"/>
                <a:ext cx="60325" cy="65087"/>
              </a:xfrm>
              <a:custGeom>
                <a:avLst/>
                <a:gdLst>
                  <a:gd name="T0" fmla="*/ 0 w 38"/>
                  <a:gd name="T1" fmla="*/ 10 h 41"/>
                  <a:gd name="T2" fmla="*/ 26 w 38"/>
                  <a:gd name="T3" fmla="*/ 19 h 41"/>
                  <a:gd name="T4" fmla="*/ 0 w 38"/>
                  <a:gd name="T5" fmla="*/ 32 h 41"/>
                  <a:gd name="T6" fmla="*/ 0 w 38"/>
                  <a:gd name="T7" fmla="*/ 41 h 41"/>
                  <a:gd name="T8" fmla="*/ 38 w 38"/>
                  <a:gd name="T9" fmla="*/ 24 h 41"/>
                  <a:gd name="T10" fmla="*/ 38 w 38"/>
                  <a:gd name="T11" fmla="*/ 17 h 41"/>
                  <a:gd name="T12" fmla="*/ 0 w 38"/>
                  <a:gd name="T13" fmla="*/ 0 h 41"/>
                  <a:gd name="T14" fmla="*/ 0 w 38"/>
                  <a:gd name="T15" fmla="*/ 1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8" h="41">
                    <a:moveTo>
                      <a:pt x="0" y="10"/>
                    </a:moveTo>
                    <a:lnTo>
                      <a:pt x="26" y="19"/>
                    </a:lnTo>
                    <a:lnTo>
                      <a:pt x="0" y="32"/>
                    </a:lnTo>
                    <a:lnTo>
                      <a:pt x="0" y="41"/>
                    </a:lnTo>
                    <a:lnTo>
                      <a:pt x="38" y="24"/>
                    </a:lnTo>
                    <a:lnTo>
                      <a:pt x="38" y="17"/>
                    </a:lnTo>
                    <a:lnTo>
                      <a:pt x="0" y="0"/>
                    </a:lnTo>
                    <a:lnTo>
                      <a:pt x="0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</p:grp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DE8765D4-466B-67D1-23FE-DC9AA6FFF23C}"/>
              </a:ext>
            </a:extLst>
          </p:cNvPr>
          <p:cNvGrpSpPr/>
          <p:nvPr/>
        </p:nvGrpSpPr>
        <p:grpSpPr>
          <a:xfrm>
            <a:off x="886469" y="2448849"/>
            <a:ext cx="1002680" cy="1002634"/>
            <a:chOff x="2254021" y="1541715"/>
            <a:chExt cx="1068005" cy="1067956"/>
          </a:xfrm>
        </p:grpSpPr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FA10EB67-6373-E8BF-3AEE-8EF3C1CA2BC5}"/>
                </a:ext>
              </a:extLst>
            </p:cNvPr>
            <p:cNvSpPr/>
            <p:nvPr/>
          </p:nvSpPr>
          <p:spPr>
            <a:xfrm rot="5400000">
              <a:off x="2254046" y="1541690"/>
              <a:ext cx="1067956" cy="1068005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764" b="1" dirty="0">
                <a:solidFill>
                  <a:srgbClr val="FFFFFF"/>
                </a:solidFill>
              </a:endParaRPr>
            </a:p>
          </p:txBody>
        </p: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77C49EC7-F0B1-2CC3-DFE3-A2DBB8A1B9D4}"/>
                </a:ext>
              </a:extLst>
            </p:cNvPr>
            <p:cNvGrpSpPr/>
            <p:nvPr/>
          </p:nvGrpSpPr>
          <p:grpSpPr>
            <a:xfrm>
              <a:off x="2471788" y="1862438"/>
              <a:ext cx="632472" cy="426508"/>
              <a:chOff x="6716027" y="5411634"/>
              <a:chExt cx="583964" cy="393797"/>
            </a:xfrm>
            <a:solidFill>
              <a:schemeClr val="bg1"/>
            </a:solidFill>
          </p:grpSpPr>
          <p:sp>
            <p:nvSpPr>
              <p:cNvPr id="42" name="Freeform 17">
                <a:extLst>
                  <a:ext uri="{FF2B5EF4-FFF2-40B4-BE49-F238E27FC236}">
                    <a16:creationId xmlns:a16="http://schemas.microsoft.com/office/drawing/2014/main" id="{E3EE2325-147E-88F6-0B24-24CD628C970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2700000">
                <a:off x="6832931" y="5294730"/>
                <a:ext cx="350155" cy="583964"/>
              </a:xfrm>
              <a:custGeom>
                <a:avLst/>
                <a:gdLst>
                  <a:gd name="T0" fmla="*/ 50 w 184"/>
                  <a:gd name="T1" fmla="*/ 310 h 310"/>
                  <a:gd name="T2" fmla="*/ 32 w 184"/>
                  <a:gd name="T3" fmla="*/ 282 h 310"/>
                  <a:gd name="T4" fmla="*/ 10 w 184"/>
                  <a:gd name="T5" fmla="*/ 199 h 310"/>
                  <a:gd name="T6" fmla="*/ 39 w 184"/>
                  <a:gd name="T7" fmla="*/ 171 h 310"/>
                  <a:gd name="T8" fmla="*/ 30 w 184"/>
                  <a:gd name="T9" fmla="*/ 116 h 310"/>
                  <a:gd name="T10" fmla="*/ 36 w 184"/>
                  <a:gd name="T11" fmla="*/ 73 h 310"/>
                  <a:gd name="T12" fmla="*/ 36 w 184"/>
                  <a:gd name="T13" fmla="*/ 72 h 310"/>
                  <a:gd name="T14" fmla="*/ 92 w 184"/>
                  <a:gd name="T15" fmla="*/ 0 h 310"/>
                  <a:gd name="T16" fmla="*/ 148 w 184"/>
                  <a:gd name="T17" fmla="*/ 72 h 310"/>
                  <a:gd name="T18" fmla="*/ 148 w 184"/>
                  <a:gd name="T19" fmla="*/ 73 h 310"/>
                  <a:gd name="T20" fmla="*/ 155 w 184"/>
                  <a:gd name="T21" fmla="*/ 116 h 310"/>
                  <a:gd name="T22" fmla="*/ 145 w 184"/>
                  <a:gd name="T23" fmla="*/ 171 h 310"/>
                  <a:gd name="T24" fmla="*/ 174 w 184"/>
                  <a:gd name="T25" fmla="*/ 199 h 310"/>
                  <a:gd name="T26" fmla="*/ 153 w 184"/>
                  <a:gd name="T27" fmla="*/ 282 h 310"/>
                  <a:gd name="T28" fmla="*/ 134 w 184"/>
                  <a:gd name="T29" fmla="*/ 310 h 310"/>
                  <a:gd name="T30" fmla="*/ 134 w 184"/>
                  <a:gd name="T31" fmla="*/ 276 h 310"/>
                  <a:gd name="T32" fmla="*/ 118 w 184"/>
                  <a:gd name="T33" fmla="*/ 239 h 310"/>
                  <a:gd name="T34" fmla="*/ 118 w 184"/>
                  <a:gd name="T35" fmla="*/ 240 h 310"/>
                  <a:gd name="T36" fmla="*/ 115 w 184"/>
                  <a:gd name="T37" fmla="*/ 246 h 310"/>
                  <a:gd name="T38" fmla="*/ 108 w 184"/>
                  <a:gd name="T39" fmla="*/ 245 h 310"/>
                  <a:gd name="T40" fmla="*/ 76 w 184"/>
                  <a:gd name="T41" fmla="*/ 245 h 310"/>
                  <a:gd name="T42" fmla="*/ 69 w 184"/>
                  <a:gd name="T43" fmla="*/ 246 h 310"/>
                  <a:gd name="T44" fmla="*/ 66 w 184"/>
                  <a:gd name="T45" fmla="*/ 240 h 310"/>
                  <a:gd name="T46" fmla="*/ 66 w 184"/>
                  <a:gd name="T47" fmla="*/ 239 h 310"/>
                  <a:gd name="T48" fmla="*/ 50 w 184"/>
                  <a:gd name="T49" fmla="*/ 276 h 310"/>
                  <a:gd name="T50" fmla="*/ 50 w 184"/>
                  <a:gd name="T51" fmla="*/ 310 h 310"/>
                  <a:gd name="T52" fmla="*/ 55 w 184"/>
                  <a:gd name="T53" fmla="*/ 79 h 310"/>
                  <a:gd name="T54" fmla="*/ 50 w 184"/>
                  <a:gd name="T55" fmla="*/ 116 h 310"/>
                  <a:gd name="T56" fmla="*/ 61 w 184"/>
                  <a:gd name="T57" fmla="*/ 174 h 310"/>
                  <a:gd name="T58" fmla="*/ 64 w 184"/>
                  <a:gd name="T59" fmla="*/ 184 h 310"/>
                  <a:gd name="T60" fmla="*/ 54 w 184"/>
                  <a:gd name="T61" fmla="*/ 187 h 310"/>
                  <a:gd name="T62" fmla="*/ 29 w 184"/>
                  <a:gd name="T63" fmla="*/ 205 h 310"/>
                  <a:gd name="T64" fmla="*/ 36 w 184"/>
                  <a:gd name="T65" fmla="*/ 247 h 310"/>
                  <a:gd name="T66" fmla="*/ 65 w 184"/>
                  <a:gd name="T67" fmla="*/ 215 h 310"/>
                  <a:gd name="T68" fmla="*/ 74 w 184"/>
                  <a:gd name="T69" fmla="*/ 209 h 310"/>
                  <a:gd name="T70" fmla="*/ 79 w 184"/>
                  <a:gd name="T71" fmla="*/ 219 h 310"/>
                  <a:gd name="T72" fmla="*/ 82 w 184"/>
                  <a:gd name="T73" fmla="*/ 225 h 310"/>
                  <a:gd name="T74" fmla="*/ 103 w 184"/>
                  <a:gd name="T75" fmla="*/ 225 h 310"/>
                  <a:gd name="T76" fmla="*/ 105 w 184"/>
                  <a:gd name="T77" fmla="*/ 219 h 310"/>
                  <a:gd name="T78" fmla="*/ 110 w 184"/>
                  <a:gd name="T79" fmla="*/ 209 h 310"/>
                  <a:gd name="T80" fmla="*/ 120 w 184"/>
                  <a:gd name="T81" fmla="*/ 215 h 310"/>
                  <a:gd name="T82" fmla="*/ 148 w 184"/>
                  <a:gd name="T83" fmla="*/ 247 h 310"/>
                  <a:gd name="T84" fmla="*/ 155 w 184"/>
                  <a:gd name="T85" fmla="*/ 205 h 310"/>
                  <a:gd name="T86" fmla="*/ 130 w 184"/>
                  <a:gd name="T87" fmla="*/ 187 h 310"/>
                  <a:gd name="T88" fmla="*/ 120 w 184"/>
                  <a:gd name="T89" fmla="*/ 184 h 310"/>
                  <a:gd name="T90" fmla="*/ 123 w 184"/>
                  <a:gd name="T91" fmla="*/ 174 h 310"/>
                  <a:gd name="T92" fmla="*/ 135 w 184"/>
                  <a:gd name="T93" fmla="*/ 116 h 310"/>
                  <a:gd name="T94" fmla="*/ 129 w 184"/>
                  <a:gd name="T95" fmla="*/ 79 h 310"/>
                  <a:gd name="T96" fmla="*/ 92 w 184"/>
                  <a:gd name="T97" fmla="*/ 21 h 310"/>
                  <a:gd name="T98" fmla="*/ 55 w 184"/>
                  <a:gd name="T99" fmla="*/ 79 h 3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84" h="310">
                    <a:moveTo>
                      <a:pt x="50" y="310"/>
                    </a:moveTo>
                    <a:cubicBezTo>
                      <a:pt x="32" y="282"/>
                      <a:pt x="32" y="282"/>
                      <a:pt x="32" y="282"/>
                    </a:cubicBezTo>
                    <a:cubicBezTo>
                      <a:pt x="28" y="276"/>
                      <a:pt x="0" y="230"/>
                      <a:pt x="10" y="199"/>
                    </a:cubicBezTo>
                    <a:cubicBezTo>
                      <a:pt x="14" y="187"/>
                      <a:pt x="24" y="178"/>
                      <a:pt x="39" y="171"/>
                    </a:cubicBezTo>
                    <a:cubicBezTo>
                      <a:pt x="33" y="151"/>
                      <a:pt x="30" y="132"/>
                      <a:pt x="30" y="116"/>
                    </a:cubicBezTo>
                    <a:cubicBezTo>
                      <a:pt x="30" y="102"/>
                      <a:pt x="32" y="87"/>
                      <a:pt x="36" y="73"/>
                    </a:cubicBezTo>
                    <a:cubicBezTo>
                      <a:pt x="36" y="72"/>
                      <a:pt x="36" y="72"/>
                      <a:pt x="36" y="72"/>
                    </a:cubicBezTo>
                    <a:cubicBezTo>
                      <a:pt x="50" y="35"/>
                      <a:pt x="77" y="0"/>
                      <a:pt x="92" y="0"/>
                    </a:cubicBezTo>
                    <a:cubicBezTo>
                      <a:pt x="107" y="0"/>
                      <a:pt x="134" y="35"/>
                      <a:pt x="148" y="72"/>
                    </a:cubicBezTo>
                    <a:cubicBezTo>
                      <a:pt x="148" y="73"/>
                      <a:pt x="148" y="73"/>
                      <a:pt x="148" y="73"/>
                    </a:cubicBezTo>
                    <a:cubicBezTo>
                      <a:pt x="152" y="87"/>
                      <a:pt x="155" y="102"/>
                      <a:pt x="155" y="116"/>
                    </a:cubicBezTo>
                    <a:cubicBezTo>
                      <a:pt x="155" y="132"/>
                      <a:pt x="152" y="151"/>
                      <a:pt x="145" y="171"/>
                    </a:cubicBezTo>
                    <a:cubicBezTo>
                      <a:pt x="160" y="178"/>
                      <a:pt x="170" y="187"/>
                      <a:pt x="174" y="199"/>
                    </a:cubicBezTo>
                    <a:cubicBezTo>
                      <a:pt x="184" y="230"/>
                      <a:pt x="156" y="276"/>
                      <a:pt x="153" y="282"/>
                    </a:cubicBezTo>
                    <a:cubicBezTo>
                      <a:pt x="134" y="310"/>
                      <a:pt x="134" y="310"/>
                      <a:pt x="134" y="310"/>
                    </a:cubicBezTo>
                    <a:cubicBezTo>
                      <a:pt x="134" y="276"/>
                      <a:pt x="134" y="276"/>
                      <a:pt x="134" y="276"/>
                    </a:cubicBezTo>
                    <a:cubicBezTo>
                      <a:pt x="134" y="262"/>
                      <a:pt x="128" y="248"/>
                      <a:pt x="118" y="239"/>
                    </a:cubicBezTo>
                    <a:cubicBezTo>
                      <a:pt x="118" y="239"/>
                      <a:pt x="118" y="239"/>
                      <a:pt x="118" y="240"/>
                    </a:cubicBezTo>
                    <a:cubicBezTo>
                      <a:pt x="115" y="246"/>
                      <a:pt x="115" y="246"/>
                      <a:pt x="115" y="246"/>
                    </a:cubicBezTo>
                    <a:cubicBezTo>
                      <a:pt x="108" y="245"/>
                      <a:pt x="108" y="245"/>
                      <a:pt x="108" y="245"/>
                    </a:cubicBezTo>
                    <a:cubicBezTo>
                      <a:pt x="98" y="245"/>
                      <a:pt x="87" y="245"/>
                      <a:pt x="76" y="245"/>
                    </a:cubicBezTo>
                    <a:cubicBezTo>
                      <a:pt x="69" y="246"/>
                      <a:pt x="69" y="246"/>
                      <a:pt x="69" y="246"/>
                    </a:cubicBezTo>
                    <a:cubicBezTo>
                      <a:pt x="66" y="240"/>
                      <a:pt x="66" y="240"/>
                      <a:pt x="66" y="240"/>
                    </a:cubicBezTo>
                    <a:cubicBezTo>
                      <a:pt x="66" y="239"/>
                      <a:pt x="66" y="239"/>
                      <a:pt x="66" y="239"/>
                    </a:cubicBezTo>
                    <a:cubicBezTo>
                      <a:pt x="56" y="249"/>
                      <a:pt x="50" y="262"/>
                      <a:pt x="50" y="276"/>
                    </a:cubicBezTo>
                    <a:lnTo>
                      <a:pt x="50" y="310"/>
                    </a:lnTo>
                    <a:close/>
                    <a:moveTo>
                      <a:pt x="55" y="79"/>
                    </a:moveTo>
                    <a:cubicBezTo>
                      <a:pt x="52" y="91"/>
                      <a:pt x="50" y="104"/>
                      <a:pt x="50" y="116"/>
                    </a:cubicBezTo>
                    <a:cubicBezTo>
                      <a:pt x="50" y="132"/>
                      <a:pt x="53" y="152"/>
                      <a:pt x="61" y="174"/>
                    </a:cubicBezTo>
                    <a:cubicBezTo>
                      <a:pt x="64" y="184"/>
                      <a:pt x="64" y="184"/>
                      <a:pt x="64" y="184"/>
                    </a:cubicBezTo>
                    <a:cubicBezTo>
                      <a:pt x="54" y="187"/>
                      <a:pt x="54" y="187"/>
                      <a:pt x="54" y="187"/>
                    </a:cubicBezTo>
                    <a:cubicBezTo>
                      <a:pt x="45" y="190"/>
                      <a:pt x="33" y="196"/>
                      <a:pt x="29" y="205"/>
                    </a:cubicBezTo>
                    <a:cubicBezTo>
                      <a:pt x="26" y="216"/>
                      <a:pt x="30" y="233"/>
                      <a:pt x="36" y="247"/>
                    </a:cubicBezTo>
                    <a:cubicBezTo>
                      <a:pt x="42" y="234"/>
                      <a:pt x="52" y="223"/>
                      <a:pt x="65" y="215"/>
                    </a:cubicBezTo>
                    <a:cubicBezTo>
                      <a:pt x="74" y="209"/>
                      <a:pt x="74" y="209"/>
                      <a:pt x="74" y="209"/>
                    </a:cubicBezTo>
                    <a:cubicBezTo>
                      <a:pt x="79" y="219"/>
                      <a:pt x="79" y="219"/>
                      <a:pt x="79" y="219"/>
                    </a:cubicBezTo>
                    <a:cubicBezTo>
                      <a:pt x="80" y="221"/>
                      <a:pt x="81" y="223"/>
                      <a:pt x="82" y="225"/>
                    </a:cubicBezTo>
                    <a:cubicBezTo>
                      <a:pt x="89" y="225"/>
                      <a:pt x="96" y="225"/>
                      <a:pt x="103" y="225"/>
                    </a:cubicBezTo>
                    <a:cubicBezTo>
                      <a:pt x="104" y="223"/>
                      <a:pt x="105" y="221"/>
                      <a:pt x="105" y="219"/>
                    </a:cubicBezTo>
                    <a:cubicBezTo>
                      <a:pt x="110" y="209"/>
                      <a:pt x="110" y="209"/>
                      <a:pt x="110" y="209"/>
                    </a:cubicBezTo>
                    <a:cubicBezTo>
                      <a:pt x="120" y="215"/>
                      <a:pt x="120" y="215"/>
                      <a:pt x="120" y="215"/>
                    </a:cubicBezTo>
                    <a:cubicBezTo>
                      <a:pt x="133" y="223"/>
                      <a:pt x="142" y="234"/>
                      <a:pt x="148" y="247"/>
                    </a:cubicBezTo>
                    <a:cubicBezTo>
                      <a:pt x="154" y="233"/>
                      <a:pt x="159" y="216"/>
                      <a:pt x="155" y="205"/>
                    </a:cubicBezTo>
                    <a:cubicBezTo>
                      <a:pt x="152" y="196"/>
                      <a:pt x="140" y="190"/>
                      <a:pt x="130" y="187"/>
                    </a:cubicBezTo>
                    <a:cubicBezTo>
                      <a:pt x="120" y="184"/>
                      <a:pt x="120" y="184"/>
                      <a:pt x="120" y="184"/>
                    </a:cubicBezTo>
                    <a:cubicBezTo>
                      <a:pt x="123" y="174"/>
                      <a:pt x="123" y="174"/>
                      <a:pt x="123" y="174"/>
                    </a:cubicBezTo>
                    <a:cubicBezTo>
                      <a:pt x="131" y="152"/>
                      <a:pt x="135" y="132"/>
                      <a:pt x="135" y="116"/>
                    </a:cubicBezTo>
                    <a:cubicBezTo>
                      <a:pt x="135" y="104"/>
                      <a:pt x="133" y="91"/>
                      <a:pt x="129" y="79"/>
                    </a:cubicBezTo>
                    <a:cubicBezTo>
                      <a:pt x="117" y="47"/>
                      <a:pt x="99" y="26"/>
                      <a:pt x="92" y="21"/>
                    </a:cubicBezTo>
                    <a:cubicBezTo>
                      <a:pt x="85" y="26"/>
                      <a:pt x="67" y="47"/>
                      <a:pt x="55" y="7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43" name="Freeform 18">
                <a:extLst>
                  <a:ext uri="{FF2B5EF4-FFF2-40B4-BE49-F238E27FC236}">
                    <a16:creationId xmlns:a16="http://schemas.microsoft.com/office/drawing/2014/main" id="{E933365A-0EBD-589E-E651-D937C9D6F66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2700000">
                <a:off x="6989613" y="5483631"/>
                <a:ext cx="121724" cy="120112"/>
              </a:xfrm>
              <a:custGeom>
                <a:avLst/>
                <a:gdLst>
                  <a:gd name="T0" fmla="*/ 32 w 64"/>
                  <a:gd name="T1" fmla="*/ 64 h 64"/>
                  <a:gd name="T2" fmla="*/ 0 w 64"/>
                  <a:gd name="T3" fmla="*/ 32 h 64"/>
                  <a:gd name="T4" fmla="*/ 32 w 64"/>
                  <a:gd name="T5" fmla="*/ 0 h 64"/>
                  <a:gd name="T6" fmla="*/ 64 w 64"/>
                  <a:gd name="T7" fmla="*/ 32 h 64"/>
                  <a:gd name="T8" fmla="*/ 32 w 64"/>
                  <a:gd name="T9" fmla="*/ 64 h 64"/>
                  <a:gd name="T10" fmla="*/ 32 w 64"/>
                  <a:gd name="T11" fmla="*/ 12 h 64"/>
                  <a:gd name="T12" fmla="*/ 12 w 64"/>
                  <a:gd name="T13" fmla="*/ 32 h 64"/>
                  <a:gd name="T14" fmla="*/ 32 w 64"/>
                  <a:gd name="T15" fmla="*/ 52 h 64"/>
                  <a:gd name="T16" fmla="*/ 52 w 64"/>
                  <a:gd name="T17" fmla="*/ 32 h 64"/>
                  <a:gd name="T18" fmla="*/ 32 w 64"/>
                  <a:gd name="T19" fmla="*/ 12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4" h="64">
                    <a:moveTo>
                      <a:pt x="32" y="64"/>
                    </a:moveTo>
                    <a:cubicBezTo>
                      <a:pt x="14" y="64"/>
                      <a:pt x="0" y="50"/>
                      <a:pt x="0" y="32"/>
                    </a:cubicBezTo>
                    <a:cubicBezTo>
                      <a:pt x="0" y="14"/>
                      <a:pt x="14" y="0"/>
                      <a:pt x="32" y="0"/>
                    </a:cubicBezTo>
                    <a:cubicBezTo>
                      <a:pt x="50" y="0"/>
                      <a:pt x="64" y="14"/>
                      <a:pt x="64" y="32"/>
                    </a:cubicBezTo>
                    <a:cubicBezTo>
                      <a:pt x="64" y="50"/>
                      <a:pt x="50" y="64"/>
                      <a:pt x="32" y="64"/>
                    </a:cubicBezTo>
                    <a:close/>
                    <a:moveTo>
                      <a:pt x="32" y="12"/>
                    </a:moveTo>
                    <a:cubicBezTo>
                      <a:pt x="21" y="12"/>
                      <a:pt x="12" y="21"/>
                      <a:pt x="12" y="32"/>
                    </a:cubicBezTo>
                    <a:cubicBezTo>
                      <a:pt x="12" y="43"/>
                      <a:pt x="21" y="52"/>
                      <a:pt x="32" y="52"/>
                    </a:cubicBezTo>
                    <a:cubicBezTo>
                      <a:pt x="43" y="52"/>
                      <a:pt x="52" y="43"/>
                      <a:pt x="52" y="32"/>
                    </a:cubicBezTo>
                    <a:cubicBezTo>
                      <a:pt x="52" y="21"/>
                      <a:pt x="43" y="12"/>
                      <a:pt x="3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44" name="Freeform 19">
                <a:extLst>
                  <a:ext uri="{FF2B5EF4-FFF2-40B4-BE49-F238E27FC236}">
                    <a16:creationId xmlns:a16="http://schemas.microsoft.com/office/drawing/2014/main" id="{58DC3B4C-A9A4-2042-E02E-B1E09D35CBB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2700000">
                <a:off x="6790966" y="5660018"/>
                <a:ext cx="112239" cy="178587"/>
              </a:xfrm>
              <a:custGeom>
                <a:avLst/>
                <a:gdLst>
                  <a:gd name="T0" fmla="*/ 29 w 59"/>
                  <a:gd name="T1" fmla="*/ 95 h 95"/>
                  <a:gd name="T2" fmla="*/ 24 w 59"/>
                  <a:gd name="T3" fmla="*/ 85 h 95"/>
                  <a:gd name="T4" fmla="*/ 0 w 59"/>
                  <a:gd name="T5" fmla="*/ 26 h 95"/>
                  <a:gd name="T6" fmla="*/ 29 w 59"/>
                  <a:gd name="T7" fmla="*/ 0 h 95"/>
                  <a:gd name="T8" fmla="*/ 59 w 59"/>
                  <a:gd name="T9" fmla="*/ 26 h 95"/>
                  <a:gd name="T10" fmla="*/ 34 w 59"/>
                  <a:gd name="T11" fmla="*/ 85 h 95"/>
                  <a:gd name="T12" fmla="*/ 29 w 59"/>
                  <a:gd name="T13" fmla="*/ 95 h 95"/>
                  <a:gd name="T14" fmla="*/ 29 w 59"/>
                  <a:gd name="T15" fmla="*/ 12 h 95"/>
                  <a:gd name="T16" fmla="*/ 12 w 59"/>
                  <a:gd name="T17" fmla="*/ 26 h 95"/>
                  <a:gd name="T18" fmla="*/ 29 w 59"/>
                  <a:gd name="T19" fmla="*/ 69 h 95"/>
                  <a:gd name="T20" fmla="*/ 47 w 59"/>
                  <a:gd name="T21" fmla="*/ 26 h 95"/>
                  <a:gd name="T22" fmla="*/ 29 w 59"/>
                  <a:gd name="T23" fmla="*/ 12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9" h="95">
                    <a:moveTo>
                      <a:pt x="29" y="95"/>
                    </a:moveTo>
                    <a:cubicBezTo>
                      <a:pt x="24" y="85"/>
                      <a:pt x="24" y="85"/>
                      <a:pt x="24" y="85"/>
                    </a:cubicBezTo>
                    <a:cubicBezTo>
                      <a:pt x="20" y="77"/>
                      <a:pt x="0" y="38"/>
                      <a:pt x="0" y="26"/>
                    </a:cubicBezTo>
                    <a:cubicBezTo>
                      <a:pt x="0" y="12"/>
                      <a:pt x="13" y="0"/>
                      <a:pt x="29" y="0"/>
                    </a:cubicBezTo>
                    <a:cubicBezTo>
                      <a:pt x="45" y="0"/>
                      <a:pt x="59" y="12"/>
                      <a:pt x="59" y="26"/>
                    </a:cubicBezTo>
                    <a:cubicBezTo>
                      <a:pt x="59" y="38"/>
                      <a:pt x="39" y="77"/>
                      <a:pt x="34" y="85"/>
                    </a:cubicBezTo>
                    <a:lnTo>
                      <a:pt x="29" y="95"/>
                    </a:lnTo>
                    <a:close/>
                    <a:moveTo>
                      <a:pt x="29" y="12"/>
                    </a:moveTo>
                    <a:cubicBezTo>
                      <a:pt x="19" y="12"/>
                      <a:pt x="12" y="18"/>
                      <a:pt x="12" y="26"/>
                    </a:cubicBezTo>
                    <a:cubicBezTo>
                      <a:pt x="12" y="31"/>
                      <a:pt x="20" y="50"/>
                      <a:pt x="29" y="69"/>
                    </a:cubicBezTo>
                    <a:cubicBezTo>
                      <a:pt x="38" y="50"/>
                      <a:pt x="47" y="31"/>
                      <a:pt x="47" y="26"/>
                    </a:cubicBezTo>
                    <a:cubicBezTo>
                      <a:pt x="47" y="18"/>
                      <a:pt x="39" y="12"/>
                      <a:pt x="29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</p:grp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D9A66B18-126D-CD12-67EB-C921A74D62B9}"/>
              </a:ext>
            </a:extLst>
          </p:cNvPr>
          <p:cNvGrpSpPr/>
          <p:nvPr/>
        </p:nvGrpSpPr>
        <p:grpSpPr>
          <a:xfrm>
            <a:off x="1881450" y="1655379"/>
            <a:ext cx="1002680" cy="1002634"/>
            <a:chOff x="876630" y="2203535"/>
            <a:chExt cx="1068005" cy="1067956"/>
          </a:xfrm>
        </p:grpSpPr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485EDCC5-843C-8B54-6A96-8A3C8F36BDFC}"/>
                </a:ext>
              </a:extLst>
            </p:cNvPr>
            <p:cNvSpPr/>
            <p:nvPr/>
          </p:nvSpPr>
          <p:spPr>
            <a:xfrm rot="5400000">
              <a:off x="876655" y="2203510"/>
              <a:ext cx="1067956" cy="1068005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764" b="1" dirty="0">
                <a:solidFill>
                  <a:srgbClr val="FFFFFF"/>
                </a:solidFill>
              </a:endParaRPr>
            </a:p>
          </p:txBody>
        </p:sp>
        <p:sp>
          <p:nvSpPr>
            <p:cNvPr id="47" name="Freeform 23">
              <a:extLst>
                <a:ext uri="{FF2B5EF4-FFF2-40B4-BE49-F238E27FC236}">
                  <a16:creationId xmlns:a16="http://schemas.microsoft.com/office/drawing/2014/main" id="{868C9D42-D824-EA81-8721-A217BB3D9A6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30477" y="2489408"/>
              <a:ext cx="560312" cy="496208"/>
            </a:xfrm>
            <a:custGeom>
              <a:avLst/>
              <a:gdLst>
                <a:gd name="T0" fmla="*/ 232 w 256"/>
                <a:gd name="T1" fmla="*/ 84 h 227"/>
                <a:gd name="T2" fmla="*/ 172 w 256"/>
                <a:gd name="T3" fmla="*/ 44 h 227"/>
                <a:gd name="T4" fmla="*/ 120 w 256"/>
                <a:gd name="T5" fmla="*/ 48 h 227"/>
                <a:gd name="T6" fmla="*/ 64 w 256"/>
                <a:gd name="T7" fmla="*/ 107 h 227"/>
                <a:gd name="T8" fmla="*/ 0 w 256"/>
                <a:gd name="T9" fmla="*/ 131 h 227"/>
                <a:gd name="T10" fmla="*/ 32 w 256"/>
                <a:gd name="T11" fmla="*/ 227 h 227"/>
                <a:gd name="T12" fmla="*/ 87 w 256"/>
                <a:gd name="T13" fmla="*/ 212 h 227"/>
                <a:gd name="T14" fmla="*/ 103 w 256"/>
                <a:gd name="T15" fmla="*/ 219 h 227"/>
                <a:gd name="T16" fmla="*/ 232 w 256"/>
                <a:gd name="T17" fmla="*/ 197 h 227"/>
                <a:gd name="T18" fmla="*/ 240 w 256"/>
                <a:gd name="T19" fmla="*/ 169 h 227"/>
                <a:gd name="T20" fmla="*/ 248 w 256"/>
                <a:gd name="T21" fmla="*/ 140 h 227"/>
                <a:gd name="T22" fmla="*/ 256 w 256"/>
                <a:gd name="T23" fmla="*/ 108 h 227"/>
                <a:gd name="T24" fmla="*/ 32 w 256"/>
                <a:gd name="T25" fmla="*/ 211 h 227"/>
                <a:gd name="T26" fmla="*/ 16 w 256"/>
                <a:gd name="T27" fmla="*/ 131 h 227"/>
                <a:gd name="T28" fmla="*/ 64 w 256"/>
                <a:gd name="T29" fmla="*/ 123 h 227"/>
                <a:gd name="T30" fmla="*/ 72 w 256"/>
                <a:gd name="T31" fmla="*/ 198 h 227"/>
                <a:gd name="T32" fmla="*/ 72 w 256"/>
                <a:gd name="T33" fmla="*/ 203 h 227"/>
                <a:gd name="T34" fmla="*/ 210 w 256"/>
                <a:gd name="T35" fmla="*/ 203 h 227"/>
                <a:gd name="T36" fmla="*/ 88 w 256"/>
                <a:gd name="T37" fmla="*/ 194 h 227"/>
                <a:gd name="T38" fmla="*/ 86 w 256"/>
                <a:gd name="T39" fmla="*/ 121 h 227"/>
                <a:gd name="T40" fmla="*/ 140 w 256"/>
                <a:gd name="T41" fmla="*/ 16 h 227"/>
                <a:gd name="T42" fmla="*/ 152 w 256"/>
                <a:gd name="T43" fmla="*/ 90 h 227"/>
                <a:gd name="T44" fmla="*/ 160 w 256"/>
                <a:gd name="T45" fmla="*/ 100 h 227"/>
                <a:gd name="T46" fmla="*/ 240 w 256"/>
                <a:gd name="T47" fmla="*/ 108 h 227"/>
                <a:gd name="T48" fmla="*/ 223 w 256"/>
                <a:gd name="T49" fmla="*/ 116 h 227"/>
                <a:gd name="T50" fmla="*/ 223 w 256"/>
                <a:gd name="T51" fmla="*/ 132 h 227"/>
                <a:gd name="T52" fmla="*/ 224 w 256"/>
                <a:gd name="T53" fmla="*/ 132 h 227"/>
                <a:gd name="T54" fmla="*/ 224 w 256"/>
                <a:gd name="T55" fmla="*/ 148 h 227"/>
                <a:gd name="T56" fmla="*/ 218 w 256"/>
                <a:gd name="T57" fmla="*/ 147 h 227"/>
                <a:gd name="T58" fmla="*/ 215 w 256"/>
                <a:gd name="T59" fmla="*/ 148 h 227"/>
                <a:gd name="T60" fmla="*/ 215 w 256"/>
                <a:gd name="T61" fmla="*/ 164 h 227"/>
                <a:gd name="T62" fmla="*/ 224 w 256"/>
                <a:gd name="T63" fmla="*/ 169 h 227"/>
                <a:gd name="T64" fmla="*/ 210 w 256"/>
                <a:gd name="T65" fmla="*/ 175 h 227"/>
                <a:gd name="T66" fmla="*/ 210 w 256"/>
                <a:gd name="T67" fmla="*/ 175 h 227"/>
                <a:gd name="T68" fmla="*/ 210 w 256"/>
                <a:gd name="T69" fmla="*/ 191 h 227"/>
                <a:gd name="T70" fmla="*/ 210 w 256"/>
                <a:gd name="T71" fmla="*/ 203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56" h="227">
                  <a:moveTo>
                    <a:pt x="256" y="108"/>
                  </a:moveTo>
                  <a:cubicBezTo>
                    <a:pt x="256" y="94"/>
                    <a:pt x="245" y="84"/>
                    <a:pt x="232" y="84"/>
                  </a:cubicBezTo>
                  <a:cubicBezTo>
                    <a:pt x="169" y="84"/>
                    <a:pt x="169" y="84"/>
                    <a:pt x="169" y="84"/>
                  </a:cubicBezTo>
                  <a:cubicBezTo>
                    <a:pt x="171" y="74"/>
                    <a:pt x="172" y="59"/>
                    <a:pt x="172" y="44"/>
                  </a:cubicBezTo>
                  <a:cubicBezTo>
                    <a:pt x="172" y="13"/>
                    <a:pt x="156" y="0"/>
                    <a:pt x="140" y="0"/>
                  </a:cubicBezTo>
                  <a:cubicBezTo>
                    <a:pt x="120" y="0"/>
                    <a:pt x="120" y="21"/>
                    <a:pt x="120" y="48"/>
                  </a:cubicBezTo>
                  <a:cubicBezTo>
                    <a:pt x="120" y="67"/>
                    <a:pt x="90" y="97"/>
                    <a:pt x="75" y="110"/>
                  </a:cubicBezTo>
                  <a:cubicBezTo>
                    <a:pt x="71" y="108"/>
                    <a:pt x="68" y="107"/>
                    <a:pt x="64" y="107"/>
                  </a:cubicBezTo>
                  <a:cubicBezTo>
                    <a:pt x="24" y="107"/>
                    <a:pt x="24" y="107"/>
                    <a:pt x="24" y="107"/>
                  </a:cubicBezTo>
                  <a:cubicBezTo>
                    <a:pt x="11" y="107"/>
                    <a:pt x="0" y="118"/>
                    <a:pt x="0" y="131"/>
                  </a:cubicBezTo>
                  <a:cubicBezTo>
                    <a:pt x="8" y="203"/>
                    <a:pt x="8" y="203"/>
                    <a:pt x="8" y="203"/>
                  </a:cubicBezTo>
                  <a:cubicBezTo>
                    <a:pt x="10" y="216"/>
                    <a:pt x="19" y="227"/>
                    <a:pt x="32" y="227"/>
                  </a:cubicBezTo>
                  <a:cubicBezTo>
                    <a:pt x="64" y="227"/>
                    <a:pt x="64" y="227"/>
                    <a:pt x="64" y="227"/>
                  </a:cubicBezTo>
                  <a:cubicBezTo>
                    <a:pt x="74" y="227"/>
                    <a:pt x="83" y="221"/>
                    <a:pt x="87" y="212"/>
                  </a:cubicBezTo>
                  <a:cubicBezTo>
                    <a:pt x="100" y="219"/>
                    <a:pt x="100" y="219"/>
                    <a:pt x="100" y="219"/>
                  </a:cubicBezTo>
                  <a:cubicBezTo>
                    <a:pt x="101" y="219"/>
                    <a:pt x="102" y="219"/>
                    <a:pt x="103" y="219"/>
                  </a:cubicBezTo>
                  <a:cubicBezTo>
                    <a:pt x="210" y="219"/>
                    <a:pt x="210" y="219"/>
                    <a:pt x="210" y="219"/>
                  </a:cubicBezTo>
                  <a:cubicBezTo>
                    <a:pt x="222" y="219"/>
                    <a:pt x="232" y="210"/>
                    <a:pt x="232" y="197"/>
                  </a:cubicBezTo>
                  <a:cubicBezTo>
                    <a:pt x="232" y="194"/>
                    <a:pt x="231" y="191"/>
                    <a:pt x="230" y="188"/>
                  </a:cubicBezTo>
                  <a:cubicBezTo>
                    <a:pt x="236" y="184"/>
                    <a:pt x="240" y="177"/>
                    <a:pt x="240" y="169"/>
                  </a:cubicBezTo>
                  <a:cubicBezTo>
                    <a:pt x="240" y="166"/>
                    <a:pt x="239" y="162"/>
                    <a:pt x="238" y="159"/>
                  </a:cubicBezTo>
                  <a:cubicBezTo>
                    <a:pt x="244" y="155"/>
                    <a:pt x="248" y="148"/>
                    <a:pt x="248" y="140"/>
                  </a:cubicBezTo>
                  <a:cubicBezTo>
                    <a:pt x="248" y="135"/>
                    <a:pt x="247" y="131"/>
                    <a:pt x="245" y="128"/>
                  </a:cubicBezTo>
                  <a:cubicBezTo>
                    <a:pt x="252" y="123"/>
                    <a:pt x="256" y="116"/>
                    <a:pt x="256" y="108"/>
                  </a:cubicBezTo>
                  <a:close/>
                  <a:moveTo>
                    <a:pt x="64" y="211"/>
                  </a:moveTo>
                  <a:cubicBezTo>
                    <a:pt x="32" y="211"/>
                    <a:pt x="32" y="211"/>
                    <a:pt x="32" y="211"/>
                  </a:cubicBezTo>
                  <a:cubicBezTo>
                    <a:pt x="28" y="211"/>
                    <a:pt x="25" y="206"/>
                    <a:pt x="24" y="202"/>
                  </a:cubicBezTo>
                  <a:cubicBezTo>
                    <a:pt x="16" y="131"/>
                    <a:pt x="16" y="131"/>
                    <a:pt x="16" y="131"/>
                  </a:cubicBezTo>
                  <a:cubicBezTo>
                    <a:pt x="17" y="127"/>
                    <a:pt x="20" y="123"/>
                    <a:pt x="24" y="123"/>
                  </a:cubicBezTo>
                  <a:cubicBezTo>
                    <a:pt x="64" y="123"/>
                    <a:pt x="64" y="123"/>
                    <a:pt x="64" y="123"/>
                  </a:cubicBezTo>
                  <a:cubicBezTo>
                    <a:pt x="69" y="123"/>
                    <a:pt x="72" y="127"/>
                    <a:pt x="72" y="131"/>
                  </a:cubicBezTo>
                  <a:cubicBezTo>
                    <a:pt x="72" y="198"/>
                    <a:pt x="72" y="198"/>
                    <a:pt x="72" y="198"/>
                  </a:cubicBezTo>
                  <a:cubicBezTo>
                    <a:pt x="72" y="199"/>
                    <a:pt x="72" y="200"/>
                    <a:pt x="72" y="201"/>
                  </a:cubicBezTo>
                  <a:cubicBezTo>
                    <a:pt x="72" y="203"/>
                    <a:pt x="72" y="203"/>
                    <a:pt x="72" y="203"/>
                  </a:cubicBezTo>
                  <a:cubicBezTo>
                    <a:pt x="72" y="208"/>
                    <a:pt x="69" y="211"/>
                    <a:pt x="64" y="211"/>
                  </a:cubicBezTo>
                  <a:close/>
                  <a:moveTo>
                    <a:pt x="210" y="203"/>
                  </a:moveTo>
                  <a:cubicBezTo>
                    <a:pt x="105" y="203"/>
                    <a:pt x="105" y="203"/>
                    <a:pt x="105" y="203"/>
                  </a:cubicBezTo>
                  <a:cubicBezTo>
                    <a:pt x="88" y="194"/>
                    <a:pt x="88" y="194"/>
                    <a:pt x="88" y="194"/>
                  </a:cubicBezTo>
                  <a:cubicBezTo>
                    <a:pt x="88" y="131"/>
                    <a:pt x="88" y="131"/>
                    <a:pt x="88" y="131"/>
                  </a:cubicBezTo>
                  <a:cubicBezTo>
                    <a:pt x="88" y="128"/>
                    <a:pt x="87" y="124"/>
                    <a:pt x="86" y="121"/>
                  </a:cubicBezTo>
                  <a:cubicBezTo>
                    <a:pt x="100" y="109"/>
                    <a:pt x="136" y="75"/>
                    <a:pt x="136" y="48"/>
                  </a:cubicBezTo>
                  <a:cubicBezTo>
                    <a:pt x="136" y="31"/>
                    <a:pt x="136" y="16"/>
                    <a:pt x="140" y="16"/>
                  </a:cubicBezTo>
                  <a:cubicBezTo>
                    <a:pt x="148" y="16"/>
                    <a:pt x="156" y="25"/>
                    <a:pt x="156" y="44"/>
                  </a:cubicBezTo>
                  <a:cubicBezTo>
                    <a:pt x="156" y="67"/>
                    <a:pt x="152" y="90"/>
                    <a:pt x="152" y="90"/>
                  </a:cubicBezTo>
                  <a:cubicBezTo>
                    <a:pt x="152" y="93"/>
                    <a:pt x="153" y="95"/>
                    <a:pt x="154" y="97"/>
                  </a:cubicBezTo>
                  <a:cubicBezTo>
                    <a:pt x="156" y="98"/>
                    <a:pt x="158" y="100"/>
                    <a:pt x="160" y="100"/>
                  </a:cubicBezTo>
                  <a:cubicBezTo>
                    <a:pt x="232" y="100"/>
                    <a:pt x="232" y="100"/>
                    <a:pt x="232" y="100"/>
                  </a:cubicBezTo>
                  <a:cubicBezTo>
                    <a:pt x="237" y="100"/>
                    <a:pt x="240" y="103"/>
                    <a:pt x="240" y="108"/>
                  </a:cubicBezTo>
                  <a:cubicBezTo>
                    <a:pt x="240" y="112"/>
                    <a:pt x="237" y="116"/>
                    <a:pt x="232" y="116"/>
                  </a:cubicBezTo>
                  <a:cubicBezTo>
                    <a:pt x="223" y="116"/>
                    <a:pt x="223" y="116"/>
                    <a:pt x="223" y="116"/>
                  </a:cubicBezTo>
                  <a:cubicBezTo>
                    <a:pt x="219" y="116"/>
                    <a:pt x="215" y="119"/>
                    <a:pt x="215" y="124"/>
                  </a:cubicBezTo>
                  <a:cubicBezTo>
                    <a:pt x="215" y="128"/>
                    <a:pt x="219" y="132"/>
                    <a:pt x="223" y="132"/>
                  </a:cubicBezTo>
                  <a:cubicBezTo>
                    <a:pt x="224" y="132"/>
                    <a:pt x="224" y="132"/>
                    <a:pt x="224" y="132"/>
                  </a:cubicBezTo>
                  <a:cubicBezTo>
                    <a:pt x="224" y="132"/>
                    <a:pt x="224" y="132"/>
                    <a:pt x="224" y="132"/>
                  </a:cubicBezTo>
                  <a:cubicBezTo>
                    <a:pt x="229" y="132"/>
                    <a:pt x="232" y="135"/>
                    <a:pt x="232" y="140"/>
                  </a:cubicBezTo>
                  <a:cubicBezTo>
                    <a:pt x="232" y="144"/>
                    <a:pt x="229" y="148"/>
                    <a:pt x="224" y="148"/>
                  </a:cubicBezTo>
                  <a:cubicBezTo>
                    <a:pt x="219" y="148"/>
                    <a:pt x="219" y="148"/>
                    <a:pt x="219" y="148"/>
                  </a:cubicBezTo>
                  <a:cubicBezTo>
                    <a:pt x="219" y="148"/>
                    <a:pt x="218" y="147"/>
                    <a:pt x="218" y="147"/>
                  </a:cubicBezTo>
                  <a:cubicBezTo>
                    <a:pt x="218" y="147"/>
                    <a:pt x="218" y="148"/>
                    <a:pt x="218" y="148"/>
                  </a:cubicBezTo>
                  <a:cubicBezTo>
                    <a:pt x="215" y="148"/>
                    <a:pt x="215" y="148"/>
                    <a:pt x="215" y="148"/>
                  </a:cubicBezTo>
                  <a:cubicBezTo>
                    <a:pt x="211" y="148"/>
                    <a:pt x="207" y="151"/>
                    <a:pt x="207" y="156"/>
                  </a:cubicBezTo>
                  <a:cubicBezTo>
                    <a:pt x="207" y="160"/>
                    <a:pt x="211" y="164"/>
                    <a:pt x="215" y="164"/>
                  </a:cubicBezTo>
                  <a:cubicBezTo>
                    <a:pt x="218" y="164"/>
                    <a:pt x="218" y="164"/>
                    <a:pt x="218" y="164"/>
                  </a:cubicBezTo>
                  <a:cubicBezTo>
                    <a:pt x="222" y="164"/>
                    <a:pt x="224" y="166"/>
                    <a:pt x="224" y="169"/>
                  </a:cubicBezTo>
                  <a:cubicBezTo>
                    <a:pt x="224" y="173"/>
                    <a:pt x="221" y="175"/>
                    <a:pt x="218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06" y="175"/>
                    <a:pt x="202" y="179"/>
                    <a:pt x="202" y="183"/>
                  </a:cubicBezTo>
                  <a:cubicBezTo>
                    <a:pt x="202" y="188"/>
                    <a:pt x="206" y="191"/>
                    <a:pt x="210" y="191"/>
                  </a:cubicBezTo>
                  <a:cubicBezTo>
                    <a:pt x="213" y="191"/>
                    <a:pt x="216" y="194"/>
                    <a:pt x="216" y="197"/>
                  </a:cubicBezTo>
                  <a:cubicBezTo>
                    <a:pt x="216" y="201"/>
                    <a:pt x="213" y="203"/>
                    <a:pt x="210" y="20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840" b="1">
                <a:latin typeface="+mn-lt"/>
              </a:endParaRP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F1BC7C37-7CDD-AB04-1B80-15DF279E8AA7}"/>
              </a:ext>
            </a:extLst>
          </p:cNvPr>
          <p:cNvGrpSpPr/>
          <p:nvPr/>
        </p:nvGrpSpPr>
        <p:grpSpPr>
          <a:xfrm>
            <a:off x="3674342" y="3085163"/>
            <a:ext cx="1002679" cy="1002629"/>
            <a:chOff x="2241396" y="4563294"/>
            <a:chExt cx="1068004" cy="1067951"/>
          </a:xfrm>
        </p:grpSpPr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7DF8374D-3624-2D58-99D6-3DD902D2DAC3}"/>
                </a:ext>
              </a:extLst>
            </p:cNvPr>
            <p:cNvSpPr/>
            <p:nvPr/>
          </p:nvSpPr>
          <p:spPr>
            <a:xfrm rot="5400000">
              <a:off x="2241422" y="4563268"/>
              <a:ext cx="1067951" cy="1068004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764" b="1" dirty="0">
                <a:solidFill>
                  <a:srgbClr val="FFFFFF"/>
                </a:solidFill>
              </a:endParaRPr>
            </a:p>
          </p:txBody>
        </p:sp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11BCE6B1-1093-0BB5-4268-5EC8D8794DE4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575304" y="4777932"/>
              <a:ext cx="400186" cy="638676"/>
              <a:chOff x="6513513" y="557213"/>
              <a:chExt cx="471488" cy="752475"/>
            </a:xfrm>
            <a:solidFill>
              <a:schemeClr val="bg1"/>
            </a:solidFill>
          </p:grpSpPr>
          <p:sp>
            <p:nvSpPr>
              <p:cNvPr id="51" name="Freeform 21">
                <a:extLst>
                  <a:ext uri="{FF2B5EF4-FFF2-40B4-BE49-F238E27FC236}">
                    <a16:creationId xmlns:a16="http://schemas.microsoft.com/office/drawing/2014/main" id="{26B397CB-88E5-3E12-435B-6BB7CC911C9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13513" y="557213"/>
                <a:ext cx="471488" cy="752475"/>
              </a:xfrm>
              <a:custGeom>
                <a:avLst/>
                <a:gdLst>
                  <a:gd name="T0" fmla="*/ 80 w 160"/>
                  <a:gd name="T1" fmla="*/ 0 h 256"/>
                  <a:gd name="T2" fmla="*/ 11 w 160"/>
                  <a:gd name="T3" fmla="*/ 120 h 256"/>
                  <a:gd name="T4" fmla="*/ 42 w 160"/>
                  <a:gd name="T5" fmla="*/ 179 h 256"/>
                  <a:gd name="T6" fmla="*/ 49 w 160"/>
                  <a:gd name="T7" fmla="*/ 187 h 256"/>
                  <a:gd name="T8" fmla="*/ 48 w 160"/>
                  <a:gd name="T9" fmla="*/ 208 h 256"/>
                  <a:gd name="T10" fmla="*/ 52 w 160"/>
                  <a:gd name="T11" fmla="*/ 231 h 256"/>
                  <a:gd name="T12" fmla="*/ 108 w 160"/>
                  <a:gd name="T13" fmla="*/ 231 h 256"/>
                  <a:gd name="T14" fmla="*/ 112 w 160"/>
                  <a:gd name="T15" fmla="*/ 208 h 256"/>
                  <a:gd name="T16" fmla="*/ 110 w 160"/>
                  <a:gd name="T17" fmla="*/ 187 h 256"/>
                  <a:gd name="T18" fmla="*/ 118 w 160"/>
                  <a:gd name="T19" fmla="*/ 179 h 256"/>
                  <a:gd name="T20" fmla="*/ 149 w 160"/>
                  <a:gd name="T21" fmla="*/ 120 h 256"/>
                  <a:gd name="T22" fmla="*/ 80 w 160"/>
                  <a:gd name="T23" fmla="*/ 248 h 256"/>
                  <a:gd name="T24" fmla="*/ 99 w 160"/>
                  <a:gd name="T25" fmla="*/ 232 h 256"/>
                  <a:gd name="T26" fmla="*/ 108 w 160"/>
                  <a:gd name="T27" fmla="*/ 218 h 256"/>
                  <a:gd name="T28" fmla="*/ 58 w 160"/>
                  <a:gd name="T29" fmla="*/ 224 h 256"/>
                  <a:gd name="T30" fmla="*/ 58 w 160"/>
                  <a:gd name="T31" fmla="*/ 212 h 256"/>
                  <a:gd name="T32" fmla="*/ 108 w 160"/>
                  <a:gd name="T33" fmla="*/ 218 h 256"/>
                  <a:gd name="T34" fmla="*/ 108 w 160"/>
                  <a:gd name="T35" fmla="*/ 198 h 256"/>
                  <a:gd name="T36" fmla="*/ 58 w 160"/>
                  <a:gd name="T37" fmla="*/ 204 h 256"/>
                  <a:gd name="T38" fmla="*/ 58 w 160"/>
                  <a:gd name="T39" fmla="*/ 192 h 256"/>
                  <a:gd name="T40" fmla="*/ 96 w 160"/>
                  <a:gd name="T41" fmla="*/ 192 h 256"/>
                  <a:gd name="T42" fmla="*/ 135 w 160"/>
                  <a:gd name="T43" fmla="*/ 112 h 256"/>
                  <a:gd name="T44" fmla="*/ 104 w 160"/>
                  <a:gd name="T45" fmla="*/ 170 h 256"/>
                  <a:gd name="T46" fmla="*/ 96 w 160"/>
                  <a:gd name="T47" fmla="*/ 176 h 256"/>
                  <a:gd name="T48" fmla="*/ 96 w 160"/>
                  <a:gd name="T49" fmla="*/ 124 h 256"/>
                  <a:gd name="T50" fmla="*/ 88 w 160"/>
                  <a:gd name="T51" fmla="*/ 176 h 256"/>
                  <a:gd name="T52" fmla="*/ 68 w 160"/>
                  <a:gd name="T53" fmla="*/ 128 h 256"/>
                  <a:gd name="T54" fmla="*/ 60 w 160"/>
                  <a:gd name="T55" fmla="*/ 129 h 256"/>
                  <a:gd name="T56" fmla="*/ 57 w 160"/>
                  <a:gd name="T57" fmla="*/ 172 h 256"/>
                  <a:gd name="T58" fmla="*/ 26 w 160"/>
                  <a:gd name="T59" fmla="*/ 114 h 256"/>
                  <a:gd name="T60" fmla="*/ 16 w 160"/>
                  <a:gd name="T61" fmla="*/ 80 h 256"/>
                  <a:gd name="T62" fmla="*/ 144 w 160"/>
                  <a:gd name="T63" fmla="*/ 80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60" h="256">
                    <a:moveTo>
                      <a:pt x="160" y="80"/>
                    </a:moveTo>
                    <a:cubicBezTo>
                      <a:pt x="160" y="36"/>
                      <a:pt x="124" y="0"/>
                      <a:pt x="80" y="0"/>
                    </a:cubicBezTo>
                    <a:cubicBezTo>
                      <a:pt x="36" y="0"/>
                      <a:pt x="0" y="36"/>
                      <a:pt x="0" y="80"/>
                    </a:cubicBezTo>
                    <a:cubicBezTo>
                      <a:pt x="0" y="95"/>
                      <a:pt x="4" y="109"/>
                      <a:pt x="11" y="120"/>
                    </a:cubicBezTo>
                    <a:cubicBezTo>
                      <a:pt x="11" y="120"/>
                      <a:pt x="11" y="120"/>
                      <a:pt x="11" y="120"/>
                    </a:cubicBezTo>
                    <a:cubicBezTo>
                      <a:pt x="42" y="179"/>
                      <a:pt x="42" y="179"/>
                      <a:pt x="42" y="179"/>
                    </a:cubicBezTo>
                    <a:cubicBezTo>
                      <a:pt x="42" y="179"/>
                      <a:pt x="42" y="179"/>
                      <a:pt x="42" y="179"/>
                    </a:cubicBezTo>
                    <a:cubicBezTo>
                      <a:pt x="44" y="182"/>
                      <a:pt x="46" y="185"/>
                      <a:pt x="49" y="187"/>
                    </a:cubicBezTo>
                    <a:cubicBezTo>
                      <a:pt x="46" y="190"/>
                      <a:pt x="44" y="194"/>
                      <a:pt x="44" y="198"/>
                    </a:cubicBezTo>
                    <a:cubicBezTo>
                      <a:pt x="44" y="202"/>
                      <a:pt x="46" y="206"/>
                      <a:pt x="48" y="208"/>
                    </a:cubicBezTo>
                    <a:cubicBezTo>
                      <a:pt x="46" y="211"/>
                      <a:pt x="44" y="214"/>
                      <a:pt x="44" y="218"/>
                    </a:cubicBezTo>
                    <a:cubicBezTo>
                      <a:pt x="44" y="224"/>
                      <a:pt x="47" y="229"/>
                      <a:pt x="52" y="231"/>
                    </a:cubicBezTo>
                    <a:cubicBezTo>
                      <a:pt x="53" y="245"/>
                      <a:pt x="65" y="256"/>
                      <a:pt x="80" y="256"/>
                    </a:cubicBezTo>
                    <a:cubicBezTo>
                      <a:pt x="94" y="256"/>
                      <a:pt x="106" y="245"/>
                      <a:pt x="108" y="231"/>
                    </a:cubicBezTo>
                    <a:cubicBezTo>
                      <a:pt x="112" y="229"/>
                      <a:pt x="116" y="224"/>
                      <a:pt x="116" y="218"/>
                    </a:cubicBezTo>
                    <a:cubicBezTo>
                      <a:pt x="116" y="214"/>
                      <a:pt x="114" y="211"/>
                      <a:pt x="112" y="208"/>
                    </a:cubicBezTo>
                    <a:cubicBezTo>
                      <a:pt x="114" y="206"/>
                      <a:pt x="116" y="202"/>
                      <a:pt x="116" y="198"/>
                    </a:cubicBezTo>
                    <a:cubicBezTo>
                      <a:pt x="116" y="194"/>
                      <a:pt x="114" y="190"/>
                      <a:pt x="110" y="187"/>
                    </a:cubicBezTo>
                    <a:cubicBezTo>
                      <a:pt x="113" y="185"/>
                      <a:pt x="116" y="182"/>
                      <a:pt x="118" y="179"/>
                    </a:cubicBezTo>
                    <a:cubicBezTo>
                      <a:pt x="118" y="179"/>
                      <a:pt x="118" y="179"/>
                      <a:pt x="118" y="179"/>
                    </a:cubicBezTo>
                    <a:cubicBezTo>
                      <a:pt x="149" y="120"/>
                      <a:pt x="149" y="120"/>
                      <a:pt x="149" y="120"/>
                    </a:cubicBezTo>
                    <a:cubicBezTo>
                      <a:pt x="149" y="120"/>
                      <a:pt x="149" y="120"/>
                      <a:pt x="149" y="120"/>
                    </a:cubicBezTo>
                    <a:cubicBezTo>
                      <a:pt x="156" y="109"/>
                      <a:pt x="160" y="95"/>
                      <a:pt x="160" y="80"/>
                    </a:cubicBezTo>
                    <a:close/>
                    <a:moveTo>
                      <a:pt x="80" y="248"/>
                    </a:moveTo>
                    <a:cubicBezTo>
                      <a:pt x="70" y="248"/>
                      <a:pt x="62" y="241"/>
                      <a:pt x="60" y="232"/>
                    </a:cubicBezTo>
                    <a:cubicBezTo>
                      <a:pt x="99" y="232"/>
                      <a:pt x="99" y="232"/>
                      <a:pt x="99" y="232"/>
                    </a:cubicBezTo>
                    <a:cubicBezTo>
                      <a:pt x="97" y="241"/>
                      <a:pt x="89" y="248"/>
                      <a:pt x="80" y="248"/>
                    </a:cubicBezTo>
                    <a:close/>
                    <a:moveTo>
                      <a:pt x="108" y="218"/>
                    </a:moveTo>
                    <a:cubicBezTo>
                      <a:pt x="108" y="222"/>
                      <a:pt x="105" y="224"/>
                      <a:pt x="102" y="224"/>
                    </a:cubicBezTo>
                    <a:cubicBezTo>
                      <a:pt x="58" y="224"/>
                      <a:pt x="58" y="224"/>
                      <a:pt x="58" y="224"/>
                    </a:cubicBezTo>
                    <a:cubicBezTo>
                      <a:pt x="55" y="224"/>
                      <a:pt x="52" y="222"/>
                      <a:pt x="52" y="218"/>
                    </a:cubicBezTo>
                    <a:cubicBezTo>
                      <a:pt x="52" y="215"/>
                      <a:pt x="55" y="212"/>
                      <a:pt x="58" y="212"/>
                    </a:cubicBezTo>
                    <a:cubicBezTo>
                      <a:pt x="102" y="212"/>
                      <a:pt x="102" y="212"/>
                      <a:pt x="102" y="212"/>
                    </a:cubicBezTo>
                    <a:cubicBezTo>
                      <a:pt x="105" y="212"/>
                      <a:pt x="108" y="215"/>
                      <a:pt x="108" y="218"/>
                    </a:cubicBezTo>
                    <a:close/>
                    <a:moveTo>
                      <a:pt x="102" y="192"/>
                    </a:moveTo>
                    <a:cubicBezTo>
                      <a:pt x="105" y="192"/>
                      <a:pt x="108" y="195"/>
                      <a:pt x="108" y="198"/>
                    </a:cubicBezTo>
                    <a:cubicBezTo>
                      <a:pt x="108" y="202"/>
                      <a:pt x="105" y="204"/>
                      <a:pt x="102" y="204"/>
                    </a:cubicBezTo>
                    <a:cubicBezTo>
                      <a:pt x="58" y="204"/>
                      <a:pt x="58" y="204"/>
                      <a:pt x="58" y="204"/>
                    </a:cubicBezTo>
                    <a:cubicBezTo>
                      <a:pt x="55" y="204"/>
                      <a:pt x="52" y="202"/>
                      <a:pt x="52" y="198"/>
                    </a:cubicBezTo>
                    <a:cubicBezTo>
                      <a:pt x="52" y="195"/>
                      <a:pt x="55" y="192"/>
                      <a:pt x="58" y="192"/>
                    </a:cubicBezTo>
                    <a:cubicBezTo>
                      <a:pt x="64" y="192"/>
                      <a:pt x="64" y="192"/>
                      <a:pt x="64" y="192"/>
                    </a:cubicBezTo>
                    <a:cubicBezTo>
                      <a:pt x="96" y="192"/>
                      <a:pt x="96" y="192"/>
                      <a:pt x="96" y="192"/>
                    </a:cubicBezTo>
                    <a:lnTo>
                      <a:pt x="102" y="192"/>
                    </a:lnTo>
                    <a:close/>
                    <a:moveTo>
                      <a:pt x="135" y="112"/>
                    </a:moveTo>
                    <a:cubicBezTo>
                      <a:pt x="135" y="113"/>
                      <a:pt x="135" y="114"/>
                      <a:pt x="134" y="114"/>
                    </a:cubicBezTo>
                    <a:cubicBezTo>
                      <a:pt x="104" y="170"/>
                      <a:pt x="104" y="170"/>
                      <a:pt x="104" y="170"/>
                    </a:cubicBezTo>
                    <a:cubicBezTo>
                      <a:pt x="104" y="170"/>
                      <a:pt x="103" y="171"/>
                      <a:pt x="103" y="172"/>
                    </a:cubicBezTo>
                    <a:cubicBezTo>
                      <a:pt x="102" y="174"/>
                      <a:pt x="100" y="176"/>
                      <a:pt x="96" y="176"/>
                    </a:cubicBezTo>
                    <a:cubicBezTo>
                      <a:pt x="100" y="129"/>
                      <a:pt x="100" y="129"/>
                      <a:pt x="100" y="129"/>
                    </a:cubicBezTo>
                    <a:cubicBezTo>
                      <a:pt x="100" y="126"/>
                      <a:pt x="98" y="124"/>
                      <a:pt x="96" y="124"/>
                    </a:cubicBezTo>
                    <a:cubicBezTo>
                      <a:pt x="94" y="124"/>
                      <a:pt x="92" y="126"/>
                      <a:pt x="92" y="128"/>
                    </a:cubicBezTo>
                    <a:cubicBezTo>
                      <a:pt x="88" y="176"/>
                      <a:pt x="88" y="176"/>
                      <a:pt x="88" y="176"/>
                    </a:cubicBezTo>
                    <a:cubicBezTo>
                      <a:pt x="72" y="176"/>
                      <a:pt x="72" y="176"/>
                      <a:pt x="72" y="176"/>
                    </a:cubicBezTo>
                    <a:cubicBezTo>
                      <a:pt x="68" y="128"/>
                      <a:pt x="68" y="128"/>
                      <a:pt x="68" y="128"/>
                    </a:cubicBezTo>
                    <a:cubicBezTo>
                      <a:pt x="68" y="126"/>
                      <a:pt x="66" y="124"/>
                      <a:pt x="64" y="124"/>
                    </a:cubicBezTo>
                    <a:cubicBezTo>
                      <a:pt x="61" y="124"/>
                      <a:pt x="60" y="126"/>
                      <a:pt x="60" y="129"/>
                    </a:cubicBezTo>
                    <a:cubicBezTo>
                      <a:pt x="64" y="176"/>
                      <a:pt x="64" y="176"/>
                      <a:pt x="64" y="176"/>
                    </a:cubicBezTo>
                    <a:cubicBezTo>
                      <a:pt x="60" y="176"/>
                      <a:pt x="58" y="174"/>
                      <a:pt x="57" y="172"/>
                    </a:cubicBezTo>
                    <a:cubicBezTo>
                      <a:pt x="56" y="171"/>
                      <a:pt x="56" y="171"/>
                      <a:pt x="56" y="170"/>
                    </a:cubicBezTo>
                    <a:cubicBezTo>
                      <a:pt x="26" y="114"/>
                      <a:pt x="26" y="114"/>
                      <a:pt x="26" y="114"/>
                    </a:cubicBezTo>
                    <a:cubicBezTo>
                      <a:pt x="25" y="114"/>
                      <a:pt x="25" y="113"/>
                      <a:pt x="25" y="112"/>
                    </a:cubicBezTo>
                    <a:cubicBezTo>
                      <a:pt x="19" y="103"/>
                      <a:pt x="16" y="91"/>
                      <a:pt x="16" y="80"/>
                    </a:cubicBezTo>
                    <a:cubicBezTo>
                      <a:pt x="16" y="45"/>
                      <a:pt x="45" y="16"/>
                      <a:pt x="80" y="16"/>
                    </a:cubicBezTo>
                    <a:cubicBezTo>
                      <a:pt x="115" y="16"/>
                      <a:pt x="144" y="45"/>
                      <a:pt x="144" y="80"/>
                    </a:cubicBezTo>
                    <a:cubicBezTo>
                      <a:pt x="144" y="91"/>
                      <a:pt x="141" y="103"/>
                      <a:pt x="135" y="1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40" b="1">
                  <a:latin typeface="+mn-lt"/>
                </a:endParaRPr>
              </a:p>
            </p:txBody>
          </p:sp>
          <p:sp>
            <p:nvSpPr>
              <p:cNvPr id="52" name="Freeform 22">
                <a:extLst>
                  <a:ext uri="{FF2B5EF4-FFF2-40B4-BE49-F238E27FC236}">
                    <a16:creationId xmlns:a16="http://schemas.microsoft.com/office/drawing/2014/main" id="{6D3CE9C8-8176-4EBB-6E1D-9266758EAE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08763" y="642938"/>
                <a:ext cx="120650" cy="103188"/>
              </a:xfrm>
              <a:custGeom>
                <a:avLst/>
                <a:gdLst>
                  <a:gd name="T0" fmla="*/ 35 w 41"/>
                  <a:gd name="T1" fmla="*/ 1 h 35"/>
                  <a:gd name="T2" fmla="*/ 1 w 41"/>
                  <a:gd name="T3" fmla="*/ 29 h 35"/>
                  <a:gd name="T4" fmla="*/ 3 w 41"/>
                  <a:gd name="T5" fmla="*/ 35 h 35"/>
                  <a:gd name="T6" fmla="*/ 4 w 41"/>
                  <a:gd name="T7" fmla="*/ 35 h 35"/>
                  <a:gd name="T8" fmla="*/ 8 w 41"/>
                  <a:gd name="T9" fmla="*/ 33 h 35"/>
                  <a:gd name="T10" fmla="*/ 37 w 41"/>
                  <a:gd name="T11" fmla="*/ 9 h 35"/>
                  <a:gd name="T12" fmla="*/ 40 w 41"/>
                  <a:gd name="T13" fmla="*/ 4 h 35"/>
                  <a:gd name="T14" fmla="*/ 35 w 41"/>
                  <a:gd name="T15" fmla="*/ 1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1" h="35">
                    <a:moveTo>
                      <a:pt x="35" y="1"/>
                    </a:moveTo>
                    <a:cubicBezTo>
                      <a:pt x="20" y="5"/>
                      <a:pt x="7" y="15"/>
                      <a:pt x="1" y="29"/>
                    </a:cubicBezTo>
                    <a:cubicBezTo>
                      <a:pt x="0" y="31"/>
                      <a:pt x="1" y="34"/>
                      <a:pt x="3" y="35"/>
                    </a:cubicBezTo>
                    <a:cubicBezTo>
                      <a:pt x="3" y="35"/>
                      <a:pt x="4" y="35"/>
                      <a:pt x="4" y="35"/>
                    </a:cubicBezTo>
                    <a:cubicBezTo>
                      <a:pt x="6" y="35"/>
                      <a:pt x="7" y="34"/>
                      <a:pt x="8" y="33"/>
                    </a:cubicBezTo>
                    <a:cubicBezTo>
                      <a:pt x="14" y="21"/>
                      <a:pt x="24" y="12"/>
                      <a:pt x="37" y="9"/>
                    </a:cubicBezTo>
                    <a:cubicBezTo>
                      <a:pt x="39" y="8"/>
                      <a:pt x="41" y="6"/>
                      <a:pt x="40" y="4"/>
                    </a:cubicBezTo>
                    <a:cubicBezTo>
                      <a:pt x="40" y="2"/>
                      <a:pt x="37" y="0"/>
                      <a:pt x="35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40" b="1">
                  <a:latin typeface="+mn-lt"/>
                </a:endParaRPr>
              </a:p>
            </p:txBody>
          </p:sp>
        </p:grpSp>
      </p:grpSp>
      <p:sp>
        <p:nvSpPr>
          <p:cNvPr id="53" name="Oval 52">
            <a:extLst>
              <a:ext uri="{FF2B5EF4-FFF2-40B4-BE49-F238E27FC236}">
                <a16:creationId xmlns:a16="http://schemas.microsoft.com/office/drawing/2014/main" id="{9DB04CB5-5478-60A0-3708-42338B2391C9}"/>
              </a:ext>
            </a:extLst>
          </p:cNvPr>
          <p:cNvSpPr/>
          <p:nvPr/>
        </p:nvSpPr>
        <p:spPr>
          <a:xfrm rot="5400000">
            <a:off x="2242119" y="3040508"/>
            <a:ext cx="1066555" cy="1066556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764" b="1" dirty="0">
              <a:solidFill>
                <a:srgbClr val="FFFFFF"/>
              </a:solidFill>
            </a:endParaRP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2E387E2A-F38E-9818-A1BD-80AC99217003}"/>
              </a:ext>
            </a:extLst>
          </p:cNvPr>
          <p:cNvGrpSpPr>
            <a:grpSpLocks noChangeAspect="1"/>
          </p:cNvGrpSpPr>
          <p:nvPr/>
        </p:nvGrpSpPr>
        <p:grpSpPr>
          <a:xfrm>
            <a:off x="2555167" y="3381079"/>
            <a:ext cx="433084" cy="412235"/>
            <a:chOff x="6719888" y="887413"/>
            <a:chExt cx="492125" cy="468312"/>
          </a:xfrm>
          <a:solidFill>
            <a:schemeClr val="bg1"/>
          </a:solidFill>
        </p:grpSpPr>
        <p:sp>
          <p:nvSpPr>
            <p:cNvPr id="55" name="Freeform 26">
              <a:extLst>
                <a:ext uri="{FF2B5EF4-FFF2-40B4-BE49-F238E27FC236}">
                  <a16:creationId xmlns:a16="http://schemas.microsoft.com/office/drawing/2014/main" id="{CDF109F4-9D5F-CF42-A54F-37BBEEFEC5B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19888" y="887413"/>
              <a:ext cx="492125" cy="468312"/>
            </a:xfrm>
            <a:custGeom>
              <a:avLst/>
              <a:gdLst>
                <a:gd name="T0" fmla="*/ 117 w 128"/>
                <a:gd name="T1" fmla="*/ 0 h 122"/>
                <a:gd name="T2" fmla="*/ 11 w 128"/>
                <a:gd name="T3" fmla="*/ 0 h 122"/>
                <a:gd name="T4" fmla="*/ 0 w 128"/>
                <a:gd name="T5" fmla="*/ 11 h 122"/>
                <a:gd name="T6" fmla="*/ 0 w 128"/>
                <a:gd name="T7" fmla="*/ 93 h 122"/>
                <a:gd name="T8" fmla="*/ 11 w 128"/>
                <a:gd name="T9" fmla="*/ 104 h 122"/>
                <a:gd name="T10" fmla="*/ 43 w 128"/>
                <a:gd name="T11" fmla="*/ 104 h 122"/>
                <a:gd name="T12" fmla="*/ 38 w 128"/>
                <a:gd name="T13" fmla="*/ 110 h 122"/>
                <a:gd name="T14" fmla="*/ 35 w 128"/>
                <a:gd name="T15" fmla="*/ 113 h 122"/>
                <a:gd name="T16" fmla="*/ 34 w 128"/>
                <a:gd name="T17" fmla="*/ 118 h 122"/>
                <a:gd name="T18" fmla="*/ 42 w 128"/>
                <a:gd name="T19" fmla="*/ 122 h 122"/>
                <a:gd name="T20" fmla="*/ 86 w 128"/>
                <a:gd name="T21" fmla="*/ 122 h 122"/>
                <a:gd name="T22" fmla="*/ 94 w 128"/>
                <a:gd name="T23" fmla="*/ 118 h 122"/>
                <a:gd name="T24" fmla="*/ 94 w 128"/>
                <a:gd name="T25" fmla="*/ 113 h 122"/>
                <a:gd name="T26" fmla="*/ 91 w 128"/>
                <a:gd name="T27" fmla="*/ 110 h 122"/>
                <a:gd name="T28" fmla="*/ 85 w 128"/>
                <a:gd name="T29" fmla="*/ 104 h 122"/>
                <a:gd name="T30" fmla="*/ 117 w 128"/>
                <a:gd name="T31" fmla="*/ 104 h 122"/>
                <a:gd name="T32" fmla="*/ 128 w 128"/>
                <a:gd name="T33" fmla="*/ 93 h 122"/>
                <a:gd name="T34" fmla="*/ 128 w 128"/>
                <a:gd name="T35" fmla="*/ 11 h 122"/>
                <a:gd name="T36" fmla="*/ 117 w 128"/>
                <a:gd name="T37" fmla="*/ 0 h 122"/>
                <a:gd name="T38" fmla="*/ 88 w 128"/>
                <a:gd name="T39" fmla="*/ 113 h 122"/>
                <a:gd name="T40" fmla="*/ 90 w 128"/>
                <a:gd name="T41" fmla="*/ 116 h 122"/>
                <a:gd name="T42" fmla="*/ 90 w 128"/>
                <a:gd name="T43" fmla="*/ 116 h 122"/>
                <a:gd name="T44" fmla="*/ 86 w 128"/>
                <a:gd name="T45" fmla="*/ 118 h 122"/>
                <a:gd name="T46" fmla="*/ 42 w 128"/>
                <a:gd name="T47" fmla="*/ 118 h 122"/>
                <a:gd name="T48" fmla="*/ 38 w 128"/>
                <a:gd name="T49" fmla="*/ 116 h 122"/>
                <a:gd name="T50" fmla="*/ 38 w 128"/>
                <a:gd name="T51" fmla="*/ 116 h 122"/>
                <a:gd name="T52" fmla="*/ 38 w 128"/>
                <a:gd name="T53" fmla="*/ 116 h 122"/>
                <a:gd name="T54" fmla="*/ 40 w 128"/>
                <a:gd name="T55" fmla="*/ 113 h 122"/>
                <a:gd name="T56" fmla="*/ 48 w 128"/>
                <a:gd name="T57" fmla="*/ 104 h 122"/>
                <a:gd name="T58" fmla="*/ 80 w 128"/>
                <a:gd name="T59" fmla="*/ 104 h 122"/>
                <a:gd name="T60" fmla="*/ 88 w 128"/>
                <a:gd name="T61" fmla="*/ 113 h 122"/>
                <a:gd name="T62" fmla="*/ 120 w 128"/>
                <a:gd name="T63" fmla="*/ 93 h 122"/>
                <a:gd name="T64" fmla="*/ 117 w 128"/>
                <a:gd name="T65" fmla="*/ 96 h 122"/>
                <a:gd name="T66" fmla="*/ 11 w 128"/>
                <a:gd name="T67" fmla="*/ 96 h 122"/>
                <a:gd name="T68" fmla="*/ 8 w 128"/>
                <a:gd name="T69" fmla="*/ 93 h 122"/>
                <a:gd name="T70" fmla="*/ 8 w 128"/>
                <a:gd name="T71" fmla="*/ 11 h 122"/>
                <a:gd name="T72" fmla="*/ 11 w 128"/>
                <a:gd name="T73" fmla="*/ 8 h 122"/>
                <a:gd name="T74" fmla="*/ 117 w 128"/>
                <a:gd name="T75" fmla="*/ 8 h 122"/>
                <a:gd name="T76" fmla="*/ 120 w 128"/>
                <a:gd name="T77" fmla="*/ 11 h 122"/>
                <a:gd name="T78" fmla="*/ 120 w 128"/>
                <a:gd name="T79" fmla="*/ 93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8" h="122">
                  <a:moveTo>
                    <a:pt x="117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99"/>
                    <a:pt x="5" y="104"/>
                    <a:pt x="11" y="104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42" y="106"/>
                    <a:pt x="39" y="109"/>
                    <a:pt x="38" y="110"/>
                  </a:cubicBezTo>
                  <a:cubicBezTo>
                    <a:pt x="36" y="111"/>
                    <a:pt x="35" y="112"/>
                    <a:pt x="35" y="113"/>
                  </a:cubicBezTo>
                  <a:cubicBezTo>
                    <a:pt x="34" y="114"/>
                    <a:pt x="33" y="116"/>
                    <a:pt x="34" y="118"/>
                  </a:cubicBezTo>
                  <a:cubicBezTo>
                    <a:pt x="35" y="120"/>
                    <a:pt x="37" y="122"/>
                    <a:pt x="42" y="122"/>
                  </a:cubicBezTo>
                  <a:cubicBezTo>
                    <a:pt x="86" y="122"/>
                    <a:pt x="86" y="122"/>
                    <a:pt x="86" y="122"/>
                  </a:cubicBezTo>
                  <a:cubicBezTo>
                    <a:pt x="91" y="122"/>
                    <a:pt x="93" y="120"/>
                    <a:pt x="94" y="118"/>
                  </a:cubicBezTo>
                  <a:cubicBezTo>
                    <a:pt x="95" y="116"/>
                    <a:pt x="95" y="114"/>
                    <a:pt x="94" y="113"/>
                  </a:cubicBezTo>
                  <a:cubicBezTo>
                    <a:pt x="93" y="112"/>
                    <a:pt x="92" y="111"/>
                    <a:pt x="91" y="110"/>
                  </a:cubicBezTo>
                  <a:cubicBezTo>
                    <a:pt x="89" y="109"/>
                    <a:pt x="87" y="106"/>
                    <a:pt x="85" y="104"/>
                  </a:cubicBezTo>
                  <a:cubicBezTo>
                    <a:pt x="117" y="104"/>
                    <a:pt x="117" y="104"/>
                    <a:pt x="117" y="104"/>
                  </a:cubicBezTo>
                  <a:cubicBezTo>
                    <a:pt x="123" y="104"/>
                    <a:pt x="128" y="99"/>
                    <a:pt x="128" y="93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28" y="5"/>
                    <a:pt x="123" y="0"/>
                    <a:pt x="117" y="0"/>
                  </a:cubicBezTo>
                  <a:close/>
                  <a:moveTo>
                    <a:pt x="88" y="113"/>
                  </a:moveTo>
                  <a:cubicBezTo>
                    <a:pt x="89" y="114"/>
                    <a:pt x="90" y="115"/>
                    <a:pt x="90" y="116"/>
                  </a:cubicBezTo>
                  <a:cubicBezTo>
                    <a:pt x="90" y="116"/>
                    <a:pt x="91" y="116"/>
                    <a:pt x="90" y="116"/>
                  </a:cubicBezTo>
                  <a:cubicBezTo>
                    <a:pt x="90" y="117"/>
                    <a:pt x="88" y="118"/>
                    <a:pt x="86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0" y="118"/>
                    <a:pt x="38" y="117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5"/>
                    <a:pt x="39" y="114"/>
                    <a:pt x="40" y="113"/>
                  </a:cubicBezTo>
                  <a:cubicBezTo>
                    <a:pt x="44" y="109"/>
                    <a:pt x="47" y="106"/>
                    <a:pt x="48" y="104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82" y="106"/>
                    <a:pt x="84" y="109"/>
                    <a:pt x="88" y="113"/>
                  </a:cubicBezTo>
                  <a:close/>
                  <a:moveTo>
                    <a:pt x="120" y="93"/>
                  </a:moveTo>
                  <a:cubicBezTo>
                    <a:pt x="120" y="95"/>
                    <a:pt x="119" y="96"/>
                    <a:pt x="117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9" y="96"/>
                    <a:pt x="8" y="95"/>
                    <a:pt x="8" y="93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9"/>
                    <a:pt x="9" y="8"/>
                    <a:pt x="11" y="8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9" y="8"/>
                    <a:pt x="120" y="9"/>
                    <a:pt x="120" y="11"/>
                  </a:cubicBezTo>
                  <a:lnTo>
                    <a:pt x="120" y="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56" name="Freeform 27">
              <a:extLst>
                <a:ext uri="{FF2B5EF4-FFF2-40B4-BE49-F238E27FC236}">
                  <a16:creationId xmlns:a16="http://schemas.microsoft.com/office/drawing/2014/main" id="{EFAAEECA-7BED-0E72-F14E-CF9A7F42FC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81801" y="947738"/>
              <a:ext cx="368300" cy="247650"/>
            </a:xfrm>
            <a:custGeom>
              <a:avLst/>
              <a:gdLst>
                <a:gd name="T0" fmla="*/ 89 w 96"/>
                <a:gd name="T1" fmla="*/ 0 h 64"/>
                <a:gd name="T2" fmla="*/ 7 w 96"/>
                <a:gd name="T3" fmla="*/ 0 h 64"/>
                <a:gd name="T4" fmla="*/ 0 w 96"/>
                <a:gd name="T5" fmla="*/ 7 h 64"/>
                <a:gd name="T6" fmla="*/ 0 w 96"/>
                <a:gd name="T7" fmla="*/ 57 h 64"/>
                <a:gd name="T8" fmla="*/ 7 w 96"/>
                <a:gd name="T9" fmla="*/ 64 h 64"/>
                <a:gd name="T10" fmla="*/ 89 w 96"/>
                <a:gd name="T11" fmla="*/ 64 h 64"/>
                <a:gd name="T12" fmla="*/ 96 w 96"/>
                <a:gd name="T13" fmla="*/ 57 h 64"/>
                <a:gd name="T14" fmla="*/ 96 w 96"/>
                <a:gd name="T15" fmla="*/ 7 h 64"/>
                <a:gd name="T16" fmla="*/ 89 w 96"/>
                <a:gd name="T17" fmla="*/ 0 h 64"/>
                <a:gd name="T18" fmla="*/ 92 w 96"/>
                <a:gd name="T19" fmla="*/ 57 h 64"/>
                <a:gd name="T20" fmla="*/ 89 w 96"/>
                <a:gd name="T21" fmla="*/ 60 h 64"/>
                <a:gd name="T22" fmla="*/ 7 w 96"/>
                <a:gd name="T23" fmla="*/ 60 h 64"/>
                <a:gd name="T24" fmla="*/ 4 w 96"/>
                <a:gd name="T25" fmla="*/ 57 h 64"/>
                <a:gd name="T26" fmla="*/ 4 w 96"/>
                <a:gd name="T27" fmla="*/ 7 h 64"/>
                <a:gd name="T28" fmla="*/ 7 w 96"/>
                <a:gd name="T29" fmla="*/ 4 h 64"/>
                <a:gd name="T30" fmla="*/ 89 w 96"/>
                <a:gd name="T31" fmla="*/ 4 h 64"/>
                <a:gd name="T32" fmla="*/ 92 w 96"/>
                <a:gd name="T33" fmla="*/ 7 h 64"/>
                <a:gd name="T34" fmla="*/ 92 w 96"/>
                <a:gd name="T35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6" h="64">
                  <a:moveTo>
                    <a:pt x="89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1"/>
                    <a:pt x="3" y="64"/>
                    <a:pt x="7" y="64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93" y="64"/>
                    <a:pt x="96" y="61"/>
                    <a:pt x="96" y="5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3"/>
                    <a:pt x="93" y="0"/>
                    <a:pt x="89" y="0"/>
                  </a:cubicBezTo>
                  <a:close/>
                  <a:moveTo>
                    <a:pt x="92" y="57"/>
                  </a:moveTo>
                  <a:cubicBezTo>
                    <a:pt x="92" y="59"/>
                    <a:pt x="91" y="60"/>
                    <a:pt x="89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5" y="60"/>
                    <a:pt x="4" y="59"/>
                    <a:pt x="4" y="5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5" y="4"/>
                    <a:pt x="7" y="4"/>
                  </a:cubicBezTo>
                  <a:cubicBezTo>
                    <a:pt x="89" y="4"/>
                    <a:pt x="89" y="4"/>
                    <a:pt x="89" y="4"/>
                  </a:cubicBezTo>
                  <a:cubicBezTo>
                    <a:pt x="91" y="4"/>
                    <a:pt x="92" y="5"/>
                    <a:pt x="92" y="7"/>
                  </a:cubicBezTo>
                  <a:lnTo>
                    <a:pt x="92" y="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57" name="Freeform 28">
              <a:extLst>
                <a:ext uri="{FF2B5EF4-FFF2-40B4-BE49-F238E27FC236}">
                  <a16:creationId xmlns:a16="http://schemas.microsoft.com/office/drawing/2014/main" id="{DA152E11-2E7B-8EC7-A819-69D42AB995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43726" y="1201738"/>
              <a:ext cx="46038" cy="47625"/>
            </a:xfrm>
            <a:custGeom>
              <a:avLst/>
              <a:gdLst>
                <a:gd name="T0" fmla="*/ 6 w 12"/>
                <a:gd name="T1" fmla="*/ 0 h 12"/>
                <a:gd name="T2" fmla="*/ 0 w 12"/>
                <a:gd name="T3" fmla="*/ 6 h 12"/>
                <a:gd name="T4" fmla="*/ 6 w 12"/>
                <a:gd name="T5" fmla="*/ 12 h 12"/>
                <a:gd name="T6" fmla="*/ 12 w 12"/>
                <a:gd name="T7" fmla="*/ 6 h 12"/>
                <a:gd name="T8" fmla="*/ 6 w 12"/>
                <a:gd name="T9" fmla="*/ 0 h 12"/>
                <a:gd name="T10" fmla="*/ 6 w 12"/>
                <a:gd name="T11" fmla="*/ 8 h 12"/>
                <a:gd name="T12" fmla="*/ 4 w 12"/>
                <a:gd name="T13" fmla="*/ 6 h 12"/>
                <a:gd name="T14" fmla="*/ 6 w 12"/>
                <a:gd name="T15" fmla="*/ 4 h 12"/>
                <a:gd name="T16" fmla="*/ 8 w 12"/>
                <a:gd name="T17" fmla="*/ 6 h 12"/>
                <a:gd name="T18" fmla="*/ 6 w 12"/>
                <a:gd name="T1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9" y="12"/>
                    <a:pt x="12" y="9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lose/>
                  <a:moveTo>
                    <a:pt x="6" y="8"/>
                  </a:moveTo>
                  <a:cubicBezTo>
                    <a:pt x="5" y="8"/>
                    <a:pt x="4" y="7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7" y="4"/>
                    <a:pt x="8" y="5"/>
                    <a:pt x="8" y="6"/>
                  </a:cubicBezTo>
                  <a:cubicBezTo>
                    <a:pt x="8" y="7"/>
                    <a:pt x="7" y="8"/>
                    <a:pt x="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58" name="Freeform 29">
              <a:extLst>
                <a:ext uri="{FF2B5EF4-FFF2-40B4-BE49-F238E27FC236}">
                  <a16:creationId xmlns:a16="http://schemas.microsoft.com/office/drawing/2014/main" id="{30B6EBBF-21E2-E484-F871-F5F96A86E4B6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1813" y="1044575"/>
              <a:ext cx="61913" cy="65087"/>
            </a:xfrm>
            <a:custGeom>
              <a:avLst/>
              <a:gdLst>
                <a:gd name="T0" fmla="*/ 0 w 39"/>
                <a:gd name="T1" fmla="*/ 24 h 41"/>
                <a:gd name="T2" fmla="*/ 39 w 39"/>
                <a:gd name="T3" fmla="*/ 41 h 41"/>
                <a:gd name="T4" fmla="*/ 39 w 39"/>
                <a:gd name="T5" fmla="*/ 32 h 41"/>
                <a:gd name="T6" fmla="*/ 12 w 39"/>
                <a:gd name="T7" fmla="*/ 19 h 41"/>
                <a:gd name="T8" fmla="*/ 39 w 39"/>
                <a:gd name="T9" fmla="*/ 10 h 41"/>
                <a:gd name="T10" fmla="*/ 39 w 39"/>
                <a:gd name="T11" fmla="*/ 0 h 41"/>
                <a:gd name="T12" fmla="*/ 0 w 39"/>
                <a:gd name="T13" fmla="*/ 17 h 41"/>
                <a:gd name="T14" fmla="*/ 0 w 39"/>
                <a:gd name="T15" fmla="*/ 2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41">
                  <a:moveTo>
                    <a:pt x="0" y="24"/>
                  </a:moveTo>
                  <a:lnTo>
                    <a:pt x="39" y="41"/>
                  </a:lnTo>
                  <a:lnTo>
                    <a:pt x="39" y="32"/>
                  </a:lnTo>
                  <a:lnTo>
                    <a:pt x="12" y="19"/>
                  </a:lnTo>
                  <a:lnTo>
                    <a:pt x="39" y="10"/>
                  </a:lnTo>
                  <a:lnTo>
                    <a:pt x="39" y="0"/>
                  </a:lnTo>
                  <a:lnTo>
                    <a:pt x="0" y="17"/>
                  </a:lnTo>
                  <a:lnTo>
                    <a:pt x="0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59" name="Freeform 30">
              <a:extLst>
                <a:ext uri="{FF2B5EF4-FFF2-40B4-BE49-F238E27FC236}">
                  <a16:creationId xmlns:a16="http://schemas.microsoft.com/office/drawing/2014/main" id="{A0F9C045-63A8-0367-0DEE-AA48A615FC27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0076" y="1033463"/>
              <a:ext cx="31750" cy="87312"/>
            </a:xfrm>
            <a:custGeom>
              <a:avLst/>
              <a:gdLst>
                <a:gd name="T0" fmla="*/ 7 w 8"/>
                <a:gd name="T1" fmla="*/ 0 h 23"/>
                <a:gd name="T2" fmla="*/ 5 w 8"/>
                <a:gd name="T3" fmla="*/ 0 h 23"/>
                <a:gd name="T4" fmla="*/ 5 w 8"/>
                <a:gd name="T5" fmla="*/ 2 h 23"/>
                <a:gd name="T6" fmla="*/ 0 w 8"/>
                <a:gd name="T7" fmla="*/ 20 h 23"/>
                <a:gd name="T8" fmla="*/ 0 w 8"/>
                <a:gd name="T9" fmla="*/ 22 h 23"/>
                <a:gd name="T10" fmla="*/ 2 w 8"/>
                <a:gd name="T11" fmla="*/ 23 h 23"/>
                <a:gd name="T12" fmla="*/ 3 w 8"/>
                <a:gd name="T13" fmla="*/ 23 h 23"/>
                <a:gd name="T14" fmla="*/ 3 w 8"/>
                <a:gd name="T15" fmla="*/ 22 h 23"/>
                <a:gd name="T16" fmla="*/ 4 w 8"/>
                <a:gd name="T17" fmla="*/ 21 h 23"/>
                <a:gd name="T18" fmla="*/ 8 w 8"/>
                <a:gd name="T19" fmla="*/ 3 h 23"/>
                <a:gd name="T20" fmla="*/ 8 w 8"/>
                <a:gd name="T21" fmla="*/ 1 h 23"/>
                <a:gd name="T22" fmla="*/ 8 w 8"/>
                <a:gd name="T23" fmla="*/ 0 h 23"/>
                <a:gd name="T24" fmla="*/ 7 w 8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3">
                  <a:moveTo>
                    <a:pt x="7" y="0"/>
                  </a:move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1"/>
                    <a:pt x="5" y="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0" y="23"/>
                    <a:pt x="1" y="23"/>
                    <a:pt x="2" y="23"/>
                  </a:cubicBezTo>
                  <a:cubicBezTo>
                    <a:pt x="2" y="23"/>
                    <a:pt x="2" y="23"/>
                    <a:pt x="3" y="23"/>
                  </a:cubicBezTo>
                  <a:cubicBezTo>
                    <a:pt x="3" y="23"/>
                    <a:pt x="3" y="22"/>
                    <a:pt x="3" y="22"/>
                  </a:cubicBezTo>
                  <a:cubicBezTo>
                    <a:pt x="3" y="22"/>
                    <a:pt x="3" y="21"/>
                    <a:pt x="4" y="2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60" name="Freeform 31">
              <a:extLst>
                <a:ext uri="{FF2B5EF4-FFF2-40B4-BE49-F238E27FC236}">
                  <a16:creationId xmlns:a16="http://schemas.microsoft.com/office/drawing/2014/main" id="{E28B5E3F-7026-0CDF-06CF-EBB9AD6DCFE7}"/>
                </a:ext>
              </a:extLst>
            </p:cNvPr>
            <p:cNvSpPr>
              <a:spLocks/>
            </p:cNvSpPr>
            <p:nvPr/>
          </p:nvSpPr>
          <p:spPr bwMode="auto">
            <a:xfrm>
              <a:off x="6989763" y="1044575"/>
              <a:ext cx="60325" cy="65087"/>
            </a:xfrm>
            <a:custGeom>
              <a:avLst/>
              <a:gdLst>
                <a:gd name="T0" fmla="*/ 0 w 38"/>
                <a:gd name="T1" fmla="*/ 10 h 41"/>
                <a:gd name="T2" fmla="*/ 26 w 38"/>
                <a:gd name="T3" fmla="*/ 19 h 41"/>
                <a:gd name="T4" fmla="*/ 0 w 38"/>
                <a:gd name="T5" fmla="*/ 32 h 41"/>
                <a:gd name="T6" fmla="*/ 0 w 38"/>
                <a:gd name="T7" fmla="*/ 41 h 41"/>
                <a:gd name="T8" fmla="*/ 38 w 38"/>
                <a:gd name="T9" fmla="*/ 24 h 41"/>
                <a:gd name="T10" fmla="*/ 38 w 38"/>
                <a:gd name="T11" fmla="*/ 17 h 41"/>
                <a:gd name="T12" fmla="*/ 0 w 38"/>
                <a:gd name="T13" fmla="*/ 0 h 41"/>
                <a:gd name="T14" fmla="*/ 0 w 38"/>
                <a:gd name="T15" fmla="*/ 1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41">
                  <a:moveTo>
                    <a:pt x="0" y="10"/>
                  </a:moveTo>
                  <a:lnTo>
                    <a:pt x="26" y="19"/>
                  </a:lnTo>
                  <a:lnTo>
                    <a:pt x="0" y="32"/>
                  </a:lnTo>
                  <a:lnTo>
                    <a:pt x="0" y="41"/>
                  </a:lnTo>
                  <a:lnTo>
                    <a:pt x="38" y="24"/>
                  </a:lnTo>
                  <a:lnTo>
                    <a:pt x="38" y="17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83575303"/>
      </p:ext>
    </p:extLst>
  </p:cSld>
  <p:clrMapOvr>
    <a:masterClrMapping/>
  </p:clrMapOvr>
</p:sld>
</file>

<file path=ppt/slides/slide1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FB37AE-367D-C779-FE9B-7A3579120F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4" name="think-cell data - do not delete" hidden="1">
            <a:extLst>
              <a:ext uri="{FF2B5EF4-FFF2-40B4-BE49-F238E27FC236}">
                <a16:creationId xmlns:a16="http://schemas.microsoft.com/office/drawing/2014/main" id="{FDB2872A-C1C4-417C-3F53-DCB76D95D21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68054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25" imgH="426" progId="TCLayout.ActiveDocument.1">
                  <p:embed/>
                </p:oleObj>
              </mc:Choice>
              <mc:Fallback>
                <p:oleObj name="think-cell Slide" r:id="rId6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594658A-9008-0AD6-3FC2-912E456F7E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8 Concep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71F0FF-A374-B553-9DB2-BA1D6E054C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58</a:t>
            </a:fld>
            <a:endParaRPr lang="en-US" dirty="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67247B26-549C-6648-D582-C2660563620E}"/>
              </a:ext>
            </a:extLst>
          </p:cNvPr>
          <p:cNvCxnSpPr>
            <a:cxnSpLocks/>
            <a:stCxn id="41" idx="4"/>
            <a:endCxn id="27" idx="0"/>
          </p:cNvCxnSpPr>
          <p:nvPr/>
        </p:nvCxnSpPr>
        <p:spPr>
          <a:xfrm flipH="1" flipV="1">
            <a:off x="1875434" y="3586480"/>
            <a:ext cx="1812622" cy="1"/>
          </a:xfrm>
          <a:prstGeom prst="line">
            <a:avLst/>
          </a:prstGeom>
          <a:ln w="19050" cap="rnd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F908BAE2-5E6D-E85B-ABBF-BB53BAF471C1}"/>
              </a:ext>
            </a:extLst>
          </p:cNvPr>
          <p:cNvCxnSpPr>
            <a:cxnSpLocks/>
            <a:stCxn id="47" idx="5"/>
            <a:endCxn id="50" idx="1"/>
          </p:cNvCxnSpPr>
          <p:nvPr/>
        </p:nvCxnSpPr>
        <p:spPr>
          <a:xfrm flipH="1">
            <a:off x="2140886" y="2945608"/>
            <a:ext cx="1281718" cy="1281747"/>
          </a:xfrm>
          <a:prstGeom prst="line">
            <a:avLst/>
          </a:prstGeom>
          <a:ln w="19050" cap="rnd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4645AF7-D948-E4F3-8A0E-900AB707FA11}"/>
              </a:ext>
            </a:extLst>
          </p:cNvPr>
          <p:cNvCxnSpPr>
            <a:cxnSpLocks/>
            <a:stCxn id="22" idx="6"/>
            <a:endCxn id="29" idx="2"/>
          </p:cNvCxnSpPr>
          <p:nvPr/>
        </p:nvCxnSpPr>
        <p:spPr>
          <a:xfrm>
            <a:off x="2781746" y="2680148"/>
            <a:ext cx="0" cy="1812665"/>
          </a:xfrm>
          <a:prstGeom prst="line">
            <a:avLst/>
          </a:prstGeom>
          <a:ln w="19050" cap="rnd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94501E6-8B38-8BC8-0110-8F62F41FA3E8}"/>
              </a:ext>
            </a:extLst>
          </p:cNvPr>
          <p:cNvCxnSpPr>
            <a:cxnSpLocks/>
            <a:stCxn id="49" idx="7"/>
            <a:endCxn id="32" idx="3"/>
          </p:cNvCxnSpPr>
          <p:nvPr/>
        </p:nvCxnSpPr>
        <p:spPr>
          <a:xfrm>
            <a:off x="2140886" y="2945604"/>
            <a:ext cx="1281718" cy="1281750"/>
          </a:xfrm>
          <a:prstGeom prst="line">
            <a:avLst/>
          </a:prstGeom>
          <a:ln w="19050" cap="rnd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ctagon 8">
            <a:extLst>
              <a:ext uri="{FF2B5EF4-FFF2-40B4-BE49-F238E27FC236}">
                <a16:creationId xmlns:a16="http://schemas.microsoft.com/office/drawing/2014/main" id="{822C53E7-597B-F3E6-567B-AE4F42FA499B}"/>
              </a:ext>
            </a:extLst>
          </p:cNvPr>
          <p:cNvSpPr/>
          <p:nvPr/>
        </p:nvSpPr>
        <p:spPr>
          <a:xfrm>
            <a:off x="1255172" y="2058654"/>
            <a:ext cx="3040457" cy="3030262"/>
          </a:xfrm>
          <a:prstGeom prst="octagon">
            <a:avLst/>
          </a:prstGeom>
          <a:noFill/>
          <a:ln w="19050" cap="rnd"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764" b="1" dirty="0">
              <a:solidFill>
                <a:srgbClr val="FFFFFF"/>
              </a:solidFill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D027F3BE-2B13-14B8-1CFA-EA824D67A84A}"/>
              </a:ext>
            </a:extLst>
          </p:cNvPr>
          <p:cNvSpPr/>
          <p:nvPr/>
        </p:nvSpPr>
        <p:spPr>
          <a:xfrm rot="5400000">
            <a:off x="2242119" y="3040508"/>
            <a:ext cx="1066555" cy="1066556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764" b="1" dirty="0">
              <a:solidFill>
                <a:srgbClr val="FFFFFF"/>
              </a:solidFill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970089F-CFA1-4681-DC76-A825E9C96982}"/>
              </a:ext>
            </a:extLst>
          </p:cNvPr>
          <p:cNvGrpSpPr>
            <a:grpSpLocks noChangeAspect="1"/>
          </p:cNvGrpSpPr>
          <p:nvPr/>
        </p:nvGrpSpPr>
        <p:grpSpPr>
          <a:xfrm>
            <a:off x="2555167" y="3381079"/>
            <a:ext cx="433084" cy="412235"/>
            <a:chOff x="6719888" y="887413"/>
            <a:chExt cx="492125" cy="468312"/>
          </a:xfrm>
          <a:solidFill>
            <a:schemeClr val="bg1"/>
          </a:solidFill>
        </p:grpSpPr>
        <p:sp>
          <p:nvSpPr>
            <p:cNvPr id="12" name="Freeform 26">
              <a:extLst>
                <a:ext uri="{FF2B5EF4-FFF2-40B4-BE49-F238E27FC236}">
                  <a16:creationId xmlns:a16="http://schemas.microsoft.com/office/drawing/2014/main" id="{85CAA489-2BEA-A2B1-FEA7-0F4C355869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19888" y="887413"/>
              <a:ext cx="492125" cy="468312"/>
            </a:xfrm>
            <a:custGeom>
              <a:avLst/>
              <a:gdLst>
                <a:gd name="T0" fmla="*/ 117 w 128"/>
                <a:gd name="T1" fmla="*/ 0 h 122"/>
                <a:gd name="T2" fmla="*/ 11 w 128"/>
                <a:gd name="T3" fmla="*/ 0 h 122"/>
                <a:gd name="T4" fmla="*/ 0 w 128"/>
                <a:gd name="T5" fmla="*/ 11 h 122"/>
                <a:gd name="T6" fmla="*/ 0 w 128"/>
                <a:gd name="T7" fmla="*/ 93 h 122"/>
                <a:gd name="T8" fmla="*/ 11 w 128"/>
                <a:gd name="T9" fmla="*/ 104 h 122"/>
                <a:gd name="T10" fmla="*/ 43 w 128"/>
                <a:gd name="T11" fmla="*/ 104 h 122"/>
                <a:gd name="T12" fmla="*/ 38 w 128"/>
                <a:gd name="T13" fmla="*/ 110 h 122"/>
                <a:gd name="T14" fmla="*/ 35 w 128"/>
                <a:gd name="T15" fmla="*/ 113 h 122"/>
                <a:gd name="T16" fmla="*/ 34 w 128"/>
                <a:gd name="T17" fmla="*/ 118 h 122"/>
                <a:gd name="T18" fmla="*/ 42 w 128"/>
                <a:gd name="T19" fmla="*/ 122 h 122"/>
                <a:gd name="T20" fmla="*/ 86 w 128"/>
                <a:gd name="T21" fmla="*/ 122 h 122"/>
                <a:gd name="T22" fmla="*/ 94 w 128"/>
                <a:gd name="T23" fmla="*/ 118 h 122"/>
                <a:gd name="T24" fmla="*/ 94 w 128"/>
                <a:gd name="T25" fmla="*/ 113 h 122"/>
                <a:gd name="T26" fmla="*/ 91 w 128"/>
                <a:gd name="T27" fmla="*/ 110 h 122"/>
                <a:gd name="T28" fmla="*/ 85 w 128"/>
                <a:gd name="T29" fmla="*/ 104 h 122"/>
                <a:gd name="T30" fmla="*/ 117 w 128"/>
                <a:gd name="T31" fmla="*/ 104 h 122"/>
                <a:gd name="T32" fmla="*/ 128 w 128"/>
                <a:gd name="T33" fmla="*/ 93 h 122"/>
                <a:gd name="T34" fmla="*/ 128 w 128"/>
                <a:gd name="T35" fmla="*/ 11 h 122"/>
                <a:gd name="T36" fmla="*/ 117 w 128"/>
                <a:gd name="T37" fmla="*/ 0 h 122"/>
                <a:gd name="T38" fmla="*/ 88 w 128"/>
                <a:gd name="T39" fmla="*/ 113 h 122"/>
                <a:gd name="T40" fmla="*/ 90 w 128"/>
                <a:gd name="T41" fmla="*/ 116 h 122"/>
                <a:gd name="T42" fmla="*/ 90 w 128"/>
                <a:gd name="T43" fmla="*/ 116 h 122"/>
                <a:gd name="T44" fmla="*/ 86 w 128"/>
                <a:gd name="T45" fmla="*/ 118 h 122"/>
                <a:gd name="T46" fmla="*/ 42 w 128"/>
                <a:gd name="T47" fmla="*/ 118 h 122"/>
                <a:gd name="T48" fmla="*/ 38 w 128"/>
                <a:gd name="T49" fmla="*/ 116 h 122"/>
                <a:gd name="T50" fmla="*/ 38 w 128"/>
                <a:gd name="T51" fmla="*/ 116 h 122"/>
                <a:gd name="T52" fmla="*/ 38 w 128"/>
                <a:gd name="T53" fmla="*/ 116 h 122"/>
                <a:gd name="T54" fmla="*/ 40 w 128"/>
                <a:gd name="T55" fmla="*/ 113 h 122"/>
                <a:gd name="T56" fmla="*/ 48 w 128"/>
                <a:gd name="T57" fmla="*/ 104 h 122"/>
                <a:gd name="T58" fmla="*/ 80 w 128"/>
                <a:gd name="T59" fmla="*/ 104 h 122"/>
                <a:gd name="T60" fmla="*/ 88 w 128"/>
                <a:gd name="T61" fmla="*/ 113 h 122"/>
                <a:gd name="T62" fmla="*/ 120 w 128"/>
                <a:gd name="T63" fmla="*/ 93 h 122"/>
                <a:gd name="T64" fmla="*/ 117 w 128"/>
                <a:gd name="T65" fmla="*/ 96 h 122"/>
                <a:gd name="T66" fmla="*/ 11 w 128"/>
                <a:gd name="T67" fmla="*/ 96 h 122"/>
                <a:gd name="T68" fmla="*/ 8 w 128"/>
                <a:gd name="T69" fmla="*/ 93 h 122"/>
                <a:gd name="T70" fmla="*/ 8 w 128"/>
                <a:gd name="T71" fmla="*/ 11 h 122"/>
                <a:gd name="T72" fmla="*/ 11 w 128"/>
                <a:gd name="T73" fmla="*/ 8 h 122"/>
                <a:gd name="T74" fmla="*/ 117 w 128"/>
                <a:gd name="T75" fmla="*/ 8 h 122"/>
                <a:gd name="T76" fmla="*/ 120 w 128"/>
                <a:gd name="T77" fmla="*/ 11 h 122"/>
                <a:gd name="T78" fmla="*/ 120 w 128"/>
                <a:gd name="T79" fmla="*/ 93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8" h="122">
                  <a:moveTo>
                    <a:pt x="117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99"/>
                    <a:pt x="5" y="104"/>
                    <a:pt x="11" y="104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42" y="106"/>
                    <a:pt x="39" y="109"/>
                    <a:pt x="38" y="110"/>
                  </a:cubicBezTo>
                  <a:cubicBezTo>
                    <a:pt x="36" y="111"/>
                    <a:pt x="35" y="112"/>
                    <a:pt x="35" y="113"/>
                  </a:cubicBezTo>
                  <a:cubicBezTo>
                    <a:pt x="34" y="114"/>
                    <a:pt x="33" y="116"/>
                    <a:pt x="34" y="118"/>
                  </a:cubicBezTo>
                  <a:cubicBezTo>
                    <a:pt x="35" y="120"/>
                    <a:pt x="37" y="122"/>
                    <a:pt x="42" y="122"/>
                  </a:cubicBezTo>
                  <a:cubicBezTo>
                    <a:pt x="86" y="122"/>
                    <a:pt x="86" y="122"/>
                    <a:pt x="86" y="122"/>
                  </a:cubicBezTo>
                  <a:cubicBezTo>
                    <a:pt x="91" y="122"/>
                    <a:pt x="93" y="120"/>
                    <a:pt x="94" y="118"/>
                  </a:cubicBezTo>
                  <a:cubicBezTo>
                    <a:pt x="95" y="116"/>
                    <a:pt x="95" y="114"/>
                    <a:pt x="94" y="113"/>
                  </a:cubicBezTo>
                  <a:cubicBezTo>
                    <a:pt x="93" y="112"/>
                    <a:pt x="92" y="111"/>
                    <a:pt x="91" y="110"/>
                  </a:cubicBezTo>
                  <a:cubicBezTo>
                    <a:pt x="89" y="109"/>
                    <a:pt x="87" y="106"/>
                    <a:pt x="85" y="104"/>
                  </a:cubicBezTo>
                  <a:cubicBezTo>
                    <a:pt x="117" y="104"/>
                    <a:pt x="117" y="104"/>
                    <a:pt x="117" y="104"/>
                  </a:cubicBezTo>
                  <a:cubicBezTo>
                    <a:pt x="123" y="104"/>
                    <a:pt x="128" y="99"/>
                    <a:pt x="128" y="93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28" y="5"/>
                    <a:pt x="123" y="0"/>
                    <a:pt x="117" y="0"/>
                  </a:cubicBezTo>
                  <a:close/>
                  <a:moveTo>
                    <a:pt x="88" y="113"/>
                  </a:moveTo>
                  <a:cubicBezTo>
                    <a:pt x="89" y="114"/>
                    <a:pt x="90" y="115"/>
                    <a:pt x="90" y="116"/>
                  </a:cubicBezTo>
                  <a:cubicBezTo>
                    <a:pt x="90" y="116"/>
                    <a:pt x="91" y="116"/>
                    <a:pt x="90" y="116"/>
                  </a:cubicBezTo>
                  <a:cubicBezTo>
                    <a:pt x="90" y="117"/>
                    <a:pt x="88" y="118"/>
                    <a:pt x="86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0" y="118"/>
                    <a:pt x="38" y="117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5"/>
                    <a:pt x="39" y="114"/>
                    <a:pt x="40" y="113"/>
                  </a:cubicBezTo>
                  <a:cubicBezTo>
                    <a:pt x="44" y="109"/>
                    <a:pt x="47" y="106"/>
                    <a:pt x="48" y="104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82" y="106"/>
                    <a:pt x="84" y="109"/>
                    <a:pt x="88" y="113"/>
                  </a:cubicBezTo>
                  <a:close/>
                  <a:moveTo>
                    <a:pt x="120" y="93"/>
                  </a:moveTo>
                  <a:cubicBezTo>
                    <a:pt x="120" y="95"/>
                    <a:pt x="119" y="96"/>
                    <a:pt x="117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9" y="96"/>
                    <a:pt x="8" y="95"/>
                    <a:pt x="8" y="93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9"/>
                    <a:pt x="9" y="8"/>
                    <a:pt x="11" y="8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9" y="8"/>
                    <a:pt x="120" y="9"/>
                    <a:pt x="120" y="11"/>
                  </a:cubicBezTo>
                  <a:lnTo>
                    <a:pt x="120" y="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3" name="Freeform 27">
              <a:extLst>
                <a:ext uri="{FF2B5EF4-FFF2-40B4-BE49-F238E27FC236}">
                  <a16:creationId xmlns:a16="http://schemas.microsoft.com/office/drawing/2014/main" id="{620B91CB-DE54-BABC-BD1E-BE033709E58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81801" y="947738"/>
              <a:ext cx="368300" cy="247650"/>
            </a:xfrm>
            <a:custGeom>
              <a:avLst/>
              <a:gdLst>
                <a:gd name="T0" fmla="*/ 89 w 96"/>
                <a:gd name="T1" fmla="*/ 0 h 64"/>
                <a:gd name="T2" fmla="*/ 7 w 96"/>
                <a:gd name="T3" fmla="*/ 0 h 64"/>
                <a:gd name="T4" fmla="*/ 0 w 96"/>
                <a:gd name="T5" fmla="*/ 7 h 64"/>
                <a:gd name="T6" fmla="*/ 0 w 96"/>
                <a:gd name="T7" fmla="*/ 57 h 64"/>
                <a:gd name="T8" fmla="*/ 7 w 96"/>
                <a:gd name="T9" fmla="*/ 64 h 64"/>
                <a:gd name="T10" fmla="*/ 89 w 96"/>
                <a:gd name="T11" fmla="*/ 64 h 64"/>
                <a:gd name="T12" fmla="*/ 96 w 96"/>
                <a:gd name="T13" fmla="*/ 57 h 64"/>
                <a:gd name="T14" fmla="*/ 96 w 96"/>
                <a:gd name="T15" fmla="*/ 7 h 64"/>
                <a:gd name="T16" fmla="*/ 89 w 96"/>
                <a:gd name="T17" fmla="*/ 0 h 64"/>
                <a:gd name="T18" fmla="*/ 92 w 96"/>
                <a:gd name="T19" fmla="*/ 57 h 64"/>
                <a:gd name="T20" fmla="*/ 89 w 96"/>
                <a:gd name="T21" fmla="*/ 60 h 64"/>
                <a:gd name="T22" fmla="*/ 7 w 96"/>
                <a:gd name="T23" fmla="*/ 60 h 64"/>
                <a:gd name="T24" fmla="*/ 4 w 96"/>
                <a:gd name="T25" fmla="*/ 57 h 64"/>
                <a:gd name="T26" fmla="*/ 4 w 96"/>
                <a:gd name="T27" fmla="*/ 7 h 64"/>
                <a:gd name="T28" fmla="*/ 7 w 96"/>
                <a:gd name="T29" fmla="*/ 4 h 64"/>
                <a:gd name="T30" fmla="*/ 89 w 96"/>
                <a:gd name="T31" fmla="*/ 4 h 64"/>
                <a:gd name="T32" fmla="*/ 92 w 96"/>
                <a:gd name="T33" fmla="*/ 7 h 64"/>
                <a:gd name="T34" fmla="*/ 92 w 96"/>
                <a:gd name="T35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6" h="64">
                  <a:moveTo>
                    <a:pt x="89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1"/>
                    <a:pt x="3" y="64"/>
                    <a:pt x="7" y="64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93" y="64"/>
                    <a:pt x="96" y="61"/>
                    <a:pt x="96" y="5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3"/>
                    <a:pt x="93" y="0"/>
                    <a:pt x="89" y="0"/>
                  </a:cubicBezTo>
                  <a:close/>
                  <a:moveTo>
                    <a:pt x="92" y="57"/>
                  </a:moveTo>
                  <a:cubicBezTo>
                    <a:pt x="92" y="59"/>
                    <a:pt x="91" y="60"/>
                    <a:pt x="89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5" y="60"/>
                    <a:pt x="4" y="59"/>
                    <a:pt x="4" y="5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5" y="4"/>
                    <a:pt x="7" y="4"/>
                  </a:cubicBezTo>
                  <a:cubicBezTo>
                    <a:pt x="89" y="4"/>
                    <a:pt x="89" y="4"/>
                    <a:pt x="89" y="4"/>
                  </a:cubicBezTo>
                  <a:cubicBezTo>
                    <a:pt x="91" y="4"/>
                    <a:pt x="92" y="5"/>
                    <a:pt x="92" y="7"/>
                  </a:cubicBezTo>
                  <a:lnTo>
                    <a:pt x="92" y="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4" name="Freeform 28">
              <a:extLst>
                <a:ext uri="{FF2B5EF4-FFF2-40B4-BE49-F238E27FC236}">
                  <a16:creationId xmlns:a16="http://schemas.microsoft.com/office/drawing/2014/main" id="{0189EAC0-104F-6701-9C42-C30B26B44C7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43726" y="1201738"/>
              <a:ext cx="46038" cy="47625"/>
            </a:xfrm>
            <a:custGeom>
              <a:avLst/>
              <a:gdLst>
                <a:gd name="T0" fmla="*/ 6 w 12"/>
                <a:gd name="T1" fmla="*/ 0 h 12"/>
                <a:gd name="T2" fmla="*/ 0 w 12"/>
                <a:gd name="T3" fmla="*/ 6 h 12"/>
                <a:gd name="T4" fmla="*/ 6 w 12"/>
                <a:gd name="T5" fmla="*/ 12 h 12"/>
                <a:gd name="T6" fmla="*/ 12 w 12"/>
                <a:gd name="T7" fmla="*/ 6 h 12"/>
                <a:gd name="T8" fmla="*/ 6 w 12"/>
                <a:gd name="T9" fmla="*/ 0 h 12"/>
                <a:gd name="T10" fmla="*/ 6 w 12"/>
                <a:gd name="T11" fmla="*/ 8 h 12"/>
                <a:gd name="T12" fmla="*/ 4 w 12"/>
                <a:gd name="T13" fmla="*/ 6 h 12"/>
                <a:gd name="T14" fmla="*/ 6 w 12"/>
                <a:gd name="T15" fmla="*/ 4 h 12"/>
                <a:gd name="T16" fmla="*/ 8 w 12"/>
                <a:gd name="T17" fmla="*/ 6 h 12"/>
                <a:gd name="T18" fmla="*/ 6 w 12"/>
                <a:gd name="T1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9" y="12"/>
                    <a:pt x="12" y="9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lose/>
                  <a:moveTo>
                    <a:pt x="6" y="8"/>
                  </a:moveTo>
                  <a:cubicBezTo>
                    <a:pt x="5" y="8"/>
                    <a:pt x="4" y="7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7" y="4"/>
                    <a:pt x="8" y="5"/>
                    <a:pt x="8" y="6"/>
                  </a:cubicBezTo>
                  <a:cubicBezTo>
                    <a:pt x="8" y="7"/>
                    <a:pt x="7" y="8"/>
                    <a:pt x="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" name="Freeform 29">
              <a:extLst>
                <a:ext uri="{FF2B5EF4-FFF2-40B4-BE49-F238E27FC236}">
                  <a16:creationId xmlns:a16="http://schemas.microsoft.com/office/drawing/2014/main" id="{7C211856-9234-EA1E-A151-43D2D5FC4954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1813" y="1044575"/>
              <a:ext cx="61913" cy="65087"/>
            </a:xfrm>
            <a:custGeom>
              <a:avLst/>
              <a:gdLst>
                <a:gd name="T0" fmla="*/ 0 w 39"/>
                <a:gd name="T1" fmla="*/ 24 h 41"/>
                <a:gd name="T2" fmla="*/ 39 w 39"/>
                <a:gd name="T3" fmla="*/ 41 h 41"/>
                <a:gd name="T4" fmla="*/ 39 w 39"/>
                <a:gd name="T5" fmla="*/ 32 h 41"/>
                <a:gd name="T6" fmla="*/ 12 w 39"/>
                <a:gd name="T7" fmla="*/ 19 h 41"/>
                <a:gd name="T8" fmla="*/ 39 w 39"/>
                <a:gd name="T9" fmla="*/ 10 h 41"/>
                <a:gd name="T10" fmla="*/ 39 w 39"/>
                <a:gd name="T11" fmla="*/ 0 h 41"/>
                <a:gd name="T12" fmla="*/ 0 w 39"/>
                <a:gd name="T13" fmla="*/ 17 h 41"/>
                <a:gd name="T14" fmla="*/ 0 w 39"/>
                <a:gd name="T15" fmla="*/ 2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41">
                  <a:moveTo>
                    <a:pt x="0" y="24"/>
                  </a:moveTo>
                  <a:lnTo>
                    <a:pt x="39" y="41"/>
                  </a:lnTo>
                  <a:lnTo>
                    <a:pt x="39" y="32"/>
                  </a:lnTo>
                  <a:lnTo>
                    <a:pt x="12" y="19"/>
                  </a:lnTo>
                  <a:lnTo>
                    <a:pt x="39" y="10"/>
                  </a:lnTo>
                  <a:lnTo>
                    <a:pt x="39" y="0"/>
                  </a:lnTo>
                  <a:lnTo>
                    <a:pt x="0" y="17"/>
                  </a:lnTo>
                  <a:lnTo>
                    <a:pt x="0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6" name="Freeform 30">
              <a:extLst>
                <a:ext uri="{FF2B5EF4-FFF2-40B4-BE49-F238E27FC236}">
                  <a16:creationId xmlns:a16="http://schemas.microsoft.com/office/drawing/2014/main" id="{332A346A-F283-C109-C7E7-D8E963AC29B0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0076" y="1033463"/>
              <a:ext cx="31750" cy="87312"/>
            </a:xfrm>
            <a:custGeom>
              <a:avLst/>
              <a:gdLst>
                <a:gd name="T0" fmla="*/ 7 w 8"/>
                <a:gd name="T1" fmla="*/ 0 h 23"/>
                <a:gd name="T2" fmla="*/ 5 w 8"/>
                <a:gd name="T3" fmla="*/ 0 h 23"/>
                <a:gd name="T4" fmla="*/ 5 w 8"/>
                <a:gd name="T5" fmla="*/ 2 h 23"/>
                <a:gd name="T6" fmla="*/ 0 w 8"/>
                <a:gd name="T7" fmla="*/ 20 h 23"/>
                <a:gd name="T8" fmla="*/ 0 w 8"/>
                <a:gd name="T9" fmla="*/ 22 h 23"/>
                <a:gd name="T10" fmla="*/ 2 w 8"/>
                <a:gd name="T11" fmla="*/ 23 h 23"/>
                <a:gd name="T12" fmla="*/ 3 w 8"/>
                <a:gd name="T13" fmla="*/ 23 h 23"/>
                <a:gd name="T14" fmla="*/ 3 w 8"/>
                <a:gd name="T15" fmla="*/ 22 h 23"/>
                <a:gd name="T16" fmla="*/ 4 w 8"/>
                <a:gd name="T17" fmla="*/ 21 h 23"/>
                <a:gd name="T18" fmla="*/ 8 w 8"/>
                <a:gd name="T19" fmla="*/ 3 h 23"/>
                <a:gd name="T20" fmla="*/ 8 w 8"/>
                <a:gd name="T21" fmla="*/ 1 h 23"/>
                <a:gd name="T22" fmla="*/ 8 w 8"/>
                <a:gd name="T23" fmla="*/ 0 h 23"/>
                <a:gd name="T24" fmla="*/ 7 w 8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3">
                  <a:moveTo>
                    <a:pt x="7" y="0"/>
                  </a:move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1"/>
                    <a:pt x="5" y="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0" y="23"/>
                    <a:pt x="1" y="23"/>
                    <a:pt x="2" y="23"/>
                  </a:cubicBezTo>
                  <a:cubicBezTo>
                    <a:pt x="2" y="23"/>
                    <a:pt x="2" y="23"/>
                    <a:pt x="3" y="23"/>
                  </a:cubicBezTo>
                  <a:cubicBezTo>
                    <a:pt x="3" y="23"/>
                    <a:pt x="3" y="22"/>
                    <a:pt x="3" y="22"/>
                  </a:cubicBezTo>
                  <a:cubicBezTo>
                    <a:pt x="3" y="22"/>
                    <a:pt x="3" y="21"/>
                    <a:pt x="4" y="2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7" name="Freeform 31">
              <a:extLst>
                <a:ext uri="{FF2B5EF4-FFF2-40B4-BE49-F238E27FC236}">
                  <a16:creationId xmlns:a16="http://schemas.microsoft.com/office/drawing/2014/main" id="{20A1A673-F48F-E118-2741-5D25707C181A}"/>
                </a:ext>
              </a:extLst>
            </p:cNvPr>
            <p:cNvSpPr>
              <a:spLocks/>
            </p:cNvSpPr>
            <p:nvPr/>
          </p:nvSpPr>
          <p:spPr bwMode="auto">
            <a:xfrm>
              <a:off x="6989763" y="1044575"/>
              <a:ext cx="60325" cy="65087"/>
            </a:xfrm>
            <a:custGeom>
              <a:avLst/>
              <a:gdLst>
                <a:gd name="T0" fmla="*/ 0 w 38"/>
                <a:gd name="T1" fmla="*/ 10 h 41"/>
                <a:gd name="T2" fmla="*/ 26 w 38"/>
                <a:gd name="T3" fmla="*/ 19 h 41"/>
                <a:gd name="T4" fmla="*/ 0 w 38"/>
                <a:gd name="T5" fmla="*/ 32 h 41"/>
                <a:gd name="T6" fmla="*/ 0 w 38"/>
                <a:gd name="T7" fmla="*/ 41 h 41"/>
                <a:gd name="T8" fmla="*/ 38 w 38"/>
                <a:gd name="T9" fmla="*/ 24 h 41"/>
                <a:gd name="T10" fmla="*/ 38 w 38"/>
                <a:gd name="T11" fmla="*/ 17 h 41"/>
                <a:gd name="T12" fmla="*/ 0 w 38"/>
                <a:gd name="T13" fmla="*/ 0 h 41"/>
                <a:gd name="T14" fmla="*/ 0 w 38"/>
                <a:gd name="T15" fmla="*/ 1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41">
                  <a:moveTo>
                    <a:pt x="0" y="10"/>
                  </a:moveTo>
                  <a:lnTo>
                    <a:pt x="26" y="19"/>
                  </a:lnTo>
                  <a:lnTo>
                    <a:pt x="0" y="32"/>
                  </a:lnTo>
                  <a:lnTo>
                    <a:pt x="0" y="41"/>
                  </a:lnTo>
                  <a:lnTo>
                    <a:pt x="38" y="24"/>
                  </a:lnTo>
                  <a:lnTo>
                    <a:pt x="38" y="17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DB438AC6-D5BB-6E6B-E546-6660F285EA87}"/>
              </a:ext>
            </a:extLst>
          </p:cNvPr>
          <p:cNvGrpSpPr/>
          <p:nvPr/>
        </p:nvGrpSpPr>
        <p:grpSpPr>
          <a:xfrm>
            <a:off x="2286531" y="1689764"/>
            <a:ext cx="990430" cy="990384"/>
            <a:chOff x="876630" y="3815779"/>
            <a:chExt cx="1068006" cy="1067956"/>
          </a:xfrm>
        </p:grpSpPr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917EFE07-EA3F-96C7-61E4-00169389FF9B}"/>
                </a:ext>
              </a:extLst>
            </p:cNvPr>
            <p:cNvSpPr/>
            <p:nvPr/>
          </p:nvSpPr>
          <p:spPr>
            <a:xfrm rot="5400000">
              <a:off x="876655" y="3815754"/>
              <a:ext cx="1067956" cy="1068006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764" b="1" dirty="0">
                <a:solidFill>
                  <a:srgbClr val="FFFFFF"/>
                </a:solidFill>
              </a:endParaRPr>
            </a:p>
          </p:txBody>
        </p: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622F34C3-76A8-F0B7-FF18-C4E9A07D7478}"/>
                </a:ext>
              </a:extLst>
            </p:cNvPr>
            <p:cNvGrpSpPr/>
            <p:nvPr/>
          </p:nvGrpSpPr>
          <p:grpSpPr>
            <a:xfrm>
              <a:off x="1094397" y="4136503"/>
              <a:ext cx="632472" cy="426508"/>
              <a:chOff x="6716027" y="5411634"/>
              <a:chExt cx="583964" cy="393797"/>
            </a:xfrm>
            <a:solidFill>
              <a:schemeClr val="bg1"/>
            </a:solidFill>
          </p:grpSpPr>
          <p:sp>
            <p:nvSpPr>
              <p:cNvPr id="24" name="Freeform 17">
                <a:extLst>
                  <a:ext uri="{FF2B5EF4-FFF2-40B4-BE49-F238E27FC236}">
                    <a16:creationId xmlns:a16="http://schemas.microsoft.com/office/drawing/2014/main" id="{D3EA611B-380C-F3D1-51AF-9BE3862BC9C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2700000">
                <a:off x="6832931" y="5294730"/>
                <a:ext cx="350155" cy="583964"/>
              </a:xfrm>
              <a:custGeom>
                <a:avLst/>
                <a:gdLst>
                  <a:gd name="T0" fmla="*/ 50 w 184"/>
                  <a:gd name="T1" fmla="*/ 310 h 310"/>
                  <a:gd name="T2" fmla="*/ 32 w 184"/>
                  <a:gd name="T3" fmla="*/ 282 h 310"/>
                  <a:gd name="T4" fmla="*/ 10 w 184"/>
                  <a:gd name="T5" fmla="*/ 199 h 310"/>
                  <a:gd name="T6" fmla="*/ 39 w 184"/>
                  <a:gd name="T7" fmla="*/ 171 h 310"/>
                  <a:gd name="T8" fmla="*/ 30 w 184"/>
                  <a:gd name="T9" fmla="*/ 116 h 310"/>
                  <a:gd name="T10" fmla="*/ 36 w 184"/>
                  <a:gd name="T11" fmla="*/ 73 h 310"/>
                  <a:gd name="T12" fmla="*/ 36 w 184"/>
                  <a:gd name="T13" fmla="*/ 72 h 310"/>
                  <a:gd name="T14" fmla="*/ 92 w 184"/>
                  <a:gd name="T15" fmla="*/ 0 h 310"/>
                  <a:gd name="T16" fmla="*/ 148 w 184"/>
                  <a:gd name="T17" fmla="*/ 72 h 310"/>
                  <a:gd name="T18" fmla="*/ 148 w 184"/>
                  <a:gd name="T19" fmla="*/ 73 h 310"/>
                  <a:gd name="T20" fmla="*/ 155 w 184"/>
                  <a:gd name="T21" fmla="*/ 116 h 310"/>
                  <a:gd name="T22" fmla="*/ 145 w 184"/>
                  <a:gd name="T23" fmla="*/ 171 h 310"/>
                  <a:gd name="T24" fmla="*/ 174 w 184"/>
                  <a:gd name="T25" fmla="*/ 199 h 310"/>
                  <a:gd name="T26" fmla="*/ 153 w 184"/>
                  <a:gd name="T27" fmla="*/ 282 h 310"/>
                  <a:gd name="T28" fmla="*/ 134 w 184"/>
                  <a:gd name="T29" fmla="*/ 310 h 310"/>
                  <a:gd name="T30" fmla="*/ 134 w 184"/>
                  <a:gd name="T31" fmla="*/ 276 h 310"/>
                  <a:gd name="T32" fmla="*/ 118 w 184"/>
                  <a:gd name="T33" fmla="*/ 239 h 310"/>
                  <a:gd name="T34" fmla="*/ 118 w 184"/>
                  <a:gd name="T35" fmla="*/ 240 h 310"/>
                  <a:gd name="T36" fmla="*/ 115 w 184"/>
                  <a:gd name="T37" fmla="*/ 246 h 310"/>
                  <a:gd name="T38" fmla="*/ 108 w 184"/>
                  <a:gd name="T39" fmla="*/ 245 h 310"/>
                  <a:gd name="T40" fmla="*/ 76 w 184"/>
                  <a:gd name="T41" fmla="*/ 245 h 310"/>
                  <a:gd name="T42" fmla="*/ 69 w 184"/>
                  <a:gd name="T43" fmla="*/ 246 h 310"/>
                  <a:gd name="T44" fmla="*/ 66 w 184"/>
                  <a:gd name="T45" fmla="*/ 240 h 310"/>
                  <a:gd name="T46" fmla="*/ 66 w 184"/>
                  <a:gd name="T47" fmla="*/ 239 h 310"/>
                  <a:gd name="T48" fmla="*/ 50 w 184"/>
                  <a:gd name="T49" fmla="*/ 276 h 310"/>
                  <a:gd name="T50" fmla="*/ 50 w 184"/>
                  <a:gd name="T51" fmla="*/ 310 h 310"/>
                  <a:gd name="T52" fmla="*/ 55 w 184"/>
                  <a:gd name="T53" fmla="*/ 79 h 310"/>
                  <a:gd name="T54" fmla="*/ 50 w 184"/>
                  <a:gd name="T55" fmla="*/ 116 h 310"/>
                  <a:gd name="T56" fmla="*/ 61 w 184"/>
                  <a:gd name="T57" fmla="*/ 174 h 310"/>
                  <a:gd name="T58" fmla="*/ 64 w 184"/>
                  <a:gd name="T59" fmla="*/ 184 h 310"/>
                  <a:gd name="T60" fmla="*/ 54 w 184"/>
                  <a:gd name="T61" fmla="*/ 187 h 310"/>
                  <a:gd name="T62" fmla="*/ 29 w 184"/>
                  <a:gd name="T63" fmla="*/ 205 h 310"/>
                  <a:gd name="T64" fmla="*/ 36 w 184"/>
                  <a:gd name="T65" fmla="*/ 247 h 310"/>
                  <a:gd name="T66" fmla="*/ 65 w 184"/>
                  <a:gd name="T67" fmla="*/ 215 h 310"/>
                  <a:gd name="T68" fmla="*/ 74 w 184"/>
                  <a:gd name="T69" fmla="*/ 209 h 310"/>
                  <a:gd name="T70" fmla="*/ 79 w 184"/>
                  <a:gd name="T71" fmla="*/ 219 h 310"/>
                  <a:gd name="T72" fmla="*/ 82 w 184"/>
                  <a:gd name="T73" fmla="*/ 225 h 310"/>
                  <a:gd name="T74" fmla="*/ 103 w 184"/>
                  <a:gd name="T75" fmla="*/ 225 h 310"/>
                  <a:gd name="T76" fmla="*/ 105 w 184"/>
                  <a:gd name="T77" fmla="*/ 219 h 310"/>
                  <a:gd name="T78" fmla="*/ 110 w 184"/>
                  <a:gd name="T79" fmla="*/ 209 h 310"/>
                  <a:gd name="T80" fmla="*/ 120 w 184"/>
                  <a:gd name="T81" fmla="*/ 215 h 310"/>
                  <a:gd name="T82" fmla="*/ 148 w 184"/>
                  <a:gd name="T83" fmla="*/ 247 h 310"/>
                  <a:gd name="T84" fmla="*/ 155 w 184"/>
                  <a:gd name="T85" fmla="*/ 205 h 310"/>
                  <a:gd name="T86" fmla="*/ 130 w 184"/>
                  <a:gd name="T87" fmla="*/ 187 h 310"/>
                  <a:gd name="T88" fmla="*/ 120 w 184"/>
                  <a:gd name="T89" fmla="*/ 184 h 310"/>
                  <a:gd name="T90" fmla="*/ 123 w 184"/>
                  <a:gd name="T91" fmla="*/ 174 h 310"/>
                  <a:gd name="T92" fmla="*/ 135 w 184"/>
                  <a:gd name="T93" fmla="*/ 116 h 310"/>
                  <a:gd name="T94" fmla="*/ 129 w 184"/>
                  <a:gd name="T95" fmla="*/ 79 h 310"/>
                  <a:gd name="T96" fmla="*/ 92 w 184"/>
                  <a:gd name="T97" fmla="*/ 21 h 310"/>
                  <a:gd name="T98" fmla="*/ 55 w 184"/>
                  <a:gd name="T99" fmla="*/ 79 h 3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84" h="310">
                    <a:moveTo>
                      <a:pt x="50" y="310"/>
                    </a:moveTo>
                    <a:cubicBezTo>
                      <a:pt x="32" y="282"/>
                      <a:pt x="32" y="282"/>
                      <a:pt x="32" y="282"/>
                    </a:cubicBezTo>
                    <a:cubicBezTo>
                      <a:pt x="28" y="276"/>
                      <a:pt x="0" y="230"/>
                      <a:pt x="10" y="199"/>
                    </a:cubicBezTo>
                    <a:cubicBezTo>
                      <a:pt x="14" y="187"/>
                      <a:pt x="24" y="178"/>
                      <a:pt x="39" y="171"/>
                    </a:cubicBezTo>
                    <a:cubicBezTo>
                      <a:pt x="33" y="151"/>
                      <a:pt x="30" y="132"/>
                      <a:pt x="30" y="116"/>
                    </a:cubicBezTo>
                    <a:cubicBezTo>
                      <a:pt x="30" y="102"/>
                      <a:pt x="32" y="87"/>
                      <a:pt x="36" y="73"/>
                    </a:cubicBezTo>
                    <a:cubicBezTo>
                      <a:pt x="36" y="72"/>
                      <a:pt x="36" y="72"/>
                      <a:pt x="36" y="72"/>
                    </a:cubicBezTo>
                    <a:cubicBezTo>
                      <a:pt x="50" y="35"/>
                      <a:pt x="77" y="0"/>
                      <a:pt x="92" y="0"/>
                    </a:cubicBezTo>
                    <a:cubicBezTo>
                      <a:pt x="107" y="0"/>
                      <a:pt x="134" y="35"/>
                      <a:pt x="148" y="72"/>
                    </a:cubicBezTo>
                    <a:cubicBezTo>
                      <a:pt x="148" y="73"/>
                      <a:pt x="148" y="73"/>
                      <a:pt x="148" y="73"/>
                    </a:cubicBezTo>
                    <a:cubicBezTo>
                      <a:pt x="152" y="87"/>
                      <a:pt x="155" y="102"/>
                      <a:pt x="155" y="116"/>
                    </a:cubicBezTo>
                    <a:cubicBezTo>
                      <a:pt x="155" y="132"/>
                      <a:pt x="152" y="151"/>
                      <a:pt x="145" y="171"/>
                    </a:cubicBezTo>
                    <a:cubicBezTo>
                      <a:pt x="160" y="178"/>
                      <a:pt x="170" y="187"/>
                      <a:pt x="174" y="199"/>
                    </a:cubicBezTo>
                    <a:cubicBezTo>
                      <a:pt x="184" y="230"/>
                      <a:pt x="156" y="276"/>
                      <a:pt x="153" y="282"/>
                    </a:cubicBezTo>
                    <a:cubicBezTo>
                      <a:pt x="134" y="310"/>
                      <a:pt x="134" y="310"/>
                      <a:pt x="134" y="310"/>
                    </a:cubicBezTo>
                    <a:cubicBezTo>
                      <a:pt x="134" y="276"/>
                      <a:pt x="134" y="276"/>
                      <a:pt x="134" y="276"/>
                    </a:cubicBezTo>
                    <a:cubicBezTo>
                      <a:pt x="134" y="262"/>
                      <a:pt x="128" y="248"/>
                      <a:pt x="118" y="239"/>
                    </a:cubicBezTo>
                    <a:cubicBezTo>
                      <a:pt x="118" y="239"/>
                      <a:pt x="118" y="239"/>
                      <a:pt x="118" y="240"/>
                    </a:cubicBezTo>
                    <a:cubicBezTo>
                      <a:pt x="115" y="246"/>
                      <a:pt x="115" y="246"/>
                      <a:pt x="115" y="246"/>
                    </a:cubicBezTo>
                    <a:cubicBezTo>
                      <a:pt x="108" y="245"/>
                      <a:pt x="108" y="245"/>
                      <a:pt x="108" y="245"/>
                    </a:cubicBezTo>
                    <a:cubicBezTo>
                      <a:pt x="98" y="245"/>
                      <a:pt x="87" y="245"/>
                      <a:pt x="76" y="245"/>
                    </a:cubicBezTo>
                    <a:cubicBezTo>
                      <a:pt x="69" y="246"/>
                      <a:pt x="69" y="246"/>
                      <a:pt x="69" y="246"/>
                    </a:cubicBezTo>
                    <a:cubicBezTo>
                      <a:pt x="66" y="240"/>
                      <a:pt x="66" y="240"/>
                      <a:pt x="66" y="240"/>
                    </a:cubicBezTo>
                    <a:cubicBezTo>
                      <a:pt x="66" y="239"/>
                      <a:pt x="66" y="239"/>
                      <a:pt x="66" y="239"/>
                    </a:cubicBezTo>
                    <a:cubicBezTo>
                      <a:pt x="56" y="249"/>
                      <a:pt x="50" y="262"/>
                      <a:pt x="50" y="276"/>
                    </a:cubicBezTo>
                    <a:lnTo>
                      <a:pt x="50" y="310"/>
                    </a:lnTo>
                    <a:close/>
                    <a:moveTo>
                      <a:pt x="55" y="79"/>
                    </a:moveTo>
                    <a:cubicBezTo>
                      <a:pt x="52" y="91"/>
                      <a:pt x="50" y="104"/>
                      <a:pt x="50" y="116"/>
                    </a:cubicBezTo>
                    <a:cubicBezTo>
                      <a:pt x="50" y="132"/>
                      <a:pt x="53" y="152"/>
                      <a:pt x="61" y="174"/>
                    </a:cubicBezTo>
                    <a:cubicBezTo>
                      <a:pt x="64" y="184"/>
                      <a:pt x="64" y="184"/>
                      <a:pt x="64" y="184"/>
                    </a:cubicBezTo>
                    <a:cubicBezTo>
                      <a:pt x="54" y="187"/>
                      <a:pt x="54" y="187"/>
                      <a:pt x="54" y="187"/>
                    </a:cubicBezTo>
                    <a:cubicBezTo>
                      <a:pt x="45" y="190"/>
                      <a:pt x="33" y="196"/>
                      <a:pt x="29" y="205"/>
                    </a:cubicBezTo>
                    <a:cubicBezTo>
                      <a:pt x="26" y="216"/>
                      <a:pt x="30" y="233"/>
                      <a:pt x="36" y="247"/>
                    </a:cubicBezTo>
                    <a:cubicBezTo>
                      <a:pt x="42" y="234"/>
                      <a:pt x="52" y="223"/>
                      <a:pt x="65" y="215"/>
                    </a:cubicBezTo>
                    <a:cubicBezTo>
                      <a:pt x="74" y="209"/>
                      <a:pt x="74" y="209"/>
                      <a:pt x="74" y="209"/>
                    </a:cubicBezTo>
                    <a:cubicBezTo>
                      <a:pt x="79" y="219"/>
                      <a:pt x="79" y="219"/>
                      <a:pt x="79" y="219"/>
                    </a:cubicBezTo>
                    <a:cubicBezTo>
                      <a:pt x="80" y="221"/>
                      <a:pt x="81" y="223"/>
                      <a:pt x="82" y="225"/>
                    </a:cubicBezTo>
                    <a:cubicBezTo>
                      <a:pt x="89" y="225"/>
                      <a:pt x="96" y="225"/>
                      <a:pt x="103" y="225"/>
                    </a:cubicBezTo>
                    <a:cubicBezTo>
                      <a:pt x="104" y="223"/>
                      <a:pt x="105" y="221"/>
                      <a:pt x="105" y="219"/>
                    </a:cubicBezTo>
                    <a:cubicBezTo>
                      <a:pt x="110" y="209"/>
                      <a:pt x="110" y="209"/>
                      <a:pt x="110" y="209"/>
                    </a:cubicBezTo>
                    <a:cubicBezTo>
                      <a:pt x="120" y="215"/>
                      <a:pt x="120" y="215"/>
                      <a:pt x="120" y="215"/>
                    </a:cubicBezTo>
                    <a:cubicBezTo>
                      <a:pt x="133" y="223"/>
                      <a:pt x="142" y="234"/>
                      <a:pt x="148" y="247"/>
                    </a:cubicBezTo>
                    <a:cubicBezTo>
                      <a:pt x="154" y="233"/>
                      <a:pt x="159" y="216"/>
                      <a:pt x="155" y="205"/>
                    </a:cubicBezTo>
                    <a:cubicBezTo>
                      <a:pt x="152" y="196"/>
                      <a:pt x="140" y="190"/>
                      <a:pt x="130" y="187"/>
                    </a:cubicBezTo>
                    <a:cubicBezTo>
                      <a:pt x="120" y="184"/>
                      <a:pt x="120" y="184"/>
                      <a:pt x="120" y="184"/>
                    </a:cubicBezTo>
                    <a:cubicBezTo>
                      <a:pt x="123" y="174"/>
                      <a:pt x="123" y="174"/>
                      <a:pt x="123" y="174"/>
                    </a:cubicBezTo>
                    <a:cubicBezTo>
                      <a:pt x="131" y="152"/>
                      <a:pt x="135" y="132"/>
                      <a:pt x="135" y="116"/>
                    </a:cubicBezTo>
                    <a:cubicBezTo>
                      <a:pt x="135" y="104"/>
                      <a:pt x="133" y="91"/>
                      <a:pt x="129" y="79"/>
                    </a:cubicBezTo>
                    <a:cubicBezTo>
                      <a:pt x="117" y="47"/>
                      <a:pt x="99" y="26"/>
                      <a:pt x="92" y="21"/>
                    </a:cubicBezTo>
                    <a:cubicBezTo>
                      <a:pt x="85" y="26"/>
                      <a:pt x="67" y="47"/>
                      <a:pt x="55" y="7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25" name="Freeform 18">
                <a:extLst>
                  <a:ext uri="{FF2B5EF4-FFF2-40B4-BE49-F238E27FC236}">
                    <a16:creationId xmlns:a16="http://schemas.microsoft.com/office/drawing/2014/main" id="{B78568D8-29CB-3933-FD98-B8259A504F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2700000">
                <a:off x="6989613" y="5483631"/>
                <a:ext cx="121724" cy="120112"/>
              </a:xfrm>
              <a:custGeom>
                <a:avLst/>
                <a:gdLst>
                  <a:gd name="T0" fmla="*/ 32 w 64"/>
                  <a:gd name="T1" fmla="*/ 64 h 64"/>
                  <a:gd name="T2" fmla="*/ 0 w 64"/>
                  <a:gd name="T3" fmla="*/ 32 h 64"/>
                  <a:gd name="T4" fmla="*/ 32 w 64"/>
                  <a:gd name="T5" fmla="*/ 0 h 64"/>
                  <a:gd name="T6" fmla="*/ 64 w 64"/>
                  <a:gd name="T7" fmla="*/ 32 h 64"/>
                  <a:gd name="T8" fmla="*/ 32 w 64"/>
                  <a:gd name="T9" fmla="*/ 64 h 64"/>
                  <a:gd name="T10" fmla="*/ 32 w 64"/>
                  <a:gd name="T11" fmla="*/ 12 h 64"/>
                  <a:gd name="T12" fmla="*/ 12 w 64"/>
                  <a:gd name="T13" fmla="*/ 32 h 64"/>
                  <a:gd name="T14" fmla="*/ 32 w 64"/>
                  <a:gd name="T15" fmla="*/ 52 h 64"/>
                  <a:gd name="T16" fmla="*/ 52 w 64"/>
                  <a:gd name="T17" fmla="*/ 32 h 64"/>
                  <a:gd name="T18" fmla="*/ 32 w 64"/>
                  <a:gd name="T19" fmla="*/ 12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4" h="64">
                    <a:moveTo>
                      <a:pt x="32" y="64"/>
                    </a:moveTo>
                    <a:cubicBezTo>
                      <a:pt x="14" y="64"/>
                      <a:pt x="0" y="50"/>
                      <a:pt x="0" y="32"/>
                    </a:cubicBezTo>
                    <a:cubicBezTo>
                      <a:pt x="0" y="14"/>
                      <a:pt x="14" y="0"/>
                      <a:pt x="32" y="0"/>
                    </a:cubicBezTo>
                    <a:cubicBezTo>
                      <a:pt x="50" y="0"/>
                      <a:pt x="64" y="14"/>
                      <a:pt x="64" y="32"/>
                    </a:cubicBezTo>
                    <a:cubicBezTo>
                      <a:pt x="64" y="50"/>
                      <a:pt x="50" y="64"/>
                      <a:pt x="32" y="64"/>
                    </a:cubicBezTo>
                    <a:close/>
                    <a:moveTo>
                      <a:pt x="32" y="12"/>
                    </a:moveTo>
                    <a:cubicBezTo>
                      <a:pt x="21" y="12"/>
                      <a:pt x="12" y="21"/>
                      <a:pt x="12" y="32"/>
                    </a:cubicBezTo>
                    <a:cubicBezTo>
                      <a:pt x="12" y="43"/>
                      <a:pt x="21" y="52"/>
                      <a:pt x="32" y="52"/>
                    </a:cubicBezTo>
                    <a:cubicBezTo>
                      <a:pt x="43" y="52"/>
                      <a:pt x="52" y="43"/>
                      <a:pt x="52" y="32"/>
                    </a:cubicBezTo>
                    <a:cubicBezTo>
                      <a:pt x="52" y="21"/>
                      <a:pt x="43" y="12"/>
                      <a:pt x="3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26" name="Freeform 19">
                <a:extLst>
                  <a:ext uri="{FF2B5EF4-FFF2-40B4-BE49-F238E27FC236}">
                    <a16:creationId xmlns:a16="http://schemas.microsoft.com/office/drawing/2014/main" id="{E95E7893-81E0-4406-4842-9B215C05246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2700000">
                <a:off x="6790966" y="5660018"/>
                <a:ext cx="112239" cy="178587"/>
              </a:xfrm>
              <a:custGeom>
                <a:avLst/>
                <a:gdLst>
                  <a:gd name="T0" fmla="*/ 29 w 59"/>
                  <a:gd name="T1" fmla="*/ 95 h 95"/>
                  <a:gd name="T2" fmla="*/ 24 w 59"/>
                  <a:gd name="T3" fmla="*/ 85 h 95"/>
                  <a:gd name="T4" fmla="*/ 0 w 59"/>
                  <a:gd name="T5" fmla="*/ 26 h 95"/>
                  <a:gd name="T6" fmla="*/ 29 w 59"/>
                  <a:gd name="T7" fmla="*/ 0 h 95"/>
                  <a:gd name="T8" fmla="*/ 59 w 59"/>
                  <a:gd name="T9" fmla="*/ 26 h 95"/>
                  <a:gd name="T10" fmla="*/ 34 w 59"/>
                  <a:gd name="T11" fmla="*/ 85 h 95"/>
                  <a:gd name="T12" fmla="*/ 29 w 59"/>
                  <a:gd name="T13" fmla="*/ 95 h 95"/>
                  <a:gd name="T14" fmla="*/ 29 w 59"/>
                  <a:gd name="T15" fmla="*/ 12 h 95"/>
                  <a:gd name="T16" fmla="*/ 12 w 59"/>
                  <a:gd name="T17" fmla="*/ 26 h 95"/>
                  <a:gd name="T18" fmla="*/ 29 w 59"/>
                  <a:gd name="T19" fmla="*/ 69 h 95"/>
                  <a:gd name="T20" fmla="*/ 47 w 59"/>
                  <a:gd name="T21" fmla="*/ 26 h 95"/>
                  <a:gd name="T22" fmla="*/ 29 w 59"/>
                  <a:gd name="T23" fmla="*/ 12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9" h="95">
                    <a:moveTo>
                      <a:pt x="29" y="95"/>
                    </a:moveTo>
                    <a:cubicBezTo>
                      <a:pt x="24" y="85"/>
                      <a:pt x="24" y="85"/>
                      <a:pt x="24" y="85"/>
                    </a:cubicBezTo>
                    <a:cubicBezTo>
                      <a:pt x="20" y="77"/>
                      <a:pt x="0" y="38"/>
                      <a:pt x="0" y="26"/>
                    </a:cubicBezTo>
                    <a:cubicBezTo>
                      <a:pt x="0" y="12"/>
                      <a:pt x="13" y="0"/>
                      <a:pt x="29" y="0"/>
                    </a:cubicBezTo>
                    <a:cubicBezTo>
                      <a:pt x="45" y="0"/>
                      <a:pt x="59" y="12"/>
                      <a:pt x="59" y="26"/>
                    </a:cubicBezTo>
                    <a:cubicBezTo>
                      <a:pt x="59" y="38"/>
                      <a:pt x="39" y="77"/>
                      <a:pt x="34" y="85"/>
                    </a:cubicBezTo>
                    <a:lnTo>
                      <a:pt x="29" y="95"/>
                    </a:lnTo>
                    <a:close/>
                    <a:moveTo>
                      <a:pt x="29" y="12"/>
                    </a:moveTo>
                    <a:cubicBezTo>
                      <a:pt x="19" y="12"/>
                      <a:pt x="12" y="18"/>
                      <a:pt x="12" y="26"/>
                    </a:cubicBezTo>
                    <a:cubicBezTo>
                      <a:pt x="12" y="31"/>
                      <a:pt x="20" y="50"/>
                      <a:pt x="29" y="69"/>
                    </a:cubicBezTo>
                    <a:cubicBezTo>
                      <a:pt x="38" y="50"/>
                      <a:pt x="47" y="31"/>
                      <a:pt x="47" y="26"/>
                    </a:cubicBezTo>
                    <a:cubicBezTo>
                      <a:pt x="47" y="18"/>
                      <a:pt x="39" y="12"/>
                      <a:pt x="29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</p:grpSp>
      </p:grpSp>
      <p:sp>
        <p:nvSpPr>
          <p:cNvPr id="27" name="Oval 26">
            <a:extLst>
              <a:ext uri="{FF2B5EF4-FFF2-40B4-BE49-F238E27FC236}">
                <a16:creationId xmlns:a16="http://schemas.microsoft.com/office/drawing/2014/main" id="{BA99966A-28DB-B04C-103C-217AF2223490}"/>
              </a:ext>
            </a:extLst>
          </p:cNvPr>
          <p:cNvSpPr/>
          <p:nvPr/>
        </p:nvSpPr>
        <p:spPr>
          <a:xfrm rot="5400000">
            <a:off x="885030" y="3091265"/>
            <a:ext cx="990379" cy="99042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764" b="1" dirty="0">
              <a:solidFill>
                <a:srgbClr val="FFFFFF"/>
              </a:solidFill>
            </a:endParaRP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04DB8068-D848-CC51-41C9-482E9EBDAF56}"/>
              </a:ext>
            </a:extLst>
          </p:cNvPr>
          <p:cNvGrpSpPr/>
          <p:nvPr/>
        </p:nvGrpSpPr>
        <p:grpSpPr>
          <a:xfrm>
            <a:off x="2286531" y="4492813"/>
            <a:ext cx="990429" cy="990384"/>
            <a:chOff x="3618856" y="3815779"/>
            <a:chExt cx="1068005" cy="1067956"/>
          </a:xfrm>
        </p:grpSpPr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92AFAD62-31E1-74B4-0890-E42C8CCE2FC7}"/>
                </a:ext>
              </a:extLst>
            </p:cNvPr>
            <p:cNvSpPr/>
            <p:nvPr/>
          </p:nvSpPr>
          <p:spPr>
            <a:xfrm rot="5400000">
              <a:off x="3618881" y="3815754"/>
              <a:ext cx="1067956" cy="1068005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764" b="1" dirty="0">
                <a:solidFill>
                  <a:srgbClr val="FFFFFF"/>
                </a:solidFill>
              </a:endParaRPr>
            </a:p>
          </p:txBody>
        </p:sp>
        <p:sp>
          <p:nvSpPr>
            <p:cNvPr id="30" name="Freeform 23">
              <a:extLst>
                <a:ext uri="{FF2B5EF4-FFF2-40B4-BE49-F238E27FC236}">
                  <a16:creationId xmlns:a16="http://schemas.microsoft.com/office/drawing/2014/main" id="{CBAA9424-5D8E-D8E5-3234-9A8E758C876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72703" y="4101652"/>
              <a:ext cx="560312" cy="496208"/>
            </a:xfrm>
            <a:custGeom>
              <a:avLst/>
              <a:gdLst>
                <a:gd name="T0" fmla="*/ 232 w 256"/>
                <a:gd name="T1" fmla="*/ 84 h 227"/>
                <a:gd name="T2" fmla="*/ 172 w 256"/>
                <a:gd name="T3" fmla="*/ 44 h 227"/>
                <a:gd name="T4" fmla="*/ 120 w 256"/>
                <a:gd name="T5" fmla="*/ 48 h 227"/>
                <a:gd name="T6" fmla="*/ 64 w 256"/>
                <a:gd name="T7" fmla="*/ 107 h 227"/>
                <a:gd name="T8" fmla="*/ 0 w 256"/>
                <a:gd name="T9" fmla="*/ 131 h 227"/>
                <a:gd name="T10" fmla="*/ 32 w 256"/>
                <a:gd name="T11" fmla="*/ 227 h 227"/>
                <a:gd name="T12" fmla="*/ 87 w 256"/>
                <a:gd name="T13" fmla="*/ 212 h 227"/>
                <a:gd name="T14" fmla="*/ 103 w 256"/>
                <a:gd name="T15" fmla="*/ 219 h 227"/>
                <a:gd name="T16" fmla="*/ 232 w 256"/>
                <a:gd name="T17" fmla="*/ 197 h 227"/>
                <a:gd name="T18" fmla="*/ 240 w 256"/>
                <a:gd name="T19" fmla="*/ 169 h 227"/>
                <a:gd name="T20" fmla="*/ 248 w 256"/>
                <a:gd name="T21" fmla="*/ 140 h 227"/>
                <a:gd name="T22" fmla="*/ 256 w 256"/>
                <a:gd name="T23" fmla="*/ 108 h 227"/>
                <a:gd name="T24" fmla="*/ 32 w 256"/>
                <a:gd name="T25" fmla="*/ 211 h 227"/>
                <a:gd name="T26" fmla="*/ 16 w 256"/>
                <a:gd name="T27" fmla="*/ 131 h 227"/>
                <a:gd name="T28" fmla="*/ 64 w 256"/>
                <a:gd name="T29" fmla="*/ 123 h 227"/>
                <a:gd name="T30" fmla="*/ 72 w 256"/>
                <a:gd name="T31" fmla="*/ 198 h 227"/>
                <a:gd name="T32" fmla="*/ 72 w 256"/>
                <a:gd name="T33" fmla="*/ 203 h 227"/>
                <a:gd name="T34" fmla="*/ 210 w 256"/>
                <a:gd name="T35" fmla="*/ 203 h 227"/>
                <a:gd name="T36" fmla="*/ 88 w 256"/>
                <a:gd name="T37" fmla="*/ 194 h 227"/>
                <a:gd name="T38" fmla="*/ 86 w 256"/>
                <a:gd name="T39" fmla="*/ 121 h 227"/>
                <a:gd name="T40" fmla="*/ 140 w 256"/>
                <a:gd name="T41" fmla="*/ 16 h 227"/>
                <a:gd name="T42" fmla="*/ 152 w 256"/>
                <a:gd name="T43" fmla="*/ 90 h 227"/>
                <a:gd name="T44" fmla="*/ 160 w 256"/>
                <a:gd name="T45" fmla="*/ 100 h 227"/>
                <a:gd name="T46" fmla="*/ 240 w 256"/>
                <a:gd name="T47" fmla="*/ 108 h 227"/>
                <a:gd name="T48" fmla="*/ 223 w 256"/>
                <a:gd name="T49" fmla="*/ 116 h 227"/>
                <a:gd name="T50" fmla="*/ 223 w 256"/>
                <a:gd name="T51" fmla="*/ 132 h 227"/>
                <a:gd name="T52" fmla="*/ 224 w 256"/>
                <a:gd name="T53" fmla="*/ 132 h 227"/>
                <a:gd name="T54" fmla="*/ 224 w 256"/>
                <a:gd name="T55" fmla="*/ 148 h 227"/>
                <a:gd name="T56" fmla="*/ 218 w 256"/>
                <a:gd name="T57" fmla="*/ 147 h 227"/>
                <a:gd name="T58" fmla="*/ 215 w 256"/>
                <a:gd name="T59" fmla="*/ 148 h 227"/>
                <a:gd name="T60" fmla="*/ 215 w 256"/>
                <a:gd name="T61" fmla="*/ 164 h 227"/>
                <a:gd name="T62" fmla="*/ 224 w 256"/>
                <a:gd name="T63" fmla="*/ 169 h 227"/>
                <a:gd name="T64" fmla="*/ 210 w 256"/>
                <a:gd name="T65" fmla="*/ 175 h 227"/>
                <a:gd name="T66" fmla="*/ 210 w 256"/>
                <a:gd name="T67" fmla="*/ 175 h 227"/>
                <a:gd name="T68" fmla="*/ 210 w 256"/>
                <a:gd name="T69" fmla="*/ 191 h 227"/>
                <a:gd name="T70" fmla="*/ 210 w 256"/>
                <a:gd name="T71" fmla="*/ 203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56" h="227">
                  <a:moveTo>
                    <a:pt x="256" y="108"/>
                  </a:moveTo>
                  <a:cubicBezTo>
                    <a:pt x="256" y="94"/>
                    <a:pt x="245" y="84"/>
                    <a:pt x="232" y="84"/>
                  </a:cubicBezTo>
                  <a:cubicBezTo>
                    <a:pt x="169" y="84"/>
                    <a:pt x="169" y="84"/>
                    <a:pt x="169" y="84"/>
                  </a:cubicBezTo>
                  <a:cubicBezTo>
                    <a:pt x="171" y="74"/>
                    <a:pt x="172" y="59"/>
                    <a:pt x="172" y="44"/>
                  </a:cubicBezTo>
                  <a:cubicBezTo>
                    <a:pt x="172" y="13"/>
                    <a:pt x="156" y="0"/>
                    <a:pt x="140" y="0"/>
                  </a:cubicBezTo>
                  <a:cubicBezTo>
                    <a:pt x="120" y="0"/>
                    <a:pt x="120" y="21"/>
                    <a:pt x="120" y="48"/>
                  </a:cubicBezTo>
                  <a:cubicBezTo>
                    <a:pt x="120" y="67"/>
                    <a:pt x="90" y="97"/>
                    <a:pt x="75" y="110"/>
                  </a:cubicBezTo>
                  <a:cubicBezTo>
                    <a:pt x="71" y="108"/>
                    <a:pt x="68" y="107"/>
                    <a:pt x="64" y="107"/>
                  </a:cubicBezTo>
                  <a:cubicBezTo>
                    <a:pt x="24" y="107"/>
                    <a:pt x="24" y="107"/>
                    <a:pt x="24" y="107"/>
                  </a:cubicBezTo>
                  <a:cubicBezTo>
                    <a:pt x="11" y="107"/>
                    <a:pt x="0" y="118"/>
                    <a:pt x="0" y="131"/>
                  </a:cubicBezTo>
                  <a:cubicBezTo>
                    <a:pt x="8" y="203"/>
                    <a:pt x="8" y="203"/>
                    <a:pt x="8" y="203"/>
                  </a:cubicBezTo>
                  <a:cubicBezTo>
                    <a:pt x="10" y="216"/>
                    <a:pt x="19" y="227"/>
                    <a:pt x="32" y="227"/>
                  </a:cubicBezTo>
                  <a:cubicBezTo>
                    <a:pt x="64" y="227"/>
                    <a:pt x="64" y="227"/>
                    <a:pt x="64" y="227"/>
                  </a:cubicBezTo>
                  <a:cubicBezTo>
                    <a:pt x="74" y="227"/>
                    <a:pt x="83" y="221"/>
                    <a:pt x="87" y="212"/>
                  </a:cubicBezTo>
                  <a:cubicBezTo>
                    <a:pt x="100" y="219"/>
                    <a:pt x="100" y="219"/>
                    <a:pt x="100" y="219"/>
                  </a:cubicBezTo>
                  <a:cubicBezTo>
                    <a:pt x="101" y="219"/>
                    <a:pt x="102" y="219"/>
                    <a:pt x="103" y="219"/>
                  </a:cubicBezTo>
                  <a:cubicBezTo>
                    <a:pt x="210" y="219"/>
                    <a:pt x="210" y="219"/>
                    <a:pt x="210" y="219"/>
                  </a:cubicBezTo>
                  <a:cubicBezTo>
                    <a:pt x="222" y="219"/>
                    <a:pt x="232" y="210"/>
                    <a:pt x="232" y="197"/>
                  </a:cubicBezTo>
                  <a:cubicBezTo>
                    <a:pt x="232" y="194"/>
                    <a:pt x="231" y="191"/>
                    <a:pt x="230" y="188"/>
                  </a:cubicBezTo>
                  <a:cubicBezTo>
                    <a:pt x="236" y="184"/>
                    <a:pt x="240" y="177"/>
                    <a:pt x="240" y="169"/>
                  </a:cubicBezTo>
                  <a:cubicBezTo>
                    <a:pt x="240" y="166"/>
                    <a:pt x="239" y="162"/>
                    <a:pt x="238" y="159"/>
                  </a:cubicBezTo>
                  <a:cubicBezTo>
                    <a:pt x="244" y="155"/>
                    <a:pt x="248" y="148"/>
                    <a:pt x="248" y="140"/>
                  </a:cubicBezTo>
                  <a:cubicBezTo>
                    <a:pt x="248" y="135"/>
                    <a:pt x="247" y="131"/>
                    <a:pt x="245" y="128"/>
                  </a:cubicBezTo>
                  <a:cubicBezTo>
                    <a:pt x="252" y="123"/>
                    <a:pt x="256" y="116"/>
                    <a:pt x="256" y="108"/>
                  </a:cubicBezTo>
                  <a:close/>
                  <a:moveTo>
                    <a:pt x="64" y="211"/>
                  </a:moveTo>
                  <a:cubicBezTo>
                    <a:pt x="32" y="211"/>
                    <a:pt x="32" y="211"/>
                    <a:pt x="32" y="211"/>
                  </a:cubicBezTo>
                  <a:cubicBezTo>
                    <a:pt x="28" y="211"/>
                    <a:pt x="25" y="206"/>
                    <a:pt x="24" y="202"/>
                  </a:cubicBezTo>
                  <a:cubicBezTo>
                    <a:pt x="16" y="131"/>
                    <a:pt x="16" y="131"/>
                    <a:pt x="16" y="131"/>
                  </a:cubicBezTo>
                  <a:cubicBezTo>
                    <a:pt x="17" y="127"/>
                    <a:pt x="20" y="123"/>
                    <a:pt x="24" y="123"/>
                  </a:cubicBezTo>
                  <a:cubicBezTo>
                    <a:pt x="64" y="123"/>
                    <a:pt x="64" y="123"/>
                    <a:pt x="64" y="123"/>
                  </a:cubicBezTo>
                  <a:cubicBezTo>
                    <a:pt x="69" y="123"/>
                    <a:pt x="72" y="127"/>
                    <a:pt x="72" y="131"/>
                  </a:cubicBezTo>
                  <a:cubicBezTo>
                    <a:pt x="72" y="198"/>
                    <a:pt x="72" y="198"/>
                    <a:pt x="72" y="198"/>
                  </a:cubicBezTo>
                  <a:cubicBezTo>
                    <a:pt x="72" y="199"/>
                    <a:pt x="72" y="200"/>
                    <a:pt x="72" y="201"/>
                  </a:cubicBezTo>
                  <a:cubicBezTo>
                    <a:pt x="72" y="203"/>
                    <a:pt x="72" y="203"/>
                    <a:pt x="72" y="203"/>
                  </a:cubicBezTo>
                  <a:cubicBezTo>
                    <a:pt x="72" y="208"/>
                    <a:pt x="69" y="211"/>
                    <a:pt x="64" y="211"/>
                  </a:cubicBezTo>
                  <a:close/>
                  <a:moveTo>
                    <a:pt x="210" y="203"/>
                  </a:moveTo>
                  <a:cubicBezTo>
                    <a:pt x="105" y="203"/>
                    <a:pt x="105" y="203"/>
                    <a:pt x="105" y="203"/>
                  </a:cubicBezTo>
                  <a:cubicBezTo>
                    <a:pt x="88" y="194"/>
                    <a:pt x="88" y="194"/>
                    <a:pt x="88" y="194"/>
                  </a:cubicBezTo>
                  <a:cubicBezTo>
                    <a:pt x="88" y="131"/>
                    <a:pt x="88" y="131"/>
                    <a:pt x="88" y="131"/>
                  </a:cubicBezTo>
                  <a:cubicBezTo>
                    <a:pt x="88" y="128"/>
                    <a:pt x="87" y="124"/>
                    <a:pt x="86" y="121"/>
                  </a:cubicBezTo>
                  <a:cubicBezTo>
                    <a:pt x="100" y="109"/>
                    <a:pt x="136" y="75"/>
                    <a:pt x="136" y="48"/>
                  </a:cubicBezTo>
                  <a:cubicBezTo>
                    <a:pt x="136" y="31"/>
                    <a:pt x="136" y="16"/>
                    <a:pt x="140" y="16"/>
                  </a:cubicBezTo>
                  <a:cubicBezTo>
                    <a:pt x="148" y="16"/>
                    <a:pt x="156" y="25"/>
                    <a:pt x="156" y="44"/>
                  </a:cubicBezTo>
                  <a:cubicBezTo>
                    <a:pt x="156" y="67"/>
                    <a:pt x="152" y="90"/>
                    <a:pt x="152" y="90"/>
                  </a:cubicBezTo>
                  <a:cubicBezTo>
                    <a:pt x="152" y="93"/>
                    <a:pt x="153" y="95"/>
                    <a:pt x="154" y="97"/>
                  </a:cubicBezTo>
                  <a:cubicBezTo>
                    <a:pt x="156" y="98"/>
                    <a:pt x="158" y="100"/>
                    <a:pt x="160" y="100"/>
                  </a:cubicBezTo>
                  <a:cubicBezTo>
                    <a:pt x="232" y="100"/>
                    <a:pt x="232" y="100"/>
                    <a:pt x="232" y="100"/>
                  </a:cubicBezTo>
                  <a:cubicBezTo>
                    <a:pt x="237" y="100"/>
                    <a:pt x="240" y="103"/>
                    <a:pt x="240" y="108"/>
                  </a:cubicBezTo>
                  <a:cubicBezTo>
                    <a:pt x="240" y="112"/>
                    <a:pt x="237" y="116"/>
                    <a:pt x="232" y="116"/>
                  </a:cubicBezTo>
                  <a:cubicBezTo>
                    <a:pt x="223" y="116"/>
                    <a:pt x="223" y="116"/>
                    <a:pt x="223" y="116"/>
                  </a:cubicBezTo>
                  <a:cubicBezTo>
                    <a:pt x="219" y="116"/>
                    <a:pt x="215" y="119"/>
                    <a:pt x="215" y="124"/>
                  </a:cubicBezTo>
                  <a:cubicBezTo>
                    <a:pt x="215" y="128"/>
                    <a:pt x="219" y="132"/>
                    <a:pt x="223" y="132"/>
                  </a:cubicBezTo>
                  <a:cubicBezTo>
                    <a:pt x="224" y="132"/>
                    <a:pt x="224" y="132"/>
                    <a:pt x="224" y="132"/>
                  </a:cubicBezTo>
                  <a:cubicBezTo>
                    <a:pt x="224" y="132"/>
                    <a:pt x="224" y="132"/>
                    <a:pt x="224" y="132"/>
                  </a:cubicBezTo>
                  <a:cubicBezTo>
                    <a:pt x="229" y="132"/>
                    <a:pt x="232" y="135"/>
                    <a:pt x="232" y="140"/>
                  </a:cubicBezTo>
                  <a:cubicBezTo>
                    <a:pt x="232" y="144"/>
                    <a:pt x="229" y="148"/>
                    <a:pt x="224" y="148"/>
                  </a:cubicBezTo>
                  <a:cubicBezTo>
                    <a:pt x="219" y="148"/>
                    <a:pt x="219" y="148"/>
                    <a:pt x="219" y="148"/>
                  </a:cubicBezTo>
                  <a:cubicBezTo>
                    <a:pt x="219" y="148"/>
                    <a:pt x="218" y="147"/>
                    <a:pt x="218" y="147"/>
                  </a:cubicBezTo>
                  <a:cubicBezTo>
                    <a:pt x="218" y="147"/>
                    <a:pt x="218" y="148"/>
                    <a:pt x="218" y="148"/>
                  </a:cubicBezTo>
                  <a:cubicBezTo>
                    <a:pt x="215" y="148"/>
                    <a:pt x="215" y="148"/>
                    <a:pt x="215" y="148"/>
                  </a:cubicBezTo>
                  <a:cubicBezTo>
                    <a:pt x="211" y="148"/>
                    <a:pt x="207" y="151"/>
                    <a:pt x="207" y="156"/>
                  </a:cubicBezTo>
                  <a:cubicBezTo>
                    <a:pt x="207" y="160"/>
                    <a:pt x="211" y="164"/>
                    <a:pt x="215" y="164"/>
                  </a:cubicBezTo>
                  <a:cubicBezTo>
                    <a:pt x="218" y="164"/>
                    <a:pt x="218" y="164"/>
                    <a:pt x="218" y="164"/>
                  </a:cubicBezTo>
                  <a:cubicBezTo>
                    <a:pt x="222" y="164"/>
                    <a:pt x="224" y="166"/>
                    <a:pt x="224" y="169"/>
                  </a:cubicBezTo>
                  <a:cubicBezTo>
                    <a:pt x="224" y="173"/>
                    <a:pt x="221" y="175"/>
                    <a:pt x="218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06" y="175"/>
                    <a:pt x="202" y="179"/>
                    <a:pt x="202" y="183"/>
                  </a:cubicBezTo>
                  <a:cubicBezTo>
                    <a:pt x="202" y="188"/>
                    <a:pt x="206" y="191"/>
                    <a:pt x="210" y="191"/>
                  </a:cubicBezTo>
                  <a:cubicBezTo>
                    <a:pt x="213" y="191"/>
                    <a:pt x="216" y="194"/>
                    <a:pt x="216" y="197"/>
                  </a:cubicBezTo>
                  <a:cubicBezTo>
                    <a:pt x="216" y="201"/>
                    <a:pt x="213" y="203"/>
                    <a:pt x="210" y="20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840" b="1">
                <a:latin typeface="+mn-lt"/>
              </a:endParaRP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B249F63E-44F6-EC9D-05B9-D96EC2D3B182}"/>
              </a:ext>
            </a:extLst>
          </p:cNvPr>
          <p:cNvGrpSpPr/>
          <p:nvPr/>
        </p:nvGrpSpPr>
        <p:grpSpPr>
          <a:xfrm>
            <a:off x="3277558" y="4082316"/>
            <a:ext cx="990429" cy="990384"/>
            <a:chOff x="3618856" y="2203534"/>
            <a:chExt cx="1068005" cy="1067956"/>
          </a:xfrm>
        </p:grpSpPr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0D8E66BA-816C-B53D-F943-DCEC2DBB0DBF}"/>
                </a:ext>
              </a:extLst>
            </p:cNvPr>
            <p:cNvSpPr/>
            <p:nvPr/>
          </p:nvSpPr>
          <p:spPr>
            <a:xfrm rot="5400000">
              <a:off x="3618881" y="2203509"/>
              <a:ext cx="1067956" cy="1068005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764" b="1" dirty="0">
                <a:solidFill>
                  <a:srgbClr val="FFFFFF"/>
                </a:solidFill>
              </a:endParaRPr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425FE3A5-72A7-1D08-D288-767429F94823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936317" y="2531394"/>
              <a:ext cx="433084" cy="412235"/>
              <a:chOff x="6719888" y="887413"/>
              <a:chExt cx="492125" cy="468312"/>
            </a:xfrm>
            <a:solidFill>
              <a:schemeClr val="bg1"/>
            </a:solidFill>
          </p:grpSpPr>
          <p:sp>
            <p:nvSpPr>
              <p:cNvPr id="34" name="Freeform 26">
                <a:extLst>
                  <a:ext uri="{FF2B5EF4-FFF2-40B4-BE49-F238E27FC236}">
                    <a16:creationId xmlns:a16="http://schemas.microsoft.com/office/drawing/2014/main" id="{32D95C16-40D6-7D36-A981-6E000B22E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19888" y="887413"/>
                <a:ext cx="492125" cy="468312"/>
              </a:xfrm>
              <a:custGeom>
                <a:avLst/>
                <a:gdLst>
                  <a:gd name="T0" fmla="*/ 117 w 128"/>
                  <a:gd name="T1" fmla="*/ 0 h 122"/>
                  <a:gd name="T2" fmla="*/ 11 w 128"/>
                  <a:gd name="T3" fmla="*/ 0 h 122"/>
                  <a:gd name="T4" fmla="*/ 0 w 128"/>
                  <a:gd name="T5" fmla="*/ 11 h 122"/>
                  <a:gd name="T6" fmla="*/ 0 w 128"/>
                  <a:gd name="T7" fmla="*/ 93 h 122"/>
                  <a:gd name="T8" fmla="*/ 11 w 128"/>
                  <a:gd name="T9" fmla="*/ 104 h 122"/>
                  <a:gd name="T10" fmla="*/ 43 w 128"/>
                  <a:gd name="T11" fmla="*/ 104 h 122"/>
                  <a:gd name="T12" fmla="*/ 38 w 128"/>
                  <a:gd name="T13" fmla="*/ 110 h 122"/>
                  <a:gd name="T14" fmla="*/ 35 w 128"/>
                  <a:gd name="T15" fmla="*/ 113 h 122"/>
                  <a:gd name="T16" fmla="*/ 34 w 128"/>
                  <a:gd name="T17" fmla="*/ 118 h 122"/>
                  <a:gd name="T18" fmla="*/ 42 w 128"/>
                  <a:gd name="T19" fmla="*/ 122 h 122"/>
                  <a:gd name="T20" fmla="*/ 86 w 128"/>
                  <a:gd name="T21" fmla="*/ 122 h 122"/>
                  <a:gd name="T22" fmla="*/ 94 w 128"/>
                  <a:gd name="T23" fmla="*/ 118 h 122"/>
                  <a:gd name="T24" fmla="*/ 94 w 128"/>
                  <a:gd name="T25" fmla="*/ 113 h 122"/>
                  <a:gd name="T26" fmla="*/ 91 w 128"/>
                  <a:gd name="T27" fmla="*/ 110 h 122"/>
                  <a:gd name="T28" fmla="*/ 85 w 128"/>
                  <a:gd name="T29" fmla="*/ 104 h 122"/>
                  <a:gd name="T30" fmla="*/ 117 w 128"/>
                  <a:gd name="T31" fmla="*/ 104 h 122"/>
                  <a:gd name="T32" fmla="*/ 128 w 128"/>
                  <a:gd name="T33" fmla="*/ 93 h 122"/>
                  <a:gd name="T34" fmla="*/ 128 w 128"/>
                  <a:gd name="T35" fmla="*/ 11 h 122"/>
                  <a:gd name="T36" fmla="*/ 117 w 128"/>
                  <a:gd name="T37" fmla="*/ 0 h 122"/>
                  <a:gd name="T38" fmla="*/ 88 w 128"/>
                  <a:gd name="T39" fmla="*/ 113 h 122"/>
                  <a:gd name="T40" fmla="*/ 90 w 128"/>
                  <a:gd name="T41" fmla="*/ 116 h 122"/>
                  <a:gd name="T42" fmla="*/ 90 w 128"/>
                  <a:gd name="T43" fmla="*/ 116 h 122"/>
                  <a:gd name="T44" fmla="*/ 86 w 128"/>
                  <a:gd name="T45" fmla="*/ 118 h 122"/>
                  <a:gd name="T46" fmla="*/ 42 w 128"/>
                  <a:gd name="T47" fmla="*/ 118 h 122"/>
                  <a:gd name="T48" fmla="*/ 38 w 128"/>
                  <a:gd name="T49" fmla="*/ 116 h 122"/>
                  <a:gd name="T50" fmla="*/ 38 w 128"/>
                  <a:gd name="T51" fmla="*/ 116 h 122"/>
                  <a:gd name="T52" fmla="*/ 38 w 128"/>
                  <a:gd name="T53" fmla="*/ 116 h 122"/>
                  <a:gd name="T54" fmla="*/ 40 w 128"/>
                  <a:gd name="T55" fmla="*/ 113 h 122"/>
                  <a:gd name="T56" fmla="*/ 48 w 128"/>
                  <a:gd name="T57" fmla="*/ 104 h 122"/>
                  <a:gd name="T58" fmla="*/ 80 w 128"/>
                  <a:gd name="T59" fmla="*/ 104 h 122"/>
                  <a:gd name="T60" fmla="*/ 88 w 128"/>
                  <a:gd name="T61" fmla="*/ 113 h 122"/>
                  <a:gd name="T62" fmla="*/ 120 w 128"/>
                  <a:gd name="T63" fmla="*/ 93 h 122"/>
                  <a:gd name="T64" fmla="*/ 117 w 128"/>
                  <a:gd name="T65" fmla="*/ 96 h 122"/>
                  <a:gd name="T66" fmla="*/ 11 w 128"/>
                  <a:gd name="T67" fmla="*/ 96 h 122"/>
                  <a:gd name="T68" fmla="*/ 8 w 128"/>
                  <a:gd name="T69" fmla="*/ 93 h 122"/>
                  <a:gd name="T70" fmla="*/ 8 w 128"/>
                  <a:gd name="T71" fmla="*/ 11 h 122"/>
                  <a:gd name="T72" fmla="*/ 11 w 128"/>
                  <a:gd name="T73" fmla="*/ 8 h 122"/>
                  <a:gd name="T74" fmla="*/ 117 w 128"/>
                  <a:gd name="T75" fmla="*/ 8 h 122"/>
                  <a:gd name="T76" fmla="*/ 120 w 128"/>
                  <a:gd name="T77" fmla="*/ 11 h 122"/>
                  <a:gd name="T78" fmla="*/ 120 w 128"/>
                  <a:gd name="T79" fmla="*/ 93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28" h="122">
                    <a:moveTo>
                      <a:pt x="117" y="0"/>
                    </a:move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5"/>
                      <a:pt x="0" y="11"/>
                    </a:cubicBezTo>
                    <a:cubicBezTo>
                      <a:pt x="0" y="93"/>
                      <a:pt x="0" y="93"/>
                      <a:pt x="0" y="93"/>
                    </a:cubicBezTo>
                    <a:cubicBezTo>
                      <a:pt x="0" y="99"/>
                      <a:pt x="5" y="104"/>
                      <a:pt x="11" y="104"/>
                    </a:cubicBezTo>
                    <a:cubicBezTo>
                      <a:pt x="43" y="104"/>
                      <a:pt x="43" y="104"/>
                      <a:pt x="43" y="104"/>
                    </a:cubicBezTo>
                    <a:cubicBezTo>
                      <a:pt x="42" y="106"/>
                      <a:pt x="39" y="109"/>
                      <a:pt x="38" y="110"/>
                    </a:cubicBezTo>
                    <a:cubicBezTo>
                      <a:pt x="36" y="111"/>
                      <a:pt x="35" y="112"/>
                      <a:pt x="35" y="113"/>
                    </a:cubicBezTo>
                    <a:cubicBezTo>
                      <a:pt x="34" y="114"/>
                      <a:pt x="33" y="116"/>
                      <a:pt x="34" y="118"/>
                    </a:cubicBezTo>
                    <a:cubicBezTo>
                      <a:pt x="35" y="120"/>
                      <a:pt x="37" y="122"/>
                      <a:pt x="42" y="122"/>
                    </a:cubicBezTo>
                    <a:cubicBezTo>
                      <a:pt x="86" y="122"/>
                      <a:pt x="86" y="122"/>
                      <a:pt x="86" y="122"/>
                    </a:cubicBezTo>
                    <a:cubicBezTo>
                      <a:pt x="91" y="122"/>
                      <a:pt x="93" y="120"/>
                      <a:pt x="94" y="118"/>
                    </a:cubicBezTo>
                    <a:cubicBezTo>
                      <a:pt x="95" y="116"/>
                      <a:pt x="95" y="114"/>
                      <a:pt x="94" y="113"/>
                    </a:cubicBezTo>
                    <a:cubicBezTo>
                      <a:pt x="93" y="112"/>
                      <a:pt x="92" y="111"/>
                      <a:pt x="91" y="110"/>
                    </a:cubicBezTo>
                    <a:cubicBezTo>
                      <a:pt x="89" y="109"/>
                      <a:pt x="87" y="106"/>
                      <a:pt x="85" y="104"/>
                    </a:cubicBezTo>
                    <a:cubicBezTo>
                      <a:pt x="117" y="104"/>
                      <a:pt x="117" y="104"/>
                      <a:pt x="117" y="104"/>
                    </a:cubicBezTo>
                    <a:cubicBezTo>
                      <a:pt x="123" y="104"/>
                      <a:pt x="128" y="99"/>
                      <a:pt x="128" y="93"/>
                    </a:cubicBezTo>
                    <a:cubicBezTo>
                      <a:pt x="128" y="11"/>
                      <a:pt x="128" y="11"/>
                      <a:pt x="128" y="11"/>
                    </a:cubicBezTo>
                    <a:cubicBezTo>
                      <a:pt x="128" y="5"/>
                      <a:pt x="123" y="0"/>
                      <a:pt x="117" y="0"/>
                    </a:cubicBezTo>
                    <a:close/>
                    <a:moveTo>
                      <a:pt x="88" y="113"/>
                    </a:moveTo>
                    <a:cubicBezTo>
                      <a:pt x="89" y="114"/>
                      <a:pt x="90" y="115"/>
                      <a:pt x="90" y="116"/>
                    </a:cubicBezTo>
                    <a:cubicBezTo>
                      <a:pt x="90" y="116"/>
                      <a:pt x="91" y="116"/>
                      <a:pt x="90" y="116"/>
                    </a:cubicBezTo>
                    <a:cubicBezTo>
                      <a:pt x="90" y="117"/>
                      <a:pt x="88" y="118"/>
                      <a:pt x="86" y="118"/>
                    </a:cubicBezTo>
                    <a:cubicBezTo>
                      <a:pt x="42" y="118"/>
                      <a:pt x="42" y="118"/>
                      <a:pt x="42" y="118"/>
                    </a:cubicBezTo>
                    <a:cubicBezTo>
                      <a:pt x="40" y="118"/>
                      <a:pt x="38" y="117"/>
                      <a:pt x="38" y="116"/>
                    </a:cubicBezTo>
                    <a:cubicBezTo>
                      <a:pt x="38" y="116"/>
                      <a:pt x="38" y="116"/>
                      <a:pt x="38" y="116"/>
                    </a:cubicBezTo>
                    <a:cubicBezTo>
                      <a:pt x="38" y="116"/>
                      <a:pt x="38" y="116"/>
                      <a:pt x="38" y="116"/>
                    </a:cubicBezTo>
                    <a:cubicBezTo>
                      <a:pt x="38" y="115"/>
                      <a:pt x="39" y="114"/>
                      <a:pt x="40" y="113"/>
                    </a:cubicBezTo>
                    <a:cubicBezTo>
                      <a:pt x="44" y="109"/>
                      <a:pt x="47" y="106"/>
                      <a:pt x="48" y="104"/>
                    </a:cubicBezTo>
                    <a:cubicBezTo>
                      <a:pt x="80" y="104"/>
                      <a:pt x="80" y="104"/>
                      <a:pt x="80" y="104"/>
                    </a:cubicBezTo>
                    <a:cubicBezTo>
                      <a:pt x="82" y="106"/>
                      <a:pt x="84" y="109"/>
                      <a:pt x="88" y="113"/>
                    </a:cubicBezTo>
                    <a:close/>
                    <a:moveTo>
                      <a:pt x="120" y="93"/>
                    </a:moveTo>
                    <a:cubicBezTo>
                      <a:pt x="120" y="95"/>
                      <a:pt x="119" y="96"/>
                      <a:pt x="117" y="96"/>
                    </a:cubicBezTo>
                    <a:cubicBezTo>
                      <a:pt x="11" y="96"/>
                      <a:pt x="11" y="96"/>
                      <a:pt x="11" y="96"/>
                    </a:cubicBezTo>
                    <a:cubicBezTo>
                      <a:pt x="9" y="96"/>
                      <a:pt x="8" y="95"/>
                      <a:pt x="8" y="93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8" y="9"/>
                      <a:pt x="9" y="8"/>
                      <a:pt x="11" y="8"/>
                    </a:cubicBezTo>
                    <a:cubicBezTo>
                      <a:pt x="117" y="8"/>
                      <a:pt x="117" y="8"/>
                      <a:pt x="117" y="8"/>
                    </a:cubicBezTo>
                    <a:cubicBezTo>
                      <a:pt x="119" y="8"/>
                      <a:pt x="120" y="9"/>
                      <a:pt x="120" y="11"/>
                    </a:cubicBezTo>
                    <a:lnTo>
                      <a:pt x="120" y="9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35" name="Freeform 27">
                <a:extLst>
                  <a:ext uri="{FF2B5EF4-FFF2-40B4-BE49-F238E27FC236}">
                    <a16:creationId xmlns:a16="http://schemas.microsoft.com/office/drawing/2014/main" id="{6768D57D-4874-FE9A-97A9-F2FD38F9E83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81801" y="947738"/>
                <a:ext cx="368300" cy="247650"/>
              </a:xfrm>
              <a:custGeom>
                <a:avLst/>
                <a:gdLst>
                  <a:gd name="T0" fmla="*/ 89 w 96"/>
                  <a:gd name="T1" fmla="*/ 0 h 64"/>
                  <a:gd name="T2" fmla="*/ 7 w 96"/>
                  <a:gd name="T3" fmla="*/ 0 h 64"/>
                  <a:gd name="T4" fmla="*/ 0 w 96"/>
                  <a:gd name="T5" fmla="*/ 7 h 64"/>
                  <a:gd name="T6" fmla="*/ 0 w 96"/>
                  <a:gd name="T7" fmla="*/ 57 h 64"/>
                  <a:gd name="T8" fmla="*/ 7 w 96"/>
                  <a:gd name="T9" fmla="*/ 64 h 64"/>
                  <a:gd name="T10" fmla="*/ 89 w 96"/>
                  <a:gd name="T11" fmla="*/ 64 h 64"/>
                  <a:gd name="T12" fmla="*/ 96 w 96"/>
                  <a:gd name="T13" fmla="*/ 57 h 64"/>
                  <a:gd name="T14" fmla="*/ 96 w 96"/>
                  <a:gd name="T15" fmla="*/ 7 h 64"/>
                  <a:gd name="T16" fmla="*/ 89 w 96"/>
                  <a:gd name="T17" fmla="*/ 0 h 64"/>
                  <a:gd name="T18" fmla="*/ 92 w 96"/>
                  <a:gd name="T19" fmla="*/ 57 h 64"/>
                  <a:gd name="T20" fmla="*/ 89 w 96"/>
                  <a:gd name="T21" fmla="*/ 60 h 64"/>
                  <a:gd name="T22" fmla="*/ 7 w 96"/>
                  <a:gd name="T23" fmla="*/ 60 h 64"/>
                  <a:gd name="T24" fmla="*/ 4 w 96"/>
                  <a:gd name="T25" fmla="*/ 57 h 64"/>
                  <a:gd name="T26" fmla="*/ 4 w 96"/>
                  <a:gd name="T27" fmla="*/ 7 h 64"/>
                  <a:gd name="T28" fmla="*/ 7 w 96"/>
                  <a:gd name="T29" fmla="*/ 4 h 64"/>
                  <a:gd name="T30" fmla="*/ 89 w 96"/>
                  <a:gd name="T31" fmla="*/ 4 h 64"/>
                  <a:gd name="T32" fmla="*/ 92 w 96"/>
                  <a:gd name="T33" fmla="*/ 7 h 64"/>
                  <a:gd name="T34" fmla="*/ 92 w 96"/>
                  <a:gd name="T35" fmla="*/ 57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6" h="64">
                    <a:moveTo>
                      <a:pt x="89" y="0"/>
                    </a:moveTo>
                    <a:cubicBezTo>
                      <a:pt x="7" y="0"/>
                      <a:pt x="7" y="0"/>
                      <a:pt x="7" y="0"/>
                    </a:cubicBezTo>
                    <a:cubicBezTo>
                      <a:pt x="3" y="0"/>
                      <a:pt x="0" y="3"/>
                      <a:pt x="0" y="7"/>
                    </a:cubicBezTo>
                    <a:cubicBezTo>
                      <a:pt x="0" y="57"/>
                      <a:pt x="0" y="57"/>
                      <a:pt x="0" y="57"/>
                    </a:cubicBezTo>
                    <a:cubicBezTo>
                      <a:pt x="0" y="61"/>
                      <a:pt x="3" y="64"/>
                      <a:pt x="7" y="64"/>
                    </a:cubicBezTo>
                    <a:cubicBezTo>
                      <a:pt x="89" y="64"/>
                      <a:pt x="89" y="64"/>
                      <a:pt x="89" y="64"/>
                    </a:cubicBezTo>
                    <a:cubicBezTo>
                      <a:pt x="93" y="64"/>
                      <a:pt x="96" y="61"/>
                      <a:pt x="96" y="57"/>
                    </a:cubicBezTo>
                    <a:cubicBezTo>
                      <a:pt x="96" y="7"/>
                      <a:pt x="96" y="7"/>
                      <a:pt x="96" y="7"/>
                    </a:cubicBezTo>
                    <a:cubicBezTo>
                      <a:pt x="96" y="3"/>
                      <a:pt x="93" y="0"/>
                      <a:pt x="89" y="0"/>
                    </a:cubicBezTo>
                    <a:close/>
                    <a:moveTo>
                      <a:pt x="92" y="57"/>
                    </a:moveTo>
                    <a:cubicBezTo>
                      <a:pt x="92" y="59"/>
                      <a:pt x="91" y="60"/>
                      <a:pt x="89" y="60"/>
                    </a:cubicBezTo>
                    <a:cubicBezTo>
                      <a:pt x="7" y="60"/>
                      <a:pt x="7" y="60"/>
                      <a:pt x="7" y="60"/>
                    </a:cubicBezTo>
                    <a:cubicBezTo>
                      <a:pt x="5" y="60"/>
                      <a:pt x="4" y="59"/>
                      <a:pt x="4" y="5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5"/>
                      <a:pt x="5" y="4"/>
                      <a:pt x="7" y="4"/>
                    </a:cubicBezTo>
                    <a:cubicBezTo>
                      <a:pt x="89" y="4"/>
                      <a:pt x="89" y="4"/>
                      <a:pt x="89" y="4"/>
                    </a:cubicBezTo>
                    <a:cubicBezTo>
                      <a:pt x="91" y="4"/>
                      <a:pt x="92" y="5"/>
                      <a:pt x="92" y="7"/>
                    </a:cubicBezTo>
                    <a:lnTo>
                      <a:pt x="92" y="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36" name="Freeform 28">
                <a:extLst>
                  <a:ext uri="{FF2B5EF4-FFF2-40B4-BE49-F238E27FC236}">
                    <a16:creationId xmlns:a16="http://schemas.microsoft.com/office/drawing/2014/main" id="{933F2A2E-FF1D-4479-D736-F1E68395B4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43726" y="1201738"/>
                <a:ext cx="46038" cy="47625"/>
              </a:xfrm>
              <a:custGeom>
                <a:avLst/>
                <a:gdLst>
                  <a:gd name="T0" fmla="*/ 6 w 12"/>
                  <a:gd name="T1" fmla="*/ 0 h 12"/>
                  <a:gd name="T2" fmla="*/ 0 w 12"/>
                  <a:gd name="T3" fmla="*/ 6 h 12"/>
                  <a:gd name="T4" fmla="*/ 6 w 12"/>
                  <a:gd name="T5" fmla="*/ 12 h 12"/>
                  <a:gd name="T6" fmla="*/ 12 w 12"/>
                  <a:gd name="T7" fmla="*/ 6 h 12"/>
                  <a:gd name="T8" fmla="*/ 6 w 12"/>
                  <a:gd name="T9" fmla="*/ 0 h 12"/>
                  <a:gd name="T10" fmla="*/ 6 w 12"/>
                  <a:gd name="T11" fmla="*/ 8 h 12"/>
                  <a:gd name="T12" fmla="*/ 4 w 12"/>
                  <a:gd name="T13" fmla="*/ 6 h 12"/>
                  <a:gd name="T14" fmla="*/ 6 w 12"/>
                  <a:gd name="T15" fmla="*/ 4 h 12"/>
                  <a:gd name="T16" fmla="*/ 8 w 12"/>
                  <a:gd name="T17" fmla="*/ 6 h 12"/>
                  <a:gd name="T18" fmla="*/ 6 w 12"/>
                  <a:gd name="T19" fmla="*/ 8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cubicBezTo>
                      <a:pt x="3" y="0"/>
                      <a:pt x="0" y="3"/>
                      <a:pt x="0" y="6"/>
                    </a:cubicBezTo>
                    <a:cubicBezTo>
                      <a:pt x="0" y="9"/>
                      <a:pt x="3" y="12"/>
                      <a:pt x="6" y="12"/>
                    </a:cubicBezTo>
                    <a:cubicBezTo>
                      <a:pt x="9" y="12"/>
                      <a:pt x="12" y="9"/>
                      <a:pt x="12" y="6"/>
                    </a:cubicBezTo>
                    <a:cubicBezTo>
                      <a:pt x="12" y="3"/>
                      <a:pt x="9" y="0"/>
                      <a:pt x="6" y="0"/>
                    </a:cubicBezTo>
                    <a:close/>
                    <a:moveTo>
                      <a:pt x="6" y="8"/>
                    </a:moveTo>
                    <a:cubicBezTo>
                      <a:pt x="5" y="8"/>
                      <a:pt x="4" y="7"/>
                      <a:pt x="4" y="6"/>
                    </a:cubicBezTo>
                    <a:cubicBezTo>
                      <a:pt x="4" y="5"/>
                      <a:pt x="5" y="4"/>
                      <a:pt x="6" y="4"/>
                    </a:cubicBezTo>
                    <a:cubicBezTo>
                      <a:pt x="7" y="4"/>
                      <a:pt x="8" y="5"/>
                      <a:pt x="8" y="6"/>
                    </a:cubicBezTo>
                    <a:cubicBezTo>
                      <a:pt x="8" y="7"/>
                      <a:pt x="7" y="8"/>
                      <a:pt x="6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37" name="Freeform 29">
                <a:extLst>
                  <a:ext uri="{FF2B5EF4-FFF2-40B4-BE49-F238E27FC236}">
                    <a16:creationId xmlns:a16="http://schemas.microsoft.com/office/drawing/2014/main" id="{3CD2C36E-4A17-BB8B-FE65-213CFE5D8E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81813" y="1044575"/>
                <a:ext cx="61913" cy="65087"/>
              </a:xfrm>
              <a:custGeom>
                <a:avLst/>
                <a:gdLst>
                  <a:gd name="T0" fmla="*/ 0 w 39"/>
                  <a:gd name="T1" fmla="*/ 24 h 41"/>
                  <a:gd name="T2" fmla="*/ 39 w 39"/>
                  <a:gd name="T3" fmla="*/ 41 h 41"/>
                  <a:gd name="T4" fmla="*/ 39 w 39"/>
                  <a:gd name="T5" fmla="*/ 32 h 41"/>
                  <a:gd name="T6" fmla="*/ 12 w 39"/>
                  <a:gd name="T7" fmla="*/ 19 h 41"/>
                  <a:gd name="T8" fmla="*/ 39 w 39"/>
                  <a:gd name="T9" fmla="*/ 10 h 41"/>
                  <a:gd name="T10" fmla="*/ 39 w 39"/>
                  <a:gd name="T11" fmla="*/ 0 h 41"/>
                  <a:gd name="T12" fmla="*/ 0 w 39"/>
                  <a:gd name="T13" fmla="*/ 17 h 41"/>
                  <a:gd name="T14" fmla="*/ 0 w 39"/>
                  <a:gd name="T15" fmla="*/ 24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9" h="41">
                    <a:moveTo>
                      <a:pt x="0" y="24"/>
                    </a:moveTo>
                    <a:lnTo>
                      <a:pt x="39" y="41"/>
                    </a:lnTo>
                    <a:lnTo>
                      <a:pt x="39" y="32"/>
                    </a:lnTo>
                    <a:lnTo>
                      <a:pt x="12" y="19"/>
                    </a:lnTo>
                    <a:lnTo>
                      <a:pt x="39" y="10"/>
                    </a:lnTo>
                    <a:lnTo>
                      <a:pt x="39" y="0"/>
                    </a:lnTo>
                    <a:lnTo>
                      <a:pt x="0" y="17"/>
                    </a:lnTo>
                    <a:lnTo>
                      <a:pt x="0" y="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38" name="Freeform 30">
                <a:extLst>
                  <a:ext uri="{FF2B5EF4-FFF2-40B4-BE49-F238E27FC236}">
                    <a16:creationId xmlns:a16="http://schemas.microsoft.com/office/drawing/2014/main" id="{6549D3C3-3A15-DCF0-EFA1-D8E120AAA3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50076" y="1033463"/>
                <a:ext cx="31750" cy="87312"/>
              </a:xfrm>
              <a:custGeom>
                <a:avLst/>
                <a:gdLst>
                  <a:gd name="T0" fmla="*/ 7 w 8"/>
                  <a:gd name="T1" fmla="*/ 0 h 23"/>
                  <a:gd name="T2" fmla="*/ 5 w 8"/>
                  <a:gd name="T3" fmla="*/ 0 h 23"/>
                  <a:gd name="T4" fmla="*/ 5 w 8"/>
                  <a:gd name="T5" fmla="*/ 2 h 23"/>
                  <a:gd name="T6" fmla="*/ 0 w 8"/>
                  <a:gd name="T7" fmla="*/ 20 h 23"/>
                  <a:gd name="T8" fmla="*/ 0 w 8"/>
                  <a:gd name="T9" fmla="*/ 22 h 23"/>
                  <a:gd name="T10" fmla="*/ 2 w 8"/>
                  <a:gd name="T11" fmla="*/ 23 h 23"/>
                  <a:gd name="T12" fmla="*/ 3 w 8"/>
                  <a:gd name="T13" fmla="*/ 23 h 23"/>
                  <a:gd name="T14" fmla="*/ 3 w 8"/>
                  <a:gd name="T15" fmla="*/ 22 h 23"/>
                  <a:gd name="T16" fmla="*/ 4 w 8"/>
                  <a:gd name="T17" fmla="*/ 21 h 23"/>
                  <a:gd name="T18" fmla="*/ 8 w 8"/>
                  <a:gd name="T19" fmla="*/ 3 h 23"/>
                  <a:gd name="T20" fmla="*/ 8 w 8"/>
                  <a:gd name="T21" fmla="*/ 1 h 23"/>
                  <a:gd name="T22" fmla="*/ 8 w 8"/>
                  <a:gd name="T23" fmla="*/ 0 h 23"/>
                  <a:gd name="T24" fmla="*/ 7 w 8"/>
                  <a:gd name="T25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" h="23">
                    <a:moveTo>
                      <a:pt x="7" y="0"/>
                    </a:moveTo>
                    <a:cubicBezTo>
                      <a:pt x="6" y="0"/>
                      <a:pt x="6" y="0"/>
                      <a:pt x="5" y="0"/>
                    </a:cubicBezTo>
                    <a:cubicBezTo>
                      <a:pt x="5" y="0"/>
                      <a:pt x="5" y="1"/>
                      <a:pt x="5" y="2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1"/>
                      <a:pt x="0" y="22"/>
                      <a:pt x="0" y="22"/>
                    </a:cubicBezTo>
                    <a:cubicBezTo>
                      <a:pt x="0" y="23"/>
                      <a:pt x="1" y="23"/>
                      <a:pt x="2" y="23"/>
                    </a:cubicBezTo>
                    <a:cubicBezTo>
                      <a:pt x="2" y="23"/>
                      <a:pt x="2" y="23"/>
                      <a:pt x="3" y="23"/>
                    </a:cubicBezTo>
                    <a:cubicBezTo>
                      <a:pt x="3" y="23"/>
                      <a:pt x="3" y="22"/>
                      <a:pt x="3" y="22"/>
                    </a:cubicBezTo>
                    <a:cubicBezTo>
                      <a:pt x="3" y="22"/>
                      <a:pt x="3" y="21"/>
                      <a:pt x="4" y="21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2"/>
                      <a:pt x="8" y="1"/>
                      <a:pt x="8" y="1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0"/>
                      <a:pt x="7" y="0"/>
                      <a:pt x="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39" name="Freeform 31">
                <a:extLst>
                  <a:ext uri="{FF2B5EF4-FFF2-40B4-BE49-F238E27FC236}">
                    <a16:creationId xmlns:a16="http://schemas.microsoft.com/office/drawing/2014/main" id="{5577784E-3ABD-2761-B059-3501387ED4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89763" y="1044575"/>
                <a:ext cx="60325" cy="65087"/>
              </a:xfrm>
              <a:custGeom>
                <a:avLst/>
                <a:gdLst>
                  <a:gd name="T0" fmla="*/ 0 w 38"/>
                  <a:gd name="T1" fmla="*/ 10 h 41"/>
                  <a:gd name="T2" fmla="*/ 26 w 38"/>
                  <a:gd name="T3" fmla="*/ 19 h 41"/>
                  <a:gd name="T4" fmla="*/ 0 w 38"/>
                  <a:gd name="T5" fmla="*/ 32 h 41"/>
                  <a:gd name="T6" fmla="*/ 0 w 38"/>
                  <a:gd name="T7" fmla="*/ 41 h 41"/>
                  <a:gd name="T8" fmla="*/ 38 w 38"/>
                  <a:gd name="T9" fmla="*/ 24 h 41"/>
                  <a:gd name="T10" fmla="*/ 38 w 38"/>
                  <a:gd name="T11" fmla="*/ 17 h 41"/>
                  <a:gd name="T12" fmla="*/ 0 w 38"/>
                  <a:gd name="T13" fmla="*/ 0 h 41"/>
                  <a:gd name="T14" fmla="*/ 0 w 38"/>
                  <a:gd name="T15" fmla="*/ 1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8" h="41">
                    <a:moveTo>
                      <a:pt x="0" y="10"/>
                    </a:moveTo>
                    <a:lnTo>
                      <a:pt x="26" y="19"/>
                    </a:lnTo>
                    <a:lnTo>
                      <a:pt x="0" y="32"/>
                    </a:lnTo>
                    <a:lnTo>
                      <a:pt x="0" y="41"/>
                    </a:lnTo>
                    <a:lnTo>
                      <a:pt x="38" y="24"/>
                    </a:lnTo>
                    <a:lnTo>
                      <a:pt x="38" y="17"/>
                    </a:lnTo>
                    <a:lnTo>
                      <a:pt x="0" y="0"/>
                    </a:lnTo>
                    <a:lnTo>
                      <a:pt x="0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</p:grp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AB9C5FB9-F435-98A6-0694-6504B30FA221}"/>
              </a:ext>
            </a:extLst>
          </p:cNvPr>
          <p:cNvGrpSpPr/>
          <p:nvPr/>
        </p:nvGrpSpPr>
        <p:grpSpPr>
          <a:xfrm>
            <a:off x="3688055" y="3091289"/>
            <a:ext cx="990429" cy="990384"/>
            <a:chOff x="2254021" y="1541715"/>
            <a:chExt cx="1068005" cy="1067956"/>
          </a:xfrm>
        </p:grpSpPr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2B34237D-1722-07FA-AADA-F7A39207D789}"/>
                </a:ext>
              </a:extLst>
            </p:cNvPr>
            <p:cNvSpPr/>
            <p:nvPr/>
          </p:nvSpPr>
          <p:spPr>
            <a:xfrm rot="5400000">
              <a:off x="2254046" y="1541690"/>
              <a:ext cx="1067956" cy="1068005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764" b="1" dirty="0">
                <a:solidFill>
                  <a:srgbClr val="FFFFFF"/>
                </a:solidFill>
              </a:endParaRPr>
            </a:p>
          </p:txBody>
        </p: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5A51AB7F-5523-B526-366D-8E9CC6548BEE}"/>
                </a:ext>
              </a:extLst>
            </p:cNvPr>
            <p:cNvGrpSpPr/>
            <p:nvPr/>
          </p:nvGrpSpPr>
          <p:grpSpPr>
            <a:xfrm>
              <a:off x="2471788" y="1862438"/>
              <a:ext cx="632472" cy="426508"/>
              <a:chOff x="6716027" y="5411634"/>
              <a:chExt cx="583964" cy="393797"/>
            </a:xfrm>
            <a:solidFill>
              <a:schemeClr val="bg1"/>
            </a:solidFill>
          </p:grpSpPr>
          <p:sp>
            <p:nvSpPr>
              <p:cNvPr id="43" name="Freeform 17">
                <a:extLst>
                  <a:ext uri="{FF2B5EF4-FFF2-40B4-BE49-F238E27FC236}">
                    <a16:creationId xmlns:a16="http://schemas.microsoft.com/office/drawing/2014/main" id="{17D9526E-5AD0-040F-76FA-D7914B6AA70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2700000">
                <a:off x="6832931" y="5294730"/>
                <a:ext cx="350155" cy="583964"/>
              </a:xfrm>
              <a:custGeom>
                <a:avLst/>
                <a:gdLst>
                  <a:gd name="T0" fmla="*/ 50 w 184"/>
                  <a:gd name="T1" fmla="*/ 310 h 310"/>
                  <a:gd name="T2" fmla="*/ 32 w 184"/>
                  <a:gd name="T3" fmla="*/ 282 h 310"/>
                  <a:gd name="T4" fmla="*/ 10 w 184"/>
                  <a:gd name="T5" fmla="*/ 199 h 310"/>
                  <a:gd name="T6" fmla="*/ 39 w 184"/>
                  <a:gd name="T7" fmla="*/ 171 h 310"/>
                  <a:gd name="T8" fmla="*/ 30 w 184"/>
                  <a:gd name="T9" fmla="*/ 116 h 310"/>
                  <a:gd name="T10" fmla="*/ 36 w 184"/>
                  <a:gd name="T11" fmla="*/ 73 h 310"/>
                  <a:gd name="T12" fmla="*/ 36 w 184"/>
                  <a:gd name="T13" fmla="*/ 72 h 310"/>
                  <a:gd name="T14" fmla="*/ 92 w 184"/>
                  <a:gd name="T15" fmla="*/ 0 h 310"/>
                  <a:gd name="T16" fmla="*/ 148 w 184"/>
                  <a:gd name="T17" fmla="*/ 72 h 310"/>
                  <a:gd name="T18" fmla="*/ 148 w 184"/>
                  <a:gd name="T19" fmla="*/ 73 h 310"/>
                  <a:gd name="T20" fmla="*/ 155 w 184"/>
                  <a:gd name="T21" fmla="*/ 116 h 310"/>
                  <a:gd name="T22" fmla="*/ 145 w 184"/>
                  <a:gd name="T23" fmla="*/ 171 h 310"/>
                  <a:gd name="T24" fmla="*/ 174 w 184"/>
                  <a:gd name="T25" fmla="*/ 199 h 310"/>
                  <a:gd name="T26" fmla="*/ 153 w 184"/>
                  <a:gd name="T27" fmla="*/ 282 h 310"/>
                  <a:gd name="T28" fmla="*/ 134 w 184"/>
                  <a:gd name="T29" fmla="*/ 310 h 310"/>
                  <a:gd name="T30" fmla="*/ 134 w 184"/>
                  <a:gd name="T31" fmla="*/ 276 h 310"/>
                  <a:gd name="T32" fmla="*/ 118 w 184"/>
                  <a:gd name="T33" fmla="*/ 239 h 310"/>
                  <a:gd name="T34" fmla="*/ 118 w 184"/>
                  <a:gd name="T35" fmla="*/ 240 h 310"/>
                  <a:gd name="T36" fmla="*/ 115 w 184"/>
                  <a:gd name="T37" fmla="*/ 246 h 310"/>
                  <a:gd name="T38" fmla="*/ 108 w 184"/>
                  <a:gd name="T39" fmla="*/ 245 h 310"/>
                  <a:gd name="T40" fmla="*/ 76 w 184"/>
                  <a:gd name="T41" fmla="*/ 245 h 310"/>
                  <a:gd name="T42" fmla="*/ 69 w 184"/>
                  <a:gd name="T43" fmla="*/ 246 h 310"/>
                  <a:gd name="T44" fmla="*/ 66 w 184"/>
                  <a:gd name="T45" fmla="*/ 240 h 310"/>
                  <a:gd name="T46" fmla="*/ 66 w 184"/>
                  <a:gd name="T47" fmla="*/ 239 h 310"/>
                  <a:gd name="T48" fmla="*/ 50 w 184"/>
                  <a:gd name="T49" fmla="*/ 276 h 310"/>
                  <a:gd name="T50" fmla="*/ 50 w 184"/>
                  <a:gd name="T51" fmla="*/ 310 h 310"/>
                  <a:gd name="T52" fmla="*/ 55 w 184"/>
                  <a:gd name="T53" fmla="*/ 79 h 310"/>
                  <a:gd name="T54" fmla="*/ 50 w 184"/>
                  <a:gd name="T55" fmla="*/ 116 h 310"/>
                  <a:gd name="T56" fmla="*/ 61 w 184"/>
                  <a:gd name="T57" fmla="*/ 174 h 310"/>
                  <a:gd name="T58" fmla="*/ 64 w 184"/>
                  <a:gd name="T59" fmla="*/ 184 h 310"/>
                  <a:gd name="T60" fmla="*/ 54 w 184"/>
                  <a:gd name="T61" fmla="*/ 187 h 310"/>
                  <a:gd name="T62" fmla="*/ 29 w 184"/>
                  <a:gd name="T63" fmla="*/ 205 h 310"/>
                  <a:gd name="T64" fmla="*/ 36 w 184"/>
                  <a:gd name="T65" fmla="*/ 247 h 310"/>
                  <a:gd name="T66" fmla="*/ 65 w 184"/>
                  <a:gd name="T67" fmla="*/ 215 h 310"/>
                  <a:gd name="T68" fmla="*/ 74 w 184"/>
                  <a:gd name="T69" fmla="*/ 209 h 310"/>
                  <a:gd name="T70" fmla="*/ 79 w 184"/>
                  <a:gd name="T71" fmla="*/ 219 h 310"/>
                  <a:gd name="T72" fmla="*/ 82 w 184"/>
                  <a:gd name="T73" fmla="*/ 225 h 310"/>
                  <a:gd name="T74" fmla="*/ 103 w 184"/>
                  <a:gd name="T75" fmla="*/ 225 h 310"/>
                  <a:gd name="T76" fmla="*/ 105 w 184"/>
                  <a:gd name="T77" fmla="*/ 219 h 310"/>
                  <a:gd name="T78" fmla="*/ 110 w 184"/>
                  <a:gd name="T79" fmla="*/ 209 h 310"/>
                  <a:gd name="T80" fmla="*/ 120 w 184"/>
                  <a:gd name="T81" fmla="*/ 215 h 310"/>
                  <a:gd name="T82" fmla="*/ 148 w 184"/>
                  <a:gd name="T83" fmla="*/ 247 h 310"/>
                  <a:gd name="T84" fmla="*/ 155 w 184"/>
                  <a:gd name="T85" fmla="*/ 205 h 310"/>
                  <a:gd name="T86" fmla="*/ 130 w 184"/>
                  <a:gd name="T87" fmla="*/ 187 h 310"/>
                  <a:gd name="T88" fmla="*/ 120 w 184"/>
                  <a:gd name="T89" fmla="*/ 184 h 310"/>
                  <a:gd name="T90" fmla="*/ 123 w 184"/>
                  <a:gd name="T91" fmla="*/ 174 h 310"/>
                  <a:gd name="T92" fmla="*/ 135 w 184"/>
                  <a:gd name="T93" fmla="*/ 116 h 310"/>
                  <a:gd name="T94" fmla="*/ 129 w 184"/>
                  <a:gd name="T95" fmla="*/ 79 h 310"/>
                  <a:gd name="T96" fmla="*/ 92 w 184"/>
                  <a:gd name="T97" fmla="*/ 21 h 310"/>
                  <a:gd name="T98" fmla="*/ 55 w 184"/>
                  <a:gd name="T99" fmla="*/ 79 h 3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84" h="310">
                    <a:moveTo>
                      <a:pt x="50" y="310"/>
                    </a:moveTo>
                    <a:cubicBezTo>
                      <a:pt x="32" y="282"/>
                      <a:pt x="32" y="282"/>
                      <a:pt x="32" y="282"/>
                    </a:cubicBezTo>
                    <a:cubicBezTo>
                      <a:pt x="28" y="276"/>
                      <a:pt x="0" y="230"/>
                      <a:pt x="10" y="199"/>
                    </a:cubicBezTo>
                    <a:cubicBezTo>
                      <a:pt x="14" y="187"/>
                      <a:pt x="24" y="178"/>
                      <a:pt x="39" y="171"/>
                    </a:cubicBezTo>
                    <a:cubicBezTo>
                      <a:pt x="33" y="151"/>
                      <a:pt x="30" y="132"/>
                      <a:pt x="30" y="116"/>
                    </a:cubicBezTo>
                    <a:cubicBezTo>
                      <a:pt x="30" y="102"/>
                      <a:pt x="32" y="87"/>
                      <a:pt x="36" y="73"/>
                    </a:cubicBezTo>
                    <a:cubicBezTo>
                      <a:pt x="36" y="72"/>
                      <a:pt x="36" y="72"/>
                      <a:pt x="36" y="72"/>
                    </a:cubicBezTo>
                    <a:cubicBezTo>
                      <a:pt x="50" y="35"/>
                      <a:pt x="77" y="0"/>
                      <a:pt x="92" y="0"/>
                    </a:cubicBezTo>
                    <a:cubicBezTo>
                      <a:pt x="107" y="0"/>
                      <a:pt x="134" y="35"/>
                      <a:pt x="148" y="72"/>
                    </a:cubicBezTo>
                    <a:cubicBezTo>
                      <a:pt x="148" y="73"/>
                      <a:pt x="148" y="73"/>
                      <a:pt x="148" y="73"/>
                    </a:cubicBezTo>
                    <a:cubicBezTo>
                      <a:pt x="152" y="87"/>
                      <a:pt x="155" y="102"/>
                      <a:pt x="155" y="116"/>
                    </a:cubicBezTo>
                    <a:cubicBezTo>
                      <a:pt x="155" y="132"/>
                      <a:pt x="152" y="151"/>
                      <a:pt x="145" y="171"/>
                    </a:cubicBezTo>
                    <a:cubicBezTo>
                      <a:pt x="160" y="178"/>
                      <a:pt x="170" y="187"/>
                      <a:pt x="174" y="199"/>
                    </a:cubicBezTo>
                    <a:cubicBezTo>
                      <a:pt x="184" y="230"/>
                      <a:pt x="156" y="276"/>
                      <a:pt x="153" y="282"/>
                    </a:cubicBezTo>
                    <a:cubicBezTo>
                      <a:pt x="134" y="310"/>
                      <a:pt x="134" y="310"/>
                      <a:pt x="134" y="310"/>
                    </a:cubicBezTo>
                    <a:cubicBezTo>
                      <a:pt x="134" y="276"/>
                      <a:pt x="134" y="276"/>
                      <a:pt x="134" y="276"/>
                    </a:cubicBezTo>
                    <a:cubicBezTo>
                      <a:pt x="134" y="262"/>
                      <a:pt x="128" y="248"/>
                      <a:pt x="118" y="239"/>
                    </a:cubicBezTo>
                    <a:cubicBezTo>
                      <a:pt x="118" y="239"/>
                      <a:pt x="118" y="239"/>
                      <a:pt x="118" y="240"/>
                    </a:cubicBezTo>
                    <a:cubicBezTo>
                      <a:pt x="115" y="246"/>
                      <a:pt x="115" y="246"/>
                      <a:pt x="115" y="246"/>
                    </a:cubicBezTo>
                    <a:cubicBezTo>
                      <a:pt x="108" y="245"/>
                      <a:pt x="108" y="245"/>
                      <a:pt x="108" y="245"/>
                    </a:cubicBezTo>
                    <a:cubicBezTo>
                      <a:pt x="98" y="245"/>
                      <a:pt x="87" y="245"/>
                      <a:pt x="76" y="245"/>
                    </a:cubicBezTo>
                    <a:cubicBezTo>
                      <a:pt x="69" y="246"/>
                      <a:pt x="69" y="246"/>
                      <a:pt x="69" y="246"/>
                    </a:cubicBezTo>
                    <a:cubicBezTo>
                      <a:pt x="66" y="240"/>
                      <a:pt x="66" y="240"/>
                      <a:pt x="66" y="240"/>
                    </a:cubicBezTo>
                    <a:cubicBezTo>
                      <a:pt x="66" y="239"/>
                      <a:pt x="66" y="239"/>
                      <a:pt x="66" y="239"/>
                    </a:cubicBezTo>
                    <a:cubicBezTo>
                      <a:pt x="56" y="249"/>
                      <a:pt x="50" y="262"/>
                      <a:pt x="50" y="276"/>
                    </a:cubicBezTo>
                    <a:lnTo>
                      <a:pt x="50" y="310"/>
                    </a:lnTo>
                    <a:close/>
                    <a:moveTo>
                      <a:pt x="55" y="79"/>
                    </a:moveTo>
                    <a:cubicBezTo>
                      <a:pt x="52" y="91"/>
                      <a:pt x="50" y="104"/>
                      <a:pt x="50" y="116"/>
                    </a:cubicBezTo>
                    <a:cubicBezTo>
                      <a:pt x="50" y="132"/>
                      <a:pt x="53" y="152"/>
                      <a:pt x="61" y="174"/>
                    </a:cubicBezTo>
                    <a:cubicBezTo>
                      <a:pt x="64" y="184"/>
                      <a:pt x="64" y="184"/>
                      <a:pt x="64" y="184"/>
                    </a:cubicBezTo>
                    <a:cubicBezTo>
                      <a:pt x="54" y="187"/>
                      <a:pt x="54" y="187"/>
                      <a:pt x="54" y="187"/>
                    </a:cubicBezTo>
                    <a:cubicBezTo>
                      <a:pt x="45" y="190"/>
                      <a:pt x="33" y="196"/>
                      <a:pt x="29" y="205"/>
                    </a:cubicBezTo>
                    <a:cubicBezTo>
                      <a:pt x="26" y="216"/>
                      <a:pt x="30" y="233"/>
                      <a:pt x="36" y="247"/>
                    </a:cubicBezTo>
                    <a:cubicBezTo>
                      <a:pt x="42" y="234"/>
                      <a:pt x="52" y="223"/>
                      <a:pt x="65" y="215"/>
                    </a:cubicBezTo>
                    <a:cubicBezTo>
                      <a:pt x="74" y="209"/>
                      <a:pt x="74" y="209"/>
                      <a:pt x="74" y="209"/>
                    </a:cubicBezTo>
                    <a:cubicBezTo>
                      <a:pt x="79" y="219"/>
                      <a:pt x="79" y="219"/>
                      <a:pt x="79" y="219"/>
                    </a:cubicBezTo>
                    <a:cubicBezTo>
                      <a:pt x="80" y="221"/>
                      <a:pt x="81" y="223"/>
                      <a:pt x="82" y="225"/>
                    </a:cubicBezTo>
                    <a:cubicBezTo>
                      <a:pt x="89" y="225"/>
                      <a:pt x="96" y="225"/>
                      <a:pt x="103" y="225"/>
                    </a:cubicBezTo>
                    <a:cubicBezTo>
                      <a:pt x="104" y="223"/>
                      <a:pt x="105" y="221"/>
                      <a:pt x="105" y="219"/>
                    </a:cubicBezTo>
                    <a:cubicBezTo>
                      <a:pt x="110" y="209"/>
                      <a:pt x="110" y="209"/>
                      <a:pt x="110" y="209"/>
                    </a:cubicBezTo>
                    <a:cubicBezTo>
                      <a:pt x="120" y="215"/>
                      <a:pt x="120" y="215"/>
                      <a:pt x="120" y="215"/>
                    </a:cubicBezTo>
                    <a:cubicBezTo>
                      <a:pt x="133" y="223"/>
                      <a:pt x="142" y="234"/>
                      <a:pt x="148" y="247"/>
                    </a:cubicBezTo>
                    <a:cubicBezTo>
                      <a:pt x="154" y="233"/>
                      <a:pt x="159" y="216"/>
                      <a:pt x="155" y="205"/>
                    </a:cubicBezTo>
                    <a:cubicBezTo>
                      <a:pt x="152" y="196"/>
                      <a:pt x="140" y="190"/>
                      <a:pt x="130" y="187"/>
                    </a:cubicBezTo>
                    <a:cubicBezTo>
                      <a:pt x="120" y="184"/>
                      <a:pt x="120" y="184"/>
                      <a:pt x="120" y="184"/>
                    </a:cubicBezTo>
                    <a:cubicBezTo>
                      <a:pt x="123" y="174"/>
                      <a:pt x="123" y="174"/>
                      <a:pt x="123" y="174"/>
                    </a:cubicBezTo>
                    <a:cubicBezTo>
                      <a:pt x="131" y="152"/>
                      <a:pt x="135" y="132"/>
                      <a:pt x="135" y="116"/>
                    </a:cubicBezTo>
                    <a:cubicBezTo>
                      <a:pt x="135" y="104"/>
                      <a:pt x="133" y="91"/>
                      <a:pt x="129" y="79"/>
                    </a:cubicBezTo>
                    <a:cubicBezTo>
                      <a:pt x="117" y="47"/>
                      <a:pt x="99" y="26"/>
                      <a:pt x="92" y="21"/>
                    </a:cubicBezTo>
                    <a:cubicBezTo>
                      <a:pt x="85" y="26"/>
                      <a:pt x="67" y="47"/>
                      <a:pt x="55" y="7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44" name="Freeform 18">
                <a:extLst>
                  <a:ext uri="{FF2B5EF4-FFF2-40B4-BE49-F238E27FC236}">
                    <a16:creationId xmlns:a16="http://schemas.microsoft.com/office/drawing/2014/main" id="{F21EE89B-FE72-9188-8363-1189AAA04C5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2700000">
                <a:off x="6989613" y="5483631"/>
                <a:ext cx="121724" cy="120112"/>
              </a:xfrm>
              <a:custGeom>
                <a:avLst/>
                <a:gdLst>
                  <a:gd name="T0" fmla="*/ 32 w 64"/>
                  <a:gd name="T1" fmla="*/ 64 h 64"/>
                  <a:gd name="T2" fmla="*/ 0 w 64"/>
                  <a:gd name="T3" fmla="*/ 32 h 64"/>
                  <a:gd name="T4" fmla="*/ 32 w 64"/>
                  <a:gd name="T5" fmla="*/ 0 h 64"/>
                  <a:gd name="T6" fmla="*/ 64 w 64"/>
                  <a:gd name="T7" fmla="*/ 32 h 64"/>
                  <a:gd name="T8" fmla="*/ 32 w 64"/>
                  <a:gd name="T9" fmla="*/ 64 h 64"/>
                  <a:gd name="T10" fmla="*/ 32 w 64"/>
                  <a:gd name="T11" fmla="*/ 12 h 64"/>
                  <a:gd name="T12" fmla="*/ 12 w 64"/>
                  <a:gd name="T13" fmla="*/ 32 h 64"/>
                  <a:gd name="T14" fmla="*/ 32 w 64"/>
                  <a:gd name="T15" fmla="*/ 52 h 64"/>
                  <a:gd name="T16" fmla="*/ 52 w 64"/>
                  <a:gd name="T17" fmla="*/ 32 h 64"/>
                  <a:gd name="T18" fmla="*/ 32 w 64"/>
                  <a:gd name="T19" fmla="*/ 12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4" h="64">
                    <a:moveTo>
                      <a:pt x="32" y="64"/>
                    </a:moveTo>
                    <a:cubicBezTo>
                      <a:pt x="14" y="64"/>
                      <a:pt x="0" y="50"/>
                      <a:pt x="0" y="32"/>
                    </a:cubicBezTo>
                    <a:cubicBezTo>
                      <a:pt x="0" y="14"/>
                      <a:pt x="14" y="0"/>
                      <a:pt x="32" y="0"/>
                    </a:cubicBezTo>
                    <a:cubicBezTo>
                      <a:pt x="50" y="0"/>
                      <a:pt x="64" y="14"/>
                      <a:pt x="64" y="32"/>
                    </a:cubicBezTo>
                    <a:cubicBezTo>
                      <a:pt x="64" y="50"/>
                      <a:pt x="50" y="64"/>
                      <a:pt x="32" y="64"/>
                    </a:cubicBezTo>
                    <a:close/>
                    <a:moveTo>
                      <a:pt x="32" y="12"/>
                    </a:moveTo>
                    <a:cubicBezTo>
                      <a:pt x="21" y="12"/>
                      <a:pt x="12" y="21"/>
                      <a:pt x="12" y="32"/>
                    </a:cubicBezTo>
                    <a:cubicBezTo>
                      <a:pt x="12" y="43"/>
                      <a:pt x="21" y="52"/>
                      <a:pt x="32" y="52"/>
                    </a:cubicBezTo>
                    <a:cubicBezTo>
                      <a:pt x="43" y="52"/>
                      <a:pt x="52" y="43"/>
                      <a:pt x="52" y="32"/>
                    </a:cubicBezTo>
                    <a:cubicBezTo>
                      <a:pt x="52" y="21"/>
                      <a:pt x="43" y="12"/>
                      <a:pt x="3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45" name="Freeform 19">
                <a:extLst>
                  <a:ext uri="{FF2B5EF4-FFF2-40B4-BE49-F238E27FC236}">
                    <a16:creationId xmlns:a16="http://schemas.microsoft.com/office/drawing/2014/main" id="{574B2AAB-3C49-A71A-2F0F-D3DE232C650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2700000">
                <a:off x="6790966" y="5660018"/>
                <a:ext cx="112239" cy="178587"/>
              </a:xfrm>
              <a:custGeom>
                <a:avLst/>
                <a:gdLst>
                  <a:gd name="T0" fmla="*/ 29 w 59"/>
                  <a:gd name="T1" fmla="*/ 95 h 95"/>
                  <a:gd name="T2" fmla="*/ 24 w 59"/>
                  <a:gd name="T3" fmla="*/ 85 h 95"/>
                  <a:gd name="T4" fmla="*/ 0 w 59"/>
                  <a:gd name="T5" fmla="*/ 26 h 95"/>
                  <a:gd name="T6" fmla="*/ 29 w 59"/>
                  <a:gd name="T7" fmla="*/ 0 h 95"/>
                  <a:gd name="T8" fmla="*/ 59 w 59"/>
                  <a:gd name="T9" fmla="*/ 26 h 95"/>
                  <a:gd name="T10" fmla="*/ 34 w 59"/>
                  <a:gd name="T11" fmla="*/ 85 h 95"/>
                  <a:gd name="T12" fmla="*/ 29 w 59"/>
                  <a:gd name="T13" fmla="*/ 95 h 95"/>
                  <a:gd name="T14" fmla="*/ 29 w 59"/>
                  <a:gd name="T15" fmla="*/ 12 h 95"/>
                  <a:gd name="T16" fmla="*/ 12 w 59"/>
                  <a:gd name="T17" fmla="*/ 26 h 95"/>
                  <a:gd name="T18" fmla="*/ 29 w 59"/>
                  <a:gd name="T19" fmla="*/ 69 h 95"/>
                  <a:gd name="T20" fmla="*/ 47 w 59"/>
                  <a:gd name="T21" fmla="*/ 26 h 95"/>
                  <a:gd name="T22" fmla="*/ 29 w 59"/>
                  <a:gd name="T23" fmla="*/ 12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9" h="95">
                    <a:moveTo>
                      <a:pt x="29" y="95"/>
                    </a:moveTo>
                    <a:cubicBezTo>
                      <a:pt x="24" y="85"/>
                      <a:pt x="24" y="85"/>
                      <a:pt x="24" y="85"/>
                    </a:cubicBezTo>
                    <a:cubicBezTo>
                      <a:pt x="20" y="77"/>
                      <a:pt x="0" y="38"/>
                      <a:pt x="0" y="26"/>
                    </a:cubicBezTo>
                    <a:cubicBezTo>
                      <a:pt x="0" y="12"/>
                      <a:pt x="13" y="0"/>
                      <a:pt x="29" y="0"/>
                    </a:cubicBezTo>
                    <a:cubicBezTo>
                      <a:pt x="45" y="0"/>
                      <a:pt x="59" y="12"/>
                      <a:pt x="59" y="26"/>
                    </a:cubicBezTo>
                    <a:cubicBezTo>
                      <a:pt x="59" y="38"/>
                      <a:pt x="39" y="77"/>
                      <a:pt x="34" y="85"/>
                    </a:cubicBezTo>
                    <a:lnTo>
                      <a:pt x="29" y="95"/>
                    </a:lnTo>
                    <a:close/>
                    <a:moveTo>
                      <a:pt x="29" y="12"/>
                    </a:moveTo>
                    <a:cubicBezTo>
                      <a:pt x="19" y="12"/>
                      <a:pt x="12" y="18"/>
                      <a:pt x="12" y="26"/>
                    </a:cubicBezTo>
                    <a:cubicBezTo>
                      <a:pt x="12" y="31"/>
                      <a:pt x="20" y="50"/>
                      <a:pt x="29" y="69"/>
                    </a:cubicBezTo>
                    <a:cubicBezTo>
                      <a:pt x="38" y="50"/>
                      <a:pt x="47" y="31"/>
                      <a:pt x="47" y="26"/>
                    </a:cubicBezTo>
                    <a:cubicBezTo>
                      <a:pt x="47" y="18"/>
                      <a:pt x="39" y="12"/>
                      <a:pt x="29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</p:grp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BAAB088C-8E13-0850-475F-B93C71567513}"/>
              </a:ext>
            </a:extLst>
          </p:cNvPr>
          <p:cNvGrpSpPr/>
          <p:nvPr/>
        </p:nvGrpSpPr>
        <p:grpSpPr>
          <a:xfrm>
            <a:off x="3277558" y="2100262"/>
            <a:ext cx="990429" cy="990384"/>
            <a:chOff x="876630" y="2203535"/>
            <a:chExt cx="1068005" cy="1067956"/>
          </a:xfrm>
        </p:grpSpPr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BC61875B-5DF1-CCAC-2DE5-708F5B30C8BA}"/>
                </a:ext>
              </a:extLst>
            </p:cNvPr>
            <p:cNvSpPr/>
            <p:nvPr/>
          </p:nvSpPr>
          <p:spPr>
            <a:xfrm rot="5400000">
              <a:off x="876655" y="2203510"/>
              <a:ext cx="1067956" cy="106800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764" b="1" dirty="0">
                <a:solidFill>
                  <a:srgbClr val="FFFFFF"/>
                </a:solidFill>
              </a:endParaRPr>
            </a:p>
          </p:txBody>
        </p:sp>
        <p:sp>
          <p:nvSpPr>
            <p:cNvPr id="48" name="Freeform 23">
              <a:extLst>
                <a:ext uri="{FF2B5EF4-FFF2-40B4-BE49-F238E27FC236}">
                  <a16:creationId xmlns:a16="http://schemas.microsoft.com/office/drawing/2014/main" id="{333FD1D2-38C8-DA2B-1A0C-33A2AEFD32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30477" y="2489408"/>
              <a:ext cx="560312" cy="496208"/>
            </a:xfrm>
            <a:custGeom>
              <a:avLst/>
              <a:gdLst>
                <a:gd name="T0" fmla="*/ 232 w 256"/>
                <a:gd name="T1" fmla="*/ 84 h 227"/>
                <a:gd name="T2" fmla="*/ 172 w 256"/>
                <a:gd name="T3" fmla="*/ 44 h 227"/>
                <a:gd name="T4" fmla="*/ 120 w 256"/>
                <a:gd name="T5" fmla="*/ 48 h 227"/>
                <a:gd name="T6" fmla="*/ 64 w 256"/>
                <a:gd name="T7" fmla="*/ 107 h 227"/>
                <a:gd name="T8" fmla="*/ 0 w 256"/>
                <a:gd name="T9" fmla="*/ 131 h 227"/>
                <a:gd name="T10" fmla="*/ 32 w 256"/>
                <a:gd name="T11" fmla="*/ 227 h 227"/>
                <a:gd name="T12" fmla="*/ 87 w 256"/>
                <a:gd name="T13" fmla="*/ 212 h 227"/>
                <a:gd name="T14" fmla="*/ 103 w 256"/>
                <a:gd name="T15" fmla="*/ 219 h 227"/>
                <a:gd name="T16" fmla="*/ 232 w 256"/>
                <a:gd name="T17" fmla="*/ 197 h 227"/>
                <a:gd name="T18" fmla="*/ 240 w 256"/>
                <a:gd name="T19" fmla="*/ 169 h 227"/>
                <a:gd name="T20" fmla="*/ 248 w 256"/>
                <a:gd name="T21" fmla="*/ 140 h 227"/>
                <a:gd name="T22" fmla="*/ 256 w 256"/>
                <a:gd name="T23" fmla="*/ 108 h 227"/>
                <a:gd name="T24" fmla="*/ 32 w 256"/>
                <a:gd name="T25" fmla="*/ 211 h 227"/>
                <a:gd name="T26" fmla="*/ 16 w 256"/>
                <a:gd name="T27" fmla="*/ 131 h 227"/>
                <a:gd name="T28" fmla="*/ 64 w 256"/>
                <a:gd name="T29" fmla="*/ 123 h 227"/>
                <a:gd name="T30" fmla="*/ 72 w 256"/>
                <a:gd name="T31" fmla="*/ 198 h 227"/>
                <a:gd name="T32" fmla="*/ 72 w 256"/>
                <a:gd name="T33" fmla="*/ 203 h 227"/>
                <a:gd name="T34" fmla="*/ 210 w 256"/>
                <a:gd name="T35" fmla="*/ 203 h 227"/>
                <a:gd name="T36" fmla="*/ 88 w 256"/>
                <a:gd name="T37" fmla="*/ 194 h 227"/>
                <a:gd name="T38" fmla="*/ 86 w 256"/>
                <a:gd name="T39" fmla="*/ 121 h 227"/>
                <a:gd name="T40" fmla="*/ 140 w 256"/>
                <a:gd name="T41" fmla="*/ 16 h 227"/>
                <a:gd name="T42" fmla="*/ 152 w 256"/>
                <a:gd name="T43" fmla="*/ 90 h 227"/>
                <a:gd name="T44" fmla="*/ 160 w 256"/>
                <a:gd name="T45" fmla="*/ 100 h 227"/>
                <a:gd name="T46" fmla="*/ 240 w 256"/>
                <a:gd name="T47" fmla="*/ 108 h 227"/>
                <a:gd name="T48" fmla="*/ 223 w 256"/>
                <a:gd name="T49" fmla="*/ 116 h 227"/>
                <a:gd name="T50" fmla="*/ 223 w 256"/>
                <a:gd name="T51" fmla="*/ 132 h 227"/>
                <a:gd name="T52" fmla="*/ 224 w 256"/>
                <a:gd name="T53" fmla="*/ 132 h 227"/>
                <a:gd name="T54" fmla="*/ 224 w 256"/>
                <a:gd name="T55" fmla="*/ 148 h 227"/>
                <a:gd name="T56" fmla="*/ 218 w 256"/>
                <a:gd name="T57" fmla="*/ 147 h 227"/>
                <a:gd name="T58" fmla="*/ 215 w 256"/>
                <a:gd name="T59" fmla="*/ 148 h 227"/>
                <a:gd name="T60" fmla="*/ 215 w 256"/>
                <a:gd name="T61" fmla="*/ 164 h 227"/>
                <a:gd name="T62" fmla="*/ 224 w 256"/>
                <a:gd name="T63" fmla="*/ 169 h 227"/>
                <a:gd name="T64" fmla="*/ 210 w 256"/>
                <a:gd name="T65" fmla="*/ 175 h 227"/>
                <a:gd name="T66" fmla="*/ 210 w 256"/>
                <a:gd name="T67" fmla="*/ 175 h 227"/>
                <a:gd name="T68" fmla="*/ 210 w 256"/>
                <a:gd name="T69" fmla="*/ 191 h 227"/>
                <a:gd name="T70" fmla="*/ 210 w 256"/>
                <a:gd name="T71" fmla="*/ 203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56" h="227">
                  <a:moveTo>
                    <a:pt x="256" y="108"/>
                  </a:moveTo>
                  <a:cubicBezTo>
                    <a:pt x="256" y="94"/>
                    <a:pt x="245" y="84"/>
                    <a:pt x="232" y="84"/>
                  </a:cubicBezTo>
                  <a:cubicBezTo>
                    <a:pt x="169" y="84"/>
                    <a:pt x="169" y="84"/>
                    <a:pt x="169" y="84"/>
                  </a:cubicBezTo>
                  <a:cubicBezTo>
                    <a:pt x="171" y="74"/>
                    <a:pt x="172" y="59"/>
                    <a:pt x="172" y="44"/>
                  </a:cubicBezTo>
                  <a:cubicBezTo>
                    <a:pt x="172" y="13"/>
                    <a:pt x="156" y="0"/>
                    <a:pt x="140" y="0"/>
                  </a:cubicBezTo>
                  <a:cubicBezTo>
                    <a:pt x="120" y="0"/>
                    <a:pt x="120" y="21"/>
                    <a:pt x="120" y="48"/>
                  </a:cubicBezTo>
                  <a:cubicBezTo>
                    <a:pt x="120" y="67"/>
                    <a:pt x="90" y="97"/>
                    <a:pt x="75" y="110"/>
                  </a:cubicBezTo>
                  <a:cubicBezTo>
                    <a:pt x="71" y="108"/>
                    <a:pt x="68" y="107"/>
                    <a:pt x="64" y="107"/>
                  </a:cubicBezTo>
                  <a:cubicBezTo>
                    <a:pt x="24" y="107"/>
                    <a:pt x="24" y="107"/>
                    <a:pt x="24" y="107"/>
                  </a:cubicBezTo>
                  <a:cubicBezTo>
                    <a:pt x="11" y="107"/>
                    <a:pt x="0" y="118"/>
                    <a:pt x="0" y="131"/>
                  </a:cubicBezTo>
                  <a:cubicBezTo>
                    <a:pt x="8" y="203"/>
                    <a:pt x="8" y="203"/>
                    <a:pt x="8" y="203"/>
                  </a:cubicBezTo>
                  <a:cubicBezTo>
                    <a:pt x="10" y="216"/>
                    <a:pt x="19" y="227"/>
                    <a:pt x="32" y="227"/>
                  </a:cubicBezTo>
                  <a:cubicBezTo>
                    <a:pt x="64" y="227"/>
                    <a:pt x="64" y="227"/>
                    <a:pt x="64" y="227"/>
                  </a:cubicBezTo>
                  <a:cubicBezTo>
                    <a:pt x="74" y="227"/>
                    <a:pt x="83" y="221"/>
                    <a:pt x="87" y="212"/>
                  </a:cubicBezTo>
                  <a:cubicBezTo>
                    <a:pt x="100" y="219"/>
                    <a:pt x="100" y="219"/>
                    <a:pt x="100" y="219"/>
                  </a:cubicBezTo>
                  <a:cubicBezTo>
                    <a:pt x="101" y="219"/>
                    <a:pt x="102" y="219"/>
                    <a:pt x="103" y="219"/>
                  </a:cubicBezTo>
                  <a:cubicBezTo>
                    <a:pt x="210" y="219"/>
                    <a:pt x="210" y="219"/>
                    <a:pt x="210" y="219"/>
                  </a:cubicBezTo>
                  <a:cubicBezTo>
                    <a:pt x="222" y="219"/>
                    <a:pt x="232" y="210"/>
                    <a:pt x="232" y="197"/>
                  </a:cubicBezTo>
                  <a:cubicBezTo>
                    <a:pt x="232" y="194"/>
                    <a:pt x="231" y="191"/>
                    <a:pt x="230" y="188"/>
                  </a:cubicBezTo>
                  <a:cubicBezTo>
                    <a:pt x="236" y="184"/>
                    <a:pt x="240" y="177"/>
                    <a:pt x="240" y="169"/>
                  </a:cubicBezTo>
                  <a:cubicBezTo>
                    <a:pt x="240" y="166"/>
                    <a:pt x="239" y="162"/>
                    <a:pt x="238" y="159"/>
                  </a:cubicBezTo>
                  <a:cubicBezTo>
                    <a:pt x="244" y="155"/>
                    <a:pt x="248" y="148"/>
                    <a:pt x="248" y="140"/>
                  </a:cubicBezTo>
                  <a:cubicBezTo>
                    <a:pt x="248" y="135"/>
                    <a:pt x="247" y="131"/>
                    <a:pt x="245" y="128"/>
                  </a:cubicBezTo>
                  <a:cubicBezTo>
                    <a:pt x="252" y="123"/>
                    <a:pt x="256" y="116"/>
                    <a:pt x="256" y="108"/>
                  </a:cubicBezTo>
                  <a:close/>
                  <a:moveTo>
                    <a:pt x="64" y="211"/>
                  </a:moveTo>
                  <a:cubicBezTo>
                    <a:pt x="32" y="211"/>
                    <a:pt x="32" y="211"/>
                    <a:pt x="32" y="211"/>
                  </a:cubicBezTo>
                  <a:cubicBezTo>
                    <a:pt x="28" y="211"/>
                    <a:pt x="25" y="206"/>
                    <a:pt x="24" y="202"/>
                  </a:cubicBezTo>
                  <a:cubicBezTo>
                    <a:pt x="16" y="131"/>
                    <a:pt x="16" y="131"/>
                    <a:pt x="16" y="131"/>
                  </a:cubicBezTo>
                  <a:cubicBezTo>
                    <a:pt x="17" y="127"/>
                    <a:pt x="20" y="123"/>
                    <a:pt x="24" y="123"/>
                  </a:cubicBezTo>
                  <a:cubicBezTo>
                    <a:pt x="64" y="123"/>
                    <a:pt x="64" y="123"/>
                    <a:pt x="64" y="123"/>
                  </a:cubicBezTo>
                  <a:cubicBezTo>
                    <a:pt x="69" y="123"/>
                    <a:pt x="72" y="127"/>
                    <a:pt x="72" y="131"/>
                  </a:cubicBezTo>
                  <a:cubicBezTo>
                    <a:pt x="72" y="198"/>
                    <a:pt x="72" y="198"/>
                    <a:pt x="72" y="198"/>
                  </a:cubicBezTo>
                  <a:cubicBezTo>
                    <a:pt x="72" y="199"/>
                    <a:pt x="72" y="200"/>
                    <a:pt x="72" y="201"/>
                  </a:cubicBezTo>
                  <a:cubicBezTo>
                    <a:pt x="72" y="203"/>
                    <a:pt x="72" y="203"/>
                    <a:pt x="72" y="203"/>
                  </a:cubicBezTo>
                  <a:cubicBezTo>
                    <a:pt x="72" y="208"/>
                    <a:pt x="69" y="211"/>
                    <a:pt x="64" y="211"/>
                  </a:cubicBezTo>
                  <a:close/>
                  <a:moveTo>
                    <a:pt x="210" y="203"/>
                  </a:moveTo>
                  <a:cubicBezTo>
                    <a:pt x="105" y="203"/>
                    <a:pt x="105" y="203"/>
                    <a:pt x="105" y="203"/>
                  </a:cubicBezTo>
                  <a:cubicBezTo>
                    <a:pt x="88" y="194"/>
                    <a:pt x="88" y="194"/>
                    <a:pt x="88" y="194"/>
                  </a:cubicBezTo>
                  <a:cubicBezTo>
                    <a:pt x="88" y="131"/>
                    <a:pt x="88" y="131"/>
                    <a:pt x="88" y="131"/>
                  </a:cubicBezTo>
                  <a:cubicBezTo>
                    <a:pt x="88" y="128"/>
                    <a:pt x="87" y="124"/>
                    <a:pt x="86" y="121"/>
                  </a:cubicBezTo>
                  <a:cubicBezTo>
                    <a:pt x="100" y="109"/>
                    <a:pt x="136" y="75"/>
                    <a:pt x="136" y="48"/>
                  </a:cubicBezTo>
                  <a:cubicBezTo>
                    <a:pt x="136" y="31"/>
                    <a:pt x="136" y="16"/>
                    <a:pt x="140" y="16"/>
                  </a:cubicBezTo>
                  <a:cubicBezTo>
                    <a:pt x="148" y="16"/>
                    <a:pt x="156" y="25"/>
                    <a:pt x="156" y="44"/>
                  </a:cubicBezTo>
                  <a:cubicBezTo>
                    <a:pt x="156" y="67"/>
                    <a:pt x="152" y="90"/>
                    <a:pt x="152" y="90"/>
                  </a:cubicBezTo>
                  <a:cubicBezTo>
                    <a:pt x="152" y="93"/>
                    <a:pt x="153" y="95"/>
                    <a:pt x="154" y="97"/>
                  </a:cubicBezTo>
                  <a:cubicBezTo>
                    <a:pt x="156" y="98"/>
                    <a:pt x="158" y="100"/>
                    <a:pt x="160" y="100"/>
                  </a:cubicBezTo>
                  <a:cubicBezTo>
                    <a:pt x="232" y="100"/>
                    <a:pt x="232" y="100"/>
                    <a:pt x="232" y="100"/>
                  </a:cubicBezTo>
                  <a:cubicBezTo>
                    <a:pt x="237" y="100"/>
                    <a:pt x="240" y="103"/>
                    <a:pt x="240" y="108"/>
                  </a:cubicBezTo>
                  <a:cubicBezTo>
                    <a:pt x="240" y="112"/>
                    <a:pt x="237" y="116"/>
                    <a:pt x="232" y="116"/>
                  </a:cubicBezTo>
                  <a:cubicBezTo>
                    <a:pt x="223" y="116"/>
                    <a:pt x="223" y="116"/>
                    <a:pt x="223" y="116"/>
                  </a:cubicBezTo>
                  <a:cubicBezTo>
                    <a:pt x="219" y="116"/>
                    <a:pt x="215" y="119"/>
                    <a:pt x="215" y="124"/>
                  </a:cubicBezTo>
                  <a:cubicBezTo>
                    <a:pt x="215" y="128"/>
                    <a:pt x="219" y="132"/>
                    <a:pt x="223" y="132"/>
                  </a:cubicBezTo>
                  <a:cubicBezTo>
                    <a:pt x="224" y="132"/>
                    <a:pt x="224" y="132"/>
                    <a:pt x="224" y="132"/>
                  </a:cubicBezTo>
                  <a:cubicBezTo>
                    <a:pt x="224" y="132"/>
                    <a:pt x="224" y="132"/>
                    <a:pt x="224" y="132"/>
                  </a:cubicBezTo>
                  <a:cubicBezTo>
                    <a:pt x="229" y="132"/>
                    <a:pt x="232" y="135"/>
                    <a:pt x="232" y="140"/>
                  </a:cubicBezTo>
                  <a:cubicBezTo>
                    <a:pt x="232" y="144"/>
                    <a:pt x="229" y="148"/>
                    <a:pt x="224" y="148"/>
                  </a:cubicBezTo>
                  <a:cubicBezTo>
                    <a:pt x="219" y="148"/>
                    <a:pt x="219" y="148"/>
                    <a:pt x="219" y="148"/>
                  </a:cubicBezTo>
                  <a:cubicBezTo>
                    <a:pt x="219" y="148"/>
                    <a:pt x="218" y="147"/>
                    <a:pt x="218" y="147"/>
                  </a:cubicBezTo>
                  <a:cubicBezTo>
                    <a:pt x="218" y="147"/>
                    <a:pt x="218" y="148"/>
                    <a:pt x="218" y="148"/>
                  </a:cubicBezTo>
                  <a:cubicBezTo>
                    <a:pt x="215" y="148"/>
                    <a:pt x="215" y="148"/>
                    <a:pt x="215" y="148"/>
                  </a:cubicBezTo>
                  <a:cubicBezTo>
                    <a:pt x="211" y="148"/>
                    <a:pt x="207" y="151"/>
                    <a:pt x="207" y="156"/>
                  </a:cubicBezTo>
                  <a:cubicBezTo>
                    <a:pt x="207" y="160"/>
                    <a:pt x="211" y="164"/>
                    <a:pt x="215" y="164"/>
                  </a:cubicBezTo>
                  <a:cubicBezTo>
                    <a:pt x="218" y="164"/>
                    <a:pt x="218" y="164"/>
                    <a:pt x="218" y="164"/>
                  </a:cubicBezTo>
                  <a:cubicBezTo>
                    <a:pt x="222" y="164"/>
                    <a:pt x="224" y="166"/>
                    <a:pt x="224" y="169"/>
                  </a:cubicBezTo>
                  <a:cubicBezTo>
                    <a:pt x="224" y="173"/>
                    <a:pt x="221" y="175"/>
                    <a:pt x="218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06" y="175"/>
                    <a:pt x="202" y="179"/>
                    <a:pt x="202" y="183"/>
                  </a:cubicBezTo>
                  <a:cubicBezTo>
                    <a:pt x="202" y="188"/>
                    <a:pt x="206" y="191"/>
                    <a:pt x="210" y="191"/>
                  </a:cubicBezTo>
                  <a:cubicBezTo>
                    <a:pt x="213" y="191"/>
                    <a:pt x="216" y="194"/>
                    <a:pt x="216" y="197"/>
                  </a:cubicBezTo>
                  <a:cubicBezTo>
                    <a:pt x="216" y="201"/>
                    <a:pt x="213" y="203"/>
                    <a:pt x="210" y="20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840" b="1">
                <a:latin typeface="+mn-lt"/>
              </a:endParaRPr>
            </a:p>
          </p:txBody>
        </p:sp>
      </p:grpSp>
      <p:sp>
        <p:nvSpPr>
          <p:cNvPr id="49" name="Oval 48">
            <a:extLst>
              <a:ext uri="{FF2B5EF4-FFF2-40B4-BE49-F238E27FC236}">
                <a16:creationId xmlns:a16="http://schemas.microsoft.com/office/drawing/2014/main" id="{5CBCAE02-062F-5978-FFFF-A07547750526}"/>
              </a:ext>
            </a:extLst>
          </p:cNvPr>
          <p:cNvSpPr/>
          <p:nvPr/>
        </p:nvSpPr>
        <p:spPr>
          <a:xfrm rot="5400000">
            <a:off x="1295527" y="2100238"/>
            <a:ext cx="990379" cy="99042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764" b="1" dirty="0">
              <a:solidFill>
                <a:srgbClr val="FFFFFF"/>
              </a:solidFill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9468856E-D828-9F5F-7309-E6E08BEFA13F}"/>
              </a:ext>
            </a:extLst>
          </p:cNvPr>
          <p:cNvSpPr/>
          <p:nvPr/>
        </p:nvSpPr>
        <p:spPr>
          <a:xfrm rot="5400000">
            <a:off x="1295527" y="4082292"/>
            <a:ext cx="990379" cy="990428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764" b="1" dirty="0">
              <a:solidFill>
                <a:srgbClr val="FFFFFF"/>
              </a:solidFill>
            </a:endParaRPr>
          </a:p>
        </p:txBody>
      </p:sp>
      <p:grpSp>
        <p:nvGrpSpPr>
          <p:cNvPr id="51" name="ZenIcon1">
            <a:extLst>
              <a:ext uri="{FF2B5EF4-FFF2-40B4-BE49-F238E27FC236}">
                <a16:creationId xmlns:a16="http://schemas.microsoft.com/office/drawing/2014/main" id="{9A043CF4-46F0-9EDB-44D0-196347C63C00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1605157" y="2409893"/>
            <a:ext cx="371118" cy="371118"/>
            <a:chOff x="5712408" y="975680"/>
            <a:chExt cx="671729" cy="639391"/>
          </a:xfrm>
        </p:grpSpPr>
        <p:sp>
          <p:nvSpPr>
            <p:cNvPr id="52" name="Freeform 26">
              <a:extLst>
                <a:ext uri="{FF2B5EF4-FFF2-40B4-BE49-F238E27FC236}">
                  <a16:creationId xmlns:a16="http://schemas.microsoft.com/office/drawing/2014/main" id="{90844D41-4AE4-1CED-9F4A-22ECC38E42B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12408" y="975680"/>
              <a:ext cx="671729" cy="639391"/>
            </a:xfrm>
            <a:custGeom>
              <a:avLst/>
              <a:gdLst>
                <a:gd name="T0" fmla="*/ 117 w 128"/>
                <a:gd name="T1" fmla="*/ 0 h 122"/>
                <a:gd name="T2" fmla="*/ 11 w 128"/>
                <a:gd name="T3" fmla="*/ 0 h 122"/>
                <a:gd name="T4" fmla="*/ 0 w 128"/>
                <a:gd name="T5" fmla="*/ 11 h 122"/>
                <a:gd name="T6" fmla="*/ 0 w 128"/>
                <a:gd name="T7" fmla="*/ 93 h 122"/>
                <a:gd name="T8" fmla="*/ 11 w 128"/>
                <a:gd name="T9" fmla="*/ 104 h 122"/>
                <a:gd name="T10" fmla="*/ 43 w 128"/>
                <a:gd name="T11" fmla="*/ 104 h 122"/>
                <a:gd name="T12" fmla="*/ 38 w 128"/>
                <a:gd name="T13" fmla="*/ 110 h 122"/>
                <a:gd name="T14" fmla="*/ 35 w 128"/>
                <a:gd name="T15" fmla="*/ 113 h 122"/>
                <a:gd name="T16" fmla="*/ 34 w 128"/>
                <a:gd name="T17" fmla="*/ 118 h 122"/>
                <a:gd name="T18" fmla="*/ 42 w 128"/>
                <a:gd name="T19" fmla="*/ 122 h 122"/>
                <a:gd name="T20" fmla="*/ 86 w 128"/>
                <a:gd name="T21" fmla="*/ 122 h 122"/>
                <a:gd name="T22" fmla="*/ 94 w 128"/>
                <a:gd name="T23" fmla="*/ 118 h 122"/>
                <a:gd name="T24" fmla="*/ 94 w 128"/>
                <a:gd name="T25" fmla="*/ 113 h 122"/>
                <a:gd name="T26" fmla="*/ 91 w 128"/>
                <a:gd name="T27" fmla="*/ 110 h 122"/>
                <a:gd name="T28" fmla="*/ 85 w 128"/>
                <a:gd name="T29" fmla="*/ 104 h 122"/>
                <a:gd name="T30" fmla="*/ 117 w 128"/>
                <a:gd name="T31" fmla="*/ 104 h 122"/>
                <a:gd name="T32" fmla="*/ 128 w 128"/>
                <a:gd name="T33" fmla="*/ 93 h 122"/>
                <a:gd name="T34" fmla="*/ 128 w 128"/>
                <a:gd name="T35" fmla="*/ 11 h 122"/>
                <a:gd name="T36" fmla="*/ 117 w 128"/>
                <a:gd name="T37" fmla="*/ 0 h 122"/>
                <a:gd name="T38" fmla="*/ 88 w 128"/>
                <a:gd name="T39" fmla="*/ 113 h 122"/>
                <a:gd name="T40" fmla="*/ 90 w 128"/>
                <a:gd name="T41" fmla="*/ 116 h 122"/>
                <a:gd name="T42" fmla="*/ 90 w 128"/>
                <a:gd name="T43" fmla="*/ 116 h 122"/>
                <a:gd name="T44" fmla="*/ 86 w 128"/>
                <a:gd name="T45" fmla="*/ 118 h 122"/>
                <a:gd name="T46" fmla="*/ 42 w 128"/>
                <a:gd name="T47" fmla="*/ 118 h 122"/>
                <a:gd name="T48" fmla="*/ 38 w 128"/>
                <a:gd name="T49" fmla="*/ 116 h 122"/>
                <a:gd name="T50" fmla="*/ 38 w 128"/>
                <a:gd name="T51" fmla="*/ 116 h 122"/>
                <a:gd name="T52" fmla="*/ 38 w 128"/>
                <a:gd name="T53" fmla="*/ 116 h 122"/>
                <a:gd name="T54" fmla="*/ 40 w 128"/>
                <a:gd name="T55" fmla="*/ 113 h 122"/>
                <a:gd name="T56" fmla="*/ 48 w 128"/>
                <a:gd name="T57" fmla="*/ 104 h 122"/>
                <a:gd name="T58" fmla="*/ 80 w 128"/>
                <a:gd name="T59" fmla="*/ 104 h 122"/>
                <a:gd name="T60" fmla="*/ 88 w 128"/>
                <a:gd name="T61" fmla="*/ 113 h 122"/>
                <a:gd name="T62" fmla="*/ 120 w 128"/>
                <a:gd name="T63" fmla="*/ 93 h 122"/>
                <a:gd name="T64" fmla="*/ 117 w 128"/>
                <a:gd name="T65" fmla="*/ 96 h 122"/>
                <a:gd name="T66" fmla="*/ 11 w 128"/>
                <a:gd name="T67" fmla="*/ 96 h 122"/>
                <a:gd name="T68" fmla="*/ 8 w 128"/>
                <a:gd name="T69" fmla="*/ 93 h 122"/>
                <a:gd name="T70" fmla="*/ 8 w 128"/>
                <a:gd name="T71" fmla="*/ 11 h 122"/>
                <a:gd name="T72" fmla="*/ 11 w 128"/>
                <a:gd name="T73" fmla="*/ 8 h 122"/>
                <a:gd name="T74" fmla="*/ 117 w 128"/>
                <a:gd name="T75" fmla="*/ 8 h 122"/>
                <a:gd name="T76" fmla="*/ 120 w 128"/>
                <a:gd name="T77" fmla="*/ 11 h 122"/>
                <a:gd name="T78" fmla="*/ 120 w 128"/>
                <a:gd name="T79" fmla="*/ 93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8" h="122">
                  <a:moveTo>
                    <a:pt x="117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99"/>
                    <a:pt x="5" y="104"/>
                    <a:pt x="11" y="104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42" y="106"/>
                    <a:pt x="39" y="109"/>
                    <a:pt x="38" y="110"/>
                  </a:cubicBezTo>
                  <a:cubicBezTo>
                    <a:pt x="36" y="111"/>
                    <a:pt x="35" y="112"/>
                    <a:pt x="35" y="113"/>
                  </a:cubicBezTo>
                  <a:cubicBezTo>
                    <a:pt x="34" y="114"/>
                    <a:pt x="33" y="116"/>
                    <a:pt x="34" y="118"/>
                  </a:cubicBezTo>
                  <a:cubicBezTo>
                    <a:pt x="35" y="120"/>
                    <a:pt x="37" y="122"/>
                    <a:pt x="42" y="122"/>
                  </a:cubicBezTo>
                  <a:cubicBezTo>
                    <a:pt x="86" y="122"/>
                    <a:pt x="86" y="122"/>
                    <a:pt x="86" y="122"/>
                  </a:cubicBezTo>
                  <a:cubicBezTo>
                    <a:pt x="91" y="122"/>
                    <a:pt x="93" y="120"/>
                    <a:pt x="94" y="118"/>
                  </a:cubicBezTo>
                  <a:cubicBezTo>
                    <a:pt x="95" y="116"/>
                    <a:pt x="95" y="114"/>
                    <a:pt x="94" y="113"/>
                  </a:cubicBezTo>
                  <a:cubicBezTo>
                    <a:pt x="93" y="112"/>
                    <a:pt x="92" y="111"/>
                    <a:pt x="91" y="110"/>
                  </a:cubicBezTo>
                  <a:cubicBezTo>
                    <a:pt x="89" y="109"/>
                    <a:pt x="87" y="106"/>
                    <a:pt x="85" y="104"/>
                  </a:cubicBezTo>
                  <a:cubicBezTo>
                    <a:pt x="117" y="104"/>
                    <a:pt x="117" y="104"/>
                    <a:pt x="117" y="104"/>
                  </a:cubicBezTo>
                  <a:cubicBezTo>
                    <a:pt x="123" y="104"/>
                    <a:pt x="128" y="99"/>
                    <a:pt x="128" y="93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28" y="5"/>
                    <a:pt x="123" y="0"/>
                    <a:pt x="117" y="0"/>
                  </a:cubicBezTo>
                  <a:close/>
                  <a:moveTo>
                    <a:pt x="88" y="113"/>
                  </a:moveTo>
                  <a:cubicBezTo>
                    <a:pt x="89" y="114"/>
                    <a:pt x="90" y="115"/>
                    <a:pt x="90" y="116"/>
                  </a:cubicBezTo>
                  <a:cubicBezTo>
                    <a:pt x="90" y="116"/>
                    <a:pt x="91" y="116"/>
                    <a:pt x="90" y="116"/>
                  </a:cubicBezTo>
                  <a:cubicBezTo>
                    <a:pt x="90" y="117"/>
                    <a:pt x="88" y="118"/>
                    <a:pt x="86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0" y="118"/>
                    <a:pt x="38" y="117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5"/>
                    <a:pt x="39" y="114"/>
                    <a:pt x="40" y="113"/>
                  </a:cubicBezTo>
                  <a:cubicBezTo>
                    <a:pt x="44" y="109"/>
                    <a:pt x="47" y="106"/>
                    <a:pt x="48" y="104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82" y="106"/>
                    <a:pt x="84" y="109"/>
                    <a:pt x="88" y="113"/>
                  </a:cubicBezTo>
                  <a:close/>
                  <a:moveTo>
                    <a:pt x="120" y="93"/>
                  </a:moveTo>
                  <a:cubicBezTo>
                    <a:pt x="120" y="95"/>
                    <a:pt x="119" y="96"/>
                    <a:pt x="117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9" y="96"/>
                    <a:pt x="8" y="95"/>
                    <a:pt x="8" y="93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9"/>
                    <a:pt x="9" y="8"/>
                    <a:pt x="11" y="8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9" y="8"/>
                    <a:pt x="120" y="9"/>
                    <a:pt x="120" y="11"/>
                  </a:cubicBezTo>
                  <a:lnTo>
                    <a:pt x="120" y="9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53" name="Freeform 27">
              <a:extLst>
                <a:ext uri="{FF2B5EF4-FFF2-40B4-BE49-F238E27FC236}">
                  <a16:creationId xmlns:a16="http://schemas.microsoft.com/office/drawing/2014/main" id="{D9D64AB6-DA5F-51A5-B82D-35994EE7EE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96917" y="1058042"/>
              <a:ext cx="502713" cy="338119"/>
            </a:xfrm>
            <a:custGeom>
              <a:avLst/>
              <a:gdLst>
                <a:gd name="T0" fmla="*/ 89 w 96"/>
                <a:gd name="T1" fmla="*/ 0 h 64"/>
                <a:gd name="T2" fmla="*/ 7 w 96"/>
                <a:gd name="T3" fmla="*/ 0 h 64"/>
                <a:gd name="T4" fmla="*/ 0 w 96"/>
                <a:gd name="T5" fmla="*/ 7 h 64"/>
                <a:gd name="T6" fmla="*/ 0 w 96"/>
                <a:gd name="T7" fmla="*/ 57 h 64"/>
                <a:gd name="T8" fmla="*/ 7 w 96"/>
                <a:gd name="T9" fmla="*/ 64 h 64"/>
                <a:gd name="T10" fmla="*/ 89 w 96"/>
                <a:gd name="T11" fmla="*/ 64 h 64"/>
                <a:gd name="T12" fmla="*/ 96 w 96"/>
                <a:gd name="T13" fmla="*/ 57 h 64"/>
                <a:gd name="T14" fmla="*/ 96 w 96"/>
                <a:gd name="T15" fmla="*/ 7 h 64"/>
                <a:gd name="T16" fmla="*/ 89 w 96"/>
                <a:gd name="T17" fmla="*/ 0 h 64"/>
                <a:gd name="T18" fmla="*/ 92 w 96"/>
                <a:gd name="T19" fmla="*/ 57 h 64"/>
                <a:gd name="T20" fmla="*/ 89 w 96"/>
                <a:gd name="T21" fmla="*/ 60 h 64"/>
                <a:gd name="T22" fmla="*/ 7 w 96"/>
                <a:gd name="T23" fmla="*/ 60 h 64"/>
                <a:gd name="T24" fmla="*/ 4 w 96"/>
                <a:gd name="T25" fmla="*/ 57 h 64"/>
                <a:gd name="T26" fmla="*/ 4 w 96"/>
                <a:gd name="T27" fmla="*/ 7 h 64"/>
                <a:gd name="T28" fmla="*/ 7 w 96"/>
                <a:gd name="T29" fmla="*/ 4 h 64"/>
                <a:gd name="T30" fmla="*/ 89 w 96"/>
                <a:gd name="T31" fmla="*/ 4 h 64"/>
                <a:gd name="T32" fmla="*/ 92 w 96"/>
                <a:gd name="T33" fmla="*/ 7 h 64"/>
                <a:gd name="T34" fmla="*/ 92 w 96"/>
                <a:gd name="T35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6" h="64">
                  <a:moveTo>
                    <a:pt x="89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1"/>
                    <a:pt x="3" y="64"/>
                    <a:pt x="7" y="64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93" y="64"/>
                    <a:pt x="96" y="61"/>
                    <a:pt x="96" y="5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3"/>
                    <a:pt x="93" y="0"/>
                    <a:pt x="89" y="0"/>
                  </a:cubicBezTo>
                  <a:close/>
                  <a:moveTo>
                    <a:pt x="92" y="57"/>
                  </a:moveTo>
                  <a:cubicBezTo>
                    <a:pt x="92" y="59"/>
                    <a:pt x="91" y="60"/>
                    <a:pt x="89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5" y="60"/>
                    <a:pt x="4" y="59"/>
                    <a:pt x="4" y="5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5" y="4"/>
                    <a:pt x="7" y="4"/>
                  </a:cubicBezTo>
                  <a:cubicBezTo>
                    <a:pt x="89" y="4"/>
                    <a:pt x="89" y="4"/>
                    <a:pt x="89" y="4"/>
                  </a:cubicBezTo>
                  <a:cubicBezTo>
                    <a:pt x="91" y="4"/>
                    <a:pt x="92" y="5"/>
                    <a:pt x="92" y="7"/>
                  </a:cubicBezTo>
                  <a:lnTo>
                    <a:pt x="92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54" name="Freeform 28">
              <a:extLst>
                <a:ext uri="{FF2B5EF4-FFF2-40B4-BE49-F238E27FC236}">
                  <a16:creationId xmlns:a16="http://schemas.microsoft.com/office/drawing/2014/main" id="{9B1202B0-4D3E-77DF-4BCC-588D06CF59F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17937" y="1404831"/>
              <a:ext cx="62840" cy="65023"/>
            </a:xfrm>
            <a:custGeom>
              <a:avLst/>
              <a:gdLst>
                <a:gd name="T0" fmla="*/ 6 w 12"/>
                <a:gd name="T1" fmla="*/ 0 h 12"/>
                <a:gd name="T2" fmla="*/ 0 w 12"/>
                <a:gd name="T3" fmla="*/ 6 h 12"/>
                <a:gd name="T4" fmla="*/ 6 w 12"/>
                <a:gd name="T5" fmla="*/ 12 h 12"/>
                <a:gd name="T6" fmla="*/ 12 w 12"/>
                <a:gd name="T7" fmla="*/ 6 h 12"/>
                <a:gd name="T8" fmla="*/ 6 w 12"/>
                <a:gd name="T9" fmla="*/ 0 h 12"/>
                <a:gd name="T10" fmla="*/ 6 w 12"/>
                <a:gd name="T11" fmla="*/ 8 h 12"/>
                <a:gd name="T12" fmla="*/ 4 w 12"/>
                <a:gd name="T13" fmla="*/ 6 h 12"/>
                <a:gd name="T14" fmla="*/ 6 w 12"/>
                <a:gd name="T15" fmla="*/ 4 h 12"/>
                <a:gd name="T16" fmla="*/ 8 w 12"/>
                <a:gd name="T17" fmla="*/ 6 h 12"/>
                <a:gd name="T18" fmla="*/ 6 w 12"/>
                <a:gd name="T1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9" y="12"/>
                    <a:pt x="12" y="9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lose/>
                  <a:moveTo>
                    <a:pt x="6" y="8"/>
                  </a:moveTo>
                  <a:cubicBezTo>
                    <a:pt x="5" y="8"/>
                    <a:pt x="4" y="7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7" y="4"/>
                    <a:pt x="8" y="5"/>
                    <a:pt x="8" y="6"/>
                  </a:cubicBezTo>
                  <a:cubicBezTo>
                    <a:pt x="8" y="7"/>
                    <a:pt x="7" y="8"/>
                    <a:pt x="6" y="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55" name="Freeform 29">
              <a:extLst>
                <a:ext uri="{FF2B5EF4-FFF2-40B4-BE49-F238E27FC236}">
                  <a16:creationId xmlns:a16="http://schemas.microsoft.com/office/drawing/2014/main" id="{441486E5-FC9C-41D7-1209-B1622D8B05D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3429" y="1190255"/>
              <a:ext cx="84509" cy="88864"/>
            </a:xfrm>
            <a:custGeom>
              <a:avLst/>
              <a:gdLst>
                <a:gd name="T0" fmla="*/ 0 w 39"/>
                <a:gd name="T1" fmla="*/ 24 h 41"/>
                <a:gd name="T2" fmla="*/ 39 w 39"/>
                <a:gd name="T3" fmla="*/ 41 h 41"/>
                <a:gd name="T4" fmla="*/ 39 w 39"/>
                <a:gd name="T5" fmla="*/ 32 h 41"/>
                <a:gd name="T6" fmla="*/ 12 w 39"/>
                <a:gd name="T7" fmla="*/ 19 h 41"/>
                <a:gd name="T8" fmla="*/ 39 w 39"/>
                <a:gd name="T9" fmla="*/ 10 h 41"/>
                <a:gd name="T10" fmla="*/ 39 w 39"/>
                <a:gd name="T11" fmla="*/ 0 h 41"/>
                <a:gd name="T12" fmla="*/ 0 w 39"/>
                <a:gd name="T13" fmla="*/ 17 h 41"/>
                <a:gd name="T14" fmla="*/ 0 w 39"/>
                <a:gd name="T15" fmla="*/ 2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41">
                  <a:moveTo>
                    <a:pt x="0" y="24"/>
                  </a:moveTo>
                  <a:lnTo>
                    <a:pt x="39" y="41"/>
                  </a:lnTo>
                  <a:lnTo>
                    <a:pt x="39" y="32"/>
                  </a:lnTo>
                  <a:lnTo>
                    <a:pt x="12" y="19"/>
                  </a:lnTo>
                  <a:lnTo>
                    <a:pt x="39" y="10"/>
                  </a:lnTo>
                  <a:lnTo>
                    <a:pt x="39" y="0"/>
                  </a:lnTo>
                  <a:lnTo>
                    <a:pt x="0" y="17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56" name="Freeform 30">
              <a:extLst>
                <a:ext uri="{FF2B5EF4-FFF2-40B4-BE49-F238E27FC236}">
                  <a16:creationId xmlns:a16="http://schemas.microsoft.com/office/drawing/2014/main" id="{57DAAA5A-E8E5-67F9-7774-C4D4746C29AA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6605" y="1175084"/>
              <a:ext cx="43337" cy="119208"/>
            </a:xfrm>
            <a:custGeom>
              <a:avLst/>
              <a:gdLst>
                <a:gd name="T0" fmla="*/ 7 w 8"/>
                <a:gd name="T1" fmla="*/ 0 h 23"/>
                <a:gd name="T2" fmla="*/ 5 w 8"/>
                <a:gd name="T3" fmla="*/ 0 h 23"/>
                <a:gd name="T4" fmla="*/ 5 w 8"/>
                <a:gd name="T5" fmla="*/ 2 h 23"/>
                <a:gd name="T6" fmla="*/ 0 w 8"/>
                <a:gd name="T7" fmla="*/ 20 h 23"/>
                <a:gd name="T8" fmla="*/ 0 w 8"/>
                <a:gd name="T9" fmla="*/ 22 h 23"/>
                <a:gd name="T10" fmla="*/ 2 w 8"/>
                <a:gd name="T11" fmla="*/ 23 h 23"/>
                <a:gd name="T12" fmla="*/ 3 w 8"/>
                <a:gd name="T13" fmla="*/ 23 h 23"/>
                <a:gd name="T14" fmla="*/ 3 w 8"/>
                <a:gd name="T15" fmla="*/ 22 h 23"/>
                <a:gd name="T16" fmla="*/ 4 w 8"/>
                <a:gd name="T17" fmla="*/ 21 h 23"/>
                <a:gd name="T18" fmla="*/ 8 w 8"/>
                <a:gd name="T19" fmla="*/ 3 h 23"/>
                <a:gd name="T20" fmla="*/ 8 w 8"/>
                <a:gd name="T21" fmla="*/ 1 h 23"/>
                <a:gd name="T22" fmla="*/ 8 w 8"/>
                <a:gd name="T23" fmla="*/ 0 h 23"/>
                <a:gd name="T24" fmla="*/ 7 w 8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3">
                  <a:moveTo>
                    <a:pt x="7" y="0"/>
                  </a:move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1"/>
                    <a:pt x="5" y="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0" y="23"/>
                    <a:pt x="1" y="23"/>
                    <a:pt x="2" y="23"/>
                  </a:cubicBezTo>
                  <a:cubicBezTo>
                    <a:pt x="2" y="23"/>
                    <a:pt x="2" y="23"/>
                    <a:pt x="3" y="23"/>
                  </a:cubicBezTo>
                  <a:cubicBezTo>
                    <a:pt x="3" y="23"/>
                    <a:pt x="3" y="22"/>
                    <a:pt x="3" y="22"/>
                  </a:cubicBezTo>
                  <a:cubicBezTo>
                    <a:pt x="3" y="22"/>
                    <a:pt x="3" y="21"/>
                    <a:pt x="4" y="2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57" name="Freeform 31">
              <a:extLst>
                <a:ext uri="{FF2B5EF4-FFF2-40B4-BE49-F238E27FC236}">
                  <a16:creationId xmlns:a16="http://schemas.microsoft.com/office/drawing/2014/main" id="{909462E7-7C2F-5F5C-C7C9-D3AE63EAD27E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0776" y="1190255"/>
              <a:ext cx="82341" cy="88864"/>
            </a:xfrm>
            <a:custGeom>
              <a:avLst/>
              <a:gdLst>
                <a:gd name="T0" fmla="*/ 0 w 38"/>
                <a:gd name="T1" fmla="*/ 10 h 41"/>
                <a:gd name="T2" fmla="*/ 26 w 38"/>
                <a:gd name="T3" fmla="*/ 19 h 41"/>
                <a:gd name="T4" fmla="*/ 0 w 38"/>
                <a:gd name="T5" fmla="*/ 32 h 41"/>
                <a:gd name="T6" fmla="*/ 0 w 38"/>
                <a:gd name="T7" fmla="*/ 41 h 41"/>
                <a:gd name="T8" fmla="*/ 38 w 38"/>
                <a:gd name="T9" fmla="*/ 24 h 41"/>
                <a:gd name="T10" fmla="*/ 38 w 38"/>
                <a:gd name="T11" fmla="*/ 17 h 41"/>
                <a:gd name="T12" fmla="*/ 0 w 38"/>
                <a:gd name="T13" fmla="*/ 0 h 41"/>
                <a:gd name="T14" fmla="*/ 0 w 38"/>
                <a:gd name="T15" fmla="*/ 1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41">
                  <a:moveTo>
                    <a:pt x="0" y="10"/>
                  </a:moveTo>
                  <a:lnTo>
                    <a:pt x="26" y="19"/>
                  </a:lnTo>
                  <a:lnTo>
                    <a:pt x="0" y="32"/>
                  </a:lnTo>
                  <a:lnTo>
                    <a:pt x="0" y="41"/>
                  </a:lnTo>
                  <a:lnTo>
                    <a:pt x="38" y="24"/>
                  </a:lnTo>
                  <a:lnTo>
                    <a:pt x="38" y="17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58" name="ZenIcon2">
            <a:extLst>
              <a:ext uri="{FF2B5EF4-FFF2-40B4-BE49-F238E27FC236}">
                <a16:creationId xmlns:a16="http://schemas.microsoft.com/office/drawing/2014/main" id="{93E1EB04-E29F-0B25-EFFD-C4C5CE267967}"/>
              </a:ext>
            </a:extLst>
          </p:cNvPr>
          <p:cNvSpPr>
            <a:spLocks noChangeAspect="1" noEditPoints="1"/>
          </p:cNvSpPr>
          <p:nvPr>
            <p:custDataLst>
              <p:tags r:id="rId3"/>
            </p:custDataLst>
          </p:nvPr>
        </p:nvSpPr>
        <p:spPr bwMode="auto">
          <a:xfrm>
            <a:off x="1194660" y="3400920"/>
            <a:ext cx="371118" cy="371118"/>
          </a:xfrm>
          <a:custGeom>
            <a:avLst/>
            <a:gdLst>
              <a:gd name="T0" fmla="*/ 232 w 256"/>
              <a:gd name="T1" fmla="*/ 84 h 227"/>
              <a:gd name="T2" fmla="*/ 172 w 256"/>
              <a:gd name="T3" fmla="*/ 44 h 227"/>
              <a:gd name="T4" fmla="*/ 120 w 256"/>
              <a:gd name="T5" fmla="*/ 48 h 227"/>
              <a:gd name="T6" fmla="*/ 64 w 256"/>
              <a:gd name="T7" fmla="*/ 107 h 227"/>
              <a:gd name="T8" fmla="*/ 0 w 256"/>
              <a:gd name="T9" fmla="*/ 131 h 227"/>
              <a:gd name="T10" fmla="*/ 32 w 256"/>
              <a:gd name="T11" fmla="*/ 227 h 227"/>
              <a:gd name="T12" fmla="*/ 87 w 256"/>
              <a:gd name="T13" fmla="*/ 212 h 227"/>
              <a:gd name="T14" fmla="*/ 103 w 256"/>
              <a:gd name="T15" fmla="*/ 219 h 227"/>
              <a:gd name="T16" fmla="*/ 232 w 256"/>
              <a:gd name="T17" fmla="*/ 197 h 227"/>
              <a:gd name="T18" fmla="*/ 240 w 256"/>
              <a:gd name="T19" fmla="*/ 169 h 227"/>
              <a:gd name="T20" fmla="*/ 248 w 256"/>
              <a:gd name="T21" fmla="*/ 140 h 227"/>
              <a:gd name="T22" fmla="*/ 256 w 256"/>
              <a:gd name="T23" fmla="*/ 108 h 227"/>
              <a:gd name="T24" fmla="*/ 32 w 256"/>
              <a:gd name="T25" fmla="*/ 211 h 227"/>
              <a:gd name="T26" fmla="*/ 16 w 256"/>
              <a:gd name="T27" fmla="*/ 131 h 227"/>
              <a:gd name="T28" fmla="*/ 64 w 256"/>
              <a:gd name="T29" fmla="*/ 123 h 227"/>
              <a:gd name="T30" fmla="*/ 72 w 256"/>
              <a:gd name="T31" fmla="*/ 198 h 227"/>
              <a:gd name="T32" fmla="*/ 72 w 256"/>
              <a:gd name="T33" fmla="*/ 203 h 227"/>
              <a:gd name="T34" fmla="*/ 210 w 256"/>
              <a:gd name="T35" fmla="*/ 203 h 227"/>
              <a:gd name="T36" fmla="*/ 88 w 256"/>
              <a:gd name="T37" fmla="*/ 194 h 227"/>
              <a:gd name="T38" fmla="*/ 86 w 256"/>
              <a:gd name="T39" fmla="*/ 121 h 227"/>
              <a:gd name="T40" fmla="*/ 140 w 256"/>
              <a:gd name="T41" fmla="*/ 16 h 227"/>
              <a:gd name="T42" fmla="*/ 152 w 256"/>
              <a:gd name="T43" fmla="*/ 90 h 227"/>
              <a:gd name="T44" fmla="*/ 160 w 256"/>
              <a:gd name="T45" fmla="*/ 100 h 227"/>
              <a:gd name="T46" fmla="*/ 240 w 256"/>
              <a:gd name="T47" fmla="*/ 108 h 227"/>
              <a:gd name="T48" fmla="*/ 223 w 256"/>
              <a:gd name="T49" fmla="*/ 116 h 227"/>
              <a:gd name="T50" fmla="*/ 223 w 256"/>
              <a:gd name="T51" fmla="*/ 132 h 227"/>
              <a:gd name="T52" fmla="*/ 224 w 256"/>
              <a:gd name="T53" fmla="*/ 132 h 227"/>
              <a:gd name="T54" fmla="*/ 224 w 256"/>
              <a:gd name="T55" fmla="*/ 148 h 227"/>
              <a:gd name="T56" fmla="*/ 218 w 256"/>
              <a:gd name="T57" fmla="*/ 147 h 227"/>
              <a:gd name="T58" fmla="*/ 215 w 256"/>
              <a:gd name="T59" fmla="*/ 148 h 227"/>
              <a:gd name="T60" fmla="*/ 215 w 256"/>
              <a:gd name="T61" fmla="*/ 164 h 227"/>
              <a:gd name="T62" fmla="*/ 224 w 256"/>
              <a:gd name="T63" fmla="*/ 169 h 227"/>
              <a:gd name="T64" fmla="*/ 210 w 256"/>
              <a:gd name="T65" fmla="*/ 175 h 227"/>
              <a:gd name="T66" fmla="*/ 210 w 256"/>
              <a:gd name="T67" fmla="*/ 175 h 227"/>
              <a:gd name="T68" fmla="*/ 210 w 256"/>
              <a:gd name="T69" fmla="*/ 191 h 227"/>
              <a:gd name="T70" fmla="*/ 210 w 256"/>
              <a:gd name="T71" fmla="*/ 203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56" h="227">
                <a:moveTo>
                  <a:pt x="256" y="108"/>
                </a:moveTo>
                <a:cubicBezTo>
                  <a:pt x="256" y="94"/>
                  <a:pt x="245" y="84"/>
                  <a:pt x="232" y="84"/>
                </a:cubicBezTo>
                <a:cubicBezTo>
                  <a:pt x="169" y="84"/>
                  <a:pt x="169" y="84"/>
                  <a:pt x="169" y="84"/>
                </a:cubicBezTo>
                <a:cubicBezTo>
                  <a:pt x="171" y="74"/>
                  <a:pt x="172" y="59"/>
                  <a:pt x="172" y="44"/>
                </a:cubicBezTo>
                <a:cubicBezTo>
                  <a:pt x="172" y="13"/>
                  <a:pt x="156" y="0"/>
                  <a:pt x="140" y="0"/>
                </a:cubicBezTo>
                <a:cubicBezTo>
                  <a:pt x="120" y="0"/>
                  <a:pt x="120" y="21"/>
                  <a:pt x="120" y="48"/>
                </a:cubicBezTo>
                <a:cubicBezTo>
                  <a:pt x="120" y="67"/>
                  <a:pt x="90" y="97"/>
                  <a:pt x="75" y="110"/>
                </a:cubicBezTo>
                <a:cubicBezTo>
                  <a:pt x="71" y="108"/>
                  <a:pt x="68" y="107"/>
                  <a:pt x="64" y="107"/>
                </a:cubicBezTo>
                <a:cubicBezTo>
                  <a:pt x="24" y="107"/>
                  <a:pt x="24" y="107"/>
                  <a:pt x="24" y="107"/>
                </a:cubicBezTo>
                <a:cubicBezTo>
                  <a:pt x="11" y="107"/>
                  <a:pt x="0" y="118"/>
                  <a:pt x="0" y="131"/>
                </a:cubicBezTo>
                <a:cubicBezTo>
                  <a:pt x="8" y="203"/>
                  <a:pt x="8" y="203"/>
                  <a:pt x="8" y="203"/>
                </a:cubicBezTo>
                <a:cubicBezTo>
                  <a:pt x="10" y="216"/>
                  <a:pt x="19" y="227"/>
                  <a:pt x="32" y="227"/>
                </a:cubicBezTo>
                <a:cubicBezTo>
                  <a:pt x="64" y="227"/>
                  <a:pt x="64" y="227"/>
                  <a:pt x="64" y="227"/>
                </a:cubicBezTo>
                <a:cubicBezTo>
                  <a:pt x="74" y="227"/>
                  <a:pt x="83" y="221"/>
                  <a:pt x="87" y="212"/>
                </a:cubicBezTo>
                <a:cubicBezTo>
                  <a:pt x="100" y="219"/>
                  <a:pt x="100" y="219"/>
                  <a:pt x="100" y="219"/>
                </a:cubicBezTo>
                <a:cubicBezTo>
                  <a:pt x="101" y="219"/>
                  <a:pt x="102" y="219"/>
                  <a:pt x="103" y="219"/>
                </a:cubicBezTo>
                <a:cubicBezTo>
                  <a:pt x="210" y="219"/>
                  <a:pt x="210" y="219"/>
                  <a:pt x="210" y="219"/>
                </a:cubicBezTo>
                <a:cubicBezTo>
                  <a:pt x="222" y="219"/>
                  <a:pt x="232" y="210"/>
                  <a:pt x="232" y="197"/>
                </a:cubicBezTo>
                <a:cubicBezTo>
                  <a:pt x="232" y="194"/>
                  <a:pt x="231" y="191"/>
                  <a:pt x="230" y="188"/>
                </a:cubicBezTo>
                <a:cubicBezTo>
                  <a:pt x="236" y="184"/>
                  <a:pt x="240" y="177"/>
                  <a:pt x="240" y="169"/>
                </a:cubicBezTo>
                <a:cubicBezTo>
                  <a:pt x="240" y="166"/>
                  <a:pt x="239" y="162"/>
                  <a:pt x="238" y="159"/>
                </a:cubicBezTo>
                <a:cubicBezTo>
                  <a:pt x="244" y="155"/>
                  <a:pt x="248" y="148"/>
                  <a:pt x="248" y="140"/>
                </a:cubicBezTo>
                <a:cubicBezTo>
                  <a:pt x="248" y="135"/>
                  <a:pt x="247" y="131"/>
                  <a:pt x="245" y="128"/>
                </a:cubicBezTo>
                <a:cubicBezTo>
                  <a:pt x="252" y="123"/>
                  <a:pt x="256" y="116"/>
                  <a:pt x="256" y="108"/>
                </a:cubicBezTo>
                <a:close/>
                <a:moveTo>
                  <a:pt x="64" y="211"/>
                </a:moveTo>
                <a:cubicBezTo>
                  <a:pt x="32" y="211"/>
                  <a:pt x="32" y="211"/>
                  <a:pt x="32" y="211"/>
                </a:cubicBezTo>
                <a:cubicBezTo>
                  <a:pt x="28" y="211"/>
                  <a:pt x="25" y="206"/>
                  <a:pt x="24" y="202"/>
                </a:cubicBezTo>
                <a:cubicBezTo>
                  <a:pt x="16" y="131"/>
                  <a:pt x="16" y="131"/>
                  <a:pt x="16" y="131"/>
                </a:cubicBezTo>
                <a:cubicBezTo>
                  <a:pt x="17" y="127"/>
                  <a:pt x="20" y="123"/>
                  <a:pt x="24" y="123"/>
                </a:cubicBezTo>
                <a:cubicBezTo>
                  <a:pt x="64" y="123"/>
                  <a:pt x="64" y="123"/>
                  <a:pt x="64" y="123"/>
                </a:cubicBezTo>
                <a:cubicBezTo>
                  <a:pt x="69" y="123"/>
                  <a:pt x="72" y="127"/>
                  <a:pt x="72" y="131"/>
                </a:cubicBezTo>
                <a:cubicBezTo>
                  <a:pt x="72" y="198"/>
                  <a:pt x="72" y="198"/>
                  <a:pt x="72" y="198"/>
                </a:cubicBezTo>
                <a:cubicBezTo>
                  <a:pt x="72" y="199"/>
                  <a:pt x="72" y="200"/>
                  <a:pt x="72" y="201"/>
                </a:cubicBezTo>
                <a:cubicBezTo>
                  <a:pt x="72" y="203"/>
                  <a:pt x="72" y="203"/>
                  <a:pt x="72" y="203"/>
                </a:cubicBezTo>
                <a:cubicBezTo>
                  <a:pt x="72" y="208"/>
                  <a:pt x="69" y="211"/>
                  <a:pt x="64" y="211"/>
                </a:cubicBezTo>
                <a:close/>
                <a:moveTo>
                  <a:pt x="210" y="203"/>
                </a:moveTo>
                <a:cubicBezTo>
                  <a:pt x="105" y="203"/>
                  <a:pt x="105" y="203"/>
                  <a:pt x="105" y="203"/>
                </a:cubicBezTo>
                <a:cubicBezTo>
                  <a:pt x="88" y="194"/>
                  <a:pt x="88" y="194"/>
                  <a:pt x="88" y="194"/>
                </a:cubicBezTo>
                <a:cubicBezTo>
                  <a:pt x="88" y="131"/>
                  <a:pt x="88" y="131"/>
                  <a:pt x="88" y="131"/>
                </a:cubicBezTo>
                <a:cubicBezTo>
                  <a:pt x="88" y="128"/>
                  <a:pt x="87" y="124"/>
                  <a:pt x="86" y="121"/>
                </a:cubicBezTo>
                <a:cubicBezTo>
                  <a:pt x="100" y="109"/>
                  <a:pt x="136" y="75"/>
                  <a:pt x="136" y="48"/>
                </a:cubicBezTo>
                <a:cubicBezTo>
                  <a:pt x="136" y="31"/>
                  <a:pt x="136" y="16"/>
                  <a:pt x="140" y="16"/>
                </a:cubicBezTo>
                <a:cubicBezTo>
                  <a:pt x="148" y="16"/>
                  <a:pt x="156" y="25"/>
                  <a:pt x="156" y="44"/>
                </a:cubicBezTo>
                <a:cubicBezTo>
                  <a:pt x="156" y="67"/>
                  <a:pt x="152" y="90"/>
                  <a:pt x="152" y="90"/>
                </a:cubicBezTo>
                <a:cubicBezTo>
                  <a:pt x="152" y="93"/>
                  <a:pt x="153" y="95"/>
                  <a:pt x="154" y="97"/>
                </a:cubicBezTo>
                <a:cubicBezTo>
                  <a:pt x="156" y="98"/>
                  <a:pt x="158" y="100"/>
                  <a:pt x="160" y="100"/>
                </a:cubicBezTo>
                <a:cubicBezTo>
                  <a:pt x="232" y="100"/>
                  <a:pt x="232" y="100"/>
                  <a:pt x="232" y="100"/>
                </a:cubicBezTo>
                <a:cubicBezTo>
                  <a:pt x="237" y="100"/>
                  <a:pt x="240" y="103"/>
                  <a:pt x="240" y="108"/>
                </a:cubicBezTo>
                <a:cubicBezTo>
                  <a:pt x="240" y="112"/>
                  <a:pt x="237" y="116"/>
                  <a:pt x="232" y="116"/>
                </a:cubicBezTo>
                <a:cubicBezTo>
                  <a:pt x="223" y="116"/>
                  <a:pt x="223" y="116"/>
                  <a:pt x="223" y="116"/>
                </a:cubicBezTo>
                <a:cubicBezTo>
                  <a:pt x="219" y="116"/>
                  <a:pt x="215" y="119"/>
                  <a:pt x="215" y="124"/>
                </a:cubicBezTo>
                <a:cubicBezTo>
                  <a:pt x="215" y="128"/>
                  <a:pt x="219" y="132"/>
                  <a:pt x="223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9" y="132"/>
                  <a:pt x="232" y="135"/>
                  <a:pt x="232" y="140"/>
                </a:cubicBezTo>
                <a:cubicBezTo>
                  <a:pt x="232" y="144"/>
                  <a:pt x="229" y="148"/>
                  <a:pt x="224" y="148"/>
                </a:cubicBezTo>
                <a:cubicBezTo>
                  <a:pt x="219" y="148"/>
                  <a:pt x="219" y="148"/>
                  <a:pt x="219" y="148"/>
                </a:cubicBezTo>
                <a:cubicBezTo>
                  <a:pt x="219" y="148"/>
                  <a:pt x="218" y="147"/>
                  <a:pt x="218" y="147"/>
                </a:cubicBezTo>
                <a:cubicBezTo>
                  <a:pt x="218" y="147"/>
                  <a:pt x="218" y="148"/>
                  <a:pt x="218" y="148"/>
                </a:cubicBezTo>
                <a:cubicBezTo>
                  <a:pt x="215" y="148"/>
                  <a:pt x="215" y="148"/>
                  <a:pt x="215" y="148"/>
                </a:cubicBezTo>
                <a:cubicBezTo>
                  <a:pt x="211" y="148"/>
                  <a:pt x="207" y="151"/>
                  <a:pt x="207" y="156"/>
                </a:cubicBezTo>
                <a:cubicBezTo>
                  <a:pt x="207" y="160"/>
                  <a:pt x="211" y="164"/>
                  <a:pt x="215" y="164"/>
                </a:cubicBezTo>
                <a:cubicBezTo>
                  <a:pt x="218" y="164"/>
                  <a:pt x="218" y="164"/>
                  <a:pt x="218" y="164"/>
                </a:cubicBezTo>
                <a:cubicBezTo>
                  <a:pt x="222" y="164"/>
                  <a:pt x="224" y="166"/>
                  <a:pt x="224" y="169"/>
                </a:cubicBezTo>
                <a:cubicBezTo>
                  <a:pt x="224" y="173"/>
                  <a:pt x="221" y="175"/>
                  <a:pt x="218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06" y="175"/>
                  <a:pt x="202" y="179"/>
                  <a:pt x="202" y="183"/>
                </a:cubicBezTo>
                <a:cubicBezTo>
                  <a:pt x="202" y="188"/>
                  <a:pt x="206" y="191"/>
                  <a:pt x="210" y="191"/>
                </a:cubicBezTo>
                <a:cubicBezTo>
                  <a:pt x="213" y="191"/>
                  <a:pt x="216" y="194"/>
                  <a:pt x="216" y="197"/>
                </a:cubicBezTo>
                <a:cubicBezTo>
                  <a:pt x="216" y="201"/>
                  <a:pt x="213" y="203"/>
                  <a:pt x="210" y="20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US" sz="840">
              <a:latin typeface="+mn-lt"/>
            </a:endParaRPr>
          </a:p>
        </p:txBody>
      </p:sp>
      <p:sp>
        <p:nvSpPr>
          <p:cNvPr id="59" name="ZenIcon3">
            <a:extLst>
              <a:ext uri="{FF2B5EF4-FFF2-40B4-BE49-F238E27FC236}">
                <a16:creationId xmlns:a16="http://schemas.microsoft.com/office/drawing/2014/main" id="{0D962ABC-5F85-7501-154D-EFE506F3881F}"/>
              </a:ext>
            </a:extLst>
          </p:cNvPr>
          <p:cNvSpPr>
            <a:spLocks noChangeAspect="1" noEditPoints="1"/>
          </p:cNvSpPr>
          <p:nvPr>
            <p:custDataLst>
              <p:tags r:id="rId4"/>
            </p:custDataLst>
          </p:nvPr>
        </p:nvSpPr>
        <p:spPr bwMode="auto">
          <a:xfrm>
            <a:off x="1605157" y="4391486"/>
            <a:ext cx="371118" cy="372041"/>
          </a:xfrm>
          <a:custGeom>
            <a:avLst/>
            <a:gdLst>
              <a:gd name="T0" fmla="*/ 1698 w 2448"/>
              <a:gd name="T1" fmla="*/ 97 h 2446"/>
              <a:gd name="T2" fmla="*/ 748 w 2448"/>
              <a:gd name="T3" fmla="*/ 97 h 2446"/>
              <a:gd name="T4" fmla="*/ 0 w 2448"/>
              <a:gd name="T5" fmla="*/ 1222 h 2446"/>
              <a:gd name="T6" fmla="*/ 748 w 2448"/>
              <a:gd name="T7" fmla="*/ 2349 h 2446"/>
              <a:gd name="T8" fmla="*/ 1698 w 2448"/>
              <a:gd name="T9" fmla="*/ 2349 h 2446"/>
              <a:gd name="T10" fmla="*/ 2448 w 2448"/>
              <a:gd name="T11" fmla="*/ 1222 h 2446"/>
              <a:gd name="T12" fmla="*/ 816 w 2448"/>
              <a:gd name="T13" fmla="*/ 227 h 2446"/>
              <a:gd name="T14" fmla="*/ 264 w 2448"/>
              <a:gd name="T15" fmla="*/ 737 h 2446"/>
              <a:gd name="T16" fmla="*/ 149 w 2448"/>
              <a:gd name="T17" fmla="*/ 1222 h 2446"/>
              <a:gd name="T18" fmla="*/ 554 w 2448"/>
              <a:gd name="T19" fmla="*/ 884 h 2446"/>
              <a:gd name="T20" fmla="*/ 554 w 2448"/>
              <a:gd name="T21" fmla="*/ 1556 h 2446"/>
              <a:gd name="T22" fmla="*/ 149 w 2448"/>
              <a:gd name="T23" fmla="*/ 1222 h 2446"/>
              <a:gd name="T24" fmla="*/ 584 w 2448"/>
              <a:gd name="T25" fmla="*/ 1704 h 2446"/>
              <a:gd name="T26" fmla="*/ 264 w 2448"/>
              <a:gd name="T27" fmla="*/ 1704 h 2446"/>
              <a:gd name="T28" fmla="*/ 906 w 2448"/>
              <a:gd name="T29" fmla="*/ 2092 h 2446"/>
              <a:gd name="T30" fmla="*/ 1148 w 2448"/>
              <a:gd name="T31" fmla="*/ 1704 h 2446"/>
              <a:gd name="T32" fmla="*/ 1148 w 2448"/>
              <a:gd name="T33" fmla="*/ 1556 h 2446"/>
              <a:gd name="T34" fmla="*/ 677 w 2448"/>
              <a:gd name="T35" fmla="*/ 1222 h 2446"/>
              <a:gd name="T36" fmla="*/ 1148 w 2448"/>
              <a:gd name="T37" fmla="*/ 884 h 2446"/>
              <a:gd name="T38" fmla="*/ 1148 w 2448"/>
              <a:gd name="T39" fmla="*/ 737 h 2446"/>
              <a:gd name="T40" fmla="*/ 909 w 2448"/>
              <a:gd name="T41" fmla="*/ 353 h 2446"/>
              <a:gd name="T42" fmla="*/ 1148 w 2448"/>
              <a:gd name="T43" fmla="*/ 737 h 2446"/>
              <a:gd name="T44" fmla="*/ 1864 w 2448"/>
              <a:gd name="T45" fmla="*/ 737 h 2446"/>
              <a:gd name="T46" fmla="*/ 2184 w 2448"/>
              <a:gd name="T47" fmla="*/ 737 h 2446"/>
              <a:gd name="T48" fmla="*/ 1539 w 2448"/>
              <a:gd name="T49" fmla="*/ 353 h 2446"/>
              <a:gd name="T50" fmla="*/ 1300 w 2448"/>
              <a:gd name="T51" fmla="*/ 737 h 2446"/>
              <a:gd name="T52" fmla="*/ 1300 w 2448"/>
              <a:gd name="T53" fmla="*/ 884 h 2446"/>
              <a:gd name="T54" fmla="*/ 1771 w 2448"/>
              <a:gd name="T55" fmla="*/ 1222 h 2446"/>
              <a:gd name="T56" fmla="*/ 1300 w 2448"/>
              <a:gd name="T57" fmla="*/ 1556 h 2446"/>
              <a:gd name="T58" fmla="*/ 1300 w 2448"/>
              <a:gd name="T59" fmla="*/ 2286 h 2446"/>
              <a:gd name="T60" fmla="*/ 1711 w 2448"/>
              <a:gd name="T61" fmla="*/ 1704 h 2446"/>
              <a:gd name="T62" fmla="*/ 1300 w 2448"/>
              <a:gd name="T63" fmla="*/ 2286 h 2446"/>
              <a:gd name="T64" fmla="*/ 1864 w 2448"/>
              <a:gd name="T65" fmla="*/ 1704 h 2446"/>
              <a:gd name="T66" fmla="*/ 1632 w 2448"/>
              <a:gd name="T67" fmla="*/ 2219 h 2446"/>
              <a:gd name="T68" fmla="*/ 1894 w 2448"/>
              <a:gd name="T69" fmla="*/ 1556 h 2446"/>
              <a:gd name="T70" fmla="*/ 1894 w 2448"/>
              <a:gd name="T71" fmla="*/ 884 h 2446"/>
              <a:gd name="T72" fmla="*/ 2299 w 2448"/>
              <a:gd name="T73" fmla="*/ 1222 h 2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2448" h="2446">
                <a:moveTo>
                  <a:pt x="2350" y="747"/>
                </a:moveTo>
                <a:cubicBezTo>
                  <a:pt x="2221" y="446"/>
                  <a:pt x="2002" y="227"/>
                  <a:pt x="1698" y="97"/>
                </a:cubicBezTo>
                <a:cubicBezTo>
                  <a:pt x="1547" y="33"/>
                  <a:pt x="1389" y="0"/>
                  <a:pt x="1223" y="0"/>
                </a:cubicBezTo>
                <a:cubicBezTo>
                  <a:pt x="1057" y="0"/>
                  <a:pt x="900" y="32"/>
                  <a:pt x="748" y="97"/>
                </a:cubicBezTo>
                <a:cubicBezTo>
                  <a:pt x="447" y="226"/>
                  <a:pt x="226" y="445"/>
                  <a:pt x="96" y="747"/>
                </a:cubicBezTo>
                <a:cubicBezTo>
                  <a:pt x="32" y="898"/>
                  <a:pt x="0" y="1056"/>
                  <a:pt x="0" y="1222"/>
                </a:cubicBezTo>
                <a:cubicBezTo>
                  <a:pt x="0" y="1388"/>
                  <a:pt x="32" y="1547"/>
                  <a:pt x="96" y="1698"/>
                </a:cubicBezTo>
                <a:cubicBezTo>
                  <a:pt x="226" y="2000"/>
                  <a:pt x="447" y="2220"/>
                  <a:pt x="748" y="2349"/>
                </a:cubicBezTo>
                <a:cubicBezTo>
                  <a:pt x="900" y="2414"/>
                  <a:pt x="1057" y="2446"/>
                  <a:pt x="1223" y="2446"/>
                </a:cubicBezTo>
                <a:cubicBezTo>
                  <a:pt x="1389" y="2446"/>
                  <a:pt x="1547" y="2413"/>
                  <a:pt x="1698" y="2349"/>
                </a:cubicBezTo>
                <a:cubicBezTo>
                  <a:pt x="2002" y="2219"/>
                  <a:pt x="2221" y="1999"/>
                  <a:pt x="2350" y="1698"/>
                </a:cubicBezTo>
                <a:cubicBezTo>
                  <a:pt x="2415" y="1547"/>
                  <a:pt x="2448" y="1388"/>
                  <a:pt x="2448" y="1222"/>
                </a:cubicBezTo>
                <a:cubicBezTo>
                  <a:pt x="2448" y="1056"/>
                  <a:pt x="2415" y="898"/>
                  <a:pt x="2350" y="747"/>
                </a:cubicBezTo>
                <a:close/>
                <a:moveTo>
                  <a:pt x="816" y="227"/>
                </a:moveTo>
                <a:cubicBezTo>
                  <a:pt x="711" y="361"/>
                  <a:pt x="633" y="531"/>
                  <a:pt x="584" y="737"/>
                </a:cubicBezTo>
                <a:cubicBezTo>
                  <a:pt x="264" y="737"/>
                  <a:pt x="264" y="737"/>
                  <a:pt x="264" y="737"/>
                </a:cubicBezTo>
                <a:cubicBezTo>
                  <a:pt x="381" y="508"/>
                  <a:pt x="580" y="325"/>
                  <a:pt x="816" y="227"/>
                </a:cubicBezTo>
                <a:close/>
                <a:moveTo>
                  <a:pt x="149" y="1222"/>
                </a:moveTo>
                <a:cubicBezTo>
                  <a:pt x="149" y="1105"/>
                  <a:pt x="167" y="993"/>
                  <a:pt x="203" y="884"/>
                </a:cubicBezTo>
                <a:cubicBezTo>
                  <a:pt x="554" y="884"/>
                  <a:pt x="554" y="884"/>
                  <a:pt x="554" y="884"/>
                </a:cubicBezTo>
                <a:cubicBezTo>
                  <a:pt x="537" y="998"/>
                  <a:pt x="529" y="1111"/>
                  <a:pt x="529" y="1222"/>
                </a:cubicBezTo>
                <a:cubicBezTo>
                  <a:pt x="529" y="1331"/>
                  <a:pt x="537" y="1443"/>
                  <a:pt x="554" y="1556"/>
                </a:cubicBezTo>
                <a:cubicBezTo>
                  <a:pt x="201" y="1556"/>
                  <a:pt x="201" y="1556"/>
                  <a:pt x="201" y="1556"/>
                </a:cubicBezTo>
                <a:cubicBezTo>
                  <a:pt x="166" y="1448"/>
                  <a:pt x="149" y="1335"/>
                  <a:pt x="149" y="1222"/>
                </a:cubicBezTo>
                <a:close/>
                <a:moveTo>
                  <a:pt x="264" y="1704"/>
                </a:moveTo>
                <a:cubicBezTo>
                  <a:pt x="584" y="1704"/>
                  <a:pt x="584" y="1704"/>
                  <a:pt x="584" y="1704"/>
                </a:cubicBezTo>
                <a:cubicBezTo>
                  <a:pt x="633" y="1914"/>
                  <a:pt x="711" y="2086"/>
                  <a:pt x="816" y="2219"/>
                </a:cubicBezTo>
                <a:cubicBezTo>
                  <a:pt x="576" y="2118"/>
                  <a:pt x="377" y="1935"/>
                  <a:pt x="264" y="1704"/>
                </a:cubicBezTo>
                <a:close/>
                <a:moveTo>
                  <a:pt x="1148" y="2286"/>
                </a:moveTo>
                <a:cubicBezTo>
                  <a:pt x="1061" y="2260"/>
                  <a:pt x="980" y="2196"/>
                  <a:pt x="906" y="2092"/>
                </a:cubicBezTo>
                <a:cubicBezTo>
                  <a:pt x="833" y="1987"/>
                  <a:pt x="776" y="1857"/>
                  <a:pt x="737" y="1704"/>
                </a:cubicBezTo>
                <a:cubicBezTo>
                  <a:pt x="1148" y="1704"/>
                  <a:pt x="1148" y="1704"/>
                  <a:pt x="1148" y="1704"/>
                </a:cubicBezTo>
                <a:lnTo>
                  <a:pt x="1148" y="2286"/>
                </a:lnTo>
                <a:close/>
                <a:moveTo>
                  <a:pt x="1148" y="1556"/>
                </a:moveTo>
                <a:cubicBezTo>
                  <a:pt x="704" y="1556"/>
                  <a:pt x="704" y="1556"/>
                  <a:pt x="704" y="1556"/>
                </a:cubicBezTo>
                <a:cubicBezTo>
                  <a:pt x="687" y="1437"/>
                  <a:pt x="677" y="1326"/>
                  <a:pt x="677" y="1222"/>
                </a:cubicBezTo>
                <a:cubicBezTo>
                  <a:pt x="677" y="1109"/>
                  <a:pt x="687" y="997"/>
                  <a:pt x="707" y="884"/>
                </a:cubicBezTo>
                <a:cubicBezTo>
                  <a:pt x="1148" y="884"/>
                  <a:pt x="1148" y="884"/>
                  <a:pt x="1148" y="884"/>
                </a:cubicBezTo>
                <a:cubicBezTo>
                  <a:pt x="1148" y="1556"/>
                  <a:pt x="1148" y="1556"/>
                  <a:pt x="1148" y="1556"/>
                </a:cubicBezTo>
                <a:close/>
                <a:moveTo>
                  <a:pt x="1148" y="737"/>
                </a:moveTo>
                <a:cubicBezTo>
                  <a:pt x="737" y="737"/>
                  <a:pt x="737" y="737"/>
                  <a:pt x="737" y="737"/>
                </a:cubicBezTo>
                <a:cubicBezTo>
                  <a:pt x="779" y="585"/>
                  <a:pt x="836" y="456"/>
                  <a:pt x="909" y="353"/>
                </a:cubicBezTo>
                <a:cubicBezTo>
                  <a:pt x="983" y="249"/>
                  <a:pt x="1061" y="184"/>
                  <a:pt x="1148" y="160"/>
                </a:cubicBezTo>
                <a:cubicBezTo>
                  <a:pt x="1148" y="737"/>
                  <a:pt x="1148" y="737"/>
                  <a:pt x="1148" y="737"/>
                </a:cubicBezTo>
                <a:close/>
                <a:moveTo>
                  <a:pt x="2184" y="737"/>
                </a:moveTo>
                <a:cubicBezTo>
                  <a:pt x="1864" y="737"/>
                  <a:pt x="1864" y="737"/>
                  <a:pt x="1864" y="737"/>
                </a:cubicBezTo>
                <a:cubicBezTo>
                  <a:pt x="1815" y="531"/>
                  <a:pt x="1737" y="361"/>
                  <a:pt x="1632" y="227"/>
                </a:cubicBezTo>
                <a:cubicBezTo>
                  <a:pt x="1868" y="325"/>
                  <a:pt x="2067" y="508"/>
                  <a:pt x="2184" y="737"/>
                </a:cubicBezTo>
                <a:close/>
                <a:moveTo>
                  <a:pt x="1300" y="160"/>
                </a:moveTo>
                <a:cubicBezTo>
                  <a:pt x="1387" y="184"/>
                  <a:pt x="1465" y="249"/>
                  <a:pt x="1539" y="353"/>
                </a:cubicBezTo>
                <a:cubicBezTo>
                  <a:pt x="1613" y="456"/>
                  <a:pt x="1669" y="585"/>
                  <a:pt x="1711" y="737"/>
                </a:cubicBezTo>
                <a:cubicBezTo>
                  <a:pt x="1300" y="737"/>
                  <a:pt x="1300" y="737"/>
                  <a:pt x="1300" y="737"/>
                </a:cubicBezTo>
                <a:lnTo>
                  <a:pt x="1300" y="160"/>
                </a:lnTo>
                <a:close/>
                <a:moveTo>
                  <a:pt x="1300" y="884"/>
                </a:moveTo>
                <a:cubicBezTo>
                  <a:pt x="1741" y="884"/>
                  <a:pt x="1741" y="884"/>
                  <a:pt x="1741" y="884"/>
                </a:cubicBezTo>
                <a:cubicBezTo>
                  <a:pt x="1761" y="997"/>
                  <a:pt x="1771" y="1109"/>
                  <a:pt x="1771" y="1222"/>
                </a:cubicBezTo>
                <a:cubicBezTo>
                  <a:pt x="1771" y="1326"/>
                  <a:pt x="1761" y="1437"/>
                  <a:pt x="1744" y="1556"/>
                </a:cubicBezTo>
                <a:cubicBezTo>
                  <a:pt x="1300" y="1556"/>
                  <a:pt x="1300" y="1556"/>
                  <a:pt x="1300" y="1556"/>
                </a:cubicBezTo>
                <a:lnTo>
                  <a:pt x="1300" y="884"/>
                </a:lnTo>
                <a:close/>
                <a:moveTo>
                  <a:pt x="1300" y="2286"/>
                </a:moveTo>
                <a:cubicBezTo>
                  <a:pt x="1300" y="1704"/>
                  <a:pt x="1300" y="1704"/>
                  <a:pt x="1300" y="1704"/>
                </a:cubicBezTo>
                <a:cubicBezTo>
                  <a:pt x="1711" y="1704"/>
                  <a:pt x="1711" y="1704"/>
                  <a:pt x="1711" y="1704"/>
                </a:cubicBezTo>
                <a:cubicBezTo>
                  <a:pt x="1670" y="1857"/>
                  <a:pt x="1613" y="1987"/>
                  <a:pt x="1541" y="2092"/>
                </a:cubicBezTo>
                <a:cubicBezTo>
                  <a:pt x="1467" y="2197"/>
                  <a:pt x="1388" y="2262"/>
                  <a:pt x="1300" y="2286"/>
                </a:cubicBezTo>
                <a:close/>
                <a:moveTo>
                  <a:pt x="1632" y="2219"/>
                </a:moveTo>
                <a:cubicBezTo>
                  <a:pt x="1737" y="2086"/>
                  <a:pt x="1815" y="1914"/>
                  <a:pt x="1864" y="1704"/>
                </a:cubicBezTo>
                <a:cubicBezTo>
                  <a:pt x="2184" y="1704"/>
                  <a:pt x="2184" y="1704"/>
                  <a:pt x="2184" y="1704"/>
                </a:cubicBezTo>
                <a:cubicBezTo>
                  <a:pt x="2071" y="1935"/>
                  <a:pt x="1872" y="2118"/>
                  <a:pt x="1632" y="2219"/>
                </a:cubicBezTo>
                <a:close/>
                <a:moveTo>
                  <a:pt x="2247" y="1556"/>
                </a:moveTo>
                <a:cubicBezTo>
                  <a:pt x="1894" y="1556"/>
                  <a:pt x="1894" y="1556"/>
                  <a:pt x="1894" y="1556"/>
                </a:cubicBezTo>
                <a:cubicBezTo>
                  <a:pt x="1911" y="1443"/>
                  <a:pt x="1919" y="1331"/>
                  <a:pt x="1919" y="1222"/>
                </a:cubicBezTo>
                <a:cubicBezTo>
                  <a:pt x="1919" y="1111"/>
                  <a:pt x="1911" y="998"/>
                  <a:pt x="1894" y="884"/>
                </a:cubicBezTo>
                <a:cubicBezTo>
                  <a:pt x="2245" y="884"/>
                  <a:pt x="2245" y="884"/>
                  <a:pt x="2245" y="884"/>
                </a:cubicBezTo>
                <a:cubicBezTo>
                  <a:pt x="2281" y="993"/>
                  <a:pt x="2299" y="1105"/>
                  <a:pt x="2299" y="1222"/>
                </a:cubicBezTo>
                <a:cubicBezTo>
                  <a:pt x="2299" y="1335"/>
                  <a:pt x="2282" y="1448"/>
                  <a:pt x="2247" y="155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n-lt"/>
            </a:endParaRPr>
          </a:p>
        </p:txBody>
      </p:sp>
      <p:sp>
        <p:nvSpPr>
          <p:cNvPr id="60" name="Folded Corner 67">
            <a:extLst>
              <a:ext uri="{FF2B5EF4-FFF2-40B4-BE49-F238E27FC236}">
                <a16:creationId xmlns:a16="http://schemas.microsoft.com/office/drawing/2014/main" id="{20669F39-77D1-A439-0FFF-B8DB61D23043}"/>
              </a:ext>
            </a:extLst>
          </p:cNvPr>
          <p:cNvSpPr/>
          <p:nvPr/>
        </p:nvSpPr>
        <p:spPr>
          <a:xfrm>
            <a:off x="6111567" y="2279422"/>
            <a:ext cx="5064152" cy="3351824"/>
          </a:xfrm>
          <a:prstGeom prst="foldedCorner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9229" tIns="179229" rtlCol="0" anchor="t"/>
          <a:lstStyle/>
          <a:p>
            <a:pPr defTabSz="896113" fontAlgn="auto">
              <a:spcBef>
                <a:spcPct val="20000"/>
              </a:spcBef>
              <a:spcAft>
                <a:spcPts val="0"/>
              </a:spcAft>
              <a:defRPr/>
            </a:pPr>
            <a:endParaRPr lang="en-US" sz="1372" b="1" dirty="0">
              <a:solidFill>
                <a:srgbClr val="262626">
                  <a:lumMod val="90000"/>
                  <a:lumOff val="10000"/>
                </a:srgbClr>
              </a:solidFill>
              <a:cs typeface="Calibri" panose="020F0502020204030204" pitchFamily="34" charset="0"/>
            </a:endParaRPr>
          </a:p>
        </p:txBody>
      </p:sp>
      <p:sp>
        <p:nvSpPr>
          <p:cNvPr id="61" name="Round Same Side Corner Rectangle 69">
            <a:extLst>
              <a:ext uri="{FF2B5EF4-FFF2-40B4-BE49-F238E27FC236}">
                <a16:creationId xmlns:a16="http://schemas.microsoft.com/office/drawing/2014/main" id="{AE23F3D7-D16D-B7B0-420B-3CA375BC8813}"/>
              </a:ext>
            </a:extLst>
          </p:cNvPr>
          <p:cNvSpPr/>
          <p:nvPr/>
        </p:nvSpPr>
        <p:spPr>
          <a:xfrm>
            <a:off x="6111567" y="1680686"/>
            <a:ext cx="5064152" cy="553673"/>
          </a:xfrm>
          <a:prstGeom prst="round2Same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9229" tIns="0" bIns="0" rtlCol="0" anchor="ctr"/>
          <a:lstStyle/>
          <a:p>
            <a:pPr defTabSz="896113" fontAlgn="auto">
              <a:spcBef>
                <a:spcPct val="20000"/>
              </a:spcBef>
              <a:spcAft>
                <a:spcPts val="0"/>
              </a:spcAft>
              <a:defRPr/>
            </a:pPr>
            <a:r>
              <a:rPr lang="en-US" sz="1960" b="1" dirty="0">
                <a:solidFill>
                  <a:srgbClr val="FFFFFF"/>
                </a:solidFill>
                <a:cs typeface="Calibri" panose="020F0502020204030204" pitchFamily="34" charset="0"/>
              </a:rPr>
              <a:t>Insert Heading</a:t>
            </a:r>
          </a:p>
        </p:txBody>
      </p:sp>
      <p:sp>
        <p:nvSpPr>
          <p:cNvPr id="62" name="Inhaltsplatzhalter 4">
            <a:extLst>
              <a:ext uri="{FF2B5EF4-FFF2-40B4-BE49-F238E27FC236}">
                <a16:creationId xmlns:a16="http://schemas.microsoft.com/office/drawing/2014/main" id="{F9910750-7AF1-F443-E6FC-D3874A9CDC99}"/>
              </a:ext>
            </a:extLst>
          </p:cNvPr>
          <p:cNvSpPr txBox="1">
            <a:spLocks/>
          </p:cNvSpPr>
          <p:nvPr/>
        </p:nvSpPr>
        <p:spPr>
          <a:xfrm>
            <a:off x="6324421" y="2381899"/>
            <a:ext cx="4431950" cy="277101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</p:txBody>
      </p:sp>
    </p:spTree>
    <p:extLst>
      <p:ext uri="{BB962C8B-B14F-4D97-AF65-F5344CB8AC3E}">
        <p14:creationId xmlns:p14="http://schemas.microsoft.com/office/powerpoint/2010/main" val="3449703454"/>
      </p:ext>
    </p:extLst>
  </p:cSld>
  <p:clrMapOvr>
    <a:masterClrMapping/>
  </p:clrMapOvr>
</p:sld>
</file>

<file path=ppt/slides/slide1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B4A0FB-76A2-7A24-4D9C-760251FF56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think-cell data - do not delete" hidden="1">
            <a:extLst>
              <a:ext uri="{FF2B5EF4-FFF2-40B4-BE49-F238E27FC236}">
                <a16:creationId xmlns:a16="http://schemas.microsoft.com/office/drawing/2014/main" id="{BC8192D0-2414-DC8F-6453-4AC523C9DB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90560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5F2E5AE-8C78-FEB0-F69B-1C236E3AB9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Ide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45A07B4-76C1-76F9-C64D-7B211CAD5C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59</a:t>
            </a:fld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1E1F71F-33EA-37D9-2A22-9169C993C2F9}"/>
              </a:ext>
            </a:extLst>
          </p:cNvPr>
          <p:cNvGrpSpPr/>
          <p:nvPr/>
        </p:nvGrpSpPr>
        <p:grpSpPr>
          <a:xfrm>
            <a:off x="7087598" y="3399346"/>
            <a:ext cx="1907254" cy="2739447"/>
            <a:chOff x="5328882" y="2549454"/>
            <a:chExt cx="1433988" cy="2059681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F0193A7-0C52-CED8-B87B-5A9AD6AF74F7}"/>
                </a:ext>
              </a:extLst>
            </p:cNvPr>
            <p:cNvSpPr txBox="1"/>
            <p:nvPr/>
          </p:nvSpPr>
          <p:spPr>
            <a:xfrm flipH="1">
              <a:off x="5538228" y="2879069"/>
              <a:ext cx="1041309" cy="707886"/>
            </a:xfrm>
            <a:prstGeom prst="rect">
              <a:avLst/>
            </a:prstGeom>
            <a:noFill/>
          </p:spPr>
          <p:txBody>
            <a:bodyPr wrap="square" rtlCol="0" anchor="ctr" anchorCtr="1">
              <a:noAutofit/>
            </a:bodyPr>
            <a:lstStyle/>
            <a:p>
              <a:pPr algn="ctr"/>
              <a:r>
                <a:rPr lang="en-US" sz="2400" b="1" dirty="0"/>
                <a:t>Insert heading</a:t>
              </a:r>
            </a:p>
          </p:txBody>
        </p:sp>
        <p:sp>
          <p:nvSpPr>
            <p:cNvPr id="7" name="Arc 6">
              <a:extLst>
                <a:ext uri="{FF2B5EF4-FFF2-40B4-BE49-F238E27FC236}">
                  <a16:creationId xmlns:a16="http://schemas.microsoft.com/office/drawing/2014/main" id="{58919D95-5E6C-1EFA-6DE7-06FA0293E753}"/>
                </a:ext>
              </a:extLst>
            </p:cNvPr>
            <p:cNvSpPr/>
            <p:nvPr/>
          </p:nvSpPr>
          <p:spPr>
            <a:xfrm>
              <a:off x="5328882" y="2549454"/>
              <a:ext cx="1433988" cy="1433987"/>
            </a:xfrm>
            <a:prstGeom prst="arc">
              <a:avLst>
                <a:gd name="adj1" fmla="val 7836615"/>
                <a:gd name="adj2" fmla="val 2950439"/>
              </a:avLst>
            </a:prstGeom>
            <a:ln w="1270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 anchorCtr="1"/>
            <a:lstStyle/>
            <a:p>
              <a:pPr algn="ctr"/>
              <a:endParaRPr lang="en-US" sz="3187" dirty="0"/>
            </a:p>
          </p:txBody>
        </p:sp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D16FFFF8-A45D-2411-BB97-176B16745D52}"/>
                </a:ext>
              </a:extLst>
            </p:cNvPr>
            <p:cNvSpPr/>
            <p:nvPr/>
          </p:nvSpPr>
          <p:spPr>
            <a:xfrm rot="2684411">
              <a:off x="5423984" y="3707222"/>
              <a:ext cx="227048" cy="119972"/>
            </a:xfrm>
            <a:prstGeom prst="roundRect">
              <a:avLst>
                <a:gd name="adj" fmla="val 50000"/>
              </a:avLst>
            </a:prstGeom>
            <a:solidFill>
              <a:schemeClr val="accent6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1"/>
            <a:lstStyle/>
            <a:p>
              <a:pPr algn="ctr"/>
              <a:endParaRPr lang="en-US" sz="3187" dirty="0" err="1">
                <a:solidFill>
                  <a:schemeClr val="tx1"/>
                </a:solidFill>
              </a:endParaRPr>
            </a:p>
          </p:txBody>
        </p: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B8F5BA53-2DBF-D812-1FFA-2ACB3E348AA6}"/>
                </a:ext>
              </a:extLst>
            </p:cNvPr>
            <p:cNvSpPr/>
            <p:nvPr/>
          </p:nvSpPr>
          <p:spPr>
            <a:xfrm rot="18915589" flipH="1">
              <a:off x="6423656" y="3729367"/>
              <a:ext cx="227048" cy="118784"/>
            </a:xfrm>
            <a:prstGeom prst="roundRect">
              <a:avLst>
                <a:gd name="adj" fmla="val 50000"/>
              </a:avLst>
            </a:prstGeom>
            <a:solidFill>
              <a:schemeClr val="accent6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1"/>
            <a:lstStyle/>
            <a:p>
              <a:pPr algn="ctr"/>
              <a:endParaRPr lang="en-US" sz="3187" dirty="0" err="1">
                <a:solidFill>
                  <a:schemeClr val="tx1"/>
                </a:solidFill>
              </a:endParaRPr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91650429-5A24-18AE-C3CC-B4E8E04E1EF3}"/>
                </a:ext>
              </a:extLst>
            </p:cNvPr>
            <p:cNvSpPr/>
            <p:nvPr/>
          </p:nvSpPr>
          <p:spPr>
            <a:xfrm flipH="1">
              <a:off x="5653772" y="3882904"/>
              <a:ext cx="764793" cy="146390"/>
            </a:xfrm>
            <a:prstGeom prst="roundRect">
              <a:avLst>
                <a:gd name="adj" fmla="val 50000"/>
              </a:avLst>
            </a:prstGeom>
            <a:solidFill>
              <a:schemeClr val="accent6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1"/>
            <a:lstStyle/>
            <a:p>
              <a:pPr algn="ctr"/>
              <a:endParaRPr lang="en-US" sz="3187" dirty="0" err="1">
                <a:solidFill>
                  <a:schemeClr val="tx1"/>
                </a:solidFill>
              </a:endParaRPr>
            </a:p>
          </p:txBody>
        </p: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C427E3AB-BC90-F08E-F1FF-67A5675B67CB}"/>
                </a:ext>
              </a:extLst>
            </p:cNvPr>
            <p:cNvSpPr/>
            <p:nvPr/>
          </p:nvSpPr>
          <p:spPr>
            <a:xfrm flipH="1">
              <a:off x="5653772" y="4063651"/>
              <a:ext cx="764793" cy="146390"/>
            </a:xfrm>
            <a:prstGeom prst="roundRect">
              <a:avLst>
                <a:gd name="adj" fmla="val 50000"/>
              </a:avLst>
            </a:prstGeom>
            <a:solidFill>
              <a:schemeClr val="accent6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1"/>
            <a:lstStyle/>
            <a:p>
              <a:pPr algn="ctr"/>
              <a:endParaRPr lang="en-US" sz="3187" dirty="0" err="1">
                <a:solidFill>
                  <a:schemeClr val="tx1"/>
                </a:solidFill>
              </a:endParaRPr>
            </a:p>
          </p:txBody>
        </p: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3FAA2B19-AB8E-FAF2-9D07-AB57AA093A99}"/>
                </a:ext>
              </a:extLst>
            </p:cNvPr>
            <p:cNvSpPr/>
            <p:nvPr/>
          </p:nvSpPr>
          <p:spPr>
            <a:xfrm flipH="1">
              <a:off x="5653772" y="4244400"/>
              <a:ext cx="764793" cy="146390"/>
            </a:xfrm>
            <a:prstGeom prst="roundRect">
              <a:avLst>
                <a:gd name="adj" fmla="val 50000"/>
              </a:avLst>
            </a:prstGeom>
            <a:solidFill>
              <a:schemeClr val="accent6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1"/>
            <a:lstStyle/>
            <a:p>
              <a:pPr algn="ctr"/>
              <a:endParaRPr lang="en-US" sz="3187" dirty="0" err="1">
                <a:solidFill>
                  <a:schemeClr val="tx1"/>
                </a:solidFill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BF9B4E53-211B-BEE7-CB51-E3E0ED565943}"/>
                </a:ext>
              </a:extLst>
            </p:cNvPr>
            <p:cNvSpPr/>
            <p:nvPr/>
          </p:nvSpPr>
          <p:spPr>
            <a:xfrm rot="5400000" flipH="1">
              <a:off x="5953882" y="4275156"/>
              <a:ext cx="183989" cy="483970"/>
            </a:xfrm>
            <a:custGeom>
              <a:avLst/>
              <a:gdLst>
                <a:gd name="connsiteX0" fmla="*/ 146654 w 146654"/>
                <a:gd name="connsiteY0" fmla="*/ 384158 h 385762"/>
                <a:gd name="connsiteX1" fmla="*/ 142014 w 146654"/>
                <a:gd name="connsiteY1" fmla="*/ 361175 h 385762"/>
                <a:gd name="connsiteX2" fmla="*/ 142014 w 146654"/>
                <a:gd name="connsiteY2" fmla="*/ 668 h 385762"/>
                <a:gd name="connsiteX3" fmla="*/ 138708 w 146654"/>
                <a:gd name="connsiteY3" fmla="*/ 0 h 385762"/>
                <a:gd name="connsiteX4" fmla="*/ 0 w 146654"/>
                <a:gd name="connsiteY4" fmla="*/ 138708 h 385762"/>
                <a:gd name="connsiteX5" fmla="*/ 0 w 146654"/>
                <a:gd name="connsiteY5" fmla="*/ 247054 h 385762"/>
                <a:gd name="connsiteX6" fmla="*/ 138708 w 146654"/>
                <a:gd name="connsiteY6" fmla="*/ 385762 h 385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6654" h="385762">
                  <a:moveTo>
                    <a:pt x="146654" y="384158"/>
                  </a:moveTo>
                  <a:lnTo>
                    <a:pt x="142014" y="361175"/>
                  </a:lnTo>
                  <a:lnTo>
                    <a:pt x="142014" y="668"/>
                  </a:lnTo>
                  <a:lnTo>
                    <a:pt x="138708" y="0"/>
                  </a:lnTo>
                  <a:cubicBezTo>
                    <a:pt x="62102" y="0"/>
                    <a:pt x="0" y="62102"/>
                    <a:pt x="0" y="138708"/>
                  </a:cubicBezTo>
                  <a:lnTo>
                    <a:pt x="0" y="247054"/>
                  </a:lnTo>
                  <a:cubicBezTo>
                    <a:pt x="0" y="323660"/>
                    <a:pt x="62102" y="385762"/>
                    <a:pt x="138708" y="385762"/>
                  </a:cubicBezTo>
                  <a:close/>
                </a:path>
              </a:pathLst>
            </a:custGeom>
            <a:solidFill>
              <a:schemeClr val="accent6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1"/>
            <a:lstStyle/>
            <a:p>
              <a:pPr algn="ctr"/>
              <a:endParaRPr lang="en-US" sz="3187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D0BC38A0-6FB5-9D2D-3847-9AF7E8756F93}"/>
              </a:ext>
            </a:extLst>
          </p:cNvPr>
          <p:cNvSpPr/>
          <p:nvPr/>
        </p:nvSpPr>
        <p:spPr>
          <a:xfrm flipH="1">
            <a:off x="9265041" y="4412575"/>
            <a:ext cx="504631" cy="121964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endParaRPr lang="en-US" sz="2400" dirty="0" err="1">
              <a:solidFill>
                <a:schemeClr val="tx1"/>
              </a:solidFill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48EB39A8-7504-622B-D7A5-5710007E3A41}"/>
              </a:ext>
            </a:extLst>
          </p:cNvPr>
          <p:cNvSpPr/>
          <p:nvPr/>
        </p:nvSpPr>
        <p:spPr>
          <a:xfrm>
            <a:off x="9887053" y="3775501"/>
            <a:ext cx="1396116" cy="1396115"/>
          </a:xfrm>
          <a:prstGeom prst="ellipse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Insert heading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9B09B785-ADE3-E63C-23DA-1EBF0CC31045}"/>
              </a:ext>
            </a:extLst>
          </p:cNvPr>
          <p:cNvSpPr/>
          <p:nvPr/>
        </p:nvSpPr>
        <p:spPr>
          <a:xfrm>
            <a:off x="6347377" y="4412577"/>
            <a:ext cx="504631" cy="121964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endParaRPr lang="en-US" sz="3187" dirty="0" err="1">
              <a:solidFill>
                <a:schemeClr val="tx1"/>
              </a:solidFill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A86E2DA2-87B2-00A0-C5B8-02D8843E798B}"/>
              </a:ext>
            </a:extLst>
          </p:cNvPr>
          <p:cNvSpPr/>
          <p:nvPr/>
        </p:nvSpPr>
        <p:spPr>
          <a:xfrm flipH="1">
            <a:off x="4833880" y="3775503"/>
            <a:ext cx="1396116" cy="1396115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Insert heading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E5BDA18-99B7-7968-1BC6-20CC117B7EBF}"/>
              </a:ext>
            </a:extLst>
          </p:cNvPr>
          <p:cNvSpPr txBox="1"/>
          <p:nvPr/>
        </p:nvSpPr>
        <p:spPr>
          <a:xfrm flipH="1">
            <a:off x="878671" y="1841029"/>
            <a:ext cx="3597749" cy="3652282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spcBef>
                <a:spcPts val="1596"/>
              </a:spcBef>
            </a:pPr>
            <a:r>
              <a:rPr lang="en-US" b="1" dirty="0">
                <a:solidFill>
                  <a:schemeClr val="tx2"/>
                </a:solidFill>
              </a:rPr>
              <a:t>Heading</a:t>
            </a:r>
          </a:p>
          <a:p>
            <a:pPr marL="290822" indent="-290822">
              <a:spcBef>
                <a:spcPts val="1596"/>
              </a:spcBef>
              <a:buFont typeface="Arial" panose="020B0604020202020204" pitchFamily="34" charset="0"/>
              <a:buChar char="•"/>
            </a:pPr>
            <a:r>
              <a:rPr lang="en-US" dirty="0"/>
              <a:t>Insert your text here</a:t>
            </a:r>
          </a:p>
          <a:p>
            <a:pPr marL="290822" indent="-290822">
              <a:spcBef>
                <a:spcPts val="1596"/>
              </a:spcBef>
              <a:buFont typeface="Arial" panose="020B0604020202020204" pitchFamily="34" charset="0"/>
              <a:buChar char="•"/>
            </a:pPr>
            <a:r>
              <a:rPr lang="en-US" dirty="0"/>
              <a:t>Insert your text here</a:t>
            </a:r>
          </a:p>
          <a:p>
            <a:pPr marL="290822" indent="-290822">
              <a:spcBef>
                <a:spcPts val="1596"/>
              </a:spcBef>
              <a:buFont typeface="Arial" panose="020B0604020202020204" pitchFamily="34" charset="0"/>
              <a:buChar char="•"/>
            </a:pPr>
            <a:r>
              <a:rPr lang="en-US" dirty="0"/>
              <a:t>Insert your text here</a:t>
            </a:r>
          </a:p>
          <a:p>
            <a:pPr marL="290822" indent="-290822">
              <a:spcBef>
                <a:spcPts val="1596"/>
              </a:spcBef>
              <a:buFont typeface="Arial" panose="020B0604020202020204" pitchFamily="34" charset="0"/>
              <a:buChar char="•"/>
            </a:pPr>
            <a:r>
              <a:rPr lang="en-US" dirty="0"/>
              <a:t>Insert your text here</a:t>
            </a:r>
          </a:p>
          <a:p>
            <a:pPr marL="290822" indent="-290822">
              <a:spcBef>
                <a:spcPts val="1596"/>
              </a:spcBef>
              <a:buFont typeface="Arial" panose="020B0604020202020204" pitchFamily="34" charset="0"/>
              <a:buChar char="•"/>
            </a:pPr>
            <a:r>
              <a:rPr lang="en-US" dirty="0"/>
              <a:t>Insert your text here</a:t>
            </a:r>
          </a:p>
          <a:p>
            <a:pPr marL="290822" indent="-290822">
              <a:spcBef>
                <a:spcPts val="1596"/>
              </a:spcBef>
              <a:buFont typeface="Arial" panose="020B0604020202020204" pitchFamily="34" charset="0"/>
              <a:buChar char="•"/>
            </a:pPr>
            <a:r>
              <a:rPr lang="en-US" dirty="0"/>
              <a:t>Insert your text here</a:t>
            </a:r>
          </a:p>
          <a:p>
            <a:pPr marL="290822" indent="-290822">
              <a:spcBef>
                <a:spcPts val="1596"/>
              </a:spcBef>
              <a:buFont typeface="Arial" panose="020B0604020202020204" pitchFamily="34" charset="0"/>
              <a:buChar char="•"/>
            </a:pPr>
            <a:r>
              <a:rPr lang="en-US" dirty="0"/>
              <a:t>Insert your text here</a:t>
            </a:r>
          </a:p>
        </p:txBody>
      </p:sp>
    </p:spTree>
    <p:extLst>
      <p:ext uri="{BB962C8B-B14F-4D97-AF65-F5344CB8AC3E}">
        <p14:creationId xmlns:p14="http://schemas.microsoft.com/office/powerpoint/2010/main" val="242869942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262C199-4222-E3F9-5545-255DFDB822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think-cell data - do not delete" hidden="1">
            <a:extLst>
              <a:ext uri="{FF2B5EF4-FFF2-40B4-BE49-F238E27FC236}">
                <a16:creationId xmlns:a16="http://schemas.microsoft.com/office/drawing/2014/main" id="{9BE1D62B-6C20-E48B-AE64-FCB63B189F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97473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560F8C0-8C58-64B1-B99C-2ED44E6345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x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2B5299A-43FD-239E-D222-0B31263FA6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6</a:t>
            </a:fld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50F34361-AEBD-032B-95A9-D2E66BC9F8DF}"/>
              </a:ext>
            </a:extLst>
          </p:cNvPr>
          <p:cNvGrpSpPr/>
          <p:nvPr/>
        </p:nvGrpSpPr>
        <p:grpSpPr>
          <a:xfrm>
            <a:off x="1379614" y="1454962"/>
            <a:ext cx="5237779" cy="623537"/>
            <a:chOff x="5138982" y="3547585"/>
            <a:chExt cx="2638320" cy="623537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32AE428E-2BA2-D799-F2D5-85B134CB9B81}"/>
                </a:ext>
              </a:extLst>
            </p:cNvPr>
            <p:cNvSpPr txBox="1">
              <a:spLocks/>
            </p:cNvSpPr>
            <p:nvPr/>
          </p:nvSpPr>
          <p:spPr>
            <a:xfrm>
              <a:off x="5138982" y="3547585"/>
              <a:ext cx="2638320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rPr>
                <a:t>Title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05BEB348-84CA-B4B4-3738-BBE548760EE5}"/>
                </a:ext>
              </a:extLst>
            </p:cNvPr>
            <p:cNvSpPr txBox="1">
              <a:spLocks/>
            </p:cNvSpPr>
            <p:nvPr/>
          </p:nvSpPr>
          <p:spPr>
            <a:xfrm>
              <a:off x="5138982" y="3924901"/>
              <a:ext cx="2638320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rPr>
                <a:t>Insert Text Here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CA0B2AA0-73AB-E0F5-9910-9F7840401014}"/>
              </a:ext>
            </a:extLst>
          </p:cNvPr>
          <p:cNvGrpSpPr/>
          <p:nvPr/>
        </p:nvGrpSpPr>
        <p:grpSpPr>
          <a:xfrm>
            <a:off x="1379614" y="2436249"/>
            <a:ext cx="5237779" cy="623537"/>
            <a:chOff x="5138982" y="3547585"/>
            <a:chExt cx="2638320" cy="623537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BFBA2C6B-2AC4-C94B-768D-DAD8811564ED}"/>
                </a:ext>
              </a:extLst>
            </p:cNvPr>
            <p:cNvSpPr txBox="1">
              <a:spLocks/>
            </p:cNvSpPr>
            <p:nvPr/>
          </p:nvSpPr>
          <p:spPr>
            <a:xfrm>
              <a:off x="5138982" y="3547585"/>
              <a:ext cx="2638320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rPr>
                <a:t>Title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DCB793B1-C24E-9C0F-4CDE-A1FF3CB1D310}"/>
                </a:ext>
              </a:extLst>
            </p:cNvPr>
            <p:cNvSpPr txBox="1">
              <a:spLocks/>
            </p:cNvSpPr>
            <p:nvPr/>
          </p:nvSpPr>
          <p:spPr>
            <a:xfrm>
              <a:off x="5138982" y="3924901"/>
              <a:ext cx="2638320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rPr>
                <a:t>Insert Text Here</a:t>
              </a: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6422C400-1B80-AE73-CC78-53F42A3128F9}"/>
              </a:ext>
            </a:extLst>
          </p:cNvPr>
          <p:cNvGrpSpPr/>
          <p:nvPr/>
        </p:nvGrpSpPr>
        <p:grpSpPr>
          <a:xfrm>
            <a:off x="1379614" y="3417536"/>
            <a:ext cx="5237779" cy="623537"/>
            <a:chOff x="5138982" y="3547585"/>
            <a:chExt cx="2638320" cy="623537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1BC3331A-650A-D915-ACCC-58840D4583E5}"/>
                </a:ext>
              </a:extLst>
            </p:cNvPr>
            <p:cNvSpPr txBox="1">
              <a:spLocks/>
            </p:cNvSpPr>
            <p:nvPr/>
          </p:nvSpPr>
          <p:spPr>
            <a:xfrm>
              <a:off x="5138982" y="3547585"/>
              <a:ext cx="2638320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rPr>
                <a:t>Title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F8369F5E-94C1-E77C-050F-789ECE42BB31}"/>
                </a:ext>
              </a:extLst>
            </p:cNvPr>
            <p:cNvSpPr txBox="1">
              <a:spLocks/>
            </p:cNvSpPr>
            <p:nvPr/>
          </p:nvSpPr>
          <p:spPr>
            <a:xfrm>
              <a:off x="5138982" y="3924901"/>
              <a:ext cx="2638320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rPr>
                <a:t>Insert Text Here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8AFD62AC-A25F-6ED7-5BF0-63D3FF563E50}"/>
              </a:ext>
            </a:extLst>
          </p:cNvPr>
          <p:cNvGrpSpPr/>
          <p:nvPr/>
        </p:nvGrpSpPr>
        <p:grpSpPr>
          <a:xfrm>
            <a:off x="1379614" y="5380109"/>
            <a:ext cx="5237779" cy="623537"/>
            <a:chOff x="5138982" y="3547585"/>
            <a:chExt cx="2638320" cy="623537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A6D84CBA-CF53-42F4-1482-F1D1D555D519}"/>
                </a:ext>
              </a:extLst>
            </p:cNvPr>
            <p:cNvSpPr txBox="1">
              <a:spLocks/>
            </p:cNvSpPr>
            <p:nvPr/>
          </p:nvSpPr>
          <p:spPr>
            <a:xfrm>
              <a:off x="5138982" y="3547585"/>
              <a:ext cx="2638320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rPr>
                <a:t>Title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9AA1000A-80EA-ACB6-576A-F13572CF800A}"/>
                </a:ext>
              </a:extLst>
            </p:cNvPr>
            <p:cNvSpPr txBox="1">
              <a:spLocks/>
            </p:cNvSpPr>
            <p:nvPr/>
          </p:nvSpPr>
          <p:spPr>
            <a:xfrm>
              <a:off x="5138982" y="3924901"/>
              <a:ext cx="2638320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rPr>
                <a:t>Insert Text Here</a:t>
              </a: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F477DEB7-673E-7632-CFD0-5ABAB4C7EC55}"/>
              </a:ext>
            </a:extLst>
          </p:cNvPr>
          <p:cNvGrpSpPr/>
          <p:nvPr/>
        </p:nvGrpSpPr>
        <p:grpSpPr>
          <a:xfrm>
            <a:off x="1379614" y="4398823"/>
            <a:ext cx="5237779" cy="623537"/>
            <a:chOff x="5138982" y="3547585"/>
            <a:chExt cx="2638320" cy="623537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60D03861-845F-8650-8837-497545B1BFDB}"/>
                </a:ext>
              </a:extLst>
            </p:cNvPr>
            <p:cNvSpPr txBox="1">
              <a:spLocks/>
            </p:cNvSpPr>
            <p:nvPr/>
          </p:nvSpPr>
          <p:spPr>
            <a:xfrm>
              <a:off x="5138982" y="3547585"/>
              <a:ext cx="2638320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rPr>
                <a:t>Title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B129CA51-5C55-20A2-4379-B306FB058A3E}"/>
                </a:ext>
              </a:extLst>
            </p:cNvPr>
            <p:cNvSpPr txBox="1">
              <a:spLocks/>
            </p:cNvSpPr>
            <p:nvPr/>
          </p:nvSpPr>
          <p:spPr>
            <a:xfrm>
              <a:off x="5138982" y="3924901"/>
              <a:ext cx="2638320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rPr>
                <a:t>Insert Text Here</a:t>
              </a: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DF5887B1-2F6E-649E-7E43-2C2F734F8F75}"/>
              </a:ext>
            </a:extLst>
          </p:cNvPr>
          <p:cNvGrpSpPr/>
          <p:nvPr/>
        </p:nvGrpSpPr>
        <p:grpSpPr>
          <a:xfrm>
            <a:off x="550862" y="1447915"/>
            <a:ext cx="603372" cy="601760"/>
            <a:chOff x="454269" y="1828800"/>
            <a:chExt cx="839005" cy="836765"/>
          </a:xfrm>
        </p:grpSpPr>
        <p:sp>
          <p:nvSpPr>
            <p:cNvPr id="21" name="Freeform 48">
              <a:extLst>
                <a:ext uri="{FF2B5EF4-FFF2-40B4-BE49-F238E27FC236}">
                  <a16:creationId xmlns:a16="http://schemas.microsoft.com/office/drawing/2014/main" id="{9004A44E-47E3-22C9-B977-003BC661EA4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4269" y="1828800"/>
              <a:ext cx="839005" cy="836765"/>
            </a:xfrm>
            <a:custGeom>
              <a:avLst/>
              <a:gdLst>
                <a:gd name="T0" fmla="*/ 151 w 158"/>
                <a:gd name="T1" fmla="*/ 64 h 158"/>
                <a:gd name="T2" fmla="*/ 137 w 158"/>
                <a:gd name="T3" fmla="*/ 60 h 158"/>
                <a:gd name="T4" fmla="*/ 133 w 158"/>
                <a:gd name="T5" fmla="*/ 51 h 158"/>
                <a:gd name="T6" fmla="*/ 141 w 158"/>
                <a:gd name="T7" fmla="*/ 39 h 158"/>
                <a:gd name="T8" fmla="*/ 139 w 158"/>
                <a:gd name="T9" fmla="*/ 26 h 158"/>
                <a:gd name="T10" fmla="*/ 132 w 158"/>
                <a:gd name="T11" fmla="*/ 19 h 158"/>
                <a:gd name="T12" fmla="*/ 119 w 158"/>
                <a:gd name="T13" fmla="*/ 18 h 158"/>
                <a:gd name="T14" fmla="*/ 107 w 158"/>
                <a:gd name="T15" fmla="*/ 25 h 158"/>
                <a:gd name="T16" fmla="*/ 98 w 158"/>
                <a:gd name="T17" fmla="*/ 21 h 158"/>
                <a:gd name="T18" fmla="*/ 95 w 158"/>
                <a:gd name="T19" fmla="*/ 7 h 158"/>
                <a:gd name="T20" fmla="*/ 84 w 158"/>
                <a:gd name="T21" fmla="*/ 0 h 158"/>
                <a:gd name="T22" fmla="*/ 74 w 158"/>
                <a:gd name="T23" fmla="*/ 0 h 158"/>
                <a:gd name="T24" fmla="*/ 64 w 158"/>
                <a:gd name="T25" fmla="*/ 7 h 158"/>
                <a:gd name="T26" fmla="*/ 61 w 158"/>
                <a:gd name="T27" fmla="*/ 21 h 158"/>
                <a:gd name="T28" fmla="*/ 52 w 158"/>
                <a:gd name="T29" fmla="*/ 25 h 158"/>
                <a:gd name="T30" fmla="*/ 40 w 158"/>
                <a:gd name="T31" fmla="*/ 18 h 158"/>
                <a:gd name="T32" fmla="*/ 27 w 158"/>
                <a:gd name="T33" fmla="*/ 19 h 158"/>
                <a:gd name="T34" fmla="*/ 20 w 158"/>
                <a:gd name="T35" fmla="*/ 26 h 158"/>
                <a:gd name="T36" fmla="*/ 18 w 158"/>
                <a:gd name="T37" fmla="*/ 39 h 158"/>
                <a:gd name="T38" fmla="*/ 26 w 158"/>
                <a:gd name="T39" fmla="*/ 51 h 158"/>
                <a:gd name="T40" fmla="*/ 22 w 158"/>
                <a:gd name="T41" fmla="*/ 60 h 158"/>
                <a:gd name="T42" fmla="*/ 8 w 158"/>
                <a:gd name="T43" fmla="*/ 64 h 158"/>
                <a:gd name="T44" fmla="*/ 0 w 158"/>
                <a:gd name="T45" fmla="*/ 74 h 158"/>
                <a:gd name="T46" fmla="*/ 0 w 158"/>
                <a:gd name="T47" fmla="*/ 84 h 158"/>
                <a:gd name="T48" fmla="*/ 8 w 158"/>
                <a:gd name="T49" fmla="*/ 94 h 158"/>
                <a:gd name="T50" fmla="*/ 22 w 158"/>
                <a:gd name="T51" fmla="*/ 98 h 158"/>
                <a:gd name="T52" fmla="*/ 26 w 158"/>
                <a:gd name="T53" fmla="*/ 106 h 158"/>
                <a:gd name="T54" fmla="*/ 18 w 158"/>
                <a:gd name="T55" fmla="*/ 118 h 158"/>
                <a:gd name="T56" fmla="*/ 20 w 158"/>
                <a:gd name="T57" fmla="*/ 131 h 158"/>
                <a:gd name="T58" fmla="*/ 27 w 158"/>
                <a:gd name="T59" fmla="*/ 138 h 158"/>
                <a:gd name="T60" fmla="*/ 40 w 158"/>
                <a:gd name="T61" fmla="*/ 140 h 158"/>
                <a:gd name="T62" fmla="*/ 52 w 158"/>
                <a:gd name="T63" fmla="*/ 133 h 158"/>
                <a:gd name="T64" fmla="*/ 61 w 158"/>
                <a:gd name="T65" fmla="*/ 136 h 158"/>
                <a:gd name="T66" fmla="*/ 64 w 158"/>
                <a:gd name="T67" fmla="*/ 150 h 158"/>
                <a:gd name="T68" fmla="*/ 74 w 158"/>
                <a:gd name="T69" fmla="*/ 158 h 158"/>
                <a:gd name="T70" fmla="*/ 84 w 158"/>
                <a:gd name="T71" fmla="*/ 158 h 158"/>
                <a:gd name="T72" fmla="*/ 95 w 158"/>
                <a:gd name="T73" fmla="*/ 150 h 158"/>
                <a:gd name="T74" fmla="*/ 98 w 158"/>
                <a:gd name="T75" fmla="*/ 136 h 158"/>
                <a:gd name="T76" fmla="*/ 107 w 158"/>
                <a:gd name="T77" fmla="*/ 133 h 158"/>
                <a:gd name="T78" fmla="*/ 119 w 158"/>
                <a:gd name="T79" fmla="*/ 140 h 158"/>
                <a:gd name="T80" fmla="*/ 132 w 158"/>
                <a:gd name="T81" fmla="*/ 138 h 158"/>
                <a:gd name="T82" fmla="*/ 139 w 158"/>
                <a:gd name="T83" fmla="*/ 131 h 158"/>
                <a:gd name="T84" fmla="*/ 141 w 158"/>
                <a:gd name="T85" fmla="*/ 118 h 158"/>
                <a:gd name="T86" fmla="*/ 133 w 158"/>
                <a:gd name="T87" fmla="*/ 106 h 158"/>
                <a:gd name="T88" fmla="*/ 137 w 158"/>
                <a:gd name="T89" fmla="*/ 98 h 158"/>
                <a:gd name="T90" fmla="*/ 151 w 158"/>
                <a:gd name="T91" fmla="*/ 94 h 158"/>
                <a:gd name="T92" fmla="*/ 158 w 158"/>
                <a:gd name="T93" fmla="*/ 84 h 158"/>
                <a:gd name="T94" fmla="*/ 158 w 158"/>
                <a:gd name="T95" fmla="*/ 74 h 158"/>
                <a:gd name="T96" fmla="*/ 151 w 158"/>
                <a:gd name="T97" fmla="*/ 64 h 158"/>
                <a:gd name="T98" fmla="*/ 79 w 158"/>
                <a:gd name="T99" fmla="*/ 127 h 158"/>
                <a:gd name="T100" fmla="*/ 32 w 158"/>
                <a:gd name="T101" fmla="*/ 79 h 158"/>
                <a:gd name="T102" fmla="*/ 79 w 158"/>
                <a:gd name="T103" fmla="*/ 31 h 158"/>
                <a:gd name="T104" fmla="*/ 127 w 158"/>
                <a:gd name="T105" fmla="*/ 79 h 158"/>
                <a:gd name="T106" fmla="*/ 79 w 158"/>
                <a:gd name="T107" fmla="*/ 127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58" h="158">
                  <a:moveTo>
                    <a:pt x="151" y="64"/>
                  </a:moveTo>
                  <a:cubicBezTo>
                    <a:pt x="137" y="60"/>
                    <a:pt x="137" y="60"/>
                    <a:pt x="137" y="60"/>
                  </a:cubicBezTo>
                  <a:cubicBezTo>
                    <a:pt x="136" y="57"/>
                    <a:pt x="135" y="54"/>
                    <a:pt x="133" y="51"/>
                  </a:cubicBezTo>
                  <a:cubicBezTo>
                    <a:pt x="141" y="39"/>
                    <a:pt x="141" y="39"/>
                    <a:pt x="141" y="39"/>
                  </a:cubicBezTo>
                  <a:cubicBezTo>
                    <a:pt x="143" y="35"/>
                    <a:pt x="142" y="30"/>
                    <a:pt x="139" y="26"/>
                  </a:cubicBezTo>
                  <a:cubicBezTo>
                    <a:pt x="132" y="19"/>
                    <a:pt x="132" y="19"/>
                    <a:pt x="132" y="19"/>
                  </a:cubicBezTo>
                  <a:cubicBezTo>
                    <a:pt x="129" y="16"/>
                    <a:pt x="123" y="15"/>
                    <a:pt x="119" y="18"/>
                  </a:cubicBezTo>
                  <a:cubicBezTo>
                    <a:pt x="107" y="25"/>
                    <a:pt x="107" y="25"/>
                    <a:pt x="107" y="25"/>
                  </a:cubicBezTo>
                  <a:cubicBezTo>
                    <a:pt x="104" y="23"/>
                    <a:pt x="101" y="22"/>
                    <a:pt x="98" y="21"/>
                  </a:cubicBezTo>
                  <a:cubicBezTo>
                    <a:pt x="95" y="7"/>
                    <a:pt x="95" y="7"/>
                    <a:pt x="95" y="7"/>
                  </a:cubicBezTo>
                  <a:cubicBezTo>
                    <a:pt x="93" y="3"/>
                    <a:pt x="89" y="0"/>
                    <a:pt x="84" y="0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70" y="0"/>
                    <a:pt x="66" y="3"/>
                    <a:pt x="64" y="7"/>
                  </a:cubicBezTo>
                  <a:cubicBezTo>
                    <a:pt x="61" y="21"/>
                    <a:pt x="61" y="21"/>
                    <a:pt x="61" y="21"/>
                  </a:cubicBezTo>
                  <a:cubicBezTo>
                    <a:pt x="58" y="22"/>
                    <a:pt x="55" y="23"/>
                    <a:pt x="52" y="25"/>
                  </a:cubicBezTo>
                  <a:cubicBezTo>
                    <a:pt x="40" y="18"/>
                    <a:pt x="40" y="18"/>
                    <a:pt x="40" y="18"/>
                  </a:cubicBezTo>
                  <a:cubicBezTo>
                    <a:pt x="36" y="15"/>
                    <a:pt x="30" y="16"/>
                    <a:pt x="27" y="19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17" y="30"/>
                    <a:pt x="16" y="35"/>
                    <a:pt x="18" y="39"/>
                  </a:cubicBezTo>
                  <a:cubicBezTo>
                    <a:pt x="26" y="51"/>
                    <a:pt x="26" y="51"/>
                    <a:pt x="26" y="51"/>
                  </a:cubicBezTo>
                  <a:cubicBezTo>
                    <a:pt x="24" y="54"/>
                    <a:pt x="23" y="57"/>
                    <a:pt x="22" y="60"/>
                  </a:cubicBezTo>
                  <a:cubicBezTo>
                    <a:pt x="8" y="64"/>
                    <a:pt x="8" y="64"/>
                    <a:pt x="8" y="64"/>
                  </a:cubicBezTo>
                  <a:cubicBezTo>
                    <a:pt x="4" y="65"/>
                    <a:pt x="0" y="69"/>
                    <a:pt x="0" y="74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0" y="88"/>
                    <a:pt x="4" y="93"/>
                    <a:pt x="8" y="94"/>
                  </a:cubicBezTo>
                  <a:cubicBezTo>
                    <a:pt x="22" y="98"/>
                    <a:pt x="22" y="98"/>
                    <a:pt x="22" y="98"/>
                  </a:cubicBezTo>
                  <a:cubicBezTo>
                    <a:pt x="23" y="100"/>
                    <a:pt x="24" y="103"/>
                    <a:pt x="26" y="106"/>
                  </a:cubicBezTo>
                  <a:cubicBezTo>
                    <a:pt x="18" y="118"/>
                    <a:pt x="18" y="118"/>
                    <a:pt x="18" y="118"/>
                  </a:cubicBezTo>
                  <a:cubicBezTo>
                    <a:pt x="16" y="122"/>
                    <a:pt x="17" y="128"/>
                    <a:pt x="20" y="131"/>
                  </a:cubicBezTo>
                  <a:cubicBezTo>
                    <a:pt x="27" y="138"/>
                    <a:pt x="27" y="138"/>
                    <a:pt x="27" y="138"/>
                  </a:cubicBezTo>
                  <a:cubicBezTo>
                    <a:pt x="30" y="141"/>
                    <a:pt x="36" y="142"/>
                    <a:pt x="40" y="140"/>
                  </a:cubicBezTo>
                  <a:cubicBezTo>
                    <a:pt x="52" y="133"/>
                    <a:pt x="52" y="133"/>
                    <a:pt x="52" y="133"/>
                  </a:cubicBezTo>
                  <a:cubicBezTo>
                    <a:pt x="55" y="134"/>
                    <a:pt x="58" y="135"/>
                    <a:pt x="61" y="136"/>
                  </a:cubicBezTo>
                  <a:cubicBezTo>
                    <a:pt x="64" y="150"/>
                    <a:pt x="64" y="150"/>
                    <a:pt x="64" y="150"/>
                  </a:cubicBezTo>
                  <a:cubicBezTo>
                    <a:pt x="66" y="154"/>
                    <a:pt x="70" y="158"/>
                    <a:pt x="74" y="158"/>
                  </a:cubicBezTo>
                  <a:cubicBezTo>
                    <a:pt x="84" y="158"/>
                    <a:pt x="84" y="158"/>
                    <a:pt x="84" y="158"/>
                  </a:cubicBezTo>
                  <a:cubicBezTo>
                    <a:pt x="89" y="158"/>
                    <a:pt x="93" y="154"/>
                    <a:pt x="95" y="150"/>
                  </a:cubicBezTo>
                  <a:cubicBezTo>
                    <a:pt x="98" y="136"/>
                    <a:pt x="98" y="136"/>
                    <a:pt x="98" y="136"/>
                  </a:cubicBezTo>
                  <a:cubicBezTo>
                    <a:pt x="101" y="135"/>
                    <a:pt x="104" y="134"/>
                    <a:pt x="107" y="133"/>
                  </a:cubicBezTo>
                  <a:cubicBezTo>
                    <a:pt x="119" y="140"/>
                    <a:pt x="119" y="140"/>
                    <a:pt x="119" y="140"/>
                  </a:cubicBezTo>
                  <a:cubicBezTo>
                    <a:pt x="123" y="142"/>
                    <a:pt x="129" y="141"/>
                    <a:pt x="132" y="138"/>
                  </a:cubicBezTo>
                  <a:cubicBezTo>
                    <a:pt x="139" y="131"/>
                    <a:pt x="139" y="131"/>
                    <a:pt x="139" y="131"/>
                  </a:cubicBezTo>
                  <a:cubicBezTo>
                    <a:pt x="142" y="128"/>
                    <a:pt x="143" y="122"/>
                    <a:pt x="141" y="118"/>
                  </a:cubicBezTo>
                  <a:cubicBezTo>
                    <a:pt x="133" y="106"/>
                    <a:pt x="133" y="106"/>
                    <a:pt x="133" y="106"/>
                  </a:cubicBezTo>
                  <a:cubicBezTo>
                    <a:pt x="135" y="103"/>
                    <a:pt x="136" y="100"/>
                    <a:pt x="137" y="98"/>
                  </a:cubicBezTo>
                  <a:cubicBezTo>
                    <a:pt x="151" y="94"/>
                    <a:pt x="151" y="94"/>
                    <a:pt x="151" y="94"/>
                  </a:cubicBezTo>
                  <a:cubicBezTo>
                    <a:pt x="155" y="93"/>
                    <a:pt x="158" y="88"/>
                    <a:pt x="158" y="84"/>
                  </a:cubicBezTo>
                  <a:cubicBezTo>
                    <a:pt x="158" y="74"/>
                    <a:pt x="158" y="74"/>
                    <a:pt x="158" y="74"/>
                  </a:cubicBezTo>
                  <a:cubicBezTo>
                    <a:pt x="158" y="69"/>
                    <a:pt x="155" y="65"/>
                    <a:pt x="151" y="64"/>
                  </a:cubicBezTo>
                  <a:close/>
                  <a:moveTo>
                    <a:pt x="79" y="127"/>
                  </a:moveTo>
                  <a:cubicBezTo>
                    <a:pt x="53" y="127"/>
                    <a:pt x="32" y="105"/>
                    <a:pt x="32" y="79"/>
                  </a:cubicBezTo>
                  <a:cubicBezTo>
                    <a:pt x="32" y="52"/>
                    <a:pt x="53" y="31"/>
                    <a:pt x="79" y="31"/>
                  </a:cubicBezTo>
                  <a:cubicBezTo>
                    <a:pt x="106" y="31"/>
                    <a:pt x="127" y="52"/>
                    <a:pt x="127" y="79"/>
                  </a:cubicBezTo>
                  <a:cubicBezTo>
                    <a:pt x="127" y="105"/>
                    <a:pt x="106" y="127"/>
                    <a:pt x="79" y="12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328CC708-0AE8-172C-F560-06FF67E26223}"/>
                </a:ext>
              </a:extLst>
            </p:cNvPr>
            <p:cNvSpPr/>
            <p:nvPr/>
          </p:nvSpPr>
          <p:spPr>
            <a:xfrm>
              <a:off x="604542" y="1977953"/>
              <a:ext cx="538458" cy="538458"/>
            </a:xfrm>
            <a:prstGeom prst="ellipse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+mn-cs"/>
                </a:rPr>
                <a:t>01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7E1FE3B2-CC72-7452-5DFC-D99287D4AAE8}"/>
              </a:ext>
            </a:extLst>
          </p:cNvPr>
          <p:cNvGrpSpPr/>
          <p:nvPr/>
        </p:nvGrpSpPr>
        <p:grpSpPr>
          <a:xfrm>
            <a:off x="550862" y="2433685"/>
            <a:ext cx="603372" cy="601760"/>
            <a:chOff x="454269" y="1828800"/>
            <a:chExt cx="839005" cy="836765"/>
          </a:xfrm>
        </p:grpSpPr>
        <p:sp>
          <p:nvSpPr>
            <p:cNvPr id="24" name="Freeform 48">
              <a:extLst>
                <a:ext uri="{FF2B5EF4-FFF2-40B4-BE49-F238E27FC236}">
                  <a16:creationId xmlns:a16="http://schemas.microsoft.com/office/drawing/2014/main" id="{74F85D8C-2AEC-093C-703F-BBCA7340C8D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4269" y="1828800"/>
              <a:ext cx="839005" cy="836765"/>
            </a:xfrm>
            <a:custGeom>
              <a:avLst/>
              <a:gdLst>
                <a:gd name="T0" fmla="*/ 151 w 158"/>
                <a:gd name="T1" fmla="*/ 64 h 158"/>
                <a:gd name="T2" fmla="*/ 137 w 158"/>
                <a:gd name="T3" fmla="*/ 60 h 158"/>
                <a:gd name="T4" fmla="*/ 133 w 158"/>
                <a:gd name="T5" fmla="*/ 51 h 158"/>
                <a:gd name="T6" fmla="*/ 141 w 158"/>
                <a:gd name="T7" fmla="*/ 39 h 158"/>
                <a:gd name="T8" fmla="*/ 139 w 158"/>
                <a:gd name="T9" fmla="*/ 26 h 158"/>
                <a:gd name="T10" fmla="*/ 132 w 158"/>
                <a:gd name="T11" fmla="*/ 19 h 158"/>
                <a:gd name="T12" fmla="*/ 119 w 158"/>
                <a:gd name="T13" fmla="*/ 18 h 158"/>
                <a:gd name="T14" fmla="*/ 107 w 158"/>
                <a:gd name="T15" fmla="*/ 25 h 158"/>
                <a:gd name="T16" fmla="*/ 98 w 158"/>
                <a:gd name="T17" fmla="*/ 21 h 158"/>
                <a:gd name="T18" fmla="*/ 95 w 158"/>
                <a:gd name="T19" fmla="*/ 7 h 158"/>
                <a:gd name="T20" fmla="*/ 84 w 158"/>
                <a:gd name="T21" fmla="*/ 0 h 158"/>
                <a:gd name="T22" fmla="*/ 74 w 158"/>
                <a:gd name="T23" fmla="*/ 0 h 158"/>
                <a:gd name="T24" fmla="*/ 64 w 158"/>
                <a:gd name="T25" fmla="*/ 7 h 158"/>
                <a:gd name="T26" fmla="*/ 61 w 158"/>
                <a:gd name="T27" fmla="*/ 21 h 158"/>
                <a:gd name="T28" fmla="*/ 52 w 158"/>
                <a:gd name="T29" fmla="*/ 25 h 158"/>
                <a:gd name="T30" fmla="*/ 40 w 158"/>
                <a:gd name="T31" fmla="*/ 18 h 158"/>
                <a:gd name="T32" fmla="*/ 27 w 158"/>
                <a:gd name="T33" fmla="*/ 19 h 158"/>
                <a:gd name="T34" fmla="*/ 20 w 158"/>
                <a:gd name="T35" fmla="*/ 26 h 158"/>
                <a:gd name="T36" fmla="*/ 18 w 158"/>
                <a:gd name="T37" fmla="*/ 39 h 158"/>
                <a:gd name="T38" fmla="*/ 26 w 158"/>
                <a:gd name="T39" fmla="*/ 51 h 158"/>
                <a:gd name="T40" fmla="*/ 22 w 158"/>
                <a:gd name="T41" fmla="*/ 60 h 158"/>
                <a:gd name="T42" fmla="*/ 8 w 158"/>
                <a:gd name="T43" fmla="*/ 64 h 158"/>
                <a:gd name="T44" fmla="*/ 0 w 158"/>
                <a:gd name="T45" fmla="*/ 74 h 158"/>
                <a:gd name="T46" fmla="*/ 0 w 158"/>
                <a:gd name="T47" fmla="*/ 84 h 158"/>
                <a:gd name="T48" fmla="*/ 8 w 158"/>
                <a:gd name="T49" fmla="*/ 94 h 158"/>
                <a:gd name="T50" fmla="*/ 22 w 158"/>
                <a:gd name="T51" fmla="*/ 98 h 158"/>
                <a:gd name="T52" fmla="*/ 26 w 158"/>
                <a:gd name="T53" fmla="*/ 106 h 158"/>
                <a:gd name="T54" fmla="*/ 18 w 158"/>
                <a:gd name="T55" fmla="*/ 118 h 158"/>
                <a:gd name="T56" fmla="*/ 20 w 158"/>
                <a:gd name="T57" fmla="*/ 131 h 158"/>
                <a:gd name="T58" fmla="*/ 27 w 158"/>
                <a:gd name="T59" fmla="*/ 138 h 158"/>
                <a:gd name="T60" fmla="*/ 40 w 158"/>
                <a:gd name="T61" fmla="*/ 140 h 158"/>
                <a:gd name="T62" fmla="*/ 52 w 158"/>
                <a:gd name="T63" fmla="*/ 133 h 158"/>
                <a:gd name="T64" fmla="*/ 61 w 158"/>
                <a:gd name="T65" fmla="*/ 136 h 158"/>
                <a:gd name="T66" fmla="*/ 64 w 158"/>
                <a:gd name="T67" fmla="*/ 150 h 158"/>
                <a:gd name="T68" fmla="*/ 74 w 158"/>
                <a:gd name="T69" fmla="*/ 158 h 158"/>
                <a:gd name="T70" fmla="*/ 84 w 158"/>
                <a:gd name="T71" fmla="*/ 158 h 158"/>
                <a:gd name="T72" fmla="*/ 95 w 158"/>
                <a:gd name="T73" fmla="*/ 150 h 158"/>
                <a:gd name="T74" fmla="*/ 98 w 158"/>
                <a:gd name="T75" fmla="*/ 136 h 158"/>
                <a:gd name="T76" fmla="*/ 107 w 158"/>
                <a:gd name="T77" fmla="*/ 133 h 158"/>
                <a:gd name="T78" fmla="*/ 119 w 158"/>
                <a:gd name="T79" fmla="*/ 140 h 158"/>
                <a:gd name="T80" fmla="*/ 132 w 158"/>
                <a:gd name="T81" fmla="*/ 138 h 158"/>
                <a:gd name="T82" fmla="*/ 139 w 158"/>
                <a:gd name="T83" fmla="*/ 131 h 158"/>
                <a:gd name="T84" fmla="*/ 141 w 158"/>
                <a:gd name="T85" fmla="*/ 118 h 158"/>
                <a:gd name="T86" fmla="*/ 133 w 158"/>
                <a:gd name="T87" fmla="*/ 106 h 158"/>
                <a:gd name="T88" fmla="*/ 137 w 158"/>
                <a:gd name="T89" fmla="*/ 98 h 158"/>
                <a:gd name="T90" fmla="*/ 151 w 158"/>
                <a:gd name="T91" fmla="*/ 94 h 158"/>
                <a:gd name="T92" fmla="*/ 158 w 158"/>
                <a:gd name="T93" fmla="*/ 84 h 158"/>
                <a:gd name="T94" fmla="*/ 158 w 158"/>
                <a:gd name="T95" fmla="*/ 74 h 158"/>
                <a:gd name="T96" fmla="*/ 151 w 158"/>
                <a:gd name="T97" fmla="*/ 64 h 158"/>
                <a:gd name="T98" fmla="*/ 79 w 158"/>
                <a:gd name="T99" fmla="*/ 127 h 158"/>
                <a:gd name="T100" fmla="*/ 32 w 158"/>
                <a:gd name="T101" fmla="*/ 79 h 158"/>
                <a:gd name="T102" fmla="*/ 79 w 158"/>
                <a:gd name="T103" fmla="*/ 31 h 158"/>
                <a:gd name="T104" fmla="*/ 127 w 158"/>
                <a:gd name="T105" fmla="*/ 79 h 158"/>
                <a:gd name="T106" fmla="*/ 79 w 158"/>
                <a:gd name="T107" fmla="*/ 127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58" h="158">
                  <a:moveTo>
                    <a:pt x="151" y="64"/>
                  </a:moveTo>
                  <a:cubicBezTo>
                    <a:pt x="137" y="60"/>
                    <a:pt x="137" y="60"/>
                    <a:pt x="137" y="60"/>
                  </a:cubicBezTo>
                  <a:cubicBezTo>
                    <a:pt x="136" y="57"/>
                    <a:pt x="135" y="54"/>
                    <a:pt x="133" y="51"/>
                  </a:cubicBezTo>
                  <a:cubicBezTo>
                    <a:pt x="141" y="39"/>
                    <a:pt x="141" y="39"/>
                    <a:pt x="141" y="39"/>
                  </a:cubicBezTo>
                  <a:cubicBezTo>
                    <a:pt x="143" y="35"/>
                    <a:pt x="142" y="30"/>
                    <a:pt x="139" y="26"/>
                  </a:cubicBezTo>
                  <a:cubicBezTo>
                    <a:pt x="132" y="19"/>
                    <a:pt x="132" y="19"/>
                    <a:pt x="132" y="19"/>
                  </a:cubicBezTo>
                  <a:cubicBezTo>
                    <a:pt x="129" y="16"/>
                    <a:pt x="123" y="15"/>
                    <a:pt x="119" y="18"/>
                  </a:cubicBezTo>
                  <a:cubicBezTo>
                    <a:pt x="107" y="25"/>
                    <a:pt x="107" y="25"/>
                    <a:pt x="107" y="25"/>
                  </a:cubicBezTo>
                  <a:cubicBezTo>
                    <a:pt x="104" y="23"/>
                    <a:pt x="101" y="22"/>
                    <a:pt x="98" y="21"/>
                  </a:cubicBezTo>
                  <a:cubicBezTo>
                    <a:pt x="95" y="7"/>
                    <a:pt x="95" y="7"/>
                    <a:pt x="95" y="7"/>
                  </a:cubicBezTo>
                  <a:cubicBezTo>
                    <a:pt x="93" y="3"/>
                    <a:pt x="89" y="0"/>
                    <a:pt x="84" y="0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70" y="0"/>
                    <a:pt x="66" y="3"/>
                    <a:pt x="64" y="7"/>
                  </a:cubicBezTo>
                  <a:cubicBezTo>
                    <a:pt x="61" y="21"/>
                    <a:pt x="61" y="21"/>
                    <a:pt x="61" y="21"/>
                  </a:cubicBezTo>
                  <a:cubicBezTo>
                    <a:pt x="58" y="22"/>
                    <a:pt x="55" y="23"/>
                    <a:pt x="52" y="25"/>
                  </a:cubicBezTo>
                  <a:cubicBezTo>
                    <a:pt x="40" y="18"/>
                    <a:pt x="40" y="18"/>
                    <a:pt x="40" y="18"/>
                  </a:cubicBezTo>
                  <a:cubicBezTo>
                    <a:pt x="36" y="15"/>
                    <a:pt x="30" y="16"/>
                    <a:pt x="27" y="19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17" y="30"/>
                    <a:pt x="16" y="35"/>
                    <a:pt x="18" y="39"/>
                  </a:cubicBezTo>
                  <a:cubicBezTo>
                    <a:pt x="26" y="51"/>
                    <a:pt x="26" y="51"/>
                    <a:pt x="26" y="51"/>
                  </a:cubicBezTo>
                  <a:cubicBezTo>
                    <a:pt x="24" y="54"/>
                    <a:pt x="23" y="57"/>
                    <a:pt x="22" y="60"/>
                  </a:cubicBezTo>
                  <a:cubicBezTo>
                    <a:pt x="8" y="64"/>
                    <a:pt x="8" y="64"/>
                    <a:pt x="8" y="64"/>
                  </a:cubicBezTo>
                  <a:cubicBezTo>
                    <a:pt x="4" y="65"/>
                    <a:pt x="0" y="69"/>
                    <a:pt x="0" y="74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0" y="88"/>
                    <a:pt x="4" y="93"/>
                    <a:pt x="8" y="94"/>
                  </a:cubicBezTo>
                  <a:cubicBezTo>
                    <a:pt x="22" y="98"/>
                    <a:pt x="22" y="98"/>
                    <a:pt x="22" y="98"/>
                  </a:cubicBezTo>
                  <a:cubicBezTo>
                    <a:pt x="23" y="100"/>
                    <a:pt x="24" y="103"/>
                    <a:pt x="26" y="106"/>
                  </a:cubicBezTo>
                  <a:cubicBezTo>
                    <a:pt x="18" y="118"/>
                    <a:pt x="18" y="118"/>
                    <a:pt x="18" y="118"/>
                  </a:cubicBezTo>
                  <a:cubicBezTo>
                    <a:pt x="16" y="122"/>
                    <a:pt x="17" y="128"/>
                    <a:pt x="20" y="131"/>
                  </a:cubicBezTo>
                  <a:cubicBezTo>
                    <a:pt x="27" y="138"/>
                    <a:pt x="27" y="138"/>
                    <a:pt x="27" y="138"/>
                  </a:cubicBezTo>
                  <a:cubicBezTo>
                    <a:pt x="30" y="141"/>
                    <a:pt x="36" y="142"/>
                    <a:pt x="40" y="140"/>
                  </a:cubicBezTo>
                  <a:cubicBezTo>
                    <a:pt x="52" y="133"/>
                    <a:pt x="52" y="133"/>
                    <a:pt x="52" y="133"/>
                  </a:cubicBezTo>
                  <a:cubicBezTo>
                    <a:pt x="55" y="134"/>
                    <a:pt x="58" y="135"/>
                    <a:pt x="61" y="136"/>
                  </a:cubicBezTo>
                  <a:cubicBezTo>
                    <a:pt x="64" y="150"/>
                    <a:pt x="64" y="150"/>
                    <a:pt x="64" y="150"/>
                  </a:cubicBezTo>
                  <a:cubicBezTo>
                    <a:pt x="66" y="154"/>
                    <a:pt x="70" y="158"/>
                    <a:pt x="74" y="158"/>
                  </a:cubicBezTo>
                  <a:cubicBezTo>
                    <a:pt x="84" y="158"/>
                    <a:pt x="84" y="158"/>
                    <a:pt x="84" y="158"/>
                  </a:cubicBezTo>
                  <a:cubicBezTo>
                    <a:pt x="89" y="158"/>
                    <a:pt x="93" y="154"/>
                    <a:pt x="95" y="150"/>
                  </a:cubicBezTo>
                  <a:cubicBezTo>
                    <a:pt x="98" y="136"/>
                    <a:pt x="98" y="136"/>
                    <a:pt x="98" y="136"/>
                  </a:cubicBezTo>
                  <a:cubicBezTo>
                    <a:pt x="101" y="135"/>
                    <a:pt x="104" y="134"/>
                    <a:pt x="107" y="133"/>
                  </a:cubicBezTo>
                  <a:cubicBezTo>
                    <a:pt x="119" y="140"/>
                    <a:pt x="119" y="140"/>
                    <a:pt x="119" y="140"/>
                  </a:cubicBezTo>
                  <a:cubicBezTo>
                    <a:pt x="123" y="142"/>
                    <a:pt x="129" y="141"/>
                    <a:pt x="132" y="138"/>
                  </a:cubicBezTo>
                  <a:cubicBezTo>
                    <a:pt x="139" y="131"/>
                    <a:pt x="139" y="131"/>
                    <a:pt x="139" y="131"/>
                  </a:cubicBezTo>
                  <a:cubicBezTo>
                    <a:pt x="142" y="128"/>
                    <a:pt x="143" y="122"/>
                    <a:pt x="141" y="118"/>
                  </a:cubicBezTo>
                  <a:cubicBezTo>
                    <a:pt x="133" y="106"/>
                    <a:pt x="133" y="106"/>
                    <a:pt x="133" y="106"/>
                  </a:cubicBezTo>
                  <a:cubicBezTo>
                    <a:pt x="135" y="103"/>
                    <a:pt x="136" y="100"/>
                    <a:pt x="137" y="98"/>
                  </a:cubicBezTo>
                  <a:cubicBezTo>
                    <a:pt x="151" y="94"/>
                    <a:pt x="151" y="94"/>
                    <a:pt x="151" y="94"/>
                  </a:cubicBezTo>
                  <a:cubicBezTo>
                    <a:pt x="155" y="93"/>
                    <a:pt x="158" y="88"/>
                    <a:pt x="158" y="84"/>
                  </a:cubicBezTo>
                  <a:cubicBezTo>
                    <a:pt x="158" y="74"/>
                    <a:pt x="158" y="74"/>
                    <a:pt x="158" y="74"/>
                  </a:cubicBezTo>
                  <a:cubicBezTo>
                    <a:pt x="158" y="69"/>
                    <a:pt x="155" y="65"/>
                    <a:pt x="151" y="64"/>
                  </a:cubicBezTo>
                  <a:close/>
                  <a:moveTo>
                    <a:pt x="79" y="127"/>
                  </a:moveTo>
                  <a:cubicBezTo>
                    <a:pt x="53" y="127"/>
                    <a:pt x="32" y="105"/>
                    <a:pt x="32" y="79"/>
                  </a:cubicBezTo>
                  <a:cubicBezTo>
                    <a:pt x="32" y="52"/>
                    <a:pt x="53" y="31"/>
                    <a:pt x="79" y="31"/>
                  </a:cubicBezTo>
                  <a:cubicBezTo>
                    <a:pt x="106" y="31"/>
                    <a:pt x="127" y="52"/>
                    <a:pt x="127" y="79"/>
                  </a:cubicBezTo>
                  <a:cubicBezTo>
                    <a:pt x="127" y="105"/>
                    <a:pt x="106" y="127"/>
                    <a:pt x="79" y="12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1BAE07D0-CABC-4038-9465-DEE60D9906C2}"/>
                </a:ext>
              </a:extLst>
            </p:cNvPr>
            <p:cNvSpPr/>
            <p:nvPr/>
          </p:nvSpPr>
          <p:spPr>
            <a:xfrm>
              <a:off x="604542" y="1977953"/>
              <a:ext cx="538458" cy="538458"/>
            </a:xfrm>
            <a:prstGeom prst="ellipse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+mn-cs"/>
                </a:rPr>
                <a:t>02</a:t>
              </a: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9BA70620-630F-CFCE-C9E7-60A897C9474F}"/>
              </a:ext>
            </a:extLst>
          </p:cNvPr>
          <p:cNvGrpSpPr/>
          <p:nvPr/>
        </p:nvGrpSpPr>
        <p:grpSpPr>
          <a:xfrm>
            <a:off x="550862" y="3419455"/>
            <a:ext cx="603372" cy="601760"/>
            <a:chOff x="454269" y="1828800"/>
            <a:chExt cx="839005" cy="836765"/>
          </a:xfrm>
        </p:grpSpPr>
        <p:sp>
          <p:nvSpPr>
            <p:cNvPr id="27" name="Freeform 48">
              <a:extLst>
                <a:ext uri="{FF2B5EF4-FFF2-40B4-BE49-F238E27FC236}">
                  <a16:creationId xmlns:a16="http://schemas.microsoft.com/office/drawing/2014/main" id="{1289C747-74AE-06AE-6DA4-6FD21C8EA3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4269" y="1828800"/>
              <a:ext cx="839005" cy="836765"/>
            </a:xfrm>
            <a:custGeom>
              <a:avLst/>
              <a:gdLst>
                <a:gd name="T0" fmla="*/ 151 w 158"/>
                <a:gd name="T1" fmla="*/ 64 h 158"/>
                <a:gd name="T2" fmla="*/ 137 w 158"/>
                <a:gd name="T3" fmla="*/ 60 h 158"/>
                <a:gd name="T4" fmla="*/ 133 w 158"/>
                <a:gd name="T5" fmla="*/ 51 h 158"/>
                <a:gd name="T6" fmla="*/ 141 w 158"/>
                <a:gd name="T7" fmla="*/ 39 h 158"/>
                <a:gd name="T8" fmla="*/ 139 w 158"/>
                <a:gd name="T9" fmla="*/ 26 h 158"/>
                <a:gd name="T10" fmla="*/ 132 w 158"/>
                <a:gd name="T11" fmla="*/ 19 h 158"/>
                <a:gd name="T12" fmla="*/ 119 w 158"/>
                <a:gd name="T13" fmla="*/ 18 h 158"/>
                <a:gd name="T14" fmla="*/ 107 w 158"/>
                <a:gd name="T15" fmla="*/ 25 h 158"/>
                <a:gd name="T16" fmla="*/ 98 w 158"/>
                <a:gd name="T17" fmla="*/ 21 h 158"/>
                <a:gd name="T18" fmla="*/ 95 w 158"/>
                <a:gd name="T19" fmla="*/ 7 h 158"/>
                <a:gd name="T20" fmla="*/ 84 w 158"/>
                <a:gd name="T21" fmla="*/ 0 h 158"/>
                <a:gd name="T22" fmla="*/ 74 w 158"/>
                <a:gd name="T23" fmla="*/ 0 h 158"/>
                <a:gd name="T24" fmla="*/ 64 w 158"/>
                <a:gd name="T25" fmla="*/ 7 h 158"/>
                <a:gd name="T26" fmla="*/ 61 w 158"/>
                <a:gd name="T27" fmla="*/ 21 h 158"/>
                <a:gd name="T28" fmla="*/ 52 w 158"/>
                <a:gd name="T29" fmla="*/ 25 h 158"/>
                <a:gd name="T30" fmla="*/ 40 w 158"/>
                <a:gd name="T31" fmla="*/ 18 h 158"/>
                <a:gd name="T32" fmla="*/ 27 w 158"/>
                <a:gd name="T33" fmla="*/ 19 h 158"/>
                <a:gd name="T34" fmla="*/ 20 w 158"/>
                <a:gd name="T35" fmla="*/ 26 h 158"/>
                <a:gd name="T36" fmla="*/ 18 w 158"/>
                <a:gd name="T37" fmla="*/ 39 h 158"/>
                <a:gd name="T38" fmla="*/ 26 w 158"/>
                <a:gd name="T39" fmla="*/ 51 h 158"/>
                <a:gd name="T40" fmla="*/ 22 w 158"/>
                <a:gd name="T41" fmla="*/ 60 h 158"/>
                <a:gd name="T42" fmla="*/ 8 w 158"/>
                <a:gd name="T43" fmla="*/ 64 h 158"/>
                <a:gd name="T44" fmla="*/ 0 w 158"/>
                <a:gd name="T45" fmla="*/ 74 h 158"/>
                <a:gd name="T46" fmla="*/ 0 w 158"/>
                <a:gd name="T47" fmla="*/ 84 h 158"/>
                <a:gd name="T48" fmla="*/ 8 w 158"/>
                <a:gd name="T49" fmla="*/ 94 h 158"/>
                <a:gd name="T50" fmla="*/ 22 w 158"/>
                <a:gd name="T51" fmla="*/ 98 h 158"/>
                <a:gd name="T52" fmla="*/ 26 w 158"/>
                <a:gd name="T53" fmla="*/ 106 h 158"/>
                <a:gd name="T54" fmla="*/ 18 w 158"/>
                <a:gd name="T55" fmla="*/ 118 h 158"/>
                <a:gd name="T56" fmla="*/ 20 w 158"/>
                <a:gd name="T57" fmla="*/ 131 h 158"/>
                <a:gd name="T58" fmla="*/ 27 w 158"/>
                <a:gd name="T59" fmla="*/ 138 h 158"/>
                <a:gd name="T60" fmla="*/ 40 w 158"/>
                <a:gd name="T61" fmla="*/ 140 h 158"/>
                <a:gd name="T62" fmla="*/ 52 w 158"/>
                <a:gd name="T63" fmla="*/ 133 h 158"/>
                <a:gd name="T64" fmla="*/ 61 w 158"/>
                <a:gd name="T65" fmla="*/ 136 h 158"/>
                <a:gd name="T66" fmla="*/ 64 w 158"/>
                <a:gd name="T67" fmla="*/ 150 h 158"/>
                <a:gd name="T68" fmla="*/ 74 w 158"/>
                <a:gd name="T69" fmla="*/ 158 h 158"/>
                <a:gd name="T70" fmla="*/ 84 w 158"/>
                <a:gd name="T71" fmla="*/ 158 h 158"/>
                <a:gd name="T72" fmla="*/ 95 w 158"/>
                <a:gd name="T73" fmla="*/ 150 h 158"/>
                <a:gd name="T74" fmla="*/ 98 w 158"/>
                <a:gd name="T75" fmla="*/ 136 h 158"/>
                <a:gd name="T76" fmla="*/ 107 w 158"/>
                <a:gd name="T77" fmla="*/ 133 h 158"/>
                <a:gd name="T78" fmla="*/ 119 w 158"/>
                <a:gd name="T79" fmla="*/ 140 h 158"/>
                <a:gd name="T80" fmla="*/ 132 w 158"/>
                <a:gd name="T81" fmla="*/ 138 h 158"/>
                <a:gd name="T82" fmla="*/ 139 w 158"/>
                <a:gd name="T83" fmla="*/ 131 h 158"/>
                <a:gd name="T84" fmla="*/ 141 w 158"/>
                <a:gd name="T85" fmla="*/ 118 h 158"/>
                <a:gd name="T86" fmla="*/ 133 w 158"/>
                <a:gd name="T87" fmla="*/ 106 h 158"/>
                <a:gd name="T88" fmla="*/ 137 w 158"/>
                <a:gd name="T89" fmla="*/ 98 h 158"/>
                <a:gd name="T90" fmla="*/ 151 w 158"/>
                <a:gd name="T91" fmla="*/ 94 h 158"/>
                <a:gd name="T92" fmla="*/ 158 w 158"/>
                <a:gd name="T93" fmla="*/ 84 h 158"/>
                <a:gd name="T94" fmla="*/ 158 w 158"/>
                <a:gd name="T95" fmla="*/ 74 h 158"/>
                <a:gd name="T96" fmla="*/ 151 w 158"/>
                <a:gd name="T97" fmla="*/ 64 h 158"/>
                <a:gd name="T98" fmla="*/ 79 w 158"/>
                <a:gd name="T99" fmla="*/ 127 h 158"/>
                <a:gd name="T100" fmla="*/ 32 w 158"/>
                <a:gd name="T101" fmla="*/ 79 h 158"/>
                <a:gd name="T102" fmla="*/ 79 w 158"/>
                <a:gd name="T103" fmla="*/ 31 h 158"/>
                <a:gd name="T104" fmla="*/ 127 w 158"/>
                <a:gd name="T105" fmla="*/ 79 h 158"/>
                <a:gd name="T106" fmla="*/ 79 w 158"/>
                <a:gd name="T107" fmla="*/ 127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58" h="158">
                  <a:moveTo>
                    <a:pt x="151" y="64"/>
                  </a:moveTo>
                  <a:cubicBezTo>
                    <a:pt x="137" y="60"/>
                    <a:pt x="137" y="60"/>
                    <a:pt x="137" y="60"/>
                  </a:cubicBezTo>
                  <a:cubicBezTo>
                    <a:pt x="136" y="57"/>
                    <a:pt x="135" y="54"/>
                    <a:pt x="133" y="51"/>
                  </a:cubicBezTo>
                  <a:cubicBezTo>
                    <a:pt x="141" y="39"/>
                    <a:pt x="141" y="39"/>
                    <a:pt x="141" y="39"/>
                  </a:cubicBezTo>
                  <a:cubicBezTo>
                    <a:pt x="143" y="35"/>
                    <a:pt x="142" y="30"/>
                    <a:pt x="139" y="26"/>
                  </a:cubicBezTo>
                  <a:cubicBezTo>
                    <a:pt x="132" y="19"/>
                    <a:pt x="132" y="19"/>
                    <a:pt x="132" y="19"/>
                  </a:cubicBezTo>
                  <a:cubicBezTo>
                    <a:pt x="129" y="16"/>
                    <a:pt x="123" y="15"/>
                    <a:pt x="119" y="18"/>
                  </a:cubicBezTo>
                  <a:cubicBezTo>
                    <a:pt x="107" y="25"/>
                    <a:pt x="107" y="25"/>
                    <a:pt x="107" y="25"/>
                  </a:cubicBezTo>
                  <a:cubicBezTo>
                    <a:pt x="104" y="23"/>
                    <a:pt x="101" y="22"/>
                    <a:pt x="98" y="21"/>
                  </a:cubicBezTo>
                  <a:cubicBezTo>
                    <a:pt x="95" y="7"/>
                    <a:pt x="95" y="7"/>
                    <a:pt x="95" y="7"/>
                  </a:cubicBezTo>
                  <a:cubicBezTo>
                    <a:pt x="93" y="3"/>
                    <a:pt x="89" y="0"/>
                    <a:pt x="84" y="0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70" y="0"/>
                    <a:pt x="66" y="3"/>
                    <a:pt x="64" y="7"/>
                  </a:cubicBezTo>
                  <a:cubicBezTo>
                    <a:pt x="61" y="21"/>
                    <a:pt x="61" y="21"/>
                    <a:pt x="61" y="21"/>
                  </a:cubicBezTo>
                  <a:cubicBezTo>
                    <a:pt x="58" y="22"/>
                    <a:pt x="55" y="23"/>
                    <a:pt x="52" y="25"/>
                  </a:cubicBezTo>
                  <a:cubicBezTo>
                    <a:pt x="40" y="18"/>
                    <a:pt x="40" y="18"/>
                    <a:pt x="40" y="18"/>
                  </a:cubicBezTo>
                  <a:cubicBezTo>
                    <a:pt x="36" y="15"/>
                    <a:pt x="30" y="16"/>
                    <a:pt x="27" y="19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17" y="30"/>
                    <a:pt x="16" y="35"/>
                    <a:pt x="18" y="39"/>
                  </a:cubicBezTo>
                  <a:cubicBezTo>
                    <a:pt x="26" y="51"/>
                    <a:pt x="26" y="51"/>
                    <a:pt x="26" y="51"/>
                  </a:cubicBezTo>
                  <a:cubicBezTo>
                    <a:pt x="24" y="54"/>
                    <a:pt x="23" y="57"/>
                    <a:pt x="22" y="60"/>
                  </a:cubicBezTo>
                  <a:cubicBezTo>
                    <a:pt x="8" y="64"/>
                    <a:pt x="8" y="64"/>
                    <a:pt x="8" y="64"/>
                  </a:cubicBezTo>
                  <a:cubicBezTo>
                    <a:pt x="4" y="65"/>
                    <a:pt x="0" y="69"/>
                    <a:pt x="0" y="74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0" y="88"/>
                    <a:pt x="4" y="93"/>
                    <a:pt x="8" y="94"/>
                  </a:cubicBezTo>
                  <a:cubicBezTo>
                    <a:pt x="22" y="98"/>
                    <a:pt x="22" y="98"/>
                    <a:pt x="22" y="98"/>
                  </a:cubicBezTo>
                  <a:cubicBezTo>
                    <a:pt x="23" y="100"/>
                    <a:pt x="24" y="103"/>
                    <a:pt x="26" y="106"/>
                  </a:cubicBezTo>
                  <a:cubicBezTo>
                    <a:pt x="18" y="118"/>
                    <a:pt x="18" y="118"/>
                    <a:pt x="18" y="118"/>
                  </a:cubicBezTo>
                  <a:cubicBezTo>
                    <a:pt x="16" y="122"/>
                    <a:pt x="17" y="128"/>
                    <a:pt x="20" y="131"/>
                  </a:cubicBezTo>
                  <a:cubicBezTo>
                    <a:pt x="27" y="138"/>
                    <a:pt x="27" y="138"/>
                    <a:pt x="27" y="138"/>
                  </a:cubicBezTo>
                  <a:cubicBezTo>
                    <a:pt x="30" y="141"/>
                    <a:pt x="36" y="142"/>
                    <a:pt x="40" y="140"/>
                  </a:cubicBezTo>
                  <a:cubicBezTo>
                    <a:pt x="52" y="133"/>
                    <a:pt x="52" y="133"/>
                    <a:pt x="52" y="133"/>
                  </a:cubicBezTo>
                  <a:cubicBezTo>
                    <a:pt x="55" y="134"/>
                    <a:pt x="58" y="135"/>
                    <a:pt x="61" y="136"/>
                  </a:cubicBezTo>
                  <a:cubicBezTo>
                    <a:pt x="64" y="150"/>
                    <a:pt x="64" y="150"/>
                    <a:pt x="64" y="150"/>
                  </a:cubicBezTo>
                  <a:cubicBezTo>
                    <a:pt x="66" y="154"/>
                    <a:pt x="70" y="158"/>
                    <a:pt x="74" y="158"/>
                  </a:cubicBezTo>
                  <a:cubicBezTo>
                    <a:pt x="84" y="158"/>
                    <a:pt x="84" y="158"/>
                    <a:pt x="84" y="158"/>
                  </a:cubicBezTo>
                  <a:cubicBezTo>
                    <a:pt x="89" y="158"/>
                    <a:pt x="93" y="154"/>
                    <a:pt x="95" y="150"/>
                  </a:cubicBezTo>
                  <a:cubicBezTo>
                    <a:pt x="98" y="136"/>
                    <a:pt x="98" y="136"/>
                    <a:pt x="98" y="136"/>
                  </a:cubicBezTo>
                  <a:cubicBezTo>
                    <a:pt x="101" y="135"/>
                    <a:pt x="104" y="134"/>
                    <a:pt x="107" y="133"/>
                  </a:cubicBezTo>
                  <a:cubicBezTo>
                    <a:pt x="119" y="140"/>
                    <a:pt x="119" y="140"/>
                    <a:pt x="119" y="140"/>
                  </a:cubicBezTo>
                  <a:cubicBezTo>
                    <a:pt x="123" y="142"/>
                    <a:pt x="129" y="141"/>
                    <a:pt x="132" y="138"/>
                  </a:cubicBezTo>
                  <a:cubicBezTo>
                    <a:pt x="139" y="131"/>
                    <a:pt x="139" y="131"/>
                    <a:pt x="139" y="131"/>
                  </a:cubicBezTo>
                  <a:cubicBezTo>
                    <a:pt x="142" y="128"/>
                    <a:pt x="143" y="122"/>
                    <a:pt x="141" y="118"/>
                  </a:cubicBezTo>
                  <a:cubicBezTo>
                    <a:pt x="133" y="106"/>
                    <a:pt x="133" y="106"/>
                    <a:pt x="133" y="106"/>
                  </a:cubicBezTo>
                  <a:cubicBezTo>
                    <a:pt x="135" y="103"/>
                    <a:pt x="136" y="100"/>
                    <a:pt x="137" y="98"/>
                  </a:cubicBezTo>
                  <a:cubicBezTo>
                    <a:pt x="151" y="94"/>
                    <a:pt x="151" y="94"/>
                    <a:pt x="151" y="94"/>
                  </a:cubicBezTo>
                  <a:cubicBezTo>
                    <a:pt x="155" y="93"/>
                    <a:pt x="158" y="88"/>
                    <a:pt x="158" y="84"/>
                  </a:cubicBezTo>
                  <a:cubicBezTo>
                    <a:pt x="158" y="74"/>
                    <a:pt x="158" y="74"/>
                    <a:pt x="158" y="74"/>
                  </a:cubicBezTo>
                  <a:cubicBezTo>
                    <a:pt x="158" y="69"/>
                    <a:pt x="155" y="65"/>
                    <a:pt x="151" y="64"/>
                  </a:cubicBezTo>
                  <a:close/>
                  <a:moveTo>
                    <a:pt x="79" y="127"/>
                  </a:moveTo>
                  <a:cubicBezTo>
                    <a:pt x="53" y="127"/>
                    <a:pt x="32" y="105"/>
                    <a:pt x="32" y="79"/>
                  </a:cubicBezTo>
                  <a:cubicBezTo>
                    <a:pt x="32" y="52"/>
                    <a:pt x="53" y="31"/>
                    <a:pt x="79" y="31"/>
                  </a:cubicBezTo>
                  <a:cubicBezTo>
                    <a:pt x="106" y="31"/>
                    <a:pt x="127" y="52"/>
                    <a:pt x="127" y="79"/>
                  </a:cubicBezTo>
                  <a:cubicBezTo>
                    <a:pt x="127" y="105"/>
                    <a:pt x="106" y="127"/>
                    <a:pt x="79" y="12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79C24D9D-E088-3FDD-DEFD-574D34E92066}"/>
                </a:ext>
              </a:extLst>
            </p:cNvPr>
            <p:cNvSpPr/>
            <p:nvPr/>
          </p:nvSpPr>
          <p:spPr>
            <a:xfrm>
              <a:off x="604542" y="1977953"/>
              <a:ext cx="538458" cy="538458"/>
            </a:xfrm>
            <a:prstGeom prst="ellipse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+mn-cs"/>
                </a:rPr>
                <a:t>03</a:t>
              </a: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118BAF9B-22D7-0724-79C4-262ECC1BC948}"/>
              </a:ext>
            </a:extLst>
          </p:cNvPr>
          <p:cNvGrpSpPr/>
          <p:nvPr/>
        </p:nvGrpSpPr>
        <p:grpSpPr>
          <a:xfrm>
            <a:off x="550862" y="4405225"/>
            <a:ext cx="603372" cy="601760"/>
            <a:chOff x="454269" y="1828800"/>
            <a:chExt cx="839005" cy="836765"/>
          </a:xfrm>
        </p:grpSpPr>
        <p:sp>
          <p:nvSpPr>
            <p:cNvPr id="30" name="Freeform 48">
              <a:extLst>
                <a:ext uri="{FF2B5EF4-FFF2-40B4-BE49-F238E27FC236}">
                  <a16:creationId xmlns:a16="http://schemas.microsoft.com/office/drawing/2014/main" id="{AD8E9DD7-348E-B7D5-A4CE-F7E3663E5CC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4269" y="1828800"/>
              <a:ext cx="839005" cy="836765"/>
            </a:xfrm>
            <a:custGeom>
              <a:avLst/>
              <a:gdLst>
                <a:gd name="T0" fmla="*/ 151 w 158"/>
                <a:gd name="T1" fmla="*/ 64 h 158"/>
                <a:gd name="T2" fmla="*/ 137 w 158"/>
                <a:gd name="T3" fmla="*/ 60 h 158"/>
                <a:gd name="T4" fmla="*/ 133 w 158"/>
                <a:gd name="T5" fmla="*/ 51 h 158"/>
                <a:gd name="T6" fmla="*/ 141 w 158"/>
                <a:gd name="T7" fmla="*/ 39 h 158"/>
                <a:gd name="T8" fmla="*/ 139 w 158"/>
                <a:gd name="T9" fmla="*/ 26 h 158"/>
                <a:gd name="T10" fmla="*/ 132 w 158"/>
                <a:gd name="T11" fmla="*/ 19 h 158"/>
                <a:gd name="T12" fmla="*/ 119 w 158"/>
                <a:gd name="T13" fmla="*/ 18 h 158"/>
                <a:gd name="T14" fmla="*/ 107 w 158"/>
                <a:gd name="T15" fmla="*/ 25 h 158"/>
                <a:gd name="T16" fmla="*/ 98 w 158"/>
                <a:gd name="T17" fmla="*/ 21 h 158"/>
                <a:gd name="T18" fmla="*/ 95 w 158"/>
                <a:gd name="T19" fmla="*/ 7 h 158"/>
                <a:gd name="T20" fmla="*/ 84 w 158"/>
                <a:gd name="T21" fmla="*/ 0 h 158"/>
                <a:gd name="T22" fmla="*/ 74 w 158"/>
                <a:gd name="T23" fmla="*/ 0 h 158"/>
                <a:gd name="T24" fmla="*/ 64 w 158"/>
                <a:gd name="T25" fmla="*/ 7 h 158"/>
                <a:gd name="T26" fmla="*/ 61 w 158"/>
                <a:gd name="T27" fmla="*/ 21 h 158"/>
                <a:gd name="T28" fmla="*/ 52 w 158"/>
                <a:gd name="T29" fmla="*/ 25 h 158"/>
                <a:gd name="T30" fmla="*/ 40 w 158"/>
                <a:gd name="T31" fmla="*/ 18 h 158"/>
                <a:gd name="T32" fmla="*/ 27 w 158"/>
                <a:gd name="T33" fmla="*/ 19 h 158"/>
                <a:gd name="T34" fmla="*/ 20 w 158"/>
                <a:gd name="T35" fmla="*/ 26 h 158"/>
                <a:gd name="T36" fmla="*/ 18 w 158"/>
                <a:gd name="T37" fmla="*/ 39 h 158"/>
                <a:gd name="T38" fmla="*/ 26 w 158"/>
                <a:gd name="T39" fmla="*/ 51 h 158"/>
                <a:gd name="T40" fmla="*/ 22 w 158"/>
                <a:gd name="T41" fmla="*/ 60 h 158"/>
                <a:gd name="T42" fmla="*/ 8 w 158"/>
                <a:gd name="T43" fmla="*/ 64 h 158"/>
                <a:gd name="T44" fmla="*/ 0 w 158"/>
                <a:gd name="T45" fmla="*/ 74 h 158"/>
                <a:gd name="T46" fmla="*/ 0 w 158"/>
                <a:gd name="T47" fmla="*/ 84 h 158"/>
                <a:gd name="T48" fmla="*/ 8 w 158"/>
                <a:gd name="T49" fmla="*/ 94 h 158"/>
                <a:gd name="T50" fmla="*/ 22 w 158"/>
                <a:gd name="T51" fmla="*/ 98 h 158"/>
                <a:gd name="T52" fmla="*/ 26 w 158"/>
                <a:gd name="T53" fmla="*/ 106 h 158"/>
                <a:gd name="T54" fmla="*/ 18 w 158"/>
                <a:gd name="T55" fmla="*/ 118 h 158"/>
                <a:gd name="T56" fmla="*/ 20 w 158"/>
                <a:gd name="T57" fmla="*/ 131 h 158"/>
                <a:gd name="T58" fmla="*/ 27 w 158"/>
                <a:gd name="T59" fmla="*/ 138 h 158"/>
                <a:gd name="T60" fmla="*/ 40 w 158"/>
                <a:gd name="T61" fmla="*/ 140 h 158"/>
                <a:gd name="T62" fmla="*/ 52 w 158"/>
                <a:gd name="T63" fmla="*/ 133 h 158"/>
                <a:gd name="T64" fmla="*/ 61 w 158"/>
                <a:gd name="T65" fmla="*/ 136 h 158"/>
                <a:gd name="T66" fmla="*/ 64 w 158"/>
                <a:gd name="T67" fmla="*/ 150 h 158"/>
                <a:gd name="T68" fmla="*/ 74 w 158"/>
                <a:gd name="T69" fmla="*/ 158 h 158"/>
                <a:gd name="T70" fmla="*/ 84 w 158"/>
                <a:gd name="T71" fmla="*/ 158 h 158"/>
                <a:gd name="T72" fmla="*/ 95 w 158"/>
                <a:gd name="T73" fmla="*/ 150 h 158"/>
                <a:gd name="T74" fmla="*/ 98 w 158"/>
                <a:gd name="T75" fmla="*/ 136 h 158"/>
                <a:gd name="T76" fmla="*/ 107 w 158"/>
                <a:gd name="T77" fmla="*/ 133 h 158"/>
                <a:gd name="T78" fmla="*/ 119 w 158"/>
                <a:gd name="T79" fmla="*/ 140 h 158"/>
                <a:gd name="T80" fmla="*/ 132 w 158"/>
                <a:gd name="T81" fmla="*/ 138 h 158"/>
                <a:gd name="T82" fmla="*/ 139 w 158"/>
                <a:gd name="T83" fmla="*/ 131 h 158"/>
                <a:gd name="T84" fmla="*/ 141 w 158"/>
                <a:gd name="T85" fmla="*/ 118 h 158"/>
                <a:gd name="T86" fmla="*/ 133 w 158"/>
                <a:gd name="T87" fmla="*/ 106 h 158"/>
                <a:gd name="T88" fmla="*/ 137 w 158"/>
                <a:gd name="T89" fmla="*/ 98 h 158"/>
                <a:gd name="T90" fmla="*/ 151 w 158"/>
                <a:gd name="T91" fmla="*/ 94 h 158"/>
                <a:gd name="T92" fmla="*/ 158 w 158"/>
                <a:gd name="T93" fmla="*/ 84 h 158"/>
                <a:gd name="T94" fmla="*/ 158 w 158"/>
                <a:gd name="T95" fmla="*/ 74 h 158"/>
                <a:gd name="T96" fmla="*/ 151 w 158"/>
                <a:gd name="T97" fmla="*/ 64 h 158"/>
                <a:gd name="T98" fmla="*/ 79 w 158"/>
                <a:gd name="T99" fmla="*/ 127 h 158"/>
                <a:gd name="T100" fmla="*/ 32 w 158"/>
                <a:gd name="T101" fmla="*/ 79 h 158"/>
                <a:gd name="T102" fmla="*/ 79 w 158"/>
                <a:gd name="T103" fmla="*/ 31 h 158"/>
                <a:gd name="T104" fmla="*/ 127 w 158"/>
                <a:gd name="T105" fmla="*/ 79 h 158"/>
                <a:gd name="T106" fmla="*/ 79 w 158"/>
                <a:gd name="T107" fmla="*/ 127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58" h="158">
                  <a:moveTo>
                    <a:pt x="151" y="64"/>
                  </a:moveTo>
                  <a:cubicBezTo>
                    <a:pt x="137" y="60"/>
                    <a:pt x="137" y="60"/>
                    <a:pt x="137" y="60"/>
                  </a:cubicBezTo>
                  <a:cubicBezTo>
                    <a:pt x="136" y="57"/>
                    <a:pt x="135" y="54"/>
                    <a:pt x="133" y="51"/>
                  </a:cubicBezTo>
                  <a:cubicBezTo>
                    <a:pt x="141" y="39"/>
                    <a:pt x="141" y="39"/>
                    <a:pt x="141" y="39"/>
                  </a:cubicBezTo>
                  <a:cubicBezTo>
                    <a:pt x="143" y="35"/>
                    <a:pt x="142" y="30"/>
                    <a:pt x="139" y="26"/>
                  </a:cubicBezTo>
                  <a:cubicBezTo>
                    <a:pt x="132" y="19"/>
                    <a:pt x="132" y="19"/>
                    <a:pt x="132" y="19"/>
                  </a:cubicBezTo>
                  <a:cubicBezTo>
                    <a:pt x="129" y="16"/>
                    <a:pt x="123" y="15"/>
                    <a:pt x="119" y="18"/>
                  </a:cubicBezTo>
                  <a:cubicBezTo>
                    <a:pt x="107" y="25"/>
                    <a:pt x="107" y="25"/>
                    <a:pt x="107" y="25"/>
                  </a:cubicBezTo>
                  <a:cubicBezTo>
                    <a:pt x="104" y="23"/>
                    <a:pt x="101" y="22"/>
                    <a:pt x="98" y="21"/>
                  </a:cubicBezTo>
                  <a:cubicBezTo>
                    <a:pt x="95" y="7"/>
                    <a:pt x="95" y="7"/>
                    <a:pt x="95" y="7"/>
                  </a:cubicBezTo>
                  <a:cubicBezTo>
                    <a:pt x="93" y="3"/>
                    <a:pt x="89" y="0"/>
                    <a:pt x="84" y="0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70" y="0"/>
                    <a:pt x="66" y="3"/>
                    <a:pt x="64" y="7"/>
                  </a:cubicBezTo>
                  <a:cubicBezTo>
                    <a:pt x="61" y="21"/>
                    <a:pt x="61" y="21"/>
                    <a:pt x="61" y="21"/>
                  </a:cubicBezTo>
                  <a:cubicBezTo>
                    <a:pt x="58" y="22"/>
                    <a:pt x="55" y="23"/>
                    <a:pt x="52" y="25"/>
                  </a:cubicBezTo>
                  <a:cubicBezTo>
                    <a:pt x="40" y="18"/>
                    <a:pt x="40" y="18"/>
                    <a:pt x="40" y="18"/>
                  </a:cubicBezTo>
                  <a:cubicBezTo>
                    <a:pt x="36" y="15"/>
                    <a:pt x="30" y="16"/>
                    <a:pt x="27" y="19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17" y="30"/>
                    <a:pt x="16" y="35"/>
                    <a:pt x="18" y="39"/>
                  </a:cubicBezTo>
                  <a:cubicBezTo>
                    <a:pt x="26" y="51"/>
                    <a:pt x="26" y="51"/>
                    <a:pt x="26" y="51"/>
                  </a:cubicBezTo>
                  <a:cubicBezTo>
                    <a:pt x="24" y="54"/>
                    <a:pt x="23" y="57"/>
                    <a:pt x="22" y="60"/>
                  </a:cubicBezTo>
                  <a:cubicBezTo>
                    <a:pt x="8" y="64"/>
                    <a:pt x="8" y="64"/>
                    <a:pt x="8" y="64"/>
                  </a:cubicBezTo>
                  <a:cubicBezTo>
                    <a:pt x="4" y="65"/>
                    <a:pt x="0" y="69"/>
                    <a:pt x="0" y="74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0" y="88"/>
                    <a:pt x="4" y="93"/>
                    <a:pt x="8" y="94"/>
                  </a:cubicBezTo>
                  <a:cubicBezTo>
                    <a:pt x="22" y="98"/>
                    <a:pt x="22" y="98"/>
                    <a:pt x="22" y="98"/>
                  </a:cubicBezTo>
                  <a:cubicBezTo>
                    <a:pt x="23" y="100"/>
                    <a:pt x="24" y="103"/>
                    <a:pt x="26" y="106"/>
                  </a:cubicBezTo>
                  <a:cubicBezTo>
                    <a:pt x="18" y="118"/>
                    <a:pt x="18" y="118"/>
                    <a:pt x="18" y="118"/>
                  </a:cubicBezTo>
                  <a:cubicBezTo>
                    <a:pt x="16" y="122"/>
                    <a:pt x="17" y="128"/>
                    <a:pt x="20" y="131"/>
                  </a:cubicBezTo>
                  <a:cubicBezTo>
                    <a:pt x="27" y="138"/>
                    <a:pt x="27" y="138"/>
                    <a:pt x="27" y="138"/>
                  </a:cubicBezTo>
                  <a:cubicBezTo>
                    <a:pt x="30" y="141"/>
                    <a:pt x="36" y="142"/>
                    <a:pt x="40" y="140"/>
                  </a:cubicBezTo>
                  <a:cubicBezTo>
                    <a:pt x="52" y="133"/>
                    <a:pt x="52" y="133"/>
                    <a:pt x="52" y="133"/>
                  </a:cubicBezTo>
                  <a:cubicBezTo>
                    <a:pt x="55" y="134"/>
                    <a:pt x="58" y="135"/>
                    <a:pt x="61" y="136"/>
                  </a:cubicBezTo>
                  <a:cubicBezTo>
                    <a:pt x="64" y="150"/>
                    <a:pt x="64" y="150"/>
                    <a:pt x="64" y="150"/>
                  </a:cubicBezTo>
                  <a:cubicBezTo>
                    <a:pt x="66" y="154"/>
                    <a:pt x="70" y="158"/>
                    <a:pt x="74" y="158"/>
                  </a:cubicBezTo>
                  <a:cubicBezTo>
                    <a:pt x="84" y="158"/>
                    <a:pt x="84" y="158"/>
                    <a:pt x="84" y="158"/>
                  </a:cubicBezTo>
                  <a:cubicBezTo>
                    <a:pt x="89" y="158"/>
                    <a:pt x="93" y="154"/>
                    <a:pt x="95" y="150"/>
                  </a:cubicBezTo>
                  <a:cubicBezTo>
                    <a:pt x="98" y="136"/>
                    <a:pt x="98" y="136"/>
                    <a:pt x="98" y="136"/>
                  </a:cubicBezTo>
                  <a:cubicBezTo>
                    <a:pt x="101" y="135"/>
                    <a:pt x="104" y="134"/>
                    <a:pt x="107" y="133"/>
                  </a:cubicBezTo>
                  <a:cubicBezTo>
                    <a:pt x="119" y="140"/>
                    <a:pt x="119" y="140"/>
                    <a:pt x="119" y="140"/>
                  </a:cubicBezTo>
                  <a:cubicBezTo>
                    <a:pt x="123" y="142"/>
                    <a:pt x="129" y="141"/>
                    <a:pt x="132" y="138"/>
                  </a:cubicBezTo>
                  <a:cubicBezTo>
                    <a:pt x="139" y="131"/>
                    <a:pt x="139" y="131"/>
                    <a:pt x="139" y="131"/>
                  </a:cubicBezTo>
                  <a:cubicBezTo>
                    <a:pt x="142" y="128"/>
                    <a:pt x="143" y="122"/>
                    <a:pt x="141" y="118"/>
                  </a:cubicBezTo>
                  <a:cubicBezTo>
                    <a:pt x="133" y="106"/>
                    <a:pt x="133" y="106"/>
                    <a:pt x="133" y="106"/>
                  </a:cubicBezTo>
                  <a:cubicBezTo>
                    <a:pt x="135" y="103"/>
                    <a:pt x="136" y="100"/>
                    <a:pt x="137" y="98"/>
                  </a:cubicBezTo>
                  <a:cubicBezTo>
                    <a:pt x="151" y="94"/>
                    <a:pt x="151" y="94"/>
                    <a:pt x="151" y="94"/>
                  </a:cubicBezTo>
                  <a:cubicBezTo>
                    <a:pt x="155" y="93"/>
                    <a:pt x="158" y="88"/>
                    <a:pt x="158" y="84"/>
                  </a:cubicBezTo>
                  <a:cubicBezTo>
                    <a:pt x="158" y="74"/>
                    <a:pt x="158" y="74"/>
                    <a:pt x="158" y="74"/>
                  </a:cubicBezTo>
                  <a:cubicBezTo>
                    <a:pt x="158" y="69"/>
                    <a:pt x="155" y="65"/>
                    <a:pt x="151" y="64"/>
                  </a:cubicBezTo>
                  <a:close/>
                  <a:moveTo>
                    <a:pt x="79" y="127"/>
                  </a:moveTo>
                  <a:cubicBezTo>
                    <a:pt x="53" y="127"/>
                    <a:pt x="32" y="105"/>
                    <a:pt x="32" y="79"/>
                  </a:cubicBezTo>
                  <a:cubicBezTo>
                    <a:pt x="32" y="52"/>
                    <a:pt x="53" y="31"/>
                    <a:pt x="79" y="31"/>
                  </a:cubicBezTo>
                  <a:cubicBezTo>
                    <a:pt x="106" y="31"/>
                    <a:pt x="127" y="52"/>
                    <a:pt x="127" y="79"/>
                  </a:cubicBezTo>
                  <a:cubicBezTo>
                    <a:pt x="127" y="105"/>
                    <a:pt x="106" y="127"/>
                    <a:pt x="79" y="12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C61ACCF9-52E7-57FE-AA5B-4B222C9406E5}"/>
                </a:ext>
              </a:extLst>
            </p:cNvPr>
            <p:cNvSpPr/>
            <p:nvPr/>
          </p:nvSpPr>
          <p:spPr>
            <a:xfrm>
              <a:off x="604542" y="1977953"/>
              <a:ext cx="538458" cy="538458"/>
            </a:xfrm>
            <a:prstGeom prst="ellipse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+mn-cs"/>
                </a:rPr>
                <a:t>04</a:t>
              </a: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98BE780D-1F86-8D4A-0A45-D8C104F0A1B8}"/>
              </a:ext>
            </a:extLst>
          </p:cNvPr>
          <p:cNvGrpSpPr/>
          <p:nvPr/>
        </p:nvGrpSpPr>
        <p:grpSpPr>
          <a:xfrm>
            <a:off x="550862" y="5390997"/>
            <a:ext cx="603372" cy="601760"/>
            <a:chOff x="454269" y="1828800"/>
            <a:chExt cx="839005" cy="836765"/>
          </a:xfrm>
        </p:grpSpPr>
        <p:sp>
          <p:nvSpPr>
            <p:cNvPr id="33" name="Freeform 48">
              <a:extLst>
                <a:ext uri="{FF2B5EF4-FFF2-40B4-BE49-F238E27FC236}">
                  <a16:creationId xmlns:a16="http://schemas.microsoft.com/office/drawing/2014/main" id="{DF3A3090-6886-6908-BEA3-AE50904FEB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4269" y="1828800"/>
              <a:ext cx="839005" cy="836765"/>
            </a:xfrm>
            <a:custGeom>
              <a:avLst/>
              <a:gdLst>
                <a:gd name="T0" fmla="*/ 151 w 158"/>
                <a:gd name="T1" fmla="*/ 64 h 158"/>
                <a:gd name="T2" fmla="*/ 137 w 158"/>
                <a:gd name="T3" fmla="*/ 60 h 158"/>
                <a:gd name="T4" fmla="*/ 133 w 158"/>
                <a:gd name="T5" fmla="*/ 51 h 158"/>
                <a:gd name="T6" fmla="*/ 141 w 158"/>
                <a:gd name="T7" fmla="*/ 39 h 158"/>
                <a:gd name="T8" fmla="*/ 139 w 158"/>
                <a:gd name="T9" fmla="*/ 26 h 158"/>
                <a:gd name="T10" fmla="*/ 132 w 158"/>
                <a:gd name="T11" fmla="*/ 19 h 158"/>
                <a:gd name="T12" fmla="*/ 119 w 158"/>
                <a:gd name="T13" fmla="*/ 18 h 158"/>
                <a:gd name="T14" fmla="*/ 107 w 158"/>
                <a:gd name="T15" fmla="*/ 25 h 158"/>
                <a:gd name="T16" fmla="*/ 98 w 158"/>
                <a:gd name="T17" fmla="*/ 21 h 158"/>
                <a:gd name="T18" fmla="*/ 95 w 158"/>
                <a:gd name="T19" fmla="*/ 7 h 158"/>
                <a:gd name="T20" fmla="*/ 84 w 158"/>
                <a:gd name="T21" fmla="*/ 0 h 158"/>
                <a:gd name="T22" fmla="*/ 74 w 158"/>
                <a:gd name="T23" fmla="*/ 0 h 158"/>
                <a:gd name="T24" fmla="*/ 64 w 158"/>
                <a:gd name="T25" fmla="*/ 7 h 158"/>
                <a:gd name="T26" fmla="*/ 61 w 158"/>
                <a:gd name="T27" fmla="*/ 21 h 158"/>
                <a:gd name="T28" fmla="*/ 52 w 158"/>
                <a:gd name="T29" fmla="*/ 25 h 158"/>
                <a:gd name="T30" fmla="*/ 40 w 158"/>
                <a:gd name="T31" fmla="*/ 18 h 158"/>
                <a:gd name="T32" fmla="*/ 27 w 158"/>
                <a:gd name="T33" fmla="*/ 19 h 158"/>
                <a:gd name="T34" fmla="*/ 20 w 158"/>
                <a:gd name="T35" fmla="*/ 26 h 158"/>
                <a:gd name="T36" fmla="*/ 18 w 158"/>
                <a:gd name="T37" fmla="*/ 39 h 158"/>
                <a:gd name="T38" fmla="*/ 26 w 158"/>
                <a:gd name="T39" fmla="*/ 51 h 158"/>
                <a:gd name="T40" fmla="*/ 22 w 158"/>
                <a:gd name="T41" fmla="*/ 60 h 158"/>
                <a:gd name="T42" fmla="*/ 8 w 158"/>
                <a:gd name="T43" fmla="*/ 64 h 158"/>
                <a:gd name="T44" fmla="*/ 0 w 158"/>
                <a:gd name="T45" fmla="*/ 74 h 158"/>
                <a:gd name="T46" fmla="*/ 0 w 158"/>
                <a:gd name="T47" fmla="*/ 84 h 158"/>
                <a:gd name="T48" fmla="*/ 8 w 158"/>
                <a:gd name="T49" fmla="*/ 94 h 158"/>
                <a:gd name="T50" fmla="*/ 22 w 158"/>
                <a:gd name="T51" fmla="*/ 98 h 158"/>
                <a:gd name="T52" fmla="*/ 26 w 158"/>
                <a:gd name="T53" fmla="*/ 106 h 158"/>
                <a:gd name="T54" fmla="*/ 18 w 158"/>
                <a:gd name="T55" fmla="*/ 118 h 158"/>
                <a:gd name="T56" fmla="*/ 20 w 158"/>
                <a:gd name="T57" fmla="*/ 131 h 158"/>
                <a:gd name="T58" fmla="*/ 27 w 158"/>
                <a:gd name="T59" fmla="*/ 138 h 158"/>
                <a:gd name="T60" fmla="*/ 40 w 158"/>
                <a:gd name="T61" fmla="*/ 140 h 158"/>
                <a:gd name="T62" fmla="*/ 52 w 158"/>
                <a:gd name="T63" fmla="*/ 133 h 158"/>
                <a:gd name="T64" fmla="*/ 61 w 158"/>
                <a:gd name="T65" fmla="*/ 136 h 158"/>
                <a:gd name="T66" fmla="*/ 64 w 158"/>
                <a:gd name="T67" fmla="*/ 150 h 158"/>
                <a:gd name="T68" fmla="*/ 74 w 158"/>
                <a:gd name="T69" fmla="*/ 158 h 158"/>
                <a:gd name="T70" fmla="*/ 84 w 158"/>
                <a:gd name="T71" fmla="*/ 158 h 158"/>
                <a:gd name="T72" fmla="*/ 95 w 158"/>
                <a:gd name="T73" fmla="*/ 150 h 158"/>
                <a:gd name="T74" fmla="*/ 98 w 158"/>
                <a:gd name="T75" fmla="*/ 136 h 158"/>
                <a:gd name="T76" fmla="*/ 107 w 158"/>
                <a:gd name="T77" fmla="*/ 133 h 158"/>
                <a:gd name="T78" fmla="*/ 119 w 158"/>
                <a:gd name="T79" fmla="*/ 140 h 158"/>
                <a:gd name="T80" fmla="*/ 132 w 158"/>
                <a:gd name="T81" fmla="*/ 138 h 158"/>
                <a:gd name="T82" fmla="*/ 139 w 158"/>
                <a:gd name="T83" fmla="*/ 131 h 158"/>
                <a:gd name="T84" fmla="*/ 141 w 158"/>
                <a:gd name="T85" fmla="*/ 118 h 158"/>
                <a:gd name="T86" fmla="*/ 133 w 158"/>
                <a:gd name="T87" fmla="*/ 106 h 158"/>
                <a:gd name="T88" fmla="*/ 137 w 158"/>
                <a:gd name="T89" fmla="*/ 98 h 158"/>
                <a:gd name="T90" fmla="*/ 151 w 158"/>
                <a:gd name="T91" fmla="*/ 94 h 158"/>
                <a:gd name="T92" fmla="*/ 158 w 158"/>
                <a:gd name="T93" fmla="*/ 84 h 158"/>
                <a:gd name="T94" fmla="*/ 158 w 158"/>
                <a:gd name="T95" fmla="*/ 74 h 158"/>
                <a:gd name="T96" fmla="*/ 151 w 158"/>
                <a:gd name="T97" fmla="*/ 64 h 158"/>
                <a:gd name="T98" fmla="*/ 79 w 158"/>
                <a:gd name="T99" fmla="*/ 127 h 158"/>
                <a:gd name="T100" fmla="*/ 32 w 158"/>
                <a:gd name="T101" fmla="*/ 79 h 158"/>
                <a:gd name="T102" fmla="*/ 79 w 158"/>
                <a:gd name="T103" fmla="*/ 31 h 158"/>
                <a:gd name="T104" fmla="*/ 127 w 158"/>
                <a:gd name="T105" fmla="*/ 79 h 158"/>
                <a:gd name="T106" fmla="*/ 79 w 158"/>
                <a:gd name="T107" fmla="*/ 127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58" h="158">
                  <a:moveTo>
                    <a:pt x="151" y="64"/>
                  </a:moveTo>
                  <a:cubicBezTo>
                    <a:pt x="137" y="60"/>
                    <a:pt x="137" y="60"/>
                    <a:pt x="137" y="60"/>
                  </a:cubicBezTo>
                  <a:cubicBezTo>
                    <a:pt x="136" y="57"/>
                    <a:pt x="135" y="54"/>
                    <a:pt x="133" y="51"/>
                  </a:cubicBezTo>
                  <a:cubicBezTo>
                    <a:pt x="141" y="39"/>
                    <a:pt x="141" y="39"/>
                    <a:pt x="141" y="39"/>
                  </a:cubicBezTo>
                  <a:cubicBezTo>
                    <a:pt x="143" y="35"/>
                    <a:pt x="142" y="30"/>
                    <a:pt x="139" y="26"/>
                  </a:cubicBezTo>
                  <a:cubicBezTo>
                    <a:pt x="132" y="19"/>
                    <a:pt x="132" y="19"/>
                    <a:pt x="132" y="19"/>
                  </a:cubicBezTo>
                  <a:cubicBezTo>
                    <a:pt x="129" y="16"/>
                    <a:pt x="123" y="15"/>
                    <a:pt x="119" y="18"/>
                  </a:cubicBezTo>
                  <a:cubicBezTo>
                    <a:pt x="107" y="25"/>
                    <a:pt x="107" y="25"/>
                    <a:pt x="107" y="25"/>
                  </a:cubicBezTo>
                  <a:cubicBezTo>
                    <a:pt x="104" y="23"/>
                    <a:pt x="101" y="22"/>
                    <a:pt x="98" y="21"/>
                  </a:cubicBezTo>
                  <a:cubicBezTo>
                    <a:pt x="95" y="7"/>
                    <a:pt x="95" y="7"/>
                    <a:pt x="95" y="7"/>
                  </a:cubicBezTo>
                  <a:cubicBezTo>
                    <a:pt x="93" y="3"/>
                    <a:pt x="89" y="0"/>
                    <a:pt x="84" y="0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70" y="0"/>
                    <a:pt x="66" y="3"/>
                    <a:pt x="64" y="7"/>
                  </a:cubicBezTo>
                  <a:cubicBezTo>
                    <a:pt x="61" y="21"/>
                    <a:pt x="61" y="21"/>
                    <a:pt x="61" y="21"/>
                  </a:cubicBezTo>
                  <a:cubicBezTo>
                    <a:pt x="58" y="22"/>
                    <a:pt x="55" y="23"/>
                    <a:pt x="52" y="25"/>
                  </a:cubicBezTo>
                  <a:cubicBezTo>
                    <a:pt x="40" y="18"/>
                    <a:pt x="40" y="18"/>
                    <a:pt x="40" y="18"/>
                  </a:cubicBezTo>
                  <a:cubicBezTo>
                    <a:pt x="36" y="15"/>
                    <a:pt x="30" y="16"/>
                    <a:pt x="27" y="19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17" y="30"/>
                    <a:pt x="16" y="35"/>
                    <a:pt x="18" y="39"/>
                  </a:cubicBezTo>
                  <a:cubicBezTo>
                    <a:pt x="26" y="51"/>
                    <a:pt x="26" y="51"/>
                    <a:pt x="26" y="51"/>
                  </a:cubicBezTo>
                  <a:cubicBezTo>
                    <a:pt x="24" y="54"/>
                    <a:pt x="23" y="57"/>
                    <a:pt x="22" y="60"/>
                  </a:cubicBezTo>
                  <a:cubicBezTo>
                    <a:pt x="8" y="64"/>
                    <a:pt x="8" y="64"/>
                    <a:pt x="8" y="64"/>
                  </a:cubicBezTo>
                  <a:cubicBezTo>
                    <a:pt x="4" y="65"/>
                    <a:pt x="0" y="69"/>
                    <a:pt x="0" y="74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0" y="88"/>
                    <a:pt x="4" y="93"/>
                    <a:pt x="8" y="94"/>
                  </a:cubicBezTo>
                  <a:cubicBezTo>
                    <a:pt x="22" y="98"/>
                    <a:pt x="22" y="98"/>
                    <a:pt x="22" y="98"/>
                  </a:cubicBezTo>
                  <a:cubicBezTo>
                    <a:pt x="23" y="100"/>
                    <a:pt x="24" y="103"/>
                    <a:pt x="26" y="106"/>
                  </a:cubicBezTo>
                  <a:cubicBezTo>
                    <a:pt x="18" y="118"/>
                    <a:pt x="18" y="118"/>
                    <a:pt x="18" y="118"/>
                  </a:cubicBezTo>
                  <a:cubicBezTo>
                    <a:pt x="16" y="122"/>
                    <a:pt x="17" y="128"/>
                    <a:pt x="20" y="131"/>
                  </a:cubicBezTo>
                  <a:cubicBezTo>
                    <a:pt x="27" y="138"/>
                    <a:pt x="27" y="138"/>
                    <a:pt x="27" y="138"/>
                  </a:cubicBezTo>
                  <a:cubicBezTo>
                    <a:pt x="30" y="141"/>
                    <a:pt x="36" y="142"/>
                    <a:pt x="40" y="140"/>
                  </a:cubicBezTo>
                  <a:cubicBezTo>
                    <a:pt x="52" y="133"/>
                    <a:pt x="52" y="133"/>
                    <a:pt x="52" y="133"/>
                  </a:cubicBezTo>
                  <a:cubicBezTo>
                    <a:pt x="55" y="134"/>
                    <a:pt x="58" y="135"/>
                    <a:pt x="61" y="136"/>
                  </a:cubicBezTo>
                  <a:cubicBezTo>
                    <a:pt x="64" y="150"/>
                    <a:pt x="64" y="150"/>
                    <a:pt x="64" y="150"/>
                  </a:cubicBezTo>
                  <a:cubicBezTo>
                    <a:pt x="66" y="154"/>
                    <a:pt x="70" y="158"/>
                    <a:pt x="74" y="158"/>
                  </a:cubicBezTo>
                  <a:cubicBezTo>
                    <a:pt x="84" y="158"/>
                    <a:pt x="84" y="158"/>
                    <a:pt x="84" y="158"/>
                  </a:cubicBezTo>
                  <a:cubicBezTo>
                    <a:pt x="89" y="158"/>
                    <a:pt x="93" y="154"/>
                    <a:pt x="95" y="150"/>
                  </a:cubicBezTo>
                  <a:cubicBezTo>
                    <a:pt x="98" y="136"/>
                    <a:pt x="98" y="136"/>
                    <a:pt x="98" y="136"/>
                  </a:cubicBezTo>
                  <a:cubicBezTo>
                    <a:pt x="101" y="135"/>
                    <a:pt x="104" y="134"/>
                    <a:pt x="107" y="133"/>
                  </a:cubicBezTo>
                  <a:cubicBezTo>
                    <a:pt x="119" y="140"/>
                    <a:pt x="119" y="140"/>
                    <a:pt x="119" y="140"/>
                  </a:cubicBezTo>
                  <a:cubicBezTo>
                    <a:pt x="123" y="142"/>
                    <a:pt x="129" y="141"/>
                    <a:pt x="132" y="138"/>
                  </a:cubicBezTo>
                  <a:cubicBezTo>
                    <a:pt x="139" y="131"/>
                    <a:pt x="139" y="131"/>
                    <a:pt x="139" y="131"/>
                  </a:cubicBezTo>
                  <a:cubicBezTo>
                    <a:pt x="142" y="128"/>
                    <a:pt x="143" y="122"/>
                    <a:pt x="141" y="118"/>
                  </a:cubicBezTo>
                  <a:cubicBezTo>
                    <a:pt x="133" y="106"/>
                    <a:pt x="133" y="106"/>
                    <a:pt x="133" y="106"/>
                  </a:cubicBezTo>
                  <a:cubicBezTo>
                    <a:pt x="135" y="103"/>
                    <a:pt x="136" y="100"/>
                    <a:pt x="137" y="98"/>
                  </a:cubicBezTo>
                  <a:cubicBezTo>
                    <a:pt x="151" y="94"/>
                    <a:pt x="151" y="94"/>
                    <a:pt x="151" y="94"/>
                  </a:cubicBezTo>
                  <a:cubicBezTo>
                    <a:pt x="155" y="93"/>
                    <a:pt x="158" y="88"/>
                    <a:pt x="158" y="84"/>
                  </a:cubicBezTo>
                  <a:cubicBezTo>
                    <a:pt x="158" y="74"/>
                    <a:pt x="158" y="74"/>
                    <a:pt x="158" y="74"/>
                  </a:cubicBezTo>
                  <a:cubicBezTo>
                    <a:pt x="158" y="69"/>
                    <a:pt x="155" y="65"/>
                    <a:pt x="151" y="64"/>
                  </a:cubicBezTo>
                  <a:close/>
                  <a:moveTo>
                    <a:pt x="79" y="127"/>
                  </a:moveTo>
                  <a:cubicBezTo>
                    <a:pt x="53" y="127"/>
                    <a:pt x="32" y="105"/>
                    <a:pt x="32" y="79"/>
                  </a:cubicBezTo>
                  <a:cubicBezTo>
                    <a:pt x="32" y="52"/>
                    <a:pt x="53" y="31"/>
                    <a:pt x="79" y="31"/>
                  </a:cubicBezTo>
                  <a:cubicBezTo>
                    <a:pt x="106" y="31"/>
                    <a:pt x="127" y="52"/>
                    <a:pt x="127" y="79"/>
                  </a:cubicBezTo>
                  <a:cubicBezTo>
                    <a:pt x="127" y="105"/>
                    <a:pt x="106" y="127"/>
                    <a:pt x="79" y="12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E902AF76-BB52-9796-71D5-F8EFFCE56800}"/>
                </a:ext>
              </a:extLst>
            </p:cNvPr>
            <p:cNvSpPr/>
            <p:nvPr/>
          </p:nvSpPr>
          <p:spPr>
            <a:xfrm>
              <a:off x="604542" y="1977953"/>
              <a:ext cx="538458" cy="538458"/>
            </a:xfrm>
            <a:prstGeom prst="ellipse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+mn-cs"/>
                </a:rPr>
                <a:t>05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42661097"/>
      </p:ext>
    </p:extLst>
  </p:cSld>
  <p:clrMapOvr>
    <a:masterClrMapping/>
  </p:clrMapOvr>
</p:sld>
</file>

<file path=ppt/slides/slide1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59AA73-EBEC-7C82-176B-E74FCF6EF2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think-cell data - do not delete" hidden="1">
            <a:extLst>
              <a:ext uri="{FF2B5EF4-FFF2-40B4-BE49-F238E27FC236}">
                <a16:creationId xmlns:a16="http://schemas.microsoft.com/office/drawing/2014/main" id="{28CCBFAC-49FF-1724-00AF-D3F022FF457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46652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021D83E-F6AC-6A2E-2579-315B5BB5FC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Ide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27C546C-B990-6999-AAB6-FE7014B3F8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60</a:t>
            </a:fld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43A3CFB-18FA-7D6B-79D9-D24DDCA92126}"/>
              </a:ext>
            </a:extLst>
          </p:cNvPr>
          <p:cNvGrpSpPr/>
          <p:nvPr/>
        </p:nvGrpSpPr>
        <p:grpSpPr>
          <a:xfrm>
            <a:off x="7087598" y="3399346"/>
            <a:ext cx="1907254" cy="2739447"/>
            <a:chOff x="5328882" y="2549454"/>
            <a:chExt cx="1433988" cy="2059681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55FEB668-7A9B-9720-3E97-4E5933CD6734}"/>
                </a:ext>
              </a:extLst>
            </p:cNvPr>
            <p:cNvSpPr txBox="1"/>
            <p:nvPr/>
          </p:nvSpPr>
          <p:spPr>
            <a:xfrm flipH="1">
              <a:off x="5538228" y="2879069"/>
              <a:ext cx="1041309" cy="707886"/>
            </a:xfrm>
            <a:prstGeom prst="rect">
              <a:avLst/>
            </a:prstGeom>
            <a:noFill/>
          </p:spPr>
          <p:txBody>
            <a:bodyPr wrap="square" rtlCol="0" anchor="ctr" anchorCtr="1">
              <a:noAutofit/>
            </a:bodyPr>
            <a:lstStyle/>
            <a:p>
              <a:pPr algn="ctr"/>
              <a:r>
                <a:rPr lang="en-US" sz="2400" b="1" dirty="0"/>
                <a:t>Insert heading</a:t>
              </a:r>
            </a:p>
          </p:txBody>
        </p:sp>
        <p:sp>
          <p:nvSpPr>
            <p:cNvPr id="7" name="Arc 6">
              <a:extLst>
                <a:ext uri="{FF2B5EF4-FFF2-40B4-BE49-F238E27FC236}">
                  <a16:creationId xmlns:a16="http://schemas.microsoft.com/office/drawing/2014/main" id="{99E4B3CB-8010-5760-1C3F-6667A557CE30}"/>
                </a:ext>
              </a:extLst>
            </p:cNvPr>
            <p:cNvSpPr/>
            <p:nvPr/>
          </p:nvSpPr>
          <p:spPr>
            <a:xfrm>
              <a:off x="5328882" y="2549454"/>
              <a:ext cx="1433988" cy="1433987"/>
            </a:xfrm>
            <a:prstGeom prst="arc">
              <a:avLst>
                <a:gd name="adj1" fmla="val 7836615"/>
                <a:gd name="adj2" fmla="val 2950439"/>
              </a:avLst>
            </a:prstGeom>
            <a:ln w="1270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 anchorCtr="1"/>
            <a:lstStyle/>
            <a:p>
              <a:pPr algn="ctr"/>
              <a:endParaRPr lang="en-US" sz="2400" dirty="0"/>
            </a:p>
          </p:txBody>
        </p:sp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DEF295AD-BA12-6499-6051-83512E327FE1}"/>
                </a:ext>
              </a:extLst>
            </p:cNvPr>
            <p:cNvSpPr/>
            <p:nvPr/>
          </p:nvSpPr>
          <p:spPr>
            <a:xfrm rot="2684411">
              <a:off x="5423984" y="3707222"/>
              <a:ext cx="227048" cy="119972"/>
            </a:xfrm>
            <a:prstGeom prst="roundRect">
              <a:avLst>
                <a:gd name="adj" fmla="val 50000"/>
              </a:avLst>
            </a:prstGeom>
            <a:solidFill>
              <a:schemeClr val="accent6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1"/>
            <a:lstStyle/>
            <a:p>
              <a:pPr algn="ctr"/>
              <a:endParaRPr lang="en-US" sz="2400" dirty="0" err="1">
                <a:solidFill>
                  <a:schemeClr val="tx1"/>
                </a:solidFill>
              </a:endParaRPr>
            </a:p>
          </p:txBody>
        </p: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FE8A7D5E-337F-E0AB-F7D1-397658F94D67}"/>
                </a:ext>
              </a:extLst>
            </p:cNvPr>
            <p:cNvSpPr/>
            <p:nvPr/>
          </p:nvSpPr>
          <p:spPr>
            <a:xfrm rot="18915589" flipH="1">
              <a:off x="6423656" y="3729367"/>
              <a:ext cx="227048" cy="118784"/>
            </a:xfrm>
            <a:prstGeom prst="roundRect">
              <a:avLst>
                <a:gd name="adj" fmla="val 50000"/>
              </a:avLst>
            </a:prstGeom>
            <a:solidFill>
              <a:schemeClr val="accent6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1"/>
            <a:lstStyle/>
            <a:p>
              <a:pPr algn="ctr"/>
              <a:endParaRPr lang="en-US" sz="2400" dirty="0" err="1">
                <a:solidFill>
                  <a:schemeClr val="tx1"/>
                </a:solidFill>
              </a:endParaRPr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7E8DDB3A-4D49-3AB5-0CF7-4AA64B228295}"/>
                </a:ext>
              </a:extLst>
            </p:cNvPr>
            <p:cNvSpPr/>
            <p:nvPr/>
          </p:nvSpPr>
          <p:spPr>
            <a:xfrm flipH="1">
              <a:off x="5653772" y="3882904"/>
              <a:ext cx="764793" cy="146390"/>
            </a:xfrm>
            <a:prstGeom prst="roundRect">
              <a:avLst>
                <a:gd name="adj" fmla="val 50000"/>
              </a:avLst>
            </a:prstGeom>
            <a:solidFill>
              <a:schemeClr val="accent6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1"/>
            <a:lstStyle/>
            <a:p>
              <a:pPr algn="ctr"/>
              <a:endParaRPr lang="en-US" sz="2400" dirty="0" err="1">
                <a:solidFill>
                  <a:schemeClr val="tx1"/>
                </a:solidFill>
              </a:endParaRPr>
            </a:p>
          </p:txBody>
        </p: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64BAED82-4736-393D-3694-E0E2B6139CBF}"/>
                </a:ext>
              </a:extLst>
            </p:cNvPr>
            <p:cNvSpPr/>
            <p:nvPr/>
          </p:nvSpPr>
          <p:spPr>
            <a:xfrm flipH="1">
              <a:off x="5653772" y="4063651"/>
              <a:ext cx="764793" cy="146390"/>
            </a:xfrm>
            <a:prstGeom prst="roundRect">
              <a:avLst>
                <a:gd name="adj" fmla="val 50000"/>
              </a:avLst>
            </a:prstGeom>
            <a:solidFill>
              <a:schemeClr val="accent6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1"/>
            <a:lstStyle/>
            <a:p>
              <a:pPr algn="ctr"/>
              <a:endParaRPr lang="en-US" sz="2400" dirty="0" err="1">
                <a:solidFill>
                  <a:schemeClr val="tx1"/>
                </a:solidFill>
              </a:endParaRPr>
            </a:p>
          </p:txBody>
        </p: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AB42D8CD-2A38-611E-B852-83408596CAF3}"/>
                </a:ext>
              </a:extLst>
            </p:cNvPr>
            <p:cNvSpPr/>
            <p:nvPr/>
          </p:nvSpPr>
          <p:spPr>
            <a:xfrm flipH="1">
              <a:off x="5653772" y="4244400"/>
              <a:ext cx="764793" cy="146390"/>
            </a:xfrm>
            <a:prstGeom prst="roundRect">
              <a:avLst>
                <a:gd name="adj" fmla="val 50000"/>
              </a:avLst>
            </a:prstGeom>
            <a:solidFill>
              <a:schemeClr val="accent6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1"/>
            <a:lstStyle/>
            <a:p>
              <a:pPr algn="ctr"/>
              <a:endParaRPr lang="en-US" sz="2400" dirty="0" err="1">
                <a:solidFill>
                  <a:schemeClr val="tx1"/>
                </a:solidFill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CF9C082D-6B0C-8D4A-C48A-6B84BB42C462}"/>
                </a:ext>
              </a:extLst>
            </p:cNvPr>
            <p:cNvSpPr/>
            <p:nvPr/>
          </p:nvSpPr>
          <p:spPr>
            <a:xfrm rot="5400000" flipH="1">
              <a:off x="5953882" y="4275156"/>
              <a:ext cx="183989" cy="483970"/>
            </a:xfrm>
            <a:custGeom>
              <a:avLst/>
              <a:gdLst>
                <a:gd name="connsiteX0" fmla="*/ 146654 w 146654"/>
                <a:gd name="connsiteY0" fmla="*/ 384158 h 385762"/>
                <a:gd name="connsiteX1" fmla="*/ 142014 w 146654"/>
                <a:gd name="connsiteY1" fmla="*/ 361175 h 385762"/>
                <a:gd name="connsiteX2" fmla="*/ 142014 w 146654"/>
                <a:gd name="connsiteY2" fmla="*/ 668 h 385762"/>
                <a:gd name="connsiteX3" fmla="*/ 138708 w 146654"/>
                <a:gd name="connsiteY3" fmla="*/ 0 h 385762"/>
                <a:gd name="connsiteX4" fmla="*/ 0 w 146654"/>
                <a:gd name="connsiteY4" fmla="*/ 138708 h 385762"/>
                <a:gd name="connsiteX5" fmla="*/ 0 w 146654"/>
                <a:gd name="connsiteY5" fmla="*/ 247054 h 385762"/>
                <a:gd name="connsiteX6" fmla="*/ 138708 w 146654"/>
                <a:gd name="connsiteY6" fmla="*/ 385762 h 385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6654" h="385762">
                  <a:moveTo>
                    <a:pt x="146654" y="384158"/>
                  </a:moveTo>
                  <a:lnTo>
                    <a:pt x="142014" y="361175"/>
                  </a:lnTo>
                  <a:lnTo>
                    <a:pt x="142014" y="668"/>
                  </a:lnTo>
                  <a:lnTo>
                    <a:pt x="138708" y="0"/>
                  </a:lnTo>
                  <a:cubicBezTo>
                    <a:pt x="62102" y="0"/>
                    <a:pt x="0" y="62102"/>
                    <a:pt x="0" y="138708"/>
                  </a:cubicBezTo>
                  <a:lnTo>
                    <a:pt x="0" y="247054"/>
                  </a:lnTo>
                  <a:cubicBezTo>
                    <a:pt x="0" y="323660"/>
                    <a:pt x="62102" y="385762"/>
                    <a:pt x="138708" y="385762"/>
                  </a:cubicBezTo>
                  <a:close/>
                </a:path>
              </a:pathLst>
            </a:custGeom>
            <a:solidFill>
              <a:schemeClr val="accent6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1"/>
            <a:lstStyle/>
            <a:p>
              <a:pPr algn="ctr"/>
              <a:endParaRPr lang="en-US" sz="24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45A60575-C321-9C45-6CED-8065C54FBF5E}"/>
              </a:ext>
            </a:extLst>
          </p:cNvPr>
          <p:cNvSpPr/>
          <p:nvPr/>
        </p:nvSpPr>
        <p:spPr>
          <a:xfrm flipH="1">
            <a:off x="9265041" y="4412575"/>
            <a:ext cx="504631" cy="121964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endParaRPr lang="en-US" sz="2400" dirty="0" err="1">
              <a:solidFill>
                <a:schemeClr val="tx1"/>
              </a:solidFill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4E5DD5DC-46C2-BC98-FD41-CDBCADA1BA5D}"/>
              </a:ext>
            </a:extLst>
          </p:cNvPr>
          <p:cNvSpPr/>
          <p:nvPr/>
        </p:nvSpPr>
        <p:spPr>
          <a:xfrm>
            <a:off x="9887053" y="3775501"/>
            <a:ext cx="1396116" cy="1396115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Insert heading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F444BF03-6D93-3BBE-A23A-44F50A46CB04}"/>
              </a:ext>
            </a:extLst>
          </p:cNvPr>
          <p:cNvSpPr/>
          <p:nvPr/>
        </p:nvSpPr>
        <p:spPr>
          <a:xfrm rot="16200000" flipH="1">
            <a:off x="7809416" y="2851897"/>
            <a:ext cx="463622" cy="121964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endParaRPr lang="en-US" sz="2400" dirty="0" err="1">
              <a:solidFill>
                <a:schemeClr val="tx1"/>
              </a:solidFill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CB112057-74C7-0D2A-7228-996847050F76}"/>
              </a:ext>
            </a:extLst>
          </p:cNvPr>
          <p:cNvSpPr/>
          <p:nvPr/>
        </p:nvSpPr>
        <p:spPr>
          <a:xfrm>
            <a:off x="7330254" y="1195548"/>
            <a:ext cx="1396116" cy="1396115"/>
          </a:xfrm>
          <a:prstGeom prst="ellipse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Insert heading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96FA44AB-15CE-4227-BDC9-FD31C5ECAB4E}"/>
              </a:ext>
            </a:extLst>
          </p:cNvPr>
          <p:cNvSpPr/>
          <p:nvPr/>
        </p:nvSpPr>
        <p:spPr>
          <a:xfrm>
            <a:off x="6347377" y="4412577"/>
            <a:ext cx="504631" cy="121964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endParaRPr lang="en-US" sz="2400" dirty="0" err="1">
              <a:solidFill>
                <a:schemeClr val="tx1"/>
              </a:solidFill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E5D449B5-3033-80FB-C8B2-B5BC6FF2E037}"/>
              </a:ext>
            </a:extLst>
          </p:cNvPr>
          <p:cNvSpPr/>
          <p:nvPr/>
        </p:nvSpPr>
        <p:spPr>
          <a:xfrm flipH="1">
            <a:off x="4833880" y="3775503"/>
            <a:ext cx="1396116" cy="1396115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Insert heading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8F757A0-6438-8E00-B883-61F8E8169F75}"/>
              </a:ext>
            </a:extLst>
          </p:cNvPr>
          <p:cNvSpPr txBox="1"/>
          <p:nvPr/>
        </p:nvSpPr>
        <p:spPr>
          <a:xfrm flipH="1">
            <a:off x="878671" y="1841029"/>
            <a:ext cx="3597749" cy="3652282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spcBef>
                <a:spcPts val="1596"/>
              </a:spcBef>
            </a:pPr>
            <a:r>
              <a:rPr lang="en-US" b="1" dirty="0">
                <a:solidFill>
                  <a:schemeClr val="tx2"/>
                </a:solidFill>
              </a:rPr>
              <a:t>Heading</a:t>
            </a:r>
          </a:p>
          <a:p>
            <a:pPr marL="290822" indent="-290822">
              <a:spcBef>
                <a:spcPts val="1596"/>
              </a:spcBef>
              <a:buFont typeface="Arial" panose="020B0604020202020204" pitchFamily="34" charset="0"/>
              <a:buChar char="•"/>
            </a:pPr>
            <a:r>
              <a:rPr lang="en-US" dirty="0"/>
              <a:t>Insert your text here</a:t>
            </a:r>
          </a:p>
          <a:p>
            <a:pPr marL="290822" indent="-290822">
              <a:spcBef>
                <a:spcPts val="1596"/>
              </a:spcBef>
              <a:buFont typeface="Arial" panose="020B0604020202020204" pitchFamily="34" charset="0"/>
              <a:buChar char="•"/>
            </a:pPr>
            <a:r>
              <a:rPr lang="en-US" dirty="0"/>
              <a:t>Insert your text here</a:t>
            </a:r>
          </a:p>
          <a:p>
            <a:pPr marL="290822" indent="-290822">
              <a:spcBef>
                <a:spcPts val="1596"/>
              </a:spcBef>
              <a:buFont typeface="Arial" panose="020B0604020202020204" pitchFamily="34" charset="0"/>
              <a:buChar char="•"/>
            </a:pPr>
            <a:r>
              <a:rPr lang="en-US" dirty="0"/>
              <a:t>Insert your text here</a:t>
            </a:r>
          </a:p>
          <a:p>
            <a:pPr marL="290822" indent="-290822">
              <a:spcBef>
                <a:spcPts val="1596"/>
              </a:spcBef>
              <a:buFont typeface="Arial" panose="020B0604020202020204" pitchFamily="34" charset="0"/>
              <a:buChar char="•"/>
            </a:pPr>
            <a:r>
              <a:rPr lang="en-US" dirty="0"/>
              <a:t>Insert your text here</a:t>
            </a:r>
          </a:p>
          <a:p>
            <a:pPr marL="290822" indent="-290822">
              <a:spcBef>
                <a:spcPts val="1596"/>
              </a:spcBef>
              <a:buFont typeface="Arial" panose="020B0604020202020204" pitchFamily="34" charset="0"/>
              <a:buChar char="•"/>
            </a:pPr>
            <a:r>
              <a:rPr lang="en-US" dirty="0"/>
              <a:t>Insert your text here</a:t>
            </a:r>
          </a:p>
          <a:p>
            <a:pPr marL="290822" indent="-290822">
              <a:spcBef>
                <a:spcPts val="1596"/>
              </a:spcBef>
              <a:buFont typeface="Arial" panose="020B0604020202020204" pitchFamily="34" charset="0"/>
              <a:buChar char="•"/>
            </a:pPr>
            <a:r>
              <a:rPr lang="en-US" dirty="0"/>
              <a:t>Insert your text here</a:t>
            </a:r>
          </a:p>
          <a:p>
            <a:pPr marL="290822" indent="-290822">
              <a:spcBef>
                <a:spcPts val="1596"/>
              </a:spcBef>
              <a:buFont typeface="Arial" panose="020B0604020202020204" pitchFamily="34" charset="0"/>
              <a:buChar char="•"/>
            </a:pPr>
            <a:r>
              <a:rPr lang="en-US" dirty="0"/>
              <a:t>Insert your text here</a:t>
            </a:r>
          </a:p>
        </p:txBody>
      </p:sp>
    </p:spTree>
    <p:extLst>
      <p:ext uri="{BB962C8B-B14F-4D97-AF65-F5344CB8AC3E}">
        <p14:creationId xmlns:p14="http://schemas.microsoft.com/office/powerpoint/2010/main" val="4161477303"/>
      </p:ext>
    </p:extLst>
  </p:cSld>
  <p:clrMapOvr>
    <a:masterClrMapping/>
  </p:clrMapOvr>
</p:sld>
</file>

<file path=ppt/slides/slide1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8F6522-D232-893A-EEF4-C65136E8AC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think-cell data - do not delete" hidden="1">
            <a:extLst>
              <a:ext uri="{FF2B5EF4-FFF2-40B4-BE49-F238E27FC236}">
                <a16:creationId xmlns:a16="http://schemas.microsoft.com/office/drawing/2014/main" id="{21041C2B-72EF-A5E8-1D6D-46F880F045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07117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B861BDE-AE9B-C136-56EB-46146C5C9B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Ide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B98A3BA-054B-D674-29C8-FDDE8E0D16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61</a:t>
            </a:fld>
            <a:endParaRPr lang="en-US" dirty="0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77AB79E6-7131-B017-F024-53B48F47F213}"/>
              </a:ext>
            </a:extLst>
          </p:cNvPr>
          <p:cNvGrpSpPr/>
          <p:nvPr/>
        </p:nvGrpSpPr>
        <p:grpSpPr>
          <a:xfrm>
            <a:off x="9265041" y="3775501"/>
            <a:ext cx="2018128" cy="1396115"/>
            <a:chOff x="6966014" y="2832270"/>
            <a:chExt cx="1517350" cy="1049683"/>
          </a:xfrm>
        </p:grpSpPr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2103DFFF-CFD9-D064-F16B-EF838E722ABC}"/>
                </a:ext>
              </a:extLst>
            </p:cNvPr>
            <p:cNvSpPr/>
            <p:nvPr/>
          </p:nvSpPr>
          <p:spPr>
            <a:xfrm flipH="1">
              <a:off x="6966014" y="3311261"/>
              <a:ext cx="379412" cy="91700"/>
            </a:xfrm>
            <a:prstGeom prst="roundRect">
              <a:avLst>
                <a:gd name="adj" fmla="val 50000"/>
              </a:avLst>
            </a:prstGeom>
            <a:solidFill>
              <a:schemeClr val="accent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1"/>
            <a:lstStyle/>
            <a:p>
              <a:pPr algn="ctr"/>
              <a:endParaRPr lang="en-US" sz="2400" dirty="0" err="1">
                <a:solidFill>
                  <a:schemeClr val="tx1"/>
                </a:solidFill>
              </a:endParaRPr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DAB81C05-77E5-7FC9-08D2-C0D9B726A79C}"/>
                </a:ext>
              </a:extLst>
            </p:cNvPr>
            <p:cNvSpPr/>
            <p:nvPr/>
          </p:nvSpPr>
          <p:spPr>
            <a:xfrm>
              <a:off x="7433680" y="2832270"/>
              <a:ext cx="1049684" cy="1049683"/>
            </a:xfrm>
            <a:prstGeom prst="ellipse">
              <a:avLst/>
            </a:prstGeom>
            <a:solidFill>
              <a:schemeClr val="accent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1"/>
            <a:lstStyle/>
            <a:p>
              <a:pPr algn="ctr"/>
              <a:r>
                <a:rPr lang="en-US" b="1" dirty="0">
                  <a:solidFill>
                    <a:schemeClr val="bg1"/>
                  </a:solidFill>
                </a:rPr>
                <a:t>Insert heading</a:t>
              </a:r>
            </a:p>
          </p:txBody>
        </p:sp>
      </p:grpSp>
      <p:sp>
        <p:nvSpPr>
          <p:cNvPr id="22" name="Oval 21">
            <a:extLst>
              <a:ext uri="{FF2B5EF4-FFF2-40B4-BE49-F238E27FC236}">
                <a16:creationId xmlns:a16="http://schemas.microsoft.com/office/drawing/2014/main" id="{51286D1B-44FE-DDA5-8E79-455681E32057}"/>
              </a:ext>
            </a:extLst>
          </p:cNvPr>
          <p:cNvSpPr/>
          <p:nvPr/>
        </p:nvSpPr>
        <p:spPr>
          <a:xfrm>
            <a:off x="8830721" y="1658570"/>
            <a:ext cx="1396116" cy="1396115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Insert heading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EA6580EE-9FE1-5FC4-A297-4453C745CA2E}"/>
              </a:ext>
            </a:extLst>
          </p:cNvPr>
          <p:cNvGrpSpPr/>
          <p:nvPr/>
        </p:nvGrpSpPr>
        <p:grpSpPr>
          <a:xfrm>
            <a:off x="4833880" y="3775501"/>
            <a:ext cx="2018128" cy="1396115"/>
            <a:chOff x="3634401" y="2832270"/>
            <a:chExt cx="1517350" cy="1049683"/>
          </a:xfrm>
        </p:grpSpPr>
        <p:sp>
          <p:nvSpPr>
            <p:cNvPr id="24" name="Rectangle: Rounded Corners 23">
              <a:extLst>
                <a:ext uri="{FF2B5EF4-FFF2-40B4-BE49-F238E27FC236}">
                  <a16:creationId xmlns:a16="http://schemas.microsoft.com/office/drawing/2014/main" id="{BEB0AB5A-ED7D-9F32-6277-4A31E8F7E8AA}"/>
                </a:ext>
              </a:extLst>
            </p:cNvPr>
            <p:cNvSpPr/>
            <p:nvPr/>
          </p:nvSpPr>
          <p:spPr>
            <a:xfrm>
              <a:off x="4772339" y="3311262"/>
              <a:ext cx="379412" cy="91700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1"/>
            <a:lstStyle/>
            <a:p>
              <a:pPr algn="ctr"/>
              <a:endParaRPr lang="en-US" sz="2400" dirty="0" err="1">
                <a:solidFill>
                  <a:schemeClr val="tx1"/>
                </a:solidFill>
              </a:endParaRPr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BE80F79C-74DF-3921-D21A-D3181DAEFC3B}"/>
                </a:ext>
              </a:extLst>
            </p:cNvPr>
            <p:cNvSpPr/>
            <p:nvPr/>
          </p:nvSpPr>
          <p:spPr>
            <a:xfrm flipH="1">
              <a:off x="3634401" y="2832270"/>
              <a:ext cx="1049684" cy="1049683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1"/>
            <a:lstStyle/>
            <a:p>
              <a:pPr algn="ctr"/>
              <a:r>
                <a:rPr lang="en-US" b="1" dirty="0">
                  <a:solidFill>
                    <a:schemeClr val="bg1"/>
                  </a:solidFill>
                </a:rPr>
                <a:t>Insert heading</a:t>
              </a:r>
            </a:p>
          </p:txBody>
        </p:sp>
      </p:grpSp>
      <p:sp>
        <p:nvSpPr>
          <p:cNvPr id="26" name="Oval 25">
            <a:extLst>
              <a:ext uri="{FF2B5EF4-FFF2-40B4-BE49-F238E27FC236}">
                <a16:creationId xmlns:a16="http://schemas.microsoft.com/office/drawing/2014/main" id="{DFA9D1B5-E2C1-298F-2AF7-5895A6C994AB}"/>
              </a:ext>
            </a:extLst>
          </p:cNvPr>
          <p:cNvSpPr/>
          <p:nvPr/>
        </p:nvSpPr>
        <p:spPr>
          <a:xfrm flipH="1">
            <a:off x="5896204" y="1655850"/>
            <a:ext cx="1396116" cy="1396115"/>
          </a:xfrm>
          <a:prstGeom prst="ellipse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Insert heading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124A6F4F-0FF7-B22A-C8C2-3FEBB1AEE125}"/>
              </a:ext>
            </a:extLst>
          </p:cNvPr>
          <p:cNvGrpSpPr/>
          <p:nvPr/>
        </p:nvGrpSpPr>
        <p:grpSpPr>
          <a:xfrm>
            <a:off x="7087598" y="3399346"/>
            <a:ext cx="1907254" cy="2739447"/>
            <a:chOff x="5328882" y="2549454"/>
            <a:chExt cx="1433988" cy="2059681"/>
          </a:xfrm>
        </p:grpSpPr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5E0C3441-5E35-9A7E-5DDD-07BED9C17B19}"/>
                </a:ext>
              </a:extLst>
            </p:cNvPr>
            <p:cNvSpPr txBox="1"/>
            <p:nvPr/>
          </p:nvSpPr>
          <p:spPr>
            <a:xfrm flipH="1">
              <a:off x="5538228" y="2879069"/>
              <a:ext cx="1041309" cy="707886"/>
            </a:xfrm>
            <a:prstGeom prst="rect">
              <a:avLst/>
            </a:prstGeom>
            <a:noFill/>
          </p:spPr>
          <p:txBody>
            <a:bodyPr wrap="square" rtlCol="0" anchor="ctr" anchorCtr="1">
              <a:noAutofit/>
            </a:bodyPr>
            <a:lstStyle/>
            <a:p>
              <a:pPr algn="ctr"/>
              <a:r>
                <a:rPr lang="en-US" sz="2400" b="1" dirty="0"/>
                <a:t>Insert heading</a:t>
              </a:r>
            </a:p>
          </p:txBody>
        </p:sp>
        <p:sp>
          <p:nvSpPr>
            <p:cNvPr id="30" name="Arc 29">
              <a:extLst>
                <a:ext uri="{FF2B5EF4-FFF2-40B4-BE49-F238E27FC236}">
                  <a16:creationId xmlns:a16="http://schemas.microsoft.com/office/drawing/2014/main" id="{6B5B21DA-BC01-B6BE-59A8-EE7FAB1559CB}"/>
                </a:ext>
              </a:extLst>
            </p:cNvPr>
            <p:cNvSpPr/>
            <p:nvPr/>
          </p:nvSpPr>
          <p:spPr>
            <a:xfrm>
              <a:off x="5328882" y="2549454"/>
              <a:ext cx="1433988" cy="1433987"/>
            </a:xfrm>
            <a:prstGeom prst="arc">
              <a:avLst>
                <a:gd name="adj1" fmla="val 7836615"/>
                <a:gd name="adj2" fmla="val 2950439"/>
              </a:avLst>
            </a:prstGeom>
            <a:ln w="1270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 anchorCtr="1"/>
            <a:lstStyle/>
            <a:p>
              <a:pPr algn="ctr"/>
              <a:endParaRPr lang="en-US" sz="2400" dirty="0"/>
            </a:p>
          </p:txBody>
        </p:sp>
        <p:sp>
          <p:nvSpPr>
            <p:cNvPr id="31" name="Rectangle: Rounded Corners 30">
              <a:extLst>
                <a:ext uri="{FF2B5EF4-FFF2-40B4-BE49-F238E27FC236}">
                  <a16:creationId xmlns:a16="http://schemas.microsoft.com/office/drawing/2014/main" id="{02B114EE-4902-1EFC-8BBA-E6F0BB0BCFC1}"/>
                </a:ext>
              </a:extLst>
            </p:cNvPr>
            <p:cNvSpPr/>
            <p:nvPr/>
          </p:nvSpPr>
          <p:spPr>
            <a:xfrm rot="2684411">
              <a:off x="5423984" y="3707222"/>
              <a:ext cx="227048" cy="119972"/>
            </a:xfrm>
            <a:prstGeom prst="roundRect">
              <a:avLst>
                <a:gd name="adj" fmla="val 50000"/>
              </a:avLst>
            </a:prstGeom>
            <a:solidFill>
              <a:schemeClr val="accent6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1"/>
            <a:lstStyle/>
            <a:p>
              <a:pPr algn="ctr"/>
              <a:endParaRPr lang="en-US" sz="2400" dirty="0" err="1">
                <a:solidFill>
                  <a:schemeClr val="tx1"/>
                </a:solidFill>
              </a:endParaRPr>
            </a:p>
          </p:txBody>
        </p:sp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0CAE0845-02AB-6EAB-1CE4-FAAEA2B4C56C}"/>
                </a:ext>
              </a:extLst>
            </p:cNvPr>
            <p:cNvSpPr/>
            <p:nvPr/>
          </p:nvSpPr>
          <p:spPr>
            <a:xfrm rot="18915589" flipH="1">
              <a:off x="6423656" y="3729367"/>
              <a:ext cx="227048" cy="118784"/>
            </a:xfrm>
            <a:prstGeom prst="roundRect">
              <a:avLst>
                <a:gd name="adj" fmla="val 50000"/>
              </a:avLst>
            </a:prstGeom>
            <a:solidFill>
              <a:schemeClr val="accent6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1"/>
            <a:lstStyle/>
            <a:p>
              <a:pPr algn="ctr"/>
              <a:endParaRPr lang="en-US" sz="2400" dirty="0" err="1">
                <a:solidFill>
                  <a:schemeClr val="tx1"/>
                </a:solidFill>
              </a:endParaRPr>
            </a:p>
          </p:txBody>
        </p:sp>
        <p:sp>
          <p:nvSpPr>
            <p:cNvPr id="33" name="Rectangle: Rounded Corners 32">
              <a:extLst>
                <a:ext uri="{FF2B5EF4-FFF2-40B4-BE49-F238E27FC236}">
                  <a16:creationId xmlns:a16="http://schemas.microsoft.com/office/drawing/2014/main" id="{3ABBF270-68C3-6361-0951-A02C6FBF38E2}"/>
                </a:ext>
              </a:extLst>
            </p:cNvPr>
            <p:cNvSpPr/>
            <p:nvPr/>
          </p:nvSpPr>
          <p:spPr>
            <a:xfrm flipH="1">
              <a:off x="5653772" y="3882904"/>
              <a:ext cx="764793" cy="146390"/>
            </a:xfrm>
            <a:prstGeom prst="roundRect">
              <a:avLst>
                <a:gd name="adj" fmla="val 50000"/>
              </a:avLst>
            </a:prstGeom>
            <a:solidFill>
              <a:schemeClr val="accent6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1"/>
            <a:lstStyle/>
            <a:p>
              <a:pPr algn="ctr"/>
              <a:endParaRPr lang="en-US" sz="2400" dirty="0" err="1">
                <a:solidFill>
                  <a:schemeClr val="tx1"/>
                </a:solidFill>
              </a:endParaRPr>
            </a:p>
          </p:txBody>
        </p:sp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FF31D619-E59B-ED76-598D-8BF84D6F24ED}"/>
                </a:ext>
              </a:extLst>
            </p:cNvPr>
            <p:cNvSpPr/>
            <p:nvPr/>
          </p:nvSpPr>
          <p:spPr>
            <a:xfrm flipH="1">
              <a:off x="5653772" y="4063651"/>
              <a:ext cx="764793" cy="146390"/>
            </a:xfrm>
            <a:prstGeom prst="roundRect">
              <a:avLst>
                <a:gd name="adj" fmla="val 50000"/>
              </a:avLst>
            </a:prstGeom>
            <a:solidFill>
              <a:schemeClr val="accent6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1"/>
            <a:lstStyle/>
            <a:p>
              <a:pPr algn="ctr"/>
              <a:endParaRPr lang="en-US" sz="2400" dirty="0" err="1">
                <a:solidFill>
                  <a:schemeClr val="tx1"/>
                </a:solidFill>
              </a:endParaRPr>
            </a:p>
          </p:txBody>
        </p:sp>
        <p:sp>
          <p:nvSpPr>
            <p:cNvPr id="35" name="Rectangle: Rounded Corners 34">
              <a:extLst>
                <a:ext uri="{FF2B5EF4-FFF2-40B4-BE49-F238E27FC236}">
                  <a16:creationId xmlns:a16="http://schemas.microsoft.com/office/drawing/2014/main" id="{9D203BBD-0579-7B14-6EA1-F14AF7CD0010}"/>
                </a:ext>
              </a:extLst>
            </p:cNvPr>
            <p:cNvSpPr/>
            <p:nvPr/>
          </p:nvSpPr>
          <p:spPr>
            <a:xfrm flipH="1">
              <a:off x="5653772" y="4244400"/>
              <a:ext cx="764793" cy="146390"/>
            </a:xfrm>
            <a:prstGeom prst="roundRect">
              <a:avLst>
                <a:gd name="adj" fmla="val 50000"/>
              </a:avLst>
            </a:prstGeom>
            <a:solidFill>
              <a:schemeClr val="accent6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1"/>
            <a:lstStyle/>
            <a:p>
              <a:pPr algn="ctr"/>
              <a:endParaRPr lang="en-US" sz="2400" dirty="0" err="1">
                <a:solidFill>
                  <a:schemeClr val="tx1"/>
                </a:solidFill>
              </a:endParaRPr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93DF1EEC-605C-10DE-4B0B-2F2B0925D892}"/>
                </a:ext>
              </a:extLst>
            </p:cNvPr>
            <p:cNvSpPr/>
            <p:nvPr/>
          </p:nvSpPr>
          <p:spPr>
            <a:xfrm rot="5400000" flipH="1">
              <a:off x="5953882" y="4275156"/>
              <a:ext cx="183989" cy="483970"/>
            </a:xfrm>
            <a:custGeom>
              <a:avLst/>
              <a:gdLst>
                <a:gd name="connsiteX0" fmla="*/ 146654 w 146654"/>
                <a:gd name="connsiteY0" fmla="*/ 384158 h 385762"/>
                <a:gd name="connsiteX1" fmla="*/ 142014 w 146654"/>
                <a:gd name="connsiteY1" fmla="*/ 361175 h 385762"/>
                <a:gd name="connsiteX2" fmla="*/ 142014 w 146654"/>
                <a:gd name="connsiteY2" fmla="*/ 668 h 385762"/>
                <a:gd name="connsiteX3" fmla="*/ 138708 w 146654"/>
                <a:gd name="connsiteY3" fmla="*/ 0 h 385762"/>
                <a:gd name="connsiteX4" fmla="*/ 0 w 146654"/>
                <a:gd name="connsiteY4" fmla="*/ 138708 h 385762"/>
                <a:gd name="connsiteX5" fmla="*/ 0 w 146654"/>
                <a:gd name="connsiteY5" fmla="*/ 247054 h 385762"/>
                <a:gd name="connsiteX6" fmla="*/ 138708 w 146654"/>
                <a:gd name="connsiteY6" fmla="*/ 385762 h 385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6654" h="385762">
                  <a:moveTo>
                    <a:pt x="146654" y="384158"/>
                  </a:moveTo>
                  <a:lnTo>
                    <a:pt x="142014" y="361175"/>
                  </a:lnTo>
                  <a:lnTo>
                    <a:pt x="142014" y="668"/>
                  </a:lnTo>
                  <a:lnTo>
                    <a:pt x="138708" y="0"/>
                  </a:lnTo>
                  <a:cubicBezTo>
                    <a:pt x="62102" y="0"/>
                    <a:pt x="0" y="62102"/>
                    <a:pt x="0" y="138708"/>
                  </a:cubicBezTo>
                  <a:lnTo>
                    <a:pt x="0" y="247054"/>
                  </a:lnTo>
                  <a:cubicBezTo>
                    <a:pt x="0" y="323660"/>
                    <a:pt x="62102" y="385762"/>
                    <a:pt x="138708" y="385762"/>
                  </a:cubicBezTo>
                  <a:close/>
                </a:path>
              </a:pathLst>
            </a:custGeom>
            <a:solidFill>
              <a:schemeClr val="accent6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1"/>
            <a:lstStyle/>
            <a:p>
              <a:pPr algn="ctr"/>
              <a:endParaRPr lang="en-US" sz="24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F8518FDC-42C1-74FC-5927-A8157CE72DD3}"/>
              </a:ext>
            </a:extLst>
          </p:cNvPr>
          <p:cNvSpPr/>
          <p:nvPr/>
        </p:nvSpPr>
        <p:spPr>
          <a:xfrm rot="18556811" flipH="1" flipV="1">
            <a:off x="8600454" y="3122152"/>
            <a:ext cx="504631" cy="121964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endParaRPr lang="en-US" sz="2400" dirty="0" err="1">
              <a:solidFill>
                <a:schemeClr val="tx1"/>
              </a:solidFill>
            </a:endParaRP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1743E2B2-7DD2-88ED-4AE3-0D410A2DB1A6}"/>
              </a:ext>
            </a:extLst>
          </p:cNvPr>
          <p:cNvSpPr/>
          <p:nvPr/>
        </p:nvSpPr>
        <p:spPr>
          <a:xfrm rot="3127860">
            <a:off x="6997395" y="3135829"/>
            <a:ext cx="504631" cy="121964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endParaRPr lang="en-US" sz="2400" dirty="0" err="1">
              <a:solidFill>
                <a:schemeClr val="tx1"/>
              </a:solidFill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15B9F011-BB85-76B3-30A2-AABE7C926EA6}"/>
              </a:ext>
            </a:extLst>
          </p:cNvPr>
          <p:cNvSpPr txBox="1"/>
          <p:nvPr/>
        </p:nvSpPr>
        <p:spPr>
          <a:xfrm flipH="1">
            <a:off x="878671" y="1841029"/>
            <a:ext cx="3597749" cy="3652282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spcBef>
                <a:spcPts val="1596"/>
              </a:spcBef>
            </a:pPr>
            <a:r>
              <a:rPr lang="en-US" b="1" dirty="0">
                <a:solidFill>
                  <a:schemeClr val="tx2"/>
                </a:solidFill>
              </a:rPr>
              <a:t>Heading</a:t>
            </a:r>
          </a:p>
          <a:p>
            <a:pPr marL="290822" indent="-290822">
              <a:spcBef>
                <a:spcPts val="1596"/>
              </a:spcBef>
              <a:buFont typeface="Arial" panose="020B0604020202020204" pitchFamily="34" charset="0"/>
              <a:buChar char="•"/>
            </a:pPr>
            <a:r>
              <a:rPr lang="en-US" dirty="0"/>
              <a:t>Insert your text here</a:t>
            </a:r>
          </a:p>
          <a:p>
            <a:pPr marL="290822" indent="-290822">
              <a:spcBef>
                <a:spcPts val="1596"/>
              </a:spcBef>
              <a:buFont typeface="Arial" panose="020B0604020202020204" pitchFamily="34" charset="0"/>
              <a:buChar char="•"/>
            </a:pPr>
            <a:r>
              <a:rPr lang="en-US" dirty="0"/>
              <a:t>Insert your text here</a:t>
            </a:r>
          </a:p>
          <a:p>
            <a:pPr marL="290822" indent="-290822">
              <a:spcBef>
                <a:spcPts val="1596"/>
              </a:spcBef>
              <a:buFont typeface="Arial" panose="020B0604020202020204" pitchFamily="34" charset="0"/>
              <a:buChar char="•"/>
            </a:pPr>
            <a:r>
              <a:rPr lang="en-US" dirty="0"/>
              <a:t>Insert your text here</a:t>
            </a:r>
          </a:p>
          <a:p>
            <a:pPr marL="290822" indent="-290822">
              <a:spcBef>
                <a:spcPts val="1596"/>
              </a:spcBef>
              <a:buFont typeface="Arial" panose="020B0604020202020204" pitchFamily="34" charset="0"/>
              <a:buChar char="•"/>
            </a:pPr>
            <a:r>
              <a:rPr lang="en-US" dirty="0"/>
              <a:t>Insert your text here</a:t>
            </a:r>
          </a:p>
          <a:p>
            <a:pPr marL="290822" indent="-290822">
              <a:spcBef>
                <a:spcPts val="1596"/>
              </a:spcBef>
              <a:buFont typeface="Arial" panose="020B0604020202020204" pitchFamily="34" charset="0"/>
              <a:buChar char="•"/>
            </a:pPr>
            <a:r>
              <a:rPr lang="en-US" dirty="0"/>
              <a:t>Insert your text here</a:t>
            </a:r>
          </a:p>
          <a:p>
            <a:pPr marL="290822" indent="-290822">
              <a:spcBef>
                <a:spcPts val="1596"/>
              </a:spcBef>
              <a:buFont typeface="Arial" panose="020B0604020202020204" pitchFamily="34" charset="0"/>
              <a:buChar char="•"/>
            </a:pPr>
            <a:r>
              <a:rPr lang="en-US" dirty="0"/>
              <a:t>Insert your text here</a:t>
            </a:r>
          </a:p>
          <a:p>
            <a:pPr marL="290822" indent="-290822">
              <a:spcBef>
                <a:spcPts val="1596"/>
              </a:spcBef>
              <a:buFont typeface="Arial" panose="020B0604020202020204" pitchFamily="34" charset="0"/>
              <a:buChar char="•"/>
            </a:pPr>
            <a:r>
              <a:rPr lang="en-US" dirty="0"/>
              <a:t>Insert your text here</a:t>
            </a:r>
          </a:p>
        </p:txBody>
      </p:sp>
    </p:spTree>
    <p:extLst>
      <p:ext uri="{BB962C8B-B14F-4D97-AF65-F5344CB8AC3E}">
        <p14:creationId xmlns:p14="http://schemas.microsoft.com/office/powerpoint/2010/main" val="3564271822"/>
      </p:ext>
    </p:extLst>
  </p:cSld>
  <p:clrMapOvr>
    <a:masterClrMapping/>
  </p:clrMapOvr>
</p:sld>
</file>

<file path=ppt/slides/slide1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2E9697-A7C6-1EB8-2AB7-4229CFB6AB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think-cell data - do not delete" hidden="1">
            <a:extLst>
              <a:ext uri="{FF2B5EF4-FFF2-40B4-BE49-F238E27FC236}">
                <a16:creationId xmlns:a16="http://schemas.microsoft.com/office/drawing/2014/main" id="{60F7E658-0F29-BABC-4D84-A0A96ADE2C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14070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AB563F2-4DA2-17DB-40F9-0A4F2454EA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Ide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72332D1-AF8A-6119-C7EC-E4980A9424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62</a:t>
            </a:fld>
            <a:endParaRPr lang="en-US" dirty="0"/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B247E71B-D11D-4914-8F4B-02F288B64C39}"/>
              </a:ext>
            </a:extLst>
          </p:cNvPr>
          <p:cNvSpPr/>
          <p:nvPr/>
        </p:nvSpPr>
        <p:spPr>
          <a:xfrm flipH="1">
            <a:off x="9265041" y="4412575"/>
            <a:ext cx="504631" cy="121964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endParaRPr lang="en-US" sz="2400" dirty="0" err="1">
              <a:solidFill>
                <a:schemeClr val="tx1"/>
              </a:solidFill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91D93241-6EB8-002E-0BD2-7A5D4BAD944B}"/>
              </a:ext>
            </a:extLst>
          </p:cNvPr>
          <p:cNvSpPr/>
          <p:nvPr/>
        </p:nvSpPr>
        <p:spPr>
          <a:xfrm>
            <a:off x="9887053" y="3775501"/>
            <a:ext cx="1396116" cy="1396115"/>
          </a:xfrm>
          <a:prstGeom prst="ellipse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Insert heading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AFB59650-213A-9A92-18B3-0B1A6CB32F83}"/>
              </a:ext>
            </a:extLst>
          </p:cNvPr>
          <p:cNvSpPr/>
          <p:nvPr/>
        </p:nvSpPr>
        <p:spPr>
          <a:xfrm rot="18909752" flipH="1">
            <a:off x="8898137" y="3338366"/>
            <a:ext cx="463622" cy="121964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endParaRPr lang="en-US" sz="2400" dirty="0" err="1">
              <a:solidFill>
                <a:schemeClr val="tx1"/>
              </a:solidFill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6EBC7944-835F-5522-F130-990C32A02053}"/>
              </a:ext>
            </a:extLst>
          </p:cNvPr>
          <p:cNvSpPr/>
          <p:nvPr/>
        </p:nvSpPr>
        <p:spPr>
          <a:xfrm>
            <a:off x="9186579" y="1988995"/>
            <a:ext cx="1396116" cy="1396115"/>
          </a:xfrm>
          <a:prstGeom prst="ellipse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Insert heading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73CBAEA5-6144-3C6D-7B9E-BDBF214DBFC0}"/>
              </a:ext>
            </a:extLst>
          </p:cNvPr>
          <p:cNvSpPr/>
          <p:nvPr/>
        </p:nvSpPr>
        <p:spPr>
          <a:xfrm rot="16200000" flipH="1">
            <a:off x="7809416" y="2851897"/>
            <a:ext cx="463622" cy="121964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endParaRPr lang="en-US" sz="2400" dirty="0" err="1">
              <a:solidFill>
                <a:schemeClr val="tx1"/>
              </a:solidFill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B97D1F56-3D45-ABC3-34C1-2EF1BD4071F9}"/>
              </a:ext>
            </a:extLst>
          </p:cNvPr>
          <p:cNvSpPr/>
          <p:nvPr/>
        </p:nvSpPr>
        <p:spPr>
          <a:xfrm>
            <a:off x="7330254" y="1195548"/>
            <a:ext cx="1396116" cy="1396115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Insert heading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CB6D9EEB-E7DA-E93E-E764-EC0BF85568CA}"/>
              </a:ext>
            </a:extLst>
          </p:cNvPr>
          <p:cNvSpPr/>
          <p:nvPr/>
        </p:nvSpPr>
        <p:spPr>
          <a:xfrm>
            <a:off x="6347377" y="4412577"/>
            <a:ext cx="504631" cy="121964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endParaRPr lang="en-US" sz="2400" dirty="0" err="1">
              <a:solidFill>
                <a:schemeClr val="tx1"/>
              </a:solidFill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FB5A03D6-9E31-AF28-0B1C-02B36C3FEC33}"/>
              </a:ext>
            </a:extLst>
          </p:cNvPr>
          <p:cNvSpPr/>
          <p:nvPr/>
        </p:nvSpPr>
        <p:spPr>
          <a:xfrm flipH="1">
            <a:off x="4833880" y="3775503"/>
            <a:ext cx="1396116" cy="1396115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Insert heading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9812D170-7A11-9ABC-A990-26D5AD06D9F3}"/>
              </a:ext>
            </a:extLst>
          </p:cNvPr>
          <p:cNvSpPr/>
          <p:nvPr/>
        </p:nvSpPr>
        <p:spPr>
          <a:xfrm rot="2690248">
            <a:off x="6755291" y="3338368"/>
            <a:ext cx="463622" cy="121964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endParaRPr lang="en-US" sz="2400" dirty="0" err="1">
              <a:solidFill>
                <a:schemeClr val="tx1"/>
              </a:solidFill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CB85A79A-7A9E-20DD-0329-48AB5C67A4FC}"/>
              </a:ext>
            </a:extLst>
          </p:cNvPr>
          <p:cNvSpPr/>
          <p:nvPr/>
        </p:nvSpPr>
        <p:spPr>
          <a:xfrm flipH="1">
            <a:off x="5534353" y="1988996"/>
            <a:ext cx="1396116" cy="1396115"/>
          </a:xfrm>
          <a:prstGeom prst="ellipse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Insert heading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C2FFE367-9DBF-B30A-162E-01BF10C9798C}"/>
              </a:ext>
            </a:extLst>
          </p:cNvPr>
          <p:cNvGrpSpPr/>
          <p:nvPr/>
        </p:nvGrpSpPr>
        <p:grpSpPr>
          <a:xfrm>
            <a:off x="7087598" y="3399346"/>
            <a:ext cx="1907254" cy="2739447"/>
            <a:chOff x="5328882" y="2549454"/>
            <a:chExt cx="1433988" cy="2059681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5E6FE36A-6E6A-BCB8-46DE-988489F3FB1C}"/>
                </a:ext>
              </a:extLst>
            </p:cNvPr>
            <p:cNvSpPr txBox="1"/>
            <p:nvPr/>
          </p:nvSpPr>
          <p:spPr>
            <a:xfrm flipH="1">
              <a:off x="5538228" y="2879069"/>
              <a:ext cx="1041309" cy="707886"/>
            </a:xfrm>
            <a:prstGeom prst="rect">
              <a:avLst/>
            </a:prstGeom>
            <a:noFill/>
          </p:spPr>
          <p:txBody>
            <a:bodyPr wrap="square" rtlCol="0" anchor="ctr" anchorCtr="1">
              <a:noAutofit/>
            </a:bodyPr>
            <a:lstStyle/>
            <a:p>
              <a:pPr algn="ctr"/>
              <a:r>
                <a:rPr lang="en-US" sz="2400" b="1" dirty="0"/>
                <a:t>Insert heading</a:t>
              </a:r>
            </a:p>
          </p:txBody>
        </p:sp>
        <p:sp>
          <p:nvSpPr>
            <p:cNvPr id="18" name="Arc 17">
              <a:extLst>
                <a:ext uri="{FF2B5EF4-FFF2-40B4-BE49-F238E27FC236}">
                  <a16:creationId xmlns:a16="http://schemas.microsoft.com/office/drawing/2014/main" id="{DD1449B7-DB12-B6C7-04F8-EE18C21DA950}"/>
                </a:ext>
              </a:extLst>
            </p:cNvPr>
            <p:cNvSpPr/>
            <p:nvPr/>
          </p:nvSpPr>
          <p:spPr>
            <a:xfrm>
              <a:off x="5328882" y="2549454"/>
              <a:ext cx="1433988" cy="1433987"/>
            </a:xfrm>
            <a:prstGeom prst="arc">
              <a:avLst>
                <a:gd name="adj1" fmla="val 7836615"/>
                <a:gd name="adj2" fmla="val 2950439"/>
              </a:avLst>
            </a:prstGeom>
            <a:ln w="1270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 anchorCtr="1"/>
            <a:lstStyle/>
            <a:p>
              <a:pPr algn="ctr"/>
              <a:endParaRPr lang="en-US" sz="2400"/>
            </a:p>
          </p:txBody>
        </p:sp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21CC5D94-C685-BA5E-EEFB-504702D9BF61}"/>
                </a:ext>
              </a:extLst>
            </p:cNvPr>
            <p:cNvSpPr/>
            <p:nvPr/>
          </p:nvSpPr>
          <p:spPr>
            <a:xfrm rot="2684411">
              <a:off x="5423984" y="3707222"/>
              <a:ext cx="227048" cy="119972"/>
            </a:xfrm>
            <a:prstGeom prst="roundRect">
              <a:avLst>
                <a:gd name="adj" fmla="val 50000"/>
              </a:avLst>
            </a:prstGeom>
            <a:solidFill>
              <a:schemeClr val="accent6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1"/>
            <a:lstStyle/>
            <a:p>
              <a:pPr algn="ctr"/>
              <a:endParaRPr lang="en-US" sz="2400" dirty="0" err="1">
                <a:solidFill>
                  <a:schemeClr val="tx1"/>
                </a:solidFill>
              </a:endParaRPr>
            </a:p>
          </p:txBody>
        </p:sp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D79657B6-600A-BEC2-41DF-F53FC4BDC989}"/>
                </a:ext>
              </a:extLst>
            </p:cNvPr>
            <p:cNvSpPr/>
            <p:nvPr/>
          </p:nvSpPr>
          <p:spPr>
            <a:xfrm rot="18915589" flipH="1">
              <a:off x="6423656" y="3729367"/>
              <a:ext cx="227048" cy="118784"/>
            </a:xfrm>
            <a:prstGeom prst="roundRect">
              <a:avLst>
                <a:gd name="adj" fmla="val 50000"/>
              </a:avLst>
            </a:prstGeom>
            <a:solidFill>
              <a:schemeClr val="accent6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1"/>
            <a:lstStyle/>
            <a:p>
              <a:pPr algn="ctr"/>
              <a:endParaRPr lang="en-US" sz="2400" dirty="0" err="1">
                <a:solidFill>
                  <a:schemeClr val="tx1"/>
                </a:solidFill>
              </a:endParaRPr>
            </a:p>
          </p:txBody>
        </p:sp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550E5C00-8A9D-DC22-865F-B3678F3DA2BD}"/>
                </a:ext>
              </a:extLst>
            </p:cNvPr>
            <p:cNvSpPr/>
            <p:nvPr/>
          </p:nvSpPr>
          <p:spPr>
            <a:xfrm flipH="1">
              <a:off x="5653772" y="3882904"/>
              <a:ext cx="764793" cy="146390"/>
            </a:xfrm>
            <a:prstGeom prst="roundRect">
              <a:avLst>
                <a:gd name="adj" fmla="val 50000"/>
              </a:avLst>
            </a:prstGeom>
            <a:solidFill>
              <a:schemeClr val="accent6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1"/>
            <a:lstStyle/>
            <a:p>
              <a:pPr algn="ctr"/>
              <a:endParaRPr lang="en-US" sz="2400" dirty="0" err="1">
                <a:solidFill>
                  <a:schemeClr val="tx1"/>
                </a:solidFill>
              </a:endParaRPr>
            </a:p>
          </p:txBody>
        </p:sp>
        <p:sp>
          <p:nvSpPr>
            <p:cNvPr id="22" name="Rectangle: Rounded Corners 21">
              <a:extLst>
                <a:ext uri="{FF2B5EF4-FFF2-40B4-BE49-F238E27FC236}">
                  <a16:creationId xmlns:a16="http://schemas.microsoft.com/office/drawing/2014/main" id="{229D1F48-4C0B-FECF-0559-B7B6BA594882}"/>
                </a:ext>
              </a:extLst>
            </p:cNvPr>
            <p:cNvSpPr/>
            <p:nvPr/>
          </p:nvSpPr>
          <p:spPr>
            <a:xfrm flipH="1">
              <a:off x="5653772" y="4063651"/>
              <a:ext cx="764793" cy="146390"/>
            </a:xfrm>
            <a:prstGeom prst="roundRect">
              <a:avLst>
                <a:gd name="adj" fmla="val 50000"/>
              </a:avLst>
            </a:prstGeom>
            <a:solidFill>
              <a:schemeClr val="accent6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1"/>
            <a:lstStyle/>
            <a:p>
              <a:pPr algn="ctr"/>
              <a:endParaRPr lang="en-US" sz="2400" dirty="0" err="1">
                <a:solidFill>
                  <a:schemeClr val="tx1"/>
                </a:solidFill>
              </a:endParaRPr>
            </a:p>
          </p:txBody>
        </p:sp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65A71138-614E-9734-0033-4FFB26B9CCBA}"/>
                </a:ext>
              </a:extLst>
            </p:cNvPr>
            <p:cNvSpPr/>
            <p:nvPr/>
          </p:nvSpPr>
          <p:spPr>
            <a:xfrm flipH="1">
              <a:off x="5653772" y="4244400"/>
              <a:ext cx="764793" cy="146390"/>
            </a:xfrm>
            <a:prstGeom prst="roundRect">
              <a:avLst>
                <a:gd name="adj" fmla="val 50000"/>
              </a:avLst>
            </a:prstGeom>
            <a:solidFill>
              <a:schemeClr val="accent6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1"/>
            <a:lstStyle/>
            <a:p>
              <a:pPr algn="ctr"/>
              <a:endParaRPr lang="en-US" sz="2400" dirty="0" err="1">
                <a:solidFill>
                  <a:schemeClr val="tx1"/>
                </a:solidFill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3E5981A9-9744-A101-BAB2-D33DDB28BA98}"/>
                </a:ext>
              </a:extLst>
            </p:cNvPr>
            <p:cNvSpPr/>
            <p:nvPr/>
          </p:nvSpPr>
          <p:spPr>
            <a:xfrm rot="5400000" flipH="1">
              <a:off x="5953882" y="4275156"/>
              <a:ext cx="183989" cy="483970"/>
            </a:xfrm>
            <a:custGeom>
              <a:avLst/>
              <a:gdLst>
                <a:gd name="connsiteX0" fmla="*/ 146654 w 146654"/>
                <a:gd name="connsiteY0" fmla="*/ 384158 h 385762"/>
                <a:gd name="connsiteX1" fmla="*/ 142014 w 146654"/>
                <a:gd name="connsiteY1" fmla="*/ 361175 h 385762"/>
                <a:gd name="connsiteX2" fmla="*/ 142014 w 146654"/>
                <a:gd name="connsiteY2" fmla="*/ 668 h 385762"/>
                <a:gd name="connsiteX3" fmla="*/ 138708 w 146654"/>
                <a:gd name="connsiteY3" fmla="*/ 0 h 385762"/>
                <a:gd name="connsiteX4" fmla="*/ 0 w 146654"/>
                <a:gd name="connsiteY4" fmla="*/ 138708 h 385762"/>
                <a:gd name="connsiteX5" fmla="*/ 0 w 146654"/>
                <a:gd name="connsiteY5" fmla="*/ 247054 h 385762"/>
                <a:gd name="connsiteX6" fmla="*/ 138708 w 146654"/>
                <a:gd name="connsiteY6" fmla="*/ 385762 h 385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6654" h="385762">
                  <a:moveTo>
                    <a:pt x="146654" y="384158"/>
                  </a:moveTo>
                  <a:lnTo>
                    <a:pt x="142014" y="361175"/>
                  </a:lnTo>
                  <a:lnTo>
                    <a:pt x="142014" y="668"/>
                  </a:lnTo>
                  <a:lnTo>
                    <a:pt x="138708" y="0"/>
                  </a:lnTo>
                  <a:cubicBezTo>
                    <a:pt x="62102" y="0"/>
                    <a:pt x="0" y="62102"/>
                    <a:pt x="0" y="138708"/>
                  </a:cubicBezTo>
                  <a:lnTo>
                    <a:pt x="0" y="247054"/>
                  </a:lnTo>
                  <a:cubicBezTo>
                    <a:pt x="0" y="323660"/>
                    <a:pt x="62102" y="385762"/>
                    <a:pt x="138708" y="385762"/>
                  </a:cubicBezTo>
                  <a:close/>
                </a:path>
              </a:pathLst>
            </a:custGeom>
            <a:solidFill>
              <a:schemeClr val="accent6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1"/>
            <a:lstStyle/>
            <a:p>
              <a:pPr algn="ctr"/>
              <a:endParaRPr lang="en-US" sz="24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7676C29B-84EA-98EA-F204-3984EA3D76BB}"/>
              </a:ext>
            </a:extLst>
          </p:cNvPr>
          <p:cNvSpPr txBox="1"/>
          <p:nvPr/>
        </p:nvSpPr>
        <p:spPr>
          <a:xfrm flipH="1">
            <a:off x="878671" y="1841029"/>
            <a:ext cx="3597749" cy="3652282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spcBef>
                <a:spcPts val="1596"/>
              </a:spcBef>
            </a:pPr>
            <a:r>
              <a:rPr lang="en-US" b="1" dirty="0">
                <a:solidFill>
                  <a:schemeClr val="tx2"/>
                </a:solidFill>
              </a:rPr>
              <a:t>Heading</a:t>
            </a:r>
          </a:p>
          <a:p>
            <a:pPr marL="290822" indent="-290822">
              <a:spcBef>
                <a:spcPts val="1596"/>
              </a:spcBef>
              <a:buFont typeface="Arial" panose="020B0604020202020204" pitchFamily="34" charset="0"/>
              <a:buChar char="•"/>
            </a:pPr>
            <a:r>
              <a:rPr lang="en-US" dirty="0"/>
              <a:t>Insert your text here</a:t>
            </a:r>
          </a:p>
          <a:p>
            <a:pPr marL="290822" indent="-290822">
              <a:spcBef>
                <a:spcPts val="1596"/>
              </a:spcBef>
              <a:buFont typeface="Arial" panose="020B0604020202020204" pitchFamily="34" charset="0"/>
              <a:buChar char="•"/>
            </a:pPr>
            <a:r>
              <a:rPr lang="en-US" dirty="0"/>
              <a:t>Insert your text here</a:t>
            </a:r>
          </a:p>
          <a:p>
            <a:pPr marL="290822" indent="-290822">
              <a:spcBef>
                <a:spcPts val="1596"/>
              </a:spcBef>
              <a:buFont typeface="Arial" panose="020B0604020202020204" pitchFamily="34" charset="0"/>
              <a:buChar char="•"/>
            </a:pPr>
            <a:r>
              <a:rPr lang="en-US" dirty="0"/>
              <a:t>Insert your text here</a:t>
            </a:r>
          </a:p>
          <a:p>
            <a:pPr marL="290822" indent="-290822">
              <a:spcBef>
                <a:spcPts val="1596"/>
              </a:spcBef>
              <a:buFont typeface="Arial" panose="020B0604020202020204" pitchFamily="34" charset="0"/>
              <a:buChar char="•"/>
            </a:pPr>
            <a:r>
              <a:rPr lang="en-US" dirty="0"/>
              <a:t>Insert your text here</a:t>
            </a:r>
          </a:p>
          <a:p>
            <a:pPr marL="290822" indent="-290822">
              <a:spcBef>
                <a:spcPts val="1596"/>
              </a:spcBef>
              <a:buFont typeface="Arial" panose="020B0604020202020204" pitchFamily="34" charset="0"/>
              <a:buChar char="•"/>
            </a:pPr>
            <a:r>
              <a:rPr lang="en-US" dirty="0"/>
              <a:t>Insert your text here</a:t>
            </a:r>
          </a:p>
          <a:p>
            <a:pPr marL="290822" indent="-290822">
              <a:spcBef>
                <a:spcPts val="1596"/>
              </a:spcBef>
              <a:buFont typeface="Arial" panose="020B0604020202020204" pitchFamily="34" charset="0"/>
              <a:buChar char="•"/>
            </a:pPr>
            <a:r>
              <a:rPr lang="en-US" dirty="0"/>
              <a:t>Insert your text here</a:t>
            </a:r>
          </a:p>
          <a:p>
            <a:pPr marL="290822" indent="-290822">
              <a:spcBef>
                <a:spcPts val="1596"/>
              </a:spcBef>
              <a:buFont typeface="Arial" panose="020B0604020202020204" pitchFamily="34" charset="0"/>
              <a:buChar char="•"/>
            </a:pPr>
            <a:r>
              <a:rPr lang="en-US" dirty="0"/>
              <a:t>Insert your text here</a:t>
            </a:r>
          </a:p>
        </p:txBody>
      </p:sp>
    </p:spTree>
    <p:extLst>
      <p:ext uri="{BB962C8B-B14F-4D97-AF65-F5344CB8AC3E}">
        <p14:creationId xmlns:p14="http://schemas.microsoft.com/office/powerpoint/2010/main" val="3152076607"/>
      </p:ext>
    </p:extLst>
  </p:cSld>
  <p:clrMapOvr>
    <a:masterClrMapping/>
  </p:clrMapOvr>
</p:sld>
</file>

<file path=ppt/slides/slide1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CEB2D9B-D1E2-E3CB-4D37-F35DE2A516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think-cell data - do not delete" hidden="1">
            <a:extLst>
              <a:ext uri="{FF2B5EF4-FFF2-40B4-BE49-F238E27FC236}">
                <a16:creationId xmlns:a16="http://schemas.microsoft.com/office/drawing/2014/main" id="{321497D9-9BFE-88BE-3DCD-62B8AE5C51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63376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06FB52E-A9B4-5879-C5D8-9629560887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Ide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FAD4EE2-4538-AB7D-40FD-F0F4AF4216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63</a:t>
            </a:fld>
            <a:endParaRPr lang="en-US" dirty="0"/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820C3724-E76E-6B5E-3B73-C19D1152C79E}"/>
              </a:ext>
            </a:extLst>
          </p:cNvPr>
          <p:cNvSpPr/>
          <p:nvPr/>
        </p:nvSpPr>
        <p:spPr>
          <a:xfrm flipH="1">
            <a:off x="9265041" y="4547558"/>
            <a:ext cx="504631" cy="121964"/>
          </a:xfrm>
          <a:prstGeom prst="roundRect">
            <a:avLst>
              <a:gd name="adj" fmla="val 50000"/>
            </a:avLst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endParaRPr lang="en-US" sz="2400" dirty="0" err="1">
              <a:solidFill>
                <a:schemeClr val="tx1"/>
              </a:solidFill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99351234-C6A4-B891-354A-87945FD88BE7}"/>
              </a:ext>
            </a:extLst>
          </p:cNvPr>
          <p:cNvSpPr/>
          <p:nvPr/>
        </p:nvSpPr>
        <p:spPr>
          <a:xfrm>
            <a:off x="9454061" y="2355212"/>
            <a:ext cx="1396116" cy="1396115"/>
          </a:xfrm>
          <a:prstGeom prst="ellipse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Insert heading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4DF1E9ED-4CFA-7DAC-EF5C-6C770281F9C7}"/>
              </a:ext>
            </a:extLst>
          </p:cNvPr>
          <p:cNvSpPr/>
          <p:nvPr/>
        </p:nvSpPr>
        <p:spPr>
          <a:xfrm>
            <a:off x="8210738" y="1195548"/>
            <a:ext cx="1396116" cy="1396115"/>
          </a:xfrm>
          <a:prstGeom prst="ellipse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Insert heading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33CDD616-CFA0-75E3-25BE-634B365A6DD6}"/>
              </a:ext>
            </a:extLst>
          </p:cNvPr>
          <p:cNvSpPr/>
          <p:nvPr/>
        </p:nvSpPr>
        <p:spPr>
          <a:xfrm>
            <a:off x="6554623" y="1195548"/>
            <a:ext cx="1396116" cy="1396115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Insert heading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E566E77B-9F70-95BD-3DC2-6F7653DFD502}"/>
              </a:ext>
            </a:extLst>
          </p:cNvPr>
          <p:cNvSpPr/>
          <p:nvPr/>
        </p:nvSpPr>
        <p:spPr>
          <a:xfrm>
            <a:off x="6347377" y="4547558"/>
            <a:ext cx="504631" cy="121964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endParaRPr lang="en-US" sz="2400" dirty="0" err="1">
              <a:solidFill>
                <a:schemeClr val="tx1"/>
              </a:solidFill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891137C4-87B4-7BA0-02B5-A8F8A97A970F}"/>
              </a:ext>
            </a:extLst>
          </p:cNvPr>
          <p:cNvSpPr/>
          <p:nvPr/>
        </p:nvSpPr>
        <p:spPr>
          <a:xfrm flipH="1">
            <a:off x="4833880" y="3910484"/>
            <a:ext cx="1396116" cy="1396115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Insert heading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C2143A30-DA17-85B6-125F-16819304B9A6}"/>
              </a:ext>
            </a:extLst>
          </p:cNvPr>
          <p:cNvSpPr/>
          <p:nvPr/>
        </p:nvSpPr>
        <p:spPr>
          <a:xfrm rot="2354046">
            <a:off x="6547912" y="3642810"/>
            <a:ext cx="463622" cy="121964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endParaRPr lang="en-US" sz="2400" dirty="0" err="1">
              <a:solidFill>
                <a:schemeClr val="tx1"/>
              </a:solidFill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412E2E8C-3D50-E270-797A-C8D7072A4DC3}"/>
              </a:ext>
            </a:extLst>
          </p:cNvPr>
          <p:cNvSpPr/>
          <p:nvPr/>
        </p:nvSpPr>
        <p:spPr>
          <a:xfrm flipH="1">
            <a:off x="5301491" y="2345404"/>
            <a:ext cx="1396116" cy="1396115"/>
          </a:xfrm>
          <a:prstGeom prst="ellipse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Insert heading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8EA1665-9C68-F2C6-6904-8F22335EC5A2}"/>
              </a:ext>
            </a:extLst>
          </p:cNvPr>
          <p:cNvGrpSpPr/>
          <p:nvPr/>
        </p:nvGrpSpPr>
        <p:grpSpPr>
          <a:xfrm>
            <a:off x="7087598" y="3399346"/>
            <a:ext cx="1907254" cy="2739447"/>
            <a:chOff x="5328882" y="2549454"/>
            <a:chExt cx="1433988" cy="2059681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541894C0-0FD1-2183-76F1-0A1EFE4F5C22}"/>
                </a:ext>
              </a:extLst>
            </p:cNvPr>
            <p:cNvSpPr txBox="1"/>
            <p:nvPr/>
          </p:nvSpPr>
          <p:spPr>
            <a:xfrm flipH="1">
              <a:off x="5538228" y="2879069"/>
              <a:ext cx="1041309" cy="707886"/>
            </a:xfrm>
            <a:prstGeom prst="rect">
              <a:avLst/>
            </a:prstGeom>
            <a:noFill/>
          </p:spPr>
          <p:txBody>
            <a:bodyPr wrap="square" rtlCol="0" anchor="ctr" anchorCtr="1">
              <a:noAutofit/>
            </a:bodyPr>
            <a:lstStyle/>
            <a:p>
              <a:pPr algn="ctr"/>
              <a:r>
                <a:rPr lang="en-US" sz="2400" b="1" dirty="0"/>
                <a:t>Insert heading</a:t>
              </a:r>
            </a:p>
          </p:txBody>
        </p:sp>
        <p:sp>
          <p:nvSpPr>
            <p:cNvPr id="16" name="Arc 15">
              <a:extLst>
                <a:ext uri="{FF2B5EF4-FFF2-40B4-BE49-F238E27FC236}">
                  <a16:creationId xmlns:a16="http://schemas.microsoft.com/office/drawing/2014/main" id="{122C362B-D0B6-3767-F0BE-BF0D80172E3C}"/>
                </a:ext>
              </a:extLst>
            </p:cNvPr>
            <p:cNvSpPr/>
            <p:nvPr/>
          </p:nvSpPr>
          <p:spPr>
            <a:xfrm>
              <a:off x="5328882" y="2549454"/>
              <a:ext cx="1433988" cy="1433987"/>
            </a:xfrm>
            <a:prstGeom prst="arc">
              <a:avLst>
                <a:gd name="adj1" fmla="val 7836615"/>
                <a:gd name="adj2" fmla="val 2950439"/>
              </a:avLst>
            </a:prstGeom>
            <a:ln w="1270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 anchorCtr="1"/>
            <a:lstStyle/>
            <a:p>
              <a:pPr algn="ctr"/>
              <a:endParaRPr lang="en-US" sz="2400"/>
            </a:p>
          </p:txBody>
        </p: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6CBB207A-4CD8-FC10-97A9-E480E3D8DDE9}"/>
                </a:ext>
              </a:extLst>
            </p:cNvPr>
            <p:cNvSpPr/>
            <p:nvPr/>
          </p:nvSpPr>
          <p:spPr>
            <a:xfrm rot="2684411">
              <a:off x="5423984" y="3707222"/>
              <a:ext cx="227048" cy="119972"/>
            </a:xfrm>
            <a:prstGeom prst="roundRect">
              <a:avLst>
                <a:gd name="adj" fmla="val 50000"/>
              </a:avLst>
            </a:prstGeom>
            <a:solidFill>
              <a:schemeClr val="bg2"/>
            </a:solidFill>
            <a:ln w="952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1"/>
            <a:lstStyle/>
            <a:p>
              <a:pPr algn="ctr"/>
              <a:endParaRPr lang="en-US" sz="2400" dirty="0" err="1">
                <a:solidFill>
                  <a:schemeClr val="tx1"/>
                </a:solidFill>
              </a:endParaRPr>
            </a:p>
          </p:txBody>
        </p:sp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50CA4828-86E1-8F19-630E-7792FEFDAB56}"/>
                </a:ext>
              </a:extLst>
            </p:cNvPr>
            <p:cNvSpPr/>
            <p:nvPr/>
          </p:nvSpPr>
          <p:spPr>
            <a:xfrm rot="18915589" flipH="1">
              <a:off x="6423656" y="3729367"/>
              <a:ext cx="227048" cy="118784"/>
            </a:xfrm>
            <a:prstGeom prst="roundRect">
              <a:avLst>
                <a:gd name="adj" fmla="val 50000"/>
              </a:avLst>
            </a:prstGeom>
            <a:solidFill>
              <a:schemeClr val="bg2"/>
            </a:solidFill>
            <a:ln w="952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1"/>
            <a:lstStyle/>
            <a:p>
              <a:pPr algn="ctr"/>
              <a:endParaRPr lang="en-US" sz="2400" dirty="0" err="1">
                <a:solidFill>
                  <a:schemeClr val="tx1"/>
                </a:solidFill>
              </a:endParaRPr>
            </a:p>
          </p:txBody>
        </p:sp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09448B0B-AF3A-3464-A13D-AC40D6770A5D}"/>
                </a:ext>
              </a:extLst>
            </p:cNvPr>
            <p:cNvSpPr/>
            <p:nvPr/>
          </p:nvSpPr>
          <p:spPr>
            <a:xfrm flipH="1">
              <a:off x="5653772" y="3882904"/>
              <a:ext cx="764793" cy="146390"/>
            </a:xfrm>
            <a:prstGeom prst="roundRect">
              <a:avLst>
                <a:gd name="adj" fmla="val 50000"/>
              </a:avLst>
            </a:prstGeom>
            <a:solidFill>
              <a:schemeClr val="bg2"/>
            </a:solidFill>
            <a:ln w="952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1"/>
            <a:lstStyle/>
            <a:p>
              <a:pPr algn="ctr"/>
              <a:endParaRPr lang="en-US" sz="2400" dirty="0" err="1">
                <a:solidFill>
                  <a:schemeClr val="tx1"/>
                </a:solidFill>
              </a:endParaRPr>
            </a:p>
          </p:txBody>
        </p:sp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659A5BC3-193F-942C-ECB8-6E1717DC6443}"/>
                </a:ext>
              </a:extLst>
            </p:cNvPr>
            <p:cNvSpPr/>
            <p:nvPr/>
          </p:nvSpPr>
          <p:spPr>
            <a:xfrm flipH="1">
              <a:off x="5653772" y="4063651"/>
              <a:ext cx="764793" cy="146390"/>
            </a:xfrm>
            <a:prstGeom prst="roundRect">
              <a:avLst>
                <a:gd name="adj" fmla="val 50000"/>
              </a:avLst>
            </a:prstGeom>
            <a:solidFill>
              <a:schemeClr val="bg2"/>
            </a:solidFill>
            <a:ln w="952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1"/>
            <a:lstStyle/>
            <a:p>
              <a:pPr algn="ctr"/>
              <a:endParaRPr lang="en-US" sz="2400" dirty="0" err="1">
                <a:solidFill>
                  <a:schemeClr val="tx1"/>
                </a:solidFill>
              </a:endParaRPr>
            </a:p>
          </p:txBody>
        </p:sp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1066E811-7B4A-C94A-04D5-CEFDC75CF32A}"/>
                </a:ext>
              </a:extLst>
            </p:cNvPr>
            <p:cNvSpPr/>
            <p:nvPr/>
          </p:nvSpPr>
          <p:spPr>
            <a:xfrm flipH="1">
              <a:off x="5653772" y="4244400"/>
              <a:ext cx="764793" cy="146390"/>
            </a:xfrm>
            <a:prstGeom prst="roundRect">
              <a:avLst>
                <a:gd name="adj" fmla="val 50000"/>
              </a:avLst>
            </a:prstGeom>
            <a:solidFill>
              <a:schemeClr val="bg2"/>
            </a:solidFill>
            <a:ln w="952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1"/>
            <a:lstStyle/>
            <a:p>
              <a:pPr algn="ctr"/>
              <a:endParaRPr lang="en-US" sz="2400" dirty="0" err="1">
                <a:solidFill>
                  <a:schemeClr val="tx1"/>
                </a:solidFill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4960942A-1FB9-41D6-BF8B-3B831F7FBFA7}"/>
                </a:ext>
              </a:extLst>
            </p:cNvPr>
            <p:cNvSpPr/>
            <p:nvPr/>
          </p:nvSpPr>
          <p:spPr>
            <a:xfrm rot="5400000" flipH="1">
              <a:off x="5953882" y="4275156"/>
              <a:ext cx="183989" cy="483970"/>
            </a:xfrm>
            <a:custGeom>
              <a:avLst/>
              <a:gdLst>
                <a:gd name="connsiteX0" fmla="*/ 146654 w 146654"/>
                <a:gd name="connsiteY0" fmla="*/ 384158 h 385762"/>
                <a:gd name="connsiteX1" fmla="*/ 142014 w 146654"/>
                <a:gd name="connsiteY1" fmla="*/ 361175 h 385762"/>
                <a:gd name="connsiteX2" fmla="*/ 142014 w 146654"/>
                <a:gd name="connsiteY2" fmla="*/ 668 h 385762"/>
                <a:gd name="connsiteX3" fmla="*/ 138708 w 146654"/>
                <a:gd name="connsiteY3" fmla="*/ 0 h 385762"/>
                <a:gd name="connsiteX4" fmla="*/ 0 w 146654"/>
                <a:gd name="connsiteY4" fmla="*/ 138708 h 385762"/>
                <a:gd name="connsiteX5" fmla="*/ 0 w 146654"/>
                <a:gd name="connsiteY5" fmla="*/ 247054 h 385762"/>
                <a:gd name="connsiteX6" fmla="*/ 138708 w 146654"/>
                <a:gd name="connsiteY6" fmla="*/ 385762 h 385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6654" h="385762">
                  <a:moveTo>
                    <a:pt x="146654" y="384158"/>
                  </a:moveTo>
                  <a:lnTo>
                    <a:pt x="142014" y="361175"/>
                  </a:lnTo>
                  <a:lnTo>
                    <a:pt x="142014" y="668"/>
                  </a:lnTo>
                  <a:lnTo>
                    <a:pt x="138708" y="0"/>
                  </a:lnTo>
                  <a:cubicBezTo>
                    <a:pt x="62102" y="0"/>
                    <a:pt x="0" y="62102"/>
                    <a:pt x="0" y="138708"/>
                  </a:cubicBezTo>
                  <a:lnTo>
                    <a:pt x="0" y="247054"/>
                  </a:lnTo>
                  <a:cubicBezTo>
                    <a:pt x="0" y="323660"/>
                    <a:pt x="62102" y="385762"/>
                    <a:pt x="138708" y="385762"/>
                  </a:cubicBezTo>
                  <a:close/>
                </a:path>
              </a:pathLst>
            </a:custGeom>
            <a:solidFill>
              <a:schemeClr val="bg2"/>
            </a:solidFill>
            <a:ln w="952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1"/>
            <a:lstStyle/>
            <a:p>
              <a:pPr algn="ctr"/>
              <a:endParaRPr lang="en-US" sz="24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1B0043BB-4306-2CD3-01F1-553297D0BC68}"/>
              </a:ext>
            </a:extLst>
          </p:cNvPr>
          <p:cNvSpPr/>
          <p:nvPr/>
        </p:nvSpPr>
        <p:spPr>
          <a:xfrm rot="4339872">
            <a:off x="7356118" y="2879778"/>
            <a:ext cx="463622" cy="121964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endParaRPr lang="en-US" sz="2400" dirty="0" err="1">
              <a:solidFill>
                <a:schemeClr val="tx1"/>
              </a:solidFill>
            </a:endParaRP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7C55808F-0D3C-84F9-9FB3-0BAB39706D36}"/>
              </a:ext>
            </a:extLst>
          </p:cNvPr>
          <p:cNvSpPr/>
          <p:nvPr/>
        </p:nvSpPr>
        <p:spPr>
          <a:xfrm rot="17298320" flipH="1">
            <a:off x="8394709" y="2869142"/>
            <a:ext cx="463622" cy="121964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endParaRPr lang="en-US" sz="2400" dirty="0" err="1">
              <a:solidFill>
                <a:schemeClr val="tx1"/>
              </a:solidFill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A0365E62-5B60-5B98-E52C-B63E6106AEEE}"/>
              </a:ext>
            </a:extLst>
          </p:cNvPr>
          <p:cNvSpPr/>
          <p:nvPr/>
        </p:nvSpPr>
        <p:spPr>
          <a:xfrm>
            <a:off x="9917082" y="3910484"/>
            <a:ext cx="1396116" cy="1396115"/>
          </a:xfrm>
          <a:prstGeom prst="ellipse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Insert heading</a:t>
            </a: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DF03425E-849F-8087-334F-C9F0DA09F77D}"/>
              </a:ext>
            </a:extLst>
          </p:cNvPr>
          <p:cNvSpPr/>
          <p:nvPr/>
        </p:nvSpPr>
        <p:spPr>
          <a:xfrm rot="19245954" flipH="1">
            <a:off x="9090887" y="3642811"/>
            <a:ext cx="463622" cy="121964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endParaRPr lang="en-US" sz="2400" dirty="0" err="1">
              <a:solidFill>
                <a:schemeClr val="tx1"/>
              </a:solidFill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D581E7CF-939A-EEC7-61DC-3064C7F37DB0}"/>
              </a:ext>
            </a:extLst>
          </p:cNvPr>
          <p:cNvSpPr txBox="1"/>
          <p:nvPr/>
        </p:nvSpPr>
        <p:spPr>
          <a:xfrm flipH="1">
            <a:off x="878671" y="1841029"/>
            <a:ext cx="3597749" cy="3652282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spcBef>
                <a:spcPts val="1596"/>
              </a:spcBef>
            </a:pPr>
            <a:r>
              <a:rPr lang="en-US" b="1" dirty="0">
                <a:solidFill>
                  <a:schemeClr val="tx2"/>
                </a:solidFill>
              </a:rPr>
              <a:t>Heading</a:t>
            </a:r>
          </a:p>
          <a:p>
            <a:pPr marL="290822" indent="-290822">
              <a:spcBef>
                <a:spcPts val="1596"/>
              </a:spcBef>
              <a:buFont typeface="Arial" panose="020B0604020202020204" pitchFamily="34" charset="0"/>
              <a:buChar char="•"/>
            </a:pPr>
            <a:r>
              <a:rPr lang="en-US" dirty="0"/>
              <a:t>Insert your text here</a:t>
            </a:r>
          </a:p>
          <a:p>
            <a:pPr marL="290822" indent="-290822">
              <a:spcBef>
                <a:spcPts val="1596"/>
              </a:spcBef>
              <a:buFont typeface="Arial" panose="020B0604020202020204" pitchFamily="34" charset="0"/>
              <a:buChar char="•"/>
            </a:pPr>
            <a:r>
              <a:rPr lang="en-US" dirty="0"/>
              <a:t>Insert your text here</a:t>
            </a:r>
          </a:p>
          <a:p>
            <a:pPr marL="290822" indent="-290822">
              <a:spcBef>
                <a:spcPts val="1596"/>
              </a:spcBef>
              <a:buFont typeface="Arial" panose="020B0604020202020204" pitchFamily="34" charset="0"/>
              <a:buChar char="•"/>
            </a:pPr>
            <a:r>
              <a:rPr lang="en-US" dirty="0"/>
              <a:t>Insert your text here</a:t>
            </a:r>
          </a:p>
          <a:p>
            <a:pPr marL="290822" indent="-290822">
              <a:spcBef>
                <a:spcPts val="1596"/>
              </a:spcBef>
              <a:buFont typeface="Arial" panose="020B0604020202020204" pitchFamily="34" charset="0"/>
              <a:buChar char="•"/>
            </a:pPr>
            <a:r>
              <a:rPr lang="en-US" dirty="0"/>
              <a:t>Insert your text here</a:t>
            </a:r>
          </a:p>
          <a:p>
            <a:pPr marL="290822" indent="-290822">
              <a:spcBef>
                <a:spcPts val="1596"/>
              </a:spcBef>
              <a:buFont typeface="Arial" panose="020B0604020202020204" pitchFamily="34" charset="0"/>
              <a:buChar char="•"/>
            </a:pPr>
            <a:r>
              <a:rPr lang="en-US" dirty="0"/>
              <a:t>Insert your text here</a:t>
            </a:r>
          </a:p>
          <a:p>
            <a:pPr marL="290822" indent="-290822">
              <a:spcBef>
                <a:spcPts val="1596"/>
              </a:spcBef>
              <a:buFont typeface="Arial" panose="020B0604020202020204" pitchFamily="34" charset="0"/>
              <a:buChar char="•"/>
            </a:pPr>
            <a:r>
              <a:rPr lang="en-US" dirty="0"/>
              <a:t>Insert your text here</a:t>
            </a:r>
          </a:p>
          <a:p>
            <a:pPr marL="290822" indent="-290822">
              <a:spcBef>
                <a:spcPts val="1596"/>
              </a:spcBef>
              <a:buFont typeface="Arial" panose="020B0604020202020204" pitchFamily="34" charset="0"/>
              <a:buChar char="•"/>
            </a:pPr>
            <a:r>
              <a:rPr lang="en-US" dirty="0"/>
              <a:t>Insert your text here</a:t>
            </a:r>
          </a:p>
        </p:txBody>
      </p:sp>
    </p:spTree>
    <p:extLst>
      <p:ext uri="{BB962C8B-B14F-4D97-AF65-F5344CB8AC3E}">
        <p14:creationId xmlns:p14="http://schemas.microsoft.com/office/powerpoint/2010/main" val="1102628034"/>
      </p:ext>
    </p:extLst>
  </p:cSld>
  <p:clrMapOvr>
    <a:masterClrMapping/>
  </p:clrMapOvr>
</p:sld>
</file>

<file path=ppt/slides/slide1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4BAEE0-0587-A801-922B-9C6B48E087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think-cell data - do not delete" hidden="1">
            <a:extLst>
              <a:ext uri="{FF2B5EF4-FFF2-40B4-BE49-F238E27FC236}">
                <a16:creationId xmlns:a16="http://schemas.microsoft.com/office/drawing/2014/main" id="{B6696954-A70B-F374-50EB-20D85103C2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55320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D0AB010-C8D2-827A-5D26-8B3122EFA9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Ide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745A28E-815F-D2EC-B41B-AC23C2C8F3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64</a:t>
            </a:fld>
            <a:endParaRPr lang="en-US" dirty="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81758747-57D1-B8AF-DCDD-11176B9BEC3F}"/>
              </a:ext>
            </a:extLst>
          </p:cNvPr>
          <p:cNvSpPr/>
          <p:nvPr/>
        </p:nvSpPr>
        <p:spPr>
          <a:xfrm>
            <a:off x="9682326" y="3189475"/>
            <a:ext cx="1284384" cy="1284383"/>
          </a:xfrm>
          <a:prstGeom prst="ellipse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Insert heading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1A3F226A-E500-60E7-8EDB-C94854D10426}"/>
              </a:ext>
            </a:extLst>
          </p:cNvPr>
          <p:cNvSpPr/>
          <p:nvPr/>
        </p:nvSpPr>
        <p:spPr>
          <a:xfrm>
            <a:off x="8837945" y="1814874"/>
            <a:ext cx="1284384" cy="1284383"/>
          </a:xfrm>
          <a:prstGeom prst="ellipse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Insert heading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A907943A-39FB-CAFF-9E6C-B926934E0A36}"/>
              </a:ext>
            </a:extLst>
          </p:cNvPr>
          <p:cNvSpPr/>
          <p:nvPr/>
        </p:nvSpPr>
        <p:spPr>
          <a:xfrm>
            <a:off x="7393064" y="1331552"/>
            <a:ext cx="1284384" cy="1284383"/>
          </a:xfrm>
          <a:prstGeom prst="ellipse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Insert heading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BB394026-D832-55CD-D692-DEE11B84D0FA}"/>
              </a:ext>
            </a:extLst>
          </p:cNvPr>
          <p:cNvSpPr/>
          <p:nvPr/>
        </p:nvSpPr>
        <p:spPr>
          <a:xfrm rot="1109722">
            <a:off x="6412170" y="4086041"/>
            <a:ext cx="464245" cy="112202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endParaRPr lang="en-US" sz="2400" dirty="0" err="1">
              <a:solidFill>
                <a:schemeClr val="tx1"/>
              </a:solidFill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C8E6B53D-0AAF-82F3-05F8-74CB05C9A941}"/>
              </a:ext>
            </a:extLst>
          </p:cNvPr>
          <p:cNvSpPr/>
          <p:nvPr/>
        </p:nvSpPr>
        <p:spPr>
          <a:xfrm flipH="1">
            <a:off x="5070537" y="3188339"/>
            <a:ext cx="1284384" cy="1284383"/>
          </a:xfrm>
          <a:prstGeom prst="ellipse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Insert heading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4E399668-F512-4BD8-C9AF-2C2A19AD5AD6}"/>
              </a:ext>
            </a:extLst>
          </p:cNvPr>
          <p:cNvSpPr/>
          <p:nvPr/>
        </p:nvSpPr>
        <p:spPr>
          <a:xfrm rot="3463768">
            <a:off x="6881639" y="3268459"/>
            <a:ext cx="426518" cy="112202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endParaRPr lang="en-US" sz="2400" dirty="0" err="1">
              <a:solidFill>
                <a:schemeClr val="tx1"/>
              </a:solidFill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9250936D-28A4-373C-5E8F-045D6501EE28}"/>
              </a:ext>
            </a:extLst>
          </p:cNvPr>
          <p:cNvSpPr/>
          <p:nvPr/>
        </p:nvSpPr>
        <p:spPr>
          <a:xfrm flipH="1">
            <a:off x="5964753" y="1878576"/>
            <a:ext cx="1284384" cy="1284383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Insert heading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5159866F-0EBE-7FAB-DDF6-399661938DEF}"/>
              </a:ext>
            </a:extLst>
          </p:cNvPr>
          <p:cNvSpPr/>
          <p:nvPr/>
        </p:nvSpPr>
        <p:spPr>
          <a:xfrm rot="5449594">
            <a:off x="7808884" y="2929074"/>
            <a:ext cx="426518" cy="112202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endParaRPr lang="en-US" sz="2400" dirty="0" err="1">
              <a:solidFill>
                <a:schemeClr val="tx1"/>
              </a:solidFill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266E9B32-0C3D-B38B-F1F7-A2A95BE3D1FD}"/>
              </a:ext>
            </a:extLst>
          </p:cNvPr>
          <p:cNvSpPr/>
          <p:nvPr/>
        </p:nvSpPr>
        <p:spPr>
          <a:xfrm rot="18408042" flipH="1">
            <a:off x="8718111" y="3222896"/>
            <a:ext cx="426518" cy="112202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endParaRPr lang="en-US" sz="2400" dirty="0" err="1">
              <a:solidFill>
                <a:schemeClr val="tx1"/>
              </a:solidFill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599EC5B7-4AAF-47EC-597C-BD29CC2CAF8F}"/>
              </a:ext>
            </a:extLst>
          </p:cNvPr>
          <p:cNvSpPr/>
          <p:nvPr/>
        </p:nvSpPr>
        <p:spPr>
          <a:xfrm rot="1109722" flipH="1">
            <a:off x="9065090" y="4947216"/>
            <a:ext cx="464243" cy="1122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endParaRPr lang="en-US" sz="2400" dirty="0" err="1">
              <a:solidFill>
                <a:schemeClr val="tx1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C6FFED06-6868-35F3-AC9F-6593DB27423D}"/>
              </a:ext>
            </a:extLst>
          </p:cNvPr>
          <p:cNvSpPr/>
          <p:nvPr/>
        </p:nvSpPr>
        <p:spPr>
          <a:xfrm>
            <a:off x="9612788" y="4681504"/>
            <a:ext cx="1284380" cy="1284383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Insert heading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90C183A4-F624-261D-E831-1C1486FB749C}"/>
              </a:ext>
            </a:extLst>
          </p:cNvPr>
          <p:cNvSpPr/>
          <p:nvPr/>
        </p:nvSpPr>
        <p:spPr>
          <a:xfrm rot="20355676" flipH="1">
            <a:off x="9197781" y="4101058"/>
            <a:ext cx="426518" cy="112202"/>
          </a:xfrm>
          <a:prstGeom prst="roundRect">
            <a:avLst>
              <a:gd name="adj" fmla="val 50000"/>
            </a:avLst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endParaRPr lang="en-US" sz="2400" dirty="0" err="1">
              <a:solidFill>
                <a:schemeClr val="tx1"/>
              </a:solidFill>
            </a:endParaRP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A88EFA3B-802D-A0BE-EE5B-CE86E7913478}"/>
              </a:ext>
            </a:extLst>
          </p:cNvPr>
          <p:cNvSpPr/>
          <p:nvPr/>
        </p:nvSpPr>
        <p:spPr>
          <a:xfrm rot="20202500">
            <a:off x="6511003" y="4875711"/>
            <a:ext cx="464245" cy="1122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endParaRPr lang="en-US" sz="2400" dirty="0" err="1">
              <a:solidFill>
                <a:schemeClr val="tx1"/>
              </a:solidFill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1A912A3D-D971-85DC-A574-45B815661571}"/>
              </a:ext>
            </a:extLst>
          </p:cNvPr>
          <p:cNvSpPr/>
          <p:nvPr/>
        </p:nvSpPr>
        <p:spPr>
          <a:xfrm flipH="1">
            <a:off x="5198688" y="4678034"/>
            <a:ext cx="1284384" cy="1284383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Insert heading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79CF7506-0120-3FF6-2E61-AB1D5C114251}"/>
              </a:ext>
            </a:extLst>
          </p:cNvPr>
          <p:cNvGrpSpPr/>
          <p:nvPr/>
        </p:nvGrpSpPr>
        <p:grpSpPr>
          <a:xfrm>
            <a:off x="7087598" y="3399346"/>
            <a:ext cx="1907254" cy="2739447"/>
            <a:chOff x="5328882" y="2549454"/>
            <a:chExt cx="1433988" cy="2059681"/>
          </a:xfrm>
        </p:grpSpPr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7866F998-F7AD-447E-BAE1-D9C93B58FE30}"/>
                </a:ext>
              </a:extLst>
            </p:cNvPr>
            <p:cNvSpPr txBox="1"/>
            <p:nvPr/>
          </p:nvSpPr>
          <p:spPr>
            <a:xfrm flipH="1">
              <a:off x="5538228" y="2879069"/>
              <a:ext cx="1041309" cy="707886"/>
            </a:xfrm>
            <a:prstGeom prst="rect">
              <a:avLst/>
            </a:prstGeom>
            <a:noFill/>
          </p:spPr>
          <p:txBody>
            <a:bodyPr wrap="square" rtlCol="0" anchor="ctr" anchorCtr="1">
              <a:noAutofit/>
            </a:bodyPr>
            <a:lstStyle/>
            <a:p>
              <a:pPr algn="ctr"/>
              <a:r>
                <a:rPr lang="en-US" sz="2400" b="1" dirty="0"/>
                <a:t>Insert heading</a:t>
              </a:r>
            </a:p>
          </p:txBody>
        </p:sp>
        <p:sp>
          <p:nvSpPr>
            <p:cNvPr id="22" name="Arc 21">
              <a:extLst>
                <a:ext uri="{FF2B5EF4-FFF2-40B4-BE49-F238E27FC236}">
                  <a16:creationId xmlns:a16="http://schemas.microsoft.com/office/drawing/2014/main" id="{4F913FAE-3FC2-FA78-2235-09C07D9C41EB}"/>
                </a:ext>
              </a:extLst>
            </p:cNvPr>
            <p:cNvSpPr/>
            <p:nvPr/>
          </p:nvSpPr>
          <p:spPr>
            <a:xfrm>
              <a:off x="5328882" y="2549454"/>
              <a:ext cx="1433988" cy="1433987"/>
            </a:xfrm>
            <a:prstGeom prst="arc">
              <a:avLst>
                <a:gd name="adj1" fmla="val 7836615"/>
                <a:gd name="adj2" fmla="val 2950439"/>
              </a:avLst>
            </a:prstGeom>
            <a:ln w="1270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 anchorCtr="1"/>
            <a:lstStyle/>
            <a:p>
              <a:pPr algn="ctr"/>
              <a:endParaRPr lang="en-US" sz="2400" dirty="0"/>
            </a:p>
          </p:txBody>
        </p:sp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8159DCC8-0422-C869-1C28-468406181633}"/>
                </a:ext>
              </a:extLst>
            </p:cNvPr>
            <p:cNvSpPr/>
            <p:nvPr/>
          </p:nvSpPr>
          <p:spPr>
            <a:xfrm rot="2684411">
              <a:off x="5423984" y="3707222"/>
              <a:ext cx="227048" cy="119972"/>
            </a:xfrm>
            <a:prstGeom prst="roundRect">
              <a:avLst>
                <a:gd name="adj" fmla="val 50000"/>
              </a:avLst>
            </a:prstGeom>
            <a:solidFill>
              <a:schemeClr val="bg2"/>
            </a:solidFill>
            <a:ln w="952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1"/>
            <a:lstStyle/>
            <a:p>
              <a:pPr algn="ctr"/>
              <a:endParaRPr lang="en-US" sz="2400" dirty="0" err="1">
                <a:solidFill>
                  <a:schemeClr val="tx1"/>
                </a:solidFill>
              </a:endParaRPr>
            </a:p>
          </p:txBody>
        </p:sp>
        <p:sp>
          <p:nvSpPr>
            <p:cNvPr id="24" name="Rectangle: Rounded Corners 23">
              <a:extLst>
                <a:ext uri="{FF2B5EF4-FFF2-40B4-BE49-F238E27FC236}">
                  <a16:creationId xmlns:a16="http://schemas.microsoft.com/office/drawing/2014/main" id="{557C7D9F-4B33-E4A7-8538-F041327F1B7F}"/>
                </a:ext>
              </a:extLst>
            </p:cNvPr>
            <p:cNvSpPr/>
            <p:nvPr/>
          </p:nvSpPr>
          <p:spPr>
            <a:xfrm rot="18915589" flipH="1">
              <a:off x="6423656" y="3729367"/>
              <a:ext cx="227048" cy="118784"/>
            </a:xfrm>
            <a:prstGeom prst="roundRect">
              <a:avLst>
                <a:gd name="adj" fmla="val 50000"/>
              </a:avLst>
            </a:prstGeom>
            <a:solidFill>
              <a:schemeClr val="bg2"/>
            </a:solidFill>
            <a:ln w="952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1"/>
            <a:lstStyle/>
            <a:p>
              <a:pPr algn="ctr"/>
              <a:endParaRPr lang="en-US" sz="2400" dirty="0" err="1">
                <a:solidFill>
                  <a:schemeClr val="tx1"/>
                </a:solidFill>
              </a:endParaRPr>
            </a:p>
          </p:txBody>
        </p:sp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CA56E0AB-8946-9370-34DE-C4E926E41410}"/>
                </a:ext>
              </a:extLst>
            </p:cNvPr>
            <p:cNvSpPr/>
            <p:nvPr/>
          </p:nvSpPr>
          <p:spPr>
            <a:xfrm flipH="1">
              <a:off x="5653772" y="3882904"/>
              <a:ext cx="764793" cy="146390"/>
            </a:xfrm>
            <a:prstGeom prst="roundRect">
              <a:avLst>
                <a:gd name="adj" fmla="val 50000"/>
              </a:avLst>
            </a:prstGeom>
            <a:solidFill>
              <a:schemeClr val="bg2"/>
            </a:solidFill>
            <a:ln w="952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1"/>
            <a:lstStyle/>
            <a:p>
              <a:pPr algn="ctr"/>
              <a:endParaRPr lang="en-US" sz="2400" dirty="0" err="1">
                <a:solidFill>
                  <a:schemeClr val="tx1"/>
                </a:solidFill>
              </a:endParaRPr>
            </a:p>
          </p:txBody>
        </p:sp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D8684090-0932-C350-DBB5-CAD0EADA7116}"/>
                </a:ext>
              </a:extLst>
            </p:cNvPr>
            <p:cNvSpPr/>
            <p:nvPr/>
          </p:nvSpPr>
          <p:spPr>
            <a:xfrm flipH="1">
              <a:off x="5653772" y="4063651"/>
              <a:ext cx="764793" cy="146390"/>
            </a:xfrm>
            <a:prstGeom prst="roundRect">
              <a:avLst>
                <a:gd name="adj" fmla="val 50000"/>
              </a:avLst>
            </a:prstGeom>
            <a:solidFill>
              <a:schemeClr val="bg2"/>
            </a:solidFill>
            <a:ln w="952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1"/>
            <a:lstStyle/>
            <a:p>
              <a:pPr algn="ctr"/>
              <a:endParaRPr lang="en-US" sz="2400" dirty="0" err="1">
                <a:solidFill>
                  <a:schemeClr val="tx1"/>
                </a:solidFill>
              </a:endParaRPr>
            </a:p>
          </p:txBody>
        </p:sp>
        <p:sp>
          <p:nvSpPr>
            <p:cNvPr id="27" name="Rectangle: Rounded Corners 26">
              <a:extLst>
                <a:ext uri="{FF2B5EF4-FFF2-40B4-BE49-F238E27FC236}">
                  <a16:creationId xmlns:a16="http://schemas.microsoft.com/office/drawing/2014/main" id="{6DCACA59-9EE2-FD81-A746-8AEE960F9E12}"/>
                </a:ext>
              </a:extLst>
            </p:cNvPr>
            <p:cNvSpPr/>
            <p:nvPr/>
          </p:nvSpPr>
          <p:spPr>
            <a:xfrm flipH="1">
              <a:off x="5653772" y="4244400"/>
              <a:ext cx="764793" cy="146390"/>
            </a:xfrm>
            <a:prstGeom prst="roundRect">
              <a:avLst>
                <a:gd name="adj" fmla="val 50000"/>
              </a:avLst>
            </a:prstGeom>
            <a:solidFill>
              <a:schemeClr val="bg2"/>
            </a:solidFill>
            <a:ln w="952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1"/>
            <a:lstStyle/>
            <a:p>
              <a:pPr algn="ctr"/>
              <a:endParaRPr lang="en-US" sz="2400" dirty="0" err="1">
                <a:solidFill>
                  <a:schemeClr val="tx1"/>
                </a:solidFill>
              </a:endParaRPr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86FB4CCA-6EB3-E90E-C934-F75BBB8DF0A8}"/>
                </a:ext>
              </a:extLst>
            </p:cNvPr>
            <p:cNvSpPr/>
            <p:nvPr/>
          </p:nvSpPr>
          <p:spPr>
            <a:xfrm rot="5400000" flipH="1">
              <a:off x="5953882" y="4275156"/>
              <a:ext cx="183989" cy="483970"/>
            </a:xfrm>
            <a:custGeom>
              <a:avLst/>
              <a:gdLst>
                <a:gd name="connsiteX0" fmla="*/ 146654 w 146654"/>
                <a:gd name="connsiteY0" fmla="*/ 384158 h 385762"/>
                <a:gd name="connsiteX1" fmla="*/ 142014 w 146654"/>
                <a:gd name="connsiteY1" fmla="*/ 361175 h 385762"/>
                <a:gd name="connsiteX2" fmla="*/ 142014 w 146654"/>
                <a:gd name="connsiteY2" fmla="*/ 668 h 385762"/>
                <a:gd name="connsiteX3" fmla="*/ 138708 w 146654"/>
                <a:gd name="connsiteY3" fmla="*/ 0 h 385762"/>
                <a:gd name="connsiteX4" fmla="*/ 0 w 146654"/>
                <a:gd name="connsiteY4" fmla="*/ 138708 h 385762"/>
                <a:gd name="connsiteX5" fmla="*/ 0 w 146654"/>
                <a:gd name="connsiteY5" fmla="*/ 247054 h 385762"/>
                <a:gd name="connsiteX6" fmla="*/ 138708 w 146654"/>
                <a:gd name="connsiteY6" fmla="*/ 385762 h 385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6654" h="385762">
                  <a:moveTo>
                    <a:pt x="146654" y="384158"/>
                  </a:moveTo>
                  <a:lnTo>
                    <a:pt x="142014" y="361175"/>
                  </a:lnTo>
                  <a:lnTo>
                    <a:pt x="142014" y="668"/>
                  </a:lnTo>
                  <a:lnTo>
                    <a:pt x="138708" y="0"/>
                  </a:lnTo>
                  <a:cubicBezTo>
                    <a:pt x="62102" y="0"/>
                    <a:pt x="0" y="62102"/>
                    <a:pt x="0" y="138708"/>
                  </a:cubicBezTo>
                  <a:lnTo>
                    <a:pt x="0" y="247054"/>
                  </a:lnTo>
                  <a:cubicBezTo>
                    <a:pt x="0" y="323660"/>
                    <a:pt x="62102" y="385762"/>
                    <a:pt x="138708" y="385762"/>
                  </a:cubicBezTo>
                  <a:close/>
                </a:path>
              </a:pathLst>
            </a:custGeom>
            <a:solidFill>
              <a:schemeClr val="bg2"/>
            </a:solidFill>
            <a:ln w="952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1"/>
            <a:lstStyle/>
            <a:p>
              <a:pPr algn="ctr"/>
              <a:endParaRPr lang="en-US" sz="24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id="{A738D8CB-4AE7-28EA-30BD-68D706120BD2}"/>
              </a:ext>
            </a:extLst>
          </p:cNvPr>
          <p:cNvSpPr txBox="1"/>
          <p:nvPr/>
        </p:nvSpPr>
        <p:spPr>
          <a:xfrm flipH="1">
            <a:off x="878671" y="1841029"/>
            <a:ext cx="3597749" cy="3652282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spcBef>
                <a:spcPts val="1596"/>
              </a:spcBef>
            </a:pPr>
            <a:r>
              <a:rPr lang="en-US" b="1" dirty="0">
                <a:solidFill>
                  <a:schemeClr val="tx2"/>
                </a:solidFill>
              </a:rPr>
              <a:t>Heading</a:t>
            </a:r>
          </a:p>
          <a:p>
            <a:pPr marL="290822" indent="-290822">
              <a:spcBef>
                <a:spcPts val="1596"/>
              </a:spcBef>
              <a:buFont typeface="Arial" panose="020B0604020202020204" pitchFamily="34" charset="0"/>
              <a:buChar char="•"/>
            </a:pPr>
            <a:r>
              <a:rPr lang="en-US" dirty="0"/>
              <a:t>Insert your text here</a:t>
            </a:r>
          </a:p>
          <a:p>
            <a:pPr marL="290822" indent="-290822">
              <a:spcBef>
                <a:spcPts val="1596"/>
              </a:spcBef>
              <a:buFont typeface="Arial" panose="020B0604020202020204" pitchFamily="34" charset="0"/>
              <a:buChar char="•"/>
            </a:pPr>
            <a:r>
              <a:rPr lang="en-US" dirty="0"/>
              <a:t>Insert your text here</a:t>
            </a:r>
          </a:p>
          <a:p>
            <a:pPr marL="290822" indent="-290822">
              <a:spcBef>
                <a:spcPts val="1596"/>
              </a:spcBef>
              <a:buFont typeface="Arial" panose="020B0604020202020204" pitchFamily="34" charset="0"/>
              <a:buChar char="•"/>
            </a:pPr>
            <a:r>
              <a:rPr lang="en-US" dirty="0"/>
              <a:t>Insert your text here</a:t>
            </a:r>
          </a:p>
          <a:p>
            <a:pPr marL="290822" indent="-290822">
              <a:spcBef>
                <a:spcPts val="1596"/>
              </a:spcBef>
              <a:buFont typeface="Arial" panose="020B0604020202020204" pitchFamily="34" charset="0"/>
              <a:buChar char="•"/>
            </a:pPr>
            <a:r>
              <a:rPr lang="en-US" dirty="0"/>
              <a:t>Insert your text here</a:t>
            </a:r>
          </a:p>
          <a:p>
            <a:pPr marL="290822" indent="-290822">
              <a:spcBef>
                <a:spcPts val="1596"/>
              </a:spcBef>
              <a:buFont typeface="Arial" panose="020B0604020202020204" pitchFamily="34" charset="0"/>
              <a:buChar char="•"/>
            </a:pPr>
            <a:r>
              <a:rPr lang="en-US" dirty="0"/>
              <a:t>Insert your text here</a:t>
            </a:r>
          </a:p>
          <a:p>
            <a:pPr marL="290822" indent="-290822">
              <a:spcBef>
                <a:spcPts val="1596"/>
              </a:spcBef>
              <a:buFont typeface="Arial" panose="020B0604020202020204" pitchFamily="34" charset="0"/>
              <a:buChar char="•"/>
            </a:pPr>
            <a:r>
              <a:rPr lang="en-US" dirty="0"/>
              <a:t>Insert your text here</a:t>
            </a:r>
          </a:p>
          <a:p>
            <a:pPr marL="290822" indent="-290822">
              <a:spcBef>
                <a:spcPts val="1596"/>
              </a:spcBef>
              <a:buFont typeface="Arial" panose="020B0604020202020204" pitchFamily="34" charset="0"/>
              <a:buChar char="•"/>
            </a:pPr>
            <a:r>
              <a:rPr lang="en-US" dirty="0"/>
              <a:t>Insert your text here</a:t>
            </a:r>
          </a:p>
        </p:txBody>
      </p:sp>
    </p:spTree>
    <p:extLst>
      <p:ext uri="{BB962C8B-B14F-4D97-AF65-F5344CB8AC3E}">
        <p14:creationId xmlns:p14="http://schemas.microsoft.com/office/powerpoint/2010/main" val="3703924724"/>
      </p:ext>
    </p:extLst>
  </p:cSld>
  <p:clrMapOvr>
    <a:masterClrMapping/>
  </p:clrMapOvr>
</p:sld>
</file>

<file path=ppt/slides/slide1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031EE7-E4D3-A16B-C45D-9850C46D37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think-cell data - do not delete" hidden="1">
            <a:extLst>
              <a:ext uri="{FF2B5EF4-FFF2-40B4-BE49-F238E27FC236}">
                <a16:creationId xmlns:a16="http://schemas.microsoft.com/office/drawing/2014/main" id="{A816D992-F867-E8D3-FB9B-77B198A975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80341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3882222-F7B4-F306-B97D-A9126AE8B7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Ide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8097A20-6779-A7EF-00E6-017D54CA47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65</a:t>
            </a:fld>
            <a:endParaRPr lang="en-US" dirty="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FF63E1B1-625A-ACED-BF42-DECCC567D7BB}"/>
              </a:ext>
            </a:extLst>
          </p:cNvPr>
          <p:cNvSpPr/>
          <p:nvPr/>
        </p:nvSpPr>
        <p:spPr>
          <a:xfrm>
            <a:off x="9330934" y="2252592"/>
            <a:ext cx="1284384" cy="1284383"/>
          </a:xfrm>
          <a:prstGeom prst="ellipse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Insert heading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DE73152B-B7AA-B753-1BE3-5019412086C2}"/>
              </a:ext>
            </a:extLst>
          </p:cNvPr>
          <p:cNvSpPr/>
          <p:nvPr/>
        </p:nvSpPr>
        <p:spPr>
          <a:xfrm>
            <a:off x="8147884" y="1411321"/>
            <a:ext cx="1284384" cy="1284383"/>
          </a:xfrm>
          <a:prstGeom prst="ellipse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Insert heading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708F9E1D-FDFD-30E1-973E-70A6A4472BB6}"/>
              </a:ext>
            </a:extLst>
          </p:cNvPr>
          <p:cNvSpPr/>
          <p:nvPr/>
        </p:nvSpPr>
        <p:spPr>
          <a:xfrm>
            <a:off x="6702771" y="1411321"/>
            <a:ext cx="1284384" cy="1284383"/>
          </a:xfrm>
          <a:prstGeom prst="ellipse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Insert heading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058CCA42-0EFC-65F8-9811-A03517889DE3}"/>
              </a:ext>
            </a:extLst>
          </p:cNvPr>
          <p:cNvSpPr/>
          <p:nvPr/>
        </p:nvSpPr>
        <p:spPr>
          <a:xfrm>
            <a:off x="6423844" y="4151793"/>
            <a:ext cx="464245" cy="112202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endParaRPr lang="en-US" sz="2400" dirty="0" err="1">
              <a:solidFill>
                <a:schemeClr val="tx1"/>
              </a:solidFill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9B32F0C8-13C0-59F9-2AA8-58BB0D84D507}"/>
              </a:ext>
            </a:extLst>
          </p:cNvPr>
          <p:cNvSpPr/>
          <p:nvPr/>
        </p:nvSpPr>
        <p:spPr>
          <a:xfrm flipH="1">
            <a:off x="5031474" y="3565702"/>
            <a:ext cx="1284384" cy="1284383"/>
          </a:xfrm>
          <a:prstGeom prst="ellipse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Insert heading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25807103-98D3-1FE7-95BF-A9B27FD016FC}"/>
              </a:ext>
            </a:extLst>
          </p:cNvPr>
          <p:cNvSpPr/>
          <p:nvPr/>
        </p:nvSpPr>
        <p:spPr>
          <a:xfrm rot="2354046">
            <a:off x="6657368" y="3437142"/>
            <a:ext cx="426518" cy="112202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endParaRPr lang="en-US" sz="2400" dirty="0" err="1">
              <a:solidFill>
                <a:schemeClr val="tx1"/>
              </a:solidFill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D223AC96-C3C4-60CD-558F-8D3B9C459539}"/>
              </a:ext>
            </a:extLst>
          </p:cNvPr>
          <p:cNvSpPr/>
          <p:nvPr/>
        </p:nvSpPr>
        <p:spPr>
          <a:xfrm flipH="1">
            <a:off x="5510699" y="2243570"/>
            <a:ext cx="1284384" cy="1284383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Insert heading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862B2A47-7058-8780-1DCC-2D105A95B3EF}"/>
              </a:ext>
            </a:extLst>
          </p:cNvPr>
          <p:cNvSpPr/>
          <p:nvPr/>
        </p:nvSpPr>
        <p:spPr>
          <a:xfrm rot="4339872">
            <a:off x="7440123" y="2960761"/>
            <a:ext cx="426518" cy="112202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endParaRPr lang="en-US" sz="2400" dirty="0" err="1">
              <a:solidFill>
                <a:schemeClr val="tx1"/>
              </a:solidFill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9257A7F7-7AAE-2717-AD3F-069AFA92E8BF}"/>
              </a:ext>
            </a:extLst>
          </p:cNvPr>
          <p:cNvSpPr/>
          <p:nvPr/>
        </p:nvSpPr>
        <p:spPr>
          <a:xfrm rot="17298320" flipH="1">
            <a:off x="8317133" y="2950975"/>
            <a:ext cx="426518" cy="112202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endParaRPr lang="en-US" sz="2400" dirty="0" err="1">
              <a:solidFill>
                <a:schemeClr val="tx1"/>
              </a:solidFill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F7441A66-A7D2-EA9C-76F1-17A1597B064A}"/>
              </a:ext>
            </a:extLst>
          </p:cNvPr>
          <p:cNvSpPr/>
          <p:nvPr/>
        </p:nvSpPr>
        <p:spPr>
          <a:xfrm flipH="1">
            <a:off x="9196273" y="4151793"/>
            <a:ext cx="464243" cy="1122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endParaRPr lang="en-US" sz="2400" dirty="0" err="1">
              <a:solidFill>
                <a:schemeClr val="tx1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2CDED75C-00B0-1442-6F00-CDDBE1E7D91A}"/>
              </a:ext>
            </a:extLst>
          </p:cNvPr>
          <p:cNvSpPr/>
          <p:nvPr/>
        </p:nvSpPr>
        <p:spPr>
          <a:xfrm>
            <a:off x="9796134" y="3565702"/>
            <a:ext cx="1284380" cy="1284383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Insert heading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A0DF8018-F556-9874-18FB-A81DFD100DF0}"/>
              </a:ext>
            </a:extLst>
          </p:cNvPr>
          <p:cNvSpPr/>
          <p:nvPr/>
        </p:nvSpPr>
        <p:spPr>
          <a:xfrm rot="19245954" flipH="1">
            <a:off x="8996826" y="3437144"/>
            <a:ext cx="426518" cy="112202"/>
          </a:xfrm>
          <a:prstGeom prst="roundRect">
            <a:avLst>
              <a:gd name="adj" fmla="val 50000"/>
            </a:avLst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endParaRPr lang="en-US" sz="2400" dirty="0" err="1">
              <a:solidFill>
                <a:schemeClr val="tx1"/>
              </a:solidFill>
            </a:endParaRP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FD47A6B4-033F-5F9D-54A6-F26FE95B3A70}"/>
              </a:ext>
            </a:extLst>
          </p:cNvPr>
          <p:cNvSpPr/>
          <p:nvPr/>
        </p:nvSpPr>
        <p:spPr>
          <a:xfrm rot="19092778">
            <a:off x="6537349" y="4844427"/>
            <a:ext cx="464245" cy="1122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endParaRPr lang="en-US" sz="2400" dirty="0" err="1">
              <a:solidFill>
                <a:schemeClr val="tx1"/>
              </a:solidFill>
            </a:endParaRP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98D3A5BC-CD25-1D7A-4BAA-C73B7E853A8D}"/>
              </a:ext>
            </a:extLst>
          </p:cNvPr>
          <p:cNvSpPr/>
          <p:nvPr/>
        </p:nvSpPr>
        <p:spPr>
          <a:xfrm rot="2507222" flipH="1">
            <a:off x="9106815" y="4826377"/>
            <a:ext cx="464245" cy="112202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endParaRPr lang="en-US" sz="2400" dirty="0" err="1">
              <a:solidFill>
                <a:schemeClr val="tx1"/>
              </a:solidFill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4A57B500-5628-5160-829F-B97FF3C60FF5}"/>
              </a:ext>
            </a:extLst>
          </p:cNvPr>
          <p:cNvSpPr/>
          <p:nvPr/>
        </p:nvSpPr>
        <p:spPr>
          <a:xfrm flipH="1">
            <a:off x="5394850" y="4912906"/>
            <a:ext cx="1284384" cy="1284383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Insert heading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9272527C-35D0-5375-6C62-7B937EEA87FA}"/>
              </a:ext>
            </a:extLst>
          </p:cNvPr>
          <p:cNvSpPr/>
          <p:nvPr/>
        </p:nvSpPr>
        <p:spPr>
          <a:xfrm flipH="1">
            <a:off x="9429174" y="4894858"/>
            <a:ext cx="1284384" cy="1284383"/>
          </a:xfrm>
          <a:prstGeom prst="ellipse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Insert heading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0C0154A6-CD7C-A047-A1AE-B1E203225C92}"/>
              </a:ext>
            </a:extLst>
          </p:cNvPr>
          <p:cNvGrpSpPr/>
          <p:nvPr/>
        </p:nvGrpSpPr>
        <p:grpSpPr>
          <a:xfrm>
            <a:off x="7087598" y="3399346"/>
            <a:ext cx="1907254" cy="2739447"/>
            <a:chOff x="5328882" y="2549454"/>
            <a:chExt cx="1433988" cy="2059681"/>
          </a:xfrm>
        </p:grpSpPr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ACAC11AF-0F89-EEAC-9845-0CFD7F987B50}"/>
                </a:ext>
              </a:extLst>
            </p:cNvPr>
            <p:cNvSpPr txBox="1"/>
            <p:nvPr/>
          </p:nvSpPr>
          <p:spPr>
            <a:xfrm flipH="1">
              <a:off x="5538228" y="2879069"/>
              <a:ext cx="1041309" cy="707886"/>
            </a:xfrm>
            <a:prstGeom prst="rect">
              <a:avLst/>
            </a:prstGeom>
            <a:noFill/>
          </p:spPr>
          <p:txBody>
            <a:bodyPr wrap="square" rtlCol="0" anchor="ctr" anchorCtr="1">
              <a:noAutofit/>
            </a:bodyPr>
            <a:lstStyle/>
            <a:p>
              <a:pPr algn="ctr"/>
              <a:r>
                <a:rPr lang="en-US" sz="2400" b="1" dirty="0"/>
                <a:t>Insert heading</a:t>
              </a:r>
            </a:p>
          </p:txBody>
        </p:sp>
        <p:sp>
          <p:nvSpPr>
            <p:cNvPr id="24" name="Arc 23">
              <a:extLst>
                <a:ext uri="{FF2B5EF4-FFF2-40B4-BE49-F238E27FC236}">
                  <a16:creationId xmlns:a16="http://schemas.microsoft.com/office/drawing/2014/main" id="{B62B6E1A-4841-A91F-8AB9-C8571F22C44F}"/>
                </a:ext>
              </a:extLst>
            </p:cNvPr>
            <p:cNvSpPr/>
            <p:nvPr/>
          </p:nvSpPr>
          <p:spPr>
            <a:xfrm>
              <a:off x="5328882" y="2549454"/>
              <a:ext cx="1433988" cy="1433987"/>
            </a:xfrm>
            <a:prstGeom prst="arc">
              <a:avLst>
                <a:gd name="adj1" fmla="val 7836615"/>
                <a:gd name="adj2" fmla="val 2950439"/>
              </a:avLst>
            </a:prstGeom>
            <a:ln w="1270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 anchorCtr="1"/>
            <a:lstStyle/>
            <a:p>
              <a:pPr algn="ctr"/>
              <a:endParaRPr lang="en-US" sz="2400" dirty="0"/>
            </a:p>
          </p:txBody>
        </p:sp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CF8635D0-EC56-381B-F9DB-04B9834CCCCF}"/>
                </a:ext>
              </a:extLst>
            </p:cNvPr>
            <p:cNvSpPr/>
            <p:nvPr/>
          </p:nvSpPr>
          <p:spPr>
            <a:xfrm rot="2684411">
              <a:off x="5423984" y="3707222"/>
              <a:ext cx="227048" cy="119972"/>
            </a:xfrm>
            <a:prstGeom prst="roundRect">
              <a:avLst>
                <a:gd name="adj" fmla="val 50000"/>
              </a:avLst>
            </a:prstGeom>
            <a:solidFill>
              <a:schemeClr val="bg2"/>
            </a:solidFill>
            <a:ln w="952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1"/>
            <a:lstStyle/>
            <a:p>
              <a:pPr algn="ctr"/>
              <a:endParaRPr lang="en-US" sz="2400" dirty="0" err="1">
                <a:solidFill>
                  <a:schemeClr val="tx1"/>
                </a:solidFill>
              </a:endParaRPr>
            </a:p>
          </p:txBody>
        </p:sp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357623E2-5129-470E-EAC0-0887576639C3}"/>
                </a:ext>
              </a:extLst>
            </p:cNvPr>
            <p:cNvSpPr/>
            <p:nvPr/>
          </p:nvSpPr>
          <p:spPr>
            <a:xfrm rot="18915589" flipH="1">
              <a:off x="6423656" y="3729367"/>
              <a:ext cx="227048" cy="118784"/>
            </a:xfrm>
            <a:prstGeom prst="roundRect">
              <a:avLst>
                <a:gd name="adj" fmla="val 50000"/>
              </a:avLst>
            </a:prstGeom>
            <a:solidFill>
              <a:schemeClr val="bg2"/>
            </a:solidFill>
            <a:ln w="952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1"/>
            <a:lstStyle/>
            <a:p>
              <a:pPr algn="ctr"/>
              <a:endParaRPr lang="en-US" sz="2400" dirty="0" err="1">
                <a:solidFill>
                  <a:schemeClr val="tx1"/>
                </a:solidFill>
              </a:endParaRPr>
            </a:p>
          </p:txBody>
        </p:sp>
        <p:sp>
          <p:nvSpPr>
            <p:cNvPr id="27" name="Rectangle: Rounded Corners 26">
              <a:extLst>
                <a:ext uri="{FF2B5EF4-FFF2-40B4-BE49-F238E27FC236}">
                  <a16:creationId xmlns:a16="http://schemas.microsoft.com/office/drawing/2014/main" id="{518F1792-ADA2-430F-B80E-FC506196260B}"/>
                </a:ext>
              </a:extLst>
            </p:cNvPr>
            <p:cNvSpPr/>
            <p:nvPr/>
          </p:nvSpPr>
          <p:spPr>
            <a:xfrm flipH="1">
              <a:off x="5653772" y="3882904"/>
              <a:ext cx="764793" cy="146390"/>
            </a:xfrm>
            <a:prstGeom prst="roundRect">
              <a:avLst>
                <a:gd name="adj" fmla="val 50000"/>
              </a:avLst>
            </a:prstGeom>
            <a:solidFill>
              <a:schemeClr val="bg2"/>
            </a:solidFill>
            <a:ln w="952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1"/>
            <a:lstStyle/>
            <a:p>
              <a:pPr algn="ctr"/>
              <a:endParaRPr lang="en-US" sz="2400" dirty="0" err="1">
                <a:solidFill>
                  <a:schemeClr val="tx1"/>
                </a:solidFill>
              </a:endParaRPr>
            </a:p>
          </p:txBody>
        </p:sp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F9C17A5C-7F6F-F88A-DA3E-A26C809D73A2}"/>
                </a:ext>
              </a:extLst>
            </p:cNvPr>
            <p:cNvSpPr/>
            <p:nvPr/>
          </p:nvSpPr>
          <p:spPr>
            <a:xfrm flipH="1">
              <a:off x="5653772" y="4063651"/>
              <a:ext cx="764793" cy="146390"/>
            </a:xfrm>
            <a:prstGeom prst="roundRect">
              <a:avLst>
                <a:gd name="adj" fmla="val 50000"/>
              </a:avLst>
            </a:prstGeom>
            <a:solidFill>
              <a:schemeClr val="bg2"/>
            </a:solidFill>
            <a:ln w="952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1"/>
            <a:lstStyle/>
            <a:p>
              <a:pPr algn="ctr"/>
              <a:endParaRPr lang="en-US" sz="2400" dirty="0" err="1">
                <a:solidFill>
                  <a:schemeClr val="tx1"/>
                </a:solidFill>
              </a:endParaRPr>
            </a:p>
          </p:txBody>
        </p:sp>
        <p:sp>
          <p:nvSpPr>
            <p:cNvPr id="29" name="Rectangle: Rounded Corners 28">
              <a:extLst>
                <a:ext uri="{FF2B5EF4-FFF2-40B4-BE49-F238E27FC236}">
                  <a16:creationId xmlns:a16="http://schemas.microsoft.com/office/drawing/2014/main" id="{1EE3BA9C-3A9A-5333-3BD3-764F86DF1717}"/>
                </a:ext>
              </a:extLst>
            </p:cNvPr>
            <p:cNvSpPr/>
            <p:nvPr/>
          </p:nvSpPr>
          <p:spPr>
            <a:xfrm flipH="1">
              <a:off x="5653772" y="4244400"/>
              <a:ext cx="764793" cy="146390"/>
            </a:xfrm>
            <a:prstGeom prst="roundRect">
              <a:avLst>
                <a:gd name="adj" fmla="val 50000"/>
              </a:avLst>
            </a:prstGeom>
            <a:solidFill>
              <a:schemeClr val="bg2"/>
            </a:solidFill>
            <a:ln w="952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1"/>
            <a:lstStyle/>
            <a:p>
              <a:pPr algn="ctr"/>
              <a:endParaRPr lang="en-US" sz="2400" dirty="0" err="1">
                <a:solidFill>
                  <a:schemeClr val="tx1"/>
                </a:solidFill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58FAFC69-1226-322C-27D6-EDDDFF6B5F49}"/>
                </a:ext>
              </a:extLst>
            </p:cNvPr>
            <p:cNvSpPr/>
            <p:nvPr/>
          </p:nvSpPr>
          <p:spPr>
            <a:xfrm rot="5400000" flipH="1">
              <a:off x="5953882" y="4275156"/>
              <a:ext cx="183989" cy="483970"/>
            </a:xfrm>
            <a:custGeom>
              <a:avLst/>
              <a:gdLst>
                <a:gd name="connsiteX0" fmla="*/ 146654 w 146654"/>
                <a:gd name="connsiteY0" fmla="*/ 384158 h 385762"/>
                <a:gd name="connsiteX1" fmla="*/ 142014 w 146654"/>
                <a:gd name="connsiteY1" fmla="*/ 361175 h 385762"/>
                <a:gd name="connsiteX2" fmla="*/ 142014 w 146654"/>
                <a:gd name="connsiteY2" fmla="*/ 668 h 385762"/>
                <a:gd name="connsiteX3" fmla="*/ 138708 w 146654"/>
                <a:gd name="connsiteY3" fmla="*/ 0 h 385762"/>
                <a:gd name="connsiteX4" fmla="*/ 0 w 146654"/>
                <a:gd name="connsiteY4" fmla="*/ 138708 h 385762"/>
                <a:gd name="connsiteX5" fmla="*/ 0 w 146654"/>
                <a:gd name="connsiteY5" fmla="*/ 247054 h 385762"/>
                <a:gd name="connsiteX6" fmla="*/ 138708 w 146654"/>
                <a:gd name="connsiteY6" fmla="*/ 385762 h 385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6654" h="385762">
                  <a:moveTo>
                    <a:pt x="146654" y="384158"/>
                  </a:moveTo>
                  <a:lnTo>
                    <a:pt x="142014" y="361175"/>
                  </a:lnTo>
                  <a:lnTo>
                    <a:pt x="142014" y="668"/>
                  </a:lnTo>
                  <a:lnTo>
                    <a:pt x="138708" y="0"/>
                  </a:lnTo>
                  <a:cubicBezTo>
                    <a:pt x="62102" y="0"/>
                    <a:pt x="0" y="62102"/>
                    <a:pt x="0" y="138708"/>
                  </a:cubicBezTo>
                  <a:lnTo>
                    <a:pt x="0" y="247054"/>
                  </a:lnTo>
                  <a:cubicBezTo>
                    <a:pt x="0" y="323660"/>
                    <a:pt x="62102" y="385762"/>
                    <a:pt x="138708" y="385762"/>
                  </a:cubicBezTo>
                  <a:close/>
                </a:path>
              </a:pathLst>
            </a:custGeom>
            <a:solidFill>
              <a:schemeClr val="bg2"/>
            </a:solidFill>
            <a:ln w="952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1"/>
            <a:lstStyle/>
            <a:p>
              <a:pPr algn="ctr"/>
              <a:endParaRPr lang="en-US" sz="24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32" name="TextBox 31">
            <a:extLst>
              <a:ext uri="{FF2B5EF4-FFF2-40B4-BE49-F238E27FC236}">
                <a16:creationId xmlns:a16="http://schemas.microsoft.com/office/drawing/2014/main" id="{2B9220E2-1BB2-2B42-A37C-0318935231F0}"/>
              </a:ext>
            </a:extLst>
          </p:cNvPr>
          <p:cNvSpPr txBox="1"/>
          <p:nvPr/>
        </p:nvSpPr>
        <p:spPr>
          <a:xfrm flipH="1">
            <a:off x="878671" y="1841029"/>
            <a:ext cx="3597749" cy="3652282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spcBef>
                <a:spcPts val="1596"/>
              </a:spcBef>
            </a:pPr>
            <a:r>
              <a:rPr lang="en-US" b="1" dirty="0">
                <a:solidFill>
                  <a:schemeClr val="tx2"/>
                </a:solidFill>
              </a:rPr>
              <a:t>Heading</a:t>
            </a:r>
          </a:p>
          <a:p>
            <a:pPr marL="290822" indent="-290822">
              <a:spcBef>
                <a:spcPts val="1596"/>
              </a:spcBef>
              <a:buFont typeface="Arial" panose="020B0604020202020204" pitchFamily="34" charset="0"/>
              <a:buChar char="•"/>
            </a:pPr>
            <a:r>
              <a:rPr lang="en-US" dirty="0"/>
              <a:t>Insert your text here</a:t>
            </a:r>
          </a:p>
          <a:p>
            <a:pPr marL="290822" indent="-290822">
              <a:spcBef>
                <a:spcPts val="1596"/>
              </a:spcBef>
              <a:buFont typeface="Arial" panose="020B0604020202020204" pitchFamily="34" charset="0"/>
              <a:buChar char="•"/>
            </a:pPr>
            <a:r>
              <a:rPr lang="en-US" dirty="0"/>
              <a:t>Insert your text here</a:t>
            </a:r>
          </a:p>
          <a:p>
            <a:pPr marL="290822" indent="-290822">
              <a:spcBef>
                <a:spcPts val="1596"/>
              </a:spcBef>
              <a:buFont typeface="Arial" panose="020B0604020202020204" pitchFamily="34" charset="0"/>
              <a:buChar char="•"/>
            </a:pPr>
            <a:r>
              <a:rPr lang="en-US" dirty="0"/>
              <a:t>Insert your text here</a:t>
            </a:r>
          </a:p>
          <a:p>
            <a:pPr marL="290822" indent="-290822">
              <a:spcBef>
                <a:spcPts val="1596"/>
              </a:spcBef>
              <a:buFont typeface="Arial" panose="020B0604020202020204" pitchFamily="34" charset="0"/>
              <a:buChar char="•"/>
            </a:pPr>
            <a:r>
              <a:rPr lang="en-US" dirty="0"/>
              <a:t>Insert your text here</a:t>
            </a:r>
          </a:p>
          <a:p>
            <a:pPr marL="290822" indent="-290822">
              <a:spcBef>
                <a:spcPts val="1596"/>
              </a:spcBef>
              <a:buFont typeface="Arial" panose="020B0604020202020204" pitchFamily="34" charset="0"/>
              <a:buChar char="•"/>
            </a:pPr>
            <a:r>
              <a:rPr lang="en-US" dirty="0"/>
              <a:t>Insert your text here</a:t>
            </a:r>
          </a:p>
          <a:p>
            <a:pPr marL="290822" indent="-290822">
              <a:spcBef>
                <a:spcPts val="1596"/>
              </a:spcBef>
              <a:buFont typeface="Arial" panose="020B0604020202020204" pitchFamily="34" charset="0"/>
              <a:buChar char="•"/>
            </a:pPr>
            <a:r>
              <a:rPr lang="en-US" dirty="0"/>
              <a:t>Insert your text here</a:t>
            </a:r>
          </a:p>
          <a:p>
            <a:pPr marL="290822" indent="-290822">
              <a:spcBef>
                <a:spcPts val="1596"/>
              </a:spcBef>
              <a:buFont typeface="Arial" panose="020B0604020202020204" pitchFamily="34" charset="0"/>
              <a:buChar char="•"/>
            </a:pPr>
            <a:r>
              <a:rPr lang="en-US" dirty="0"/>
              <a:t>Insert your text here</a:t>
            </a:r>
          </a:p>
        </p:txBody>
      </p:sp>
    </p:spTree>
    <p:extLst>
      <p:ext uri="{BB962C8B-B14F-4D97-AF65-F5344CB8AC3E}">
        <p14:creationId xmlns:p14="http://schemas.microsoft.com/office/powerpoint/2010/main" val="540963933"/>
      </p:ext>
    </p:extLst>
  </p:cSld>
  <p:clrMapOvr>
    <a:masterClrMapping/>
  </p:clrMapOvr>
</p:sld>
</file>

<file path=ppt/slides/slide1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B4A16B-0C8F-3FFE-DA91-D29CE5CD24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think-cell data - do not delete" hidden="1">
            <a:extLst>
              <a:ext uri="{FF2B5EF4-FFF2-40B4-BE49-F238E27FC236}">
                <a16:creationId xmlns:a16="http://schemas.microsoft.com/office/drawing/2014/main" id="{E3466F7A-0DC1-A0E7-3895-AA6D8F8A155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10059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CE6CA7C-0AB6-5BCD-4815-5B7E3CB2C9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irc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D32C656-8B53-8A26-6802-86D6B05E1B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66</a:t>
            </a:fld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447F0C2-A5C8-D404-A469-8F5FF798E3D0}"/>
              </a:ext>
            </a:extLst>
          </p:cNvPr>
          <p:cNvGrpSpPr/>
          <p:nvPr/>
        </p:nvGrpSpPr>
        <p:grpSpPr>
          <a:xfrm>
            <a:off x="4257040" y="1786378"/>
            <a:ext cx="3438426" cy="3438426"/>
            <a:chOff x="11327410" y="1371600"/>
            <a:chExt cx="4343399" cy="4348052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F28C7C3F-37F6-AC48-E842-10368224F78D}"/>
                </a:ext>
              </a:extLst>
            </p:cNvPr>
            <p:cNvGrpSpPr/>
            <p:nvPr/>
          </p:nvGrpSpPr>
          <p:grpSpPr>
            <a:xfrm>
              <a:off x="11327410" y="1371600"/>
              <a:ext cx="4343399" cy="4348052"/>
              <a:chOff x="-7225901" y="433387"/>
              <a:chExt cx="4343399" cy="4348052"/>
            </a:xfrm>
          </p:grpSpPr>
          <p:grpSp>
            <p:nvGrpSpPr>
              <p:cNvPr id="8" name="Group 7">
                <a:extLst>
                  <a:ext uri="{FF2B5EF4-FFF2-40B4-BE49-F238E27FC236}">
                    <a16:creationId xmlns:a16="http://schemas.microsoft.com/office/drawing/2014/main" id="{4F46FDCD-0478-DF76-E53D-A2D7C8DAB112}"/>
                  </a:ext>
                </a:extLst>
              </p:cNvPr>
              <p:cNvGrpSpPr>
                <a:grpSpLocks/>
              </p:cNvGrpSpPr>
              <p:nvPr/>
            </p:nvGrpSpPr>
            <p:grpSpPr>
              <a:xfrm>
                <a:off x="-7225901" y="433387"/>
                <a:ext cx="4343399" cy="4348052"/>
                <a:chOff x="-7654925" y="433388"/>
                <a:chExt cx="4094162" cy="4098925"/>
              </a:xfrm>
            </p:grpSpPr>
            <p:sp>
              <p:nvSpPr>
                <p:cNvPr id="12" name="Freeform 5">
                  <a:extLst>
                    <a:ext uri="{FF2B5EF4-FFF2-40B4-BE49-F238E27FC236}">
                      <a16:creationId xmlns:a16="http://schemas.microsoft.com/office/drawing/2014/main" id="{4BA9F00F-2660-E4F7-1487-6B4B7C0D877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5603875" y="433388"/>
                  <a:ext cx="2043112" cy="4098925"/>
                </a:xfrm>
                <a:custGeom>
                  <a:avLst/>
                  <a:gdLst>
                    <a:gd name="T0" fmla="*/ 0 w 1287"/>
                    <a:gd name="T1" fmla="*/ 0 h 2582"/>
                    <a:gd name="T2" fmla="*/ 132 w 1287"/>
                    <a:gd name="T3" fmla="*/ 6 h 2582"/>
                    <a:gd name="T4" fmla="*/ 258 w 1287"/>
                    <a:gd name="T5" fmla="*/ 23 h 2582"/>
                    <a:gd name="T6" fmla="*/ 384 w 1287"/>
                    <a:gd name="T7" fmla="*/ 57 h 2582"/>
                    <a:gd name="T8" fmla="*/ 498 w 1287"/>
                    <a:gd name="T9" fmla="*/ 98 h 2582"/>
                    <a:gd name="T10" fmla="*/ 612 w 1287"/>
                    <a:gd name="T11" fmla="*/ 155 h 2582"/>
                    <a:gd name="T12" fmla="*/ 721 w 1287"/>
                    <a:gd name="T13" fmla="*/ 218 h 2582"/>
                    <a:gd name="T14" fmla="*/ 818 w 1287"/>
                    <a:gd name="T15" fmla="*/ 293 h 2582"/>
                    <a:gd name="T16" fmla="*/ 910 w 1287"/>
                    <a:gd name="T17" fmla="*/ 379 h 2582"/>
                    <a:gd name="T18" fmla="*/ 995 w 1287"/>
                    <a:gd name="T19" fmla="*/ 471 h 2582"/>
                    <a:gd name="T20" fmla="*/ 1070 w 1287"/>
                    <a:gd name="T21" fmla="*/ 568 h 2582"/>
                    <a:gd name="T22" fmla="*/ 1133 w 1287"/>
                    <a:gd name="T23" fmla="*/ 677 h 2582"/>
                    <a:gd name="T24" fmla="*/ 1184 w 1287"/>
                    <a:gd name="T25" fmla="*/ 786 h 2582"/>
                    <a:gd name="T26" fmla="*/ 1230 w 1287"/>
                    <a:gd name="T27" fmla="*/ 907 h 2582"/>
                    <a:gd name="T28" fmla="*/ 1264 w 1287"/>
                    <a:gd name="T29" fmla="*/ 1027 h 2582"/>
                    <a:gd name="T30" fmla="*/ 1281 w 1287"/>
                    <a:gd name="T31" fmla="*/ 1159 h 2582"/>
                    <a:gd name="T32" fmla="*/ 1287 w 1287"/>
                    <a:gd name="T33" fmla="*/ 1291 h 2582"/>
                    <a:gd name="T34" fmla="*/ 1281 w 1287"/>
                    <a:gd name="T35" fmla="*/ 1423 h 2582"/>
                    <a:gd name="T36" fmla="*/ 1264 w 1287"/>
                    <a:gd name="T37" fmla="*/ 1549 h 2582"/>
                    <a:gd name="T38" fmla="*/ 1230 w 1287"/>
                    <a:gd name="T39" fmla="*/ 1676 h 2582"/>
                    <a:gd name="T40" fmla="*/ 1184 w 1287"/>
                    <a:gd name="T41" fmla="*/ 1796 h 2582"/>
                    <a:gd name="T42" fmla="*/ 1133 w 1287"/>
                    <a:gd name="T43" fmla="*/ 1905 h 2582"/>
                    <a:gd name="T44" fmla="*/ 1070 w 1287"/>
                    <a:gd name="T45" fmla="*/ 2014 h 2582"/>
                    <a:gd name="T46" fmla="*/ 995 w 1287"/>
                    <a:gd name="T47" fmla="*/ 2112 h 2582"/>
                    <a:gd name="T48" fmla="*/ 910 w 1287"/>
                    <a:gd name="T49" fmla="*/ 2203 h 2582"/>
                    <a:gd name="T50" fmla="*/ 818 w 1287"/>
                    <a:gd name="T51" fmla="*/ 2289 h 2582"/>
                    <a:gd name="T52" fmla="*/ 721 w 1287"/>
                    <a:gd name="T53" fmla="*/ 2364 h 2582"/>
                    <a:gd name="T54" fmla="*/ 612 w 1287"/>
                    <a:gd name="T55" fmla="*/ 2427 h 2582"/>
                    <a:gd name="T56" fmla="*/ 498 w 1287"/>
                    <a:gd name="T57" fmla="*/ 2485 h 2582"/>
                    <a:gd name="T58" fmla="*/ 384 w 1287"/>
                    <a:gd name="T59" fmla="*/ 2525 h 2582"/>
                    <a:gd name="T60" fmla="*/ 258 w 1287"/>
                    <a:gd name="T61" fmla="*/ 2559 h 2582"/>
                    <a:gd name="T62" fmla="*/ 132 w 1287"/>
                    <a:gd name="T63" fmla="*/ 2576 h 2582"/>
                    <a:gd name="T64" fmla="*/ 0 w 1287"/>
                    <a:gd name="T65" fmla="*/ 2582 h 2582"/>
                    <a:gd name="T66" fmla="*/ 0 w 1287"/>
                    <a:gd name="T67" fmla="*/ 1291 h 2582"/>
                    <a:gd name="T68" fmla="*/ 0 w 1287"/>
                    <a:gd name="T69" fmla="*/ 0 h 25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1287" h="2582">
                      <a:moveTo>
                        <a:pt x="0" y="0"/>
                      </a:moveTo>
                      <a:lnTo>
                        <a:pt x="132" y="6"/>
                      </a:lnTo>
                      <a:lnTo>
                        <a:pt x="258" y="23"/>
                      </a:lnTo>
                      <a:lnTo>
                        <a:pt x="384" y="57"/>
                      </a:lnTo>
                      <a:lnTo>
                        <a:pt x="498" y="98"/>
                      </a:lnTo>
                      <a:lnTo>
                        <a:pt x="612" y="155"/>
                      </a:lnTo>
                      <a:lnTo>
                        <a:pt x="721" y="218"/>
                      </a:lnTo>
                      <a:lnTo>
                        <a:pt x="818" y="293"/>
                      </a:lnTo>
                      <a:lnTo>
                        <a:pt x="910" y="379"/>
                      </a:lnTo>
                      <a:lnTo>
                        <a:pt x="995" y="471"/>
                      </a:lnTo>
                      <a:lnTo>
                        <a:pt x="1070" y="568"/>
                      </a:lnTo>
                      <a:lnTo>
                        <a:pt x="1133" y="677"/>
                      </a:lnTo>
                      <a:lnTo>
                        <a:pt x="1184" y="786"/>
                      </a:lnTo>
                      <a:lnTo>
                        <a:pt x="1230" y="907"/>
                      </a:lnTo>
                      <a:lnTo>
                        <a:pt x="1264" y="1027"/>
                      </a:lnTo>
                      <a:lnTo>
                        <a:pt x="1281" y="1159"/>
                      </a:lnTo>
                      <a:lnTo>
                        <a:pt x="1287" y="1291"/>
                      </a:lnTo>
                      <a:lnTo>
                        <a:pt x="1281" y="1423"/>
                      </a:lnTo>
                      <a:lnTo>
                        <a:pt x="1264" y="1549"/>
                      </a:lnTo>
                      <a:lnTo>
                        <a:pt x="1230" y="1676"/>
                      </a:lnTo>
                      <a:lnTo>
                        <a:pt x="1184" y="1796"/>
                      </a:lnTo>
                      <a:lnTo>
                        <a:pt x="1133" y="1905"/>
                      </a:lnTo>
                      <a:lnTo>
                        <a:pt x="1070" y="2014"/>
                      </a:lnTo>
                      <a:lnTo>
                        <a:pt x="995" y="2112"/>
                      </a:lnTo>
                      <a:lnTo>
                        <a:pt x="910" y="2203"/>
                      </a:lnTo>
                      <a:lnTo>
                        <a:pt x="818" y="2289"/>
                      </a:lnTo>
                      <a:lnTo>
                        <a:pt x="721" y="2364"/>
                      </a:lnTo>
                      <a:lnTo>
                        <a:pt x="612" y="2427"/>
                      </a:lnTo>
                      <a:lnTo>
                        <a:pt x="498" y="2485"/>
                      </a:lnTo>
                      <a:lnTo>
                        <a:pt x="384" y="2525"/>
                      </a:lnTo>
                      <a:lnTo>
                        <a:pt x="258" y="2559"/>
                      </a:lnTo>
                      <a:lnTo>
                        <a:pt x="132" y="2576"/>
                      </a:lnTo>
                      <a:lnTo>
                        <a:pt x="0" y="2582"/>
                      </a:lnTo>
                      <a:lnTo>
                        <a:pt x="0" y="1291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571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600" dirty="0"/>
                </a:p>
              </p:txBody>
            </p:sp>
            <p:sp>
              <p:nvSpPr>
                <p:cNvPr id="13" name="Freeform 7">
                  <a:extLst>
                    <a:ext uri="{FF2B5EF4-FFF2-40B4-BE49-F238E27FC236}">
                      <a16:creationId xmlns:a16="http://schemas.microsoft.com/office/drawing/2014/main" id="{C8C78807-F5BB-B02D-12F9-1B9C40DF2F4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654925" y="433388"/>
                  <a:ext cx="2051050" cy="4098925"/>
                </a:xfrm>
                <a:custGeom>
                  <a:avLst/>
                  <a:gdLst>
                    <a:gd name="T0" fmla="*/ 1292 w 1292"/>
                    <a:gd name="T1" fmla="*/ 2582 h 2582"/>
                    <a:gd name="T2" fmla="*/ 1161 w 1292"/>
                    <a:gd name="T3" fmla="*/ 2576 h 2582"/>
                    <a:gd name="T4" fmla="*/ 1029 w 1292"/>
                    <a:gd name="T5" fmla="*/ 2559 h 2582"/>
                    <a:gd name="T6" fmla="*/ 909 w 1292"/>
                    <a:gd name="T7" fmla="*/ 2525 h 2582"/>
                    <a:gd name="T8" fmla="*/ 789 w 1292"/>
                    <a:gd name="T9" fmla="*/ 2485 h 2582"/>
                    <a:gd name="T10" fmla="*/ 675 w 1292"/>
                    <a:gd name="T11" fmla="*/ 2427 h 2582"/>
                    <a:gd name="T12" fmla="*/ 572 w 1292"/>
                    <a:gd name="T13" fmla="*/ 2364 h 2582"/>
                    <a:gd name="T14" fmla="*/ 469 w 1292"/>
                    <a:gd name="T15" fmla="*/ 2289 h 2582"/>
                    <a:gd name="T16" fmla="*/ 377 w 1292"/>
                    <a:gd name="T17" fmla="*/ 2203 h 2582"/>
                    <a:gd name="T18" fmla="*/ 297 w 1292"/>
                    <a:gd name="T19" fmla="*/ 2112 h 2582"/>
                    <a:gd name="T20" fmla="*/ 223 w 1292"/>
                    <a:gd name="T21" fmla="*/ 2014 h 2582"/>
                    <a:gd name="T22" fmla="*/ 160 w 1292"/>
                    <a:gd name="T23" fmla="*/ 1905 h 2582"/>
                    <a:gd name="T24" fmla="*/ 103 w 1292"/>
                    <a:gd name="T25" fmla="*/ 1796 h 2582"/>
                    <a:gd name="T26" fmla="*/ 63 w 1292"/>
                    <a:gd name="T27" fmla="*/ 1676 h 2582"/>
                    <a:gd name="T28" fmla="*/ 29 w 1292"/>
                    <a:gd name="T29" fmla="*/ 1549 h 2582"/>
                    <a:gd name="T30" fmla="*/ 11 w 1292"/>
                    <a:gd name="T31" fmla="*/ 1423 h 2582"/>
                    <a:gd name="T32" fmla="*/ 0 w 1292"/>
                    <a:gd name="T33" fmla="*/ 1291 h 2582"/>
                    <a:gd name="T34" fmla="*/ 11 w 1292"/>
                    <a:gd name="T35" fmla="*/ 1159 h 2582"/>
                    <a:gd name="T36" fmla="*/ 29 w 1292"/>
                    <a:gd name="T37" fmla="*/ 1027 h 2582"/>
                    <a:gd name="T38" fmla="*/ 63 w 1292"/>
                    <a:gd name="T39" fmla="*/ 907 h 2582"/>
                    <a:gd name="T40" fmla="*/ 103 w 1292"/>
                    <a:gd name="T41" fmla="*/ 786 h 2582"/>
                    <a:gd name="T42" fmla="*/ 160 w 1292"/>
                    <a:gd name="T43" fmla="*/ 677 h 2582"/>
                    <a:gd name="T44" fmla="*/ 223 w 1292"/>
                    <a:gd name="T45" fmla="*/ 568 h 2582"/>
                    <a:gd name="T46" fmla="*/ 297 w 1292"/>
                    <a:gd name="T47" fmla="*/ 471 h 2582"/>
                    <a:gd name="T48" fmla="*/ 377 w 1292"/>
                    <a:gd name="T49" fmla="*/ 379 h 2582"/>
                    <a:gd name="T50" fmla="*/ 469 w 1292"/>
                    <a:gd name="T51" fmla="*/ 293 h 2582"/>
                    <a:gd name="T52" fmla="*/ 572 w 1292"/>
                    <a:gd name="T53" fmla="*/ 218 h 2582"/>
                    <a:gd name="T54" fmla="*/ 675 w 1292"/>
                    <a:gd name="T55" fmla="*/ 155 h 2582"/>
                    <a:gd name="T56" fmla="*/ 789 w 1292"/>
                    <a:gd name="T57" fmla="*/ 98 h 2582"/>
                    <a:gd name="T58" fmla="*/ 909 w 1292"/>
                    <a:gd name="T59" fmla="*/ 57 h 2582"/>
                    <a:gd name="T60" fmla="*/ 1029 w 1292"/>
                    <a:gd name="T61" fmla="*/ 23 h 2582"/>
                    <a:gd name="T62" fmla="*/ 1161 w 1292"/>
                    <a:gd name="T63" fmla="*/ 6 h 2582"/>
                    <a:gd name="T64" fmla="*/ 1292 w 1292"/>
                    <a:gd name="T65" fmla="*/ 0 h 2582"/>
                    <a:gd name="T66" fmla="*/ 1292 w 1292"/>
                    <a:gd name="T67" fmla="*/ 1291 h 2582"/>
                    <a:gd name="T68" fmla="*/ 1292 w 1292"/>
                    <a:gd name="T69" fmla="*/ 2582 h 25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1292" h="2582">
                      <a:moveTo>
                        <a:pt x="1292" y="2582"/>
                      </a:moveTo>
                      <a:lnTo>
                        <a:pt x="1161" y="2576"/>
                      </a:lnTo>
                      <a:lnTo>
                        <a:pt x="1029" y="2559"/>
                      </a:lnTo>
                      <a:lnTo>
                        <a:pt x="909" y="2525"/>
                      </a:lnTo>
                      <a:lnTo>
                        <a:pt x="789" y="2485"/>
                      </a:lnTo>
                      <a:lnTo>
                        <a:pt x="675" y="2427"/>
                      </a:lnTo>
                      <a:lnTo>
                        <a:pt x="572" y="2364"/>
                      </a:lnTo>
                      <a:lnTo>
                        <a:pt x="469" y="2289"/>
                      </a:lnTo>
                      <a:lnTo>
                        <a:pt x="377" y="2203"/>
                      </a:lnTo>
                      <a:lnTo>
                        <a:pt x="297" y="2112"/>
                      </a:lnTo>
                      <a:lnTo>
                        <a:pt x="223" y="2014"/>
                      </a:lnTo>
                      <a:lnTo>
                        <a:pt x="160" y="1905"/>
                      </a:lnTo>
                      <a:lnTo>
                        <a:pt x="103" y="1796"/>
                      </a:lnTo>
                      <a:lnTo>
                        <a:pt x="63" y="1676"/>
                      </a:lnTo>
                      <a:lnTo>
                        <a:pt x="29" y="1549"/>
                      </a:lnTo>
                      <a:lnTo>
                        <a:pt x="11" y="1423"/>
                      </a:lnTo>
                      <a:lnTo>
                        <a:pt x="0" y="1291"/>
                      </a:lnTo>
                      <a:lnTo>
                        <a:pt x="11" y="1159"/>
                      </a:lnTo>
                      <a:lnTo>
                        <a:pt x="29" y="1027"/>
                      </a:lnTo>
                      <a:lnTo>
                        <a:pt x="63" y="907"/>
                      </a:lnTo>
                      <a:lnTo>
                        <a:pt x="103" y="786"/>
                      </a:lnTo>
                      <a:lnTo>
                        <a:pt x="160" y="677"/>
                      </a:lnTo>
                      <a:lnTo>
                        <a:pt x="223" y="568"/>
                      </a:lnTo>
                      <a:lnTo>
                        <a:pt x="297" y="471"/>
                      </a:lnTo>
                      <a:lnTo>
                        <a:pt x="377" y="379"/>
                      </a:lnTo>
                      <a:lnTo>
                        <a:pt x="469" y="293"/>
                      </a:lnTo>
                      <a:lnTo>
                        <a:pt x="572" y="218"/>
                      </a:lnTo>
                      <a:lnTo>
                        <a:pt x="675" y="155"/>
                      </a:lnTo>
                      <a:lnTo>
                        <a:pt x="789" y="98"/>
                      </a:lnTo>
                      <a:lnTo>
                        <a:pt x="909" y="57"/>
                      </a:lnTo>
                      <a:lnTo>
                        <a:pt x="1029" y="23"/>
                      </a:lnTo>
                      <a:lnTo>
                        <a:pt x="1161" y="6"/>
                      </a:lnTo>
                      <a:lnTo>
                        <a:pt x="1292" y="0"/>
                      </a:lnTo>
                      <a:lnTo>
                        <a:pt x="1292" y="1291"/>
                      </a:lnTo>
                      <a:lnTo>
                        <a:pt x="1292" y="2582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571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600" dirty="0"/>
                </a:p>
              </p:txBody>
            </p:sp>
          </p:grpSp>
          <p:grpSp>
            <p:nvGrpSpPr>
              <p:cNvPr id="9" name="Group 8">
                <a:extLst>
                  <a:ext uri="{FF2B5EF4-FFF2-40B4-BE49-F238E27FC236}">
                    <a16:creationId xmlns:a16="http://schemas.microsoft.com/office/drawing/2014/main" id="{F50197EE-6676-F35F-1662-F1618A1D3F86}"/>
                  </a:ext>
                </a:extLst>
              </p:cNvPr>
              <p:cNvGrpSpPr>
                <a:grpSpLocks/>
              </p:cNvGrpSpPr>
              <p:nvPr/>
            </p:nvGrpSpPr>
            <p:grpSpPr>
              <a:xfrm>
                <a:off x="-6721989" y="936154"/>
                <a:ext cx="3335575" cy="3342519"/>
                <a:chOff x="-5789054" y="433388"/>
                <a:chExt cx="4094162" cy="4098925"/>
              </a:xfrm>
            </p:grpSpPr>
            <p:sp>
              <p:nvSpPr>
                <p:cNvPr id="10" name="Freeform 5">
                  <a:extLst>
                    <a:ext uri="{FF2B5EF4-FFF2-40B4-BE49-F238E27FC236}">
                      <a16:creationId xmlns:a16="http://schemas.microsoft.com/office/drawing/2014/main" id="{C6C1322C-7029-EC4F-1A38-3F34EEC83A5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3738004" y="433388"/>
                  <a:ext cx="2043112" cy="4098925"/>
                </a:xfrm>
                <a:custGeom>
                  <a:avLst/>
                  <a:gdLst>
                    <a:gd name="T0" fmla="*/ 0 w 1287"/>
                    <a:gd name="T1" fmla="*/ 0 h 2582"/>
                    <a:gd name="T2" fmla="*/ 132 w 1287"/>
                    <a:gd name="T3" fmla="*/ 6 h 2582"/>
                    <a:gd name="T4" fmla="*/ 258 w 1287"/>
                    <a:gd name="T5" fmla="*/ 23 h 2582"/>
                    <a:gd name="T6" fmla="*/ 384 w 1287"/>
                    <a:gd name="T7" fmla="*/ 57 h 2582"/>
                    <a:gd name="T8" fmla="*/ 498 w 1287"/>
                    <a:gd name="T9" fmla="*/ 98 h 2582"/>
                    <a:gd name="T10" fmla="*/ 612 w 1287"/>
                    <a:gd name="T11" fmla="*/ 155 h 2582"/>
                    <a:gd name="T12" fmla="*/ 721 w 1287"/>
                    <a:gd name="T13" fmla="*/ 218 h 2582"/>
                    <a:gd name="T14" fmla="*/ 818 w 1287"/>
                    <a:gd name="T15" fmla="*/ 293 h 2582"/>
                    <a:gd name="T16" fmla="*/ 910 w 1287"/>
                    <a:gd name="T17" fmla="*/ 379 h 2582"/>
                    <a:gd name="T18" fmla="*/ 995 w 1287"/>
                    <a:gd name="T19" fmla="*/ 471 h 2582"/>
                    <a:gd name="T20" fmla="*/ 1070 w 1287"/>
                    <a:gd name="T21" fmla="*/ 568 h 2582"/>
                    <a:gd name="T22" fmla="*/ 1133 w 1287"/>
                    <a:gd name="T23" fmla="*/ 677 h 2582"/>
                    <a:gd name="T24" fmla="*/ 1184 w 1287"/>
                    <a:gd name="T25" fmla="*/ 786 h 2582"/>
                    <a:gd name="T26" fmla="*/ 1230 w 1287"/>
                    <a:gd name="T27" fmla="*/ 907 h 2582"/>
                    <a:gd name="T28" fmla="*/ 1264 w 1287"/>
                    <a:gd name="T29" fmla="*/ 1027 h 2582"/>
                    <a:gd name="T30" fmla="*/ 1281 w 1287"/>
                    <a:gd name="T31" fmla="*/ 1159 h 2582"/>
                    <a:gd name="T32" fmla="*/ 1287 w 1287"/>
                    <a:gd name="T33" fmla="*/ 1291 h 2582"/>
                    <a:gd name="T34" fmla="*/ 1281 w 1287"/>
                    <a:gd name="T35" fmla="*/ 1423 h 2582"/>
                    <a:gd name="T36" fmla="*/ 1264 w 1287"/>
                    <a:gd name="T37" fmla="*/ 1549 h 2582"/>
                    <a:gd name="T38" fmla="*/ 1230 w 1287"/>
                    <a:gd name="T39" fmla="*/ 1676 h 2582"/>
                    <a:gd name="T40" fmla="*/ 1184 w 1287"/>
                    <a:gd name="T41" fmla="*/ 1796 h 2582"/>
                    <a:gd name="T42" fmla="*/ 1133 w 1287"/>
                    <a:gd name="T43" fmla="*/ 1905 h 2582"/>
                    <a:gd name="T44" fmla="*/ 1070 w 1287"/>
                    <a:gd name="T45" fmla="*/ 2014 h 2582"/>
                    <a:gd name="T46" fmla="*/ 995 w 1287"/>
                    <a:gd name="T47" fmla="*/ 2112 h 2582"/>
                    <a:gd name="T48" fmla="*/ 910 w 1287"/>
                    <a:gd name="T49" fmla="*/ 2203 h 2582"/>
                    <a:gd name="T50" fmla="*/ 818 w 1287"/>
                    <a:gd name="T51" fmla="*/ 2289 h 2582"/>
                    <a:gd name="T52" fmla="*/ 721 w 1287"/>
                    <a:gd name="T53" fmla="*/ 2364 h 2582"/>
                    <a:gd name="T54" fmla="*/ 612 w 1287"/>
                    <a:gd name="T55" fmla="*/ 2427 h 2582"/>
                    <a:gd name="T56" fmla="*/ 498 w 1287"/>
                    <a:gd name="T57" fmla="*/ 2485 h 2582"/>
                    <a:gd name="T58" fmla="*/ 384 w 1287"/>
                    <a:gd name="T59" fmla="*/ 2525 h 2582"/>
                    <a:gd name="T60" fmla="*/ 258 w 1287"/>
                    <a:gd name="T61" fmla="*/ 2559 h 2582"/>
                    <a:gd name="T62" fmla="*/ 132 w 1287"/>
                    <a:gd name="T63" fmla="*/ 2576 h 2582"/>
                    <a:gd name="T64" fmla="*/ 0 w 1287"/>
                    <a:gd name="T65" fmla="*/ 2582 h 2582"/>
                    <a:gd name="T66" fmla="*/ 0 w 1287"/>
                    <a:gd name="T67" fmla="*/ 1291 h 2582"/>
                    <a:gd name="T68" fmla="*/ 0 w 1287"/>
                    <a:gd name="T69" fmla="*/ 0 h 25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1287" h="2582">
                      <a:moveTo>
                        <a:pt x="0" y="0"/>
                      </a:moveTo>
                      <a:lnTo>
                        <a:pt x="132" y="6"/>
                      </a:lnTo>
                      <a:lnTo>
                        <a:pt x="258" y="23"/>
                      </a:lnTo>
                      <a:lnTo>
                        <a:pt x="384" y="57"/>
                      </a:lnTo>
                      <a:lnTo>
                        <a:pt x="498" y="98"/>
                      </a:lnTo>
                      <a:lnTo>
                        <a:pt x="612" y="155"/>
                      </a:lnTo>
                      <a:lnTo>
                        <a:pt x="721" y="218"/>
                      </a:lnTo>
                      <a:lnTo>
                        <a:pt x="818" y="293"/>
                      </a:lnTo>
                      <a:lnTo>
                        <a:pt x="910" y="379"/>
                      </a:lnTo>
                      <a:lnTo>
                        <a:pt x="995" y="471"/>
                      </a:lnTo>
                      <a:lnTo>
                        <a:pt x="1070" y="568"/>
                      </a:lnTo>
                      <a:lnTo>
                        <a:pt x="1133" y="677"/>
                      </a:lnTo>
                      <a:lnTo>
                        <a:pt x="1184" y="786"/>
                      </a:lnTo>
                      <a:lnTo>
                        <a:pt x="1230" y="907"/>
                      </a:lnTo>
                      <a:lnTo>
                        <a:pt x="1264" y="1027"/>
                      </a:lnTo>
                      <a:lnTo>
                        <a:pt x="1281" y="1159"/>
                      </a:lnTo>
                      <a:lnTo>
                        <a:pt x="1287" y="1291"/>
                      </a:lnTo>
                      <a:lnTo>
                        <a:pt x="1281" y="1423"/>
                      </a:lnTo>
                      <a:lnTo>
                        <a:pt x="1264" y="1549"/>
                      </a:lnTo>
                      <a:lnTo>
                        <a:pt x="1230" y="1676"/>
                      </a:lnTo>
                      <a:lnTo>
                        <a:pt x="1184" y="1796"/>
                      </a:lnTo>
                      <a:lnTo>
                        <a:pt x="1133" y="1905"/>
                      </a:lnTo>
                      <a:lnTo>
                        <a:pt x="1070" y="2014"/>
                      </a:lnTo>
                      <a:lnTo>
                        <a:pt x="995" y="2112"/>
                      </a:lnTo>
                      <a:lnTo>
                        <a:pt x="910" y="2203"/>
                      </a:lnTo>
                      <a:lnTo>
                        <a:pt x="818" y="2289"/>
                      </a:lnTo>
                      <a:lnTo>
                        <a:pt x="721" y="2364"/>
                      </a:lnTo>
                      <a:lnTo>
                        <a:pt x="612" y="2427"/>
                      </a:lnTo>
                      <a:lnTo>
                        <a:pt x="498" y="2485"/>
                      </a:lnTo>
                      <a:lnTo>
                        <a:pt x="384" y="2525"/>
                      </a:lnTo>
                      <a:lnTo>
                        <a:pt x="258" y="2559"/>
                      </a:lnTo>
                      <a:lnTo>
                        <a:pt x="132" y="2576"/>
                      </a:lnTo>
                      <a:lnTo>
                        <a:pt x="0" y="2582"/>
                      </a:lnTo>
                      <a:lnTo>
                        <a:pt x="0" y="1291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600"/>
                </a:p>
              </p:txBody>
            </p:sp>
            <p:sp>
              <p:nvSpPr>
                <p:cNvPr id="11" name="Freeform 7">
                  <a:extLst>
                    <a:ext uri="{FF2B5EF4-FFF2-40B4-BE49-F238E27FC236}">
                      <a16:creationId xmlns:a16="http://schemas.microsoft.com/office/drawing/2014/main" id="{6687F40E-8A0C-EB6F-A2B9-FC3166D4840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5789054" y="433388"/>
                  <a:ext cx="2051050" cy="4098925"/>
                </a:xfrm>
                <a:custGeom>
                  <a:avLst/>
                  <a:gdLst>
                    <a:gd name="T0" fmla="*/ 1292 w 1292"/>
                    <a:gd name="T1" fmla="*/ 2582 h 2582"/>
                    <a:gd name="T2" fmla="*/ 1161 w 1292"/>
                    <a:gd name="T3" fmla="*/ 2576 h 2582"/>
                    <a:gd name="T4" fmla="*/ 1029 w 1292"/>
                    <a:gd name="T5" fmla="*/ 2559 h 2582"/>
                    <a:gd name="T6" fmla="*/ 909 w 1292"/>
                    <a:gd name="T7" fmla="*/ 2525 h 2582"/>
                    <a:gd name="T8" fmla="*/ 789 w 1292"/>
                    <a:gd name="T9" fmla="*/ 2485 h 2582"/>
                    <a:gd name="T10" fmla="*/ 675 w 1292"/>
                    <a:gd name="T11" fmla="*/ 2427 h 2582"/>
                    <a:gd name="T12" fmla="*/ 572 w 1292"/>
                    <a:gd name="T13" fmla="*/ 2364 h 2582"/>
                    <a:gd name="T14" fmla="*/ 469 w 1292"/>
                    <a:gd name="T15" fmla="*/ 2289 h 2582"/>
                    <a:gd name="T16" fmla="*/ 377 w 1292"/>
                    <a:gd name="T17" fmla="*/ 2203 h 2582"/>
                    <a:gd name="T18" fmla="*/ 297 w 1292"/>
                    <a:gd name="T19" fmla="*/ 2112 h 2582"/>
                    <a:gd name="T20" fmla="*/ 223 w 1292"/>
                    <a:gd name="T21" fmla="*/ 2014 h 2582"/>
                    <a:gd name="T22" fmla="*/ 160 w 1292"/>
                    <a:gd name="T23" fmla="*/ 1905 h 2582"/>
                    <a:gd name="T24" fmla="*/ 103 w 1292"/>
                    <a:gd name="T25" fmla="*/ 1796 h 2582"/>
                    <a:gd name="T26" fmla="*/ 63 w 1292"/>
                    <a:gd name="T27" fmla="*/ 1676 h 2582"/>
                    <a:gd name="T28" fmla="*/ 29 w 1292"/>
                    <a:gd name="T29" fmla="*/ 1549 h 2582"/>
                    <a:gd name="T30" fmla="*/ 11 w 1292"/>
                    <a:gd name="T31" fmla="*/ 1423 h 2582"/>
                    <a:gd name="T32" fmla="*/ 0 w 1292"/>
                    <a:gd name="T33" fmla="*/ 1291 h 2582"/>
                    <a:gd name="T34" fmla="*/ 11 w 1292"/>
                    <a:gd name="T35" fmla="*/ 1159 h 2582"/>
                    <a:gd name="T36" fmla="*/ 29 w 1292"/>
                    <a:gd name="T37" fmla="*/ 1027 h 2582"/>
                    <a:gd name="T38" fmla="*/ 63 w 1292"/>
                    <a:gd name="T39" fmla="*/ 907 h 2582"/>
                    <a:gd name="T40" fmla="*/ 103 w 1292"/>
                    <a:gd name="T41" fmla="*/ 786 h 2582"/>
                    <a:gd name="T42" fmla="*/ 160 w 1292"/>
                    <a:gd name="T43" fmla="*/ 677 h 2582"/>
                    <a:gd name="T44" fmla="*/ 223 w 1292"/>
                    <a:gd name="T45" fmla="*/ 568 h 2582"/>
                    <a:gd name="T46" fmla="*/ 297 w 1292"/>
                    <a:gd name="T47" fmla="*/ 471 h 2582"/>
                    <a:gd name="T48" fmla="*/ 377 w 1292"/>
                    <a:gd name="T49" fmla="*/ 379 h 2582"/>
                    <a:gd name="T50" fmla="*/ 469 w 1292"/>
                    <a:gd name="T51" fmla="*/ 293 h 2582"/>
                    <a:gd name="T52" fmla="*/ 572 w 1292"/>
                    <a:gd name="T53" fmla="*/ 218 h 2582"/>
                    <a:gd name="T54" fmla="*/ 675 w 1292"/>
                    <a:gd name="T55" fmla="*/ 155 h 2582"/>
                    <a:gd name="T56" fmla="*/ 789 w 1292"/>
                    <a:gd name="T57" fmla="*/ 98 h 2582"/>
                    <a:gd name="T58" fmla="*/ 909 w 1292"/>
                    <a:gd name="T59" fmla="*/ 57 h 2582"/>
                    <a:gd name="T60" fmla="*/ 1029 w 1292"/>
                    <a:gd name="T61" fmla="*/ 23 h 2582"/>
                    <a:gd name="T62" fmla="*/ 1161 w 1292"/>
                    <a:gd name="T63" fmla="*/ 6 h 2582"/>
                    <a:gd name="T64" fmla="*/ 1292 w 1292"/>
                    <a:gd name="T65" fmla="*/ 0 h 2582"/>
                    <a:gd name="T66" fmla="*/ 1292 w 1292"/>
                    <a:gd name="T67" fmla="*/ 1291 h 2582"/>
                    <a:gd name="T68" fmla="*/ 1292 w 1292"/>
                    <a:gd name="T69" fmla="*/ 2582 h 25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1292" h="2582">
                      <a:moveTo>
                        <a:pt x="1292" y="2582"/>
                      </a:moveTo>
                      <a:lnTo>
                        <a:pt x="1161" y="2576"/>
                      </a:lnTo>
                      <a:lnTo>
                        <a:pt x="1029" y="2559"/>
                      </a:lnTo>
                      <a:lnTo>
                        <a:pt x="909" y="2525"/>
                      </a:lnTo>
                      <a:lnTo>
                        <a:pt x="789" y="2485"/>
                      </a:lnTo>
                      <a:lnTo>
                        <a:pt x="675" y="2427"/>
                      </a:lnTo>
                      <a:lnTo>
                        <a:pt x="572" y="2364"/>
                      </a:lnTo>
                      <a:lnTo>
                        <a:pt x="469" y="2289"/>
                      </a:lnTo>
                      <a:lnTo>
                        <a:pt x="377" y="2203"/>
                      </a:lnTo>
                      <a:lnTo>
                        <a:pt x="297" y="2112"/>
                      </a:lnTo>
                      <a:lnTo>
                        <a:pt x="223" y="2014"/>
                      </a:lnTo>
                      <a:lnTo>
                        <a:pt x="160" y="1905"/>
                      </a:lnTo>
                      <a:lnTo>
                        <a:pt x="103" y="1796"/>
                      </a:lnTo>
                      <a:lnTo>
                        <a:pt x="63" y="1676"/>
                      </a:lnTo>
                      <a:lnTo>
                        <a:pt x="29" y="1549"/>
                      </a:lnTo>
                      <a:lnTo>
                        <a:pt x="11" y="1423"/>
                      </a:lnTo>
                      <a:lnTo>
                        <a:pt x="0" y="1291"/>
                      </a:lnTo>
                      <a:lnTo>
                        <a:pt x="11" y="1159"/>
                      </a:lnTo>
                      <a:lnTo>
                        <a:pt x="29" y="1027"/>
                      </a:lnTo>
                      <a:lnTo>
                        <a:pt x="63" y="907"/>
                      </a:lnTo>
                      <a:lnTo>
                        <a:pt x="103" y="786"/>
                      </a:lnTo>
                      <a:lnTo>
                        <a:pt x="160" y="677"/>
                      </a:lnTo>
                      <a:lnTo>
                        <a:pt x="223" y="568"/>
                      </a:lnTo>
                      <a:lnTo>
                        <a:pt x="297" y="471"/>
                      </a:lnTo>
                      <a:lnTo>
                        <a:pt x="377" y="379"/>
                      </a:lnTo>
                      <a:lnTo>
                        <a:pt x="469" y="293"/>
                      </a:lnTo>
                      <a:lnTo>
                        <a:pt x="572" y="218"/>
                      </a:lnTo>
                      <a:lnTo>
                        <a:pt x="675" y="155"/>
                      </a:lnTo>
                      <a:lnTo>
                        <a:pt x="789" y="98"/>
                      </a:lnTo>
                      <a:lnTo>
                        <a:pt x="909" y="57"/>
                      </a:lnTo>
                      <a:lnTo>
                        <a:pt x="1029" y="23"/>
                      </a:lnTo>
                      <a:lnTo>
                        <a:pt x="1161" y="6"/>
                      </a:lnTo>
                      <a:lnTo>
                        <a:pt x="1292" y="0"/>
                      </a:lnTo>
                      <a:lnTo>
                        <a:pt x="1292" y="1291"/>
                      </a:lnTo>
                      <a:lnTo>
                        <a:pt x="1292" y="2582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600"/>
                </a:p>
              </p:txBody>
            </p:sp>
          </p:grpSp>
        </p:grpSp>
        <p:sp>
          <p:nvSpPr>
            <p:cNvPr id="7" name="Block Arc 6">
              <a:extLst>
                <a:ext uri="{FF2B5EF4-FFF2-40B4-BE49-F238E27FC236}">
                  <a16:creationId xmlns:a16="http://schemas.microsoft.com/office/drawing/2014/main" id="{CB555D4E-692A-5EB6-D557-5A28776DCD5B}"/>
                </a:ext>
              </a:extLst>
            </p:cNvPr>
            <p:cNvSpPr/>
            <p:nvPr/>
          </p:nvSpPr>
          <p:spPr>
            <a:xfrm rot="19467370">
              <a:off x="11770796" y="1999754"/>
              <a:ext cx="3176380" cy="3164240"/>
            </a:xfrm>
            <a:prstGeom prst="blockArc">
              <a:avLst>
                <a:gd name="adj1" fmla="val 10120745"/>
                <a:gd name="adj2" fmla="val 15378897"/>
                <a:gd name="adj3" fmla="val 11039"/>
              </a:avLst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CA" sz="1600" dirty="0" err="1">
                <a:solidFill>
                  <a:srgbClr val="000000"/>
                </a:solidFill>
                <a:ea typeface="ＭＳ Ｐゴシック"/>
              </a:endParaRPr>
            </a:p>
          </p:txBody>
        </p:sp>
      </p:grpSp>
      <p:sp>
        <p:nvSpPr>
          <p:cNvPr id="14" name="Block Arc 13">
            <a:extLst>
              <a:ext uri="{FF2B5EF4-FFF2-40B4-BE49-F238E27FC236}">
                <a16:creationId xmlns:a16="http://schemas.microsoft.com/office/drawing/2014/main" id="{340B7112-3D85-81AA-6263-328AB404C66B}"/>
              </a:ext>
            </a:extLst>
          </p:cNvPr>
          <p:cNvSpPr/>
          <p:nvPr/>
        </p:nvSpPr>
        <p:spPr>
          <a:xfrm rot="2132630" flipH="1">
            <a:off x="4863002" y="2283119"/>
            <a:ext cx="2514562" cy="2502271"/>
          </a:xfrm>
          <a:prstGeom prst="blockArc">
            <a:avLst>
              <a:gd name="adj1" fmla="val 10120745"/>
              <a:gd name="adj2" fmla="val 15378897"/>
              <a:gd name="adj3" fmla="val 11039"/>
            </a:avLst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CA" sz="1600" dirty="0" err="1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145DD1D-1AB9-AE58-17A9-8BB2972BD45F}"/>
              </a:ext>
            </a:extLst>
          </p:cNvPr>
          <p:cNvSpPr txBox="1">
            <a:spLocks/>
          </p:cNvSpPr>
          <p:nvPr/>
        </p:nvSpPr>
        <p:spPr>
          <a:xfrm>
            <a:off x="8365836" y="2824947"/>
            <a:ext cx="2583380" cy="2769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lvl="0">
              <a:defRPr/>
            </a:pPr>
            <a:r>
              <a:rPr lang="en-US" b="1" dirty="0">
                <a:solidFill>
                  <a:schemeClr val="accent2"/>
                </a:solidFill>
                <a:latin typeface="+mn-lt"/>
                <a:cs typeface="Calibri" panose="020F0502020204030204" pitchFamily="34" charset="0"/>
              </a:rPr>
              <a:t>HEADING</a:t>
            </a:r>
            <a:endParaRPr lang="en-CA" b="1" dirty="0">
              <a:solidFill>
                <a:schemeClr val="accent2"/>
              </a:solidFill>
              <a:latin typeface="+mn-lt"/>
              <a:ea typeface="ＭＳ Ｐゴシック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FC748DA-9762-80A5-C1AE-F222ABA99002}"/>
              </a:ext>
            </a:extLst>
          </p:cNvPr>
          <p:cNvSpPr txBox="1">
            <a:spLocks/>
          </p:cNvSpPr>
          <p:nvPr/>
        </p:nvSpPr>
        <p:spPr>
          <a:xfrm>
            <a:off x="8365836" y="3136553"/>
            <a:ext cx="2583380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>
              <a:defRPr/>
            </a:pPr>
            <a:r>
              <a:rPr lang="en-IN" dirty="0">
                <a:latin typeface="+mn-lt"/>
                <a:cs typeface="Calibri" panose="020F0502020204030204" pitchFamily="34" charset="0"/>
              </a:rPr>
              <a:t>Insert your text here Insert your text here Insert your text</a:t>
            </a:r>
            <a:endParaRPr lang="en-CA" dirty="0">
              <a:latin typeface="+mn-lt"/>
              <a:ea typeface="ＭＳ Ｐゴシック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AE1E74C-0ABE-A6EC-2A21-08CA9C699189}"/>
              </a:ext>
            </a:extLst>
          </p:cNvPr>
          <p:cNvSpPr txBox="1">
            <a:spLocks/>
          </p:cNvSpPr>
          <p:nvPr/>
        </p:nvSpPr>
        <p:spPr>
          <a:xfrm>
            <a:off x="1079991" y="2771169"/>
            <a:ext cx="2583380" cy="2769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lvl="0" algn="r">
              <a:defRPr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CA" dirty="0">
                <a:solidFill>
                  <a:schemeClr val="accent1"/>
                </a:solidFill>
                <a:latin typeface="+mn-lt"/>
                <a:cs typeface="Calibri" panose="020F0502020204030204" pitchFamily="34" charset="0"/>
              </a:rPr>
              <a:t>HEADING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6C159F0-2A23-D04F-FB27-6EDEA92267C1}"/>
              </a:ext>
            </a:extLst>
          </p:cNvPr>
          <p:cNvSpPr txBox="1">
            <a:spLocks/>
          </p:cNvSpPr>
          <p:nvPr/>
        </p:nvSpPr>
        <p:spPr>
          <a:xfrm>
            <a:off x="1079991" y="3082775"/>
            <a:ext cx="2583380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r">
              <a:defRPr/>
            </a:pPr>
            <a:r>
              <a:rPr lang="en-IN" dirty="0">
                <a:latin typeface="+mn-lt"/>
                <a:cs typeface="Calibri" panose="020F0502020204030204" pitchFamily="34" charset="0"/>
              </a:rPr>
              <a:t>Insert your text here Insert your text here Insert your text</a:t>
            </a:r>
            <a:endParaRPr lang="en-CA" dirty="0">
              <a:latin typeface="+mn-lt"/>
              <a:ea typeface="ＭＳ Ｐゴシック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DB2052AE-6C42-136C-5BE1-BA662305858A}"/>
              </a:ext>
            </a:extLst>
          </p:cNvPr>
          <p:cNvSpPr/>
          <p:nvPr/>
        </p:nvSpPr>
        <p:spPr>
          <a:xfrm flipH="1">
            <a:off x="3806374" y="2946400"/>
            <a:ext cx="872198" cy="872198"/>
          </a:xfrm>
          <a:prstGeom prst="ellipse">
            <a:avLst/>
          </a:prstGeom>
          <a:solidFill>
            <a:schemeClr val="accent1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CA" sz="1600" dirty="0" err="1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183FCF4-8D5C-D128-D7A8-10230C9A736E}"/>
              </a:ext>
            </a:extLst>
          </p:cNvPr>
          <p:cNvSpPr txBox="1"/>
          <p:nvPr/>
        </p:nvSpPr>
        <p:spPr>
          <a:xfrm>
            <a:off x="3966159" y="3020582"/>
            <a:ext cx="552628" cy="677108"/>
          </a:xfrm>
          <a:prstGeom prst="rect">
            <a:avLst/>
          </a:prstGeom>
          <a:noFill/>
        </p:spPr>
        <p:txBody>
          <a:bodyPr wrap="square" lIns="0" tIns="0" rIns="0" bIns="0" rtlCol="0" anchor="ctr" anchorCtr="1">
            <a:spAutoFit/>
          </a:bodyPr>
          <a:lstStyle/>
          <a:p>
            <a:pPr>
              <a:defRPr/>
            </a:pPr>
            <a:r>
              <a:rPr lang="en-CA" sz="4400" dirty="0">
                <a:solidFill>
                  <a:schemeClr val="bg1"/>
                </a:solidFill>
                <a:latin typeface="+mn-lt"/>
                <a:ea typeface="ＭＳ Ｐゴシック"/>
              </a:rPr>
              <a:t>1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77AA1AD4-A864-4705-6563-A6F4DE55E22F}"/>
              </a:ext>
            </a:extLst>
          </p:cNvPr>
          <p:cNvSpPr/>
          <p:nvPr/>
        </p:nvSpPr>
        <p:spPr>
          <a:xfrm>
            <a:off x="7315200" y="2964403"/>
            <a:ext cx="872198" cy="872198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CA" sz="1600" dirty="0" err="1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3438E23-6109-20C4-AEB4-F794E8C2A120}"/>
              </a:ext>
            </a:extLst>
          </p:cNvPr>
          <p:cNvSpPr txBox="1"/>
          <p:nvPr/>
        </p:nvSpPr>
        <p:spPr>
          <a:xfrm>
            <a:off x="7474985" y="3061948"/>
            <a:ext cx="552628" cy="677108"/>
          </a:xfrm>
          <a:prstGeom prst="rect">
            <a:avLst/>
          </a:prstGeom>
          <a:noFill/>
        </p:spPr>
        <p:txBody>
          <a:bodyPr wrap="square" lIns="0" tIns="0" rIns="0" bIns="0" rtlCol="0" anchor="ctr" anchorCtr="1">
            <a:spAutoFit/>
          </a:bodyPr>
          <a:lstStyle/>
          <a:p>
            <a:pPr>
              <a:defRPr/>
            </a:pPr>
            <a:r>
              <a:rPr lang="en-CA" sz="4400" dirty="0">
                <a:solidFill>
                  <a:schemeClr val="bg1"/>
                </a:solidFill>
                <a:latin typeface="+mn-lt"/>
                <a:ea typeface="ＭＳ Ｐゴシック"/>
              </a:rPr>
              <a:t>2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DC7FD9C-84B4-F764-16E4-94ACCD30080C}"/>
              </a:ext>
            </a:extLst>
          </p:cNvPr>
          <p:cNvSpPr txBox="1"/>
          <p:nvPr/>
        </p:nvSpPr>
        <p:spPr>
          <a:xfrm>
            <a:off x="5067465" y="3315873"/>
            <a:ext cx="1817579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 algn="ctr">
              <a:defRPr/>
            </a:pPr>
            <a:r>
              <a:rPr lang="en-CA" sz="2400" b="1" dirty="0">
                <a:latin typeface="+mn-lt"/>
              </a:rPr>
              <a:t>HEADING</a:t>
            </a: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ED002276-FCEF-4B9D-8ECF-60F28129302A}"/>
              </a:ext>
            </a:extLst>
          </p:cNvPr>
          <p:cNvSpPr/>
          <p:nvPr/>
        </p:nvSpPr>
        <p:spPr>
          <a:xfrm>
            <a:off x="5091699" y="2662150"/>
            <a:ext cx="1769108" cy="1769111"/>
          </a:xfrm>
          <a:prstGeom prst="ellipse">
            <a:avLst/>
          </a:prstGeom>
          <a:noFill/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CA" sz="1200" dirty="0" err="1">
              <a:solidFill>
                <a:srgbClr val="000000"/>
              </a:solidFill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2329286283"/>
      </p:ext>
    </p:extLst>
  </p:cSld>
  <p:clrMapOvr>
    <a:masterClrMapping/>
  </p:clrMapOvr>
</p:sld>
</file>

<file path=ppt/slides/slide1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C236D1-E729-9501-B4CA-AD96D572ECB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think-cell data - do not delete" hidden="1">
            <a:extLst>
              <a:ext uri="{FF2B5EF4-FFF2-40B4-BE49-F238E27FC236}">
                <a16:creationId xmlns:a16="http://schemas.microsoft.com/office/drawing/2014/main" id="{319B4C56-CA2C-C5EF-A38E-E006532C674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9132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F6DBCD9-1B11-1475-9159-D018E9948F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irc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8F2EE6-2C2B-F87B-E71F-998F322651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67</a:t>
            </a:fld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90389481-E524-41DC-2FDB-45E723F4053B}"/>
              </a:ext>
            </a:extLst>
          </p:cNvPr>
          <p:cNvGrpSpPr>
            <a:grpSpLocks/>
          </p:cNvGrpSpPr>
          <p:nvPr/>
        </p:nvGrpSpPr>
        <p:grpSpPr>
          <a:xfrm>
            <a:off x="4257040" y="1790700"/>
            <a:ext cx="3438426" cy="3438426"/>
            <a:chOff x="3803650" y="1371600"/>
            <a:chExt cx="4343398" cy="4348053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6A45AC23-27DF-5BFF-66DE-55668C166B46}"/>
                </a:ext>
              </a:extLst>
            </p:cNvPr>
            <p:cNvGrpSpPr>
              <a:grpSpLocks/>
            </p:cNvGrpSpPr>
            <p:nvPr/>
          </p:nvGrpSpPr>
          <p:grpSpPr>
            <a:xfrm>
              <a:off x="3803650" y="1371600"/>
              <a:ext cx="4343398" cy="4348053"/>
              <a:chOff x="-3741738" y="484188"/>
              <a:chExt cx="4792664" cy="4811713"/>
            </a:xfrm>
          </p:grpSpPr>
          <p:sp>
            <p:nvSpPr>
              <p:cNvPr id="11" name="Freeform 14">
                <a:extLst>
                  <a:ext uri="{FF2B5EF4-FFF2-40B4-BE49-F238E27FC236}">
                    <a16:creationId xmlns:a16="http://schemas.microsoft.com/office/drawing/2014/main" id="{ED8D6C96-1A7A-093C-37F8-FFC25F7DC2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344612" y="484188"/>
                <a:ext cx="2395538" cy="3608387"/>
              </a:xfrm>
              <a:custGeom>
                <a:avLst/>
                <a:gdLst>
                  <a:gd name="T0" fmla="*/ 0 w 1509"/>
                  <a:gd name="T1" fmla="*/ 0 h 2273"/>
                  <a:gd name="T2" fmla="*/ 154 w 1509"/>
                  <a:gd name="T3" fmla="*/ 12 h 2273"/>
                  <a:gd name="T4" fmla="*/ 303 w 1509"/>
                  <a:gd name="T5" fmla="*/ 35 h 2273"/>
                  <a:gd name="T6" fmla="*/ 446 w 1509"/>
                  <a:gd name="T7" fmla="*/ 69 h 2273"/>
                  <a:gd name="T8" fmla="*/ 589 w 1509"/>
                  <a:gd name="T9" fmla="*/ 121 h 2273"/>
                  <a:gd name="T10" fmla="*/ 720 w 1509"/>
                  <a:gd name="T11" fmla="*/ 184 h 2273"/>
                  <a:gd name="T12" fmla="*/ 840 w 1509"/>
                  <a:gd name="T13" fmla="*/ 259 h 2273"/>
                  <a:gd name="T14" fmla="*/ 960 w 1509"/>
                  <a:gd name="T15" fmla="*/ 350 h 2273"/>
                  <a:gd name="T16" fmla="*/ 1069 w 1509"/>
                  <a:gd name="T17" fmla="*/ 448 h 2273"/>
                  <a:gd name="T18" fmla="*/ 1166 w 1509"/>
                  <a:gd name="T19" fmla="*/ 551 h 2273"/>
                  <a:gd name="T20" fmla="*/ 1252 w 1509"/>
                  <a:gd name="T21" fmla="*/ 672 h 2273"/>
                  <a:gd name="T22" fmla="*/ 1326 w 1509"/>
                  <a:gd name="T23" fmla="*/ 798 h 2273"/>
                  <a:gd name="T24" fmla="*/ 1389 w 1509"/>
                  <a:gd name="T25" fmla="*/ 930 h 2273"/>
                  <a:gd name="T26" fmla="*/ 1441 w 1509"/>
                  <a:gd name="T27" fmla="*/ 1068 h 2273"/>
                  <a:gd name="T28" fmla="*/ 1481 w 1509"/>
                  <a:gd name="T29" fmla="*/ 1211 h 2273"/>
                  <a:gd name="T30" fmla="*/ 1504 w 1509"/>
                  <a:gd name="T31" fmla="*/ 1361 h 2273"/>
                  <a:gd name="T32" fmla="*/ 1509 w 1509"/>
                  <a:gd name="T33" fmla="*/ 1516 h 2273"/>
                  <a:gd name="T34" fmla="*/ 1504 w 1509"/>
                  <a:gd name="T35" fmla="*/ 1619 h 2273"/>
                  <a:gd name="T36" fmla="*/ 1498 w 1509"/>
                  <a:gd name="T37" fmla="*/ 1717 h 2273"/>
                  <a:gd name="T38" fmla="*/ 1481 w 1509"/>
                  <a:gd name="T39" fmla="*/ 1814 h 2273"/>
                  <a:gd name="T40" fmla="*/ 1458 w 1509"/>
                  <a:gd name="T41" fmla="*/ 1912 h 2273"/>
                  <a:gd name="T42" fmla="*/ 1429 w 1509"/>
                  <a:gd name="T43" fmla="*/ 2004 h 2273"/>
                  <a:gd name="T44" fmla="*/ 1395 w 1509"/>
                  <a:gd name="T45" fmla="*/ 2095 h 2273"/>
                  <a:gd name="T46" fmla="*/ 1355 w 1509"/>
                  <a:gd name="T47" fmla="*/ 2187 h 2273"/>
                  <a:gd name="T48" fmla="*/ 1309 w 1509"/>
                  <a:gd name="T49" fmla="*/ 2273 h 2273"/>
                  <a:gd name="T50" fmla="*/ 0 w 1509"/>
                  <a:gd name="T51" fmla="*/ 1516 h 2273"/>
                  <a:gd name="T52" fmla="*/ 0 w 1509"/>
                  <a:gd name="T53" fmla="*/ 0 h 22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509" h="2273">
                    <a:moveTo>
                      <a:pt x="0" y="0"/>
                    </a:moveTo>
                    <a:lnTo>
                      <a:pt x="154" y="12"/>
                    </a:lnTo>
                    <a:lnTo>
                      <a:pt x="303" y="35"/>
                    </a:lnTo>
                    <a:lnTo>
                      <a:pt x="446" y="69"/>
                    </a:lnTo>
                    <a:lnTo>
                      <a:pt x="589" y="121"/>
                    </a:lnTo>
                    <a:lnTo>
                      <a:pt x="720" y="184"/>
                    </a:lnTo>
                    <a:lnTo>
                      <a:pt x="840" y="259"/>
                    </a:lnTo>
                    <a:lnTo>
                      <a:pt x="960" y="350"/>
                    </a:lnTo>
                    <a:lnTo>
                      <a:pt x="1069" y="448"/>
                    </a:lnTo>
                    <a:lnTo>
                      <a:pt x="1166" y="551"/>
                    </a:lnTo>
                    <a:lnTo>
                      <a:pt x="1252" y="672"/>
                    </a:lnTo>
                    <a:lnTo>
                      <a:pt x="1326" y="798"/>
                    </a:lnTo>
                    <a:lnTo>
                      <a:pt x="1389" y="930"/>
                    </a:lnTo>
                    <a:lnTo>
                      <a:pt x="1441" y="1068"/>
                    </a:lnTo>
                    <a:lnTo>
                      <a:pt x="1481" y="1211"/>
                    </a:lnTo>
                    <a:lnTo>
                      <a:pt x="1504" y="1361"/>
                    </a:lnTo>
                    <a:lnTo>
                      <a:pt x="1509" y="1516"/>
                    </a:lnTo>
                    <a:lnTo>
                      <a:pt x="1504" y="1619"/>
                    </a:lnTo>
                    <a:lnTo>
                      <a:pt x="1498" y="1717"/>
                    </a:lnTo>
                    <a:lnTo>
                      <a:pt x="1481" y="1814"/>
                    </a:lnTo>
                    <a:lnTo>
                      <a:pt x="1458" y="1912"/>
                    </a:lnTo>
                    <a:lnTo>
                      <a:pt x="1429" y="2004"/>
                    </a:lnTo>
                    <a:lnTo>
                      <a:pt x="1395" y="2095"/>
                    </a:lnTo>
                    <a:lnTo>
                      <a:pt x="1355" y="2187"/>
                    </a:lnTo>
                    <a:lnTo>
                      <a:pt x="1309" y="2273"/>
                    </a:lnTo>
                    <a:lnTo>
                      <a:pt x="0" y="151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2"/>
              </a:solidFill>
              <a:ln w="571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/>
              </a:p>
            </p:txBody>
          </p:sp>
          <p:sp>
            <p:nvSpPr>
              <p:cNvPr id="12" name="Freeform 16">
                <a:extLst>
                  <a:ext uri="{FF2B5EF4-FFF2-40B4-BE49-F238E27FC236}">
                    <a16:creationId xmlns:a16="http://schemas.microsoft.com/office/drawing/2014/main" id="{D04C3171-8827-BCD2-0C81-B005376A10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422650" y="2890838"/>
                <a:ext cx="4156076" cy="2405063"/>
              </a:xfrm>
              <a:custGeom>
                <a:avLst/>
                <a:gdLst>
                  <a:gd name="T0" fmla="*/ 2618 w 2618"/>
                  <a:gd name="T1" fmla="*/ 757 h 1515"/>
                  <a:gd name="T2" fmla="*/ 2532 w 2618"/>
                  <a:gd name="T3" fmla="*/ 889 h 1515"/>
                  <a:gd name="T4" fmla="*/ 2435 w 2618"/>
                  <a:gd name="T5" fmla="*/ 1010 h 1515"/>
                  <a:gd name="T6" fmla="*/ 2332 w 2618"/>
                  <a:gd name="T7" fmla="*/ 1119 h 1515"/>
                  <a:gd name="T8" fmla="*/ 2218 w 2618"/>
                  <a:gd name="T9" fmla="*/ 1211 h 1515"/>
                  <a:gd name="T10" fmla="*/ 2098 w 2618"/>
                  <a:gd name="T11" fmla="*/ 1297 h 1515"/>
                  <a:gd name="T12" fmla="*/ 1972 w 2618"/>
                  <a:gd name="T13" fmla="*/ 1366 h 1515"/>
                  <a:gd name="T14" fmla="*/ 1835 w 2618"/>
                  <a:gd name="T15" fmla="*/ 1423 h 1515"/>
                  <a:gd name="T16" fmla="*/ 1698 w 2618"/>
                  <a:gd name="T17" fmla="*/ 1463 h 1515"/>
                  <a:gd name="T18" fmla="*/ 1555 w 2618"/>
                  <a:gd name="T19" fmla="*/ 1498 h 1515"/>
                  <a:gd name="T20" fmla="*/ 1412 w 2618"/>
                  <a:gd name="T21" fmla="*/ 1515 h 1515"/>
                  <a:gd name="T22" fmla="*/ 1269 w 2618"/>
                  <a:gd name="T23" fmla="*/ 1515 h 1515"/>
                  <a:gd name="T24" fmla="*/ 1120 w 2618"/>
                  <a:gd name="T25" fmla="*/ 1509 h 1515"/>
                  <a:gd name="T26" fmla="*/ 977 w 2618"/>
                  <a:gd name="T27" fmla="*/ 1480 h 1515"/>
                  <a:gd name="T28" fmla="*/ 834 w 2618"/>
                  <a:gd name="T29" fmla="*/ 1440 h 1515"/>
                  <a:gd name="T30" fmla="*/ 691 w 2618"/>
                  <a:gd name="T31" fmla="*/ 1383 h 1515"/>
                  <a:gd name="T32" fmla="*/ 554 w 2618"/>
                  <a:gd name="T33" fmla="*/ 1314 h 1515"/>
                  <a:gd name="T34" fmla="*/ 388 w 2618"/>
                  <a:gd name="T35" fmla="*/ 1205 h 1515"/>
                  <a:gd name="T36" fmla="*/ 240 w 2618"/>
                  <a:gd name="T37" fmla="*/ 1073 h 1515"/>
                  <a:gd name="T38" fmla="*/ 108 w 2618"/>
                  <a:gd name="T39" fmla="*/ 924 h 1515"/>
                  <a:gd name="T40" fmla="*/ 0 w 2618"/>
                  <a:gd name="T41" fmla="*/ 757 h 1515"/>
                  <a:gd name="T42" fmla="*/ 1309 w 2618"/>
                  <a:gd name="T43" fmla="*/ 0 h 1515"/>
                  <a:gd name="T44" fmla="*/ 2618 w 2618"/>
                  <a:gd name="T45" fmla="*/ 757 h 15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618" h="1515">
                    <a:moveTo>
                      <a:pt x="2618" y="757"/>
                    </a:moveTo>
                    <a:lnTo>
                      <a:pt x="2532" y="889"/>
                    </a:lnTo>
                    <a:lnTo>
                      <a:pt x="2435" y="1010"/>
                    </a:lnTo>
                    <a:lnTo>
                      <a:pt x="2332" y="1119"/>
                    </a:lnTo>
                    <a:lnTo>
                      <a:pt x="2218" y="1211"/>
                    </a:lnTo>
                    <a:lnTo>
                      <a:pt x="2098" y="1297"/>
                    </a:lnTo>
                    <a:lnTo>
                      <a:pt x="1972" y="1366"/>
                    </a:lnTo>
                    <a:lnTo>
                      <a:pt x="1835" y="1423"/>
                    </a:lnTo>
                    <a:lnTo>
                      <a:pt x="1698" y="1463"/>
                    </a:lnTo>
                    <a:lnTo>
                      <a:pt x="1555" y="1498"/>
                    </a:lnTo>
                    <a:lnTo>
                      <a:pt x="1412" y="1515"/>
                    </a:lnTo>
                    <a:lnTo>
                      <a:pt x="1269" y="1515"/>
                    </a:lnTo>
                    <a:lnTo>
                      <a:pt x="1120" y="1509"/>
                    </a:lnTo>
                    <a:lnTo>
                      <a:pt x="977" y="1480"/>
                    </a:lnTo>
                    <a:lnTo>
                      <a:pt x="834" y="1440"/>
                    </a:lnTo>
                    <a:lnTo>
                      <a:pt x="691" y="1383"/>
                    </a:lnTo>
                    <a:lnTo>
                      <a:pt x="554" y="1314"/>
                    </a:lnTo>
                    <a:lnTo>
                      <a:pt x="388" y="1205"/>
                    </a:lnTo>
                    <a:lnTo>
                      <a:pt x="240" y="1073"/>
                    </a:lnTo>
                    <a:lnTo>
                      <a:pt x="108" y="924"/>
                    </a:lnTo>
                    <a:lnTo>
                      <a:pt x="0" y="757"/>
                    </a:lnTo>
                    <a:lnTo>
                      <a:pt x="1309" y="0"/>
                    </a:lnTo>
                    <a:lnTo>
                      <a:pt x="2618" y="757"/>
                    </a:lnTo>
                    <a:close/>
                  </a:path>
                </a:pathLst>
              </a:custGeom>
              <a:solidFill>
                <a:schemeClr val="accent3"/>
              </a:solidFill>
              <a:ln w="571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/>
              </a:p>
            </p:txBody>
          </p:sp>
          <p:sp>
            <p:nvSpPr>
              <p:cNvPr id="13" name="Freeform 18">
                <a:extLst>
                  <a:ext uri="{FF2B5EF4-FFF2-40B4-BE49-F238E27FC236}">
                    <a16:creationId xmlns:a16="http://schemas.microsoft.com/office/drawing/2014/main" id="{44AE1A0B-3B2D-DEA3-4CE2-160A7985D7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741738" y="484188"/>
                <a:ext cx="2397125" cy="3608387"/>
              </a:xfrm>
              <a:custGeom>
                <a:avLst/>
                <a:gdLst>
                  <a:gd name="T0" fmla="*/ 201 w 1510"/>
                  <a:gd name="T1" fmla="*/ 2273 h 2273"/>
                  <a:gd name="T2" fmla="*/ 132 w 1510"/>
                  <a:gd name="T3" fmla="*/ 2136 h 2273"/>
                  <a:gd name="T4" fmla="*/ 75 w 1510"/>
                  <a:gd name="T5" fmla="*/ 1998 h 2273"/>
                  <a:gd name="T6" fmla="*/ 35 w 1510"/>
                  <a:gd name="T7" fmla="*/ 1854 h 2273"/>
                  <a:gd name="T8" fmla="*/ 12 w 1510"/>
                  <a:gd name="T9" fmla="*/ 1705 h 2273"/>
                  <a:gd name="T10" fmla="*/ 0 w 1510"/>
                  <a:gd name="T11" fmla="*/ 1562 h 2273"/>
                  <a:gd name="T12" fmla="*/ 0 w 1510"/>
                  <a:gd name="T13" fmla="*/ 1412 h 2273"/>
                  <a:gd name="T14" fmla="*/ 18 w 1510"/>
                  <a:gd name="T15" fmla="*/ 1269 h 2273"/>
                  <a:gd name="T16" fmla="*/ 52 w 1510"/>
                  <a:gd name="T17" fmla="*/ 1125 h 2273"/>
                  <a:gd name="T18" fmla="*/ 92 w 1510"/>
                  <a:gd name="T19" fmla="*/ 988 h 2273"/>
                  <a:gd name="T20" fmla="*/ 149 w 1510"/>
                  <a:gd name="T21" fmla="*/ 856 h 2273"/>
                  <a:gd name="T22" fmla="*/ 223 w 1510"/>
                  <a:gd name="T23" fmla="*/ 724 h 2273"/>
                  <a:gd name="T24" fmla="*/ 303 w 1510"/>
                  <a:gd name="T25" fmla="*/ 603 h 2273"/>
                  <a:gd name="T26" fmla="*/ 401 w 1510"/>
                  <a:gd name="T27" fmla="*/ 488 h 2273"/>
                  <a:gd name="T28" fmla="*/ 504 w 1510"/>
                  <a:gd name="T29" fmla="*/ 385 h 2273"/>
                  <a:gd name="T30" fmla="*/ 624 w 1510"/>
                  <a:gd name="T31" fmla="*/ 287 h 2273"/>
                  <a:gd name="T32" fmla="*/ 755 w 1510"/>
                  <a:gd name="T33" fmla="*/ 207 h 2273"/>
                  <a:gd name="T34" fmla="*/ 841 w 1510"/>
                  <a:gd name="T35" fmla="*/ 155 h 2273"/>
                  <a:gd name="T36" fmla="*/ 932 w 1510"/>
                  <a:gd name="T37" fmla="*/ 115 h 2273"/>
                  <a:gd name="T38" fmla="*/ 1024 w 1510"/>
                  <a:gd name="T39" fmla="*/ 81 h 2273"/>
                  <a:gd name="T40" fmla="*/ 1115 w 1510"/>
                  <a:gd name="T41" fmla="*/ 52 h 2273"/>
                  <a:gd name="T42" fmla="*/ 1213 w 1510"/>
                  <a:gd name="T43" fmla="*/ 29 h 2273"/>
                  <a:gd name="T44" fmla="*/ 1310 w 1510"/>
                  <a:gd name="T45" fmla="*/ 18 h 2273"/>
                  <a:gd name="T46" fmla="*/ 1407 w 1510"/>
                  <a:gd name="T47" fmla="*/ 6 h 2273"/>
                  <a:gd name="T48" fmla="*/ 1510 w 1510"/>
                  <a:gd name="T49" fmla="*/ 0 h 2273"/>
                  <a:gd name="T50" fmla="*/ 1510 w 1510"/>
                  <a:gd name="T51" fmla="*/ 1516 h 2273"/>
                  <a:gd name="T52" fmla="*/ 201 w 1510"/>
                  <a:gd name="T53" fmla="*/ 2273 h 22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510" h="2273">
                    <a:moveTo>
                      <a:pt x="201" y="2273"/>
                    </a:moveTo>
                    <a:lnTo>
                      <a:pt x="132" y="2136"/>
                    </a:lnTo>
                    <a:lnTo>
                      <a:pt x="75" y="1998"/>
                    </a:lnTo>
                    <a:lnTo>
                      <a:pt x="35" y="1854"/>
                    </a:lnTo>
                    <a:lnTo>
                      <a:pt x="12" y="1705"/>
                    </a:lnTo>
                    <a:lnTo>
                      <a:pt x="0" y="1562"/>
                    </a:lnTo>
                    <a:lnTo>
                      <a:pt x="0" y="1412"/>
                    </a:lnTo>
                    <a:lnTo>
                      <a:pt x="18" y="1269"/>
                    </a:lnTo>
                    <a:lnTo>
                      <a:pt x="52" y="1125"/>
                    </a:lnTo>
                    <a:lnTo>
                      <a:pt x="92" y="988"/>
                    </a:lnTo>
                    <a:lnTo>
                      <a:pt x="149" y="856"/>
                    </a:lnTo>
                    <a:lnTo>
                      <a:pt x="223" y="724"/>
                    </a:lnTo>
                    <a:lnTo>
                      <a:pt x="303" y="603"/>
                    </a:lnTo>
                    <a:lnTo>
                      <a:pt x="401" y="488"/>
                    </a:lnTo>
                    <a:lnTo>
                      <a:pt x="504" y="385"/>
                    </a:lnTo>
                    <a:lnTo>
                      <a:pt x="624" y="287"/>
                    </a:lnTo>
                    <a:lnTo>
                      <a:pt x="755" y="207"/>
                    </a:lnTo>
                    <a:lnTo>
                      <a:pt x="841" y="155"/>
                    </a:lnTo>
                    <a:lnTo>
                      <a:pt x="932" y="115"/>
                    </a:lnTo>
                    <a:lnTo>
                      <a:pt x="1024" y="81"/>
                    </a:lnTo>
                    <a:lnTo>
                      <a:pt x="1115" y="52"/>
                    </a:lnTo>
                    <a:lnTo>
                      <a:pt x="1213" y="29"/>
                    </a:lnTo>
                    <a:lnTo>
                      <a:pt x="1310" y="18"/>
                    </a:lnTo>
                    <a:lnTo>
                      <a:pt x="1407" y="6"/>
                    </a:lnTo>
                    <a:lnTo>
                      <a:pt x="1510" y="0"/>
                    </a:lnTo>
                    <a:lnTo>
                      <a:pt x="1510" y="1516"/>
                    </a:lnTo>
                    <a:lnTo>
                      <a:pt x="201" y="2273"/>
                    </a:lnTo>
                    <a:close/>
                  </a:path>
                </a:pathLst>
              </a:custGeom>
              <a:solidFill>
                <a:schemeClr val="accent1"/>
              </a:solidFill>
              <a:ln w="571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/>
              </a:p>
            </p:txBody>
          </p: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CC0F675C-921E-5C1E-6CD1-F62C1A87D2C3}"/>
                </a:ext>
              </a:extLst>
            </p:cNvPr>
            <p:cNvGrpSpPr>
              <a:grpSpLocks/>
            </p:cNvGrpSpPr>
            <p:nvPr/>
          </p:nvGrpSpPr>
          <p:grpSpPr>
            <a:xfrm>
              <a:off x="4307562" y="1874367"/>
              <a:ext cx="3335575" cy="3342519"/>
              <a:chOff x="-3741738" y="484188"/>
              <a:chExt cx="4792663" cy="4811712"/>
            </a:xfrm>
          </p:grpSpPr>
          <p:sp>
            <p:nvSpPr>
              <p:cNvPr id="8" name="Freeform 14">
                <a:extLst>
                  <a:ext uri="{FF2B5EF4-FFF2-40B4-BE49-F238E27FC236}">
                    <a16:creationId xmlns:a16="http://schemas.microsoft.com/office/drawing/2014/main" id="{35036AC9-BA61-9732-40C2-7528ADC7BA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344613" y="484188"/>
                <a:ext cx="2395538" cy="3608386"/>
              </a:xfrm>
              <a:custGeom>
                <a:avLst/>
                <a:gdLst>
                  <a:gd name="T0" fmla="*/ 0 w 1509"/>
                  <a:gd name="T1" fmla="*/ 0 h 2273"/>
                  <a:gd name="T2" fmla="*/ 154 w 1509"/>
                  <a:gd name="T3" fmla="*/ 12 h 2273"/>
                  <a:gd name="T4" fmla="*/ 303 w 1509"/>
                  <a:gd name="T5" fmla="*/ 35 h 2273"/>
                  <a:gd name="T6" fmla="*/ 446 w 1509"/>
                  <a:gd name="T7" fmla="*/ 69 h 2273"/>
                  <a:gd name="T8" fmla="*/ 589 w 1509"/>
                  <a:gd name="T9" fmla="*/ 121 h 2273"/>
                  <a:gd name="T10" fmla="*/ 720 w 1509"/>
                  <a:gd name="T11" fmla="*/ 184 h 2273"/>
                  <a:gd name="T12" fmla="*/ 840 w 1509"/>
                  <a:gd name="T13" fmla="*/ 259 h 2273"/>
                  <a:gd name="T14" fmla="*/ 960 w 1509"/>
                  <a:gd name="T15" fmla="*/ 350 h 2273"/>
                  <a:gd name="T16" fmla="*/ 1069 w 1509"/>
                  <a:gd name="T17" fmla="*/ 448 h 2273"/>
                  <a:gd name="T18" fmla="*/ 1166 w 1509"/>
                  <a:gd name="T19" fmla="*/ 551 h 2273"/>
                  <a:gd name="T20" fmla="*/ 1252 w 1509"/>
                  <a:gd name="T21" fmla="*/ 672 h 2273"/>
                  <a:gd name="T22" fmla="*/ 1326 w 1509"/>
                  <a:gd name="T23" fmla="*/ 798 h 2273"/>
                  <a:gd name="T24" fmla="*/ 1389 w 1509"/>
                  <a:gd name="T25" fmla="*/ 930 h 2273"/>
                  <a:gd name="T26" fmla="*/ 1441 w 1509"/>
                  <a:gd name="T27" fmla="*/ 1068 h 2273"/>
                  <a:gd name="T28" fmla="*/ 1481 w 1509"/>
                  <a:gd name="T29" fmla="*/ 1211 h 2273"/>
                  <a:gd name="T30" fmla="*/ 1504 w 1509"/>
                  <a:gd name="T31" fmla="*/ 1361 h 2273"/>
                  <a:gd name="T32" fmla="*/ 1509 w 1509"/>
                  <a:gd name="T33" fmla="*/ 1516 h 2273"/>
                  <a:gd name="T34" fmla="*/ 1504 w 1509"/>
                  <a:gd name="T35" fmla="*/ 1619 h 2273"/>
                  <a:gd name="T36" fmla="*/ 1498 w 1509"/>
                  <a:gd name="T37" fmla="*/ 1717 h 2273"/>
                  <a:gd name="T38" fmla="*/ 1481 w 1509"/>
                  <a:gd name="T39" fmla="*/ 1814 h 2273"/>
                  <a:gd name="T40" fmla="*/ 1458 w 1509"/>
                  <a:gd name="T41" fmla="*/ 1912 h 2273"/>
                  <a:gd name="T42" fmla="*/ 1429 w 1509"/>
                  <a:gd name="T43" fmla="*/ 2004 h 2273"/>
                  <a:gd name="T44" fmla="*/ 1395 w 1509"/>
                  <a:gd name="T45" fmla="*/ 2095 h 2273"/>
                  <a:gd name="T46" fmla="*/ 1355 w 1509"/>
                  <a:gd name="T47" fmla="*/ 2187 h 2273"/>
                  <a:gd name="T48" fmla="*/ 1309 w 1509"/>
                  <a:gd name="T49" fmla="*/ 2273 h 2273"/>
                  <a:gd name="T50" fmla="*/ 0 w 1509"/>
                  <a:gd name="T51" fmla="*/ 1516 h 2273"/>
                  <a:gd name="T52" fmla="*/ 0 w 1509"/>
                  <a:gd name="T53" fmla="*/ 0 h 22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509" h="2273">
                    <a:moveTo>
                      <a:pt x="0" y="0"/>
                    </a:moveTo>
                    <a:lnTo>
                      <a:pt x="154" y="12"/>
                    </a:lnTo>
                    <a:lnTo>
                      <a:pt x="303" y="35"/>
                    </a:lnTo>
                    <a:lnTo>
                      <a:pt x="446" y="69"/>
                    </a:lnTo>
                    <a:lnTo>
                      <a:pt x="589" y="121"/>
                    </a:lnTo>
                    <a:lnTo>
                      <a:pt x="720" y="184"/>
                    </a:lnTo>
                    <a:lnTo>
                      <a:pt x="840" y="259"/>
                    </a:lnTo>
                    <a:lnTo>
                      <a:pt x="960" y="350"/>
                    </a:lnTo>
                    <a:lnTo>
                      <a:pt x="1069" y="448"/>
                    </a:lnTo>
                    <a:lnTo>
                      <a:pt x="1166" y="551"/>
                    </a:lnTo>
                    <a:lnTo>
                      <a:pt x="1252" y="672"/>
                    </a:lnTo>
                    <a:lnTo>
                      <a:pt x="1326" y="798"/>
                    </a:lnTo>
                    <a:lnTo>
                      <a:pt x="1389" y="930"/>
                    </a:lnTo>
                    <a:lnTo>
                      <a:pt x="1441" y="1068"/>
                    </a:lnTo>
                    <a:lnTo>
                      <a:pt x="1481" y="1211"/>
                    </a:lnTo>
                    <a:lnTo>
                      <a:pt x="1504" y="1361"/>
                    </a:lnTo>
                    <a:lnTo>
                      <a:pt x="1509" y="1516"/>
                    </a:lnTo>
                    <a:lnTo>
                      <a:pt x="1504" y="1619"/>
                    </a:lnTo>
                    <a:lnTo>
                      <a:pt x="1498" y="1717"/>
                    </a:lnTo>
                    <a:lnTo>
                      <a:pt x="1481" y="1814"/>
                    </a:lnTo>
                    <a:lnTo>
                      <a:pt x="1458" y="1912"/>
                    </a:lnTo>
                    <a:lnTo>
                      <a:pt x="1429" y="2004"/>
                    </a:lnTo>
                    <a:lnTo>
                      <a:pt x="1395" y="2095"/>
                    </a:lnTo>
                    <a:lnTo>
                      <a:pt x="1355" y="2187"/>
                    </a:lnTo>
                    <a:lnTo>
                      <a:pt x="1309" y="2273"/>
                    </a:lnTo>
                    <a:lnTo>
                      <a:pt x="0" y="151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 w="571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9" name="Freeform 16">
                <a:extLst>
                  <a:ext uri="{FF2B5EF4-FFF2-40B4-BE49-F238E27FC236}">
                    <a16:creationId xmlns:a16="http://schemas.microsoft.com/office/drawing/2014/main" id="{1EFF7BE1-2D2A-E91B-0D13-67B74294C4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422651" y="2890838"/>
                <a:ext cx="4156076" cy="2405062"/>
              </a:xfrm>
              <a:custGeom>
                <a:avLst/>
                <a:gdLst>
                  <a:gd name="T0" fmla="*/ 2618 w 2618"/>
                  <a:gd name="T1" fmla="*/ 757 h 1515"/>
                  <a:gd name="T2" fmla="*/ 2532 w 2618"/>
                  <a:gd name="T3" fmla="*/ 889 h 1515"/>
                  <a:gd name="T4" fmla="*/ 2435 w 2618"/>
                  <a:gd name="T5" fmla="*/ 1010 h 1515"/>
                  <a:gd name="T6" fmla="*/ 2332 w 2618"/>
                  <a:gd name="T7" fmla="*/ 1119 h 1515"/>
                  <a:gd name="T8" fmla="*/ 2218 w 2618"/>
                  <a:gd name="T9" fmla="*/ 1211 h 1515"/>
                  <a:gd name="T10" fmla="*/ 2098 w 2618"/>
                  <a:gd name="T11" fmla="*/ 1297 h 1515"/>
                  <a:gd name="T12" fmla="*/ 1972 w 2618"/>
                  <a:gd name="T13" fmla="*/ 1366 h 1515"/>
                  <a:gd name="T14" fmla="*/ 1835 w 2618"/>
                  <a:gd name="T15" fmla="*/ 1423 h 1515"/>
                  <a:gd name="T16" fmla="*/ 1698 w 2618"/>
                  <a:gd name="T17" fmla="*/ 1463 h 1515"/>
                  <a:gd name="T18" fmla="*/ 1555 w 2618"/>
                  <a:gd name="T19" fmla="*/ 1498 h 1515"/>
                  <a:gd name="T20" fmla="*/ 1412 w 2618"/>
                  <a:gd name="T21" fmla="*/ 1515 h 1515"/>
                  <a:gd name="T22" fmla="*/ 1269 w 2618"/>
                  <a:gd name="T23" fmla="*/ 1515 h 1515"/>
                  <a:gd name="T24" fmla="*/ 1120 w 2618"/>
                  <a:gd name="T25" fmla="*/ 1509 h 1515"/>
                  <a:gd name="T26" fmla="*/ 977 w 2618"/>
                  <a:gd name="T27" fmla="*/ 1480 h 1515"/>
                  <a:gd name="T28" fmla="*/ 834 w 2618"/>
                  <a:gd name="T29" fmla="*/ 1440 h 1515"/>
                  <a:gd name="T30" fmla="*/ 691 w 2618"/>
                  <a:gd name="T31" fmla="*/ 1383 h 1515"/>
                  <a:gd name="T32" fmla="*/ 554 w 2618"/>
                  <a:gd name="T33" fmla="*/ 1314 h 1515"/>
                  <a:gd name="T34" fmla="*/ 388 w 2618"/>
                  <a:gd name="T35" fmla="*/ 1205 h 1515"/>
                  <a:gd name="T36" fmla="*/ 240 w 2618"/>
                  <a:gd name="T37" fmla="*/ 1073 h 1515"/>
                  <a:gd name="T38" fmla="*/ 108 w 2618"/>
                  <a:gd name="T39" fmla="*/ 924 h 1515"/>
                  <a:gd name="T40" fmla="*/ 0 w 2618"/>
                  <a:gd name="T41" fmla="*/ 757 h 1515"/>
                  <a:gd name="T42" fmla="*/ 1309 w 2618"/>
                  <a:gd name="T43" fmla="*/ 0 h 1515"/>
                  <a:gd name="T44" fmla="*/ 2618 w 2618"/>
                  <a:gd name="T45" fmla="*/ 757 h 15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618" h="1515">
                    <a:moveTo>
                      <a:pt x="2618" y="757"/>
                    </a:moveTo>
                    <a:lnTo>
                      <a:pt x="2532" y="889"/>
                    </a:lnTo>
                    <a:lnTo>
                      <a:pt x="2435" y="1010"/>
                    </a:lnTo>
                    <a:lnTo>
                      <a:pt x="2332" y="1119"/>
                    </a:lnTo>
                    <a:lnTo>
                      <a:pt x="2218" y="1211"/>
                    </a:lnTo>
                    <a:lnTo>
                      <a:pt x="2098" y="1297"/>
                    </a:lnTo>
                    <a:lnTo>
                      <a:pt x="1972" y="1366"/>
                    </a:lnTo>
                    <a:lnTo>
                      <a:pt x="1835" y="1423"/>
                    </a:lnTo>
                    <a:lnTo>
                      <a:pt x="1698" y="1463"/>
                    </a:lnTo>
                    <a:lnTo>
                      <a:pt x="1555" y="1498"/>
                    </a:lnTo>
                    <a:lnTo>
                      <a:pt x="1412" y="1515"/>
                    </a:lnTo>
                    <a:lnTo>
                      <a:pt x="1269" y="1515"/>
                    </a:lnTo>
                    <a:lnTo>
                      <a:pt x="1120" y="1509"/>
                    </a:lnTo>
                    <a:lnTo>
                      <a:pt x="977" y="1480"/>
                    </a:lnTo>
                    <a:lnTo>
                      <a:pt x="834" y="1440"/>
                    </a:lnTo>
                    <a:lnTo>
                      <a:pt x="691" y="1383"/>
                    </a:lnTo>
                    <a:lnTo>
                      <a:pt x="554" y="1314"/>
                    </a:lnTo>
                    <a:lnTo>
                      <a:pt x="388" y="1205"/>
                    </a:lnTo>
                    <a:lnTo>
                      <a:pt x="240" y="1073"/>
                    </a:lnTo>
                    <a:lnTo>
                      <a:pt x="108" y="924"/>
                    </a:lnTo>
                    <a:lnTo>
                      <a:pt x="0" y="757"/>
                    </a:lnTo>
                    <a:lnTo>
                      <a:pt x="1309" y="0"/>
                    </a:lnTo>
                    <a:lnTo>
                      <a:pt x="2618" y="757"/>
                    </a:lnTo>
                    <a:close/>
                  </a:path>
                </a:pathLst>
              </a:custGeom>
              <a:solidFill>
                <a:schemeClr val="bg1"/>
              </a:solidFill>
              <a:ln w="571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10" name="Freeform 18">
                <a:extLst>
                  <a:ext uri="{FF2B5EF4-FFF2-40B4-BE49-F238E27FC236}">
                    <a16:creationId xmlns:a16="http://schemas.microsoft.com/office/drawing/2014/main" id="{634BDCBE-2A9B-3026-4C48-4F028FCF3D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741738" y="484188"/>
                <a:ext cx="2397124" cy="3608386"/>
              </a:xfrm>
              <a:custGeom>
                <a:avLst/>
                <a:gdLst>
                  <a:gd name="T0" fmla="*/ 201 w 1510"/>
                  <a:gd name="T1" fmla="*/ 2273 h 2273"/>
                  <a:gd name="T2" fmla="*/ 132 w 1510"/>
                  <a:gd name="T3" fmla="*/ 2136 h 2273"/>
                  <a:gd name="T4" fmla="*/ 75 w 1510"/>
                  <a:gd name="T5" fmla="*/ 1998 h 2273"/>
                  <a:gd name="T6" fmla="*/ 35 w 1510"/>
                  <a:gd name="T7" fmla="*/ 1854 h 2273"/>
                  <a:gd name="T8" fmla="*/ 12 w 1510"/>
                  <a:gd name="T9" fmla="*/ 1705 h 2273"/>
                  <a:gd name="T10" fmla="*/ 0 w 1510"/>
                  <a:gd name="T11" fmla="*/ 1562 h 2273"/>
                  <a:gd name="T12" fmla="*/ 0 w 1510"/>
                  <a:gd name="T13" fmla="*/ 1412 h 2273"/>
                  <a:gd name="T14" fmla="*/ 18 w 1510"/>
                  <a:gd name="T15" fmla="*/ 1269 h 2273"/>
                  <a:gd name="T16" fmla="*/ 52 w 1510"/>
                  <a:gd name="T17" fmla="*/ 1125 h 2273"/>
                  <a:gd name="T18" fmla="*/ 92 w 1510"/>
                  <a:gd name="T19" fmla="*/ 988 h 2273"/>
                  <a:gd name="T20" fmla="*/ 149 w 1510"/>
                  <a:gd name="T21" fmla="*/ 856 h 2273"/>
                  <a:gd name="T22" fmla="*/ 223 w 1510"/>
                  <a:gd name="T23" fmla="*/ 724 h 2273"/>
                  <a:gd name="T24" fmla="*/ 303 w 1510"/>
                  <a:gd name="T25" fmla="*/ 603 h 2273"/>
                  <a:gd name="T26" fmla="*/ 401 w 1510"/>
                  <a:gd name="T27" fmla="*/ 488 h 2273"/>
                  <a:gd name="T28" fmla="*/ 504 w 1510"/>
                  <a:gd name="T29" fmla="*/ 385 h 2273"/>
                  <a:gd name="T30" fmla="*/ 624 w 1510"/>
                  <a:gd name="T31" fmla="*/ 287 h 2273"/>
                  <a:gd name="T32" fmla="*/ 755 w 1510"/>
                  <a:gd name="T33" fmla="*/ 207 h 2273"/>
                  <a:gd name="T34" fmla="*/ 841 w 1510"/>
                  <a:gd name="T35" fmla="*/ 155 h 2273"/>
                  <a:gd name="T36" fmla="*/ 932 w 1510"/>
                  <a:gd name="T37" fmla="*/ 115 h 2273"/>
                  <a:gd name="T38" fmla="*/ 1024 w 1510"/>
                  <a:gd name="T39" fmla="*/ 81 h 2273"/>
                  <a:gd name="T40" fmla="*/ 1115 w 1510"/>
                  <a:gd name="T41" fmla="*/ 52 h 2273"/>
                  <a:gd name="T42" fmla="*/ 1213 w 1510"/>
                  <a:gd name="T43" fmla="*/ 29 h 2273"/>
                  <a:gd name="T44" fmla="*/ 1310 w 1510"/>
                  <a:gd name="T45" fmla="*/ 18 h 2273"/>
                  <a:gd name="T46" fmla="*/ 1407 w 1510"/>
                  <a:gd name="T47" fmla="*/ 6 h 2273"/>
                  <a:gd name="T48" fmla="*/ 1510 w 1510"/>
                  <a:gd name="T49" fmla="*/ 0 h 2273"/>
                  <a:gd name="T50" fmla="*/ 1510 w 1510"/>
                  <a:gd name="T51" fmla="*/ 1516 h 2273"/>
                  <a:gd name="T52" fmla="*/ 201 w 1510"/>
                  <a:gd name="T53" fmla="*/ 2273 h 22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510" h="2273">
                    <a:moveTo>
                      <a:pt x="201" y="2273"/>
                    </a:moveTo>
                    <a:lnTo>
                      <a:pt x="132" y="2136"/>
                    </a:lnTo>
                    <a:lnTo>
                      <a:pt x="75" y="1998"/>
                    </a:lnTo>
                    <a:lnTo>
                      <a:pt x="35" y="1854"/>
                    </a:lnTo>
                    <a:lnTo>
                      <a:pt x="12" y="1705"/>
                    </a:lnTo>
                    <a:lnTo>
                      <a:pt x="0" y="1562"/>
                    </a:lnTo>
                    <a:lnTo>
                      <a:pt x="0" y="1412"/>
                    </a:lnTo>
                    <a:lnTo>
                      <a:pt x="18" y="1269"/>
                    </a:lnTo>
                    <a:lnTo>
                      <a:pt x="52" y="1125"/>
                    </a:lnTo>
                    <a:lnTo>
                      <a:pt x="92" y="988"/>
                    </a:lnTo>
                    <a:lnTo>
                      <a:pt x="149" y="856"/>
                    </a:lnTo>
                    <a:lnTo>
                      <a:pt x="223" y="724"/>
                    </a:lnTo>
                    <a:lnTo>
                      <a:pt x="303" y="603"/>
                    </a:lnTo>
                    <a:lnTo>
                      <a:pt x="401" y="488"/>
                    </a:lnTo>
                    <a:lnTo>
                      <a:pt x="504" y="385"/>
                    </a:lnTo>
                    <a:lnTo>
                      <a:pt x="624" y="287"/>
                    </a:lnTo>
                    <a:lnTo>
                      <a:pt x="755" y="207"/>
                    </a:lnTo>
                    <a:lnTo>
                      <a:pt x="841" y="155"/>
                    </a:lnTo>
                    <a:lnTo>
                      <a:pt x="932" y="115"/>
                    </a:lnTo>
                    <a:lnTo>
                      <a:pt x="1024" y="81"/>
                    </a:lnTo>
                    <a:lnTo>
                      <a:pt x="1115" y="52"/>
                    </a:lnTo>
                    <a:lnTo>
                      <a:pt x="1213" y="29"/>
                    </a:lnTo>
                    <a:lnTo>
                      <a:pt x="1310" y="18"/>
                    </a:lnTo>
                    <a:lnTo>
                      <a:pt x="1407" y="6"/>
                    </a:lnTo>
                    <a:lnTo>
                      <a:pt x="1510" y="0"/>
                    </a:lnTo>
                    <a:lnTo>
                      <a:pt x="1510" y="1516"/>
                    </a:lnTo>
                    <a:lnTo>
                      <a:pt x="201" y="2273"/>
                    </a:lnTo>
                    <a:close/>
                  </a:path>
                </a:pathLst>
              </a:custGeom>
              <a:solidFill>
                <a:schemeClr val="bg1"/>
              </a:solidFill>
              <a:ln w="571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</p:grpSp>
      </p:grpSp>
      <p:sp>
        <p:nvSpPr>
          <p:cNvPr id="14" name="Block Arc 13">
            <a:extLst>
              <a:ext uri="{FF2B5EF4-FFF2-40B4-BE49-F238E27FC236}">
                <a16:creationId xmlns:a16="http://schemas.microsoft.com/office/drawing/2014/main" id="{BD7264E4-E387-78B4-AAA9-6CC742E8BE58}"/>
              </a:ext>
            </a:extLst>
          </p:cNvPr>
          <p:cNvSpPr/>
          <p:nvPr/>
        </p:nvSpPr>
        <p:spPr>
          <a:xfrm rot="1136527" flipH="1">
            <a:off x="4842855" y="2148864"/>
            <a:ext cx="2514562" cy="2502271"/>
          </a:xfrm>
          <a:prstGeom prst="blockArc">
            <a:avLst>
              <a:gd name="adj1" fmla="val 11075495"/>
              <a:gd name="adj2" fmla="val 15378897"/>
              <a:gd name="adj3" fmla="val 11039"/>
            </a:avLst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CA" sz="1600" dirty="0" err="1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15" name="Block Arc 14">
            <a:extLst>
              <a:ext uri="{FF2B5EF4-FFF2-40B4-BE49-F238E27FC236}">
                <a16:creationId xmlns:a16="http://schemas.microsoft.com/office/drawing/2014/main" id="{5E77ADCD-6259-2786-7B1D-EE8C00D4D065}"/>
              </a:ext>
            </a:extLst>
          </p:cNvPr>
          <p:cNvSpPr/>
          <p:nvPr/>
        </p:nvSpPr>
        <p:spPr>
          <a:xfrm rot="20463473">
            <a:off x="4598209" y="2148864"/>
            <a:ext cx="2514562" cy="2502271"/>
          </a:xfrm>
          <a:prstGeom prst="blockArc">
            <a:avLst>
              <a:gd name="adj1" fmla="val 11075495"/>
              <a:gd name="adj2" fmla="val 15378897"/>
              <a:gd name="adj3" fmla="val 11039"/>
            </a:avLst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CA" sz="1600" dirty="0" err="1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16" name="Block Arc 15">
            <a:extLst>
              <a:ext uri="{FF2B5EF4-FFF2-40B4-BE49-F238E27FC236}">
                <a16:creationId xmlns:a16="http://schemas.microsoft.com/office/drawing/2014/main" id="{B3BA209D-3448-D355-A134-DF7E9EBD1302}"/>
              </a:ext>
            </a:extLst>
          </p:cNvPr>
          <p:cNvSpPr/>
          <p:nvPr/>
        </p:nvSpPr>
        <p:spPr>
          <a:xfrm rot="13829149">
            <a:off x="4761044" y="2402916"/>
            <a:ext cx="2514562" cy="2502271"/>
          </a:xfrm>
          <a:prstGeom prst="blockArc">
            <a:avLst>
              <a:gd name="adj1" fmla="val 11075495"/>
              <a:gd name="adj2" fmla="val 15378897"/>
              <a:gd name="adj3" fmla="val 11039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CA" sz="1600" dirty="0" err="1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E191D70-C63C-F8EC-3ABA-7ADE360AF4C0}"/>
              </a:ext>
            </a:extLst>
          </p:cNvPr>
          <p:cNvSpPr txBox="1">
            <a:spLocks/>
          </p:cNvSpPr>
          <p:nvPr/>
        </p:nvSpPr>
        <p:spPr>
          <a:xfrm>
            <a:off x="8234567" y="2169056"/>
            <a:ext cx="2583380" cy="2769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lvl="0">
              <a:defRPr/>
            </a:pPr>
            <a:r>
              <a:rPr lang="en-US" b="1" dirty="0">
                <a:solidFill>
                  <a:schemeClr val="accent2"/>
                </a:solidFill>
                <a:latin typeface="+mn-lt"/>
                <a:cs typeface="Calibri" panose="020F0502020204030204" pitchFamily="34" charset="0"/>
              </a:rPr>
              <a:t>HEADING</a:t>
            </a:r>
            <a:endParaRPr lang="en-CA" b="1" dirty="0">
              <a:solidFill>
                <a:schemeClr val="accent2"/>
              </a:solidFill>
              <a:latin typeface="+mn-lt"/>
              <a:ea typeface="ＭＳ Ｐゴシック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3B0F333-526D-B068-7F23-75CCC5ED5FF5}"/>
              </a:ext>
            </a:extLst>
          </p:cNvPr>
          <p:cNvSpPr txBox="1">
            <a:spLocks/>
          </p:cNvSpPr>
          <p:nvPr/>
        </p:nvSpPr>
        <p:spPr>
          <a:xfrm>
            <a:off x="8234567" y="2480662"/>
            <a:ext cx="2583380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>
              <a:defRPr/>
            </a:pPr>
            <a:r>
              <a:rPr lang="en-IN" dirty="0">
                <a:latin typeface="+mn-lt"/>
                <a:cs typeface="Calibri" panose="020F0502020204030204" pitchFamily="34" charset="0"/>
              </a:rPr>
              <a:t>Insert your text here Insert your text here Insert your text</a:t>
            </a:r>
            <a:endParaRPr lang="en-CA" dirty="0">
              <a:latin typeface="+mn-lt"/>
              <a:ea typeface="ＭＳ Ｐゴシック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6166D97-5BF4-9D56-99E5-82D8DE29722D}"/>
              </a:ext>
            </a:extLst>
          </p:cNvPr>
          <p:cNvSpPr txBox="1">
            <a:spLocks/>
          </p:cNvSpPr>
          <p:nvPr/>
        </p:nvSpPr>
        <p:spPr>
          <a:xfrm>
            <a:off x="7234528" y="4722515"/>
            <a:ext cx="2583380" cy="2769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lvl="0" algn="r">
              <a:defRPr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l"/>
            <a:r>
              <a:rPr lang="en-CA" dirty="0">
                <a:solidFill>
                  <a:schemeClr val="accent3"/>
                </a:solidFill>
                <a:latin typeface="+mn-lt"/>
                <a:cs typeface="Calibri" panose="020F0502020204030204" pitchFamily="34" charset="0"/>
              </a:rPr>
              <a:t>HEADING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2AD00EF-6FBA-4768-C1D4-DD62C6BE30A7}"/>
              </a:ext>
            </a:extLst>
          </p:cNvPr>
          <p:cNvSpPr txBox="1">
            <a:spLocks/>
          </p:cNvSpPr>
          <p:nvPr/>
        </p:nvSpPr>
        <p:spPr>
          <a:xfrm>
            <a:off x="7234528" y="5034121"/>
            <a:ext cx="2583380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>
              <a:defRPr/>
            </a:pPr>
            <a:r>
              <a:rPr lang="en-IN" dirty="0">
                <a:latin typeface="+mn-lt"/>
                <a:cs typeface="Calibri" panose="020F0502020204030204" pitchFamily="34" charset="0"/>
              </a:rPr>
              <a:t>Insert your text here Insert your text here Insert your text</a:t>
            </a:r>
            <a:endParaRPr lang="en-CA" dirty="0">
              <a:latin typeface="+mn-lt"/>
              <a:ea typeface="ＭＳ Ｐゴシック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630F87A-7F97-9BFE-4DBA-41D4F1A98612}"/>
              </a:ext>
            </a:extLst>
          </p:cNvPr>
          <p:cNvSpPr txBox="1">
            <a:spLocks/>
          </p:cNvSpPr>
          <p:nvPr/>
        </p:nvSpPr>
        <p:spPr>
          <a:xfrm>
            <a:off x="1233959" y="2016529"/>
            <a:ext cx="2583380" cy="2769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lvl="0" algn="r">
              <a:defRPr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chemeClr val="accent1"/>
                </a:solidFill>
                <a:latin typeface="+mn-lt"/>
                <a:cs typeface="Calibri" panose="020F0502020204030204" pitchFamily="34" charset="0"/>
              </a:rPr>
              <a:t>HEADING</a:t>
            </a:r>
            <a:endParaRPr lang="en-CA" dirty="0">
              <a:solidFill>
                <a:schemeClr val="accent1"/>
              </a:solidFill>
              <a:latin typeface="+mn-lt"/>
              <a:cs typeface="Calibri" panose="020F050202020403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C6EAE83-3FBE-6706-1395-9DCD450E6EB8}"/>
              </a:ext>
            </a:extLst>
          </p:cNvPr>
          <p:cNvSpPr txBox="1">
            <a:spLocks/>
          </p:cNvSpPr>
          <p:nvPr/>
        </p:nvSpPr>
        <p:spPr>
          <a:xfrm>
            <a:off x="1233959" y="2328135"/>
            <a:ext cx="2583380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r">
              <a:defRPr/>
            </a:pPr>
            <a:r>
              <a:rPr lang="en-IN" dirty="0">
                <a:latin typeface="+mn-lt"/>
                <a:cs typeface="Calibri" panose="020F0502020204030204" pitchFamily="34" charset="0"/>
              </a:rPr>
              <a:t>Insert your text here Insert your text here Insert your text</a:t>
            </a:r>
            <a:endParaRPr lang="en-CA" dirty="0">
              <a:latin typeface="+mn-lt"/>
              <a:ea typeface="ＭＳ Ｐゴシック"/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FBC97F48-048A-8062-7A9B-F6246D420D84}"/>
              </a:ext>
            </a:extLst>
          </p:cNvPr>
          <p:cNvSpPr/>
          <p:nvPr/>
        </p:nvSpPr>
        <p:spPr>
          <a:xfrm flipH="1">
            <a:off x="7253751" y="2332586"/>
            <a:ext cx="872198" cy="872198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CA" sz="1600" dirty="0" err="1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DBCC6C5-FEEF-FDC0-DC45-C5F84CA5CACB}"/>
              </a:ext>
            </a:extLst>
          </p:cNvPr>
          <p:cNvSpPr txBox="1"/>
          <p:nvPr/>
        </p:nvSpPr>
        <p:spPr>
          <a:xfrm>
            <a:off x="7413536" y="2406768"/>
            <a:ext cx="552628" cy="677108"/>
          </a:xfrm>
          <a:prstGeom prst="rect">
            <a:avLst/>
          </a:prstGeom>
          <a:noFill/>
        </p:spPr>
        <p:txBody>
          <a:bodyPr wrap="square" lIns="0" tIns="0" rIns="0" bIns="0" rtlCol="0" anchor="ctr" anchorCtr="1">
            <a:spAutoFit/>
          </a:bodyPr>
          <a:lstStyle/>
          <a:p>
            <a:pPr>
              <a:defRPr/>
            </a:pPr>
            <a:r>
              <a:rPr lang="en-CA" sz="4400" dirty="0">
                <a:solidFill>
                  <a:schemeClr val="bg1"/>
                </a:solidFill>
                <a:latin typeface="+mn-lt"/>
                <a:ea typeface="ＭＳ Ｐゴシック"/>
              </a:rPr>
              <a:t>2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B4FB2EAF-F477-3566-4C6C-8C4550EE4048}"/>
              </a:ext>
            </a:extLst>
          </p:cNvPr>
          <p:cNvSpPr/>
          <p:nvPr/>
        </p:nvSpPr>
        <p:spPr>
          <a:xfrm>
            <a:off x="3972314" y="2231354"/>
            <a:ext cx="872198" cy="872198"/>
          </a:xfrm>
          <a:prstGeom prst="ellipse">
            <a:avLst/>
          </a:prstGeom>
          <a:solidFill>
            <a:schemeClr val="accent1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CA" sz="1600" dirty="0" err="1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995D7B98-3BC0-337C-6750-B27EE8E26E47}"/>
              </a:ext>
            </a:extLst>
          </p:cNvPr>
          <p:cNvSpPr txBox="1"/>
          <p:nvPr/>
        </p:nvSpPr>
        <p:spPr>
          <a:xfrm>
            <a:off x="4132099" y="2251526"/>
            <a:ext cx="552628" cy="677108"/>
          </a:xfrm>
          <a:prstGeom prst="rect">
            <a:avLst/>
          </a:prstGeom>
          <a:noFill/>
        </p:spPr>
        <p:txBody>
          <a:bodyPr wrap="square" lIns="0" tIns="0" rIns="0" bIns="0" rtlCol="0" anchor="ctr" anchorCtr="1">
            <a:spAutoFit/>
          </a:bodyPr>
          <a:lstStyle/>
          <a:p>
            <a:pPr>
              <a:defRPr/>
            </a:pPr>
            <a:r>
              <a:rPr lang="en-CA" sz="4400" dirty="0">
                <a:solidFill>
                  <a:schemeClr val="bg1"/>
                </a:solidFill>
                <a:latin typeface="+mn-lt"/>
                <a:ea typeface="ＭＳ Ｐゴシック"/>
              </a:rPr>
              <a:t>1</a:t>
            </a: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7D0E91A2-7C88-9233-4B8A-3DFFFDF40428}"/>
              </a:ext>
            </a:extLst>
          </p:cNvPr>
          <p:cNvSpPr/>
          <p:nvPr/>
        </p:nvSpPr>
        <p:spPr>
          <a:xfrm flipH="1" flipV="1">
            <a:off x="5649641" y="4758176"/>
            <a:ext cx="872198" cy="872198"/>
          </a:xfrm>
          <a:prstGeom prst="ellipse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CA" sz="1600" dirty="0" err="1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CD8AD61-8840-592A-484C-C0A77581DE32}"/>
              </a:ext>
            </a:extLst>
          </p:cNvPr>
          <p:cNvSpPr txBox="1"/>
          <p:nvPr/>
        </p:nvSpPr>
        <p:spPr>
          <a:xfrm>
            <a:off x="5809426" y="4774428"/>
            <a:ext cx="552628" cy="677108"/>
          </a:xfrm>
          <a:prstGeom prst="rect">
            <a:avLst/>
          </a:prstGeom>
          <a:noFill/>
        </p:spPr>
        <p:txBody>
          <a:bodyPr wrap="square" lIns="0" tIns="0" rIns="0" bIns="0" rtlCol="0" anchor="ctr" anchorCtr="1">
            <a:spAutoFit/>
          </a:bodyPr>
          <a:lstStyle/>
          <a:p>
            <a:pPr>
              <a:defRPr/>
            </a:pPr>
            <a:r>
              <a:rPr lang="en-CA" sz="4400" dirty="0">
                <a:solidFill>
                  <a:schemeClr val="bg1"/>
                </a:solidFill>
                <a:latin typeface="+mn-lt"/>
                <a:ea typeface="ＭＳ Ｐゴシック"/>
              </a:rPr>
              <a:t>3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7EDBA324-0E93-4334-E071-6920C10B859C}"/>
              </a:ext>
            </a:extLst>
          </p:cNvPr>
          <p:cNvSpPr txBox="1"/>
          <p:nvPr/>
        </p:nvSpPr>
        <p:spPr>
          <a:xfrm>
            <a:off x="5067465" y="3315873"/>
            <a:ext cx="1817579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 algn="ctr">
              <a:defRPr/>
            </a:pPr>
            <a:r>
              <a:rPr lang="en-CA" sz="2400" b="1" dirty="0">
                <a:latin typeface="+mn-lt"/>
              </a:rPr>
              <a:t>HEADING</a:t>
            </a: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97252FE4-CEB4-0A6A-3068-6831B1BF77D2}"/>
              </a:ext>
            </a:extLst>
          </p:cNvPr>
          <p:cNvSpPr/>
          <p:nvPr/>
        </p:nvSpPr>
        <p:spPr>
          <a:xfrm>
            <a:off x="5091699" y="2662150"/>
            <a:ext cx="1769108" cy="1769111"/>
          </a:xfrm>
          <a:prstGeom prst="ellipse">
            <a:avLst/>
          </a:prstGeom>
          <a:noFill/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CA" sz="1200" dirty="0" err="1">
              <a:solidFill>
                <a:srgbClr val="000000"/>
              </a:solidFill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1374024378"/>
      </p:ext>
    </p:extLst>
  </p:cSld>
  <p:clrMapOvr>
    <a:masterClrMapping/>
  </p:clrMapOvr>
</p:sld>
</file>

<file path=ppt/slides/slide1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7AFF43-A93E-1445-0DC3-A0697C620C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think-cell data - do not delete" hidden="1">
            <a:extLst>
              <a:ext uri="{FF2B5EF4-FFF2-40B4-BE49-F238E27FC236}">
                <a16:creationId xmlns:a16="http://schemas.microsoft.com/office/drawing/2014/main" id="{DDF29F17-D38E-7A43-F4C8-DB19A09C16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9878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9FC36FF-44C4-0267-1824-47AE34207B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irc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458C8CB-661E-7AAC-C957-19942EDB55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68</a:t>
            </a:fld>
            <a:endParaRPr lang="en-US" dirty="0"/>
          </a:p>
        </p:txBody>
      </p:sp>
      <p:sp>
        <p:nvSpPr>
          <p:cNvPr id="5" name="Block Arc 4">
            <a:extLst>
              <a:ext uri="{FF2B5EF4-FFF2-40B4-BE49-F238E27FC236}">
                <a16:creationId xmlns:a16="http://schemas.microsoft.com/office/drawing/2014/main" id="{BC655675-41B0-52EF-7C2D-0B857D8C5153}"/>
              </a:ext>
            </a:extLst>
          </p:cNvPr>
          <p:cNvSpPr/>
          <p:nvPr/>
        </p:nvSpPr>
        <p:spPr>
          <a:xfrm>
            <a:off x="4274062" y="1809345"/>
            <a:ext cx="3404382" cy="3404382"/>
          </a:xfrm>
          <a:prstGeom prst="blockArc">
            <a:avLst>
              <a:gd name="adj1" fmla="val 10797617"/>
              <a:gd name="adj2" fmla="val 16093453"/>
              <a:gd name="adj3" fmla="val 10874"/>
            </a:avLst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CA" sz="1600" dirty="0" err="1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6" name="Block Arc 5">
            <a:extLst>
              <a:ext uri="{FF2B5EF4-FFF2-40B4-BE49-F238E27FC236}">
                <a16:creationId xmlns:a16="http://schemas.microsoft.com/office/drawing/2014/main" id="{9E7165AB-E63D-3D9F-C5C8-FCEBC32C19E1}"/>
              </a:ext>
            </a:extLst>
          </p:cNvPr>
          <p:cNvSpPr/>
          <p:nvPr/>
        </p:nvSpPr>
        <p:spPr>
          <a:xfrm>
            <a:off x="4541348" y="2076631"/>
            <a:ext cx="2869810" cy="2869810"/>
          </a:xfrm>
          <a:prstGeom prst="blockArc">
            <a:avLst>
              <a:gd name="adj1" fmla="val 11812030"/>
              <a:gd name="adj2" fmla="val 15378897"/>
              <a:gd name="adj3" fmla="val 11039"/>
            </a:avLst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CA" sz="1600" dirty="0" err="1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51A1B1B3-F860-B37B-5ED6-A160230F0F8E}"/>
              </a:ext>
            </a:extLst>
          </p:cNvPr>
          <p:cNvSpPr/>
          <p:nvPr/>
        </p:nvSpPr>
        <p:spPr>
          <a:xfrm>
            <a:off x="4217792" y="1753074"/>
            <a:ext cx="872198" cy="872198"/>
          </a:xfrm>
          <a:prstGeom prst="ellipse">
            <a:avLst/>
          </a:prstGeom>
          <a:solidFill>
            <a:schemeClr val="accent1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CA" sz="1600" dirty="0" err="1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8" name="Block Arc 7">
            <a:extLst>
              <a:ext uri="{FF2B5EF4-FFF2-40B4-BE49-F238E27FC236}">
                <a16:creationId xmlns:a16="http://schemas.microsoft.com/office/drawing/2014/main" id="{5DEE9C32-FEE5-3A7C-D95C-27A51C28B519}"/>
              </a:ext>
            </a:extLst>
          </p:cNvPr>
          <p:cNvSpPr/>
          <p:nvPr/>
        </p:nvSpPr>
        <p:spPr>
          <a:xfrm flipH="1">
            <a:off x="4274063" y="1809345"/>
            <a:ext cx="3404382" cy="3404382"/>
          </a:xfrm>
          <a:prstGeom prst="blockArc">
            <a:avLst>
              <a:gd name="adj1" fmla="val 10797617"/>
              <a:gd name="adj2" fmla="val 16093453"/>
              <a:gd name="adj3" fmla="val 10874"/>
            </a:avLst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CA" sz="1600" dirty="0" err="1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9" name="Block Arc 8">
            <a:extLst>
              <a:ext uri="{FF2B5EF4-FFF2-40B4-BE49-F238E27FC236}">
                <a16:creationId xmlns:a16="http://schemas.microsoft.com/office/drawing/2014/main" id="{053651AD-93F6-5F09-AB36-FAF485B2A448}"/>
              </a:ext>
            </a:extLst>
          </p:cNvPr>
          <p:cNvSpPr/>
          <p:nvPr/>
        </p:nvSpPr>
        <p:spPr>
          <a:xfrm flipH="1">
            <a:off x="4541349" y="2076631"/>
            <a:ext cx="2869810" cy="2869810"/>
          </a:xfrm>
          <a:prstGeom prst="blockArc">
            <a:avLst>
              <a:gd name="adj1" fmla="val 11812030"/>
              <a:gd name="adj2" fmla="val 15378897"/>
              <a:gd name="adj3" fmla="val 11039"/>
            </a:avLst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CA" sz="1600" dirty="0" err="1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1F2156C2-6F9E-CF1F-EB7F-9CD8EA1DD992}"/>
              </a:ext>
            </a:extLst>
          </p:cNvPr>
          <p:cNvSpPr/>
          <p:nvPr/>
        </p:nvSpPr>
        <p:spPr>
          <a:xfrm flipH="1">
            <a:off x="6862517" y="1753074"/>
            <a:ext cx="872198" cy="872198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CA" sz="1600" dirty="0" err="1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11" name="Block Arc 10">
            <a:extLst>
              <a:ext uri="{FF2B5EF4-FFF2-40B4-BE49-F238E27FC236}">
                <a16:creationId xmlns:a16="http://schemas.microsoft.com/office/drawing/2014/main" id="{0F5D94B0-7C59-DDDF-7F51-87791E72AAAE}"/>
              </a:ext>
            </a:extLst>
          </p:cNvPr>
          <p:cNvSpPr/>
          <p:nvPr/>
        </p:nvSpPr>
        <p:spPr>
          <a:xfrm flipV="1">
            <a:off x="4274062" y="1879683"/>
            <a:ext cx="3404382" cy="3404382"/>
          </a:xfrm>
          <a:prstGeom prst="blockArc">
            <a:avLst>
              <a:gd name="adj1" fmla="val 10797617"/>
              <a:gd name="adj2" fmla="val 16093453"/>
              <a:gd name="adj3" fmla="val 10874"/>
            </a:avLst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600" dirty="0" err="1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12" name="Block Arc 11">
            <a:extLst>
              <a:ext uri="{FF2B5EF4-FFF2-40B4-BE49-F238E27FC236}">
                <a16:creationId xmlns:a16="http://schemas.microsoft.com/office/drawing/2014/main" id="{F5D8EFB3-FC8C-D834-D12D-533F6FE746F8}"/>
              </a:ext>
            </a:extLst>
          </p:cNvPr>
          <p:cNvSpPr/>
          <p:nvPr/>
        </p:nvSpPr>
        <p:spPr>
          <a:xfrm flipV="1">
            <a:off x="4541348" y="2146969"/>
            <a:ext cx="2869810" cy="2869810"/>
          </a:xfrm>
          <a:prstGeom prst="blockArc">
            <a:avLst>
              <a:gd name="adj1" fmla="val 11812030"/>
              <a:gd name="adj2" fmla="val 15378897"/>
              <a:gd name="adj3" fmla="val 11039"/>
            </a:avLst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600" dirty="0" err="1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458687E8-6536-26AB-ACD1-7F27FAFF1F05}"/>
              </a:ext>
            </a:extLst>
          </p:cNvPr>
          <p:cNvSpPr/>
          <p:nvPr/>
        </p:nvSpPr>
        <p:spPr>
          <a:xfrm flipV="1">
            <a:off x="4217792" y="4468138"/>
            <a:ext cx="872198" cy="872198"/>
          </a:xfrm>
          <a:prstGeom prst="ellipse">
            <a:avLst/>
          </a:prstGeom>
          <a:solidFill>
            <a:schemeClr val="accent4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600" dirty="0" err="1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14" name="Block Arc 13">
            <a:extLst>
              <a:ext uri="{FF2B5EF4-FFF2-40B4-BE49-F238E27FC236}">
                <a16:creationId xmlns:a16="http://schemas.microsoft.com/office/drawing/2014/main" id="{55BE8403-F339-4123-A70A-2CE6BECC43EC}"/>
              </a:ext>
            </a:extLst>
          </p:cNvPr>
          <p:cNvSpPr>
            <a:spLocks/>
          </p:cNvSpPr>
          <p:nvPr/>
        </p:nvSpPr>
        <p:spPr>
          <a:xfrm flipH="1" flipV="1">
            <a:off x="4274063" y="1879683"/>
            <a:ext cx="3404382" cy="3404382"/>
          </a:xfrm>
          <a:prstGeom prst="blockArc">
            <a:avLst>
              <a:gd name="adj1" fmla="val 10797617"/>
              <a:gd name="adj2" fmla="val 16093453"/>
              <a:gd name="adj3" fmla="val 10874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CA" sz="1600" dirty="0" err="1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15" name="Block Arc 14">
            <a:extLst>
              <a:ext uri="{FF2B5EF4-FFF2-40B4-BE49-F238E27FC236}">
                <a16:creationId xmlns:a16="http://schemas.microsoft.com/office/drawing/2014/main" id="{00D8FF1E-61AD-FEF4-8EDA-1DC2090C9769}"/>
              </a:ext>
            </a:extLst>
          </p:cNvPr>
          <p:cNvSpPr/>
          <p:nvPr/>
        </p:nvSpPr>
        <p:spPr>
          <a:xfrm flipH="1" flipV="1">
            <a:off x="4541349" y="2146969"/>
            <a:ext cx="2869810" cy="2869810"/>
          </a:xfrm>
          <a:prstGeom prst="blockArc">
            <a:avLst>
              <a:gd name="adj1" fmla="val 11812030"/>
              <a:gd name="adj2" fmla="val 15378897"/>
              <a:gd name="adj3" fmla="val 11039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CA" sz="1600" dirty="0" err="1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5EAADEAF-96A1-518E-8FD8-06C47ABF781E}"/>
              </a:ext>
            </a:extLst>
          </p:cNvPr>
          <p:cNvSpPr/>
          <p:nvPr/>
        </p:nvSpPr>
        <p:spPr>
          <a:xfrm flipH="1" flipV="1">
            <a:off x="6862517" y="4468138"/>
            <a:ext cx="872198" cy="872198"/>
          </a:xfrm>
          <a:prstGeom prst="ellipse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CA" sz="1600" dirty="0" err="1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E86BCCD-40ED-AC35-B9ED-1364AC0E82B1}"/>
              </a:ext>
            </a:extLst>
          </p:cNvPr>
          <p:cNvSpPr txBox="1">
            <a:spLocks/>
          </p:cNvSpPr>
          <p:nvPr/>
        </p:nvSpPr>
        <p:spPr>
          <a:xfrm>
            <a:off x="1443097" y="1516445"/>
            <a:ext cx="2583380" cy="2769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lvl="0" algn="r">
              <a:defRPr/>
            </a:pPr>
            <a:r>
              <a:rPr lang="en-US" b="1" dirty="0">
                <a:solidFill>
                  <a:schemeClr val="accent1"/>
                </a:solidFill>
                <a:latin typeface="+mn-lt"/>
                <a:cs typeface="Calibri" panose="020F0502020204030204" pitchFamily="34" charset="0"/>
              </a:rPr>
              <a:t>HEADING</a:t>
            </a:r>
            <a:endParaRPr lang="en-CA" b="1" dirty="0">
              <a:solidFill>
                <a:schemeClr val="accent1"/>
              </a:solidFill>
              <a:latin typeface="+mn-lt"/>
              <a:ea typeface="ＭＳ Ｐゴシック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87CA1E4-1CD2-379E-9D5B-5CFB8E507E51}"/>
              </a:ext>
            </a:extLst>
          </p:cNvPr>
          <p:cNvSpPr txBox="1">
            <a:spLocks/>
          </p:cNvSpPr>
          <p:nvPr/>
        </p:nvSpPr>
        <p:spPr>
          <a:xfrm>
            <a:off x="1443097" y="1828051"/>
            <a:ext cx="2583380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r">
              <a:defRPr/>
            </a:pPr>
            <a:r>
              <a:rPr lang="en-IN" dirty="0">
                <a:latin typeface="+mn-lt"/>
                <a:cs typeface="Calibri" panose="020F0502020204030204" pitchFamily="34" charset="0"/>
              </a:rPr>
              <a:t>Insert your text here Insert your text here Insert your text</a:t>
            </a:r>
            <a:endParaRPr lang="en-CA" dirty="0">
              <a:latin typeface="+mn-lt"/>
              <a:ea typeface="ＭＳ Ｐゴシック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8A1A51D-DAD8-7F8F-378E-9747E82E5859}"/>
              </a:ext>
            </a:extLst>
          </p:cNvPr>
          <p:cNvSpPr txBox="1">
            <a:spLocks/>
          </p:cNvSpPr>
          <p:nvPr/>
        </p:nvSpPr>
        <p:spPr>
          <a:xfrm>
            <a:off x="1443097" y="4456593"/>
            <a:ext cx="2583380" cy="2769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lvl="0" algn="r">
              <a:defRPr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chemeClr val="accent4"/>
                </a:solidFill>
                <a:latin typeface="+mn-lt"/>
                <a:cs typeface="Calibri" panose="020F0502020204030204" pitchFamily="34" charset="0"/>
              </a:rPr>
              <a:t>HEADING</a:t>
            </a:r>
            <a:endParaRPr lang="en-CA" dirty="0">
              <a:solidFill>
                <a:schemeClr val="accent4"/>
              </a:solidFill>
              <a:latin typeface="+mn-lt"/>
              <a:cs typeface="Calibri" panose="020F050202020403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E31FD59-0379-83D9-F99B-277E1FCCB476}"/>
              </a:ext>
            </a:extLst>
          </p:cNvPr>
          <p:cNvSpPr txBox="1">
            <a:spLocks/>
          </p:cNvSpPr>
          <p:nvPr/>
        </p:nvSpPr>
        <p:spPr>
          <a:xfrm>
            <a:off x="1443097" y="4768199"/>
            <a:ext cx="2583380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r">
              <a:defRPr/>
            </a:pPr>
            <a:r>
              <a:rPr lang="en-IN" dirty="0">
                <a:latin typeface="+mn-lt"/>
                <a:cs typeface="Calibri" panose="020F0502020204030204" pitchFamily="34" charset="0"/>
              </a:rPr>
              <a:t>Insert your text here Insert your text here Insert your text</a:t>
            </a:r>
            <a:endParaRPr lang="en-CA" dirty="0">
              <a:latin typeface="+mn-lt"/>
              <a:ea typeface="ＭＳ Ｐゴシック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E3DFFA5-95A7-AB81-3A0D-E10F66C3E540}"/>
              </a:ext>
            </a:extLst>
          </p:cNvPr>
          <p:cNvSpPr txBox="1">
            <a:spLocks/>
          </p:cNvSpPr>
          <p:nvPr/>
        </p:nvSpPr>
        <p:spPr>
          <a:xfrm>
            <a:off x="7922635" y="1516445"/>
            <a:ext cx="2583380" cy="2769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lvl="0" algn="r">
              <a:defRPr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l"/>
            <a:r>
              <a:rPr lang="en-CA" dirty="0">
                <a:solidFill>
                  <a:schemeClr val="accent2"/>
                </a:solidFill>
                <a:latin typeface="+mn-lt"/>
                <a:cs typeface="Calibri" panose="020F0502020204030204" pitchFamily="34" charset="0"/>
              </a:rPr>
              <a:t>HEADING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3702E75-CE20-F9A8-B6C1-5839D44B69BB}"/>
              </a:ext>
            </a:extLst>
          </p:cNvPr>
          <p:cNvSpPr txBox="1">
            <a:spLocks/>
          </p:cNvSpPr>
          <p:nvPr/>
        </p:nvSpPr>
        <p:spPr>
          <a:xfrm>
            <a:off x="7922635" y="1828051"/>
            <a:ext cx="2583380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>
              <a:defRPr/>
            </a:pPr>
            <a:r>
              <a:rPr lang="en-IN" dirty="0">
                <a:latin typeface="+mn-lt"/>
                <a:cs typeface="Calibri" panose="020F0502020204030204" pitchFamily="34" charset="0"/>
              </a:rPr>
              <a:t>Insert your text here Insert your text here Insert your text</a:t>
            </a:r>
            <a:endParaRPr lang="en-CA" dirty="0">
              <a:latin typeface="+mn-lt"/>
              <a:ea typeface="ＭＳ Ｐゴシック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B4B9D21-1763-056A-3D39-1AD265AF90CD}"/>
              </a:ext>
            </a:extLst>
          </p:cNvPr>
          <p:cNvSpPr txBox="1">
            <a:spLocks/>
          </p:cNvSpPr>
          <p:nvPr/>
        </p:nvSpPr>
        <p:spPr>
          <a:xfrm>
            <a:off x="7922635" y="4456593"/>
            <a:ext cx="2583380" cy="2769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lvl="0" algn="r">
              <a:defRPr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l"/>
            <a:r>
              <a:rPr lang="en-US" dirty="0">
                <a:solidFill>
                  <a:schemeClr val="accent3">
                    <a:lumMod val="75000"/>
                  </a:schemeClr>
                </a:solidFill>
                <a:latin typeface="+mn-lt"/>
                <a:cs typeface="Calibri" panose="020F0502020204030204" pitchFamily="34" charset="0"/>
              </a:rPr>
              <a:t>HEADING</a:t>
            </a:r>
            <a:endParaRPr lang="en-CA" dirty="0">
              <a:solidFill>
                <a:schemeClr val="accent3">
                  <a:lumMod val="75000"/>
                </a:schemeClr>
              </a:solidFill>
              <a:latin typeface="+mn-lt"/>
              <a:cs typeface="Calibri" panose="020F050202020403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89E5050F-2B18-5FEB-ADA6-8FA13CA9206C}"/>
              </a:ext>
            </a:extLst>
          </p:cNvPr>
          <p:cNvSpPr txBox="1">
            <a:spLocks/>
          </p:cNvSpPr>
          <p:nvPr/>
        </p:nvSpPr>
        <p:spPr>
          <a:xfrm>
            <a:off x="7922635" y="4768199"/>
            <a:ext cx="2583380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>
              <a:defRPr/>
            </a:pPr>
            <a:r>
              <a:rPr lang="en-IN" dirty="0">
                <a:latin typeface="+mn-lt"/>
                <a:cs typeface="Calibri" panose="020F0502020204030204" pitchFamily="34" charset="0"/>
              </a:rPr>
              <a:t>Insert your text here Insert your text here Insert your text</a:t>
            </a:r>
            <a:endParaRPr lang="en-CA" dirty="0">
              <a:latin typeface="+mn-lt"/>
              <a:ea typeface="ＭＳ Ｐゴシック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D53DCE14-B09D-EA5D-61F2-D1D09C626C47}"/>
              </a:ext>
            </a:extLst>
          </p:cNvPr>
          <p:cNvSpPr txBox="1"/>
          <p:nvPr/>
        </p:nvSpPr>
        <p:spPr>
          <a:xfrm>
            <a:off x="7022302" y="1827256"/>
            <a:ext cx="552628" cy="677108"/>
          </a:xfrm>
          <a:prstGeom prst="rect">
            <a:avLst/>
          </a:prstGeom>
          <a:noFill/>
        </p:spPr>
        <p:txBody>
          <a:bodyPr wrap="square" lIns="0" tIns="0" rIns="0" bIns="0" rtlCol="0" anchor="ctr" anchorCtr="1">
            <a:spAutoFit/>
          </a:bodyPr>
          <a:lstStyle/>
          <a:p>
            <a:pPr>
              <a:defRPr/>
            </a:pPr>
            <a:r>
              <a:rPr lang="en-CA" sz="4400" dirty="0">
                <a:solidFill>
                  <a:schemeClr val="bg1"/>
                </a:solidFill>
                <a:latin typeface="+mn-lt"/>
                <a:ea typeface="ＭＳ Ｐゴシック"/>
              </a:rPr>
              <a:t>2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48F1CD1A-CCE3-712E-34F0-FEE2D15E1BFF}"/>
              </a:ext>
            </a:extLst>
          </p:cNvPr>
          <p:cNvSpPr txBox="1"/>
          <p:nvPr/>
        </p:nvSpPr>
        <p:spPr>
          <a:xfrm>
            <a:off x="4377577" y="1773246"/>
            <a:ext cx="552628" cy="677108"/>
          </a:xfrm>
          <a:prstGeom prst="rect">
            <a:avLst/>
          </a:prstGeom>
          <a:noFill/>
        </p:spPr>
        <p:txBody>
          <a:bodyPr wrap="square" lIns="0" tIns="0" rIns="0" bIns="0" rtlCol="0" anchor="ctr" anchorCtr="1">
            <a:spAutoFit/>
          </a:bodyPr>
          <a:lstStyle/>
          <a:p>
            <a:pPr>
              <a:defRPr/>
            </a:pPr>
            <a:r>
              <a:rPr lang="en-CA" sz="4400" dirty="0">
                <a:solidFill>
                  <a:schemeClr val="bg1"/>
                </a:solidFill>
                <a:latin typeface="+mn-lt"/>
                <a:ea typeface="ＭＳ Ｐゴシック"/>
              </a:rPr>
              <a:t>1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5032E70-4AC9-BB5B-DFAD-CA4BC7F9D2E3}"/>
              </a:ext>
            </a:extLst>
          </p:cNvPr>
          <p:cNvSpPr txBox="1"/>
          <p:nvPr/>
        </p:nvSpPr>
        <p:spPr>
          <a:xfrm>
            <a:off x="7022302" y="4484390"/>
            <a:ext cx="552628" cy="677108"/>
          </a:xfrm>
          <a:prstGeom prst="rect">
            <a:avLst/>
          </a:prstGeom>
          <a:noFill/>
        </p:spPr>
        <p:txBody>
          <a:bodyPr wrap="square" lIns="0" tIns="0" rIns="0" bIns="0" rtlCol="0" anchor="ctr" anchorCtr="1">
            <a:spAutoFit/>
          </a:bodyPr>
          <a:lstStyle/>
          <a:p>
            <a:pPr>
              <a:defRPr/>
            </a:pPr>
            <a:r>
              <a:rPr lang="en-CA" sz="4400" dirty="0">
                <a:solidFill>
                  <a:schemeClr val="bg1"/>
                </a:solidFill>
                <a:latin typeface="+mn-lt"/>
                <a:ea typeface="ＭＳ Ｐゴシック"/>
              </a:rPr>
              <a:t>3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417C97C-5CD4-97F1-06AC-BD53347C4730}"/>
              </a:ext>
            </a:extLst>
          </p:cNvPr>
          <p:cNvSpPr txBox="1"/>
          <p:nvPr/>
        </p:nvSpPr>
        <p:spPr>
          <a:xfrm>
            <a:off x="4374411" y="4533977"/>
            <a:ext cx="552628" cy="677108"/>
          </a:xfrm>
          <a:prstGeom prst="rect">
            <a:avLst/>
          </a:prstGeom>
          <a:noFill/>
        </p:spPr>
        <p:txBody>
          <a:bodyPr wrap="square" lIns="0" tIns="0" rIns="0" bIns="0" rtlCol="0" anchor="ctr" anchorCtr="1">
            <a:spAutoFit/>
          </a:bodyPr>
          <a:lstStyle/>
          <a:p>
            <a:pPr>
              <a:defRPr/>
            </a:pPr>
            <a:r>
              <a:rPr lang="en-CA" sz="4400" dirty="0">
                <a:solidFill>
                  <a:schemeClr val="bg1"/>
                </a:solidFill>
                <a:latin typeface="+mn-lt"/>
                <a:ea typeface="ＭＳ Ｐゴシック"/>
              </a:rPr>
              <a:t>4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501AF79-DF5F-F8ED-2C63-A8C5274D7B27}"/>
              </a:ext>
            </a:extLst>
          </p:cNvPr>
          <p:cNvSpPr txBox="1"/>
          <p:nvPr/>
        </p:nvSpPr>
        <p:spPr>
          <a:xfrm>
            <a:off x="5067465" y="3315873"/>
            <a:ext cx="1817579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 algn="ctr">
              <a:defRPr/>
            </a:pPr>
            <a:r>
              <a:rPr lang="en-CA" sz="2400" b="1" dirty="0">
                <a:latin typeface="+mn-lt"/>
              </a:rPr>
              <a:t>HEADING</a:t>
            </a: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86E4316E-0E4B-03F4-ADF7-5B892838083D}"/>
              </a:ext>
            </a:extLst>
          </p:cNvPr>
          <p:cNvSpPr/>
          <p:nvPr/>
        </p:nvSpPr>
        <p:spPr>
          <a:xfrm>
            <a:off x="5091699" y="2662150"/>
            <a:ext cx="1769108" cy="1769111"/>
          </a:xfrm>
          <a:prstGeom prst="ellipse">
            <a:avLst/>
          </a:prstGeom>
          <a:noFill/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CA" sz="1200" dirty="0" err="1">
              <a:solidFill>
                <a:srgbClr val="000000"/>
              </a:solidFill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454227837"/>
      </p:ext>
    </p:extLst>
  </p:cSld>
  <p:clrMapOvr>
    <a:masterClrMapping/>
  </p:clrMapOvr>
</p:sld>
</file>

<file path=ppt/slides/slide1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22E311D-0488-C90F-97D4-775768F0A6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2" name="think-cell data - do not delete" hidden="1">
            <a:extLst>
              <a:ext uri="{FF2B5EF4-FFF2-40B4-BE49-F238E27FC236}">
                <a16:creationId xmlns:a16="http://schemas.microsoft.com/office/drawing/2014/main" id="{DA03EFC4-000F-9178-A16C-88FCBF994D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83654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6D97C0E-5F25-DB23-DA95-5B09166E13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irc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B4E8BEC-E1F6-15FC-36BC-ECEDB76400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69</a:t>
            </a:fld>
            <a:endParaRPr lang="en-US" dirty="0"/>
          </a:p>
        </p:txBody>
      </p:sp>
      <p:sp>
        <p:nvSpPr>
          <p:cNvPr id="84" name="Freeform 5">
            <a:extLst>
              <a:ext uri="{FF2B5EF4-FFF2-40B4-BE49-F238E27FC236}">
                <a16:creationId xmlns:a16="http://schemas.microsoft.com/office/drawing/2014/main" id="{9B9BDFF7-7632-DA2A-6167-22736FB5E0B2}"/>
              </a:ext>
            </a:extLst>
          </p:cNvPr>
          <p:cNvSpPr>
            <a:spLocks/>
          </p:cNvSpPr>
          <p:nvPr/>
        </p:nvSpPr>
        <p:spPr bwMode="auto">
          <a:xfrm>
            <a:off x="5976823" y="1790700"/>
            <a:ext cx="1634363" cy="1715815"/>
          </a:xfrm>
          <a:custGeom>
            <a:avLst/>
            <a:gdLst>
              <a:gd name="T0" fmla="*/ 0 w 1435"/>
              <a:gd name="T1" fmla="*/ 0 h 1515"/>
              <a:gd name="T2" fmla="*/ 120 w 1435"/>
              <a:gd name="T3" fmla="*/ 6 h 1515"/>
              <a:gd name="T4" fmla="*/ 240 w 1435"/>
              <a:gd name="T5" fmla="*/ 23 h 1515"/>
              <a:gd name="T6" fmla="*/ 354 w 1435"/>
              <a:gd name="T7" fmla="*/ 46 h 1515"/>
              <a:gd name="T8" fmla="*/ 469 w 1435"/>
              <a:gd name="T9" fmla="*/ 75 h 1515"/>
              <a:gd name="T10" fmla="*/ 583 w 1435"/>
              <a:gd name="T11" fmla="*/ 121 h 1515"/>
              <a:gd name="T12" fmla="*/ 686 w 1435"/>
              <a:gd name="T13" fmla="*/ 167 h 1515"/>
              <a:gd name="T14" fmla="*/ 789 w 1435"/>
              <a:gd name="T15" fmla="*/ 224 h 1515"/>
              <a:gd name="T16" fmla="*/ 886 w 1435"/>
              <a:gd name="T17" fmla="*/ 293 h 1515"/>
              <a:gd name="T18" fmla="*/ 978 w 1435"/>
              <a:gd name="T19" fmla="*/ 362 h 1515"/>
              <a:gd name="T20" fmla="*/ 1063 w 1435"/>
              <a:gd name="T21" fmla="*/ 442 h 1515"/>
              <a:gd name="T22" fmla="*/ 1143 w 1435"/>
              <a:gd name="T23" fmla="*/ 528 h 1515"/>
              <a:gd name="T24" fmla="*/ 1218 w 1435"/>
              <a:gd name="T25" fmla="*/ 620 h 1515"/>
              <a:gd name="T26" fmla="*/ 1281 w 1435"/>
              <a:gd name="T27" fmla="*/ 723 h 1515"/>
              <a:gd name="T28" fmla="*/ 1343 w 1435"/>
              <a:gd name="T29" fmla="*/ 827 h 1515"/>
              <a:gd name="T30" fmla="*/ 1395 w 1435"/>
              <a:gd name="T31" fmla="*/ 936 h 1515"/>
              <a:gd name="T32" fmla="*/ 1435 w 1435"/>
              <a:gd name="T33" fmla="*/ 1050 h 1515"/>
              <a:gd name="T34" fmla="*/ 0 w 1435"/>
              <a:gd name="T35" fmla="*/ 1515 h 1515"/>
              <a:gd name="T36" fmla="*/ 0 w 1435"/>
              <a:gd name="T37" fmla="*/ 0 h 15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435" h="1515">
                <a:moveTo>
                  <a:pt x="0" y="0"/>
                </a:moveTo>
                <a:lnTo>
                  <a:pt x="120" y="6"/>
                </a:lnTo>
                <a:lnTo>
                  <a:pt x="240" y="23"/>
                </a:lnTo>
                <a:lnTo>
                  <a:pt x="354" y="46"/>
                </a:lnTo>
                <a:lnTo>
                  <a:pt x="469" y="75"/>
                </a:lnTo>
                <a:lnTo>
                  <a:pt x="583" y="121"/>
                </a:lnTo>
                <a:lnTo>
                  <a:pt x="686" y="167"/>
                </a:lnTo>
                <a:lnTo>
                  <a:pt x="789" y="224"/>
                </a:lnTo>
                <a:lnTo>
                  <a:pt x="886" y="293"/>
                </a:lnTo>
                <a:lnTo>
                  <a:pt x="978" y="362"/>
                </a:lnTo>
                <a:lnTo>
                  <a:pt x="1063" y="442"/>
                </a:lnTo>
                <a:lnTo>
                  <a:pt x="1143" y="528"/>
                </a:lnTo>
                <a:lnTo>
                  <a:pt x="1218" y="620"/>
                </a:lnTo>
                <a:lnTo>
                  <a:pt x="1281" y="723"/>
                </a:lnTo>
                <a:lnTo>
                  <a:pt x="1343" y="827"/>
                </a:lnTo>
                <a:lnTo>
                  <a:pt x="1395" y="936"/>
                </a:lnTo>
                <a:lnTo>
                  <a:pt x="1435" y="1050"/>
                </a:lnTo>
                <a:lnTo>
                  <a:pt x="0" y="151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85" name="Freeform 7">
            <a:extLst>
              <a:ext uri="{FF2B5EF4-FFF2-40B4-BE49-F238E27FC236}">
                <a16:creationId xmlns:a16="http://schemas.microsoft.com/office/drawing/2014/main" id="{FB03D189-2893-502F-C079-4E7BB0834A6B}"/>
              </a:ext>
            </a:extLst>
          </p:cNvPr>
          <p:cNvSpPr>
            <a:spLocks/>
          </p:cNvSpPr>
          <p:nvPr/>
        </p:nvSpPr>
        <p:spPr bwMode="auto">
          <a:xfrm>
            <a:off x="5976823" y="2979879"/>
            <a:ext cx="1718643" cy="1917409"/>
          </a:xfrm>
          <a:custGeom>
            <a:avLst/>
            <a:gdLst>
              <a:gd name="T0" fmla="*/ 1435 w 1509"/>
              <a:gd name="T1" fmla="*/ 0 h 1693"/>
              <a:gd name="T2" fmla="*/ 1469 w 1509"/>
              <a:gd name="T3" fmla="*/ 115 h 1693"/>
              <a:gd name="T4" fmla="*/ 1492 w 1509"/>
              <a:gd name="T5" fmla="*/ 236 h 1693"/>
              <a:gd name="T6" fmla="*/ 1504 w 1509"/>
              <a:gd name="T7" fmla="*/ 356 h 1693"/>
              <a:gd name="T8" fmla="*/ 1509 w 1509"/>
              <a:gd name="T9" fmla="*/ 471 h 1693"/>
              <a:gd name="T10" fmla="*/ 1504 w 1509"/>
              <a:gd name="T11" fmla="*/ 591 h 1693"/>
              <a:gd name="T12" fmla="*/ 1492 w 1509"/>
              <a:gd name="T13" fmla="*/ 706 h 1693"/>
              <a:gd name="T14" fmla="*/ 1469 w 1509"/>
              <a:gd name="T15" fmla="*/ 821 h 1693"/>
              <a:gd name="T16" fmla="*/ 1435 w 1509"/>
              <a:gd name="T17" fmla="*/ 936 h 1693"/>
              <a:gd name="T18" fmla="*/ 1395 w 1509"/>
              <a:gd name="T19" fmla="*/ 1045 h 1693"/>
              <a:gd name="T20" fmla="*/ 1343 w 1509"/>
              <a:gd name="T21" fmla="*/ 1154 h 1693"/>
              <a:gd name="T22" fmla="*/ 1286 w 1509"/>
              <a:gd name="T23" fmla="*/ 1257 h 1693"/>
              <a:gd name="T24" fmla="*/ 1223 w 1509"/>
              <a:gd name="T25" fmla="*/ 1355 h 1693"/>
              <a:gd name="T26" fmla="*/ 1149 w 1509"/>
              <a:gd name="T27" fmla="*/ 1446 h 1693"/>
              <a:gd name="T28" fmla="*/ 1069 w 1509"/>
              <a:gd name="T29" fmla="*/ 1538 h 1693"/>
              <a:gd name="T30" fmla="*/ 983 w 1509"/>
              <a:gd name="T31" fmla="*/ 1618 h 1693"/>
              <a:gd name="T32" fmla="*/ 886 w 1509"/>
              <a:gd name="T33" fmla="*/ 1693 h 1693"/>
              <a:gd name="T34" fmla="*/ 0 w 1509"/>
              <a:gd name="T35" fmla="*/ 465 h 1693"/>
              <a:gd name="T36" fmla="*/ 1435 w 1509"/>
              <a:gd name="T37" fmla="*/ 0 h 16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509" h="1693">
                <a:moveTo>
                  <a:pt x="1435" y="0"/>
                </a:moveTo>
                <a:lnTo>
                  <a:pt x="1469" y="115"/>
                </a:lnTo>
                <a:lnTo>
                  <a:pt x="1492" y="236"/>
                </a:lnTo>
                <a:lnTo>
                  <a:pt x="1504" y="356"/>
                </a:lnTo>
                <a:lnTo>
                  <a:pt x="1509" y="471"/>
                </a:lnTo>
                <a:lnTo>
                  <a:pt x="1504" y="591"/>
                </a:lnTo>
                <a:lnTo>
                  <a:pt x="1492" y="706"/>
                </a:lnTo>
                <a:lnTo>
                  <a:pt x="1469" y="821"/>
                </a:lnTo>
                <a:lnTo>
                  <a:pt x="1435" y="936"/>
                </a:lnTo>
                <a:lnTo>
                  <a:pt x="1395" y="1045"/>
                </a:lnTo>
                <a:lnTo>
                  <a:pt x="1343" y="1154"/>
                </a:lnTo>
                <a:lnTo>
                  <a:pt x="1286" y="1257"/>
                </a:lnTo>
                <a:lnTo>
                  <a:pt x="1223" y="1355"/>
                </a:lnTo>
                <a:lnTo>
                  <a:pt x="1149" y="1446"/>
                </a:lnTo>
                <a:lnTo>
                  <a:pt x="1069" y="1538"/>
                </a:lnTo>
                <a:lnTo>
                  <a:pt x="983" y="1618"/>
                </a:lnTo>
                <a:lnTo>
                  <a:pt x="886" y="1693"/>
                </a:lnTo>
                <a:lnTo>
                  <a:pt x="0" y="465"/>
                </a:lnTo>
                <a:lnTo>
                  <a:pt x="1435" y="0"/>
                </a:lnTo>
                <a:close/>
              </a:path>
            </a:pathLst>
          </a:custGeom>
          <a:solidFill>
            <a:schemeClr val="accent2"/>
          </a:solidFill>
          <a:ln w="571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/>
          </a:p>
        </p:txBody>
      </p:sp>
      <p:sp>
        <p:nvSpPr>
          <p:cNvPr id="86" name="Freeform 9">
            <a:extLst>
              <a:ext uri="{FF2B5EF4-FFF2-40B4-BE49-F238E27FC236}">
                <a16:creationId xmlns:a16="http://schemas.microsoft.com/office/drawing/2014/main" id="{3300660C-193A-0364-3EF8-BF2ADEF7842C}"/>
              </a:ext>
            </a:extLst>
          </p:cNvPr>
          <p:cNvSpPr>
            <a:spLocks/>
          </p:cNvSpPr>
          <p:nvPr/>
        </p:nvSpPr>
        <p:spPr bwMode="auto">
          <a:xfrm>
            <a:off x="4967731" y="3506515"/>
            <a:ext cx="2018181" cy="1722611"/>
          </a:xfrm>
          <a:custGeom>
            <a:avLst/>
            <a:gdLst>
              <a:gd name="T0" fmla="*/ 1772 w 1772"/>
              <a:gd name="T1" fmla="*/ 1228 h 1521"/>
              <a:gd name="T2" fmla="*/ 1669 w 1772"/>
              <a:gd name="T3" fmla="*/ 1297 h 1521"/>
              <a:gd name="T4" fmla="*/ 1566 w 1772"/>
              <a:gd name="T5" fmla="*/ 1354 h 1521"/>
              <a:gd name="T6" fmla="*/ 1458 w 1772"/>
              <a:gd name="T7" fmla="*/ 1406 h 1521"/>
              <a:gd name="T8" fmla="*/ 1343 w 1772"/>
              <a:gd name="T9" fmla="*/ 1446 h 1521"/>
              <a:gd name="T10" fmla="*/ 1235 w 1772"/>
              <a:gd name="T11" fmla="*/ 1475 h 1521"/>
              <a:gd name="T12" fmla="*/ 1120 w 1772"/>
              <a:gd name="T13" fmla="*/ 1498 h 1521"/>
              <a:gd name="T14" fmla="*/ 1000 w 1772"/>
              <a:gd name="T15" fmla="*/ 1515 h 1521"/>
              <a:gd name="T16" fmla="*/ 886 w 1772"/>
              <a:gd name="T17" fmla="*/ 1521 h 1521"/>
              <a:gd name="T18" fmla="*/ 766 w 1772"/>
              <a:gd name="T19" fmla="*/ 1515 h 1521"/>
              <a:gd name="T20" fmla="*/ 651 w 1772"/>
              <a:gd name="T21" fmla="*/ 1498 h 1521"/>
              <a:gd name="T22" fmla="*/ 537 w 1772"/>
              <a:gd name="T23" fmla="*/ 1475 h 1521"/>
              <a:gd name="T24" fmla="*/ 423 w 1772"/>
              <a:gd name="T25" fmla="*/ 1446 h 1521"/>
              <a:gd name="T26" fmla="*/ 314 w 1772"/>
              <a:gd name="T27" fmla="*/ 1406 h 1521"/>
              <a:gd name="T28" fmla="*/ 205 w 1772"/>
              <a:gd name="T29" fmla="*/ 1354 h 1521"/>
              <a:gd name="T30" fmla="*/ 97 w 1772"/>
              <a:gd name="T31" fmla="*/ 1297 h 1521"/>
              <a:gd name="T32" fmla="*/ 0 w 1772"/>
              <a:gd name="T33" fmla="*/ 1228 h 1521"/>
              <a:gd name="T34" fmla="*/ 886 w 1772"/>
              <a:gd name="T35" fmla="*/ 0 h 1521"/>
              <a:gd name="T36" fmla="*/ 1772 w 1772"/>
              <a:gd name="T37" fmla="*/ 1228 h 15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772" h="1521">
                <a:moveTo>
                  <a:pt x="1772" y="1228"/>
                </a:moveTo>
                <a:lnTo>
                  <a:pt x="1669" y="1297"/>
                </a:lnTo>
                <a:lnTo>
                  <a:pt x="1566" y="1354"/>
                </a:lnTo>
                <a:lnTo>
                  <a:pt x="1458" y="1406"/>
                </a:lnTo>
                <a:lnTo>
                  <a:pt x="1343" y="1446"/>
                </a:lnTo>
                <a:lnTo>
                  <a:pt x="1235" y="1475"/>
                </a:lnTo>
                <a:lnTo>
                  <a:pt x="1120" y="1498"/>
                </a:lnTo>
                <a:lnTo>
                  <a:pt x="1000" y="1515"/>
                </a:lnTo>
                <a:lnTo>
                  <a:pt x="886" y="1521"/>
                </a:lnTo>
                <a:lnTo>
                  <a:pt x="766" y="1515"/>
                </a:lnTo>
                <a:lnTo>
                  <a:pt x="651" y="1498"/>
                </a:lnTo>
                <a:lnTo>
                  <a:pt x="537" y="1475"/>
                </a:lnTo>
                <a:lnTo>
                  <a:pt x="423" y="1446"/>
                </a:lnTo>
                <a:lnTo>
                  <a:pt x="314" y="1406"/>
                </a:lnTo>
                <a:lnTo>
                  <a:pt x="205" y="1354"/>
                </a:lnTo>
                <a:lnTo>
                  <a:pt x="97" y="1297"/>
                </a:lnTo>
                <a:lnTo>
                  <a:pt x="0" y="1228"/>
                </a:lnTo>
                <a:lnTo>
                  <a:pt x="886" y="0"/>
                </a:lnTo>
                <a:lnTo>
                  <a:pt x="1772" y="1228"/>
                </a:lnTo>
                <a:close/>
              </a:path>
            </a:pathLst>
          </a:custGeom>
          <a:solidFill>
            <a:schemeClr val="accent3"/>
          </a:solidFill>
          <a:ln w="571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/>
          </a:p>
        </p:txBody>
      </p:sp>
      <p:sp>
        <p:nvSpPr>
          <p:cNvPr id="87" name="Freeform 11">
            <a:extLst>
              <a:ext uri="{FF2B5EF4-FFF2-40B4-BE49-F238E27FC236}">
                <a16:creationId xmlns:a16="http://schemas.microsoft.com/office/drawing/2014/main" id="{63A1B921-425F-AB93-4DE4-CCDAF2E21479}"/>
              </a:ext>
            </a:extLst>
          </p:cNvPr>
          <p:cNvSpPr>
            <a:spLocks/>
          </p:cNvSpPr>
          <p:nvPr/>
        </p:nvSpPr>
        <p:spPr bwMode="auto">
          <a:xfrm>
            <a:off x="4257040" y="2979879"/>
            <a:ext cx="1719782" cy="1917409"/>
          </a:xfrm>
          <a:custGeom>
            <a:avLst/>
            <a:gdLst>
              <a:gd name="T0" fmla="*/ 624 w 1510"/>
              <a:gd name="T1" fmla="*/ 1693 h 1693"/>
              <a:gd name="T2" fmla="*/ 526 w 1510"/>
              <a:gd name="T3" fmla="*/ 1618 h 1693"/>
              <a:gd name="T4" fmla="*/ 435 w 1510"/>
              <a:gd name="T5" fmla="*/ 1538 h 1693"/>
              <a:gd name="T6" fmla="*/ 355 w 1510"/>
              <a:gd name="T7" fmla="*/ 1446 h 1693"/>
              <a:gd name="T8" fmla="*/ 286 w 1510"/>
              <a:gd name="T9" fmla="*/ 1355 h 1693"/>
              <a:gd name="T10" fmla="*/ 218 w 1510"/>
              <a:gd name="T11" fmla="*/ 1257 h 1693"/>
              <a:gd name="T12" fmla="*/ 161 w 1510"/>
              <a:gd name="T13" fmla="*/ 1154 h 1693"/>
              <a:gd name="T14" fmla="*/ 115 w 1510"/>
              <a:gd name="T15" fmla="*/ 1045 h 1693"/>
              <a:gd name="T16" fmla="*/ 75 w 1510"/>
              <a:gd name="T17" fmla="*/ 936 h 1693"/>
              <a:gd name="T18" fmla="*/ 40 w 1510"/>
              <a:gd name="T19" fmla="*/ 821 h 1693"/>
              <a:gd name="T20" fmla="*/ 18 w 1510"/>
              <a:gd name="T21" fmla="*/ 706 h 1693"/>
              <a:gd name="T22" fmla="*/ 6 w 1510"/>
              <a:gd name="T23" fmla="*/ 591 h 1693"/>
              <a:gd name="T24" fmla="*/ 0 w 1510"/>
              <a:gd name="T25" fmla="*/ 471 h 1693"/>
              <a:gd name="T26" fmla="*/ 0 w 1510"/>
              <a:gd name="T27" fmla="*/ 356 h 1693"/>
              <a:gd name="T28" fmla="*/ 18 w 1510"/>
              <a:gd name="T29" fmla="*/ 236 h 1693"/>
              <a:gd name="T30" fmla="*/ 40 w 1510"/>
              <a:gd name="T31" fmla="*/ 115 h 1693"/>
              <a:gd name="T32" fmla="*/ 75 w 1510"/>
              <a:gd name="T33" fmla="*/ 0 h 1693"/>
              <a:gd name="T34" fmla="*/ 1510 w 1510"/>
              <a:gd name="T35" fmla="*/ 465 h 1693"/>
              <a:gd name="T36" fmla="*/ 624 w 1510"/>
              <a:gd name="T37" fmla="*/ 1693 h 16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510" h="1693">
                <a:moveTo>
                  <a:pt x="624" y="1693"/>
                </a:moveTo>
                <a:lnTo>
                  <a:pt x="526" y="1618"/>
                </a:lnTo>
                <a:lnTo>
                  <a:pt x="435" y="1538"/>
                </a:lnTo>
                <a:lnTo>
                  <a:pt x="355" y="1446"/>
                </a:lnTo>
                <a:lnTo>
                  <a:pt x="286" y="1355"/>
                </a:lnTo>
                <a:lnTo>
                  <a:pt x="218" y="1257"/>
                </a:lnTo>
                <a:lnTo>
                  <a:pt x="161" y="1154"/>
                </a:lnTo>
                <a:lnTo>
                  <a:pt x="115" y="1045"/>
                </a:lnTo>
                <a:lnTo>
                  <a:pt x="75" y="936"/>
                </a:lnTo>
                <a:lnTo>
                  <a:pt x="40" y="821"/>
                </a:lnTo>
                <a:lnTo>
                  <a:pt x="18" y="706"/>
                </a:lnTo>
                <a:lnTo>
                  <a:pt x="6" y="591"/>
                </a:lnTo>
                <a:lnTo>
                  <a:pt x="0" y="471"/>
                </a:lnTo>
                <a:lnTo>
                  <a:pt x="0" y="356"/>
                </a:lnTo>
                <a:lnTo>
                  <a:pt x="18" y="236"/>
                </a:lnTo>
                <a:lnTo>
                  <a:pt x="40" y="115"/>
                </a:lnTo>
                <a:lnTo>
                  <a:pt x="75" y="0"/>
                </a:lnTo>
                <a:lnTo>
                  <a:pt x="1510" y="465"/>
                </a:lnTo>
                <a:lnTo>
                  <a:pt x="624" y="1693"/>
                </a:lnTo>
                <a:close/>
              </a:path>
            </a:pathLst>
          </a:custGeom>
          <a:solidFill>
            <a:schemeClr val="accent4"/>
          </a:solidFill>
          <a:ln w="571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/>
          </a:p>
        </p:txBody>
      </p:sp>
      <p:sp>
        <p:nvSpPr>
          <p:cNvPr id="88" name="Freeform 13">
            <a:extLst>
              <a:ext uri="{FF2B5EF4-FFF2-40B4-BE49-F238E27FC236}">
                <a16:creationId xmlns:a16="http://schemas.microsoft.com/office/drawing/2014/main" id="{1A4CD486-BE68-B41D-D1DB-7A8962FC9268}"/>
              </a:ext>
            </a:extLst>
          </p:cNvPr>
          <p:cNvSpPr>
            <a:spLocks/>
          </p:cNvSpPr>
          <p:nvPr/>
        </p:nvSpPr>
        <p:spPr bwMode="auto">
          <a:xfrm>
            <a:off x="4342460" y="1790700"/>
            <a:ext cx="1634363" cy="1715815"/>
          </a:xfrm>
          <a:custGeom>
            <a:avLst/>
            <a:gdLst>
              <a:gd name="T0" fmla="*/ 0 w 1435"/>
              <a:gd name="T1" fmla="*/ 1050 h 1515"/>
              <a:gd name="T2" fmla="*/ 40 w 1435"/>
              <a:gd name="T3" fmla="*/ 936 h 1515"/>
              <a:gd name="T4" fmla="*/ 91 w 1435"/>
              <a:gd name="T5" fmla="*/ 827 h 1515"/>
              <a:gd name="T6" fmla="*/ 148 w 1435"/>
              <a:gd name="T7" fmla="*/ 723 h 1515"/>
              <a:gd name="T8" fmla="*/ 217 w 1435"/>
              <a:gd name="T9" fmla="*/ 620 h 1515"/>
              <a:gd name="T10" fmla="*/ 291 w 1435"/>
              <a:gd name="T11" fmla="*/ 528 h 1515"/>
              <a:gd name="T12" fmla="*/ 366 w 1435"/>
              <a:gd name="T13" fmla="*/ 442 h 1515"/>
              <a:gd name="T14" fmla="*/ 457 w 1435"/>
              <a:gd name="T15" fmla="*/ 362 h 1515"/>
              <a:gd name="T16" fmla="*/ 549 w 1435"/>
              <a:gd name="T17" fmla="*/ 293 h 1515"/>
              <a:gd name="T18" fmla="*/ 646 w 1435"/>
              <a:gd name="T19" fmla="*/ 224 h 1515"/>
              <a:gd name="T20" fmla="*/ 743 w 1435"/>
              <a:gd name="T21" fmla="*/ 167 h 1515"/>
              <a:gd name="T22" fmla="*/ 852 w 1435"/>
              <a:gd name="T23" fmla="*/ 121 h 1515"/>
              <a:gd name="T24" fmla="*/ 960 w 1435"/>
              <a:gd name="T25" fmla="*/ 75 h 1515"/>
              <a:gd name="T26" fmla="*/ 1075 w 1435"/>
              <a:gd name="T27" fmla="*/ 46 h 1515"/>
              <a:gd name="T28" fmla="*/ 1195 w 1435"/>
              <a:gd name="T29" fmla="*/ 23 h 1515"/>
              <a:gd name="T30" fmla="*/ 1315 w 1435"/>
              <a:gd name="T31" fmla="*/ 6 h 1515"/>
              <a:gd name="T32" fmla="*/ 1435 w 1435"/>
              <a:gd name="T33" fmla="*/ 0 h 1515"/>
              <a:gd name="T34" fmla="*/ 1435 w 1435"/>
              <a:gd name="T35" fmla="*/ 1515 h 1515"/>
              <a:gd name="T36" fmla="*/ 0 w 1435"/>
              <a:gd name="T37" fmla="*/ 1050 h 15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435" h="1515">
                <a:moveTo>
                  <a:pt x="0" y="1050"/>
                </a:moveTo>
                <a:lnTo>
                  <a:pt x="40" y="936"/>
                </a:lnTo>
                <a:lnTo>
                  <a:pt x="91" y="827"/>
                </a:lnTo>
                <a:lnTo>
                  <a:pt x="148" y="723"/>
                </a:lnTo>
                <a:lnTo>
                  <a:pt x="217" y="620"/>
                </a:lnTo>
                <a:lnTo>
                  <a:pt x="291" y="528"/>
                </a:lnTo>
                <a:lnTo>
                  <a:pt x="366" y="442"/>
                </a:lnTo>
                <a:lnTo>
                  <a:pt x="457" y="362"/>
                </a:lnTo>
                <a:lnTo>
                  <a:pt x="549" y="293"/>
                </a:lnTo>
                <a:lnTo>
                  <a:pt x="646" y="224"/>
                </a:lnTo>
                <a:lnTo>
                  <a:pt x="743" y="167"/>
                </a:lnTo>
                <a:lnTo>
                  <a:pt x="852" y="121"/>
                </a:lnTo>
                <a:lnTo>
                  <a:pt x="960" y="75"/>
                </a:lnTo>
                <a:lnTo>
                  <a:pt x="1075" y="46"/>
                </a:lnTo>
                <a:lnTo>
                  <a:pt x="1195" y="23"/>
                </a:lnTo>
                <a:lnTo>
                  <a:pt x="1315" y="6"/>
                </a:lnTo>
                <a:lnTo>
                  <a:pt x="1435" y="0"/>
                </a:lnTo>
                <a:lnTo>
                  <a:pt x="1435" y="1515"/>
                </a:lnTo>
                <a:lnTo>
                  <a:pt x="0" y="1050"/>
                </a:lnTo>
                <a:close/>
              </a:path>
            </a:pathLst>
          </a:custGeom>
          <a:solidFill>
            <a:schemeClr val="accent5"/>
          </a:solidFill>
          <a:ln w="571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 dirty="0"/>
          </a:p>
        </p:txBody>
      </p:sp>
      <p:grpSp>
        <p:nvGrpSpPr>
          <p:cNvPr id="89" name="Group 88">
            <a:extLst>
              <a:ext uri="{FF2B5EF4-FFF2-40B4-BE49-F238E27FC236}">
                <a16:creationId xmlns:a16="http://schemas.microsoft.com/office/drawing/2014/main" id="{172CB3B2-112E-66F5-8DA8-C6C02E098EA4}"/>
              </a:ext>
            </a:extLst>
          </p:cNvPr>
          <p:cNvGrpSpPr/>
          <p:nvPr/>
        </p:nvGrpSpPr>
        <p:grpSpPr>
          <a:xfrm>
            <a:off x="4655959" y="2188287"/>
            <a:ext cx="2640588" cy="2643253"/>
            <a:chOff x="-1921256" y="1769187"/>
            <a:chExt cx="2640588" cy="2643253"/>
          </a:xfrm>
        </p:grpSpPr>
        <p:sp>
          <p:nvSpPr>
            <p:cNvPr id="90" name="Freeform 5">
              <a:extLst>
                <a:ext uri="{FF2B5EF4-FFF2-40B4-BE49-F238E27FC236}">
                  <a16:creationId xmlns:a16="http://schemas.microsoft.com/office/drawing/2014/main" id="{0E39CDBA-5982-127C-98E9-C72055AC8945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525" y="1769187"/>
              <a:ext cx="1255132" cy="1319015"/>
            </a:xfrm>
            <a:custGeom>
              <a:avLst/>
              <a:gdLst>
                <a:gd name="T0" fmla="*/ 0 w 1435"/>
                <a:gd name="T1" fmla="*/ 0 h 1515"/>
                <a:gd name="T2" fmla="*/ 120 w 1435"/>
                <a:gd name="T3" fmla="*/ 6 h 1515"/>
                <a:gd name="T4" fmla="*/ 240 w 1435"/>
                <a:gd name="T5" fmla="*/ 23 h 1515"/>
                <a:gd name="T6" fmla="*/ 354 w 1435"/>
                <a:gd name="T7" fmla="*/ 46 h 1515"/>
                <a:gd name="T8" fmla="*/ 469 w 1435"/>
                <a:gd name="T9" fmla="*/ 75 h 1515"/>
                <a:gd name="T10" fmla="*/ 583 w 1435"/>
                <a:gd name="T11" fmla="*/ 121 h 1515"/>
                <a:gd name="T12" fmla="*/ 686 w 1435"/>
                <a:gd name="T13" fmla="*/ 167 h 1515"/>
                <a:gd name="T14" fmla="*/ 789 w 1435"/>
                <a:gd name="T15" fmla="*/ 224 h 1515"/>
                <a:gd name="T16" fmla="*/ 886 w 1435"/>
                <a:gd name="T17" fmla="*/ 293 h 1515"/>
                <a:gd name="T18" fmla="*/ 978 w 1435"/>
                <a:gd name="T19" fmla="*/ 362 h 1515"/>
                <a:gd name="T20" fmla="*/ 1063 w 1435"/>
                <a:gd name="T21" fmla="*/ 442 h 1515"/>
                <a:gd name="T22" fmla="*/ 1143 w 1435"/>
                <a:gd name="T23" fmla="*/ 528 h 1515"/>
                <a:gd name="T24" fmla="*/ 1218 w 1435"/>
                <a:gd name="T25" fmla="*/ 620 h 1515"/>
                <a:gd name="T26" fmla="*/ 1281 w 1435"/>
                <a:gd name="T27" fmla="*/ 723 h 1515"/>
                <a:gd name="T28" fmla="*/ 1343 w 1435"/>
                <a:gd name="T29" fmla="*/ 827 h 1515"/>
                <a:gd name="T30" fmla="*/ 1395 w 1435"/>
                <a:gd name="T31" fmla="*/ 936 h 1515"/>
                <a:gd name="T32" fmla="*/ 1435 w 1435"/>
                <a:gd name="T33" fmla="*/ 1050 h 1515"/>
                <a:gd name="T34" fmla="*/ 0 w 1435"/>
                <a:gd name="T35" fmla="*/ 1515 h 1515"/>
                <a:gd name="T36" fmla="*/ 0 w 1435"/>
                <a:gd name="T37" fmla="*/ 0 h 15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35" h="1515">
                  <a:moveTo>
                    <a:pt x="0" y="0"/>
                  </a:moveTo>
                  <a:lnTo>
                    <a:pt x="120" y="6"/>
                  </a:lnTo>
                  <a:lnTo>
                    <a:pt x="240" y="23"/>
                  </a:lnTo>
                  <a:lnTo>
                    <a:pt x="354" y="46"/>
                  </a:lnTo>
                  <a:lnTo>
                    <a:pt x="469" y="75"/>
                  </a:lnTo>
                  <a:lnTo>
                    <a:pt x="583" y="121"/>
                  </a:lnTo>
                  <a:lnTo>
                    <a:pt x="686" y="167"/>
                  </a:lnTo>
                  <a:lnTo>
                    <a:pt x="789" y="224"/>
                  </a:lnTo>
                  <a:lnTo>
                    <a:pt x="886" y="293"/>
                  </a:lnTo>
                  <a:lnTo>
                    <a:pt x="978" y="362"/>
                  </a:lnTo>
                  <a:lnTo>
                    <a:pt x="1063" y="442"/>
                  </a:lnTo>
                  <a:lnTo>
                    <a:pt x="1143" y="528"/>
                  </a:lnTo>
                  <a:lnTo>
                    <a:pt x="1218" y="620"/>
                  </a:lnTo>
                  <a:lnTo>
                    <a:pt x="1281" y="723"/>
                  </a:lnTo>
                  <a:lnTo>
                    <a:pt x="1343" y="827"/>
                  </a:lnTo>
                  <a:lnTo>
                    <a:pt x="1395" y="936"/>
                  </a:lnTo>
                  <a:lnTo>
                    <a:pt x="1435" y="1050"/>
                  </a:lnTo>
                  <a:lnTo>
                    <a:pt x="0" y="151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/>
            </a:p>
          </p:txBody>
        </p:sp>
        <p:sp>
          <p:nvSpPr>
            <p:cNvPr id="91" name="Freeform 7">
              <a:extLst>
                <a:ext uri="{FF2B5EF4-FFF2-40B4-BE49-F238E27FC236}">
                  <a16:creationId xmlns:a16="http://schemas.microsoft.com/office/drawing/2014/main" id="{A07CB3F7-09C4-36A2-DB07-026A3B62018D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525" y="2683355"/>
              <a:ext cx="1319857" cy="1473988"/>
            </a:xfrm>
            <a:custGeom>
              <a:avLst/>
              <a:gdLst>
                <a:gd name="T0" fmla="*/ 1435 w 1509"/>
                <a:gd name="T1" fmla="*/ 0 h 1693"/>
                <a:gd name="T2" fmla="*/ 1469 w 1509"/>
                <a:gd name="T3" fmla="*/ 115 h 1693"/>
                <a:gd name="T4" fmla="*/ 1492 w 1509"/>
                <a:gd name="T5" fmla="*/ 236 h 1693"/>
                <a:gd name="T6" fmla="*/ 1504 w 1509"/>
                <a:gd name="T7" fmla="*/ 356 h 1693"/>
                <a:gd name="T8" fmla="*/ 1509 w 1509"/>
                <a:gd name="T9" fmla="*/ 471 h 1693"/>
                <a:gd name="T10" fmla="*/ 1504 w 1509"/>
                <a:gd name="T11" fmla="*/ 591 h 1693"/>
                <a:gd name="T12" fmla="*/ 1492 w 1509"/>
                <a:gd name="T13" fmla="*/ 706 h 1693"/>
                <a:gd name="T14" fmla="*/ 1469 w 1509"/>
                <a:gd name="T15" fmla="*/ 821 h 1693"/>
                <a:gd name="T16" fmla="*/ 1435 w 1509"/>
                <a:gd name="T17" fmla="*/ 936 h 1693"/>
                <a:gd name="T18" fmla="*/ 1395 w 1509"/>
                <a:gd name="T19" fmla="*/ 1045 h 1693"/>
                <a:gd name="T20" fmla="*/ 1343 w 1509"/>
                <a:gd name="T21" fmla="*/ 1154 h 1693"/>
                <a:gd name="T22" fmla="*/ 1286 w 1509"/>
                <a:gd name="T23" fmla="*/ 1257 h 1693"/>
                <a:gd name="T24" fmla="*/ 1223 w 1509"/>
                <a:gd name="T25" fmla="*/ 1355 h 1693"/>
                <a:gd name="T26" fmla="*/ 1149 w 1509"/>
                <a:gd name="T27" fmla="*/ 1446 h 1693"/>
                <a:gd name="T28" fmla="*/ 1069 w 1509"/>
                <a:gd name="T29" fmla="*/ 1538 h 1693"/>
                <a:gd name="T30" fmla="*/ 983 w 1509"/>
                <a:gd name="T31" fmla="*/ 1618 h 1693"/>
                <a:gd name="T32" fmla="*/ 886 w 1509"/>
                <a:gd name="T33" fmla="*/ 1693 h 1693"/>
                <a:gd name="T34" fmla="*/ 0 w 1509"/>
                <a:gd name="T35" fmla="*/ 465 h 1693"/>
                <a:gd name="T36" fmla="*/ 1435 w 1509"/>
                <a:gd name="T37" fmla="*/ 0 h 16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509" h="1693">
                  <a:moveTo>
                    <a:pt x="1435" y="0"/>
                  </a:moveTo>
                  <a:lnTo>
                    <a:pt x="1469" y="115"/>
                  </a:lnTo>
                  <a:lnTo>
                    <a:pt x="1492" y="236"/>
                  </a:lnTo>
                  <a:lnTo>
                    <a:pt x="1504" y="356"/>
                  </a:lnTo>
                  <a:lnTo>
                    <a:pt x="1509" y="471"/>
                  </a:lnTo>
                  <a:lnTo>
                    <a:pt x="1504" y="591"/>
                  </a:lnTo>
                  <a:lnTo>
                    <a:pt x="1492" y="706"/>
                  </a:lnTo>
                  <a:lnTo>
                    <a:pt x="1469" y="821"/>
                  </a:lnTo>
                  <a:lnTo>
                    <a:pt x="1435" y="936"/>
                  </a:lnTo>
                  <a:lnTo>
                    <a:pt x="1395" y="1045"/>
                  </a:lnTo>
                  <a:lnTo>
                    <a:pt x="1343" y="1154"/>
                  </a:lnTo>
                  <a:lnTo>
                    <a:pt x="1286" y="1257"/>
                  </a:lnTo>
                  <a:lnTo>
                    <a:pt x="1223" y="1355"/>
                  </a:lnTo>
                  <a:lnTo>
                    <a:pt x="1149" y="1446"/>
                  </a:lnTo>
                  <a:lnTo>
                    <a:pt x="1069" y="1538"/>
                  </a:lnTo>
                  <a:lnTo>
                    <a:pt x="983" y="1618"/>
                  </a:lnTo>
                  <a:lnTo>
                    <a:pt x="886" y="1693"/>
                  </a:lnTo>
                  <a:lnTo>
                    <a:pt x="0" y="465"/>
                  </a:lnTo>
                  <a:lnTo>
                    <a:pt x="1435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/>
            </a:p>
          </p:txBody>
        </p:sp>
        <p:sp>
          <p:nvSpPr>
            <p:cNvPr id="92" name="Freeform 9">
              <a:extLst>
                <a:ext uri="{FF2B5EF4-FFF2-40B4-BE49-F238E27FC236}">
                  <a16:creationId xmlns:a16="http://schemas.microsoft.com/office/drawing/2014/main" id="{6B343D8A-81FB-EBB0-D4E0-ACBE122E9CE9}"/>
                </a:ext>
              </a:extLst>
            </p:cNvPr>
            <p:cNvSpPr>
              <a:spLocks/>
            </p:cNvSpPr>
            <p:nvPr/>
          </p:nvSpPr>
          <p:spPr bwMode="auto">
            <a:xfrm>
              <a:off x="-1375471" y="3088202"/>
              <a:ext cx="1549891" cy="1324238"/>
            </a:xfrm>
            <a:custGeom>
              <a:avLst/>
              <a:gdLst>
                <a:gd name="T0" fmla="*/ 1772 w 1772"/>
                <a:gd name="T1" fmla="*/ 1228 h 1521"/>
                <a:gd name="T2" fmla="*/ 1669 w 1772"/>
                <a:gd name="T3" fmla="*/ 1297 h 1521"/>
                <a:gd name="T4" fmla="*/ 1566 w 1772"/>
                <a:gd name="T5" fmla="*/ 1354 h 1521"/>
                <a:gd name="T6" fmla="*/ 1458 w 1772"/>
                <a:gd name="T7" fmla="*/ 1406 h 1521"/>
                <a:gd name="T8" fmla="*/ 1343 w 1772"/>
                <a:gd name="T9" fmla="*/ 1446 h 1521"/>
                <a:gd name="T10" fmla="*/ 1235 w 1772"/>
                <a:gd name="T11" fmla="*/ 1475 h 1521"/>
                <a:gd name="T12" fmla="*/ 1120 w 1772"/>
                <a:gd name="T13" fmla="*/ 1498 h 1521"/>
                <a:gd name="T14" fmla="*/ 1000 w 1772"/>
                <a:gd name="T15" fmla="*/ 1515 h 1521"/>
                <a:gd name="T16" fmla="*/ 886 w 1772"/>
                <a:gd name="T17" fmla="*/ 1521 h 1521"/>
                <a:gd name="T18" fmla="*/ 766 w 1772"/>
                <a:gd name="T19" fmla="*/ 1515 h 1521"/>
                <a:gd name="T20" fmla="*/ 651 w 1772"/>
                <a:gd name="T21" fmla="*/ 1498 h 1521"/>
                <a:gd name="T22" fmla="*/ 537 w 1772"/>
                <a:gd name="T23" fmla="*/ 1475 h 1521"/>
                <a:gd name="T24" fmla="*/ 423 w 1772"/>
                <a:gd name="T25" fmla="*/ 1446 h 1521"/>
                <a:gd name="T26" fmla="*/ 314 w 1772"/>
                <a:gd name="T27" fmla="*/ 1406 h 1521"/>
                <a:gd name="T28" fmla="*/ 205 w 1772"/>
                <a:gd name="T29" fmla="*/ 1354 h 1521"/>
                <a:gd name="T30" fmla="*/ 97 w 1772"/>
                <a:gd name="T31" fmla="*/ 1297 h 1521"/>
                <a:gd name="T32" fmla="*/ 0 w 1772"/>
                <a:gd name="T33" fmla="*/ 1228 h 1521"/>
                <a:gd name="T34" fmla="*/ 886 w 1772"/>
                <a:gd name="T35" fmla="*/ 0 h 1521"/>
                <a:gd name="T36" fmla="*/ 1772 w 1772"/>
                <a:gd name="T37" fmla="*/ 1228 h 1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772" h="1521">
                  <a:moveTo>
                    <a:pt x="1772" y="1228"/>
                  </a:moveTo>
                  <a:lnTo>
                    <a:pt x="1669" y="1297"/>
                  </a:lnTo>
                  <a:lnTo>
                    <a:pt x="1566" y="1354"/>
                  </a:lnTo>
                  <a:lnTo>
                    <a:pt x="1458" y="1406"/>
                  </a:lnTo>
                  <a:lnTo>
                    <a:pt x="1343" y="1446"/>
                  </a:lnTo>
                  <a:lnTo>
                    <a:pt x="1235" y="1475"/>
                  </a:lnTo>
                  <a:lnTo>
                    <a:pt x="1120" y="1498"/>
                  </a:lnTo>
                  <a:lnTo>
                    <a:pt x="1000" y="1515"/>
                  </a:lnTo>
                  <a:lnTo>
                    <a:pt x="886" y="1521"/>
                  </a:lnTo>
                  <a:lnTo>
                    <a:pt x="766" y="1515"/>
                  </a:lnTo>
                  <a:lnTo>
                    <a:pt x="651" y="1498"/>
                  </a:lnTo>
                  <a:lnTo>
                    <a:pt x="537" y="1475"/>
                  </a:lnTo>
                  <a:lnTo>
                    <a:pt x="423" y="1446"/>
                  </a:lnTo>
                  <a:lnTo>
                    <a:pt x="314" y="1406"/>
                  </a:lnTo>
                  <a:lnTo>
                    <a:pt x="205" y="1354"/>
                  </a:lnTo>
                  <a:lnTo>
                    <a:pt x="97" y="1297"/>
                  </a:lnTo>
                  <a:lnTo>
                    <a:pt x="0" y="1228"/>
                  </a:lnTo>
                  <a:lnTo>
                    <a:pt x="886" y="0"/>
                  </a:lnTo>
                  <a:lnTo>
                    <a:pt x="1772" y="1228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/>
            </a:p>
          </p:txBody>
        </p:sp>
        <p:sp>
          <p:nvSpPr>
            <p:cNvPr id="93" name="Freeform 11">
              <a:extLst>
                <a:ext uri="{FF2B5EF4-FFF2-40B4-BE49-F238E27FC236}">
                  <a16:creationId xmlns:a16="http://schemas.microsoft.com/office/drawing/2014/main" id="{2AA35EBD-C2E8-98A9-2BC5-9B907B51E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21256" y="2683355"/>
              <a:ext cx="1320731" cy="1473988"/>
            </a:xfrm>
            <a:custGeom>
              <a:avLst/>
              <a:gdLst>
                <a:gd name="T0" fmla="*/ 624 w 1510"/>
                <a:gd name="T1" fmla="*/ 1693 h 1693"/>
                <a:gd name="T2" fmla="*/ 526 w 1510"/>
                <a:gd name="T3" fmla="*/ 1618 h 1693"/>
                <a:gd name="T4" fmla="*/ 435 w 1510"/>
                <a:gd name="T5" fmla="*/ 1538 h 1693"/>
                <a:gd name="T6" fmla="*/ 355 w 1510"/>
                <a:gd name="T7" fmla="*/ 1446 h 1693"/>
                <a:gd name="T8" fmla="*/ 286 w 1510"/>
                <a:gd name="T9" fmla="*/ 1355 h 1693"/>
                <a:gd name="T10" fmla="*/ 218 w 1510"/>
                <a:gd name="T11" fmla="*/ 1257 h 1693"/>
                <a:gd name="T12" fmla="*/ 161 w 1510"/>
                <a:gd name="T13" fmla="*/ 1154 h 1693"/>
                <a:gd name="T14" fmla="*/ 115 w 1510"/>
                <a:gd name="T15" fmla="*/ 1045 h 1693"/>
                <a:gd name="T16" fmla="*/ 75 w 1510"/>
                <a:gd name="T17" fmla="*/ 936 h 1693"/>
                <a:gd name="T18" fmla="*/ 40 w 1510"/>
                <a:gd name="T19" fmla="*/ 821 h 1693"/>
                <a:gd name="T20" fmla="*/ 18 w 1510"/>
                <a:gd name="T21" fmla="*/ 706 h 1693"/>
                <a:gd name="T22" fmla="*/ 6 w 1510"/>
                <a:gd name="T23" fmla="*/ 591 h 1693"/>
                <a:gd name="T24" fmla="*/ 0 w 1510"/>
                <a:gd name="T25" fmla="*/ 471 h 1693"/>
                <a:gd name="T26" fmla="*/ 0 w 1510"/>
                <a:gd name="T27" fmla="*/ 356 h 1693"/>
                <a:gd name="T28" fmla="*/ 18 w 1510"/>
                <a:gd name="T29" fmla="*/ 236 h 1693"/>
                <a:gd name="T30" fmla="*/ 40 w 1510"/>
                <a:gd name="T31" fmla="*/ 115 h 1693"/>
                <a:gd name="T32" fmla="*/ 75 w 1510"/>
                <a:gd name="T33" fmla="*/ 0 h 1693"/>
                <a:gd name="T34" fmla="*/ 1510 w 1510"/>
                <a:gd name="T35" fmla="*/ 465 h 1693"/>
                <a:gd name="T36" fmla="*/ 624 w 1510"/>
                <a:gd name="T37" fmla="*/ 1693 h 16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510" h="1693">
                  <a:moveTo>
                    <a:pt x="624" y="1693"/>
                  </a:moveTo>
                  <a:lnTo>
                    <a:pt x="526" y="1618"/>
                  </a:lnTo>
                  <a:lnTo>
                    <a:pt x="435" y="1538"/>
                  </a:lnTo>
                  <a:lnTo>
                    <a:pt x="355" y="1446"/>
                  </a:lnTo>
                  <a:lnTo>
                    <a:pt x="286" y="1355"/>
                  </a:lnTo>
                  <a:lnTo>
                    <a:pt x="218" y="1257"/>
                  </a:lnTo>
                  <a:lnTo>
                    <a:pt x="161" y="1154"/>
                  </a:lnTo>
                  <a:lnTo>
                    <a:pt x="115" y="1045"/>
                  </a:lnTo>
                  <a:lnTo>
                    <a:pt x="75" y="936"/>
                  </a:lnTo>
                  <a:lnTo>
                    <a:pt x="40" y="821"/>
                  </a:lnTo>
                  <a:lnTo>
                    <a:pt x="18" y="706"/>
                  </a:lnTo>
                  <a:lnTo>
                    <a:pt x="6" y="591"/>
                  </a:lnTo>
                  <a:lnTo>
                    <a:pt x="0" y="471"/>
                  </a:lnTo>
                  <a:lnTo>
                    <a:pt x="0" y="356"/>
                  </a:lnTo>
                  <a:lnTo>
                    <a:pt x="18" y="236"/>
                  </a:lnTo>
                  <a:lnTo>
                    <a:pt x="40" y="115"/>
                  </a:lnTo>
                  <a:lnTo>
                    <a:pt x="75" y="0"/>
                  </a:lnTo>
                  <a:lnTo>
                    <a:pt x="1510" y="465"/>
                  </a:lnTo>
                  <a:lnTo>
                    <a:pt x="624" y="1693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/>
            </a:p>
          </p:txBody>
        </p:sp>
        <p:sp>
          <p:nvSpPr>
            <p:cNvPr id="94" name="Freeform 13">
              <a:extLst>
                <a:ext uri="{FF2B5EF4-FFF2-40B4-BE49-F238E27FC236}">
                  <a16:creationId xmlns:a16="http://schemas.microsoft.com/office/drawing/2014/main" id="{C59B87EE-78AC-661C-7CE4-8429FAF7D678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55656" y="1769187"/>
              <a:ext cx="1255132" cy="1319015"/>
            </a:xfrm>
            <a:custGeom>
              <a:avLst/>
              <a:gdLst>
                <a:gd name="T0" fmla="*/ 0 w 1435"/>
                <a:gd name="T1" fmla="*/ 1050 h 1515"/>
                <a:gd name="T2" fmla="*/ 40 w 1435"/>
                <a:gd name="T3" fmla="*/ 936 h 1515"/>
                <a:gd name="T4" fmla="*/ 91 w 1435"/>
                <a:gd name="T5" fmla="*/ 827 h 1515"/>
                <a:gd name="T6" fmla="*/ 148 w 1435"/>
                <a:gd name="T7" fmla="*/ 723 h 1515"/>
                <a:gd name="T8" fmla="*/ 217 w 1435"/>
                <a:gd name="T9" fmla="*/ 620 h 1515"/>
                <a:gd name="T10" fmla="*/ 291 w 1435"/>
                <a:gd name="T11" fmla="*/ 528 h 1515"/>
                <a:gd name="T12" fmla="*/ 366 w 1435"/>
                <a:gd name="T13" fmla="*/ 442 h 1515"/>
                <a:gd name="T14" fmla="*/ 457 w 1435"/>
                <a:gd name="T15" fmla="*/ 362 h 1515"/>
                <a:gd name="T16" fmla="*/ 549 w 1435"/>
                <a:gd name="T17" fmla="*/ 293 h 1515"/>
                <a:gd name="T18" fmla="*/ 646 w 1435"/>
                <a:gd name="T19" fmla="*/ 224 h 1515"/>
                <a:gd name="T20" fmla="*/ 743 w 1435"/>
                <a:gd name="T21" fmla="*/ 167 h 1515"/>
                <a:gd name="T22" fmla="*/ 852 w 1435"/>
                <a:gd name="T23" fmla="*/ 121 h 1515"/>
                <a:gd name="T24" fmla="*/ 960 w 1435"/>
                <a:gd name="T25" fmla="*/ 75 h 1515"/>
                <a:gd name="T26" fmla="*/ 1075 w 1435"/>
                <a:gd name="T27" fmla="*/ 46 h 1515"/>
                <a:gd name="T28" fmla="*/ 1195 w 1435"/>
                <a:gd name="T29" fmla="*/ 23 h 1515"/>
                <a:gd name="T30" fmla="*/ 1315 w 1435"/>
                <a:gd name="T31" fmla="*/ 6 h 1515"/>
                <a:gd name="T32" fmla="*/ 1435 w 1435"/>
                <a:gd name="T33" fmla="*/ 0 h 1515"/>
                <a:gd name="T34" fmla="*/ 1435 w 1435"/>
                <a:gd name="T35" fmla="*/ 1515 h 1515"/>
                <a:gd name="T36" fmla="*/ 0 w 1435"/>
                <a:gd name="T37" fmla="*/ 1050 h 15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35" h="1515">
                  <a:moveTo>
                    <a:pt x="0" y="1050"/>
                  </a:moveTo>
                  <a:lnTo>
                    <a:pt x="40" y="936"/>
                  </a:lnTo>
                  <a:lnTo>
                    <a:pt x="91" y="827"/>
                  </a:lnTo>
                  <a:lnTo>
                    <a:pt x="148" y="723"/>
                  </a:lnTo>
                  <a:lnTo>
                    <a:pt x="217" y="620"/>
                  </a:lnTo>
                  <a:lnTo>
                    <a:pt x="291" y="528"/>
                  </a:lnTo>
                  <a:lnTo>
                    <a:pt x="366" y="442"/>
                  </a:lnTo>
                  <a:lnTo>
                    <a:pt x="457" y="362"/>
                  </a:lnTo>
                  <a:lnTo>
                    <a:pt x="549" y="293"/>
                  </a:lnTo>
                  <a:lnTo>
                    <a:pt x="646" y="224"/>
                  </a:lnTo>
                  <a:lnTo>
                    <a:pt x="743" y="167"/>
                  </a:lnTo>
                  <a:lnTo>
                    <a:pt x="852" y="121"/>
                  </a:lnTo>
                  <a:lnTo>
                    <a:pt x="960" y="75"/>
                  </a:lnTo>
                  <a:lnTo>
                    <a:pt x="1075" y="46"/>
                  </a:lnTo>
                  <a:lnTo>
                    <a:pt x="1195" y="23"/>
                  </a:lnTo>
                  <a:lnTo>
                    <a:pt x="1315" y="6"/>
                  </a:lnTo>
                  <a:lnTo>
                    <a:pt x="1435" y="0"/>
                  </a:lnTo>
                  <a:lnTo>
                    <a:pt x="1435" y="1515"/>
                  </a:lnTo>
                  <a:lnTo>
                    <a:pt x="0" y="105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/>
            </a:p>
          </p:txBody>
        </p:sp>
      </p:grpSp>
      <p:sp>
        <p:nvSpPr>
          <p:cNvPr id="95" name="Block Arc 94">
            <a:extLst>
              <a:ext uri="{FF2B5EF4-FFF2-40B4-BE49-F238E27FC236}">
                <a16:creationId xmlns:a16="http://schemas.microsoft.com/office/drawing/2014/main" id="{B20F37DF-82F9-9A17-01F5-0D56C179A24E}"/>
              </a:ext>
            </a:extLst>
          </p:cNvPr>
          <p:cNvSpPr>
            <a:spLocks/>
          </p:cNvSpPr>
          <p:nvPr/>
        </p:nvSpPr>
        <p:spPr>
          <a:xfrm rot="303285" flipH="1">
            <a:off x="4751703" y="2161943"/>
            <a:ext cx="2514562" cy="2502271"/>
          </a:xfrm>
          <a:prstGeom prst="blockArc">
            <a:avLst>
              <a:gd name="adj1" fmla="val 12629289"/>
              <a:gd name="adj2" fmla="val 15378897"/>
              <a:gd name="adj3" fmla="val 11039"/>
            </a:avLst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600" dirty="0" err="1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96" name="Block Arc 95">
            <a:extLst>
              <a:ext uri="{FF2B5EF4-FFF2-40B4-BE49-F238E27FC236}">
                <a16:creationId xmlns:a16="http://schemas.microsoft.com/office/drawing/2014/main" id="{A9A53463-A8C9-D63D-BDFA-D8C911DFBEA9}"/>
              </a:ext>
            </a:extLst>
          </p:cNvPr>
          <p:cNvSpPr>
            <a:spLocks/>
          </p:cNvSpPr>
          <p:nvPr/>
        </p:nvSpPr>
        <p:spPr>
          <a:xfrm rot="17169973">
            <a:off x="4612085" y="2176193"/>
            <a:ext cx="2772308" cy="2689693"/>
          </a:xfrm>
          <a:prstGeom prst="blockArc">
            <a:avLst>
              <a:gd name="adj1" fmla="val 13018185"/>
              <a:gd name="adj2" fmla="val 15378897"/>
              <a:gd name="adj3" fmla="val 11039"/>
            </a:avLst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CA" sz="1600" dirty="0" err="1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97" name="Block Arc 96">
            <a:extLst>
              <a:ext uri="{FF2B5EF4-FFF2-40B4-BE49-F238E27FC236}">
                <a16:creationId xmlns:a16="http://schemas.microsoft.com/office/drawing/2014/main" id="{544FF270-8A3E-7AFD-2DCF-DCFB93215AF9}"/>
              </a:ext>
            </a:extLst>
          </p:cNvPr>
          <p:cNvSpPr>
            <a:spLocks/>
          </p:cNvSpPr>
          <p:nvPr/>
        </p:nvSpPr>
        <p:spPr>
          <a:xfrm rot="13199227">
            <a:off x="4761044" y="2402916"/>
            <a:ext cx="2514562" cy="2502271"/>
          </a:xfrm>
          <a:prstGeom prst="blockArc">
            <a:avLst>
              <a:gd name="adj1" fmla="val 12390357"/>
              <a:gd name="adj2" fmla="val 15378897"/>
              <a:gd name="adj3" fmla="val 11039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CA" sz="1600" dirty="0" err="1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48723A02-A91A-0B50-F82C-D36FB5445212}"/>
              </a:ext>
            </a:extLst>
          </p:cNvPr>
          <p:cNvSpPr txBox="1">
            <a:spLocks/>
          </p:cNvSpPr>
          <p:nvPr/>
        </p:nvSpPr>
        <p:spPr>
          <a:xfrm>
            <a:off x="7943643" y="1552679"/>
            <a:ext cx="2871501" cy="24622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lvl="0">
              <a:defRPr/>
            </a:pPr>
            <a:r>
              <a:rPr lang="en-US" sz="1600" b="1" dirty="0">
                <a:solidFill>
                  <a:schemeClr val="accent1"/>
                </a:solidFill>
                <a:latin typeface="+mn-lt"/>
                <a:cs typeface="Calibri" panose="020F0502020204030204" pitchFamily="34" charset="0"/>
              </a:rPr>
              <a:t>HEADING</a:t>
            </a:r>
            <a:endParaRPr lang="en-CA" sz="1600" b="1" dirty="0">
              <a:solidFill>
                <a:schemeClr val="accent1"/>
              </a:solidFill>
              <a:latin typeface="+mn-lt"/>
              <a:ea typeface="ＭＳ Ｐゴシック"/>
            </a:endParaRP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F68C78AA-5F48-9B67-358F-B8B39A27DB92}"/>
              </a:ext>
            </a:extLst>
          </p:cNvPr>
          <p:cNvSpPr txBox="1">
            <a:spLocks/>
          </p:cNvSpPr>
          <p:nvPr/>
        </p:nvSpPr>
        <p:spPr>
          <a:xfrm>
            <a:off x="7943643" y="1833507"/>
            <a:ext cx="2871501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>
              <a:defRPr/>
            </a:pPr>
            <a:r>
              <a:rPr lang="en-IN" sz="1600" dirty="0">
                <a:latin typeface="+mn-lt"/>
                <a:cs typeface="Calibri" panose="020F0502020204030204" pitchFamily="34" charset="0"/>
              </a:rPr>
              <a:t>Insert your text here Insert your text here Insert your text</a:t>
            </a:r>
            <a:endParaRPr lang="en-CA" sz="1600" dirty="0">
              <a:latin typeface="+mn-lt"/>
              <a:ea typeface="ＭＳ Ｐゴシック"/>
            </a:endParaRP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C88797D8-2528-1817-6F2D-06D21795D7F4}"/>
              </a:ext>
            </a:extLst>
          </p:cNvPr>
          <p:cNvSpPr txBox="1">
            <a:spLocks/>
          </p:cNvSpPr>
          <p:nvPr/>
        </p:nvSpPr>
        <p:spPr>
          <a:xfrm>
            <a:off x="8379747" y="3623061"/>
            <a:ext cx="2871501" cy="24622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lvl="0" algn="r">
              <a:defRPr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l"/>
            <a:r>
              <a:rPr lang="en-CA" sz="1600" dirty="0">
                <a:solidFill>
                  <a:schemeClr val="accent2"/>
                </a:solidFill>
                <a:latin typeface="+mn-lt"/>
                <a:cs typeface="Calibri" panose="020F0502020204030204" pitchFamily="34" charset="0"/>
              </a:rPr>
              <a:t>HEADING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5811DFDC-C5FD-1D81-3419-417900C91DAB}"/>
              </a:ext>
            </a:extLst>
          </p:cNvPr>
          <p:cNvSpPr txBox="1">
            <a:spLocks/>
          </p:cNvSpPr>
          <p:nvPr/>
        </p:nvSpPr>
        <p:spPr>
          <a:xfrm>
            <a:off x="8379747" y="3903889"/>
            <a:ext cx="2871501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>
              <a:defRPr/>
            </a:pPr>
            <a:r>
              <a:rPr lang="en-IN" sz="1600" dirty="0">
                <a:latin typeface="+mn-lt"/>
                <a:cs typeface="Calibri" panose="020F0502020204030204" pitchFamily="34" charset="0"/>
              </a:rPr>
              <a:t>Insert your text here Insert your text here Insert your text</a:t>
            </a:r>
            <a:endParaRPr lang="en-CA" sz="1600" dirty="0">
              <a:latin typeface="+mn-lt"/>
              <a:ea typeface="ＭＳ Ｐゴシック"/>
            </a:endParaRPr>
          </a:p>
        </p:txBody>
      </p:sp>
      <p:sp>
        <p:nvSpPr>
          <p:cNvPr id="102" name="Oval 101">
            <a:extLst>
              <a:ext uri="{FF2B5EF4-FFF2-40B4-BE49-F238E27FC236}">
                <a16:creationId xmlns:a16="http://schemas.microsoft.com/office/drawing/2014/main" id="{5A93B01F-AB5B-E476-8260-E7AEAAE6B389}"/>
              </a:ext>
            </a:extLst>
          </p:cNvPr>
          <p:cNvSpPr/>
          <p:nvPr/>
        </p:nvSpPr>
        <p:spPr>
          <a:xfrm flipH="1">
            <a:off x="6772567" y="1709588"/>
            <a:ext cx="872198" cy="872198"/>
          </a:xfrm>
          <a:prstGeom prst="ellipse">
            <a:avLst/>
          </a:prstGeom>
          <a:solidFill>
            <a:schemeClr val="accent1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CA" sz="1600" dirty="0" err="1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1B0C51F2-E79D-EAD3-61C8-A4B666D849CD}"/>
              </a:ext>
            </a:extLst>
          </p:cNvPr>
          <p:cNvSpPr txBox="1"/>
          <p:nvPr/>
        </p:nvSpPr>
        <p:spPr>
          <a:xfrm>
            <a:off x="6932352" y="1783770"/>
            <a:ext cx="552628" cy="677108"/>
          </a:xfrm>
          <a:prstGeom prst="rect">
            <a:avLst/>
          </a:prstGeom>
          <a:noFill/>
        </p:spPr>
        <p:txBody>
          <a:bodyPr wrap="square" lIns="0" tIns="0" rIns="0" bIns="0" rtlCol="0" anchor="ctr" anchorCtr="1">
            <a:spAutoFit/>
          </a:bodyPr>
          <a:lstStyle/>
          <a:p>
            <a:pPr>
              <a:defRPr/>
            </a:pPr>
            <a:r>
              <a:rPr lang="en-CA" sz="4400" dirty="0">
                <a:solidFill>
                  <a:schemeClr val="bg1"/>
                </a:solidFill>
                <a:latin typeface="+mn-lt"/>
                <a:ea typeface="ＭＳ Ｐゴシック"/>
              </a:rPr>
              <a:t>1</a:t>
            </a:r>
          </a:p>
        </p:txBody>
      </p:sp>
      <p:sp>
        <p:nvSpPr>
          <p:cNvPr id="104" name="Oval 103">
            <a:extLst>
              <a:ext uri="{FF2B5EF4-FFF2-40B4-BE49-F238E27FC236}">
                <a16:creationId xmlns:a16="http://schemas.microsoft.com/office/drawing/2014/main" id="{87664BBE-498C-11AF-B4BC-8A6BC6359791}"/>
              </a:ext>
            </a:extLst>
          </p:cNvPr>
          <p:cNvSpPr/>
          <p:nvPr/>
        </p:nvSpPr>
        <p:spPr>
          <a:xfrm>
            <a:off x="4430203" y="1620229"/>
            <a:ext cx="872198" cy="872198"/>
          </a:xfrm>
          <a:prstGeom prst="ellipse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CA" sz="1600" dirty="0" err="1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544E7ADF-B2C2-26AC-21DA-2B9E3BC21CB9}"/>
              </a:ext>
            </a:extLst>
          </p:cNvPr>
          <p:cNvSpPr txBox="1"/>
          <p:nvPr/>
        </p:nvSpPr>
        <p:spPr>
          <a:xfrm>
            <a:off x="4589988" y="1640401"/>
            <a:ext cx="552628" cy="677108"/>
          </a:xfrm>
          <a:prstGeom prst="rect">
            <a:avLst/>
          </a:prstGeom>
          <a:noFill/>
        </p:spPr>
        <p:txBody>
          <a:bodyPr wrap="square" lIns="0" tIns="0" rIns="0" bIns="0" rtlCol="0" anchor="ctr" anchorCtr="1">
            <a:spAutoFit/>
          </a:bodyPr>
          <a:lstStyle/>
          <a:p>
            <a:pPr>
              <a:defRPr/>
            </a:pPr>
            <a:r>
              <a:rPr lang="en-CA" sz="4400" dirty="0">
                <a:solidFill>
                  <a:schemeClr val="bg1"/>
                </a:solidFill>
                <a:latin typeface="+mn-lt"/>
                <a:ea typeface="ＭＳ Ｐゴシック"/>
              </a:rPr>
              <a:t>5</a:t>
            </a:r>
          </a:p>
        </p:txBody>
      </p:sp>
      <p:sp>
        <p:nvSpPr>
          <p:cNvPr id="106" name="Oval 105">
            <a:extLst>
              <a:ext uri="{FF2B5EF4-FFF2-40B4-BE49-F238E27FC236}">
                <a16:creationId xmlns:a16="http://schemas.microsoft.com/office/drawing/2014/main" id="{B1C00C64-2AD5-DC2A-7112-B871BEA141AB}"/>
              </a:ext>
            </a:extLst>
          </p:cNvPr>
          <p:cNvSpPr/>
          <p:nvPr/>
        </p:nvSpPr>
        <p:spPr>
          <a:xfrm flipH="1" flipV="1">
            <a:off x="5649641" y="4758176"/>
            <a:ext cx="872198" cy="872198"/>
          </a:xfrm>
          <a:prstGeom prst="ellipse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CA" sz="1600" dirty="0" err="1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2C2446A6-8D57-AA0B-3AB8-D2DB4A2A2F8E}"/>
              </a:ext>
            </a:extLst>
          </p:cNvPr>
          <p:cNvSpPr txBox="1"/>
          <p:nvPr/>
        </p:nvSpPr>
        <p:spPr>
          <a:xfrm>
            <a:off x="5809426" y="4774428"/>
            <a:ext cx="552628" cy="677108"/>
          </a:xfrm>
          <a:prstGeom prst="rect">
            <a:avLst/>
          </a:prstGeom>
          <a:noFill/>
        </p:spPr>
        <p:txBody>
          <a:bodyPr wrap="square" lIns="0" tIns="0" rIns="0" bIns="0" rtlCol="0" anchor="ctr" anchorCtr="1">
            <a:spAutoFit/>
          </a:bodyPr>
          <a:lstStyle/>
          <a:p>
            <a:pPr>
              <a:defRPr/>
            </a:pPr>
            <a:r>
              <a:rPr lang="en-CA" sz="4400" dirty="0">
                <a:solidFill>
                  <a:schemeClr val="bg1"/>
                </a:solidFill>
                <a:latin typeface="+mn-lt"/>
                <a:ea typeface="ＭＳ Ｐゴシック"/>
              </a:rPr>
              <a:t>3</a:t>
            </a: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3C2A2EE2-0BBF-C4C1-29F1-E3E3F1072B2C}"/>
              </a:ext>
            </a:extLst>
          </p:cNvPr>
          <p:cNvSpPr txBox="1"/>
          <p:nvPr/>
        </p:nvSpPr>
        <p:spPr>
          <a:xfrm>
            <a:off x="5067465" y="3315873"/>
            <a:ext cx="1817579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 algn="ctr">
              <a:defRPr/>
            </a:pPr>
            <a:r>
              <a:rPr lang="en-CA" sz="2400" b="1" dirty="0">
                <a:latin typeface="+mn-lt"/>
              </a:rPr>
              <a:t>HEADING</a:t>
            </a:r>
          </a:p>
        </p:txBody>
      </p:sp>
      <p:sp>
        <p:nvSpPr>
          <p:cNvPr id="109" name="Oval 108">
            <a:extLst>
              <a:ext uri="{FF2B5EF4-FFF2-40B4-BE49-F238E27FC236}">
                <a16:creationId xmlns:a16="http://schemas.microsoft.com/office/drawing/2014/main" id="{0D7D295F-4047-A8F4-28BB-124C968E0C03}"/>
              </a:ext>
            </a:extLst>
          </p:cNvPr>
          <p:cNvSpPr/>
          <p:nvPr/>
        </p:nvSpPr>
        <p:spPr>
          <a:xfrm>
            <a:off x="5091699" y="2662150"/>
            <a:ext cx="1769108" cy="1769111"/>
          </a:xfrm>
          <a:prstGeom prst="ellipse">
            <a:avLst/>
          </a:prstGeom>
          <a:noFill/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CA" sz="1200" dirty="0" err="1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110" name="Block Arc 109">
            <a:extLst>
              <a:ext uri="{FF2B5EF4-FFF2-40B4-BE49-F238E27FC236}">
                <a16:creationId xmlns:a16="http://schemas.microsoft.com/office/drawing/2014/main" id="{DD00A6AB-CD45-139E-09A5-1D5BE1717E0E}"/>
              </a:ext>
            </a:extLst>
          </p:cNvPr>
          <p:cNvSpPr>
            <a:spLocks/>
          </p:cNvSpPr>
          <p:nvPr/>
        </p:nvSpPr>
        <p:spPr>
          <a:xfrm rot="21132587">
            <a:off x="4665350" y="2128298"/>
            <a:ext cx="2772308" cy="2689693"/>
          </a:xfrm>
          <a:prstGeom prst="blockArc">
            <a:avLst>
              <a:gd name="adj1" fmla="val 13018185"/>
              <a:gd name="adj2" fmla="val 15378897"/>
              <a:gd name="adj3" fmla="val 11039"/>
            </a:avLst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CA" sz="1600" dirty="0" err="1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111" name="Block Arc 110">
            <a:extLst>
              <a:ext uri="{FF2B5EF4-FFF2-40B4-BE49-F238E27FC236}">
                <a16:creationId xmlns:a16="http://schemas.microsoft.com/office/drawing/2014/main" id="{B27FE2C3-BAB8-43DE-5FB7-F8E46BB1EDF1}"/>
              </a:ext>
            </a:extLst>
          </p:cNvPr>
          <p:cNvSpPr>
            <a:spLocks/>
          </p:cNvSpPr>
          <p:nvPr/>
        </p:nvSpPr>
        <p:spPr>
          <a:xfrm rot="4445535" flipH="1">
            <a:off x="4836390" y="2247872"/>
            <a:ext cx="2514562" cy="2502271"/>
          </a:xfrm>
          <a:prstGeom prst="blockArc">
            <a:avLst>
              <a:gd name="adj1" fmla="val 12629289"/>
              <a:gd name="adj2" fmla="val 15378897"/>
              <a:gd name="adj3" fmla="val 11039"/>
            </a:avLst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CA" sz="1600" dirty="0" err="1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112" name="Oval 111">
            <a:extLst>
              <a:ext uri="{FF2B5EF4-FFF2-40B4-BE49-F238E27FC236}">
                <a16:creationId xmlns:a16="http://schemas.microsoft.com/office/drawing/2014/main" id="{4F46FA11-3949-354A-C274-E467999A01B0}"/>
              </a:ext>
            </a:extLst>
          </p:cNvPr>
          <p:cNvSpPr/>
          <p:nvPr/>
        </p:nvSpPr>
        <p:spPr>
          <a:xfrm flipH="1">
            <a:off x="7292081" y="3537413"/>
            <a:ext cx="872198" cy="872198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CA" sz="1600" dirty="0" err="1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8694E186-6087-DE7B-653C-EC1C0986DA94}"/>
              </a:ext>
            </a:extLst>
          </p:cNvPr>
          <p:cNvSpPr txBox="1"/>
          <p:nvPr/>
        </p:nvSpPr>
        <p:spPr>
          <a:xfrm>
            <a:off x="7451866" y="3611595"/>
            <a:ext cx="552628" cy="677108"/>
          </a:xfrm>
          <a:prstGeom prst="rect">
            <a:avLst/>
          </a:prstGeom>
          <a:noFill/>
        </p:spPr>
        <p:txBody>
          <a:bodyPr wrap="square" lIns="0" tIns="0" rIns="0" bIns="0" rtlCol="0" anchor="ctr" anchorCtr="1">
            <a:spAutoFit/>
          </a:bodyPr>
          <a:lstStyle/>
          <a:p>
            <a:pPr>
              <a:defRPr/>
            </a:pPr>
            <a:r>
              <a:rPr lang="en-CA" sz="4400" dirty="0">
                <a:solidFill>
                  <a:schemeClr val="bg1"/>
                </a:solidFill>
                <a:latin typeface="+mn-lt"/>
                <a:ea typeface="ＭＳ Ｐゴシック"/>
              </a:rPr>
              <a:t>2</a:t>
            </a:r>
          </a:p>
        </p:txBody>
      </p:sp>
      <p:sp>
        <p:nvSpPr>
          <p:cNvPr id="114" name="Oval 113">
            <a:extLst>
              <a:ext uri="{FF2B5EF4-FFF2-40B4-BE49-F238E27FC236}">
                <a16:creationId xmlns:a16="http://schemas.microsoft.com/office/drawing/2014/main" id="{86D72803-CE38-8F66-7AE1-25BD5039F963}"/>
              </a:ext>
            </a:extLst>
          </p:cNvPr>
          <p:cNvSpPr/>
          <p:nvPr/>
        </p:nvSpPr>
        <p:spPr>
          <a:xfrm flipH="1" flipV="1">
            <a:off x="3730768" y="3537638"/>
            <a:ext cx="872198" cy="872198"/>
          </a:xfrm>
          <a:prstGeom prst="ellipse">
            <a:avLst/>
          </a:prstGeom>
          <a:solidFill>
            <a:schemeClr val="accent4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CA" sz="1600" dirty="0" err="1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6FD876B0-0F85-144D-43E4-2A8D6016A462}"/>
              </a:ext>
            </a:extLst>
          </p:cNvPr>
          <p:cNvSpPr txBox="1"/>
          <p:nvPr/>
        </p:nvSpPr>
        <p:spPr>
          <a:xfrm>
            <a:off x="3890553" y="3553890"/>
            <a:ext cx="552628" cy="677108"/>
          </a:xfrm>
          <a:prstGeom prst="rect">
            <a:avLst/>
          </a:prstGeom>
          <a:noFill/>
        </p:spPr>
        <p:txBody>
          <a:bodyPr wrap="square" lIns="0" tIns="0" rIns="0" bIns="0" rtlCol="0" anchor="ctr" anchorCtr="1">
            <a:spAutoFit/>
          </a:bodyPr>
          <a:lstStyle/>
          <a:p>
            <a:pPr>
              <a:defRPr/>
            </a:pPr>
            <a:r>
              <a:rPr lang="en-CA" sz="4400" dirty="0">
                <a:solidFill>
                  <a:schemeClr val="bg1"/>
                </a:solidFill>
                <a:latin typeface="+mn-lt"/>
                <a:ea typeface="ＭＳ Ｐゴシック"/>
              </a:rPr>
              <a:t>4</a:t>
            </a: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9FD3F82E-CE31-6AF2-4F46-2EEA34E69D98}"/>
              </a:ext>
            </a:extLst>
          </p:cNvPr>
          <p:cNvSpPr txBox="1">
            <a:spLocks/>
          </p:cNvSpPr>
          <p:nvPr/>
        </p:nvSpPr>
        <p:spPr>
          <a:xfrm>
            <a:off x="6885043" y="5163641"/>
            <a:ext cx="2871501" cy="24622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lvl="0" algn="r">
              <a:defRPr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l"/>
            <a:r>
              <a:rPr lang="en-CA" sz="1600" dirty="0">
                <a:solidFill>
                  <a:schemeClr val="accent3"/>
                </a:solidFill>
                <a:latin typeface="+mn-lt"/>
                <a:cs typeface="Calibri" panose="020F0502020204030204" pitchFamily="34" charset="0"/>
              </a:rPr>
              <a:t>HEADING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F0C81D02-9AE2-AA7F-0224-165FD1248157}"/>
              </a:ext>
            </a:extLst>
          </p:cNvPr>
          <p:cNvSpPr txBox="1">
            <a:spLocks/>
          </p:cNvSpPr>
          <p:nvPr/>
        </p:nvSpPr>
        <p:spPr>
          <a:xfrm>
            <a:off x="6885043" y="5444469"/>
            <a:ext cx="2871501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>
              <a:defRPr/>
            </a:pPr>
            <a:r>
              <a:rPr lang="en-IN" sz="1600" dirty="0">
                <a:latin typeface="+mn-lt"/>
                <a:cs typeface="Calibri" panose="020F0502020204030204" pitchFamily="34" charset="0"/>
              </a:rPr>
              <a:t>Insert your text here Insert your text here Insert your text</a:t>
            </a:r>
            <a:endParaRPr lang="en-CA" sz="1600" dirty="0">
              <a:latin typeface="+mn-lt"/>
              <a:ea typeface="ＭＳ Ｐゴシック"/>
            </a:endParaRPr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5024D94A-4B8F-223F-11A9-375225057649}"/>
              </a:ext>
            </a:extLst>
          </p:cNvPr>
          <p:cNvSpPr txBox="1">
            <a:spLocks/>
          </p:cNvSpPr>
          <p:nvPr/>
        </p:nvSpPr>
        <p:spPr>
          <a:xfrm>
            <a:off x="725214" y="3661306"/>
            <a:ext cx="2792957" cy="24622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lvl="0" algn="r">
              <a:defRPr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CA" sz="1600" dirty="0">
                <a:solidFill>
                  <a:schemeClr val="accent4"/>
                </a:solidFill>
                <a:latin typeface="+mn-lt"/>
                <a:cs typeface="Calibri" panose="020F0502020204030204" pitchFamily="34" charset="0"/>
              </a:rPr>
              <a:t>HEADING</a:t>
            </a: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EF609706-709A-737F-2230-48AB363A870B}"/>
              </a:ext>
            </a:extLst>
          </p:cNvPr>
          <p:cNvSpPr txBox="1">
            <a:spLocks/>
          </p:cNvSpPr>
          <p:nvPr/>
        </p:nvSpPr>
        <p:spPr>
          <a:xfrm>
            <a:off x="725214" y="3942134"/>
            <a:ext cx="2792957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r">
              <a:defRPr/>
            </a:pPr>
            <a:r>
              <a:rPr lang="en-IN" sz="1600" dirty="0">
                <a:latin typeface="+mn-lt"/>
                <a:cs typeface="Calibri" panose="020F0502020204030204" pitchFamily="34" charset="0"/>
              </a:rPr>
              <a:t>Insert your text here Insert your text here Insert your text</a:t>
            </a:r>
            <a:endParaRPr lang="en-CA" sz="1600" dirty="0">
              <a:latin typeface="+mn-lt"/>
              <a:ea typeface="ＭＳ Ｐゴシック"/>
            </a:endParaRPr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A33391E7-3C6E-0B0F-FE82-F5EFF1973EA7}"/>
              </a:ext>
            </a:extLst>
          </p:cNvPr>
          <p:cNvSpPr txBox="1">
            <a:spLocks/>
          </p:cNvSpPr>
          <p:nvPr/>
        </p:nvSpPr>
        <p:spPr>
          <a:xfrm>
            <a:off x="1406499" y="1589452"/>
            <a:ext cx="2792957" cy="24622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lvl="0" algn="r">
              <a:defRPr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CA" sz="1600" dirty="0">
                <a:solidFill>
                  <a:schemeClr val="accent5"/>
                </a:solidFill>
                <a:latin typeface="+mn-lt"/>
                <a:cs typeface="Calibri" panose="020F0502020204030204" pitchFamily="34" charset="0"/>
              </a:rPr>
              <a:t>HEADING</a:t>
            </a: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822C2625-4D54-F18E-2D78-0D54AE90D5D7}"/>
              </a:ext>
            </a:extLst>
          </p:cNvPr>
          <p:cNvSpPr txBox="1">
            <a:spLocks/>
          </p:cNvSpPr>
          <p:nvPr/>
        </p:nvSpPr>
        <p:spPr>
          <a:xfrm>
            <a:off x="1406499" y="1870280"/>
            <a:ext cx="2792957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r">
              <a:defRPr/>
            </a:pPr>
            <a:r>
              <a:rPr lang="en-IN" sz="1600" dirty="0">
                <a:latin typeface="+mn-lt"/>
                <a:cs typeface="Calibri" panose="020F0502020204030204" pitchFamily="34" charset="0"/>
              </a:rPr>
              <a:t>Insert your text here Insert your text here Insert your text</a:t>
            </a:r>
            <a:endParaRPr lang="en-CA" sz="1600" dirty="0">
              <a:latin typeface="+mn-lt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182549514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C9D2B4-EB02-12A0-65B1-4CFC34682A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think-cell data - do not delete" hidden="1">
            <a:extLst>
              <a:ext uri="{FF2B5EF4-FFF2-40B4-BE49-F238E27FC236}">
                <a16:creationId xmlns:a16="http://schemas.microsoft.com/office/drawing/2014/main" id="{5AB09FE5-740C-6FE3-1B83-301FC0BE06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60429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D5963EA-D534-1FD5-46C2-525F48948D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x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5A2B5C0-0322-C843-4B94-8F4C038A54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A84977B-12D0-50BB-FE57-5814C801C345}"/>
              </a:ext>
            </a:extLst>
          </p:cNvPr>
          <p:cNvSpPr/>
          <p:nvPr/>
        </p:nvSpPr>
        <p:spPr>
          <a:xfrm>
            <a:off x="0" y="5983452"/>
            <a:ext cx="12193200" cy="43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E422026E-FD5C-55AE-61CD-DF68487982A0}"/>
              </a:ext>
            </a:extLst>
          </p:cNvPr>
          <p:cNvSpPr/>
          <p:nvPr/>
        </p:nvSpPr>
        <p:spPr>
          <a:xfrm rot="2703836">
            <a:off x="649621" y="1667526"/>
            <a:ext cx="701808" cy="701808"/>
          </a:xfrm>
          <a:prstGeom prst="roundRect">
            <a:avLst>
              <a:gd name="adj" fmla="val 544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C1AAAE6-F2DD-F654-579B-376157C60778}"/>
              </a:ext>
            </a:extLst>
          </p:cNvPr>
          <p:cNvSpPr txBox="1">
            <a:spLocks/>
          </p:cNvSpPr>
          <p:nvPr/>
        </p:nvSpPr>
        <p:spPr>
          <a:xfrm>
            <a:off x="1691640" y="1606856"/>
            <a:ext cx="5424569" cy="823149"/>
          </a:xfrm>
          <a:prstGeom prst="rect">
            <a:avLst/>
          </a:prstGeom>
          <a:noFill/>
        </p:spPr>
        <p:txBody>
          <a:bodyPr wrap="square" lIns="72000" tIns="72000" rIns="72000" bIns="7200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7C50C561-0D7F-FA49-82A3-D76651931F5C}"/>
              </a:ext>
            </a:extLst>
          </p:cNvPr>
          <p:cNvSpPr/>
          <p:nvPr/>
        </p:nvSpPr>
        <p:spPr>
          <a:xfrm rot="2703836">
            <a:off x="649621" y="2801863"/>
            <a:ext cx="701808" cy="701808"/>
          </a:xfrm>
          <a:prstGeom prst="roundRect">
            <a:avLst>
              <a:gd name="adj" fmla="val 5442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0DACCD1-3CF4-FA1F-4D29-5944F5D2E699}"/>
              </a:ext>
            </a:extLst>
          </p:cNvPr>
          <p:cNvSpPr txBox="1">
            <a:spLocks/>
          </p:cNvSpPr>
          <p:nvPr/>
        </p:nvSpPr>
        <p:spPr>
          <a:xfrm>
            <a:off x="1691640" y="2741193"/>
            <a:ext cx="5424569" cy="823149"/>
          </a:xfrm>
          <a:prstGeom prst="rect">
            <a:avLst/>
          </a:prstGeom>
          <a:noFill/>
        </p:spPr>
        <p:txBody>
          <a:bodyPr wrap="square" lIns="72000" tIns="72000" rIns="72000" bIns="7200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9B631A09-C436-8246-2CE2-4593BD215FF9}"/>
              </a:ext>
            </a:extLst>
          </p:cNvPr>
          <p:cNvSpPr/>
          <p:nvPr/>
        </p:nvSpPr>
        <p:spPr>
          <a:xfrm rot="2703836">
            <a:off x="649621" y="3936200"/>
            <a:ext cx="701808" cy="701808"/>
          </a:xfrm>
          <a:prstGeom prst="roundRect">
            <a:avLst>
              <a:gd name="adj" fmla="val 5442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A917F8B-2900-22F6-1CB3-72ABE27273C4}"/>
              </a:ext>
            </a:extLst>
          </p:cNvPr>
          <p:cNvSpPr txBox="1">
            <a:spLocks/>
          </p:cNvSpPr>
          <p:nvPr/>
        </p:nvSpPr>
        <p:spPr>
          <a:xfrm>
            <a:off x="1691640" y="3875530"/>
            <a:ext cx="5424569" cy="823149"/>
          </a:xfrm>
          <a:prstGeom prst="rect">
            <a:avLst/>
          </a:prstGeom>
          <a:noFill/>
        </p:spPr>
        <p:txBody>
          <a:bodyPr wrap="square" lIns="72000" tIns="72000" rIns="72000" bIns="7200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11294C6B-DD2D-B878-452E-4F881C3696A0}"/>
              </a:ext>
            </a:extLst>
          </p:cNvPr>
          <p:cNvSpPr/>
          <p:nvPr/>
        </p:nvSpPr>
        <p:spPr>
          <a:xfrm rot="2703836">
            <a:off x="649621" y="5070535"/>
            <a:ext cx="701808" cy="701808"/>
          </a:xfrm>
          <a:prstGeom prst="roundRect">
            <a:avLst>
              <a:gd name="adj" fmla="val 5442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F909741-452C-C9E2-0C70-F82B0A463B9A}"/>
              </a:ext>
            </a:extLst>
          </p:cNvPr>
          <p:cNvSpPr txBox="1">
            <a:spLocks/>
          </p:cNvSpPr>
          <p:nvPr/>
        </p:nvSpPr>
        <p:spPr>
          <a:xfrm>
            <a:off x="1691640" y="5009865"/>
            <a:ext cx="5424569" cy="823149"/>
          </a:xfrm>
          <a:prstGeom prst="rect">
            <a:avLst/>
          </a:prstGeom>
          <a:noFill/>
        </p:spPr>
        <p:txBody>
          <a:bodyPr wrap="square" lIns="72000" tIns="72000" rIns="72000" bIns="7200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Insert Text Here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AF4FCD7C-59E8-765A-A87B-01F2744BFBF7}"/>
              </a:ext>
            </a:extLst>
          </p:cNvPr>
          <p:cNvGrpSpPr/>
          <p:nvPr/>
        </p:nvGrpSpPr>
        <p:grpSpPr>
          <a:xfrm>
            <a:off x="649620" y="2585599"/>
            <a:ext cx="8966819" cy="2268674"/>
            <a:chOff x="329581" y="2820854"/>
            <a:chExt cx="6912000" cy="2268674"/>
          </a:xfrm>
        </p:grpSpPr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98B276F1-5811-D318-18F4-7F71387FF832}"/>
                </a:ext>
              </a:extLst>
            </p:cNvPr>
            <p:cNvCxnSpPr>
              <a:cxnSpLocks/>
            </p:cNvCxnSpPr>
            <p:nvPr/>
          </p:nvCxnSpPr>
          <p:spPr>
            <a:xfrm>
              <a:off x="329581" y="2820854"/>
              <a:ext cx="6912000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84C64E8C-5899-7E8A-C184-A4E30E0CCFD1}"/>
                </a:ext>
              </a:extLst>
            </p:cNvPr>
            <p:cNvCxnSpPr>
              <a:cxnSpLocks/>
            </p:cNvCxnSpPr>
            <p:nvPr/>
          </p:nvCxnSpPr>
          <p:spPr>
            <a:xfrm>
              <a:off x="329581" y="3955191"/>
              <a:ext cx="6912000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2E541154-858F-D10A-9247-07D947BEC681}"/>
                </a:ext>
              </a:extLst>
            </p:cNvPr>
            <p:cNvCxnSpPr>
              <a:cxnSpLocks/>
            </p:cNvCxnSpPr>
            <p:nvPr/>
          </p:nvCxnSpPr>
          <p:spPr>
            <a:xfrm>
              <a:off x="329581" y="5089528"/>
              <a:ext cx="6912000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257060477"/>
      </p:ext>
    </p:extLst>
  </p:cSld>
  <p:clrMapOvr>
    <a:masterClrMapping/>
  </p:clrMapOvr>
</p:sld>
</file>

<file path=ppt/slides/slide1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E7A68E-9E35-D2FF-52C0-0BF5312A54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" name="think-cell data - do not delete" hidden="1">
            <a:extLst>
              <a:ext uri="{FF2B5EF4-FFF2-40B4-BE49-F238E27FC236}">
                <a16:creationId xmlns:a16="http://schemas.microsoft.com/office/drawing/2014/main" id="{05806D88-59D2-3516-C7FE-C72862CAB24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69025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D03A33A-ADC7-6EE0-3F23-C644834D28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irc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68ACF3E-CFC8-34D3-EDCB-7CF378CA52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70</a:t>
            </a:fld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3CDC41C-8F41-CF90-CB8D-84DBDD6B0143}"/>
              </a:ext>
            </a:extLst>
          </p:cNvPr>
          <p:cNvGrpSpPr>
            <a:grpSpLocks/>
          </p:cNvGrpSpPr>
          <p:nvPr/>
        </p:nvGrpSpPr>
        <p:grpSpPr>
          <a:xfrm>
            <a:off x="4257040" y="1790700"/>
            <a:ext cx="3438426" cy="3438426"/>
            <a:chOff x="-5251450" y="950913"/>
            <a:chExt cx="4792663" cy="4819651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808D9AF0-E656-A9C2-BF96-A0072D843C82}"/>
                </a:ext>
              </a:extLst>
            </p:cNvPr>
            <p:cNvSpPr>
              <a:spLocks/>
            </p:cNvSpPr>
            <p:nvPr/>
          </p:nvSpPr>
          <p:spPr bwMode="auto">
            <a:xfrm>
              <a:off x="-2854325" y="950913"/>
              <a:ext cx="2078038" cy="2405063"/>
            </a:xfrm>
            <a:custGeom>
              <a:avLst/>
              <a:gdLst>
                <a:gd name="T0" fmla="*/ 0 w 1309"/>
                <a:gd name="T1" fmla="*/ 0 h 1515"/>
                <a:gd name="T2" fmla="*/ 97 w 1309"/>
                <a:gd name="T3" fmla="*/ 6 h 1515"/>
                <a:gd name="T4" fmla="*/ 200 w 1309"/>
                <a:gd name="T5" fmla="*/ 18 h 1515"/>
                <a:gd name="T6" fmla="*/ 297 w 1309"/>
                <a:gd name="T7" fmla="*/ 29 h 1515"/>
                <a:gd name="T8" fmla="*/ 394 w 1309"/>
                <a:gd name="T9" fmla="*/ 52 h 1515"/>
                <a:gd name="T10" fmla="*/ 486 w 1309"/>
                <a:gd name="T11" fmla="*/ 81 h 1515"/>
                <a:gd name="T12" fmla="*/ 577 w 1309"/>
                <a:gd name="T13" fmla="*/ 121 h 1515"/>
                <a:gd name="T14" fmla="*/ 669 w 1309"/>
                <a:gd name="T15" fmla="*/ 161 h 1515"/>
                <a:gd name="T16" fmla="*/ 755 w 1309"/>
                <a:gd name="T17" fmla="*/ 207 h 1515"/>
                <a:gd name="T18" fmla="*/ 915 w 1309"/>
                <a:gd name="T19" fmla="*/ 316 h 1515"/>
                <a:gd name="T20" fmla="*/ 1063 w 1309"/>
                <a:gd name="T21" fmla="*/ 442 h 1515"/>
                <a:gd name="T22" fmla="*/ 1195 w 1309"/>
                <a:gd name="T23" fmla="*/ 591 h 1515"/>
                <a:gd name="T24" fmla="*/ 1309 w 1309"/>
                <a:gd name="T25" fmla="*/ 758 h 1515"/>
                <a:gd name="T26" fmla="*/ 0 w 1309"/>
                <a:gd name="T27" fmla="*/ 1515 h 1515"/>
                <a:gd name="T28" fmla="*/ 0 w 1309"/>
                <a:gd name="T29" fmla="*/ 0 h 15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09" h="1515">
                  <a:moveTo>
                    <a:pt x="0" y="0"/>
                  </a:moveTo>
                  <a:lnTo>
                    <a:pt x="97" y="6"/>
                  </a:lnTo>
                  <a:lnTo>
                    <a:pt x="200" y="18"/>
                  </a:lnTo>
                  <a:lnTo>
                    <a:pt x="297" y="29"/>
                  </a:lnTo>
                  <a:lnTo>
                    <a:pt x="394" y="52"/>
                  </a:lnTo>
                  <a:lnTo>
                    <a:pt x="486" y="81"/>
                  </a:lnTo>
                  <a:lnTo>
                    <a:pt x="577" y="121"/>
                  </a:lnTo>
                  <a:lnTo>
                    <a:pt x="669" y="161"/>
                  </a:lnTo>
                  <a:lnTo>
                    <a:pt x="755" y="207"/>
                  </a:lnTo>
                  <a:lnTo>
                    <a:pt x="915" y="316"/>
                  </a:lnTo>
                  <a:lnTo>
                    <a:pt x="1063" y="442"/>
                  </a:lnTo>
                  <a:lnTo>
                    <a:pt x="1195" y="591"/>
                  </a:lnTo>
                  <a:lnTo>
                    <a:pt x="1309" y="758"/>
                  </a:lnTo>
                  <a:lnTo>
                    <a:pt x="0" y="151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571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/>
            </a:p>
          </p:txBody>
        </p:sp>
        <p:sp>
          <p:nvSpPr>
            <p:cNvPr id="7" name="Freeform 7">
              <a:extLst>
                <a:ext uri="{FF2B5EF4-FFF2-40B4-BE49-F238E27FC236}">
                  <a16:creationId xmlns:a16="http://schemas.microsoft.com/office/drawing/2014/main" id="{5503B701-5D89-B383-2BE5-3101090E9CC2}"/>
                </a:ext>
              </a:extLst>
            </p:cNvPr>
            <p:cNvSpPr>
              <a:spLocks/>
            </p:cNvSpPr>
            <p:nvPr/>
          </p:nvSpPr>
          <p:spPr bwMode="auto">
            <a:xfrm>
              <a:off x="-2854325" y="2154238"/>
              <a:ext cx="2395538" cy="2405063"/>
            </a:xfrm>
            <a:custGeom>
              <a:avLst/>
              <a:gdLst>
                <a:gd name="T0" fmla="*/ 1309 w 1509"/>
                <a:gd name="T1" fmla="*/ 0 h 1515"/>
                <a:gd name="T2" fmla="*/ 1355 w 1509"/>
                <a:gd name="T3" fmla="*/ 92 h 1515"/>
                <a:gd name="T4" fmla="*/ 1395 w 1509"/>
                <a:gd name="T5" fmla="*/ 183 h 1515"/>
                <a:gd name="T6" fmla="*/ 1429 w 1509"/>
                <a:gd name="T7" fmla="*/ 275 h 1515"/>
                <a:gd name="T8" fmla="*/ 1458 w 1509"/>
                <a:gd name="T9" fmla="*/ 373 h 1515"/>
                <a:gd name="T10" fmla="*/ 1481 w 1509"/>
                <a:gd name="T11" fmla="*/ 464 h 1515"/>
                <a:gd name="T12" fmla="*/ 1498 w 1509"/>
                <a:gd name="T13" fmla="*/ 562 h 1515"/>
                <a:gd name="T14" fmla="*/ 1504 w 1509"/>
                <a:gd name="T15" fmla="*/ 660 h 1515"/>
                <a:gd name="T16" fmla="*/ 1509 w 1509"/>
                <a:gd name="T17" fmla="*/ 757 h 1515"/>
                <a:gd name="T18" fmla="*/ 1504 w 1509"/>
                <a:gd name="T19" fmla="*/ 855 h 1515"/>
                <a:gd name="T20" fmla="*/ 1498 w 1509"/>
                <a:gd name="T21" fmla="*/ 958 h 1515"/>
                <a:gd name="T22" fmla="*/ 1481 w 1509"/>
                <a:gd name="T23" fmla="*/ 1050 h 1515"/>
                <a:gd name="T24" fmla="*/ 1458 w 1509"/>
                <a:gd name="T25" fmla="*/ 1147 h 1515"/>
                <a:gd name="T26" fmla="*/ 1429 w 1509"/>
                <a:gd name="T27" fmla="*/ 1245 h 1515"/>
                <a:gd name="T28" fmla="*/ 1395 w 1509"/>
                <a:gd name="T29" fmla="*/ 1337 h 1515"/>
                <a:gd name="T30" fmla="*/ 1355 w 1509"/>
                <a:gd name="T31" fmla="*/ 1428 h 1515"/>
                <a:gd name="T32" fmla="*/ 1309 w 1509"/>
                <a:gd name="T33" fmla="*/ 1515 h 1515"/>
                <a:gd name="T34" fmla="*/ 0 w 1509"/>
                <a:gd name="T35" fmla="*/ 757 h 1515"/>
                <a:gd name="T36" fmla="*/ 1309 w 1509"/>
                <a:gd name="T37" fmla="*/ 0 h 15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509" h="1515">
                  <a:moveTo>
                    <a:pt x="1309" y="0"/>
                  </a:moveTo>
                  <a:lnTo>
                    <a:pt x="1355" y="92"/>
                  </a:lnTo>
                  <a:lnTo>
                    <a:pt x="1395" y="183"/>
                  </a:lnTo>
                  <a:lnTo>
                    <a:pt x="1429" y="275"/>
                  </a:lnTo>
                  <a:lnTo>
                    <a:pt x="1458" y="373"/>
                  </a:lnTo>
                  <a:lnTo>
                    <a:pt x="1481" y="464"/>
                  </a:lnTo>
                  <a:lnTo>
                    <a:pt x="1498" y="562"/>
                  </a:lnTo>
                  <a:lnTo>
                    <a:pt x="1504" y="660"/>
                  </a:lnTo>
                  <a:lnTo>
                    <a:pt x="1509" y="757"/>
                  </a:lnTo>
                  <a:lnTo>
                    <a:pt x="1504" y="855"/>
                  </a:lnTo>
                  <a:lnTo>
                    <a:pt x="1498" y="958"/>
                  </a:lnTo>
                  <a:lnTo>
                    <a:pt x="1481" y="1050"/>
                  </a:lnTo>
                  <a:lnTo>
                    <a:pt x="1458" y="1147"/>
                  </a:lnTo>
                  <a:lnTo>
                    <a:pt x="1429" y="1245"/>
                  </a:lnTo>
                  <a:lnTo>
                    <a:pt x="1395" y="1337"/>
                  </a:lnTo>
                  <a:lnTo>
                    <a:pt x="1355" y="1428"/>
                  </a:lnTo>
                  <a:lnTo>
                    <a:pt x="1309" y="1515"/>
                  </a:lnTo>
                  <a:lnTo>
                    <a:pt x="0" y="757"/>
                  </a:lnTo>
                  <a:lnTo>
                    <a:pt x="1309" y="0"/>
                  </a:lnTo>
                  <a:close/>
                </a:path>
              </a:pathLst>
            </a:custGeom>
            <a:solidFill>
              <a:schemeClr val="accent2"/>
            </a:solidFill>
            <a:ln w="571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/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C3056A19-0795-8800-C7A0-5587232E7550}"/>
                </a:ext>
              </a:extLst>
            </p:cNvPr>
            <p:cNvSpPr>
              <a:spLocks/>
            </p:cNvSpPr>
            <p:nvPr/>
          </p:nvSpPr>
          <p:spPr bwMode="auto">
            <a:xfrm>
              <a:off x="-2854325" y="3355976"/>
              <a:ext cx="2078038" cy="2414588"/>
            </a:xfrm>
            <a:custGeom>
              <a:avLst/>
              <a:gdLst>
                <a:gd name="T0" fmla="*/ 1309 w 1309"/>
                <a:gd name="T1" fmla="*/ 758 h 1521"/>
                <a:gd name="T2" fmla="*/ 1195 w 1309"/>
                <a:gd name="T3" fmla="*/ 930 h 1521"/>
                <a:gd name="T4" fmla="*/ 1063 w 1309"/>
                <a:gd name="T5" fmla="*/ 1079 h 1521"/>
                <a:gd name="T6" fmla="*/ 915 w 1309"/>
                <a:gd name="T7" fmla="*/ 1205 h 1521"/>
                <a:gd name="T8" fmla="*/ 755 w 1309"/>
                <a:gd name="T9" fmla="*/ 1314 h 1521"/>
                <a:gd name="T10" fmla="*/ 669 w 1309"/>
                <a:gd name="T11" fmla="*/ 1360 h 1521"/>
                <a:gd name="T12" fmla="*/ 577 w 1309"/>
                <a:gd name="T13" fmla="*/ 1400 h 1521"/>
                <a:gd name="T14" fmla="*/ 486 w 1309"/>
                <a:gd name="T15" fmla="*/ 1435 h 1521"/>
                <a:gd name="T16" fmla="*/ 394 w 1309"/>
                <a:gd name="T17" fmla="*/ 1463 h 1521"/>
                <a:gd name="T18" fmla="*/ 297 w 1309"/>
                <a:gd name="T19" fmla="*/ 1486 h 1521"/>
                <a:gd name="T20" fmla="*/ 200 w 1309"/>
                <a:gd name="T21" fmla="*/ 1503 h 1521"/>
                <a:gd name="T22" fmla="*/ 97 w 1309"/>
                <a:gd name="T23" fmla="*/ 1515 h 1521"/>
                <a:gd name="T24" fmla="*/ 0 w 1309"/>
                <a:gd name="T25" fmla="*/ 1521 h 1521"/>
                <a:gd name="T26" fmla="*/ 0 w 1309"/>
                <a:gd name="T27" fmla="*/ 0 h 1521"/>
                <a:gd name="T28" fmla="*/ 1309 w 1309"/>
                <a:gd name="T29" fmla="*/ 758 h 1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09" h="1521">
                  <a:moveTo>
                    <a:pt x="1309" y="758"/>
                  </a:moveTo>
                  <a:lnTo>
                    <a:pt x="1195" y="930"/>
                  </a:lnTo>
                  <a:lnTo>
                    <a:pt x="1063" y="1079"/>
                  </a:lnTo>
                  <a:lnTo>
                    <a:pt x="915" y="1205"/>
                  </a:lnTo>
                  <a:lnTo>
                    <a:pt x="755" y="1314"/>
                  </a:lnTo>
                  <a:lnTo>
                    <a:pt x="669" y="1360"/>
                  </a:lnTo>
                  <a:lnTo>
                    <a:pt x="577" y="1400"/>
                  </a:lnTo>
                  <a:lnTo>
                    <a:pt x="486" y="1435"/>
                  </a:lnTo>
                  <a:lnTo>
                    <a:pt x="394" y="1463"/>
                  </a:lnTo>
                  <a:lnTo>
                    <a:pt x="297" y="1486"/>
                  </a:lnTo>
                  <a:lnTo>
                    <a:pt x="200" y="1503"/>
                  </a:lnTo>
                  <a:lnTo>
                    <a:pt x="97" y="1515"/>
                  </a:lnTo>
                  <a:lnTo>
                    <a:pt x="0" y="1521"/>
                  </a:lnTo>
                  <a:lnTo>
                    <a:pt x="0" y="0"/>
                  </a:lnTo>
                  <a:lnTo>
                    <a:pt x="1309" y="758"/>
                  </a:lnTo>
                  <a:close/>
                </a:path>
              </a:pathLst>
            </a:custGeom>
            <a:solidFill>
              <a:schemeClr val="accent3"/>
            </a:solidFill>
            <a:ln w="571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/>
            </a:p>
          </p:txBody>
        </p:sp>
        <p:sp>
          <p:nvSpPr>
            <p:cNvPr id="9" name="Freeform 11">
              <a:extLst>
                <a:ext uri="{FF2B5EF4-FFF2-40B4-BE49-F238E27FC236}">
                  <a16:creationId xmlns:a16="http://schemas.microsoft.com/office/drawing/2014/main" id="{1B7F92BF-1D3E-FA7D-20E3-EC1B09A56B14}"/>
                </a:ext>
              </a:extLst>
            </p:cNvPr>
            <p:cNvSpPr>
              <a:spLocks/>
            </p:cNvSpPr>
            <p:nvPr/>
          </p:nvSpPr>
          <p:spPr bwMode="auto">
            <a:xfrm>
              <a:off x="-4932363" y="3355976"/>
              <a:ext cx="2078038" cy="2414588"/>
            </a:xfrm>
            <a:custGeom>
              <a:avLst/>
              <a:gdLst>
                <a:gd name="T0" fmla="*/ 1309 w 1309"/>
                <a:gd name="T1" fmla="*/ 1521 h 1521"/>
                <a:gd name="T2" fmla="*/ 1206 w 1309"/>
                <a:gd name="T3" fmla="*/ 1515 h 1521"/>
                <a:gd name="T4" fmla="*/ 1109 w 1309"/>
                <a:gd name="T5" fmla="*/ 1503 h 1521"/>
                <a:gd name="T6" fmla="*/ 1012 w 1309"/>
                <a:gd name="T7" fmla="*/ 1486 h 1521"/>
                <a:gd name="T8" fmla="*/ 914 w 1309"/>
                <a:gd name="T9" fmla="*/ 1463 h 1521"/>
                <a:gd name="T10" fmla="*/ 817 w 1309"/>
                <a:gd name="T11" fmla="*/ 1435 h 1521"/>
                <a:gd name="T12" fmla="*/ 726 w 1309"/>
                <a:gd name="T13" fmla="*/ 1400 h 1521"/>
                <a:gd name="T14" fmla="*/ 640 w 1309"/>
                <a:gd name="T15" fmla="*/ 1360 h 1521"/>
                <a:gd name="T16" fmla="*/ 554 w 1309"/>
                <a:gd name="T17" fmla="*/ 1314 h 1521"/>
                <a:gd name="T18" fmla="*/ 388 w 1309"/>
                <a:gd name="T19" fmla="*/ 1205 h 1521"/>
                <a:gd name="T20" fmla="*/ 240 w 1309"/>
                <a:gd name="T21" fmla="*/ 1079 h 1521"/>
                <a:gd name="T22" fmla="*/ 114 w 1309"/>
                <a:gd name="T23" fmla="*/ 930 h 1521"/>
                <a:gd name="T24" fmla="*/ 0 w 1309"/>
                <a:gd name="T25" fmla="*/ 758 h 1521"/>
                <a:gd name="T26" fmla="*/ 1309 w 1309"/>
                <a:gd name="T27" fmla="*/ 0 h 1521"/>
                <a:gd name="T28" fmla="*/ 1309 w 1309"/>
                <a:gd name="T29" fmla="*/ 1521 h 1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09" h="1521">
                  <a:moveTo>
                    <a:pt x="1309" y="1521"/>
                  </a:moveTo>
                  <a:lnTo>
                    <a:pt x="1206" y="1515"/>
                  </a:lnTo>
                  <a:lnTo>
                    <a:pt x="1109" y="1503"/>
                  </a:lnTo>
                  <a:lnTo>
                    <a:pt x="1012" y="1486"/>
                  </a:lnTo>
                  <a:lnTo>
                    <a:pt x="914" y="1463"/>
                  </a:lnTo>
                  <a:lnTo>
                    <a:pt x="817" y="1435"/>
                  </a:lnTo>
                  <a:lnTo>
                    <a:pt x="726" y="1400"/>
                  </a:lnTo>
                  <a:lnTo>
                    <a:pt x="640" y="1360"/>
                  </a:lnTo>
                  <a:lnTo>
                    <a:pt x="554" y="1314"/>
                  </a:lnTo>
                  <a:lnTo>
                    <a:pt x="388" y="1205"/>
                  </a:lnTo>
                  <a:lnTo>
                    <a:pt x="240" y="1079"/>
                  </a:lnTo>
                  <a:lnTo>
                    <a:pt x="114" y="930"/>
                  </a:lnTo>
                  <a:lnTo>
                    <a:pt x="0" y="758"/>
                  </a:lnTo>
                  <a:lnTo>
                    <a:pt x="1309" y="0"/>
                  </a:lnTo>
                  <a:lnTo>
                    <a:pt x="1309" y="1521"/>
                  </a:lnTo>
                  <a:close/>
                </a:path>
              </a:pathLst>
            </a:custGeom>
            <a:solidFill>
              <a:schemeClr val="accent4"/>
            </a:solidFill>
            <a:ln w="571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/>
            </a:p>
          </p:txBody>
        </p:sp>
        <p:sp>
          <p:nvSpPr>
            <p:cNvPr id="10" name="Freeform 13">
              <a:extLst>
                <a:ext uri="{FF2B5EF4-FFF2-40B4-BE49-F238E27FC236}">
                  <a16:creationId xmlns:a16="http://schemas.microsoft.com/office/drawing/2014/main" id="{E1DEF6B6-1A66-3028-08FD-0D2806805F2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251450" y="2154238"/>
              <a:ext cx="2397125" cy="2405063"/>
            </a:xfrm>
            <a:custGeom>
              <a:avLst/>
              <a:gdLst>
                <a:gd name="T0" fmla="*/ 201 w 1510"/>
                <a:gd name="T1" fmla="*/ 1515 h 1515"/>
                <a:gd name="T2" fmla="*/ 155 w 1510"/>
                <a:gd name="T3" fmla="*/ 1428 h 1515"/>
                <a:gd name="T4" fmla="*/ 115 w 1510"/>
                <a:gd name="T5" fmla="*/ 1337 h 1515"/>
                <a:gd name="T6" fmla="*/ 81 w 1510"/>
                <a:gd name="T7" fmla="*/ 1245 h 1515"/>
                <a:gd name="T8" fmla="*/ 52 w 1510"/>
                <a:gd name="T9" fmla="*/ 1147 h 1515"/>
                <a:gd name="T10" fmla="*/ 29 w 1510"/>
                <a:gd name="T11" fmla="*/ 1050 h 1515"/>
                <a:gd name="T12" fmla="*/ 12 w 1510"/>
                <a:gd name="T13" fmla="*/ 958 h 1515"/>
                <a:gd name="T14" fmla="*/ 0 w 1510"/>
                <a:gd name="T15" fmla="*/ 855 h 1515"/>
                <a:gd name="T16" fmla="*/ 0 w 1510"/>
                <a:gd name="T17" fmla="*/ 757 h 1515"/>
                <a:gd name="T18" fmla="*/ 0 w 1510"/>
                <a:gd name="T19" fmla="*/ 660 h 1515"/>
                <a:gd name="T20" fmla="*/ 12 w 1510"/>
                <a:gd name="T21" fmla="*/ 562 h 1515"/>
                <a:gd name="T22" fmla="*/ 29 w 1510"/>
                <a:gd name="T23" fmla="*/ 464 h 1515"/>
                <a:gd name="T24" fmla="*/ 52 w 1510"/>
                <a:gd name="T25" fmla="*/ 373 h 1515"/>
                <a:gd name="T26" fmla="*/ 81 w 1510"/>
                <a:gd name="T27" fmla="*/ 275 h 1515"/>
                <a:gd name="T28" fmla="*/ 115 w 1510"/>
                <a:gd name="T29" fmla="*/ 183 h 1515"/>
                <a:gd name="T30" fmla="*/ 155 w 1510"/>
                <a:gd name="T31" fmla="*/ 92 h 1515"/>
                <a:gd name="T32" fmla="*/ 201 w 1510"/>
                <a:gd name="T33" fmla="*/ 0 h 1515"/>
                <a:gd name="T34" fmla="*/ 1510 w 1510"/>
                <a:gd name="T35" fmla="*/ 757 h 1515"/>
                <a:gd name="T36" fmla="*/ 201 w 1510"/>
                <a:gd name="T37" fmla="*/ 1515 h 15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510" h="1515">
                  <a:moveTo>
                    <a:pt x="201" y="1515"/>
                  </a:moveTo>
                  <a:lnTo>
                    <a:pt x="155" y="1428"/>
                  </a:lnTo>
                  <a:lnTo>
                    <a:pt x="115" y="1337"/>
                  </a:lnTo>
                  <a:lnTo>
                    <a:pt x="81" y="1245"/>
                  </a:lnTo>
                  <a:lnTo>
                    <a:pt x="52" y="1147"/>
                  </a:lnTo>
                  <a:lnTo>
                    <a:pt x="29" y="1050"/>
                  </a:lnTo>
                  <a:lnTo>
                    <a:pt x="12" y="958"/>
                  </a:lnTo>
                  <a:lnTo>
                    <a:pt x="0" y="855"/>
                  </a:lnTo>
                  <a:lnTo>
                    <a:pt x="0" y="757"/>
                  </a:lnTo>
                  <a:lnTo>
                    <a:pt x="0" y="660"/>
                  </a:lnTo>
                  <a:lnTo>
                    <a:pt x="12" y="562"/>
                  </a:lnTo>
                  <a:lnTo>
                    <a:pt x="29" y="464"/>
                  </a:lnTo>
                  <a:lnTo>
                    <a:pt x="52" y="373"/>
                  </a:lnTo>
                  <a:lnTo>
                    <a:pt x="81" y="275"/>
                  </a:lnTo>
                  <a:lnTo>
                    <a:pt x="115" y="183"/>
                  </a:lnTo>
                  <a:lnTo>
                    <a:pt x="155" y="92"/>
                  </a:lnTo>
                  <a:lnTo>
                    <a:pt x="201" y="0"/>
                  </a:lnTo>
                  <a:lnTo>
                    <a:pt x="1510" y="757"/>
                  </a:lnTo>
                  <a:lnTo>
                    <a:pt x="201" y="1515"/>
                  </a:lnTo>
                  <a:close/>
                </a:path>
              </a:pathLst>
            </a:custGeom>
            <a:solidFill>
              <a:schemeClr val="accent5"/>
            </a:solidFill>
            <a:ln w="571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/>
            </a:p>
          </p:txBody>
        </p:sp>
        <p:sp>
          <p:nvSpPr>
            <p:cNvPr id="11" name="Freeform 15">
              <a:extLst>
                <a:ext uri="{FF2B5EF4-FFF2-40B4-BE49-F238E27FC236}">
                  <a16:creationId xmlns:a16="http://schemas.microsoft.com/office/drawing/2014/main" id="{A6A63BAE-93DE-0DFB-440B-A04FE176B2DE}"/>
                </a:ext>
              </a:extLst>
            </p:cNvPr>
            <p:cNvSpPr>
              <a:spLocks/>
            </p:cNvSpPr>
            <p:nvPr/>
          </p:nvSpPr>
          <p:spPr bwMode="auto">
            <a:xfrm>
              <a:off x="-4932363" y="950913"/>
              <a:ext cx="2078038" cy="2405063"/>
            </a:xfrm>
            <a:custGeom>
              <a:avLst/>
              <a:gdLst>
                <a:gd name="T0" fmla="*/ 0 w 1309"/>
                <a:gd name="T1" fmla="*/ 758 h 1515"/>
                <a:gd name="T2" fmla="*/ 114 w 1309"/>
                <a:gd name="T3" fmla="*/ 591 h 1515"/>
                <a:gd name="T4" fmla="*/ 240 w 1309"/>
                <a:gd name="T5" fmla="*/ 442 h 1515"/>
                <a:gd name="T6" fmla="*/ 388 w 1309"/>
                <a:gd name="T7" fmla="*/ 316 h 1515"/>
                <a:gd name="T8" fmla="*/ 554 w 1309"/>
                <a:gd name="T9" fmla="*/ 207 h 1515"/>
                <a:gd name="T10" fmla="*/ 640 w 1309"/>
                <a:gd name="T11" fmla="*/ 161 h 1515"/>
                <a:gd name="T12" fmla="*/ 726 w 1309"/>
                <a:gd name="T13" fmla="*/ 121 h 1515"/>
                <a:gd name="T14" fmla="*/ 817 w 1309"/>
                <a:gd name="T15" fmla="*/ 81 h 1515"/>
                <a:gd name="T16" fmla="*/ 914 w 1309"/>
                <a:gd name="T17" fmla="*/ 52 h 1515"/>
                <a:gd name="T18" fmla="*/ 1012 w 1309"/>
                <a:gd name="T19" fmla="*/ 29 h 1515"/>
                <a:gd name="T20" fmla="*/ 1109 w 1309"/>
                <a:gd name="T21" fmla="*/ 18 h 1515"/>
                <a:gd name="T22" fmla="*/ 1206 w 1309"/>
                <a:gd name="T23" fmla="*/ 6 h 1515"/>
                <a:gd name="T24" fmla="*/ 1309 w 1309"/>
                <a:gd name="T25" fmla="*/ 0 h 1515"/>
                <a:gd name="T26" fmla="*/ 1309 w 1309"/>
                <a:gd name="T27" fmla="*/ 1515 h 1515"/>
                <a:gd name="T28" fmla="*/ 0 w 1309"/>
                <a:gd name="T29" fmla="*/ 758 h 15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09" h="1515">
                  <a:moveTo>
                    <a:pt x="0" y="758"/>
                  </a:moveTo>
                  <a:lnTo>
                    <a:pt x="114" y="591"/>
                  </a:lnTo>
                  <a:lnTo>
                    <a:pt x="240" y="442"/>
                  </a:lnTo>
                  <a:lnTo>
                    <a:pt x="388" y="316"/>
                  </a:lnTo>
                  <a:lnTo>
                    <a:pt x="554" y="207"/>
                  </a:lnTo>
                  <a:lnTo>
                    <a:pt x="640" y="161"/>
                  </a:lnTo>
                  <a:lnTo>
                    <a:pt x="726" y="121"/>
                  </a:lnTo>
                  <a:lnTo>
                    <a:pt x="817" y="81"/>
                  </a:lnTo>
                  <a:lnTo>
                    <a:pt x="914" y="52"/>
                  </a:lnTo>
                  <a:lnTo>
                    <a:pt x="1012" y="29"/>
                  </a:lnTo>
                  <a:lnTo>
                    <a:pt x="1109" y="18"/>
                  </a:lnTo>
                  <a:lnTo>
                    <a:pt x="1206" y="6"/>
                  </a:lnTo>
                  <a:lnTo>
                    <a:pt x="1309" y="0"/>
                  </a:lnTo>
                  <a:lnTo>
                    <a:pt x="1309" y="1515"/>
                  </a:lnTo>
                  <a:lnTo>
                    <a:pt x="0" y="758"/>
                  </a:lnTo>
                  <a:close/>
                </a:path>
              </a:pathLst>
            </a:custGeom>
            <a:solidFill>
              <a:schemeClr val="tx2"/>
            </a:solidFill>
            <a:ln w="571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/>
            </a:p>
          </p:txBody>
        </p:sp>
      </p:grpSp>
      <p:sp>
        <p:nvSpPr>
          <p:cNvPr id="12" name="Freeform 5">
            <a:extLst>
              <a:ext uri="{FF2B5EF4-FFF2-40B4-BE49-F238E27FC236}">
                <a16:creationId xmlns:a16="http://schemas.microsoft.com/office/drawing/2014/main" id="{66178091-0236-C837-67FD-FC4036E2C761}"/>
              </a:ext>
            </a:extLst>
          </p:cNvPr>
          <p:cNvSpPr>
            <a:spLocks/>
          </p:cNvSpPr>
          <p:nvPr/>
        </p:nvSpPr>
        <p:spPr bwMode="auto">
          <a:xfrm>
            <a:off x="5976690" y="2188287"/>
            <a:ext cx="1144926" cy="1319015"/>
          </a:xfrm>
          <a:custGeom>
            <a:avLst/>
            <a:gdLst>
              <a:gd name="T0" fmla="*/ 0 w 1309"/>
              <a:gd name="T1" fmla="*/ 0 h 1515"/>
              <a:gd name="T2" fmla="*/ 97 w 1309"/>
              <a:gd name="T3" fmla="*/ 6 h 1515"/>
              <a:gd name="T4" fmla="*/ 200 w 1309"/>
              <a:gd name="T5" fmla="*/ 18 h 1515"/>
              <a:gd name="T6" fmla="*/ 297 w 1309"/>
              <a:gd name="T7" fmla="*/ 29 h 1515"/>
              <a:gd name="T8" fmla="*/ 394 w 1309"/>
              <a:gd name="T9" fmla="*/ 52 h 1515"/>
              <a:gd name="T10" fmla="*/ 486 w 1309"/>
              <a:gd name="T11" fmla="*/ 81 h 1515"/>
              <a:gd name="T12" fmla="*/ 577 w 1309"/>
              <a:gd name="T13" fmla="*/ 121 h 1515"/>
              <a:gd name="T14" fmla="*/ 669 w 1309"/>
              <a:gd name="T15" fmla="*/ 161 h 1515"/>
              <a:gd name="T16" fmla="*/ 755 w 1309"/>
              <a:gd name="T17" fmla="*/ 207 h 1515"/>
              <a:gd name="T18" fmla="*/ 915 w 1309"/>
              <a:gd name="T19" fmla="*/ 316 h 1515"/>
              <a:gd name="T20" fmla="*/ 1063 w 1309"/>
              <a:gd name="T21" fmla="*/ 442 h 1515"/>
              <a:gd name="T22" fmla="*/ 1195 w 1309"/>
              <a:gd name="T23" fmla="*/ 591 h 1515"/>
              <a:gd name="T24" fmla="*/ 1309 w 1309"/>
              <a:gd name="T25" fmla="*/ 758 h 1515"/>
              <a:gd name="T26" fmla="*/ 0 w 1309"/>
              <a:gd name="T27" fmla="*/ 1515 h 1515"/>
              <a:gd name="T28" fmla="*/ 0 w 1309"/>
              <a:gd name="T29" fmla="*/ 0 h 15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309" h="1515">
                <a:moveTo>
                  <a:pt x="0" y="0"/>
                </a:moveTo>
                <a:lnTo>
                  <a:pt x="97" y="6"/>
                </a:lnTo>
                <a:lnTo>
                  <a:pt x="200" y="18"/>
                </a:lnTo>
                <a:lnTo>
                  <a:pt x="297" y="29"/>
                </a:lnTo>
                <a:lnTo>
                  <a:pt x="394" y="52"/>
                </a:lnTo>
                <a:lnTo>
                  <a:pt x="486" y="81"/>
                </a:lnTo>
                <a:lnTo>
                  <a:pt x="577" y="121"/>
                </a:lnTo>
                <a:lnTo>
                  <a:pt x="669" y="161"/>
                </a:lnTo>
                <a:lnTo>
                  <a:pt x="755" y="207"/>
                </a:lnTo>
                <a:lnTo>
                  <a:pt x="915" y="316"/>
                </a:lnTo>
                <a:lnTo>
                  <a:pt x="1063" y="442"/>
                </a:lnTo>
                <a:lnTo>
                  <a:pt x="1195" y="591"/>
                </a:lnTo>
                <a:lnTo>
                  <a:pt x="1309" y="758"/>
                </a:lnTo>
                <a:lnTo>
                  <a:pt x="0" y="1515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571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/>
          </a:p>
        </p:txBody>
      </p:sp>
      <p:sp>
        <p:nvSpPr>
          <p:cNvPr id="13" name="Freeform 7">
            <a:extLst>
              <a:ext uri="{FF2B5EF4-FFF2-40B4-BE49-F238E27FC236}">
                <a16:creationId xmlns:a16="http://schemas.microsoft.com/office/drawing/2014/main" id="{E110A4F1-59A9-257B-422B-ADAF2E7E6650}"/>
              </a:ext>
            </a:extLst>
          </p:cNvPr>
          <p:cNvSpPr>
            <a:spLocks/>
          </p:cNvSpPr>
          <p:nvPr/>
        </p:nvSpPr>
        <p:spPr bwMode="auto">
          <a:xfrm>
            <a:off x="5976690" y="2848230"/>
            <a:ext cx="1319857" cy="1319015"/>
          </a:xfrm>
          <a:custGeom>
            <a:avLst/>
            <a:gdLst>
              <a:gd name="T0" fmla="*/ 1309 w 1509"/>
              <a:gd name="T1" fmla="*/ 0 h 1515"/>
              <a:gd name="T2" fmla="*/ 1355 w 1509"/>
              <a:gd name="T3" fmla="*/ 92 h 1515"/>
              <a:gd name="T4" fmla="*/ 1395 w 1509"/>
              <a:gd name="T5" fmla="*/ 183 h 1515"/>
              <a:gd name="T6" fmla="*/ 1429 w 1509"/>
              <a:gd name="T7" fmla="*/ 275 h 1515"/>
              <a:gd name="T8" fmla="*/ 1458 w 1509"/>
              <a:gd name="T9" fmla="*/ 373 h 1515"/>
              <a:gd name="T10" fmla="*/ 1481 w 1509"/>
              <a:gd name="T11" fmla="*/ 464 h 1515"/>
              <a:gd name="T12" fmla="*/ 1498 w 1509"/>
              <a:gd name="T13" fmla="*/ 562 h 1515"/>
              <a:gd name="T14" fmla="*/ 1504 w 1509"/>
              <a:gd name="T15" fmla="*/ 660 h 1515"/>
              <a:gd name="T16" fmla="*/ 1509 w 1509"/>
              <a:gd name="T17" fmla="*/ 757 h 1515"/>
              <a:gd name="T18" fmla="*/ 1504 w 1509"/>
              <a:gd name="T19" fmla="*/ 855 h 1515"/>
              <a:gd name="T20" fmla="*/ 1498 w 1509"/>
              <a:gd name="T21" fmla="*/ 958 h 1515"/>
              <a:gd name="T22" fmla="*/ 1481 w 1509"/>
              <a:gd name="T23" fmla="*/ 1050 h 1515"/>
              <a:gd name="T24" fmla="*/ 1458 w 1509"/>
              <a:gd name="T25" fmla="*/ 1147 h 1515"/>
              <a:gd name="T26" fmla="*/ 1429 w 1509"/>
              <a:gd name="T27" fmla="*/ 1245 h 1515"/>
              <a:gd name="T28" fmla="*/ 1395 w 1509"/>
              <a:gd name="T29" fmla="*/ 1337 h 1515"/>
              <a:gd name="T30" fmla="*/ 1355 w 1509"/>
              <a:gd name="T31" fmla="*/ 1428 h 1515"/>
              <a:gd name="T32" fmla="*/ 1309 w 1509"/>
              <a:gd name="T33" fmla="*/ 1515 h 1515"/>
              <a:gd name="T34" fmla="*/ 0 w 1509"/>
              <a:gd name="T35" fmla="*/ 757 h 1515"/>
              <a:gd name="T36" fmla="*/ 1309 w 1509"/>
              <a:gd name="T37" fmla="*/ 0 h 15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509" h="1515">
                <a:moveTo>
                  <a:pt x="1309" y="0"/>
                </a:moveTo>
                <a:lnTo>
                  <a:pt x="1355" y="92"/>
                </a:lnTo>
                <a:lnTo>
                  <a:pt x="1395" y="183"/>
                </a:lnTo>
                <a:lnTo>
                  <a:pt x="1429" y="275"/>
                </a:lnTo>
                <a:lnTo>
                  <a:pt x="1458" y="373"/>
                </a:lnTo>
                <a:lnTo>
                  <a:pt x="1481" y="464"/>
                </a:lnTo>
                <a:lnTo>
                  <a:pt x="1498" y="562"/>
                </a:lnTo>
                <a:lnTo>
                  <a:pt x="1504" y="660"/>
                </a:lnTo>
                <a:lnTo>
                  <a:pt x="1509" y="757"/>
                </a:lnTo>
                <a:lnTo>
                  <a:pt x="1504" y="855"/>
                </a:lnTo>
                <a:lnTo>
                  <a:pt x="1498" y="958"/>
                </a:lnTo>
                <a:lnTo>
                  <a:pt x="1481" y="1050"/>
                </a:lnTo>
                <a:lnTo>
                  <a:pt x="1458" y="1147"/>
                </a:lnTo>
                <a:lnTo>
                  <a:pt x="1429" y="1245"/>
                </a:lnTo>
                <a:lnTo>
                  <a:pt x="1395" y="1337"/>
                </a:lnTo>
                <a:lnTo>
                  <a:pt x="1355" y="1428"/>
                </a:lnTo>
                <a:lnTo>
                  <a:pt x="1309" y="1515"/>
                </a:lnTo>
                <a:lnTo>
                  <a:pt x="0" y="757"/>
                </a:lnTo>
                <a:lnTo>
                  <a:pt x="1309" y="0"/>
                </a:lnTo>
                <a:close/>
              </a:path>
            </a:pathLst>
          </a:custGeom>
          <a:solidFill>
            <a:schemeClr val="bg1"/>
          </a:solidFill>
          <a:ln w="571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/>
          </a:p>
        </p:txBody>
      </p:sp>
      <p:sp>
        <p:nvSpPr>
          <p:cNvPr id="14" name="Freeform 9">
            <a:extLst>
              <a:ext uri="{FF2B5EF4-FFF2-40B4-BE49-F238E27FC236}">
                <a16:creationId xmlns:a16="http://schemas.microsoft.com/office/drawing/2014/main" id="{E8DEE6EA-A17F-08B1-2449-51D0B85F41B7}"/>
              </a:ext>
            </a:extLst>
          </p:cNvPr>
          <p:cNvSpPr>
            <a:spLocks/>
          </p:cNvSpPr>
          <p:nvPr/>
        </p:nvSpPr>
        <p:spPr bwMode="auto">
          <a:xfrm>
            <a:off x="5976690" y="3507302"/>
            <a:ext cx="1144926" cy="1324238"/>
          </a:xfrm>
          <a:custGeom>
            <a:avLst/>
            <a:gdLst>
              <a:gd name="T0" fmla="*/ 1309 w 1309"/>
              <a:gd name="T1" fmla="*/ 758 h 1521"/>
              <a:gd name="T2" fmla="*/ 1195 w 1309"/>
              <a:gd name="T3" fmla="*/ 930 h 1521"/>
              <a:gd name="T4" fmla="*/ 1063 w 1309"/>
              <a:gd name="T5" fmla="*/ 1079 h 1521"/>
              <a:gd name="T6" fmla="*/ 915 w 1309"/>
              <a:gd name="T7" fmla="*/ 1205 h 1521"/>
              <a:gd name="T8" fmla="*/ 755 w 1309"/>
              <a:gd name="T9" fmla="*/ 1314 h 1521"/>
              <a:gd name="T10" fmla="*/ 669 w 1309"/>
              <a:gd name="T11" fmla="*/ 1360 h 1521"/>
              <a:gd name="T12" fmla="*/ 577 w 1309"/>
              <a:gd name="T13" fmla="*/ 1400 h 1521"/>
              <a:gd name="T14" fmla="*/ 486 w 1309"/>
              <a:gd name="T15" fmla="*/ 1435 h 1521"/>
              <a:gd name="T16" fmla="*/ 394 w 1309"/>
              <a:gd name="T17" fmla="*/ 1463 h 1521"/>
              <a:gd name="T18" fmla="*/ 297 w 1309"/>
              <a:gd name="T19" fmla="*/ 1486 h 1521"/>
              <a:gd name="T20" fmla="*/ 200 w 1309"/>
              <a:gd name="T21" fmla="*/ 1503 h 1521"/>
              <a:gd name="T22" fmla="*/ 97 w 1309"/>
              <a:gd name="T23" fmla="*/ 1515 h 1521"/>
              <a:gd name="T24" fmla="*/ 0 w 1309"/>
              <a:gd name="T25" fmla="*/ 1521 h 1521"/>
              <a:gd name="T26" fmla="*/ 0 w 1309"/>
              <a:gd name="T27" fmla="*/ 0 h 1521"/>
              <a:gd name="T28" fmla="*/ 1309 w 1309"/>
              <a:gd name="T29" fmla="*/ 758 h 15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309" h="1521">
                <a:moveTo>
                  <a:pt x="1309" y="758"/>
                </a:moveTo>
                <a:lnTo>
                  <a:pt x="1195" y="930"/>
                </a:lnTo>
                <a:lnTo>
                  <a:pt x="1063" y="1079"/>
                </a:lnTo>
                <a:lnTo>
                  <a:pt x="915" y="1205"/>
                </a:lnTo>
                <a:lnTo>
                  <a:pt x="755" y="1314"/>
                </a:lnTo>
                <a:lnTo>
                  <a:pt x="669" y="1360"/>
                </a:lnTo>
                <a:lnTo>
                  <a:pt x="577" y="1400"/>
                </a:lnTo>
                <a:lnTo>
                  <a:pt x="486" y="1435"/>
                </a:lnTo>
                <a:lnTo>
                  <a:pt x="394" y="1463"/>
                </a:lnTo>
                <a:lnTo>
                  <a:pt x="297" y="1486"/>
                </a:lnTo>
                <a:lnTo>
                  <a:pt x="200" y="1503"/>
                </a:lnTo>
                <a:lnTo>
                  <a:pt x="97" y="1515"/>
                </a:lnTo>
                <a:lnTo>
                  <a:pt x="0" y="1521"/>
                </a:lnTo>
                <a:lnTo>
                  <a:pt x="0" y="0"/>
                </a:lnTo>
                <a:lnTo>
                  <a:pt x="1309" y="758"/>
                </a:lnTo>
                <a:close/>
              </a:path>
            </a:pathLst>
          </a:custGeom>
          <a:solidFill>
            <a:schemeClr val="bg1"/>
          </a:solidFill>
          <a:ln w="571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/>
          </a:p>
        </p:txBody>
      </p:sp>
      <p:sp>
        <p:nvSpPr>
          <p:cNvPr id="15" name="Freeform 11">
            <a:extLst>
              <a:ext uri="{FF2B5EF4-FFF2-40B4-BE49-F238E27FC236}">
                <a16:creationId xmlns:a16="http://schemas.microsoft.com/office/drawing/2014/main" id="{ECD19B38-56E3-00A8-111B-0A4E86FB2785}"/>
              </a:ext>
            </a:extLst>
          </p:cNvPr>
          <p:cNvSpPr>
            <a:spLocks/>
          </p:cNvSpPr>
          <p:nvPr/>
        </p:nvSpPr>
        <p:spPr bwMode="auto">
          <a:xfrm>
            <a:off x="4831765" y="3507302"/>
            <a:ext cx="1144926" cy="1324238"/>
          </a:xfrm>
          <a:custGeom>
            <a:avLst/>
            <a:gdLst>
              <a:gd name="T0" fmla="*/ 1309 w 1309"/>
              <a:gd name="T1" fmla="*/ 1521 h 1521"/>
              <a:gd name="T2" fmla="*/ 1206 w 1309"/>
              <a:gd name="T3" fmla="*/ 1515 h 1521"/>
              <a:gd name="T4" fmla="*/ 1109 w 1309"/>
              <a:gd name="T5" fmla="*/ 1503 h 1521"/>
              <a:gd name="T6" fmla="*/ 1012 w 1309"/>
              <a:gd name="T7" fmla="*/ 1486 h 1521"/>
              <a:gd name="T8" fmla="*/ 914 w 1309"/>
              <a:gd name="T9" fmla="*/ 1463 h 1521"/>
              <a:gd name="T10" fmla="*/ 817 w 1309"/>
              <a:gd name="T11" fmla="*/ 1435 h 1521"/>
              <a:gd name="T12" fmla="*/ 726 w 1309"/>
              <a:gd name="T13" fmla="*/ 1400 h 1521"/>
              <a:gd name="T14" fmla="*/ 640 w 1309"/>
              <a:gd name="T15" fmla="*/ 1360 h 1521"/>
              <a:gd name="T16" fmla="*/ 554 w 1309"/>
              <a:gd name="T17" fmla="*/ 1314 h 1521"/>
              <a:gd name="T18" fmla="*/ 388 w 1309"/>
              <a:gd name="T19" fmla="*/ 1205 h 1521"/>
              <a:gd name="T20" fmla="*/ 240 w 1309"/>
              <a:gd name="T21" fmla="*/ 1079 h 1521"/>
              <a:gd name="T22" fmla="*/ 114 w 1309"/>
              <a:gd name="T23" fmla="*/ 930 h 1521"/>
              <a:gd name="T24" fmla="*/ 0 w 1309"/>
              <a:gd name="T25" fmla="*/ 758 h 1521"/>
              <a:gd name="T26" fmla="*/ 1309 w 1309"/>
              <a:gd name="T27" fmla="*/ 0 h 1521"/>
              <a:gd name="T28" fmla="*/ 1309 w 1309"/>
              <a:gd name="T29" fmla="*/ 1521 h 15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309" h="1521">
                <a:moveTo>
                  <a:pt x="1309" y="1521"/>
                </a:moveTo>
                <a:lnTo>
                  <a:pt x="1206" y="1515"/>
                </a:lnTo>
                <a:lnTo>
                  <a:pt x="1109" y="1503"/>
                </a:lnTo>
                <a:lnTo>
                  <a:pt x="1012" y="1486"/>
                </a:lnTo>
                <a:lnTo>
                  <a:pt x="914" y="1463"/>
                </a:lnTo>
                <a:lnTo>
                  <a:pt x="817" y="1435"/>
                </a:lnTo>
                <a:lnTo>
                  <a:pt x="726" y="1400"/>
                </a:lnTo>
                <a:lnTo>
                  <a:pt x="640" y="1360"/>
                </a:lnTo>
                <a:lnTo>
                  <a:pt x="554" y="1314"/>
                </a:lnTo>
                <a:lnTo>
                  <a:pt x="388" y="1205"/>
                </a:lnTo>
                <a:lnTo>
                  <a:pt x="240" y="1079"/>
                </a:lnTo>
                <a:lnTo>
                  <a:pt x="114" y="930"/>
                </a:lnTo>
                <a:lnTo>
                  <a:pt x="0" y="758"/>
                </a:lnTo>
                <a:lnTo>
                  <a:pt x="1309" y="0"/>
                </a:lnTo>
                <a:lnTo>
                  <a:pt x="1309" y="1521"/>
                </a:lnTo>
                <a:close/>
              </a:path>
            </a:pathLst>
          </a:custGeom>
          <a:solidFill>
            <a:schemeClr val="bg1"/>
          </a:solidFill>
          <a:ln w="571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/>
          </a:p>
        </p:txBody>
      </p:sp>
      <p:sp>
        <p:nvSpPr>
          <p:cNvPr id="16" name="Freeform 13">
            <a:extLst>
              <a:ext uri="{FF2B5EF4-FFF2-40B4-BE49-F238E27FC236}">
                <a16:creationId xmlns:a16="http://schemas.microsoft.com/office/drawing/2014/main" id="{151D953C-B59A-E560-E7AC-C73B8E20D0CA}"/>
              </a:ext>
            </a:extLst>
          </p:cNvPr>
          <p:cNvSpPr>
            <a:spLocks/>
          </p:cNvSpPr>
          <p:nvPr/>
        </p:nvSpPr>
        <p:spPr bwMode="auto">
          <a:xfrm>
            <a:off x="4655959" y="2848230"/>
            <a:ext cx="1320731" cy="1319015"/>
          </a:xfrm>
          <a:custGeom>
            <a:avLst/>
            <a:gdLst>
              <a:gd name="T0" fmla="*/ 201 w 1510"/>
              <a:gd name="T1" fmla="*/ 1515 h 1515"/>
              <a:gd name="T2" fmla="*/ 155 w 1510"/>
              <a:gd name="T3" fmla="*/ 1428 h 1515"/>
              <a:gd name="T4" fmla="*/ 115 w 1510"/>
              <a:gd name="T5" fmla="*/ 1337 h 1515"/>
              <a:gd name="T6" fmla="*/ 81 w 1510"/>
              <a:gd name="T7" fmla="*/ 1245 h 1515"/>
              <a:gd name="T8" fmla="*/ 52 w 1510"/>
              <a:gd name="T9" fmla="*/ 1147 h 1515"/>
              <a:gd name="T10" fmla="*/ 29 w 1510"/>
              <a:gd name="T11" fmla="*/ 1050 h 1515"/>
              <a:gd name="T12" fmla="*/ 12 w 1510"/>
              <a:gd name="T13" fmla="*/ 958 h 1515"/>
              <a:gd name="T14" fmla="*/ 0 w 1510"/>
              <a:gd name="T15" fmla="*/ 855 h 1515"/>
              <a:gd name="T16" fmla="*/ 0 w 1510"/>
              <a:gd name="T17" fmla="*/ 757 h 1515"/>
              <a:gd name="T18" fmla="*/ 0 w 1510"/>
              <a:gd name="T19" fmla="*/ 660 h 1515"/>
              <a:gd name="T20" fmla="*/ 12 w 1510"/>
              <a:gd name="T21" fmla="*/ 562 h 1515"/>
              <a:gd name="T22" fmla="*/ 29 w 1510"/>
              <a:gd name="T23" fmla="*/ 464 h 1515"/>
              <a:gd name="T24" fmla="*/ 52 w 1510"/>
              <a:gd name="T25" fmla="*/ 373 h 1515"/>
              <a:gd name="T26" fmla="*/ 81 w 1510"/>
              <a:gd name="T27" fmla="*/ 275 h 1515"/>
              <a:gd name="T28" fmla="*/ 115 w 1510"/>
              <a:gd name="T29" fmla="*/ 183 h 1515"/>
              <a:gd name="T30" fmla="*/ 155 w 1510"/>
              <a:gd name="T31" fmla="*/ 92 h 1515"/>
              <a:gd name="T32" fmla="*/ 201 w 1510"/>
              <a:gd name="T33" fmla="*/ 0 h 1515"/>
              <a:gd name="T34" fmla="*/ 1510 w 1510"/>
              <a:gd name="T35" fmla="*/ 757 h 1515"/>
              <a:gd name="T36" fmla="*/ 201 w 1510"/>
              <a:gd name="T37" fmla="*/ 1515 h 15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510" h="1515">
                <a:moveTo>
                  <a:pt x="201" y="1515"/>
                </a:moveTo>
                <a:lnTo>
                  <a:pt x="155" y="1428"/>
                </a:lnTo>
                <a:lnTo>
                  <a:pt x="115" y="1337"/>
                </a:lnTo>
                <a:lnTo>
                  <a:pt x="81" y="1245"/>
                </a:lnTo>
                <a:lnTo>
                  <a:pt x="52" y="1147"/>
                </a:lnTo>
                <a:lnTo>
                  <a:pt x="29" y="1050"/>
                </a:lnTo>
                <a:lnTo>
                  <a:pt x="12" y="958"/>
                </a:lnTo>
                <a:lnTo>
                  <a:pt x="0" y="855"/>
                </a:lnTo>
                <a:lnTo>
                  <a:pt x="0" y="757"/>
                </a:lnTo>
                <a:lnTo>
                  <a:pt x="0" y="660"/>
                </a:lnTo>
                <a:lnTo>
                  <a:pt x="12" y="562"/>
                </a:lnTo>
                <a:lnTo>
                  <a:pt x="29" y="464"/>
                </a:lnTo>
                <a:lnTo>
                  <a:pt x="52" y="373"/>
                </a:lnTo>
                <a:lnTo>
                  <a:pt x="81" y="275"/>
                </a:lnTo>
                <a:lnTo>
                  <a:pt x="115" y="183"/>
                </a:lnTo>
                <a:lnTo>
                  <a:pt x="155" y="92"/>
                </a:lnTo>
                <a:lnTo>
                  <a:pt x="201" y="0"/>
                </a:lnTo>
                <a:lnTo>
                  <a:pt x="1510" y="757"/>
                </a:lnTo>
                <a:lnTo>
                  <a:pt x="201" y="1515"/>
                </a:lnTo>
                <a:close/>
              </a:path>
            </a:pathLst>
          </a:custGeom>
          <a:solidFill>
            <a:schemeClr val="bg1"/>
          </a:solidFill>
          <a:ln w="571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/>
          </a:p>
        </p:txBody>
      </p:sp>
      <p:sp>
        <p:nvSpPr>
          <p:cNvPr id="17" name="Freeform 15">
            <a:extLst>
              <a:ext uri="{FF2B5EF4-FFF2-40B4-BE49-F238E27FC236}">
                <a16:creationId xmlns:a16="http://schemas.microsoft.com/office/drawing/2014/main" id="{28412924-C8D5-903D-ACF6-F3D720449377}"/>
              </a:ext>
            </a:extLst>
          </p:cNvPr>
          <p:cNvSpPr>
            <a:spLocks/>
          </p:cNvSpPr>
          <p:nvPr/>
        </p:nvSpPr>
        <p:spPr bwMode="auto">
          <a:xfrm>
            <a:off x="4831765" y="2188287"/>
            <a:ext cx="1144926" cy="1319015"/>
          </a:xfrm>
          <a:custGeom>
            <a:avLst/>
            <a:gdLst>
              <a:gd name="T0" fmla="*/ 0 w 1309"/>
              <a:gd name="T1" fmla="*/ 758 h 1515"/>
              <a:gd name="T2" fmla="*/ 114 w 1309"/>
              <a:gd name="T3" fmla="*/ 591 h 1515"/>
              <a:gd name="T4" fmla="*/ 240 w 1309"/>
              <a:gd name="T5" fmla="*/ 442 h 1515"/>
              <a:gd name="T6" fmla="*/ 388 w 1309"/>
              <a:gd name="T7" fmla="*/ 316 h 1515"/>
              <a:gd name="T8" fmla="*/ 554 w 1309"/>
              <a:gd name="T9" fmla="*/ 207 h 1515"/>
              <a:gd name="T10" fmla="*/ 640 w 1309"/>
              <a:gd name="T11" fmla="*/ 161 h 1515"/>
              <a:gd name="T12" fmla="*/ 726 w 1309"/>
              <a:gd name="T13" fmla="*/ 121 h 1515"/>
              <a:gd name="T14" fmla="*/ 817 w 1309"/>
              <a:gd name="T15" fmla="*/ 81 h 1515"/>
              <a:gd name="T16" fmla="*/ 914 w 1309"/>
              <a:gd name="T17" fmla="*/ 52 h 1515"/>
              <a:gd name="T18" fmla="*/ 1012 w 1309"/>
              <a:gd name="T19" fmla="*/ 29 h 1515"/>
              <a:gd name="T20" fmla="*/ 1109 w 1309"/>
              <a:gd name="T21" fmla="*/ 18 h 1515"/>
              <a:gd name="T22" fmla="*/ 1206 w 1309"/>
              <a:gd name="T23" fmla="*/ 6 h 1515"/>
              <a:gd name="T24" fmla="*/ 1309 w 1309"/>
              <a:gd name="T25" fmla="*/ 0 h 1515"/>
              <a:gd name="T26" fmla="*/ 1309 w 1309"/>
              <a:gd name="T27" fmla="*/ 1515 h 1515"/>
              <a:gd name="T28" fmla="*/ 0 w 1309"/>
              <a:gd name="T29" fmla="*/ 758 h 15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309" h="1515">
                <a:moveTo>
                  <a:pt x="0" y="758"/>
                </a:moveTo>
                <a:lnTo>
                  <a:pt x="114" y="591"/>
                </a:lnTo>
                <a:lnTo>
                  <a:pt x="240" y="442"/>
                </a:lnTo>
                <a:lnTo>
                  <a:pt x="388" y="316"/>
                </a:lnTo>
                <a:lnTo>
                  <a:pt x="554" y="207"/>
                </a:lnTo>
                <a:lnTo>
                  <a:pt x="640" y="161"/>
                </a:lnTo>
                <a:lnTo>
                  <a:pt x="726" y="121"/>
                </a:lnTo>
                <a:lnTo>
                  <a:pt x="817" y="81"/>
                </a:lnTo>
                <a:lnTo>
                  <a:pt x="914" y="52"/>
                </a:lnTo>
                <a:lnTo>
                  <a:pt x="1012" y="29"/>
                </a:lnTo>
                <a:lnTo>
                  <a:pt x="1109" y="18"/>
                </a:lnTo>
                <a:lnTo>
                  <a:pt x="1206" y="6"/>
                </a:lnTo>
                <a:lnTo>
                  <a:pt x="1309" y="0"/>
                </a:lnTo>
                <a:lnTo>
                  <a:pt x="1309" y="1515"/>
                </a:lnTo>
                <a:lnTo>
                  <a:pt x="0" y="758"/>
                </a:lnTo>
                <a:close/>
              </a:path>
            </a:pathLst>
          </a:custGeom>
          <a:solidFill>
            <a:schemeClr val="bg1"/>
          </a:solidFill>
          <a:ln w="571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/>
          </a:p>
        </p:txBody>
      </p:sp>
      <p:sp>
        <p:nvSpPr>
          <p:cNvPr id="18" name="Block Arc 17">
            <a:extLst>
              <a:ext uri="{FF2B5EF4-FFF2-40B4-BE49-F238E27FC236}">
                <a16:creationId xmlns:a16="http://schemas.microsoft.com/office/drawing/2014/main" id="{34683E81-9204-99CE-E8CE-75CA0FA896CA}"/>
              </a:ext>
            </a:extLst>
          </p:cNvPr>
          <p:cNvSpPr>
            <a:spLocks/>
          </p:cNvSpPr>
          <p:nvPr/>
        </p:nvSpPr>
        <p:spPr>
          <a:xfrm rot="21543285" flipH="1">
            <a:off x="4524315" y="2081525"/>
            <a:ext cx="2883322" cy="2869228"/>
          </a:xfrm>
          <a:prstGeom prst="blockArc">
            <a:avLst>
              <a:gd name="adj1" fmla="val 13230543"/>
              <a:gd name="adj2" fmla="val 15378897"/>
              <a:gd name="adj3" fmla="val 11039"/>
            </a:avLst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CA" sz="1600" dirty="0" err="1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19" name="Block Arc 18">
            <a:extLst>
              <a:ext uri="{FF2B5EF4-FFF2-40B4-BE49-F238E27FC236}">
                <a16:creationId xmlns:a16="http://schemas.microsoft.com/office/drawing/2014/main" id="{F4E6C9AC-A80E-DB13-5F99-9B58FFFB4BD8}"/>
              </a:ext>
            </a:extLst>
          </p:cNvPr>
          <p:cNvSpPr>
            <a:spLocks/>
          </p:cNvSpPr>
          <p:nvPr/>
        </p:nvSpPr>
        <p:spPr>
          <a:xfrm rot="17889974">
            <a:off x="4568151" y="2085755"/>
            <a:ext cx="2772308" cy="2689693"/>
          </a:xfrm>
          <a:prstGeom prst="blockArc">
            <a:avLst>
              <a:gd name="adj1" fmla="val 13499708"/>
              <a:gd name="adj2" fmla="val 15378897"/>
              <a:gd name="adj3" fmla="val 11039"/>
            </a:avLst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CA" sz="1600" dirty="0" err="1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20" name="Block Arc 19">
            <a:extLst>
              <a:ext uri="{FF2B5EF4-FFF2-40B4-BE49-F238E27FC236}">
                <a16:creationId xmlns:a16="http://schemas.microsoft.com/office/drawing/2014/main" id="{95D95D1A-BB60-B75A-B359-A7E331192CBA}"/>
              </a:ext>
            </a:extLst>
          </p:cNvPr>
          <p:cNvSpPr>
            <a:spLocks/>
          </p:cNvSpPr>
          <p:nvPr/>
        </p:nvSpPr>
        <p:spPr>
          <a:xfrm rot="14498417">
            <a:off x="4644824" y="2346207"/>
            <a:ext cx="2514562" cy="2502271"/>
          </a:xfrm>
          <a:prstGeom prst="blockArc">
            <a:avLst>
              <a:gd name="adj1" fmla="val 12992370"/>
              <a:gd name="adj2" fmla="val 15378897"/>
              <a:gd name="adj3" fmla="val 11039"/>
            </a:avLst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CA" sz="1600" dirty="0" err="1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BC7ACEB-1771-2855-7455-4EBC577FF4BA}"/>
              </a:ext>
            </a:extLst>
          </p:cNvPr>
          <p:cNvSpPr txBox="1">
            <a:spLocks/>
          </p:cNvSpPr>
          <p:nvPr/>
        </p:nvSpPr>
        <p:spPr>
          <a:xfrm>
            <a:off x="7674221" y="1552679"/>
            <a:ext cx="2808022" cy="24622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lvl="0">
              <a:defRPr/>
            </a:pPr>
            <a:r>
              <a:rPr lang="en-US" sz="1600" b="1" dirty="0">
                <a:solidFill>
                  <a:schemeClr val="accent1"/>
                </a:solidFill>
                <a:latin typeface="+mn-lt"/>
                <a:cs typeface="Calibri" panose="020F0502020204030204" pitchFamily="34" charset="0"/>
              </a:rPr>
              <a:t>HEADING</a:t>
            </a:r>
            <a:endParaRPr lang="en-CA" sz="1600" b="1" dirty="0">
              <a:solidFill>
                <a:schemeClr val="accent1"/>
              </a:solidFill>
              <a:latin typeface="+mn-lt"/>
              <a:ea typeface="ＭＳ Ｐゴシック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FCE8F2E-81B7-6797-3AA7-5AE7CB6E9482}"/>
              </a:ext>
            </a:extLst>
          </p:cNvPr>
          <p:cNvSpPr txBox="1">
            <a:spLocks/>
          </p:cNvSpPr>
          <p:nvPr/>
        </p:nvSpPr>
        <p:spPr>
          <a:xfrm>
            <a:off x="7674221" y="1833507"/>
            <a:ext cx="2808022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>
              <a:defRPr/>
            </a:pPr>
            <a:r>
              <a:rPr lang="en-IN" sz="1600" dirty="0">
                <a:latin typeface="+mn-lt"/>
                <a:cs typeface="Calibri" panose="020F0502020204030204" pitchFamily="34" charset="0"/>
              </a:rPr>
              <a:t>Insert your text here Insert your text here Insert your text</a:t>
            </a:r>
            <a:endParaRPr lang="en-CA" sz="1600" dirty="0">
              <a:latin typeface="+mn-lt"/>
              <a:ea typeface="ＭＳ Ｐゴシック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8740D42-1EE9-BAE9-7058-FA514FFD1CFB}"/>
              </a:ext>
            </a:extLst>
          </p:cNvPr>
          <p:cNvSpPr txBox="1">
            <a:spLocks/>
          </p:cNvSpPr>
          <p:nvPr/>
        </p:nvSpPr>
        <p:spPr>
          <a:xfrm>
            <a:off x="8489252" y="3057759"/>
            <a:ext cx="2808022" cy="24622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lvl="0" algn="r">
              <a:defRPr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l"/>
            <a:r>
              <a:rPr lang="en-CA" sz="1600" dirty="0">
                <a:solidFill>
                  <a:schemeClr val="accent2"/>
                </a:solidFill>
                <a:latin typeface="+mn-lt"/>
                <a:cs typeface="Calibri" panose="020F0502020204030204" pitchFamily="34" charset="0"/>
              </a:rPr>
              <a:t>HEADING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FDF3D9D8-A5FD-F793-67D6-269E6C94FB90}"/>
              </a:ext>
            </a:extLst>
          </p:cNvPr>
          <p:cNvSpPr txBox="1">
            <a:spLocks/>
          </p:cNvSpPr>
          <p:nvPr/>
        </p:nvSpPr>
        <p:spPr>
          <a:xfrm>
            <a:off x="8489252" y="3338587"/>
            <a:ext cx="2808022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>
              <a:defRPr/>
            </a:pPr>
            <a:r>
              <a:rPr lang="en-IN" sz="1600" dirty="0">
                <a:latin typeface="+mn-lt"/>
                <a:cs typeface="Calibri" panose="020F0502020204030204" pitchFamily="34" charset="0"/>
              </a:rPr>
              <a:t>Insert your text here Insert your text here Insert your text</a:t>
            </a:r>
            <a:endParaRPr lang="en-CA" sz="1600" dirty="0">
              <a:latin typeface="+mn-lt"/>
              <a:ea typeface="ＭＳ Ｐゴシック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84B6E2CC-F35A-ACCF-7CB5-8ED9984B0720}"/>
              </a:ext>
            </a:extLst>
          </p:cNvPr>
          <p:cNvSpPr/>
          <p:nvPr/>
        </p:nvSpPr>
        <p:spPr>
          <a:xfrm flipH="1">
            <a:off x="6499035" y="1454867"/>
            <a:ext cx="872198" cy="872198"/>
          </a:xfrm>
          <a:prstGeom prst="ellipse">
            <a:avLst/>
          </a:prstGeom>
          <a:solidFill>
            <a:schemeClr val="accent1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CA" sz="1600" dirty="0" err="1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8D12823A-9E5B-994E-DB5B-31C3F81028F7}"/>
              </a:ext>
            </a:extLst>
          </p:cNvPr>
          <p:cNvSpPr txBox="1"/>
          <p:nvPr/>
        </p:nvSpPr>
        <p:spPr>
          <a:xfrm>
            <a:off x="6658820" y="1529049"/>
            <a:ext cx="552628" cy="677108"/>
          </a:xfrm>
          <a:prstGeom prst="rect">
            <a:avLst/>
          </a:prstGeom>
          <a:noFill/>
        </p:spPr>
        <p:txBody>
          <a:bodyPr wrap="square" lIns="0" tIns="0" rIns="0" bIns="0" rtlCol="0" anchor="ctr" anchorCtr="1">
            <a:spAutoFit/>
          </a:bodyPr>
          <a:lstStyle/>
          <a:p>
            <a:pPr>
              <a:defRPr/>
            </a:pPr>
            <a:r>
              <a:rPr lang="en-CA" sz="4400" dirty="0">
                <a:solidFill>
                  <a:schemeClr val="bg1"/>
                </a:solidFill>
                <a:latin typeface="+mn-lt"/>
                <a:ea typeface="ＭＳ Ｐゴシック"/>
              </a:rPr>
              <a:t>1</a:t>
            </a: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BE31EBC5-000C-5A7B-3DC5-5BAB6355C118}"/>
              </a:ext>
            </a:extLst>
          </p:cNvPr>
          <p:cNvSpPr/>
          <p:nvPr/>
        </p:nvSpPr>
        <p:spPr>
          <a:xfrm>
            <a:off x="3730725" y="3042183"/>
            <a:ext cx="872198" cy="872198"/>
          </a:xfrm>
          <a:prstGeom prst="ellipse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CA" sz="1600" dirty="0" err="1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36E578E9-A305-594A-3B30-6E1178A5F14E}"/>
              </a:ext>
            </a:extLst>
          </p:cNvPr>
          <p:cNvSpPr txBox="1"/>
          <p:nvPr/>
        </p:nvSpPr>
        <p:spPr>
          <a:xfrm>
            <a:off x="3890510" y="3088928"/>
            <a:ext cx="552628" cy="677108"/>
          </a:xfrm>
          <a:prstGeom prst="rect">
            <a:avLst/>
          </a:prstGeom>
          <a:noFill/>
        </p:spPr>
        <p:txBody>
          <a:bodyPr wrap="square" lIns="0" tIns="0" rIns="0" bIns="0" rtlCol="0" anchor="ctr" anchorCtr="1">
            <a:spAutoFit/>
          </a:bodyPr>
          <a:lstStyle/>
          <a:p>
            <a:pPr>
              <a:defRPr/>
            </a:pPr>
            <a:r>
              <a:rPr lang="en-CA" sz="4400" dirty="0">
                <a:solidFill>
                  <a:schemeClr val="bg1"/>
                </a:solidFill>
                <a:latin typeface="+mn-lt"/>
                <a:ea typeface="ＭＳ Ｐゴシック"/>
              </a:rPr>
              <a:t>5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6A2A6CA0-4A73-5E35-A0BF-C0455CFDC4BC}"/>
              </a:ext>
            </a:extLst>
          </p:cNvPr>
          <p:cNvSpPr/>
          <p:nvPr/>
        </p:nvSpPr>
        <p:spPr>
          <a:xfrm flipH="1" flipV="1">
            <a:off x="6549153" y="4589065"/>
            <a:ext cx="872198" cy="872198"/>
          </a:xfrm>
          <a:prstGeom prst="ellipse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CA" sz="1600" dirty="0" err="1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08C81A97-248F-1E92-7962-DF066D375248}"/>
              </a:ext>
            </a:extLst>
          </p:cNvPr>
          <p:cNvSpPr txBox="1"/>
          <p:nvPr/>
        </p:nvSpPr>
        <p:spPr>
          <a:xfrm>
            <a:off x="6708938" y="4686610"/>
            <a:ext cx="552628" cy="677108"/>
          </a:xfrm>
          <a:prstGeom prst="rect">
            <a:avLst/>
          </a:prstGeom>
          <a:noFill/>
        </p:spPr>
        <p:txBody>
          <a:bodyPr wrap="square" lIns="0" tIns="0" rIns="0" bIns="0" rtlCol="0" anchor="ctr" anchorCtr="1">
            <a:spAutoFit/>
          </a:bodyPr>
          <a:lstStyle/>
          <a:p>
            <a:pPr>
              <a:defRPr/>
            </a:pPr>
            <a:r>
              <a:rPr lang="en-CA" sz="4400" dirty="0">
                <a:solidFill>
                  <a:schemeClr val="bg1"/>
                </a:solidFill>
                <a:latin typeface="+mn-lt"/>
                <a:ea typeface="ＭＳ Ｐゴシック"/>
              </a:rPr>
              <a:t>3</a:t>
            </a:r>
          </a:p>
        </p:txBody>
      </p:sp>
      <p:sp>
        <p:nvSpPr>
          <p:cNvPr id="31" name="Block Arc 30">
            <a:extLst>
              <a:ext uri="{FF2B5EF4-FFF2-40B4-BE49-F238E27FC236}">
                <a16:creationId xmlns:a16="http://schemas.microsoft.com/office/drawing/2014/main" id="{6F30DBF0-DA4D-5B6F-0CC1-1CE80FFDB2AE}"/>
              </a:ext>
            </a:extLst>
          </p:cNvPr>
          <p:cNvSpPr>
            <a:spLocks/>
          </p:cNvSpPr>
          <p:nvPr/>
        </p:nvSpPr>
        <p:spPr>
          <a:xfrm rot="21372587">
            <a:off x="4635755" y="2123576"/>
            <a:ext cx="2772308" cy="2689693"/>
          </a:xfrm>
          <a:prstGeom prst="blockArc">
            <a:avLst>
              <a:gd name="adj1" fmla="val 13562647"/>
              <a:gd name="adj2" fmla="val 15378897"/>
              <a:gd name="adj3" fmla="val 11039"/>
            </a:avLst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CA" sz="1600" dirty="0" err="1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32" name="Block Arc 31">
            <a:extLst>
              <a:ext uri="{FF2B5EF4-FFF2-40B4-BE49-F238E27FC236}">
                <a16:creationId xmlns:a16="http://schemas.microsoft.com/office/drawing/2014/main" id="{FBE41BC5-D8B5-1458-D5BC-AC9147C594F9}"/>
              </a:ext>
            </a:extLst>
          </p:cNvPr>
          <p:cNvSpPr>
            <a:spLocks/>
          </p:cNvSpPr>
          <p:nvPr/>
        </p:nvSpPr>
        <p:spPr>
          <a:xfrm rot="2899050" flipH="1">
            <a:off x="4816468" y="2384184"/>
            <a:ext cx="2600610" cy="2680772"/>
          </a:xfrm>
          <a:prstGeom prst="blockArc">
            <a:avLst>
              <a:gd name="adj1" fmla="val 13345233"/>
              <a:gd name="adj2" fmla="val 15755140"/>
              <a:gd name="adj3" fmla="val 15807"/>
            </a:avLst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CA" sz="1600" dirty="0" err="1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C9E4BED4-0773-D521-90A6-FC1D442B966C}"/>
              </a:ext>
            </a:extLst>
          </p:cNvPr>
          <p:cNvSpPr/>
          <p:nvPr/>
        </p:nvSpPr>
        <p:spPr>
          <a:xfrm flipH="1">
            <a:off x="7392222" y="2915396"/>
            <a:ext cx="872198" cy="872198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CA" sz="1600" dirty="0" err="1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E25637A8-625F-77FC-9B4A-91F39B2514A2}"/>
              </a:ext>
            </a:extLst>
          </p:cNvPr>
          <p:cNvSpPr txBox="1"/>
          <p:nvPr/>
        </p:nvSpPr>
        <p:spPr>
          <a:xfrm>
            <a:off x="7552007" y="3012941"/>
            <a:ext cx="552628" cy="677108"/>
          </a:xfrm>
          <a:prstGeom prst="rect">
            <a:avLst/>
          </a:prstGeom>
          <a:noFill/>
        </p:spPr>
        <p:txBody>
          <a:bodyPr wrap="square" lIns="0" tIns="0" rIns="0" bIns="0" rtlCol="0" anchor="ctr" anchorCtr="1">
            <a:spAutoFit/>
          </a:bodyPr>
          <a:lstStyle/>
          <a:p>
            <a:pPr>
              <a:defRPr/>
            </a:pPr>
            <a:r>
              <a:rPr lang="en-CA" sz="4400" dirty="0">
                <a:solidFill>
                  <a:schemeClr val="bg1"/>
                </a:solidFill>
                <a:latin typeface="+mn-lt"/>
                <a:ea typeface="ＭＳ Ｐゴシック"/>
              </a:rPr>
              <a:t>2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10249313-316C-FE30-AC43-B96757DEF180}"/>
              </a:ext>
            </a:extLst>
          </p:cNvPr>
          <p:cNvSpPr/>
          <p:nvPr/>
        </p:nvSpPr>
        <p:spPr>
          <a:xfrm flipH="1" flipV="1">
            <a:off x="4597907" y="4661969"/>
            <a:ext cx="872198" cy="872198"/>
          </a:xfrm>
          <a:prstGeom prst="ellipse">
            <a:avLst/>
          </a:prstGeom>
          <a:solidFill>
            <a:schemeClr val="accent4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CA" sz="1600" dirty="0" err="1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667622A6-8335-7511-03D6-A9BF8ED1A436}"/>
              </a:ext>
            </a:extLst>
          </p:cNvPr>
          <p:cNvSpPr txBox="1"/>
          <p:nvPr/>
        </p:nvSpPr>
        <p:spPr>
          <a:xfrm>
            <a:off x="4757692" y="4759514"/>
            <a:ext cx="552628" cy="677108"/>
          </a:xfrm>
          <a:prstGeom prst="rect">
            <a:avLst/>
          </a:prstGeom>
          <a:noFill/>
        </p:spPr>
        <p:txBody>
          <a:bodyPr wrap="square" lIns="0" tIns="0" rIns="0" bIns="0" rtlCol="0" anchor="ctr" anchorCtr="1">
            <a:spAutoFit/>
          </a:bodyPr>
          <a:lstStyle/>
          <a:p>
            <a:pPr>
              <a:defRPr/>
            </a:pPr>
            <a:r>
              <a:rPr lang="en-CA" sz="4400" dirty="0">
                <a:solidFill>
                  <a:schemeClr val="bg1"/>
                </a:solidFill>
                <a:latin typeface="+mn-lt"/>
                <a:ea typeface="ＭＳ Ｐゴシック"/>
              </a:rPr>
              <a:t>4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F664C9DF-1881-376C-5C12-DC62B1154C9F}"/>
              </a:ext>
            </a:extLst>
          </p:cNvPr>
          <p:cNvSpPr txBox="1">
            <a:spLocks/>
          </p:cNvSpPr>
          <p:nvPr/>
        </p:nvSpPr>
        <p:spPr>
          <a:xfrm>
            <a:off x="7612985" y="4800763"/>
            <a:ext cx="2808022" cy="24622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lvl="0" algn="r">
              <a:defRPr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l"/>
            <a:r>
              <a:rPr lang="en-CA" sz="1600" dirty="0">
                <a:solidFill>
                  <a:schemeClr val="accent3"/>
                </a:solidFill>
                <a:latin typeface="+mn-lt"/>
                <a:cs typeface="Calibri" panose="020F0502020204030204" pitchFamily="34" charset="0"/>
              </a:rPr>
              <a:t>HEADING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997C3585-9154-BDC9-EBEE-172A9DF07189}"/>
              </a:ext>
            </a:extLst>
          </p:cNvPr>
          <p:cNvSpPr txBox="1">
            <a:spLocks/>
          </p:cNvSpPr>
          <p:nvPr/>
        </p:nvSpPr>
        <p:spPr>
          <a:xfrm>
            <a:off x="7612985" y="5081591"/>
            <a:ext cx="2808022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>
              <a:defRPr/>
            </a:pPr>
            <a:r>
              <a:rPr lang="en-IN" sz="1600" dirty="0">
                <a:latin typeface="+mn-lt"/>
                <a:cs typeface="Calibri" panose="020F0502020204030204" pitchFamily="34" charset="0"/>
              </a:rPr>
              <a:t>Insert your text here Insert your text here Insert your text</a:t>
            </a:r>
            <a:endParaRPr lang="en-CA" sz="1600" dirty="0">
              <a:latin typeface="+mn-lt"/>
              <a:ea typeface="ＭＳ Ｐゴシック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9B4ADB82-BF05-BB34-809D-52A89D341463}"/>
              </a:ext>
            </a:extLst>
          </p:cNvPr>
          <p:cNvSpPr txBox="1">
            <a:spLocks/>
          </p:cNvSpPr>
          <p:nvPr/>
        </p:nvSpPr>
        <p:spPr>
          <a:xfrm>
            <a:off x="634084" y="3057759"/>
            <a:ext cx="2884087" cy="24622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lvl="0" algn="r">
              <a:defRPr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CA" sz="1600" dirty="0">
                <a:solidFill>
                  <a:schemeClr val="accent5"/>
                </a:solidFill>
                <a:latin typeface="+mn-lt"/>
                <a:cs typeface="Calibri" panose="020F0502020204030204" pitchFamily="34" charset="0"/>
              </a:rPr>
              <a:t>HEADING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AFFF97A6-55EF-D8FC-0780-FDAC077B9D87}"/>
              </a:ext>
            </a:extLst>
          </p:cNvPr>
          <p:cNvSpPr txBox="1">
            <a:spLocks/>
          </p:cNvSpPr>
          <p:nvPr/>
        </p:nvSpPr>
        <p:spPr>
          <a:xfrm>
            <a:off x="634084" y="3338587"/>
            <a:ext cx="2884087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r">
              <a:defRPr/>
            </a:pPr>
            <a:r>
              <a:rPr lang="en-IN" sz="1600" dirty="0">
                <a:latin typeface="+mn-lt"/>
                <a:cs typeface="Calibri" panose="020F0502020204030204" pitchFamily="34" charset="0"/>
              </a:rPr>
              <a:t>Insert your text here Insert your text here Insert your text</a:t>
            </a:r>
            <a:endParaRPr lang="en-CA" sz="1600" dirty="0">
              <a:latin typeface="+mn-lt"/>
              <a:ea typeface="ＭＳ Ｐゴシック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A0702F7E-5D00-4751-EB44-6A774EE09DC5}"/>
              </a:ext>
            </a:extLst>
          </p:cNvPr>
          <p:cNvSpPr txBox="1">
            <a:spLocks/>
          </p:cNvSpPr>
          <p:nvPr/>
        </p:nvSpPr>
        <p:spPr>
          <a:xfrm>
            <a:off x="1390805" y="1552679"/>
            <a:ext cx="2884087" cy="24622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lvl="0" algn="r">
              <a:defRPr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CA" sz="1600" dirty="0">
                <a:latin typeface="+mn-lt"/>
                <a:cs typeface="Calibri" panose="020F0502020204030204" pitchFamily="34" charset="0"/>
              </a:rPr>
              <a:t>HEADING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1E80E9B0-ECB8-9F15-9088-C609F2154420}"/>
              </a:ext>
            </a:extLst>
          </p:cNvPr>
          <p:cNvSpPr txBox="1">
            <a:spLocks/>
          </p:cNvSpPr>
          <p:nvPr/>
        </p:nvSpPr>
        <p:spPr>
          <a:xfrm>
            <a:off x="1390805" y="1833507"/>
            <a:ext cx="2884087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r">
              <a:defRPr/>
            </a:pPr>
            <a:r>
              <a:rPr lang="en-IN" sz="1600" dirty="0">
                <a:latin typeface="+mn-lt"/>
                <a:cs typeface="Calibri" panose="020F0502020204030204" pitchFamily="34" charset="0"/>
              </a:rPr>
              <a:t>Insert your text here Insert your text here Insert your text</a:t>
            </a:r>
            <a:endParaRPr lang="en-CA" sz="1600" dirty="0">
              <a:latin typeface="+mn-lt"/>
              <a:ea typeface="ＭＳ Ｐゴシック"/>
            </a:endParaRPr>
          </a:p>
        </p:txBody>
      </p:sp>
      <p:sp>
        <p:nvSpPr>
          <p:cNvPr id="43" name="Block Arc 42">
            <a:extLst>
              <a:ext uri="{FF2B5EF4-FFF2-40B4-BE49-F238E27FC236}">
                <a16:creationId xmlns:a16="http://schemas.microsoft.com/office/drawing/2014/main" id="{8B464B26-4882-741A-45C2-48A75387BF0F}"/>
              </a:ext>
            </a:extLst>
          </p:cNvPr>
          <p:cNvSpPr>
            <a:spLocks/>
          </p:cNvSpPr>
          <p:nvPr/>
        </p:nvSpPr>
        <p:spPr>
          <a:xfrm rot="10800000">
            <a:off x="4691749" y="2301167"/>
            <a:ext cx="2570405" cy="2607542"/>
          </a:xfrm>
          <a:prstGeom prst="blockArc">
            <a:avLst>
              <a:gd name="adj1" fmla="val 12992370"/>
              <a:gd name="adj2" fmla="val 15378897"/>
              <a:gd name="adj3" fmla="val 11039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CA" sz="1600" dirty="0" err="1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884F43A9-D98F-7F0E-3A58-18D18C1DD2B2}"/>
              </a:ext>
            </a:extLst>
          </p:cNvPr>
          <p:cNvSpPr/>
          <p:nvPr/>
        </p:nvSpPr>
        <p:spPr>
          <a:xfrm>
            <a:off x="4821778" y="2351459"/>
            <a:ext cx="2260782" cy="2260782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9DB715EA-31A6-9ED2-5CC3-881C1939A997}"/>
              </a:ext>
            </a:extLst>
          </p:cNvPr>
          <p:cNvSpPr txBox="1"/>
          <p:nvPr/>
        </p:nvSpPr>
        <p:spPr>
          <a:xfrm>
            <a:off x="5067465" y="3315873"/>
            <a:ext cx="1817579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 algn="ctr">
              <a:defRPr/>
            </a:pPr>
            <a:r>
              <a:rPr lang="en-CA" sz="2400" b="1" dirty="0">
                <a:latin typeface="+mn-lt"/>
              </a:rPr>
              <a:t>HEADING</a:t>
            </a: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A9954C22-0556-EFD1-3EE2-17E904AB32FE}"/>
              </a:ext>
            </a:extLst>
          </p:cNvPr>
          <p:cNvSpPr/>
          <p:nvPr/>
        </p:nvSpPr>
        <p:spPr>
          <a:xfrm>
            <a:off x="5091699" y="2662150"/>
            <a:ext cx="1769108" cy="1769111"/>
          </a:xfrm>
          <a:prstGeom prst="ellipse">
            <a:avLst/>
          </a:prstGeom>
          <a:noFill/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CA" sz="1200" dirty="0" err="1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16D77578-7939-0003-C1BF-DD3C11566369}"/>
              </a:ext>
            </a:extLst>
          </p:cNvPr>
          <p:cNvSpPr/>
          <p:nvPr/>
        </p:nvSpPr>
        <p:spPr>
          <a:xfrm>
            <a:off x="4582373" y="1454115"/>
            <a:ext cx="872198" cy="872198"/>
          </a:xfrm>
          <a:prstGeom prst="ellipse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CA" sz="1600" dirty="0" err="1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99CABFC4-C5A2-6234-7A73-4202A76024A3}"/>
              </a:ext>
            </a:extLst>
          </p:cNvPr>
          <p:cNvSpPr txBox="1"/>
          <p:nvPr/>
        </p:nvSpPr>
        <p:spPr>
          <a:xfrm>
            <a:off x="4742158" y="1551660"/>
            <a:ext cx="552628" cy="677108"/>
          </a:xfrm>
          <a:prstGeom prst="rect">
            <a:avLst/>
          </a:prstGeom>
          <a:noFill/>
        </p:spPr>
        <p:txBody>
          <a:bodyPr wrap="square" lIns="0" tIns="0" rIns="0" bIns="0" rtlCol="0" anchor="ctr" anchorCtr="1">
            <a:spAutoFit/>
          </a:bodyPr>
          <a:lstStyle/>
          <a:p>
            <a:pPr>
              <a:defRPr/>
            </a:pPr>
            <a:r>
              <a:rPr lang="en-CA" sz="4400" dirty="0">
                <a:solidFill>
                  <a:schemeClr val="bg1"/>
                </a:solidFill>
                <a:latin typeface="+mn-lt"/>
                <a:ea typeface="ＭＳ Ｐゴシック"/>
              </a:rPr>
              <a:t>6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79BF98B3-77A0-B759-0B4F-D7A2502F4B45}"/>
              </a:ext>
            </a:extLst>
          </p:cNvPr>
          <p:cNvSpPr txBox="1">
            <a:spLocks/>
          </p:cNvSpPr>
          <p:nvPr/>
        </p:nvSpPr>
        <p:spPr>
          <a:xfrm>
            <a:off x="1560786" y="4800763"/>
            <a:ext cx="2884087" cy="24622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lvl="0" algn="r">
              <a:defRPr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CA" sz="1600" dirty="0">
                <a:solidFill>
                  <a:schemeClr val="accent4"/>
                </a:solidFill>
                <a:latin typeface="+mn-lt"/>
                <a:cs typeface="Calibri" panose="020F0502020204030204" pitchFamily="34" charset="0"/>
              </a:rPr>
              <a:t>HEADING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82E42976-DCE1-BF8E-4A1E-30325816C8EE}"/>
              </a:ext>
            </a:extLst>
          </p:cNvPr>
          <p:cNvSpPr txBox="1">
            <a:spLocks/>
          </p:cNvSpPr>
          <p:nvPr/>
        </p:nvSpPr>
        <p:spPr>
          <a:xfrm>
            <a:off x="1560786" y="5081591"/>
            <a:ext cx="2884087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r">
              <a:defRPr/>
            </a:pPr>
            <a:r>
              <a:rPr lang="en-IN" sz="1600" dirty="0">
                <a:latin typeface="+mn-lt"/>
                <a:cs typeface="Calibri" panose="020F0502020204030204" pitchFamily="34" charset="0"/>
              </a:rPr>
              <a:t>Insert your text here Insert your text here Insert your text</a:t>
            </a:r>
            <a:endParaRPr lang="en-CA" sz="1600" dirty="0">
              <a:latin typeface="+mn-lt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1545582098"/>
      </p:ext>
    </p:extLst>
  </p:cSld>
  <p:clrMapOvr>
    <a:masterClrMapping/>
  </p:clrMapOvr>
</p:sld>
</file>

<file path=ppt/slides/slide1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8B14ED-B970-B681-A9EF-A212DCB571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" name="think-cell data - do not delete" hidden="1">
            <a:extLst>
              <a:ext uri="{FF2B5EF4-FFF2-40B4-BE49-F238E27FC236}">
                <a16:creationId xmlns:a16="http://schemas.microsoft.com/office/drawing/2014/main" id="{0C073754-8F9D-3695-6F3D-904BD96281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91274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126D9A5-0135-1192-578B-6AD93DB3F9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irc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463F618-14FF-E298-F5C6-8954D6D942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71</a:t>
            </a:fld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1CB3E9BC-5C3D-8A4B-BE44-6A2DF75F7BAB}"/>
              </a:ext>
            </a:extLst>
          </p:cNvPr>
          <p:cNvGrpSpPr>
            <a:grpSpLocks/>
          </p:cNvGrpSpPr>
          <p:nvPr/>
        </p:nvGrpSpPr>
        <p:grpSpPr>
          <a:xfrm>
            <a:off x="4257040" y="1790700"/>
            <a:ext cx="3438426" cy="3438426"/>
            <a:chOff x="-5680075" y="950913"/>
            <a:chExt cx="4792662" cy="4819651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7B2265DC-6BFA-0E03-B9EF-C8B15B3C72CB}"/>
                </a:ext>
              </a:extLst>
            </p:cNvPr>
            <p:cNvSpPr>
              <a:spLocks/>
            </p:cNvSpPr>
            <p:nvPr/>
          </p:nvSpPr>
          <p:spPr bwMode="auto">
            <a:xfrm>
              <a:off x="-3284538" y="950913"/>
              <a:ext cx="1870075" cy="2405063"/>
            </a:xfrm>
            <a:custGeom>
              <a:avLst/>
              <a:gdLst>
                <a:gd name="T0" fmla="*/ 0 w 1178"/>
                <a:gd name="T1" fmla="*/ 0 h 1515"/>
                <a:gd name="T2" fmla="*/ 172 w 1178"/>
                <a:gd name="T3" fmla="*/ 12 h 1515"/>
                <a:gd name="T4" fmla="*/ 338 w 1178"/>
                <a:gd name="T5" fmla="*/ 40 h 1515"/>
                <a:gd name="T6" fmla="*/ 498 w 1178"/>
                <a:gd name="T7" fmla="*/ 86 h 1515"/>
                <a:gd name="T8" fmla="*/ 652 w 1178"/>
                <a:gd name="T9" fmla="*/ 150 h 1515"/>
                <a:gd name="T10" fmla="*/ 801 w 1178"/>
                <a:gd name="T11" fmla="*/ 236 h 1515"/>
                <a:gd name="T12" fmla="*/ 938 w 1178"/>
                <a:gd name="T13" fmla="*/ 333 h 1515"/>
                <a:gd name="T14" fmla="*/ 1064 w 1178"/>
                <a:gd name="T15" fmla="*/ 442 h 1515"/>
                <a:gd name="T16" fmla="*/ 1178 w 1178"/>
                <a:gd name="T17" fmla="*/ 574 h 1515"/>
                <a:gd name="T18" fmla="*/ 0 w 1178"/>
                <a:gd name="T19" fmla="*/ 1515 h 1515"/>
                <a:gd name="T20" fmla="*/ 0 w 1178"/>
                <a:gd name="T21" fmla="*/ 0 h 15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78" h="1515">
                  <a:moveTo>
                    <a:pt x="0" y="0"/>
                  </a:moveTo>
                  <a:lnTo>
                    <a:pt x="172" y="12"/>
                  </a:lnTo>
                  <a:lnTo>
                    <a:pt x="338" y="40"/>
                  </a:lnTo>
                  <a:lnTo>
                    <a:pt x="498" y="86"/>
                  </a:lnTo>
                  <a:lnTo>
                    <a:pt x="652" y="150"/>
                  </a:lnTo>
                  <a:lnTo>
                    <a:pt x="801" y="236"/>
                  </a:lnTo>
                  <a:lnTo>
                    <a:pt x="938" y="333"/>
                  </a:lnTo>
                  <a:lnTo>
                    <a:pt x="1064" y="442"/>
                  </a:lnTo>
                  <a:lnTo>
                    <a:pt x="1178" y="574"/>
                  </a:lnTo>
                  <a:lnTo>
                    <a:pt x="0" y="151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571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/>
            </a:p>
          </p:txBody>
        </p:sp>
        <p:sp>
          <p:nvSpPr>
            <p:cNvPr id="7" name="Freeform 7">
              <a:extLst>
                <a:ext uri="{FF2B5EF4-FFF2-40B4-BE49-F238E27FC236}">
                  <a16:creationId xmlns:a16="http://schemas.microsoft.com/office/drawing/2014/main" id="{3D7AFE84-E5EB-5447-DBB4-699E357FEAEF}"/>
                </a:ext>
              </a:extLst>
            </p:cNvPr>
            <p:cNvSpPr>
              <a:spLocks/>
            </p:cNvSpPr>
            <p:nvPr/>
          </p:nvSpPr>
          <p:spPr bwMode="auto">
            <a:xfrm>
              <a:off x="-3284538" y="1862138"/>
              <a:ext cx="2397125" cy="2032000"/>
            </a:xfrm>
            <a:custGeom>
              <a:avLst/>
              <a:gdLst>
                <a:gd name="T0" fmla="*/ 1178 w 1510"/>
                <a:gd name="T1" fmla="*/ 0 h 1280"/>
                <a:gd name="T2" fmla="*/ 1281 w 1510"/>
                <a:gd name="T3" fmla="*/ 138 h 1280"/>
                <a:gd name="T4" fmla="*/ 1361 w 1510"/>
                <a:gd name="T5" fmla="*/ 287 h 1280"/>
                <a:gd name="T6" fmla="*/ 1424 w 1510"/>
                <a:gd name="T7" fmla="*/ 442 h 1280"/>
                <a:gd name="T8" fmla="*/ 1470 w 1510"/>
                <a:gd name="T9" fmla="*/ 608 h 1280"/>
                <a:gd name="T10" fmla="*/ 1499 w 1510"/>
                <a:gd name="T11" fmla="*/ 775 h 1280"/>
                <a:gd name="T12" fmla="*/ 1510 w 1510"/>
                <a:gd name="T13" fmla="*/ 941 h 1280"/>
                <a:gd name="T14" fmla="*/ 1499 w 1510"/>
                <a:gd name="T15" fmla="*/ 1113 h 1280"/>
                <a:gd name="T16" fmla="*/ 1470 w 1510"/>
                <a:gd name="T17" fmla="*/ 1280 h 1280"/>
                <a:gd name="T18" fmla="*/ 0 w 1510"/>
                <a:gd name="T19" fmla="*/ 941 h 1280"/>
                <a:gd name="T20" fmla="*/ 1178 w 1510"/>
                <a:gd name="T21" fmla="*/ 0 h 1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10" h="1280">
                  <a:moveTo>
                    <a:pt x="1178" y="0"/>
                  </a:moveTo>
                  <a:lnTo>
                    <a:pt x="1281" y="138"/>
                  </a:lnTo>
                  <a:lnTo>
                    <a:pt x="1361" y="287"/>
                  </a:lnTo>
                  <a:lnTo>
                    <a:pt x="1424" y="442"/>
                  </a:lnTo>
                  <a:lnTo>
                    <a:pt x="1470" y="608"/>
                  </a:lnTo>
                  <a:lnTo>
                    <a:pt x="1499" y="775"/>
                  </a:lnTo>
                  <a:lnTo>
                    <a:pt x="1510" y="941"/>
                  </a:lnTo>
                  <a:lnTo>
                    <a:pt x="1499" y="1113"/>
                  </a:lnTo>
                  <a:lnTo>
                    <a:pt x="1470" y="1280"/>
                  </a:lnTo>
                  <a:lnTo>
                    <a:pt x="0" y="941"/>
                  </a:lnTo>
                  <a:lnTo>
                    <a:pt x="1178" y="0"/>
                  </a:lnTo>
                  <a:close/>
                </a:path>
              </a:pathLst>
            </a:custGeom>
            <a:solidFill>
              <a:schemeClr val="accent2"/>
            </a:solidFill>
            <a:ln w="571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/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9B31E398-13A0-7E90-4AC8-782546FDAFAB}"/>
                </a:ext>
              </a:extLst>
            </p:cNvPr>
            <p:cNvSpPr>
              <a:spLocks/>
            </p:cNvSpPr>
            <p:nvPr/>
          </p:nvSpPr>
          <p:spPr bwMode="auto">
            <a:xfrm>
              <a:off x="-3284538" y="3355976"/>
              <a:ext cx="2333625" cy="2168525"/>
            </a:xfrm>
            <a:custGeom>
              <a:avLst/>
              <a:gdLst>
                <a:gd name="T0" fmla="*/ 1470 w 1470"/>
                <a:gd name="T1" fmla="*/ 339 h 1366"/>
                <a:gd name="T2" fmla="*/ 1424 w 1470"/>
                <a:gd name="T3" fmla="*/ 505 h 1366"/>
                <a:gd name="T4" fmla="*/ 1361 w 1470"/>
                <a:gd name="T5" fmla="*/ 660 h 1366"/>
                <a:gd name="T6" fmla="*/ 1276 w 1470"/>
                <a:gd name="T7" fmla="*/ 809 h 1366"/>
                <a:gd name="T8" fmla="*/ 1178 w 1470"/>
                <a:gd name="T9" fmla="*/ 947 h 1366"/>
                <a:gd name="T10" fmla="*/ 1070 w 1470"/>
                <a:gd name="T11" fmla="*/ 1073 h 1366"/>
                <a:gd name="T12" fmla="*/ 944 w 1470"/>
                <a:gd name="T13" fmla="*/ 1188 h 1366"/>
                <a:gd name="T14" fmla="*/ 807 w 1470"/>
                <a:gd name="T15" fmla="*/ 1285 h 1366"/>
                <a:gd name="T16" fmla="*/ 652 w 1470"/>
                <a:gd name="T17" fmla="*/ 1366 h 1366"/>
                <a:gd name="T18" fmla="*/ 0 w 1470"/>
                <a:gd name="T19" fmla="*/ 0 h 1366"/>
                <a:gd name="T20" fmla="*/ 1470 w 1470"/>
                <a:gd name="T21" fmla="*/ 339 h 1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0" h="1366">
                  <a:moveTo>
                    <a:pt x="1470" y="339"/>
                  </a:moveTo>
                  <a:lnTo>
                    <a:pt x="1424" y="505"/>
                  </a:lnTo>
                  <a:lnTo>
                    <a:pt x="1361" y="660"/>
                  </a:lnTo>
                  <a:lnTo>
                    <a:pt x="1276" y="809"/>
                  </a:lnTo>
                  <a:lnTo>
                    <a:pt x="1178" y="947"/>
                  </a:lnTo>
                  <a:lnTo>
                    <a:pt x="1070" y="1073"/>
                  </a:lnTo>
                  <a:lnTo>
                    <a:pt x="944" y="1188"/>
                  </a:lnTo>
                  <a:lnTo>
                    <a:pt x="807" y="1285"/>
                  </a:lnTo>
                  <a:lnTo>
                    <a:pt x="652" y="1366"/>
                  </a:lnTo>
                  <a:lnTo>
                    <a:pt x="0" y="0"/>
                  </a:lnTo>
                  <a:lnTo>
                    <a:pt x="1470" y="339"/>
                  </a:lnTo>
                  <a:close/>
                </a:path>
              </a:pathLst>
            </a:custGeom>
            <a:solidFill>
              <a:schemeClr val="accent3"/>
            </a:solidFill>
            <a:ln w="571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/>
            </a:p>
          </p:txBody>
        </p:sp>
        <p:sp>
          <p:nvSpPr>
            <p:cNvPr id="9" name="Freeform 11">
              <a:extLst>
                <a:ext uri="{FF2B5EF4-FFF2-40B4-BE49-F238E27FC236}">
                  <a16:creationId xmlns:a16="http://schemas.microsoft.com/office/drawing/2014/main" id="{E234D282-E640-D406-2499-B7D64BB9FBBE}"/>
                </a:ext>
              </a:extLst>
            </p:cNvPr>
            <p:cNvSpPr>
              <a:spLocks/>
            </p:cNvSpPr>
            <p:nvPr/>
          </p:nvSpPr>
          <p:spPr bwMode="auto">
            <a:xfrm>
              <a:off x="-4327525" y="3355976"/>
              <a:ext cx="2078038" cy="2414588"/>
            </a:xfrm>
            <a:custGeom>
              <a:avLst/>
              <a:gdLst>
                <a:gd name="T0" fmla="*/ 1309 w 1309"/>
                <a:gd name="T1" fmla="*/ 1366 h 1521"/>
                <a:gd name="T2" fmla="*/ 1155 w 1309"/>
                <a:gd name="T3" fmla="*/ 1435 h 1521"/>
                <a:gd name="T4" fmla="*/ 989 w 1309"/>
                <a:gd name="T5" fmla="*/ 1481 h 1521"/>
                <a:gd name="T6" fmla="*/ 823 w 1309"/>
                <a:gd name="T7" fmla="*/ 1509 h 1521"/>
                <a:gd name="T8" fmla="*/ 657 w 1309"/>
                <a:gd name="T9" fmla="*/ 1521 h 1521"/>
                <a:gd name="T10" fmla="*/ 486 w 1309"/>
                <a:gd name="T11" fmla="*/ 1509 h 1521"/>
                <a:gd name="T12" fmla="*/ 320 w 1309"/>
                <a:gd name="T13" fmla="*/ 1481 h 1521"/>
                <a:gd name="T14" fmla="*/ 160 w 1309"/>
                <a:gd name="T15" fmla="*/ 1435 h 1521"/>
                <a:gd name="T16" fmla="*/ 0 w 1309"/>
                <a:gd name="T17" fmla="*/ 1366 h 1521"/>
                <a:gd name="T18" fmla="*/ 657 w 1309"/>
                <a:gd name="T19" fmla="*/ 0 h 1521"/>
                <a:gd name="T20" fmla="*/ 1309 w 1309"/>
                <a:gd name="T21" fmla="*/ 1366 h 1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09" h="1521">
                  <a:moveTo>
                    <a:pt x="1309" y="1366"/>
                  </a:moveTo>
                  <a:lnTo>
                    <a:pt x="1155" y="1435"/>
                  </a:lnTo>
                  <a:lnTo>
                    <a:pt x="989" y="1481"/>
                  </a:lnTo>
                  <a:lnTo>
                    <a:pt x="823" y="1509"/>
                  </a:lnTo>
                  <a:lnTo>
                    <a:pt x="657" y="1521"/>
                  </a:lnTo>
                  <a:lnTo>
                    <a:pt x="486" y="1509"/>
                  </a:lnTo>
                  <a:lnTo>
                    <a:pt x="320" y="1481"/>
                  </a:lnTo>
                  <a:lnTo>
                    <a:pt x="160" y="1435"/>
                  </a:lnTo>
                  <a:lnTo>
                    <a:pt x="0" y="1366"/>
                  </a:lnTo>
                  <a:lnTo>
                    <a:pt x="657" y="0"/>
                  </a:lnTo>
                  <a:lnTo>
                    <a:pt x="1309" y="1366"/>
                  </a:lnTo>
                  <a:close/>
                </a:path>
              </a:pathLst>
            </a:custGeom>
            <a:solidFill>
              <a:schemeClr val="accent4"/>
            </a:solidFill>
            <a:ln w="571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/>
            </a:p>
          </p:txBody>
        </p:sp>
        <p:sp>
          <p:nvSpPr>
            <p:cNvPr id="10" name="Freeform 13">
              <a:extLst>
                <a:ext uri="{FF2B5EF4-FFF2-40B4-BE49-F238E27FC236}">
                  <a16:creationId xmlns:a16="http://schemas.microsoft.com/office/drawing/2014/main" id="{6C8DD892-173D-9F28-0AE4-50C46B6E8A64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26100" y="3355976"/>
              <a:ext cx="2341563" cy="2168525"/>
            </a:xfrm>
            <a:custGeom>
              <a:avLst/>
              <a:gdLst>
                <a:gd name="T0" fmla="*/ 818 w 1475"/>
                <a:gd name="T1" fmla="*/ 1366 h 1366"/>
                <a:gd name="T2" fmla="*/ 669 w 1475"/>
                <a:gd name="T3" fmla="*/ 1285 h 1366"/>
                <a:gd name="T4" fmla="*/ 532 w 1475"/>
                <a:gd name="T5" fmla="*/ 1188 h 1366"/>
                <a:gd name="T6" fmla="*/ 406 w 1475"/>
                <a:gd name="T7" fmla="*/ 1073 h 1366"/>
                <a:gd name="T8" fmla="*/ 292 w 1475"/>
                <a:gd name="T9" fmla="*/ 947 h 1366"/>
                <a:gd name="T10" fmla="*/ 194 w 1475"/>
                <a:gd name="T11" fmla="*/ 809 h 1366"/>
                <a:gd name="T12" fmla="*/ 114 w 1475"/>
                <a:gd name="T13" fmla="*/ 660 h 1366"/>
                <a:gd name="T14" fmla="*/ 51 w 1475"/>
                <a:gd name="T15" fmla="*/ 505 h 1366"/>
                <a:gd name="T16" fmla="*/ 0 w 1475"/>
                <a:gd name="T17" fmla="*/ 339 h 1366"/>
                <a:gd name="T18" fmla="*/ 1475 w 1475"/>
                <a:gd name="T19" fmla="*/ 0 h 1366"/>
                <a:gd name="T20" fmla="*/ 818 w 1475"/>
                <a:gd name="T21" fmla="*/ 1366 h 1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5" h="1366">
                  <a:moveTo>
                    <a:pt x="818" y="1366"/>
                  </a:moveTo>
                  <a:lnTo>
                    <a:pt x="669" y="1285"/>
                  </a:lnTo>
                  <a:lnTo>
                    <a:pt x="532" y="1188"/>
                  </a:lnTo>
                  <a:lnTo>
                    <a:pt x="406" y="1073"/>
                  </a:lnTo>
                  <a:lnTo>
                    <a:pt x="292" y="947"/>
                  </a:lnTo>
                  <a:lnTo>
                    <a:pt x="194" y="809"/>
                  </a:lnTo>
                  <a:lnTo>
                    <a:pt x="114" y="660"/>
                  </a:lnTo>
                  <a:lnTo>
                    <a:pt x="51" y="505"/>
                  </a:lnTo>
                  <a:lnTo>
                    <a:pt x="0" y="339"/>
                  </a:lnTo>
                  <a:lnTo>
                    <a:pt x="1475" y="0"/>
                  </a:lnTo>
                  <a:lnTo>
                    <a:pt x="818" y="1366"/>
                  </a:lnTo>
                  <a:close/>
                </a:path>
              </a:pathLst>
            </a:custGeom>
            <a:solidFill>
              <a:schemeClr val="accent5"/>
            </a:solidFill>
            <a:ln w="571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/>
            </a:p>
          </p:txBody>
        </p:sp>
        <p:sp>
          <p:nvSpPr>
            <p:cNvPr id="11" name="Freeform 15">
              <a:extLst>
                <a:ext uri="{FF2B5EF4-FFF2-40B4-BE49-F238E27FC236}">
                  <a16:creationId xmlns:a16="http://schemas.microsoft.com/office/drawing/2014/main" id="{F0F3C6C8-38AE-EA39-8B49-001FD8D336F7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80075" y="1862138"/>
              <a:ext cx="2395538" cy="2032000"/>
            </a:xfrm>
            <a:custGeom>
              <a:avLst/>
              <a:gdLst>
                <a:gd name="T0" fmla="*/ 34 w 1509"/>
                <a:gd name="T1" fmla="*/ 1280 h 1280"/>
                <a:gd name="T2" fmla="*/ 5 w 1509"/>
                <a:gd name="T3" fmla="*/ 1113 h 1280"/>
                <a:gd name="T4" fmla="*/ 0 w 1509"/>
                <a:gd name="T5" fmla="*/ 941 h 1280"/>
                <a:gd name="T6" fmla="*/ 5 w 1509"/>
                <a:gd name="T7" fmla="*/ 775 h 1280"/>
                <a:gd name="T8" fmla="*/ 34 w 1509"/>
                <a:gd name="T9" fmla="*/ 608 h 1280"/>
                <a:gd name="T10" fmla="*/ 80 w 1509"/>
                <a:gd name="T11" fmla="*/ 442 h 1280"/>
                <a:gd name="T12" fmla="*/ 148 w 1509"/>
                <a:gd name="T13" fmla="*/ 287 h 1280"/>
                <a:gd name="T14" fmla="*/ 228 w 1509"/>
                <a:gd name="T15" fmla="*/ 138 h 1280"/>
                <a:gd name="T16" fmla="*/ 326 w 1509"/>
                <a:gd name="T17" fmla="*/ 0 h 1280"/>
                <a:gd name="T18" fmla="*/ 1509 w 1509"/>
                <a:gd name="T19" fmla="*/ 941 h 1280"/>
                <a:gd name="T20" fmla="*/ 34 w 1509"/>
                <a:gd name="T21" fmla="*/ 1280 h 1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09" h="1280">
                  <a:moveTo>
                    <a:pt x="34" y="1280"/>
                  </a:moveTo>
                  <a:lnTo>
                    <a:pt x="5" y="1113"/>
                  </a:lnTo>
                  <a:lnTo>
                    <a:pt x="0" y="941"/>
                  </a:lnTo>
                  <a:lnTo>
                    <a:pt x="5" y="775"/>
                  </a:lnTo>
                  <a:lnTo>
                    <a:pt x="34" y="608"/>
                  </a:lnTo>
                  <a:lnTo>
                    <a:pt x="80" y="442"/>
                  </a:lnTo>
                  <a:lnTo>
                    <a:pt x="148" y="287"/>
                  </a:lnTo>
                  <a:lnTo>
                    <a:pt x="228" y="138"/>
                  </a:lnTo>
                  <a:lnTo>
                    <a:pt x="326" y="0"/>
                  </a:lnTo>
                  <a:lnTo>
                    <a:pt x="1509" y="941"/>
                  </a:lnTo>
                  <a:lnTo>
                    <a:pt x="34" y="1280"/>
                  </a:lnTo>
                  <a:close/>
                </a:path>
              </a:pathLst>
            </a:custGeom>
            <a:solidFill>
              <a:schemeClr val="tx2"/>
            </a:solidFill>
            <a:ln w="571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/>
            </a:p>
          </p:txBody>
        </p:sp>
        <p:sp>
          <p:nvSpPr>
            <p:cNvPr id="12" name="Freeform 17">
              <a:extLst>
                <a:ext uri="{FF2B5EF4-FFF2-40B4-BE49-F238E27FC236}">
                  <a16:creationId xmlns:a16="http://schemas.microsoft.com/office/drawing/2014/main" id="{F3C79135-BF0F-9CE0-1EB1-8FB251893DD2}"/>
                </a:ext>
              </a:extLst>
            </p:cNvPr>
            <p:cNvSpPr>
              <a:spLocks/>
            </p:cNvSpPr>
            <p:nvPr/>
          </p:nvSpPr>
          <p:spPr bwMode="auto">
            <a:xfrm>
              <a:off x="-5162550" y="950913"/>
              <a:ext cx="1878013" cy="2405063"/>
            </a:xfrm>
            <a:custGeom>
              <a:avLst/>
              <a:gdLst>
                <a:gd name="T0" fmla="*/ 0 w 1183"/>
                <a:gd name="T1" fmla="*/ 574 h 1515"/>
                <a:gd name="T2" fmla="*/ 114 w 1183"/>
                <a:gd name="T3" fmla="*/ 442 h 1515"/>
                <a:gd name="T4" fmla="*/ 240 w 1183"/>
                <a:gd name="T5" fmla="*/ 333 h 1515"/>
                <a:gd name="T6" fmla="*/ 377 w 1183"/>
                <a:gd name="T7" fmla="*/ 236 h 1515"/>
                <a:gd name="T8" fmla="*/ 526 w 1183"/>
                <a:gd name="T9" fmla="*/ 150 h 1515"/>
                <a:gd name="T10" fmla="*/ 680 w 1183"/>
                <a:gd name="T11" fmla="*/ 86 h 1515"/>
                <a:gd name="T12" fmla="*/ 846 w 1183"/>
                <a:gd name="T13" fmla="*/ 40 h 1515"/>
                <a:gd name="T14" fmla="*/ 1012 w 1183"/>
                <a:gd name="T15" fmla="*/ 12 h 1515"/>
                <a:gd name="T16" fmla="*/ 1183 w 1183"/>
                <a:gd name="T17" fmla="*/ 0 h 1515"/>
                <a:gd name="T18" fmla="*/ 1183 w 1183"/>
                <a:gd name="T19" fmla="*/ 1515 h 1515"/>
                <a:gd name="T20" fmla="*/ 0 w 1183"/>
                <a:gd name="T21" fmla="*/ 574 h 15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83" h="1515">
                  <a:moveTo>
                    <a:pt x="0" y="574"/>
                  </a:moveTo>
                  <a:lnTo>
                    <a:pt x="114" y="442"/>
                  </a:lnTo>
                  <a:lnTo>
                    <a:pt x="240" y="333"/>
                  </a:lnTo>
                  <a:lnTo>
                    <a:pt x="377" y="236"/>
                  </a:lnTo>
                  <a:lnTo>
                    <a:pt x="526" y="150"/>
                  </a:lnTo>
                  <a:lnTo>
                    <a:pt x="680" y="86"/>
                  </a:lnTo>
                  <a:lnTo>
                    <a:pt x="846" y="40"/>
                  </a:lnTo>
                  <a:lnTo>
                    <a:pt x="1012" y="12"/>
                  </a:lnTo>
                  <a:lnTo>
                    <a:pt x="1183" y="0"/>
                  </a:lnTo>
                  <a:lnTo>
                    <a:pt x="1183" y="1515"/>
                  </a:lnTo>
                  <a:lnTo>
                    <a:pt x="0" y="574"/>
                  </a:lnTo>
                  <a:close/>
                </a:path>
              </a:pathLst>
            </a:custGeom>
            <a:solidFill>
              <a:schemeClr val="accent2"/>
            </a:solidFill>
            <a:ln w="57150"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/>
            </a:p>
          </p:txBody>
        </p:sp>
      </p:grpSp>
      <p:sp>
        <p:nvSpPr>
          <p:cNvPr id="13" name="Freeform 5">
            <a:extLst>
              <a:ext uri="{FF2B5EF4-FFF2-40B4-BE49-F238E27FC236}">
                <a16:creationId xmlns:a16="http://schemas.microsoft.com/office/drawing/2014/main" id="{45FE3F63-4675-83BB-FF10-577BF46632AC}"/>
              </a:ext>
            </a:extLst>
          </p:cNvPr>
          <p:cNvSpPr>
            <a:spLocks/>
          </p:cNvSpPr>
          <p:nvPr/>
        </p:nvSpPr>
        <p:spPr bwMode="auto">
          <a:xfrm>
            <a:off x="6006301" y="2188287"/>
            <a:ext cx="1030345" cy="1319015"/>
          </a:xfrm>
          <a:custGeom>
            <a:avLst/>
            <a:gdLst>
              <a:gd name="T0" fmla="*/ 0 w 1178"/>
              <a:gd name="T1" fmla="*/ 0 h 1515"/>
              <a:gd name="T2" fmla="*/ 172 w 1178"/>
              <a:gd name="T3" fmla="*/ 12 h 1515"/>
              <a:gd name="T4" fmla="*/ 338 w 1178"/>
              <a:gd name="T5" fmla="*/ 40 h 1515"/>
              <a:gd name="T6" fmla="*/ 498 w 1178"/>
              <a:gd name="T7" fmla="*/ 86 h 1515"/>
              <a:gd name="T8" fmla="*/ 652 w 1178"/>
              <a:gd name="T9" fmla="*/ 150 h 1515"/>
              <a:gd name="T10" fmla="*/ 801 w 1178"/>
              <a:gd name="T11" fmla="*/ 236 h 1515"/>
              <a:gd name="T12" fmla="*/ 938 w 1178"/>
              <a:gd name="T13" fmla="*/ 333 h 1515"/>
              <a:gd name="T14" fmla="*/ 1064 w 1178"/>
              <a:gd name="T15" fmla="*/ 442 h 1515"/>
              <a:gd name="T16" fmla="*/ 1178 w 1178"/>
              <a:gd name="T17" fmla="*/ 574 h 1515"/>
              <a:gd name="T18" fmla="*/ 0 w 1178"/>
              <a:gd name="T19" fmla="*/ 1515 h 1515"/>
              <a:gd name="T20" fmla="*/ 0 w 1178"/>
              <a:gd name="T21" fmla="*/ 0 h 15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178" h="1515">
                <a:moveTo>
                  <a:pt x="0" y="0"/>
                </a:moveTo>
                <a:lnTo>
                  <a:pt x="172" y="12"/>
                </a:lnTo>
                <a:lnTo>
                  <a:pt x="338" y="40"/>
                </a:lnTo>
                <a:lnTo>
                  <a:pt x="498" y="86"/>
                </a:lnTo>
                <a:lnTo>
                  <a:pt x="652" y="150"/>
                </a:lnTo>
                <a:lnTo>
                  <a:pt x="801" y="236"/>
                </a:lnTo>
                <a:lnTo>
                  <a:pt x="938" y="333"/>
                </a:lnTo>
                <a:lnTo>
                  <a:pt x="1064" y="442"/>
                </a:lnTo>
                <a:lnTo>
                  <a:pt x="1178" y="574"/>
                </a:lnTo>
                <a:lnTo>
                  <a:pt x="0" y="1515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571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/>
          </a:p>
        </p:txBody>
      </p:sp>
      <p:sp>
        <p:nvSpPr>
          <p:cNvPr id="14" name="Freeform 7">
            <a:extLst>
              <a:ext uri="{FF2B5EF4-FFF2-40B4-BE49-F238E27FC236}">
                <a16:creationId xmlns:a16="http://schemas.microsoft.com/office/drawing/2014/main" id="{AECA8388-2AEA-3F03-FB6C-F650202ED1A1}"/>
              </a:ext>
            </a:extLst>
          </p:cNvPr>
          <p:cNvSpPr>
            <a:spLocks/>
          </p:cNvSpPr>
          <p:nvPr/>
        </p:nvSpPr>
        <p:spPr bwMode="auto">
          <a:xfrm>
            <a:off x="6006301" y="2688032"/>
            <a:ext cx="1320731" cy="1114415"/>
          </a:xfrm>
          <a:custGeom>
            <a:avLst/>
            <a:gdLst>
              <a:gd name="T0" fmla="*/ 1178 w 1510"/>
              <a:gd name="T1" fmla="*/ 0 h 1280"/>
              <a:gd name="T2" fmla="*/ 1281 w 1510"/>
              <a:gd name="T3" fmla="*/ 138 h 1280"/>
              <a:gd name="T4" fmla="*/ 1361 w 1510"/>
              <a:gd name="T5" fmla="*/ 287 h 1280"/>
              <a:gd name="T6" fmla="*/ 1424 w 1510"/>
              <a:gd name="T7" fmla="*/ 442 h 1280"/>
              <a:gd name="T8" fmla="*/ 1470 w 1510"/>
              <a:gd name="T9" fmla="*/ 608 h 1280"/>
              <a:gd name="T10" fmla="*/ 1499 w 1510"/>
              <a:gd name="T11" fmla="*/ 775 h 1280"/>
              <a:gd name="T12" fmla="*/ 1510 w 1510"/>
              <a:gd name="T13" fmla="*/ 941 h 1280"/>
              <a:gd name="T14" fmla="*/ 1499 w 1510"/>
              <a:gd name="T15" fmla="*/ 1113 h 1280"/>
              <a:gd name="T16" fmla="*/ 1470 w 1510"/>
              <a:gd name="T17" fmla="*/ 1280 h 1280"/>
              <a:gd name="T18" fmla="*/ 0 w 1510"/>
              <a:gd name="T19" fmla="*/ 941 h 1280"/>
              <a:gd name="T20" fmla="*/ 1178 w 1510"/>
              <a:gd name="T21" fmla="*/ 0 h 12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510" h="1280">
                <a:moveTo>
                  <a:pt x="1178" y="0"/>
                </a:moveTo>
                <a:lnTo>
                  <a:pt x="1281" y="138"/>
                </a:lnTo>
                <a:lnTo>
                  <a:pt x="1361" y="287"/>
                </a:lnTo>
                <a:lnTo>
                  <a:pt x="1424" y="442"/>
                </a:lnTo>
                <a:lnTo>
                  <a:pt x="1470" y="608"/>
                </a:lnTo>
                <a:lnTo>
                  <a:pt x="1499" y="775"/>
                </a:lnTo>
                <a:lnTo>
                  <a:pt x="1510" y="941"/>
                </a:lnTo>
                <a:lnTo>
                  <a:pt x="1499" y="1113"/>
                </a:lnTo>
                <a:lnTo>
                  <a:pt x="1470" y="1280"/>
                </a:lnTo>
                <a:lnTo>
                  <a:pt x="0" y="941"/>
                </a:lnTo>
                <a:lnTo>
                  <a:pt x="1178" y="0"/>
                </a:lnTo>
                <a:close/>
              </a:path>
            </a:pathLst>
          </a:custGeom>
          <a:solidFill>
            <a:schemeClr val="bg1"/>
          </a:solidFill>
          <a:ln w="571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/>
          </a:p>
        </p:txBody>
      </p:sp>
      <p:sp>
        <p:nvSpPr>
          <p:cNvPr id="15" name="Freeform 9">
            <a:extLst>
              <a:ext uri="{FF2B5EF4-FFF2-40B4-BE49-F238E27FC236}">
                <a16:creationId xmlns:a16="http://schemas.microsoft.com/office/drawing/2014/main" id="{4A8B9B72-6AC2-0C10-0F0E-61A38132C14B}"/>
              </a:ext>
            </a:extLst>
          </p:cNvPr>
          <p:cNvSpPr>
            <a:spLocks/>
          </p:cNvSpPr>
          <p:nvPr/>
        </p:nvSpPr>
        <p:spPr bwMode="auto">
          <a:xfrm>
            <a:off x="5975816" y="3507302"/>
            <a:ext cx="1285746" cy="1189290"/>
          </a:xfrm>
          <a:custGeom>
            <a:avLst/>
            <a:gdLst>
              <a:gd name="T0" fmla="*/ 1470 w 1470"/>
              <a:gd name="T1" fmla="*/ 339 h 1366"/>
              <a:gd name="T2" fmla="*/ 1424 w 1470"/>
              <a:gd name="T3" fmla="*/ 505 h 1366"/>
              <a:gd name="T4" fmla="*/ 1361 w 1470"/>
              <a:gd name="T5" fmla="*/ 660 h 1366"/>
              <a:gd name="T6" fmla="*/ 1276 w 1470"/>
              <a:gd name="T7" fmla="*/ 809 h 1366"/>
              <a:gd name="T8" fmla="*/ 1178 w 1470"/>
              <a:gd name="T9" fmla="*/ 947 h 1366"/>
              <a:gd name="T10" fmla="*/ 1070 w 1470"/>
              <a:gd name="T11" fmla="*/ 1073 h 1366"/>
              <a:gd name="T12" fmla="*/ 944 w 1470"/>
              <a:gd name="T13" fmla="*/ 1188 h 1366"/>
              <a:gd name="T14" fmla="*/ 807 w 1470"/>
              <a:gd name="T15" fmla="*/ 1285 h 1366"/>
              <a:gd name="T16" fmla="*/ 652 w 1470"/>
              <a:gd name="T17" fmla="*/ 1366 h 1366"/>
              <a:gd name="T18" fmla="*/ 0 w 1470"/>
              <a:gd name="T19" fmla="*/ 0 h 1366"/>
              <a:gd name="T20" fmla="*/ 1470 w 1470"/>
              <a:gd name="T21" fmla="*/ 339 h 13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470" h="1366">
                <a:moveTo>
                  <a:pt x="1470" y="339"/>
                </a:moveTo>
                <a:lnTo>
                  <a:pt x="1424" y="505"/>
                </a:lnTo>
                <a:lnTo>
                  <a:pt x="1361" y="660"/>
                </a:lnTo>
                <a:lnTo>
                  <a:pt x="1276" y="809"/>
                </a:lnTo>
                <a:lnTo>
                  <a:pt x="1178" y="947"/>
                </a:lnTo>
                <a:lnTo>
                  <a:pt x="1070" y="1073"/>
                </a:lnTo>
                <a:lnTo>
                  <a:pt x="944" y="1188"/>
                </a:lnTo>
                <a:lnTo>
                  <a:pt x="807" y="1285"/>
                </a:lnTo>
                <a:lnTo>
                  <a:pt x="652" y="1366"/>
                </a:lnTo>
                <a:lnTo>
                  <a:pt x="0" y="0"/>
                </a:lnTo>
                <a:lnTo>
                  <a:pt x="1470" y="339"/>
                </a:lnTo>
                <a:close/>
              </a:path>
            </a:pathLst>
          </a:custGeom>
          <a:solidFill>
            <a:schemeClr val="bg1"/>
          </a:solidFill>
          <a:ln w="571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/>
          </a:p>
        </p:txBody>
      </p:sp>
      <p:sp>
        <p:nvSpPr>
          <p:cNvPr id="16" name="Freeform 11">
            <a:extLst>
              <a:ext uri="{FF2B5EF4-FFF2-40B4-BE49-F238E27FC236}">
                <a16:creationId xmlns:a16="http://schemas.microsoft.com/office/drawing/2014/main" id="{3EA8CDAC-E7D2-DA5A-FC6C-E070D1D73650}"/>
              </a:ext>
            </a:extLst>
          </p:cNvPr>
          <p:cNvSpPr>
            <a:spLocks/>
          </p:cNvSpPr>
          <p:nvPr/>
        </p:nvSpPr>
        <p:spPr bwMode="auto">
          <a:xfrm>
            <a:off x="5401167" y="3507302"/>
            <a:ext cx="1144926" cy="1324238"/>
          </a:xfrm>
          <a:custGeom>
            <a:avLst/>
            <a:gdLst>
              <a:gd name="T0" fmla="*/ 1309 w 1309"/>
              <a:gd name="T1" fmla="*/ 1366 h 1521"/>
              <a:gd name="T2" fmla="*/ 1155 w 1309"/>
              <a:gd name="T3" fmla="*/ 1435 h 1521"/>
              <a:gd name="T4" fmla="*/ 989 w 1309"/>
              <a:gd name="T5" fmla="*/ 1481 h 1521"/>
              <a:gd name="T6" fmla="*/ 823 w 1309"/>
              <a:gd name="T7" fmla="*/ 1509 h 1521"/>
              <a:gd name="T8" fmla="*/ 657 w 1309"/>
              <a:gd name="T9" fmla="*/ 1521 h 1521"/>
              <a:gd name="T10" fmla="*/ 486 w 1309"/>
              <a:gd name="T11" fmla="*/ 1509 h 1521"/>
              <a:gd name="T12" fmla="*/ 320 w 1309"/>
              <a:gd name="T13" fmla="*/ 1481 h 1521"/>
              <a:gd name="T14" fmla="*/ 160 w 1309"/>
              <a:gd name="T15" fmla="*/ 1435 h 1521"/>
              <a:gd name="T16" fmla="*/ 0 w 1309"/>
              <a:gd name="T17" fmla="*/ 1366 h 1521"/>
              <a:gd name="T18" fmla="*/ 657 w 1309"/>
              <a:gd name="T19" fmla="*/ 0 h 1521"/>
              <a:gd name="T20" fmla="*/ 1309 w 1309"/>
              <a:gd name="T21" fmla="*/ 1366 h 15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309" h="1521">
                <a:moveTo>
                  <a:pt x="1309" y="1366"/>
                </a:moveTo>
                <a:lnTo>
                  <a:pt x="1155" y="1435"/>
                </a:lnTo>
                <a:lnTo>
                  <a:pt x="989" y="1481"/>
                </a:lnTo>
                <a:lnTo>
                  <a:pt x="823" y="1509"/>
                </a:lnTo>
                <a:lnTo>
                  <a:pt x="657" y="1521"/>
                </a:lnTo>
                <a:lnTo>
                  <a:pt x="486" y="1509"/>
                </a:lnTo>
                <a:lnTo>
                  <a:pt x="320" y="1481"/>
                </a:lnTo>
                <a:lnTo>
                  <a:pt x="160" y="1435"/>
                </a:lnTo>
                <a:lnTo>
                  <a:pt x="0" y="1366"/>
                </a:lnTo>
                <a:lnTo>
                  <a:pt x="657" y="0"/>
                </a:lnTo>
                <a:lnTo>
                  <a:pt x="1309" y="1366"/>
                </a:lnTo>
                <a:close/>
              </a:path>
            </a:pathLst>
          </a:custGeom>
          <a:solidFill>
            <a:schemeClr val="bg1"/>
          </a:solidFill>
          <a:ln w="571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/>
          </a:p>
        </p:txBody>
      </p:sp>
      <p:sp>
        <p:nvSpPr>
          <p:cNvPr id="17" name="Freeform 13">
            <a:extLst>
              <a:ext uri="{FF2B5EF4-FFF2-40B4-BE49-F238E27FC236}">
                <a16:creationId xmlns:a16="http://schemas.microsoft.com/office/drawing/2014/main" id="{927032D8-ECC3-C804-6F63-73499D332368}"/>
              </a:ext>
            </a:extLst>
          </p:cNvPr>
          <p:cNvSpPr>
            <a:spLocks/>
          </p:cNvSpPr>
          <p:nvPr/>
        </p:nvSpPr>
        <p:spPr bwMode="auto">
          <a:xfrm>
            <a:off x="4716182" y="3507302"/>
            <a:ext cx="1290119" cy="1189290"/>
          </a:xfrm>
          <a:custGeom>
            <a:avLst/>
            <a:gdLst>
              <a:gd name="T0" fmla="*/ 818 w 1475"/>
              <a:gd name="T1" fmla="*/ 1366 h 1366"/>
              <a:gd name="T2" fmla="*/ 669 w 1475"/>
              <a:gd name="T3" fmla="*/ 1285 h 1366"/>
              <a:gd name="T4" fmla="*/ 532 w 1475"/>
              <a:gd name="T5" fmla="*/ 1188 h 1366"/>
              <a:gd name="T6" fmla="*/ 406 w 1475"/>
              <a:gd name="T7" fmla="*/ 1073 h 1366"/>
              <a:gd name="T8" fmla="*/ 292 w 1475"/>
              <a:gd name="T9" fmla="*/ 947 h 1366"/>
              <a:gd name="T10" fmla="*/ 194 w 1475"/>
              <a:gd name="T11" fmla="*/ 809 h 1366"/>
              <a:gd name="T12" fmla="*/ 114 w 1475"/>
              <a:gd name="T13" fmla="*/ 660 h 1366"/>
              <a:gd name="T14" fmla="*/ 51 w 1475"/>
              <a:gd name="T15" fmla="*/ 505 h 1366"/>
              <a:gd name="T16" fmla="*/ 0 w 1475"/>
              <a:gd name="T17" fmla="*/ 339 h 1366"/>
              <a:gd name="T18" fmla="*/ 1475 w 1475"/>
              <a:gd name="T19" fmla="*/ 0 h 1366"/>
              <a:gd name="T20" fmla="*/ 818 w 1475"/>
              <a:gd name="T21" fmla="*/ 1366 h 13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475" h="1366">
                <a:moveTo>
                  <a:pt x="818" y="1366"/>
                </a:moveTo>
                <a:lnTo>
                  <a:pt x="669" y="1285"/>
                </a:lnTo>
                <a:lnTo>
                  <a:pt x="532" y="1188"/>
                </a:lnTo>
                <a:lnTo>
                  <a:pt x="406" y="1073"/>
                </a:lnTo>
                <a:lnTo>
                  <a:pt x="292" y="947"/>
                </a:lnTo>
                <a:lnTo>
                  <a:pt x="194" y="809"/>
                </a:lnTo>
                <a:lnTo>
                  <a:pt x="114" y="660"/>
                </a:lnTo>
                <a:lnTo>
                  <a:pt x="51" y="505"/>
                </a:lnTo>
                <a:lnTo>
                  <a:pt x="0" y="339"/>
                </a:lnTo>
                <a:lnTo>
                  <a:pt x="1475" y="0"/>
                </a:lnTo>
                <a:lnTo>
                  <a:pt x="818" y="1366"/>
                </a:lnTo>
                <a:close/>
              </a:path>
            </a:pathLst>
          </a:custGeom>
          <a:solidFill>
            <a:schemeClr val="bg1"/>
          </a:solidFill>
          <a:ln w="571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/>
          </a:p>
        </p:txBody>
      </p:sp>
      <p:sp>
        <p:nvSpPr>
          <p:cNvPr id="18" name="Freeform 15">
            <a:extLst>
              <a:ext uri="{FF2B5EF4-FFF2-40B4-BE49-F238E27FC236}">
                <a16:creationId xmlns:a16="http://schemas.microsoft.com/office/drawing/2014/main" id="{4382D87E-198F-7D37-2664-1650FAACB29F}"/>
              </a:ext>
            </a:extLst>
          </p:cNvPr>
          <p:cNvSpPr>
            <a:spLocks/>
          </p:cNvSpPr>
          <p:nvPr/>
        </p:nvSpPr>
        <p:spPr bwMode="auto">
          <a:xfrm>
            <a:off x="4686444" y="2688032"/>
            <a:ext cx="1319857" cy="1114415"/>
          </a:xfrm>
          <a:custGeom>
            <a:avLst/>
            <a:gdLst>
              <a:gd name="T0" fmla="*/ 34 w 1509"/>
              <a:gd name="T1" fmla="*/ 1280 h 1280"/>
              <a:gd name="T2" fmla="*/ 5 w 1509"/>
              <a:gd name="T3" fmla="*/ 1113 h 1280"/>
              <a:gd name="T4" fmla="*/ 0 w 1509"/>
              <a:gd name="T5" fmla="*/ 941 h 1280"/>
              <a:gd name="T6" fmla="*/ 5 w 1509"/>
              <a:gd name="T7" fmla="*/ 775 h 1280"/>
              <a:gd name="T8" fmla="*/ 34 w 1509"/>
              <a:gd name="T9" fmla="*/ 608 h 1280"/>
              <a:gd name="T10" fmla="*/ 80 w 1509"/>
              <a:gd name="T11" fmla="*/ 442 h 1280"/>
              <a:gd name="T12" fmla="*/ 148 w 1509"/>
              <a:gd name="T13" fmla="*/ 287 h 1280"/>
              <a:gd name="T14" fmla="*/ 228 w 1509"/>
              <a:gd name="T15" fmla="*/ 138 h 1280"/>
              <a:gd name="T16" fmla="*/ 326 w 1509"/>
              <a:gd name="T17" fmla="*/ 0 h 1280"/>
              <a:gd name="T18" fmla="*/ 1509 w 1509"/>
              <a:gd name="T19" fmla="*/ 941 h 1280"/>
              <a:gd name="T20" fmla="*/ 34 w 1509"/>
              <a:gd name="T21" fmla="*/ 1280 h 12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509" h="1280">
                <a:moveTo>
                  <a:pt x="34" y="1280"/>
                </a:moveTo>
                <a:lnTo>
                  <a:pt x="5" y="1113"/>
                </a:lnTo>
                <a:lnTo>
                  <a:pt x="0" y="941"/>
                </a:lnTo>
                <a:lnTo>
                  <a:pt x="5" y="775"/>
                </a:lnTo>
                <a:lnTo>
                  <a:pt x="34" y="608"/>
                </a:lnTo>
                <a:lnTo>
                  <a:pt x="80" y="442"/>
                </a:lnTo>
                <a:lnTo>
                  <a:pt x="148" y="287"/>
                </a:lnTo>
                <a:lnTo>
                  <a:pt x="228" y="138"/>
                </a:lnTo>
                <a:lnTo>
                  <a:pt x="326" y="0"/>
                </a:lnTo>
                <a:lnTo>
                  <a:pt x="1509" y="941"/>
                </a:lnTo>
                <a:lnTo>
                  <a:pt x="34" y="1280"/>
                </a:lnTo>
                <a:close/>
              </a:path>
            </a:pathLst>
          </a:custGeom>
          <a:solidFill>
            <a:schemeClr val="bg1"/>
          </a:solidFill>
          <a:ln w="571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/>
          </a:p>
        </p:txBody>
      </p:sp>
      <p:sp>
        <p:nvSpPr>
          <p:cNvPr id="19" name="Freeform 17">
            <a:extLst>
              <a:ext uri="{FF2B5EF4-FFF2-40B4-BE49-F238E27FC236}">
                <a16:creationId xmlns:a16="http://schemas.microsoft.com/office/drawing/2014/main" id="{C53208A6-B6B9-58CC-F5A2-272EC2482768}"/>
              </a:ext>
            </a:extLst>
          </p:cNvPr>
          <p:cNvSpPr>
            <a:spLocks/>
          </p:cNvSpPr>
          <p:nvPr/>
        </p:nvSpPr>
        <p:spPr bwMode="auto">
          <a:xfrm>
            <a:off x="4971583" y="2188287"/>
            <a:ext cx="1034719" cy="1319015"/>
          </a:xfrm>
          <a:custGeom>
            <a:avLst/>
            <a:gdLst>
              <a:gd name="T0" fmla="*/ 0 w 1183"/>
              <a:gd name="T1" fmla="*/ 574 h 1515"/>
              <a:gd name="T2" fmla="*/ 114 w 1183"/>
              <a:gd name="T3" fmla="*/ 442 h 1515"/>
              <a:gd name="T4" fmla="*/ 240 w 1183"/>
              <a:gd name="T5" fmla="*/ 333 h 1515"/>
              <a:gd name="T6" fmla="*/ 377 w 1183"/>
              <a:gd name="T7" fmla="*/ 236 h 1515"/>
              <a:gd name="T8" fmla="*/ 526 w 1183"/>
              <a:gd name="T9" fmla="*/ 150 h 1515"/>
              <a:gd name="T10" fmla="*/ 680 w 1183"/>
              <a:gd name="T11" fmla="*/ 86 h 1515"/>
              <a:gd name="T12" fmla="*/ 846 w 1183"/>
              <a:gd name="T13" fmla="*/ 40 h 1515"/>
              <a:gd name="T14" fmla="*/ 1012 w 1183"/>
              <a:gd name="T15" fmla="*/ 12 h 1515"/>
              <a:gd name="T16" fmla="*/ 1183 w 1183"/>
              <a:gd name="T17" fmla="*/ 0 h 1515"/>
              <a:gd name="T18" fmla="*/ 1183 w 1183"/>
              <a:gd name="T19" fmla="*/ 1515 h 1515"/>
              <a:gd name="T20" fmla="*/ 0 w 1183"/>
              <a:gd name="T21" fmla="*/ 574 h 15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183" h="1515">
                <a:moveTo>
                  <a:pt x="0" y="574"/>
                </a:moveTo>
                <a:lnTo>
                  <a:pt x="114" y="442"/>
                </a:lnTo>
                <a:lnTo>
                  <a:pt x="240" y="333"/>
                </a:lnTo>
                <a:lnTo>
                  <a:pt x="377" y="236"/>
                </a:lnTo>
                <a:lnTo>
                  <a:pt x="526" y="150"/>
                </a:lnTo>
                <a:lnTo>
                  <a:pt x="680" y="86"/>
                </a:lnTo>
                <a:lnTo>
                  <a:pt x="846" y="40"/>
                </a:lnTo>
                <a:lnTo>
                  <a:pt x="1012" y="12"/>
                </a:lnTo>
                <a:lnTo>
                  <a:pt x="1183" y="0"/>
                </a:lnTo>
                <a:lnTo>
                  <a:pt x="1183" y="1515"/>
                </a:lnTo>
                <a:lnTo>
                  <a:pt x="0" y="574"/>
                </a:lnTo>
                <a:close/>
              </a:path>
            </a:pathLst>
          </a:custGeom>
          <a:solidFill>
            <a:schemeClr val="bg1"/>
          </a:solidFill>
          <a:ln w="57150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/>
          </a:p>
        </p:txBody>
      </p:sp>
      <p:sp>
        <p:nvSpPr>
          <p:cNvPr id="20" name="Block Arc 19">
            <a:extLst>
              <a:ext uri="{FF2B5EF4-FFF2-40B4-BE49-F238E27FC236}">
                <a16:creationId xmlns:a16="http://schemas.microsoft.com/office/drawing/2014/main" id="{D7738307-0282-7A6D-1968-02DC9755326A}"/>
              </a:ext>
            </a:extLst>
          </p:cNvPr>
          <p:cNvSpPr>
            <a:spLocks/>
          </p:cNvSpPr>
          <p:nvPr/>
        </p:nvSpPr>
        <p:spPr>
          <a:xfrm rot="21543285" flipH="1">
            <a:off x="4481031" y="2028086"/>
            <a:ext cx="2883322" cy="2869228"/>
          </a:xfrm>
          <a:prstGeom prst="blockArc">
            <a:avLst>
              <a:gd name="adj1" fmla="val 13230543"/>
              <a:gd name="adj2" fmla="val 15378897"/>
              <a:gd name="adj3" fmla="val 11039"/>
            </a:avLst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CA" sz="1600" dirty="0" err="1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21" name="Block Arc 20">
            <a:extLst>
              <a:ext uri="{FF2B5EF4-FFF2-40B4-BE49-F238E27FC236}">
                <a16:creationId xmlns:a16="http://schemas.microsoft.com/office/drawing/2014/main" id="{F7DC3768-43B5-FAEA-0186-1EBE46724262}"/>
              </a:ext>
            </a:extLst>
          </p:cNvPr>
          <p:cNvSpPr>
            <a:spLocks/>
          </p:cNvSpPr>
          <p:nvPr/>
        </p:nvSpPr>
        <p:spPr>
          <a:xfrm rot="15415171">
            <a:off x="4557077" y="2113107"/>
            <a:ext cx="2772308" cy="2689693"/>
          </a:xfrm>
          <a:prstGeom prst="blockArc">
            <a:avLst>
              <a:gd name="adj1" fmla="val 13499708"/>
              <a:gd name="adj2" fmla="val 15378897"/>
              <a:gd name="adj3" fmla="val 11039"/>
            </a:avLst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CA" sz="1600" dirty="0" err="1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22" name="Block Arc 21">
            <a:extLst>
              <a:ext uri="{FF2B5EF4-FFF2-40B4-BE49-F238E27FC236}">
                <a16:creationId xmlns:a16="http://schemas.microsoft.com/office/drawing/2014/main" id="{F147F71D-55FB-CA57-9074-6528A40B7FE9}"/>
              </a:ext>
            </a:extLst>
          </p:cNvPr>
          <p:cNvSpPr>
            <a:spLocks/>
          </p:cNvSpPr>
          <p:nvPr/>
        </p:nvSpPr>
        <p:spPr>
          <a:xfrm rot="12735389">
            <a:off x="4658822" y="2348400"/>
            <a:ext cx="2628028" cy="2539120"/>
          </a:xfrm>
          <a:prstGeom prst="blockArc">
            <a:avLst>
              <a:gd name="adj1" fmla="val 12992370"/>
              <a:gd name="adj2" fmla="val 15378897"/>
              <a:gd name="adj3" fmla="val 11039"/>
            </a:avLst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CA" sz="1600" dirty="0" err="1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21B9B91-A806-17CC-B486-39899BCFE274}"/>
              </a:ext>
            </a:extLst>
          </p:cNvPr>
          <p:cNvSpPr txBox="1">
            <a:spLocks/>
          </p:cNvSpPr>
          <p:nvPr/>
        </p:nvSpPr>
        <p:spPr>
          <a:xfrm>
            <a:off x="7674221" y="1552679"/>
            <a:ext cx="2868064" cy="24622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lvl="0">
              <a:defRPr/>
            </a:pPr>
            <a:r>
              <a:rPr lang="en-US" sz="1600" b="1" dirty="0">
                <a:solidFill>
                  <a:schemeClr val="accent1"/>
                </a:solidFill>
                <a:latin typeface="+mn-lt"/>
                <a:cs typeface="Calibri" panose="020F0502020204030204" pitchFamily="34" charset="0"/>
              </a:rPr>
              <a:t>HEADING</a:t>
            </a:r>
            <a:endParaRPr lang="en-CA" sz="1600" b="1" dirty="0">
              <a:solidFill>
                <a:schemeClr val="accent1"/>
              </a:solidFill>
              <a:latin typeface="+mn-lt"/>
              <a:ea typeface="ＭＳ Ｐゴシック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FF5F6B5E-CE24-F6AF-BC5F-88F887FC6540}"/>
              </a:ext>
            </a:extLst>
          </p:cNvPr>
          <p:cNvSpPr txBox="1">
            <a:spLocks/>
          </p:cNvSpPr>
          <p:nvPr/>
        </p:nvSpPr>
        <p:spPr>
          <a:xfrm>
            <a:off x="7674221" y="1833507"/>
            <a:ext cx="2868064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>
              <a:defRPr/>
            </a:pPr>
            <a:r>
              <a:rPr lang="en-IN" sz="1600" dirty="0">
                <a:latin typeface="+mn-lt"/>
                <a:cs typeface="Calibri" panose="020F0502020204030204" pitchFamily="34" charset="0"/>
              </a:rPr>
              <a:t>Insert your text here Insert your text here Insert your text</a:t>
            </a:r>
            <a:endParaRPr lang="en-CA" sz="1600" dirty="0">
              <a:latin typeface="+mn-lt"/>
              <a:ea typeface="ＭＳ Ｐゴシック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E18F208B-8152-4BB7-06E8-E65F25792018}"/>
              </a:ext>
            </a:extLst>
          </p:cNvPr>
          <p:cNvGrpSpPr/>
          <p:nvPr/>
        </p:nvGrpSpPr>
        <p:grpSpPr>
          <a:xfrm>
            <a:off x="8430942" y="2689549"/>
            <a:ext cx="2868064" cy="773271"/>
            <a:chOff x="8430942" y="2689549"/>
            <a:chExt cx="2868064" cy="773271"/>
          </a:xfrm>
        </p:grpSpPr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1E242F86-A07F-63D9-1320-11F9F82170D7}"/>
                </a:ext>
              </a:extLst>
            </p:cNvPr>
            <p:cNvSpPr txBox="1">
              <a:spLocks/>
            </p:cNvSpPr>
            <p:nvPr/>
          </p:nvSpPr>
          <p:spPr>
            <a:xfrm>
              <a:off x="8430942" y="2689549"/>
              <a:ext cx="2868064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>
              <a:defPPr>
                <a:defRPr lang="en-US"/>
              </a:defPPr>
              <a:lvl1pPr lvl="0" algn="r">
                <a:defRPr b="1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pPr algn="l"/>
              <a:r>
                <a:rPr lang="en-CA" sz="1600" dirty="0">
                  <a:solidFill>
                    <a:schemeClr val="accent2"/>
                  </a:solidFill>
                  <a:latin typeface="+mn-lt"/>
                  <a:cs typeface="Calibri" panose="020F0502020204030204" pitchFamily="34" charset="0"/>
                </a:rPr>
                <a:t>HEADING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4F8130F8-8890-D989-F793-DDF719673CA7}"/>
                </a:ext>
              </a:extLst>
            </p:cNvPr>
            <p:cNvSpPr txBox="1">
              <a:spLocks/>
            </p:cNvSpPr>
            <p:nvPr/>
          </p:nvSpPr>
          <p:spPr>
            <a:xfrm>
              <a:off x="8430942" y="2970377"/>
              <a:ext cx="2868064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lvl="0">
                <a:defRPr/>
              </a:pPr>
              <a:r>
                <a:rPr lang="en-IN" sz="1600" dirty="0">
                  <a:latin typeface="+mn-lt"/>
                  <a:cs typeface="Calibri" panose="020F0502020204030204" pitchFamily="34" charset="0"/>
                </a:rPr>
                <a:t>Insert your text here Insert your text here Insert your text</a:t>
              </a:r>
              <a:endParaRPr lang="en-CA" sz="1600" dirty="0">
                <a:latin typeface="+mn-lt"/>
                <a:ea typeface="ＭＳ Ｐゴシック"/>
              </a:endParaRPr>
            </a:p>
          </p:txBody>
        </p:sp>
      </p:grpSp>
      <p:sp>
        <p:nvSpPr>
          <p:cNvPr id="28" name="Oval 27">
            <a:extLst>
              <a:ext uri="{FF2B5EF4-FFF2-40B4-BE49-F238E27FC236}">
                <a16:creationId xmlns:a16="http://schemas.microsoft.com/office/drawing/2014/main" id="{3FB17CD1-F674-074A-8DD0-D17AA627F284}"/>
              </a:ext>
            </a:extLst>
          </p:cNvPr>
          <p:cNvSpPr/>
          <p:nvPr/>
        </p:nvSpPr>
        <p:spPr>
          <a:xfrm flipH="1">
            <a:off x="6499035" y="1454867"/>
            <a:ext cx="872198" cy="872198"/>
          </a:xfrm>
          <a:prstGeom prst="ellipse">
            <a:avLst/>
          </a:prstGeom>
          <a:solidFill>
            <a:schemeClr val="accent1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CA" sz="1600" dirty="0" err="1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6635F971-068F-CDCF-41F9-04BF51086465}"/>
              </a:ext>
            </a:extLst>
          </p:cNvPr>
          <p:cNvSpPr txBox="1"/>
          <p:nvPr/>
        </p:nvSpPr>
        <p:spPr>
          <a:xfrm>
            <a:off x="6658820" y="1529049"/>
            <a:ext cx="552628" cy="677108"/>
          </a:xfrm>
          <a:prstGeom prst="rect">
            <a:avLst/>
          </a:prstGeom>
          <a:noFill/>
        </p:spPr>
        <p:txBody>
          <a:bodyPr wrap="square" lIns="0" tIns="0" rIns="0" bIns="0" rtlCol="0" anchor="ctr" anchorCtr="1">
            <a:spAutoFit/>
          </a:bodyPr>
          <a:lstStyle/>
          <a:p>
            <a:pPr>
              <a:defRPr/>
            </a:pPr>
            <a:r>
              <a:rPr lang="en-CA" sz="4400" dirty="0">
                <a:solidFill>
                  <a:schemeClr val="bg1"/>
                </a:solidFill>
                <a:latin typeface="+mn-lt"/>
                <a:ea typeface="ＭＳ Ｐゴシック"/>
              </a:rPr>
              <a:t>1</a:t>
            </a: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B626355F-6C0E-BA30-CA72-1C1C30F12905}"/>
              </a:ext>
            </a:extLst>
          </p:cNvPr>
          <p:cNvSpPr/>
          <p:nvPr/>
        </p:nvSpPr>
        <p:spPr>
          <a:xfrm>
            <a:off x="4109485" y="4185888"/>
            <a:ext cx="872198" cy="872198"/>
          </a:xfrm>
          <a:prstGeom prst="ellipse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CA" sz="1600" dirty="0" err="1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234D1BEB-C07A-6E44-6AF1-00CCCE1E54DF}"/>
              </a:ext>
            </a:extLst>
          </p:cNvPr>
          <p:cNvSpPr txBox="1"/>
          <p:nvPr/>
        </p:nvSpPr>
        <p:spPr>
          <a:xfrm>
            <a:off x="4269270" y="4206060"/>
            <a:ext cx="552628" cy="677108"/>
          </a:xfrm>
          <a:prstGeom prst="rect">
            <a:avLst/>
          </a:prstGeom>
          <a:noFill/>
        </p:spPr>
        <p:txBody>
          <a:bodyPr wrap="square" lIns="0" tIns="0" rIns="0" bIns="0" rtlCol="0" anchor="ctr" anchorCtr="1">
            <a:spAutoFit/>
          </a:bodyPr>
          <a:lstStyle/>
          <a:p>
            <a:pPr>
              <a:defRPr/>
            </a:pPr>
            <a:r>
              <a:rPr lang="en-CA" sz="4400" dirty="0">
                <a:solidFill>
                  <a:schemeClr val="bg1"/>
                </a:solidFill>
                <a:latin typeface="+mn-lt"/>
                <a:ea typeface="ＭＳ Ｐゴシック"/>
              </a:rPr>
              <a:t>5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9FCAE591-BA88-C558-565D-2C827F7E6A84}"/>
              </a:ext>
            </a:extLst>
          </p:cNvPr>
          <p:cNvSpPr/>
          <p:nvPr/>
        </p:nvSpPr>
        <p:spPr>
          <a:xfrm flipH="1" flipV="1">
            <a:off x="7057074" y="4182169"/>
            <a:ext cx="872198" cy="872198"/>
          </a:xfrm>
          <a:prstGeom prst="ellipse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CA" sz="1600" dirty="0" err="1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E2CEAB15-98B9-3F41-9141-DF947B1DEC3F}"/>
              </a:ext>
            </a:extLst>
          </p:cNvPr>
          <p:cNvSpPr txBox="1"/>
          <p:nvPr/>
        </p:nvSpPr>
        <p:spPr>
          <a:xfrm>
            <a:off x="7216859" y="4279714"/>
            <a:ext cx="552628" cy="677108"/>
          </a:xfrm>
          <a:prstGeom prst="rect">
            <a:avLst/>
          </a:prstGeom>
          <a:noFill/>
        </p:spPr>
        <p:txBody>
          <a:bodyPr wrap="square" lIns="0" tIns="0" rIns="0" bIns="0" rtlCol="0" anchor="ctr" anchorCtr="1">
            <a:spAutoFit/>
          </a:bodyPr>
          <a:lstStyle/>
          <a:p>
            <a:pPr>
              <a:defRPr/>
            </a:pPr>
            <a:r>
              <a:rPr lang="en-CA" sz="4400" dirty="0">
                <a:solidFill>
                  <a:schemeClr val="bg1"/>
                </a:solidFill>
                <a:latin typeface="+mn-lt"/>
                <a:ea typeface="ＭＳ Ｐゴシック"/>
              </a:rPr>
              <a:t>3</a:t>
            </a:r>
          </a:p>
        </p:txBody>
      </p:sp>
      <p:sp>
        <p:nvSpPr>
          <p:cNvPr id="34" name="Block Arc 33">
            <a:extLst>
              <a:ext uri="{FF2B5EF4-FFF2-40B4-BE49-F238E27FC236}">
                <a16:creationId xmlns:a16="http://schemas.microsoft.com/office/drawing/2014/main" id="{96FEF340-7547-C25E-54AA-E38E5476819F}"/>
              </a:ext>
            </a:extLst>
          </p:cNvPr>
          <p:cNvSpPr>
            <a:spLocks/>
          </p:cNvSpPr>
          <p:nvPr/>
        </p:nvSpPr>
        <p:spPr>
          <a:xfrm rot="21372587">
            <a:off x="4703785" y="2079406"/>
            <a:ext cx="2772308" cy="2689693"/>
          </a:xfrm>
          <a:prstGeom prst="blockArc">
            <a:avLst>
              <a:gd name="adj1" fmla="val 13562647"/>
              <a:gd name="adj2" fmla="val 15378897"/>
              <a:gd name="adj3" fmla="val 11039"/>
            </a:avLst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CA" sz="1600" dirty="0" err="1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35" name="Block Arc 34">
            <a:extLst>
              <a:ext uri="{FF2B5EF4-FFF2-40B4-BE49-F238E27FC236}">
                <a16:creationId xmlns:a16="http://schemas.microsoft.com/office/drawing/2014/main" id="{C2BCC308-7DAC-CCA0-2275-05A99FE76FDB}"/>
              </a:ext>
            </a:extLst>
          </p:cNvPr>
          <p:cNvSpPr>
            <a:spLocks/>
          </p:cNvSpPr>
          <p:nvPr/>
        </p:nvSpPr>
        <p:spPr>
          <a:xfrm rot="2899050" flipH="1">
            <a:off x="4835165" y="2195624"/>
            <a:ext cx="2600610" cy="2680772"/>
          </a:xfrm>
          <a:prstGeom prst="blockArc">
            <a:avLst>
              <a:gd name="adj1" fmla="val 13544776"/>
              <a:gd name="adj2" fmla="val 15755140"/>
              <a:gd name="adj3" fmla="val 15807"/>
            </a:avLst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CA" sz="1600" dirty="0" err="1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6D88B64F-DB96-ECF6-705B-BC5AF59EC63C}"/>
              </a:ext>
            </a:extLst>
          </p:cNvPr>
          <p:cNvSpPr/>
          <p:nvPr/>
        </p:nvSpPr>
        <p:spPr>
          <a:xfrm flipH="1">
            <a:off x="7407117" y="2611844"/>
            <a:ext cx="872198" cy="872198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CA" sz="1600" dirty="0" err="1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FC7A9507-E570-6EAF-15C8-3506D53C0D10}"/>
              </a:ext>
            </a:extLst>
          </p:cNvPr>
          <p:cNvSpPr txBox="1"/>
          <p:nvPr/>
        </p:nvSpPr>
        <p:spPr>
          <a:xfrm>
            <a:off x="7566902" y="2686026"/>
            <a:ext cx="552628" cy="677108"/>
          </a:xfrm>
          <a:prstGeom prst="rect">
            <a:avLst/>
          </a:prstGeom>
          <a:noFill/>
        </p:spPr>
        <p:txBody>
          <a:bodyPr wrap="square" lIns="0" tIns="0" rIns="0" bIns="0" rtlCol="0" anchor="ctr" anchorCtr="1">
            <a:spAutoFit/>
          </a:bodyPr>
          <a:lstStyle/>
          <a:p>
            <a:pPr>
              <a:defRPr/>
            </a:pPr>
            <a:r>
              <a:rPr lang="en-CA" sz="4400" dirty="0">
                <a:solidFill>
                  <a:schemeClr val="bg1"/>
                </a:solidFill>
                <a:latin typeface="+mn-lt"/>
                <a:ea typeface="ＭＳ Ｐゴシック"/>
              </a:rPr>
              <a:t>2</a:t>
            </a: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0C275E08-67FC-8AC4-B7CE-B01F3A81E6B6}"/>
              </a:ext>
            </a:extLst>
          </p:cNvPr>
          <p:cNvSpPr/>
          <p:nvPr/>
        </p:nvSpPr>
        <p:spPr>
          <a:xfrm flipH="1" flipV="1">
            <a:off x="5563607" y="4902928"/>
            <a:ext cx="872198" cy="872198"/>
          </a:xfrm>
          <a:prstGeom prst="ellipse">
            <a:avLst/>
          </a:prstGeom>
          <a:solidFill>
            <a:schemeClr val="accent4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CA" sz="1600" dirty="0" err="1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A0DC9E7F-3C19-3027-FA93-846B94971074}"/>
              </a:ext>
            </a:extLst>
          </p:cNvPr>
          <p:cNvSpPr txBox="1"/>
          <p:nvPr/>
        </p:nvSpPr>
        <p:spPr>
          <a:xfrm>
            <a:off x="5723392" y="5000473"/>
            <a:ext cx="552628" cy="677108"/>
          </a:xfrm>
          <a:prstGeom prst="rect">
            <a:avLst/>
          </a:prstGeom>
          <a:noFill/>
        </p:spPr>
        <p:txBody>
          <a:bodyPr wrap="square" lIns="0" tIns="0" rIns="0" bIns="0" rtlCol="0" anchor="ctr" anchorCtr="1">
            <a:spAutoFit/>
          </a:bodyPr>
          <a:lstStyle/>
          <a:p>
            <a:pPr>
              <a:defRPr/>
            </a:pPr>
            <a:r>
              <a:rPr lang="en-CA" sz="4400" dirty="0">
                <a:solidFill>
                  <a:schemeClr val="bg1"/>
                </a:solidFill>
                <a:latin typeface="+mn-lt"/>
                <a:ea typeface="ＭＳ Ｐゴシック"/>
              </a:rPr>
              <a:t>4</a:t>
            </a: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CCFF264D-D79B-C08F-67E8-C1F13B0AB077}"/>
              </a:ext>
            </a:extLst>
          </p:cNvPr>
          <p:cNvGrpSpPr/>
          <p:nvPr/>
        </p:nvGrpSpPr>
        <p:grpSpPr>
          <a:xfrm>
            <a:off x="8057439" y="4277469"/>
            <a:ext cx="2868064" cy="773271"/>
            <a:chOff x="8057439" y="4277469"/>
            <a:chExt cx="2868064" cy="773271"/>
          </a:xfrm>
        </p:grpSpPr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792A78AB-6558-7B6E-33CC-6AC6AEE154EB}"/>
                </a:ext>
              </a:extLst>
            </p:cNvPr>
            <p:cNvSpPr txBox="1">
              <a:spLocks/>
            </p:cNvSpPr>
            <p:nvPr/>
          </p:nvSpPr>
          <p:spPr>
            <a:xfrm>
              <a:off x="8057439" y="4277469"/>
              <a:ext cx="2868064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>
              <a:defPPr>
                <a:defRPr lang="en-US"/>
              </a:defPPr>
              <a:lvl1pPr lvl="0" algn="r">
                <a:defRPr b="1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pPr algn="l"/>
              <a:r>
                <a:rPr lang="en-CA" sz="1600" dirty="0">
                  <a:solidFill>
                    <a:schemeClr val="accent3"/>
                  </a:solidFill>
                  <a:latin typeface="+mn-lt"/>
                  <a:cs typeface="Calibri" panose="020F0502020204030204" pitchFamily="34" charset="0"/>
                </a:rPr>
                <a:t>HEADING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5A10F130-F7AC-7DC8-6FC5-5013D03E9468}"/>
                </a:ext>
              </a:extLst>
            </p:cNvPr>
            <p:cNvSpPr txBox="1">
              <a:spLocks/>
            </p:cNvSpPr>
            <p:nvPr/>
          </p:nvSpPr>
          <p:spPr>
            <a:xfrm>
              <a:off x="8057439" y="4558297"/>
              <a:ext cx="2868064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lvl="0">
                <a:defRPr/>
              </a:pPr>
              <a:r>
                <a:rPr lang="en-IN" sz="1600" dirty="0">
                  <a:latin typeface="+mn-lt"/>
                  <a:cs typeface="Calibri" panose="020F0502020204030204" pitchFamily="34" charset="0"/>
                </a:rPr>
                <a:t>Insert your text here Insert your text here Insert your text</a:t>
              </a:r>
              <a:endParaRPr lang="en-CA" sz="1600" dirty="0">
                <a:latin typeface="+mn-lt"/>
                <a:ea typeface="ＭＳ Ｐゴシック"/>
              </a:endParaRPr>
            </a:p>
          </p:txBody>
        </p:sp>
      </p:grpSp>
      <p:sp>
        <p:nvSpPr>
          <p:cNvPr id="43" name="TextBox 42">
            <a:extLst>
              <a:ext uri="{FF2B5EF4-FFF2-40B4-BE49-F238E27FC236}">
                <a16:creationId xmlns:a16="http://schemas.microsoft.com/office/drawing/2014/main" id="{DDB873DF-9794-A87C-3724-47AEEE938E50}"/>
              </a:ext>
            </a:extLst>
          </p:cNvPr>
          <p:cNvSpPr txBox="1">
            <a:spLocks/>
          </p:cNvSpPr>
          <p:nvPr/>
        </p:nvSpPr>
        <p:spPr>
          <a:xfrm>
            <a:off x="1099265" y="4051783"/>
            <a:ext cx="2878882" cy="24622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lvl="0" algn="r">
              <a:defRPr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CA" sz="1600" dirty="0">
                <a:solidFill>
                  <a:schemeClr val="accent5"/>
                </a:solidFill>
                <a:latin typeface="+mn-lt"/>
                <a:cs typeface="Calibri" panose="020F0502020204030204" pitchFamily="34" charset="0"/>
              </a:rPr>
              <a:t>HEADING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2EE20A36-99C0-CD26-D173-E55E0F289E53}"/>
              </a:ext>
            </a:extLst>
          </p:cNvPr>
          <p:cNvSpPr txBox="1">
            <a:spLocks/>
          </p:cNvSpPr>
          <p:nvPr/>
        </p:nvSpPr>
        <p:spPr>
          <a:xfrm>
            <a:off x="1099265" y="4332611"/>
            <a:ext cx="2878882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r">
              <a:defRPr/>
            </a:pPr>
            <a:r>
              <a:rPr lang="en-IN" sz="1600" dirty="0">
                <a:latin typeface="+mn-lt"/>
                <a:cs typeface="Calibri" panose="020F0502020204030204" pitchFamily="34" charset="0"/>
              </a:rPr>
              <a:t>Insert your text here Insert your text here Insert your text</a:t>
            </a:r>
            <a:endParaRPr lang="en-CA" sz="1600" dirty="0">
              <a:latin typeface="+mn-lt"/>
              <a:ea typeface="ＭＳ Ｐゴシック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8F10AC9F-A28B-8869-9B78-99967C409FCF}"/>
              </a:ext>
            </a:extLst>
          </p:cNvPr>
          <p:cNvSpPr txBox="1">
            <a:spLocks/>
          </p:cNvSpPr>
          <p:nvPr/>
        </p:nvSpPr>
        <p:spPr>
          <a:xfrm>
            <a:off x="708502" y="2802231"/>
            <a:ext cx="2878882" cy="24622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lvl="0" algn="r">
              <a:defRPr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CA" sz="1600" dirty="0">
                <a:latin typeface="+mn-lt"/>
                <a:cs typeface="Calibri" panose="020F0502020204030204" pitchFamily="34" charset="0"/>
              </a:rPr>
              <a:t>HEADING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6109A349-43B3-839F-0177-4183DDAB1C91}"/>
              </a:ext>
            </a:extLst>
          </p:cNvPr>
          <p:cNvSpPr txBox="1">
            <a:spLocks/>
          </p:cNvSpPr>
          <p:nvPr/>
        </p:nvSpPr>
        <p:spPr>
          <a:xfrm>
            <a:off x="708502" y="3083059"/>
            <a:ext cx="2878882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r">
              <a:defRPr/>
            </a:pPr>
            <a:r>
              <a:rPr lang="en-IN" sz="1600" dirty="0">
                <a:latin typeface="+mn-lt"/>
                <a:cs typeface="Calibri" panose="020F0502020204030204" pitchFamily="34" charset="0"/>
              </a:rPr>
              <a:t>Insert your text here Insert your text here Insert your text</a:t>
            </a:r>
            <a:endParaRPr lang="en-CA" sz="1600" dirty="0">
              <a:latin typeface="+mn-lt"/>
              <a:ea typeface="ＭＳ Ｐゴシック"/>
            </a:endParaRP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E5A551B6-BBCE-8DD1-0A14-2A38548A5B76}"/>
              </a:ext>
            </a:extLst>
          </p:cNvPr>
          <p:cNvSpPr/>
          <p:nvPr/>
        </p:nvSpPr>
        <p:spPr>
          <a:xfrm>
            <a:off x="3745551" y="2617147"/>
            <a:ext cx="872198" cy="872198"/>
          </a:xfrm>
          <a:prstGeom prst="ellipse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CA" sz="1600" dirty="0" err="1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14FD877B-15F9-E169-9BFD-ABF7FE12C7F8}"/>
              </a:ext>
            </a:extLst>
          </p:cNvPr>
          <p:cNvSpPr txBox="1"/>
          <p:nvPr/>
        </p:nvSpPr>
        <p:spPr>
          <a:xfrm>
            <a:off x="3905336" y="2714692"/>
            <a:ext cx="552628" cy="677108"/>
          </a:xfrm>
          <a:prstGeom prst="rect">
            <a:avLst/>
          </a:prstGeom>
          <a:noFill/>
        </p:spPr>
        <p:txBody>
          <a:bodyPr wrap="square" lIns="0" tIns="0" rIns="0" bIns="0" rtlCol="0" anchor="ctr" anchorCtr="1">
            <a:spAutoFit/>
          </a:bodyPr>
          <a:lstStyle/>
          <a:p>
            <a:pPr>
              <a:defRPr/>
            </a:pPr>
            <a:r>
              <a:rPr lang="en-CA" sz="4400" dirty="0">
                <a:solidFill>
                  <a:schemeClr val="bg1"/>
                </a:solidFill>
                <a:latin typeface="+mn-lt"/>
                <a:ea typeface="ＭＳ Ｐゴシック"/>
              </a:rPr>
              <a:t>6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8EF10C1E-017E-1792-32BC-A9C8CA4DC573}"/>
              </a:ext>
            </a:extLst>
          </p:cNvPr>
          <p:cNvSpPr txBox="1">
            <a:spLocks/>
          </p:cNvSpPr>
          <p:nvPr/>
        </p:nvSpPr>
        <p:spPr>
          <a:xfrm>
            <a:off x="2632842" y="5301335"/>
            <a:ext cx="2878882" cy="24622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lvl="0" algn="r">
              <a:defRPr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CA" sz="1600" dirty="0">
                <a:solidFill>
                  <a:schemeClr val="accent4"/>
                </a:solidFill>
                <a:latin typeface="+mn-lt"/>
                <a:cs typeface="Calibri" panose="020F0502020204030204" pitchFamily="34" charset="0"/>
              </a:rPr>
              <a:t>HEADING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F32477CF-F5ED-DAB1-CACE-BB79818B4084}"/>
              </a:ext>
            </a:extLst>
          </p:cNvPr>
          <p:cNvSpPr txBox="1">
            <a:spLocks/>
          </p:cNvSpPr>
          <p:nvPr/>
        </p:nvSpPr>
        <p:spPr>
          <a:xfrm>
            <a:off x="2632842" y="5582163"/>
            <a:ext cx="2878882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r">
              <a:defRPr/>
            </a:pPr>
            <a:r>
              <a:rPr lang="en-IN" sz="1600" dirty="0">
                <a:latin typeface="+mn-lt"/>
                <a:cs typeface="Calibri" panose="020F0502020204030204" pitchFamily="34" charset="0"/>
              </a:rPr>
              <a:t>Insert your text here Insert your text here Insert your text</a:t>
            </a:r>
            <a:endParaRPr lang="en-CA" sz="1600" dirty="0">
              <a:latin typeface="+mn-lt"/>
              <a:ea typeface="ＭＳ Ｐゴシック"/>
            </a:endParaRPr>
          </a:p>
        </p:txBody>
      </p:sp>
      <p:sp>
        <p:nvSpPr>
          <p:cNvPr id="51" name="Block Arc 50">
            <a:extLst>
              <a:ext uri="{FF2B5EF4-FFF2-40B4-BE49-F238E27FC236}">
                <a16:creationId xmlns:a16="http://schemas.microsoft.com/office/drawing/2014/main" id="{A75C92F0-BD0B-627D-46DE-A437513A1784}"/>
              </a:ext>
            </a:extLst>
          </p:cNvPr>
          <p:cNvSpPr>
            <a:spLocks/>
          </p:cNvSpPr>
          <p:nvPr/>
        </p:nvSpPr>
        <p:spPr>
          <a:xfrm rot="9600000">
            <a:off x="4763482" y="2255431"/>
            <a:ext cx="2570405" cy="2607542"/>
          </a:xfrm>
          <a:prstGeom prst="blockArc">
            <a:avLst>
              <a:gd name="adj1" fmla="val 13215851"/>
              <a:gd name="adj2" fmla="val 15378897"/>
              <a:gd name="adj3" fmla="val 11039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CA" sz="1600" dirty="0" err="1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52" name="Block Arc 51">
            <a:extLst>
              <a:ext uri="{FF2B5EF4-FFF2-40B4-BE49-F238E27FC236}">
                <a16:creationId xmlns:a16="http://schemas.microsoft.com/office/drawing/2014/main" id="{5EA97C79-A092-5243-7E82-D61BF0EA59A4}"/>
              </a:ext>
            </a:extLst>
          </p:cNvPr>
          <p:cNvSpPr>
            <a:spLocks/>
          </p:cNvSpPr>
          <p:nvPr/>
        </p:nvSpPr>
        <p:spPr>
          <a:xfrm rot="18575698">
            <a:off x="4612567" y="2108781"/>
            <a:ext cx="2772308" cy="2689693"/>
          </a:xfrm>
          <a:prstGeom prst="blockArc">
            <a:avLst>
              <a:gd name="adj1" fmla="val 13499708"/>
              <a:gd name="adj2" fmla="val 15378897"/>
              <a:gd name="adj3" fmla="val 11039"/>
            </a:avLst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CA" sz="1600" dirty="0" err="1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6D3BBF47-4E57-2FF3-9505-94B43141B879}"/>
              </a:ext>
            </a:extLst>
          </p:cNvPr>
          <p:cNvSpPr/>
          <p:nvPr/>
        </p:nvSpPr>
        <p:spPr>
          <a:xfrm>
            <a:off x="4845862" y="2379522"/>
            <a:ext cx="2260782" cy="2260782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FE80F8C0-01C7-CC76-6A57-842C73A318A4}"/>
              </a:ext>
            </a:extLst>
          </p:cNvPr>
          <p:cNvSpPr txBox="1"/>
          <p:nvPr/>
        </p:nvSpPr>
        <p:spPr>
          <a:xfrm>
            <a:off x="5067465" y="3315873"/>
            <a:ext cx="1817579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 algn="ctr">
              <a:defRPr/>
            </a:pPr>
            <a:r>
              <a:rPr lang="en-CA" sz="2400" b="1" dirty="0">
                <a:latin typeface="+mn-lt"/>
              </a:rPr>
              <a:t>HEADING</a:t>
            </a: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5B399D28-A10C-E8A3-DB63-09BD295A1299}"/>
              </a:ext>
            </a:extLst>
          </p:cNvPr>
          <p:cNvSpPr/>
          <p:nvPr/>
        </p:nvSpPr>
        <p:spPr>
          <a:xfrm>
            <a:off x="5091699" y="2662150"/>
            <a:ext cx="1769108" cy="1769111"/>
          </a:xfrm>
          <a:prstGeom prst="ellipse">
            <a:avLst/>
          </a:prstGeom>
          <a:noFill/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CA" sz="1200" dirty="0" err="1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66241B2C-41B5-9ACA-DF60-37B3557D44FD}"/>
              </a:ext>
            </a:extLst>
          </p:cNvPr>
          <p:cNvSpPr/>
          <p:nvPr/>
        </p:nvSpPr>
        <p:spPr>
          <a:xfrm>
            <a:off x="4762530" y="1428952"/>
            <a:ext cx="872198" cy="872198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CA" sz="1600" dirty="0" err="1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A11C9841-29C3-975E-1244-EAF33F7EEB4E}"/>
              </a:ext>
            </a:extLst>
          </p:cNvPr>
          <p:cNvSpPr txBox="1"/>
          <p:nvPr/>
        </p:nvSpPr>
        <p:spPr>
          <a:xfrm>
            <a:off x="4922315" y="1449124"/>
            <a:ext cx="552628" cy="677108"/>
          </a:xfrm>
          <a:prstGeom prst="rect">
            <a:avLst/>
          </a:prstGeom>
          <a:noFill/>
        </p:spPr>
        <p:txBody>
          <a:bodyPr wrap="square" lIns="0" tIns="0" rIns="0" bIns="0" rtlCol="0" anchor="ctr" anchorCtr="1">
            <a:spAutoFit/>
          </a:bodyPr>
          <a:lstStyle/>
          <a:p>
            <a:pPr>
              <a:defRPr/>
            </a:pPr>
            <a:r>
              <a:rPr lang="en-CA" sz="4400" dirty="0">
                <a:solidFill>
                  <a:schemeClr val="bg1"/>
                </a:solidFill>
                <a:latin typeface="+mn-lt"/>
                <a:ea typeface="ＭＳ Ｐゴシック"/>
              </a:rPr>
              <a:t>7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CB2E4E9E-D3C8-C879-C636-BD746CDEAA35}"/>
              </a:ext>
            </a:extLst>
          </p:cNvPr>
          <p:cNvSpPr txBox="1">
            <a:spLocks/>
          </p:cNvSpPr>
          <p:nvPr/>
        </p:nvSpPr>
        <p:spPr>
          <a:xfrm>
            <a:off x="1738229" y="1552679"/>
            <a:ext cx="2878882" cy="24622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lvl="0" algn="r">
              <a:defRPr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CA" sz="1600" dirty="0">
                <a:solidFill>
                  <a:schemeClr val="accent2"/>
                </a:solidFill>
                <a:latin typeface="+mn-lt"/>
                <a:cs typeface="Calibri" panose="020F0502020204030204" pitchFamily="34" charset="0"/>
              </a:rPr>
              <a:t>HEADING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86D5B6D3-5F18-1CCE-CA1B-B56C6C2695E5}"/>
              </a:ext>
            </a:extLst>
          </p:cNvPr>
          <p:cNvSpPr txBox="1">
            <a:spLocks/>
          </p:cNvSpPr>
          <p:nvPr/>
        </p:nvSpPr>
        <p:spPr>
          <a:xfrm>
            <a:off x="1738229" y="1833507"/>
            <a:ext cx="2878882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r">
              <a:defRPr/>
            </a:pPr>
            <a:r>
              <a:rPr lang="en-IN" sz="1600" dirty="0">
                <a:latin typeface="+mn-lt"/>
                <a:cs typeface="Calibri" panose="020F0502020204030204" pitchFamily="34" charset="0"/>
              </a:rPr>
              <a:t>Insert your text here Insert your text here Insert your text</a:t>
            </a:r>
            <a:endParaRPr lang="en-CA" sz="1600" dirty="0">
              <a:latin typeface="+mn-lt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3259072195"/>
      </p:ext>
    </p:extLst>
  </p:cSld>
  <p:clrMapOvr>
    <a:masterClrMapping/>
  </p:clrMapOvr>
</p:sld>
</file>

<file path=ppt/slides/slide1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DDB6FE-D7D2-7673-99CC-C64A4FC9FE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4">
            <a:extLst>
              <a:ext uri="{FF2B5EF4-FFF2-40B4-BE49-F238E27FC236}">
                <a16:creationId xmlns:a16="http://schemas.microsoft.com/office/drawing/2014/main" id="{FE43E521-55EF-1AB9-D288-B7E5BE3F3F90}"/>
              </a:ext>
            </a:extLst>
          </p:cNvPr>
          <p:cNvSpPr txBox="1">
            <a:spLocks/>
          </p:cNvSpPr>
          <p:nvPr/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lnSpc>
                <a:spcPct val="90000"/>
              </a:lnSpc>
              <a:spcBef>
                <a:spcPct val="0"/>
              </a:spcBef>
              <a:buNone/>
              <a:defRPr sz="5400" b="1">
                <a:solidFill>
                  <a:schemeClr val="bg1"/>
                </a:solidFill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chemeClr val="accent1"/>
                </a:solidFill>
              </a:rPr>
              <a:t>03</a:t>
            </a:r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1BD7B2DB-69F7-8660-8F41-7F9297098B6B}"/>
              </a:ext>
            </a:extLst>
          </p:cNvPr>
          <p:cNvSpPr txBox="1">
            <a:spLocks/>
          </p:cNvSpPr>
          <p:nvPr/>
        </p:nvSpPr>
        <p:spPr>
          <a:xfrm>
            <a:off x="419099" y="3635858"/>
            <a:ext cx="11283166" cy="434926"/>
          </a:xfrm>
          <a:prstGeom prst="rect">
            <a:avLst/>
          </a:prstGeom>
        </p:spPr>
        <p:txBody>
          <a:bodyPr/>
          <a:lstStyle>
            <a:lvl1pPr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Tx/>
              <a:buNone/>
              <a:defRPr b="1">
                <a:solidFill>
                  <a:schemeClr val="bg1"/>
                </a:solidFill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Tx/>
              <a:buNone/>
              <a:defRPr b="1">
                <a:solidFill>
                  <a:schemeClr val="bg1"/>
                </a:solidFill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Tx/>
              <a:buNone/>
              <a:defRPr b="1">
                <a:solidFill>
                  <a:schemeClr val="bg1"/>
                </a:solidFill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Tx/>
              <a:buNone/>
              <a:defRPr b="1">
                <a:solidFill>
                  <a:schemeClr val="bg1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sz="3600" b="0" dirty="0">
                <a:solidFill>
                  <a:schemeClr val="tx1"/>
                </a:solidFill>
              </a:rPr>
              <a:t>Quantitative Slid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96A67826-7EE0-BAFB-9886-69697BFE628C}"/>
              </a:ext>
            </a:extLst>
          </p:cNvPr>
          <p:cNvCxnSpPr/>
          <p:nvPr/>
        </p:nvCxnSpPr>
        <p:spPr>
          <a:xfrm>
            <a:off x="419099" y="3521558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64562177"/>
      </p:ext>
    </p:extLst>
  </p:cSld>
  <p:clrMapOvr>
    <a:masterClrMapping/>
  </p:clrMapOvr>
</p:sld>
</file>

<file path=ppt/slides/slide1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AED62A-3B8F-941E-ADB6-C803F3C6B6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think-cell data - do not delete" hidden="1">
            <a:extLst>
              <a:ext uri="{FF2B5EF4-FFF2-40B4-BE49-F238E27FC236}">
                <a16:creationId xmlns:a16="http://schemas.microsoft.com/office/drawing/2014/main" id="{525477C8-C7A5-C3AC-2D46-72C7C51E1B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25477C8-C7A5-C3AC-2D46-72C7C51E1B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A7AF18E-A059-86CA-9073-679C147F26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Are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F8155EA-414C-7C77-3620-34FC148AFF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73</a:t>
            </a:fld>
            <a:endParaRPr lang="en-US" dirty="0"/>
          </a:p>
        </p:txBody>
      </p:sp>
      <p:graphicFrame>
        <p:nvGraphicFramePr>
          <p:cNvPr id="10" name="Content Placeholder 7">
            <a:extLst>
              <a:ext uri="{FF2B5EF4-FFF2-40B4-BE49-F238E27FC236}">
                <a16:creationId xmlns:a16="http://schemas.microsoft.com/office/drawing/2014/main" id="{8FABD431-E811-EFD2-96FE-A2FE43791A9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0703811"/>
              </p:ext>
            </p:extLst>
          </p:nvPr>
        </p:nvGraphicFramePr>
        <p:xfrm>
          <a:off x="418055" y="1724628"/>
          <a:ext cx="11344407" cy="44983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5A5900A9-281A-8169-C5CB-7A974F8519FE}"/>
              </a:ext>
            </a:extLst>
          </p:cNvPr>
          <p:cNvSpPr txBox="1"/>
          <p:nvPr/>
        </p:nvSpPr>
        <p:spPr>
          <a:xfrm>
            <a:off x="418055" y="1058545"/>
            <a:ext cx="11047792" cy="276999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4000" b="1">
                <a:solidFill>
                  <a:schemeClr val="accent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z="1800" dirty="0">
                <a:solidFill>
                  <a:schemeClr val="tx1"/>
                </a:solidFill>
              </a:rPr>
              <a:t>Chart Title </a:t>
            </a:r>
            <a:endParaRPr lang="de-DE" sz="1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9386620"/>
      </p:ext>
    </p:extLst>
  </p:cSld>
  <p:clrMapOvr>
    <a:masterClrMapping/>
  </p:clrMapOvr>
</p:sld>
</file>

<file path=ppt/slides/slide1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7A94B97-6995-3061-7AB6-58EFFD5366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E5B0F0AB-443E-9626-9D60-392680D7452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5B0F0AB-443E-9626-9D60-392680D745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08B23DC-A2F1-1F98-907F-5D3093CE75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Area</a:t>
            </a:r>
          </a:p>
        </p:txBody>
      </p:sp>
      <p:graphicFrame>
        <p:nvGraphicFramePr>
          <p:cNvPr id="43" name="Chart 50">
            <a:extLst>
              <a:ext uri="{FF2B5EF4-FFF2-40B4-BE49-F238E27FC236}">
                <a16:creationId xmlns:a16="http://schemas.microsoft.com/office/drawing/2014/main" id="{60A082CF-BFF6-A62E-CFB7-22DECFBEE189}"/>
              </a:ext>
            </a:extLst>
          </p:cNvPr>
          <p:cNvGraphicFramePr>
            <a:graphicFrameLocks/>
          </p:cNvGraphicFramePr>
          <p:nvPr/>
        </p:nvGraphicFramePr>
        <p:xfrm>
          <a:off x="419098" y="2581275"/>
          <a:ext cx="11344109" cy="39846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44" name="Oval 43">
            <a:extLst>
              <a:ext uri="{FF2B5EF4-FFF2-40B4-BE49-F238E27FC236}">
                <a16:creationId xmlns:a16="http://schemas.microsoft.com/office/drawing/2014/main" id="{38FEBC79-DBF9-2B21-836E-F9EB133BA951}"/>
              </a:ext>
            </a:extLst>
          </p:cNvPr>
          <p:cNvSpPr/>
          <p:nvPr/>
        </p:nvSpPr>
        <p:spPr>
          <a:xfrm>
            <a:off x="9459606" y="4748213"/>
            <a:ext cx="446087" cy="446087"/>
          </a:xfrm>
          <a:prstGeom prst="ellipse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2B586FB2-31BB-61A4-848A-D37C615825DB}"/>
              </a:ext>
            </a:extLst>
          </p:cNvPr>
          <p:cNvCxnSpPr/>
          <p:nvPr/>
        </p:nvCxnSpPr>
        <p:spPr>
          <a:xfrm>
            <a:off x="9693275" y="2525713"/>
            <a:ext cx="0" cy="2555875"/>
          </a:xfrm>
          <a:prstGeom prst="straightConnector1">
            <a:avLst/>
          </a:prstGeom>
          <a:ln w="571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1889187A-85CD-A3BB-F717-501509FD56A4}"/>
              </a:ext>
            </a:extLst>
          </p:cNvPr>
          <p:cNvCxnSpPr/>
          <p:nvPr/>
        </p:nvCxnSpPr>
        <p:spPr>
          <a:xfrm>
            <a:off x="7689850" y="2497138"/>
            <a:ext cx="0" cy="1511300"/>
          </a:xfrm>
          <a:prstGeom prst="straightConnector1">
            <a:avLst/>
          </a:prstGeom>
          <a:ln w="571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F8E66D4C-0EE0-2CF9-B05B-E428BA8601E1}"/>
              </a:ext>
            </a:extLst>
          </p:cNvPr>
          <p:cNvCxnSpPr/>
          <p:nvPr/>
        </p:nvCxnSpPr>
        <p:spPr>
          <a:xfrm>
            <a:off x="2581275" y="2408238"/>
            <a:ext cx="0" cy="2987675"/>
          </a:xfrm>
          <a:prstGeom prst="straightConnector1">
            <a:avLst/>
          </a:prstGeom>
          <a:ln w="571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E3CDD008-0DB4-48EB-677C-4E3BBD6860DD}"/>
              </a:ext>
            </a:extLst>
          </p:cNvPr>
          <p:cNvCxnSpPr/>
          <p:nvPr/>
        </p:nvCxnSpPr>
        <p:spPr>
          <a:xfrm>
            <a:off x="5197475" y="2497138"/>
            <a:ext cx="0" cy="1727200"/>
          </a:xfrm>
          <a:prstGeom prst="straightConnector1">
            <a:avLst/>
          </a:prstGeom>
          <a:ln w="571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9" name="Group 57">
            <a:extLst>
              <a:ext uri="{FF2B5EF4-FFF2-40B4-BE49-F238E27FC236}">
                <a16:creationId xmlns:a16="http://schemas.microsoft.com/office/drawing/2014/main" id="{5EB35A8B-BDAA-BD04-4454-B41F5305915D}"/>
              </a:ext>
            </a:extLst>
          </p:cNvPr>
          <p:cNvGrpSpPr>
            <a:grpSpLocks/>
          </p:cNvGrpSpPr>
          <p:nvPr/>
        </p:nvGrpSpPr>
        <p:grpSpPr bwMode="auto">
          <a:xfrm>
            <a:off x="2062470" y="1571625"/>
            <a:ext cx="1057275" cy="1009650"/>
            <a:chOff x="2499360" y="1439593"/>
            <a:chExt cx="1056640" cy="1008993"/>
          </a:xfrm>
        </p:grpSpPr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64227C39-A843-1E30-CB13-494DF3E47C3C}"/>
                </a:ext>
              </a:extLst>
            </p:cNvPr>
            <p:cNvSpPr/>
            <p:nvPr/>
          </p:nvSpPr>
          <p:spPr>
            <a:xfrm>
              <a:off x="2499360" y="1439593"/>
              <a:ext cx="1056640" cy="710737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2400" b="1" dirty="0">
                  <a:solidFill>
                    <a:schemeClr val="bg1"/>
                  </a:solidFill>
                </a:rPr>
                <a:t>30%</a:t>
              </a:r>
              <a:endParaRPr lang="en-US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51" name="Isosceles Triangle 50">
              <a:extLst>
                <a:ext uri="{FF2B5EF4-FFF2-40B4-BE49-F238E27FC236}">
                  <a16:creationId xmlns:a16="http://schemas.microsoft.com/office/drawing/2014/main" id="{B6E96D5D-8983-53A5-0FBE-53CB22C8CD3E}"/>
                </a:ext>
              </a:extLst>
            </p:cNvPr>
            <p:cNvSpPr/>
            <p:nvPr/>
          </p:nvSpPr>
          <p:spPr>
            <a:xfrm flipV="1">
              <a:off x="2854746" y="2150330"/>
              <a:ext cx="345867" cy="298256"/>
            </a:xfrm>
            <a:prstGeom prst="triangl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D964ECE9-0692-A218-5475-A8B566574AB9}"/>
              </a:ext>
            </a:extLst>
          </p:cNvPr>
          <p:cNvGrpSpPr/>
          <p:nvPr/>
        </p:nvGrpSpPr>
        <p:grpSpPr>
          <a:xfrm>
            <a:off x="9174152" y="1564989"/>
            <a:ext cx="1056640" cy="1008993"/>
            <a:chOff x="2499360" y="1439593"/>
            <a:chExt cx="1056640" cy="1008993"/>
          </a:xfrm>
          <a:solidFill>
            <a:schemeClr val="accent2"/>
          </a:solidFill>
        </p:grpSpPr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6FB4CA75-0820-D4A3-AE93-E8F1D042F244}"/>
                </a:ext>
              </a:extLst>
            </p:cNvPr>
            <p:cNvSpPr/>
            <p:nvPr/>
          </p:nvSpPr>
          <p:spPr>
            <a:xfrm>
              <a:off x="2499360" y="1439593"/>
              <a:ext cx="1056640" cy="7112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2400" b="1" dirty="0">
                  <a:solidFill>
                    <a:schemeClr val="bg1"/>
                  </a:solidFill>
                </a:rPr>
                <a:t>90%</a:t>
              </a:r>
              <a:endParaRPr lang="en-US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54" name="Isosceles Triangle 53">
              <a:extLst>
                <a:ext uri="{FF2B5EF4-FFF2-40B4-BE49-F238E27FC236}">
                  <a16:creationId xmlns:a16="http://schemas.microsoft.com/office/drawing/2014/main" id="{9BD27A41-9C1F-00AD-9D9B-48AE0BDC1D72}"/>
                </a:ext>
              </a:extLst>
            </p:cNvPr>
            <p:cNvSpPr/>
            <p:nvPr/>
          </p:nvSpPr>
          <p:spPr>
            <a:xfrm flipV="1">
              <a:off x="2854960" y="2150793"/>
              <a:ext cx="345440" cy="297793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0C121A66-004A-2EAC-DD9A-AC1A94638FC9}"/>
              </a:ext>
            </a:extLst>
          </p:cNvPr>
          <p:cNvGrpSpPr/>
          <p:nvPr/>
        </p:nvGrpSpPr>
        <p:grpSpPr>
          <a:xfrm>
            <a:off x="4679035" y="1548344"/>
            <a:ext cx="1056640" cy="1008993"/>
            <a:chOff x="2499360" y="1439593"/>
            <a:chExt cx="1056640" cy="1008993"/>
          </a:xfrm>
          <a:solidFill>
            <a:schemeClr val="accent3"/>
          </a:solidFill>
        </p:grpSpPr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E72BB8B6-D57D-8475-FC7D-6D9337CC8826}"/>
                </a:ext>
              </a:extLst>
            </p:cNvPr>
            <p:cNvSpPr/>
            <p:nvPr/>
          </p:nvSpPr>
          <p:spPr>
            <a:xfrm>
              <a:off x="2499360" y="1439593"/>
              <a:ext cx="1056640" cy="711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2400" b="1" dirty="0">
                  <a:solidFill>
                    <a:schemeClr val="bg1"/>
                  </a:solidFill>
                </a:rPr>
                <a:t>90%</a:t>
              </a:r>
              <a:endParaRPr lang="en-US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58" name="Isosceles Triangle 57">
              <a:extLst>
                <a:ext uri="{FF2B5EF4-FFF2-40B4-BE49-F238E27FC236}">
                  <a16:creationId xmlns:a16="http://schemas.microsoft.com/office/drawing/2014/main" id="{C6DC261D-BBAA-18BA-2F07-3FEDBB519047}"/>
                </a:ext>
              </a:extLst>
            </p:cNvPr>
            <p:cNvSpPr/>
            <p:nvPr/>
          </p:nvSpPr>
          <p:spPr>
            <a:xfrm flipV="1">
              <a:off x="2854960" y="2150793"/>
              <a:ext cx="345440" cy="297793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D05FDCA2-CD87-C2CA-9FFC-C4C67771B3DB}"/>
              </a:ext>
            </a:extLst>
          </p:cNvPr>
          <p:cNvGrpSpPr/>
          <p:nvPr/>
        </p:nvGrpSpPr>
        <p:grpSpPr>
          <a:xfrm>
            <a:off x="7152877" y="1548344"/>
            <a:ext cx="1056640" cy="1008993"/>
            <a:chOff x="2499360" y="1439593"/>
            <a:chExt cx="1056640" cy="1008993"/>
          </a:xfrm>
          <a:solidFill>
            <a:schemeClr val="accent4"/>
          </a:solidFill>
        </p:grpSpPr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D4EC0244-BA22-F77A-9B7C-7CD14221F9CB}"/>
                </a:ext>
              </a:extLst>
            </p:cNvPr>
            <p:cNvSpPr/>
            <p:nvPr/>
          </p:nvSpPr>
          <p:spPr>
            <a:xfrm>
              <a:off x="2499360" y="1439593"/>
              <a:ext cx="1056640" cy="7112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2400" b="1" dirty="0">
                  <a:solidFill>
                    <a:schemeClr val="bg1"/>
                  </a:solidFill>
                </a:rPr>
                <a:t>90%</a:t>
              </a:r>
              <a:endParaRPr lang="en-US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61" name="Isosceles Triangle 60">
              <a:extLst>
                <a:ext uri="{FF2B5EF4-FFF2-40B4-BE49-F238E27FC236}">
                  <a16:creationId xmlns:a16="http://schemas.microsoft.com/office/drawing/2014/main" id="{5B417FD9-7F29-AA3A-F89F-3A4AF78666C3}"/>
                </a:ext>
              </a:extLst>
            </p:cNvPr>
            <p:cNvSpPr/>
            <p:nvPr/>
          </p:nvSpPr>
          <p:spPr>
            <a:xfrm flipV="1">
              <a:off x="2854960" y="2150793"/>
              <a:ext cx="345440" cy="297793"/>
            </a:xfrm>
            <a:prstGeom prst="triangl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65860130"/>
      </p:ext>
    </p:extLst>
  </p:cSld>
  <p:clrMapOvr>
    <a:masterClrMapping/>
  </p:clrMapOvr>
</p:sld>
</file>

<file path=ppt/slides/slide1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A8B709-2F04-35D0-B93F-5E3F37FCBF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C11AFB15-1122-BA0E-2920-494E58DB6D3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11AFB15-1122-BA0E-2920-494E58DB6D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467EA34-B2FD-488C-3F92-19481D3BD7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tacked Area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212F887D-792C-F962-90F1-C2AA2CF73654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75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3" name="Google Shape;3308;p51">
            <a:extLst>
              <a:ext uri="{FF2B5EF4-FFF2-40B4-BE49-F238E27FC236}">
                <a16:creationId xmlns:a16="http://schemas.microsoft.com/office/drawing/2014/main" id="{AE298604-A685-90B8-4E42-637D99E107EB}"/>
              </a:ext>
            </a:extLst>
          </p:cNvPr>
          <p:cNvGraphicFramePr/>
          <p:nvPr/>
        </p:nvGraphicFramePr>
        <p:xfrm>
          <a:off x="419099" y="1218321"/>
          <a:ext cx="10748785" cy="4557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25677784"/>
      </p:ext>
    </p:extLst>
  </p:cSld>
  <p:clrMapOvr>
    <a:masterClrMapping/>
  </p:clrMapOvr>
</p:sld>
</file>

<file path=ppt/slides/slide1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782ED0B-44D4-B6D0-9F98-274CD4A581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2EE76C0A-1BCC-9FF0-87E8-D9501B2CE3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EE76C0A-1BCC-9FF0-87E8-D9501B2CE3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7" name="Chart 4">
            <a:extLst>
              <a:ext uri="{FF2B5EF4-FFF2-40B4-BE49-F238E27FC236}">
                <a16:creationId xmlns:a16="http://schemas.microsoft.com/office/drawing/2014/main" id="{7EA9AB3B-30C2-6269-437D-B1C9DDF940B4}"/>
              </a:ext>
            </a:extLst>
          </p:cNvPr>
          <p:cNvGraphicFramePr>
            <a:graphicFrameLocks/>
          </p:cNvGraphicFramePr>
          <p:nvPr/>
        </p:nvGraphicFramePr>
        <p:xfrm>
          <a:off x="6492875" y="1053397"/>
          <a:ext cx="2794000" cy="1863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8" name="Chart 104">
            <a:extLst>
              <a:ext uri="{FF2B5EF4-FFF2-40B4-BE49-F238E27FC236}">
                <a16:creationId xmlns:a16="http://schemas.microsoft.com/office/drawing/2014/main" id="{A29A634E-7152-A5D4-9C55-422FA4CCEA57}"/>
              </a:ext>
            </a:extLst>
          </p:cNvPr>
          <p:cNvGraphicFramePr>
            <a:graphicFrameLocks/>
          </p:cNvGraphicFramePr>
          <p:nvPr/>
        </p:nvGraphicFramePr>
        <p:xfrm>
          <a:off x="9020175" y="1070859"/>
          <a:ext cx="2760663" cy="1841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A809B7B-C918-F09E-57F3-BA15681FD0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Area / Pi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3D59123E-9CAB-0BC7-A342-A540009977E1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76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3" name="Chart 44">
            <a:extLst>
              <a:ext uri="{FF2B5EF4-FFF2-40B4-BE49-F238E27FC236}">
                <a16:creationId xmlns:a16="http://schemas.microsoft.com/office/drawing/2014/main" id="{9AC39A14-61A9-0990-4651-D694F8EC70A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42063642"/>
              </p:ext>
            </p:extLst>
          </p:nvPr>
        </p:nvGraphicFramePr>
        <p:xfrm>
          <a:off x="481013" y="851784"/>
          <a:ext cx="6194425" cy="533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C6163B44-8776-22DE-954D-48643BDA58C8}"/>
              </a:ext>
            </a:extLst>
          </p:cNvPr>
          <p:cNvSpPr/>
          <p:nvPr/>
        </p:nvSpPr>
        <p:spPr>
          <a:xfrm>
            <a:off x="6656388" y="3928359"/>
            <a:ext cx="2447925" cy="215423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FF1CE101-161C-EDFC-17AC-76044613F28D}"/>
              </a:ext>
            </a:extLst>
          </p:cNvPr>
          <p:cNvSpPr/>
          <p:nvPr/>
        </p:nvSpPr>
        <p:spPr>
          <a:xfrm>
            <a:off x="7354888" y="1462972"/>
            <a:ext cx="1042987" cy="104457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000" b="1" dirty="0">
                <a:solidFill>
                  <a:schemeClr val="tx1"/>
                </a:solidFill>
              </a:rPr>
              <a:t>2023</a:t>
            </a:r>
            <a:endParaRPr lang="en-US" sz="2000" b="1" dirty="0">
              <a:solidFill>
                <a:schemeClr val="tx1"/>
              </a:solidFill>
            </a:endParaRP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C4EC4AB3-B4AD-6E4B-BA24-3A614BB329ED}"/>
              </a:ext>
            </a:extLst>
          </p:cNvPr>
          <p:cNvCxnSpPr/>
          <p:nvPr/>
        </p:nvCxnSpPr>
        <p:spPr>
          <a:xfrm flipV="1">
            <a:off x="7870825" y="3352097"/>
            <a:ext cx="0" cy="511175"/>
          </a:xfrm>
          <a:prstGeom prst="straightConnector1">
            <a:avLst/>
          </a:prstGeom>
          <a:ln w="38100">
            <a:solidFill>
              <a:schemeClr val="accent6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51B200A6-374E-8603-EF3C-E7E44DC138DB}"/>
              </a:ext>
            </a:extLst>
          </p:cNvPr>
          <p:cNvSpPr/>
          <p:nvPr/>
        </p:nvSpPr>
        <p:spPr>
          <a:xfrm>
            <a:off x="7562850" y="2950459"/>
            <a:ext cx="617538" cy="36830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b="1" dirty="0"/>
              <a:t>35%</a:t>
            </a:r>
          </a:p>
        </p:txBody>
      </p:sp>
      <p:sp>
        <p:nvSpPr>
          <p:cNvPr id="9" name="Rectangle 28">
            <a:extLst>
              <a:ext uri="{FF2B5EF4-FFF2-40B4-BE49-F238E27FC236}">
                <a16:creationId xmlns:a16="http://schemas.microsoft.com/office/drawing/2014/main" id="{5738A93A-1D97-DA4A-3B03-57A34F4FB3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08788" y="4258559"/>
            <a:ext cx="2155825" cy="1493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50000"/>
              </a:lnSpc>
            </a:pPr>
            <a:r>
              <a:rPr lang="fr-FR" altLang="en-US" b="1" dirty="0" err="1">
                <a:solidFill>
                  <a:schemeClr val="bg1"/>
                </a:solidFill>
                <a:latin typeface="+mn-lt"/>
              </a:rPr>
              <a:t>Your</a:t>
            </a:r>
            <a:r>
              <a:rPr lang="fr-FR" altLang="en-US" b="1" dirty="0">
                <a:solidFill>
                  <a:schemeClr val="bg1"/>
                </a:solidFill>
                <a:latin typeface="+mn-lt"/>
              </a:rPr>
              <a:t> </a:t>
            </a:r>
            <a:r>
              <a:rPr lang="fr-FR" altLang="en-US" b="1" dirty="0" err="1">
                <a:solidFill>
                  <a:schemeClr val="bg1"/>
                </a:solidFill>
                <a:latin typeface="+mn-lt"/>
              </a:rPr>
              <a:t>Title</a:t>
            </a:r>
            <a:r>
              <a:rPr lang="fr-FR" altLang="en-US" b="1" dirty="0">
                <a:solidFill>
                  <a:schemeClr val="bg1"/>
                </a:solidFill>
                <a:latin typeface="+mn-lt"/>
              </a:rPr>
              <a:t> </a:t>
            </a:r>
            <a:r>
              <a:rPr lang="fr-FR" altLang="en-US" b="1" dirty="0" err="1">
                <a:solidFill>
                  <a:schemeClr val="bg1"/>
                </a:solidFill>
                <a:latin typeface="+mn-lt"/>
              </a:rPr>
              <a:t>Here</a:t>
            </a:r>
            <a:endParaRPr lang="en-US" altLang="en-US" b="1" dirty="0">
              <a:solidFill>
                <a:schemeClr val="bg1"/>
              </a:solidFill>
              <a:latin typeface="+mn-lt"/>
            </a:endParaRPr>
          </a:p>
          <a:p>
            <a:pPr algn="ctr" eaLnBrk="1" hangingPunct="1"/>
            <a:r>
              <a:rPr lang="en-US" altLang="en-US" sz="1400" dirty="0">
                <a:solidFill>
                  <a:schemeClr val="bg1"/>
                </a:solidFill>
                <a:latin typeface="+mn-lt"/>
              </a:rPr>
              <a:t>There are many variations of passages but the suffered alteration in some form by injected. There are many There are man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AF11C02-D86C-892A-0A33-A9CBDACA39E5}"/>
              </a:ext>
            </a:extLst>
          </p:cNvPr>
          <p:cNvSpPr/>
          <p:nvPr/>
        </p:nvSpPr>
        <p:spPr>
          <a:xfrm>
            <a:off x="9218613" y="3928359"/>
            <a:ext cx="2447925" cy="215423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1" name="Rectangle 28">
            <a:extLst>
              <a:ext uri="{FF2B5EF4-FFF2-40B4-BE49-F238E27FC236}">
                <a16:creationId xmlns:a16="http://schemas.microsoft.com/office/drawing/2014/main" id="{D1D93809-1503-D908-021F-44C2886B20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29738" y="4258559"/>
            <a:ext cx="2224087" cy="1493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50000"/>
              </a:lnSpc>
            </a:pPr>
            <a:r>
              <a:rPr lang="fr-FR" altLang="en-US" b="1">
                <a:solidFill>
                  <a:schemeClr val="bg1"/>
                </a:solidFill>
                <a:latin typeface="+mn-lt"/>
              </a:rPr>
              <a:t>Your Title Here</a:t>
            </a:r>
            <a:endParaRPr lang="en-US" altLang="en-US" b="1">
              <a:solidFill>
                <a:schemeClr val="bg1"/>
              </a:solidFill>
              <a:latin typeface="+mn-lt"/>
            </a:endParaRPr>
          </a:p>
          <a:p>
            <a:pPr algn="ctr" eaLnBrk="1" hangingPunct="1"/>
            <a:r>
              <a:rPr lang="en-US" altLang="en-US" sz="1400">
                <a:solidFill>
                  <a:schemeClr val="bg1"/>
                </a:solidFill>
                <a:latin typeface="+mn-lt"/>
              </a:rPr>
              <a:t>There are many variations of passages but the suffered alteration in some form by injected. There are many There are many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CACAF708-AFF9-B351-D549-58BB429D5CD2}"/>
              </a:ext>
            </a:extLst>
          </p:cNvPr>
          <p:cNvCxnSpPr/>
          <p:nvPr/>
        </p:nvCxnSpPr>
        <p:spPr>
          <a:xfrm flipV="1">
            <a:off x="10445750" y="3352097"/>
            <a:ext cx="0" cy="511175"/>
          </a:xfrm>
          <a:prstGeom prst="straightConnector1">
            <a:avLst/>
          </a:prstGeom>
          <a:ln w="38100">
            <a:solidFill>
              <a:schemeClr val="accent6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1E57D5A3-0274-1D61-EC7F-5A5F44529059}"/>
              </a:ext>
            </a:extLst>
          </p:cNvPr>
          <p:cNvSpPr/>
          <p:nvPr/>
        </p:nvSpPr>
        <p:spPr>
          <a:xfrm>
            <a:off x="10137775" y="2950459"/>
            <a:ext cx="617538" cy="36830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b="1" dirty="0"/>
              <a:t>50%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E5A7B702-26F9-3647-2B55-C4F24D7B08B2}"/>
              </a:ext>
            </a:extLst>
          </p:cNvPr>
          <p:cNvSpPr/>
          <p:nvPr/>
        </p:nvSpPr>
        <p:spPr>
          <a:xfrm>
            <a:off x="9879013" y="1466147"/>
            <a:ext cx="1042987" cy="104457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b="1" dirty="0">
                <a:solidFill>
                  <a:schemeClr val="tx1"/>
                </a:solidFill>
              </a:rPr>
              <a:t>2024</a:t>
            </a:r>
          </a:p>
        </p:txBody>
      </p:sp>
    </p:spTree>
    <p:extLst>
      <p:ext uri="{BB962C8B-B14F-4D97-AF65-F5344CB8AC3E}">
        <p14:creationId xmlns:p14="http://schemas.microsoft.com/office/powerpoint/2010/main" val="2432068691"/>
      </p:ext>
    </p:extLst>
  </p:cSld>
  <p:clrMapOvr>
    <a:masterClrMapping/>
  </p:clrMapOvr>
</p:sld>
</file>

<file path=ppt/slides/slide1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018BC13-13DF-3988-687B-D56AC207C9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think-cell data - do not delete" hidden="1">
            <a:extLst>
              <a:ext uri="{FF2B5EF4-FFF2-40B4-BE49-F238E27FC236}">
                <a16:creationId xmlns:a16="http://schemas.microsoft.com/office/drawing/2014/main" id="{B18801C9-D7CB-4D11-946D-062F45771A8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18801C9-D7CB-4D11-946D-062F45771A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F197E4C-FFB0-1D2A-3AB9-DB8396ABA1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Waterfal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8BEFFA3-27BC-4E0D-A9A9-B396FE9CDD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77</a:t>
            </a:fld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8826A6-10E4-5AFA-DEAA-4C7BFE87D331}"/>
              </a:ext>
            </a:extLst>
          </p:cNvPr>
          <p:cNvSpPr txBox="1"/>
          <p:nvPr/>
        </p:nvSpPr>
        <p:spPr>
          <a:xfrm>
            <a:off x="418055" y="1058545"/>
            <a:ext cx="11047792" cy="276999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4000" b="1">
                <a:solidFill>
                  <a:schemeClr val="accent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z="1800" dirty="0">
                <a:solidFill>
                  <a:schemeClr val="tx1"/>
                </a:solidFill>
              </a:rPr>
              <a:t>Chart Title </a:t>
            </a:r>
            <a:endParaRPr lang="de-DE" sz="1800" dirty="0">
              <a:solidFill>
                <a:schemeClr val="tx1"/>
              </a:solidFill>
            </a:endParaRPr>
          </a:p>
        </p:txBody>
      </p:sp>
      <mc:AlternateContent xmlns:mc="http://schemas.openxmlformats.org/markup-compatibility/2006" xmlns:cx4="http://schemas.microsoft.com/office/drawing/2016/5/10/chartex">
        <mc:Choice Requires="cx4">
          <p:graphicFrame>
            <p:nvGraphicFramePr>
              <p:cNvPr id="6" name="Content Placeholder 33">
                <a:extLst>
                  <a:ext uri="{FF2B5EF4-FFF2-40B4-BE49-F238E27FC236}">
                    <a16:creationId xmlns:a16="http://schemas.microsoft.com/office/drawing/2014/main" id="{D977F0CF-95E7-20F3-C78A-F741FBEB230C}"/>
                  </a:ext>
                </a:extLst>
              </p:cNvPr>
              <p:cNvGraphicFramePr>
                <a:graphicFrameLocks/>
              </p:cNvGraphicFramePr>
              <p:nvPr>
                <p:extLst>
                  <p:ext uri="{D42A27DB-BD31-4B8C-83A1-F6EECF244321}">
                    <p14:modId xmlns:p14="http://schemas.microsoft.com/office/powerpoint/2010/main" val="1688225814"/>
                  </p:ext>
                </p:extLst>
              </p:nvPr>
            </p:nvGraphicFramePr>
            <p:xfrm>
              <a:off x="429537" y="1724628"/>
              <a:ext cx="11332924" cy="4498372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5"/>
              </a:graphicData>
            </a:graphic>
          </p:graphicFrame>
        </mc:Choice>
        <mc:Fallback xmlns="">
          <p:pic>
            <p:nvPicPr>
              <p:cNvPr id="6" name="Content Placeholder 33">
                <a:extLst>
                  <a:ext uri="{FF2B5EF4-FFF2-40B4-BE49-F238E27FC236}">
                    <a16:creationId xmlns:a16="http://schemas.microsoft.com/office/drawing/2014/main" id="{D977F0CF-95E7-20F3-C78A-F741FBEB230C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429537" y="1724628"/>
                <a:ext cx="11332924" cy="4498372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106647784"/>
      </p:ext>
    </p:extLst>
  </p:cSld>
  <p:clrMapOvr>
    <a:masterClrMapping/>
  </p:clrMapOvr>
</p:sld>
</file>

<file path=ppt/slides/slide1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41EA55-E3ED-3F75-C3B4-7B4474A3A0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D855623E-4671-4F11-B59F-8B0CEF40B9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855623E-4671-4F11-B59F-8B0CEF40B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92B788D-1585-AD69-67C8-F85FC15A1C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i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1C6EE935-D4B9-94FC-C25D-E80E05151B76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78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3" name="Chart 32">
            <a:extLst>
              <a:ext uri="{FF2B5EF4-FFF2-40B4-BE49-F238E27FC236}">
                <a16:creationId xmlns:a16="http://schemas.microsoft.com/office/drawing/2014/main" id="{141DE4BA-F0EE-8035-2F2C-C387FACB9D38}"/>
              </a:ext>
            </a:extLst>
          </p:cNvPr>
          <p:cNvGraphicFramePr>
            <a:graphicFrameLocks/>
          </p:cNvGraphicFramePr>
          <p:nvPr/>
        </p:nvGraphicFramePr>
        <p:xfrm>
          <a:off x="-30163" y="1423206"/>
          <a:ext cx="6897688" cy="4597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5" name="Oval 4">
            <a:extLst>
              <a:ext uri="{FF2B5EF4-FFF2-40B4-BE49-F238E27FC236}">
                <a16:creationId xmlns:a16="http://schemas.microsoft.com/office/drawing/2014/main" id="{85F03A76-B526-1436-CEF6-85D64634809C}"/>
              </a:ext>
            </a:extLst>
          </p:cNvPr>
          <p:cNvSpPr/>
          <p:nvPr/>
        </p:nvSpPr>
        <p:spPr>
          <a:xfrm>
            <a:off x="3624263" y="2053444"/>
            <a:ext cx="893762" cy="89376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400" b="1" dirty="0">
                <a:solidFill>
                  <a:schemeClr val="accent1"/>
                </a:solidFill>
              </a:rPr>
              <a:t>30%</a:t>
            </a:r>
            <a:endParaRPr lang="en-US" sz="2400" b="1" dirty="0">
              <a:solidFill>
                <a:schemeClr val="accent1"/>
              </a:solidFill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532B99DF-677A-64BD-9AF9-3187208782B1}"/>
              </a:ext>
            </a:extLst>
          </p:cNvPr>
          <p:cNvSpPr/>
          <p:nvPr/>
        </p:nvSpPr>
        <p:spPr>
          <a:xfrm>
            <a:off x="2349500" y="3988606"/>
            <a:ext cx="893763" cy="8937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400" b="1" dirty="0">
                <a:solidFill>
                  <a:schemeClr val="accent2"/>
                </a:solidFill>
              </a:rPr>
              <a:t>40%</a:t>
            </a:r>
            <a:endParaRPr lang="en-US" sz="2400" b="1" dirty="0">
              <a:solidFill>
                <a:schemeClr val="accent2"/>
              </a:solidFill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5C27CAF9-A11C-F41A-E8C9-72E6CD87ED22}"/>
              </a:ext>
            </a:extLst>
          </p:cNvPr>
          <p:cNvSpPr/>
          <p:nvPr/>
        </p:nvSpPr>
        <p:spPr>
          <a:xfrm>
            <a:off x="4071938" y="3356781"/>
            <a:ext cx="893762" cy="89535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400" b="1" dirty="0">
                <a:solidFill>
                  <a:schemeClr val="accent3"/>
                </a:solidFill>
              </a:rPr>
              <a:t>15%</a:t>
            </a:r>
            <a:endParaRPr lang="en-US" sz="2400" b="1" dirty="0">
              <a:solidFill>
                <a:schemeClr val="accent3"/>
              </a:solidFill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38F2DE1E-9176-FBFF-0C83-AC6F3D8DBE19}"/>
              </a:ext>
            </a:extLst>
          </p:cNvPr>
          <p:cNvSpPr/>
          <p:nvPr/>
        </p:nvSpPr>
        <p:spPr>
          <a:xfrm>
            <a:off x="2178050" y="2229656"/>
            <a:ext cx="893763" cy="8937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400" b="1" dirty="0">
                <a:solidFill>
                  <a:schemeClr val="accent4"/>
                </a:solidFill>
              </a:rPr>
              <a:t>15%</a:t>
            </a:r>
            <a:endParaRPr lang="en-US" sz="2400" b="1" dirty="0">
              <a:solidFill>
                <a:schemeClr val="accent4"/>
              </a:solidFill>
            </a:endParaRPr>
          </a:p>
        </p:txBody>
      </p:sp>
      <p:sp>
        <p:nvSpPr>
          <p:cNvPr id="9" name="TextBox 86">
            <a:extLst>
              <a:ext uri="{FF2B5EF4-FFF2-40B4-BE49-F238E27FC236}">
                <a16:creationId xmlns:a16="http://schemas.microsoft.com/office/drawing/2014/main" id="{A424E18A-55F8-4FA0-2BFB-0C6014A2C752}"/>
              </a:ext>
            </a:extLst>
          </p:cNvPr>
          <p:cNvSpPr txBox="1"/>
          <p:nvPr/>
        </p:nvSpPr>
        <p:spPr>
          <a:xfrm>
            <a:off x="9055100" y="2578906"/>
            <a:ext cx="2659063" cy="923330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>
            <a:defPPr>
              <a:defRPr lang="fr-FR"/>
            </a:defPPr>
            <a:lvl1pPr marL="0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9458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89167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83750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7833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72916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7499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6208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56666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b="1" dirty="0">
                <a:solidFill>
                  <a:schemeClr val="accent2"/>
                </a:solidFill>
              </a:rPr>
              <a:t>Your Title Here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/>
              <a:t>Insert text Insert text Insert text Insert text Insert text Insert text Insert text</a:t>
            </a:r>
          </a:p>
        </p:txBody>
      </p:sp>
      <p:sp>
        <p:nvSpPr>
          <p:cNvPr id="10" name="Diamond 9">
            <a:extLst>
              <a:ext uri="{FF2B5EF4-FFF2-40B4-BE49-F238E27FC236}">
                <a16:creationId xmlns:a16="http://schemas.microsoft.com/office/drawing/2014/main" id="{BA0C31C1-E7E6-309D-C294-5A2F023F78DB}"/>
              </a:ext>
            </a:extLst>
          </p:cNvPr>
          <p:cNvSpPr/>
          <p:nvPr/>
        </p:nvSpPr>
        <p:spPr>
          <a:xfrm>
            <a:off x="9815513" y="1296206"/>
            <a:ext cx="1135062" cy="1136650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400" b="1" dirty="0"/>
              <a:t>02</a:t>
            </a:r>
            <a:endParaRPr lang="en-US" sz="2400" b="1" dirty="0"/>
          </a:p>
        </p:txBody>
      </p:sp>
      <p:sp>
        <p:nvSpPr>
          <p:cNvPr id="11" name="TextBox 86">
            <a:extLst>
              <a:ext uri="{FF2B5EF4-FFF2-40B4-BE49-F238E27FC236}">
                <a16:creationId xmlns:a16="http://schemas.microsoft.com/office/drawing/2014/main" id="{9B12704B-1D8A-6B92-8834-5F62FD849BB5}"/>
              </a:ext>
            </a:extLst>
          </p:cNvPr>
          <p:cNvSpPr txBox="1"/>
          <p:nvPr/>
        </p:nvSpPr>
        <p:spPr>
          <a:xfrm>
            <a:off x="9055100" y="5125256"/>
            <a:ext cx="2659063" cy="923330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>
            <a:defPPr>
              <a:defRPr lang="fr-FR"/>
            </a:defPPr>
            <a:lvl1pPr marL="0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9458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89167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83750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7833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72916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7499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6208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56666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b="1" dirty="0">
                <a:solidFill>
                  <a:schemeClr val="accent4"/>
                </a:solidFill>
              </a:rPr>
              <a:t>Your Title Here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/>
              <a:t>Insert text Insert text Insert text Insert text Insert text Insert text Insert text</a:t>
            </a:r>
          </a:p>
        </p:txBody>
      </p:sp>
      <p:sp>
        <p:nvSpPr>
          <p:cNvPr id="12" name="Diamond 11">
            <a:extLst>
              <a:ext uri="{FF2B5EF4-FFF2-40B4-BE49-F238E27FC236}">
                <a16:creationId xmlns:a16="http://schemas.microsoft.com/office/drawing/2014/main" id="{A4287430-EB86-C914-85BA-DD628FB8EBE6}"/>
              </a:ext>
            </a:extLst>
          </p:cNvPr>
          <p:cNvSpPr/>
          <p:nvPr/>
        </p:nvSpPr>
        <p:spPr>
          <a:xfrm>
            <a:off x="9815513" y="3864781"/>
            <a:ext cx="1135062" cy="1136650"/>
          </a:xfrm>
          <a:prstGeom prst="diamond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400" b="1" dirty="0"/>
              <a:t>04</a:t>
            </a:r>
            <a:endParaRPr lang="en-US" sz="2400" b="1" dirty="0"/>
          </a:p>
        </p:txBody>
      </p:sp>
      <p:sp>
        <p:nvSpPr>
          <p:cNvPr id="13" name="TextBox 86">
            <a:extLst>
              <a:ext uri="{FF2B5EF4-FFF2-40B4-BE49-F238E27FC236}">
                <a16:creationId xmlns:a16="http://schemas.microsoft.com/office/drawing/2014/main" id="{34461FF5-B2AD-8A96-0D24-D042C6FCAA7D}"/>
              </a:ext>
            </a:extLst>
          </p:cNvPr>
          <p:cNvSpPr txBox="1"/>
          <p:nvPr/>
        </p:nvSpPr>
        <p:spPr>
          <a:xfrm>
            <a:off x="5959475" y="2578906"/>
            <a:ext cx="2659063" cy="923330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>
            <a:defPPr>
              <a:defRPr lang="fr-FR"/>
            </a:defPPr>
            <a:lvl1pPr marL="0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9458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89167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83750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7833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72916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7499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6208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56666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b="1" dirty="0">
                <a:solidFill>
                  <a:schemeClr val="accent1"/>
                </a:solidFill>
              </a:rPr>
              <a:t>Your Title Here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/>
              <a:t>Insert text Insert text Insert text Insert text Insert text Insert text Insert text</a:t>
            </a:r>
          </a:p>
        </p:txBody>
      </p:sp>
      <p:sp>
        <p:nvSpPr>
          <p:cNvPr id="14" name="Diamond 13">
            <a:extLst>
              <a:ext uri="{FF2B5EF4-FFF2-40B4-BE49-F238E27FC236}">
                <a16:creationId xmlns:a16="http://schemas.microsoft.com/office/drawing/2014/main" id="{A1D29F53-1F9C-2B9A-E307-69E94F6B4C3E}"/>
              </a:ext>
            </a:extLst>
          </p:cNvPr>
          <p:cNvSpPr/>
          <p:nvPr/>
        </p:nvSpPr>
        <p:spPr>
          <a:xfrm>
            <a:off x="6719888" y="1296206"/>
            <a:ext cx="1136650" cy="1136650"/>
          </a:xfrm>
          <a:prstGeom prst="diamond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400" b="1" dirty="0"/>
              <a:t>01</a:t>
            </a:r>
            <a:endParaRPr lang="en-US" sz="2400" b="1" dirty="0"/>
          </a:p>
        </p:txBody>
      </p:sp>
      <p:sp>
        <p:nvSpPr>
          <p:cNvPr id="15" name="TextBox 86">
            <a:extLst>
              <a:ext uri="{FF2B5EF4-FFF2-40B4-BE49-F238E27FC236}">
                <a16:creationId xmlns:a16="http://schemas.microsoft.com/office/drawing/2014/main" id="{31AA5381-C075-F410-0408-7DE6FAAAC49E}"/>
              </a:ext>
            </a:extLst>
          </p:cNvPr>
          <p:cNvSpPr txBox="1"/>
          <p:nvPr/>
        </p:nvSpPr>
        <p:spPr>
          <a:xfrm>
            <a:off x="5959475" y="5125256"/>
            <a:ext cx="2659063" cy="923330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>
            <a:defPPr>
              <a:defRPr lang="fr-FR"/>
            </a:defPPr>
            <a:lvl1pPr marL="0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9458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89167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83750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7833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72916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7499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6208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56666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b="1" dirty="0">
                <a:solidFill>
                  <a:schemeClr val="accent3"/>
                </a:solidFill>
              </a:rPr>
              <a:t>Your Title Here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/>
              <a:t>Insert text Insert text Insert text Insert text Insert text Insert text Insert text</a:t>
            </a:r>
          </a:p>
        </p:txBody>
      </p:sp>
      <p:sp>
        <p:nvSpPr>
          <p:cNvPr id="16" name="Diamond 15">
            <a:extLst>
              <a:ext uri="{FF2B5EF4-FFF2-40B4-BE49-F238E27FC236}">
                <a16:creationId xmlns:a16="http://schemas.microsoft.com/office/drawing/2014/main" id="{4A65252D-376A-4020-B35D-6813AE8A273C}"/>
              </a:ext>
            </a:extLst>
          </p:cNvPr>
          <p:cNvSpPr/>
          <p:nvPr/>
        </p:nvSpPr>
        <p:spPr>
          <a:xfrm>
            <a:off x="6719888" y="3864781"/>
            <a:ext cx="1136650" cy="1136650"/>
          </a:xfrm>
          <a:prstGeom prst="diamond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400" b="1" dirty="0"/>
              <a:t>03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2991777898"/>
      </p:ext>
    </p:extLst>
  </p:cSld>
  <p:clrMapOvr>
    <a:masterClrMapping/>
  </p:clrMapOvr>
</p:sld>
</file>

<file path=ppt/slides/slide1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BC900F-78E7-7B8C-31E8-6365308253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11647BF7-CE11-B202-E9C7-5201ED0F8BA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1647BF7-CE11-B202-E9C7-5201ED0F8B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AC57E76-BA29-F462-17BC-C86DD5FFF9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Bar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C694D4A8-2554-A49A-BE21-C887356D8D75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79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3271A5A2-D29E-FCBD-6D34-96ECFE612DB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16283822"/>
              </p:ext>
            </p:extLst>
          </p:nvPr>
        </p:nvGraphicFramePr>
        <p:xfrm>
          <a:off x="419099" y="1033696"/>
          <a:ext cx="10667999" cy="46311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4357845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F44D10-1108-DAC5-D3DB-4649391823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4" name="think-cell data - do not delete" hidden="1">
            <a:extLst>
              <a:ext uri="{FF2B5EF4-FFF2-40B4-BE49-F238E27FC236}">
                <a16:creationId xmlns:a16="http://schemas.microsoft.com/office/drawing/2014/main" id="{AD28F5C5-2DED-C40D-4305-2DE5C80026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8416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E49BB03-7E68-0DB9-E8D4-FA2DCBA50E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x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0581921-A510-F73A-2C22-B295D89CA6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7" name="Google Shape;113;p11">
            <a:extLst>
              <a:ext uri="{FF2B5EF4-FFF2-40B4-BE49-F238E27FC236}">
                <a16:creationId xmlns:a16="http://schemas.microsoft.com/office/drawing/2014/main" id="{8832A827-7C03-21E8-2E0A-1CD0F34BA26B}"/>
              </a:ext>
            </a:extLst>
          </p:cNvPr>
          <p:cNvSpPr/>
          <p:nvPr/>
        </p:nvSpPr>
        <p:spPr>
          <a:xfrm>
            <a:off x="0" y="6220908"/>
            <a:ext cx="12193200" cy="45719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34275" tIns="17125" rIns="34275" bIns="171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200" b="0" i="0" u="none" strike="noStrike" cap="none" dirty="0">
              <a:solidFill>
                <a:srgbClr val="FFFFFF"/>
              </a:solidFill>
              <a:ea typeface="Verdana"/>
              <a:cs typeface="Verdana"/>
              <a:sym typeface="Verdana"/>
            </a:endParaRPr>
          </a:p>
        </p:txBody>
      </p:sp>
      <p:sp>
        <p:nvSpPr>
          <p:cNvPr id="10" name="Google Shape;92;p11">
            <a:extLst>
              <a:ext uri="{FF2B5EF4-FFF2-40B4-BE49-F238E27FC236}">
                <a16:creationId xmlns:a16="http://schemas.microsoft.com/office/drawing/2014/main" id="{8FDE1C5C-E73A-8BC0-2853-09CD6A2C3BF0}"/>
              </a:ext>
            </a:extLst>
          </p:cNvPr>
          <p:cNvSpPr/>
          <p:nvPr/>
        </p:nvSpPr>
        <p:spPr>
          <a:xfrm>
            <a:off x="599517" y="1427985"/>
            <a:ext cx="10994167" cy="111964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34275" tIns="17125" rIns="34275" bIns="171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endParaRPr sz="2000" b="0" i="0" u="none" strike="noStrike" cap="none" dirty="0">
              <a:solidFill>
                <a:srgbClr val="FFFFFF"/>
              </a:solidFill>
              <a:ea typeface="Verdana"/>
              <a:cs typeface="Verdana"/>
              <a:sym typeface="Verdana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37B48877-300F-F24E-0233-EA1AD48E0D9E}"/>
              </a:ext>
            </a:extLst>
          </p:cNvPr>
          <p:cNvGrpSpPr/>
          <p:nvPr/>
        </p:nvGrpSpPr>
        <p:grpSpPr>
          <a:xfrm>
            <a:off x="1060416" y="1438132"/>
            <a:ext cx="5721384" cy="4698508"/>
            <a:chOff x="1060416" y="1147664"/>
            <a:chExt cx="5721384" cy="5436000"/>
          </a:xfrm>
        </p:grpSpPr>
        <p:cxnSp>
          <p:nvCxnSpPr>
            <p:cNvPr id="12" name="Google Shape;87;p11">
              <a:extLst>
                <a:ext uri="{FF2B5EF4-FFF2-40B4-BE49-F238E27FC236}">
                  <a16:creationId xmlns:a16="http://schemas.microsoft.com/office/drawing/2014/main" id="{17C6C00E-C9B1-A65F-D75D-8F678A754E29}"/>
                </a:ext>
              </a:extLst>
            </p:cNvPr>
            <p:cNvCxnSpPr>
              <a:cxnSpLocks/>
            </p:cNvCxnSpPr>
            <p:nvPr/>
          </p:nvCxnSpPr>
          <p:spPr>
            <a:xfrm>
              <a:off x="1060416" y="1147664"/>
              <a:ext cx="0" cy="5436000"/>
            </a:xfrm>
            <a:prstGeom prst="straightConnector1">
              <a:avLst/>
            </a:prstGeom>
            <a:noFill/>
            <a:ln w="19050" cap="flat" cmpd="sng">
              <a:solidFill>
                <a:schemeClr val="tx2"/>
              </a:solidFill>
              <a:prstDash val="solid"/>
              <a:round/>
              <a:headEnd type="none" w="sm" len="sm"/>
              <a:tailEnd type="oval" w="med" len="med"/>
            </a:ln>
          </p:spPr>
        </p:cxnSp>
        <p:cxnSp>
          <p:nvCxnSpPr>
            <p:cNvPr id="13" name="Google Shape;87;p11">
              <a:extLst>
                <a:ext uri="{FF2B5EF4-FFF2-40B4-BE49-F238E27FC236}">
                  <a16:creationId xmlns:a16="http://schemas.microsoft.com/office/drawing/2014/main" id="{C96E3132-50A9-F976-04E5-7BF051D62EF6}"/>
                </a:ext>
              </a:extLst>
            </p:cNvPr>
            <p:cNvCxnSpPr>
              <a:cxnSpLocks/>
            </p:cNvCxnSpPr>
            <p:nvPr/>
          </p:nvCxnSpPr>
          <p:spPr>
            <a:xfrm>
              <a:off x="6781800" y="1147664"/>
              <a:ext cx="0" cy="5436000"/>
            </a:xfrm>
            <a:prstGeom prst="straightConnector1">
              <a:avLst/>
            </a:prstGeom>
            <a:noFill/>
            <a:ln w="19050" cap="flat" cmpd="sng">
              <a:solidFill>
                <a:schemeClr val="tx2"/>
              </a:solidFill>
              <a:prstDash val="solid"/>
              <a:round/>
              <a:headEnd type="none" w="sm" len="sm"/>
              <a:tailEnd type="oval" w="med" len="med"/>
            </a:ln>
          </p:spPr>
        </p:cxn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7D2CFF3-5053-67B5-5181-8B8B4DBB9947}"/>
              </a:ext>
            </a:extLst>
          </p:cNvPr>
          <p:cNvGrpSpPr/>
          <p:nvPr/>
        </p:nvGrpSpPr>
        <p:grpSpPr>
          <a:xfrm>
            <a:off x="741501" y="1908671"/>
            <a:ext cx="4025822" cy="637831"/>
            <a:chOff x="741501" y="1373963"/>
            <a:chExt cx="4025822" cy="637831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B37B907D-8BA3-77F1-A69A-99E52EEF1AE0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41501" y="1373963"/>
              <a:ext cx="637831" cy="637831"/>
              <a:chOff x="472751" y="1238185"/>
              <a:chExt cx="504000" cy="504000"/>
            </a:xfrm>
          </p:grpSpPr>
          <p:sp>
            <p:nvSpPr>
              <p:cNvPr id="17" name="Shape1_20200714_095930">
                <a:extLst>
                  <a:ext uri="{FF2B5EF4-FFF2-40B4-BE49-F238E27FC236}">
                    <a16:creationId xmlns:a16="http://schemas.microsoft.com/office/drawing/2014/main" id="{0C95B79F-32FA-3151-30D6-5DD38D968D8B}"/>
                  </a:ext>
                </a:extLst>
              </p:cNvPr>
              <p:cNvSpPr/>
              <p:nvPr/>
            </p:nvSpPr>
            <p:spPr>
              <a:xfrm>
                <a:off x="472751" y="1238185"/>
                <a:ext cx="504000" cy="504000"/>
              </a:xfrm>
              <a:prstGeom prst="ellipse">
                <a:avLst/>
              </a:prstGeom>
              <a:solidFill>
                <a:schemeClr val="accent1"/>
              </a:solidFill>
              <a:ln w="12700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 dirty="0">
                  <a:solidFill>
                    <a:srgbClr val="FFFFFF"/>
                  </a:solidFill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18" name="Google Shape;95;p11">
                <a:extLst>
                  <a:ext uri="{FF2B5EF4-FFF2-40B4-BE49-F238E27FC236}">
                    <a16:creationId xmlns:a16="http://schemas.microsoft.com/office/drawing/2014/main" id="{0F8FCD67-BAA2-50D6-939B-1977040E1198}"/>
                  </a:ext>
                </a:extLst>
              </p:cNvPr>
              <p:cNvSpPr/>
              <p:nvPr/>
            </p:nvSpPr>
            <p:spPr>
              <a:xfrm>
                <a:off x="523456" y="1288890"/>
                <a:ext cx="402591" cy="402591"/>
              </a:xfrm>
              <a:prstGeom prst="ellipse">
                <a:avLst/>
              </a:prstGeom>
              <a:solidFill>
                <a:schemeClr val="lt1"/>
              </a:solidFill>
              <a:ln>
                <a:noFill/>
              </a:ln>
              <a:effectLst>
                <a:outerShdw blurRad="63500" sx="102000" sy="102000" algn="ctr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 dirty="0">
                  <a:solidFill>
                    <a:srgbClr val="FFFFFF"/>
                  </a:solidFill>
                  <a:ea typeface="Verdana"/>
                  <a:cs typeface="Verdana"/>
                  <a:sym typeface="Verdana"/>
                </a:endParaRPr>
              </a:p>
            </p:txBody>
          </p:sp>
        </p:grp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2349D03C-54DD-8D36-7C40-0C02782B7693}"/>
                </a:ext>
              </a:extLst>
            </p:cNvPr>
            <p:cNvSpPr txBox="1"/>
            <p:nvPr/>
          </p:nvSpPr>
          <p:spPr>
            <a:xfrm>
              <a:off x="1563323" y="1438875"/>
              <a:ext cx="3204000" cy="50800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marL="0" indent="0">
                <a:spcBef>
                  <a:spcPts val="0"/>
                </a:spcBef>
                <a:buSzPts val="1600"/>
                <a:buNone/>
              </a:pPr>
              <a:r>
                <a:rPr lang="en-US" sz="1600" dirty="0">
                  <a:solidFill>
                    <a:schemeClr val="tx1"/>
                  </a:solidFill>
                  <a:cs typeface="Arial" panose="020B0604020202020204" pitchFamily="34" charset="0"/>
                </a:rPr>
                <a:t>Insert Text Here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A0031868-3A9E-1504-B37A-9EA94081CC51}"/>
              </a:ext>
            </a:extLst>
          </p:cNvPr>
          <p:cNvGrpSpPr/>
          <p:nvPr/>
        </p:nvGrpSpPr>
        <p:grpSpPr>
          <a:xfrm>
            <a:off x="6462885" y="1908671"/>
            <a:ext cx="4025822" cy="637831"/>
            <a:chOff x="741501" y="1373963"/>
            <a:chExt cx="4025822" cy="637831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0FD54AF4-89CD-757E-8B96-BB50276DD6A8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41501" y="1373963"/>
              <a:ext cx="637831" cy="637831"/>
              <a:chOff x="472751" y="1238185"/>
              <a:chExt cx="504000" cy="504000"/>
            </a:xfrm>
          </p:grpSpPr>
          <p:sp>
            <p:nvSpPr>
              <p:cNvPr id="22" name="Shape1_20200714_095930">
                <a:extLst>
                  <a:ext uri="{FF2B5EF4-FFF2-40B4-BE49-F238E27FC236}">
                    <a16:creationId xmlns:a16="http://schemas.microsoft.com/office/drawing/2014/main" id="{B9CADACB-14A0-7A62-A9AA-AF5FC5941048}"/>
                  </a:ext>
                </a:extLst>
              </p:cNvPr>
              <p:cNvSpPr/>
              <p:nvPr/>
            </p:nvSpPr>
            <p:spPr>
              <a:xfrm>
                <a:off x="472751" y="1238185"/>
                <a:ext cx="504000" cy="504000"/>
              </a:xfrm>
              <a:prstGeom prst="ellipse">
                <a:avLst/>
              </a:prstGeom>
              <a:solidFill>
                <a:schemeClr val="accent1"/>
              </a:solidFill>
              <a:ln w="12700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 dirty="0">
                  <a:solidFill>
                    <a:srgbClr val="FFFFFF"/>
                  </a:solidFill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23" name="Google Shape;95;p11">
                <a:extLst>
                  <a:ext uri="{FF2B5EF4-FFF2-40B4-BE49-F238E27FC236}">
                    <a16:creationId xmlns:a16="http://schemas.microsoft.com/office/drawing/2014/main" id="{BC8D1924-FAD0-5B4D-6C47-53EE1CD2D806}"/>
                  </a:ext>
                </a:extLst>
              </p:cNvPr>
              <p:cNvSpPr/>
              <p:nvPr/>
            </p:nvSpPr>
            <p:spPr>
              <a:xfrm>
                <a:off x="523456" y="1288890"/>
                <a:ext cx="402591" cy="402591"/>
              </a:xfrm>
              <a:prstGeom prst="ellipse">
                <a:avLst/>
              </a:prstGeom>
              <a:solidFill>
                <a:schemeClr val="lt1"/>
              </a:solidFill>
              <a:ln>
                <a:noFill/>
              </a:ln>
              <a:effectLst>
                <a:outerShdw blurRad="63500" sx="102000" sy="102000" algn="ctr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 dirty="0">
                  <a:solidFill>
                    <a:srgbClr val="FFFFFF"/>
                  </a:solidFill>
                  <a:ea typeface="Verdana"/>
                  <a:cs typeface="Verdana"/>
                  <a:sym typeface="Verdana"/>
                </a:endParaRPr>
              </a:p>
            </p:txBody>
          </p:sp>
        </p:grp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A54A0C04-1659-FCFF-5276-803928EBA40E}"/>
                </a:ext>
              </a:extLst>
            </p:cNvPr>
            <p:cNvSpPr txBox="1"/>
            <p:nvPr/>
          </p:nvSpPr>
          <p:spPr>
            <a:xfrm>
              <a:off x="1563323" y="1438875"/>
              <a:ext cx="3204000" cy="50800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marL="0" indent="0">
                <a:spcBef>
                  <a:spcPts val="0"/>
                </a:spcBef>
                <a:buSzPts val="1600"/>
                <a:buNone/>
              </a:pPr>
              <a:r>
                <a:rPr lang="en-US" sz="1600" dirty="0">
                  <a:solidFill>
                    <a:schemeClr val="tx1"/>
                  </a:solidFill>
                  <a:cs typeface="Arial" panose="020B0604020202020204" pitchFamily="34" charset="0"/>
                </a:rPr>
                <a:t>Insert Text Here</a:t>
              </a: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5A3BDEEE-369E-2956-1441-867AA9D27831}"/>
              </a:ext>
            </a:extLst>
          </p:cNvPr>
          <p:cNvGrpSpPr/>
          <p:nvPr/>
        </p:nvGrpSpPr>
        <p:grpSpPr>
          <a:xfrm>
            <a:off x="741501" y="2938587"/>
            <a:ext cx="4025822" cy="637831"/>
            <a:chOff x="741501" y="1373963"/>
            <a:chExt cx="4025822" cy="637831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9FA5A181-7351-16BD-E6E5-8EEE8B660E74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41501" y="1373963"/>
              <a:ext cx="637831" cy="637831"/>
              <a:chOff x="472751" y="1238185"/>
              <a:chExt cx="504000" cy="504000"/>
            </a:xfrm>
          </p:grpSpPr>
          <p:sp>
            <p:nvSpPr>
              <p:cNvPr id="27" name="Shape1_20200714_095930">
                <a:extLst>
                  <a:ext uri="{FF2B5EF4-FFF2-40B4-BE49-F238E27FC236}">
                    <a16:creationId xmlns:a16="http://schemas.microsoft.com/office/drawing/2014/main" id="{3420A510-284D-8EFC-DF8D-425A9641C724}"/>
                  </a:ext>
                </a:extLst>
              </p:cNvPr>
              <p:cNvSpPr/>
              <p:nvPr/>
            </p:nvSpPr>
            <p:spPr>
              <a:xfrm>
                <a:off x="472751" y="1238185"/>
                <a:ext cx="504000" cy="504000"/>
              </a:xfrm>
              <a:prstGeom prst="ellipse">
                <a:avLst/>
              </a:prstGeom>
              <a:solidFill>
                <a:schemeClr val="accent1"/>
              </a:solidFill>
              <a:ln w="12700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 dirty="0">
                  <a:solidFill>
                    <a:srgbClr val="FFFFFF"/>
                  </a:solidFill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28" name="Google Shape;95;p11">
                <a:extLst>
                  <a:ext uri="{FF2B5EF4-FFF2-40B4-BE49-F238E27FC236}">
                    <a16:creationId xmlns:a16="http://schemas.microsoft.com/office/drawing/2014/main" id="{39A93CFD-59AD-FE7B-F2BD-6E2B8FD369F8}"/>
                  </a:ext>
                </a:extLst>
              </p:cNvPr>
              <p:cNvSpPr/>
              <p:nvPr/>
            </p:nvSpPr>
            <p:spPr>
              <a:xfrm>
                <a:off x="523456" y="1288890"/>
                <a:ext cx="402591" cy="402591"/>
              </a:xfrm>
              <a:prstGeom prst="ellipse">
                <a:avLst/>
              </a:prstGeom>
              <a:solidFill>
                <a:schemeClr val="lt1"/>
              </a:solidFill>
              <a:ln>
                <a:noFill/>
              </a:ln>
              <a:effectLst>
                <a:outerShdw blurRad="63500" sx="102000" sy="102000" algn="ctr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 dirty="0">
                  <a:solidFill>
                    <a:srgbClr val="FFFFFF"/>
                  </a:solidFill>
                  <a:ea typeface="Verdana"/>
                  <a:cs typeface="Verdana"/>
                  <a:sym typeface="Verdana"/>
                </a:endParaRPr>
              </a:p>
            </p:txBody>
          </p:sp>
        </p:grp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CE251D99-8A98-16CF-BF3C-5A1063B0110A}"/>
                </a:ext>
              </a:extLst>
            </p:cNvPr>
            <p:cNvSpPr txBox="1"/>
            <p:nvPr/>
          </p:nvSpPr>
          <p:spPr>
            <a:xfrm>
              <a:off x="1563323" y="1438875"/>
              <a:ext cx="3204000" cy="50800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marL="0" indent="0">
                <a:spcBef>
                  <a:spcPts val="0"/>
                </a:spcBef>
                <a:buSzPts val="1600"/>
                <a:buNone/>
              </a:pPr>
              <a:r>
                <a:rPr lang="en-US" sz="1600" dirty="0">
                  <a:solidFill>
                    <a:schemeClr val="tx1"/>
                  </a:solidFill>
                  <a:cs typeface="Arial" panose="020B0604020202020204" pitchFamily="34" charset="0"/>
                </a:rPr>
                <a:t>Insert Text Here</a:t>
              </a: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A4437DF8-1317-D10B-260A-B6C4C9131597}"/>
              </a:ext>
            </a:extLst>
          </p:cNvPr>
          <p:cNvGrpSpPr/>
          <p:nvPr/>
        </p:nvGrpSpPr>
        <p:grpSpPr>
          <a:xfrm>
            <a:off x="6462885" y="2938587"/>
            <a:ext cx="4025822" cy="637831"/>
            <a:chOff x="741501" y="1373963"/>
            <a:chExt cx="4025822" cy="637831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2CA9304B-69DD-E68C-03D0-E561FD1F7D3F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41501" y="1373963"/>
              <a:ext cx="637831" cy="637831"/>
              <a:chOff x="472751" y="1238185"/>
              <a:chExt cx="504000" cy="504000"/>
            </a:xfrm>
          </p:grpSpPr>
          <p:sp>
            <p:nvSpPr>
              <p:cNvPr id="32" name="Shape1_20200714_095930">
                <a:extLst>
                  <a:ext uri="{FF2B5EF4-FFF2-40B4-BE49-F238E27FC236}">
                    <a16:creationId xmlns:a16="http://schemas.microsoft.com/office/drawing/2014/main" id="{1A9742BC-BDFD-96D1-C3C4-19496774206F}"/>
                  </a:ext>
                </a:extLst>
              </p:cNvPr>
              <p:cNvSpPr/>
              <p:nvPr/>
            </p:nvSpPr>
            <p:spPr>
              <a:xfrm>
                <a:off x="472751" y="1238185"/>
                <a:ext cx="504000" cy="504000"/>
              </a:xfrm>
              <a:prstGeom prst="ellipse">
                <a:avLst/>
              </a:prstGeom>
              <a:solidFill>
                <a:schemeClr val="accent1"/>
              </a:solidFill>
              <a:ln w="12700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 dirty="0">
                  <a:solidFill>
                    <a:srgbClr val="FFFFFF"/>
                  </a:solidFill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33" name="Google Shape;95;p11">
                <a:extLst>
                  <a:ext uri="{FF2B5EF4-FFF2-40B4-BE49-F238E27FC236}">
                    <a16:creationId xmlns:a16="http://schemas.microsoft.com/office/drawing/2014/main" id="{A114D41E-3050-FEF0-DBA5-105F4E520B42}"/>
                  </a:ext>
                </a:extLst>
              </p:cNvPr>
              <p:cNvSpPr/>
              <p:nvPr/>
            </p:nvSpPr>
            <p:spPr>
              <a:xfrm>
                <a:off x="523456" y="1288890"/>
                <a:ext cx="402591" cy="402591"/>
              </a:xfrm>
              <a:prstGeom prst="ellipse">
                <a:avLst/>
              </a:prstGeom>
              <a:solidFill>
                <a:schemeClr val="lt1"/>
              </a:solidFill>
              <a:ln>
                <a:noFill/>
              </a:ln>
              <a:effectLst>
                <a:outerShdw blurRad="63500" sx="102000" sy="102000" algn="ctr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 dirty="0">
                  <a:solidFill>
                    <a:srgbClr val="FFFFFF"/>
                  </a:solidFill>
                  <a:ea typeface="Verdana"/>
                  <a:cs typeface="Verdana"/>
                  <a:sym typeface="Verdana"/>
                </a:endParaRPr>
              </a:p>
            </p:txBody>
          </p:sp>
        </p:grp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32F7CB5F-B2B1-8599-582E-A393E0CAFB8C}"/>
                </a:ext>
              </a:extLst>
            </p:cNvPr>
            <p:cNvSpPr txBox="1"/>
            <p:nvPr/>
          </p:nvSpPr>
          <p:spPr>
            <a:xfrm>
              <a:off x="1563323" y="1438875"/>
              <a:ext cx="3204000" cy="50800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marL="0" indent="0">
                <a:spcBef>
                  <a:spcPts val="0"/>
                </a:spcBef>
                <a:buSzPts val="1600"/>
                <a:buNone/>
              </a:pPr>
              <a:r>
                <a:rPr lang="en-US" sz="1600" dirty="0">
                  <a:solidFill>
                    <a:schemeClr val="tx1"/>
                  </a:solidFill>
                  <a:cs typeface="Arial" panose="020B0604020202020204" pitchFamily="34" charset="0"/>
                </a:rPr>
                <a:t>Insert Text Here</a:t>
              </a: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8F3E01DD-72A4-A781-C8B6-DF1D115CB4D7}"/>
              </a:ext>
            </a:extLst>
          </p:cNvPr>
          <p:cNvGrpSpPr/>
          <p:nvPr/>
        </p:nvGrpSpPr>
        <p:grpSpPr>
          <a:xfrm>
            <a:off x="741501" y="3968503"/>
            <a:ext cx="4025822" cy="637831"/>
            <a:chOff x="741501" y="1373963"/>
            <a:chExt cx="4025822" cy="637831"/>
          </a:xfrm>
        </p:grpSpPr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7646609D-5E18-CC41-FB9E-F0457CECE2BF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41501" y="1373963"/>
              <a:ext cx="637831" cy="637831"/>
              <a:chOff x="472751" y="1238185"/>
              <a:chExt cx="504000" cy="504000"/>
            </a:xfrm>
          </p:grpSpPr>
          <p:sp>
            <p:nvSpPr>
              <p:cNvPr id="37" name="Shape1_20200714_095930">
                <a:extLst>
                  <a:ext uri="{FF2B5EF4-FFF2-40B4-BE49-F238E27FC236}">
                    <a16:creationId xmlns:a16="http://schemas.microsoft.com/office/drawing/2014/main" id="{6BD957F1-6F3E-AAB7-0DB1-C4D92FF13B26}"/>
                  </a:ext>
                </a:extLst>
              </p:cNvPr>
              <p:cNvSpPr/>
              <p:nvPr/>
            </p:nvSpPr>
            <p:spPr>
              <a:xfrm>
                <a:off x="472751" y="1238185"/>
                <a:ext cx="504000" cy="504000"/>
              </a:xfrm>
              <a:prstGeom prst="ellipse">
                <a:avLst/>
              </a:prstGeom>
              <a:solidFill>
                <a:schemeClr val="accent1"/>
              </a:solidFill>
              <a:ln w="12700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 dirty="0">
                  <a:solidFill>
                    <a:srgbClr val="FFFFFF"/>
                  </a:solidFill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38" name="Google Shape;95;p11">
                <a:extLst>
                  <a:ext uri="{FF2B5EF4-FFF2-40B4-BE49-F238E27FC236}">
                    <a16:creationId xmlns:a16="http://schemas.microsoft.com/office/drawing/2014/main" id="{63CA5022-C099-24A2-1DE2-19EF6511F752}"/>
                  </a:ext>
                </a:extLst>
              </p:cNvPr>
              <p:cNvSpPr/>
              <p:nvPr/>
            </p:nvSpPr>
            <p:spPr>
              <a:xfrm>
                <a:off x="523456" y="1288890"/>
                <a:ext cx="402591" cy="402591"/>
              </a:xfrm>
              <a:prstGeom prst="ellipse">
                <a:avLst/>
              </a:prstGeom>
              <a:solidFill>
                <a:schemeClr val="lt1"/>
              </a:solidFill>
              <a:ln>
                <a:noFill/>
              </a:ln>
              <a:effectLst>
                <a:outerShdw blurRad="63500" sx="102000" sy="102000" algn="ctr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 dirty="0">
                  <a:solidFill>
                    <a:srgbClr val="FFFFFF"/>
                  </a:solidFill>
                  <a:ea typeface="Verdana"/>
                  <a:cs typeface="Verdana"/>
                  <a:sym typeface="Verdana"/>
                </a:endParaRPr>
              </a:p>
            </p:txBody>
          </p:sp>
        </p:grp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FD17CB45-8113-6F26-F988-AA737D966250}"/>
                </a:ext>
              </a:extLst>
            </p:cNvPr>
            <p:cNvSpPr txBox="1"/>
            <p:nvPr/>
          </p:nvSpPr>
          <p:spPr>
            <a:xfrm>
              <a:off x="1563323" y="1438875"/>
              <a:ext cx="3204000" cy="50800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marL="0" indent="0">
                <a:spcBef>
                  <a:spcPts val="0"/>
                </a:spcBef>
                <a:buSzPts val="1600"/>
                <a:buNone/>
              </a:pPr>
              <a:r>
                <a:rPr lang="en-US" sz="1600" dirty="0">
                  <a:solidFill>
                    <a:schemeClr val="tx1"/>
                  </a:solidFill>
                  <a:cs typeface="Arial" panose="020B0604020202020204" pitchFamily="34" charset="0"/>
                </a:rPr>
                <a:t>Insert Text Here</a:t>
              </a:r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5E36BE1E-B98F-D7B0-D056-6826F246520C}"/>
              </a:ext>
            </a:extLst>
          </p:cNvPr>
          <p:cNvGrpSpPr/>
          <p:nvPr/>
        </p:nvGrpSpPr>
        <p:grpSpPr>
          <a:xfrm>
            <a:off x="6462885" y="3968503"/>
            <a:ext cx="4025822" cy="637831"/>
            <a:chOff x="741501" y="1373963"/>
            <a:chExt cx="4025822" cy="637831"/>
          </a:xfrm>
        </p:grpSpPr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E2842252-4B34-3AFC-A2B2-5E5F69AF65B4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41501" y="1373963"/>
              <a:ext cx="637831" cy="637831"/>
              <a:chOff x="472751" y="1238185"/>
              <a:chExt cx="504000" cy="504000"/>
            </a:xfrm>
          </p:grpSpPr>
          <p:sp>
            <p:nvSpPr>
              <p:cNvPr id="42" name="Shape1_20200714_095930">
                <a:extLst>
                  <a:ext uri="{FF2B5EF4-FFF2-40B4-BE49-F238E27FC236}">
                    <a16:creationId xmlns:a16="http://schemas.microsoft.com/office/drawing/2014/main" id="{D987B58B-E96A-C543-A8B1-53A286C0F5C1}"/>
                  </a:ext>
                </a:extLst>
              </p:cNvPr>
              <p:cNvSpPr/>
              <p:nvPr/>
            </p:nvSpPr>
            <p:spPr>
              <a:xfrm>
                <a:off x="472751" y="1238185"/>
                <a:ext cx="504000" cy="504000"/>
              </a:xfrm>
              <a:prstGeom prst="ellipse">
                <a:avLst/>
              </a:prstGeom>
              <a:solidFill>
                <a:schemeClr val="accent1"/>
              </a:solidFill>
              <a:ln w="12700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 dirty="0">
                  <a:solidFill>
                    <a:srgbClr val="FFFFFF"/>
                  </a:solidFill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43" name="Google Shape;95;p11">
                <a:extLst>
                  <a:ext uri="{FF2B5EF4-FFF2-40B4-BE49-F238E27FC236}">
                    <a16:creationId xmlns:a16="http://schemas.microsoft.com/office/drawing/2014/main" id="{538035CA-B310-9F5F-E30C-2121256A8645}"/>
                  </a:ext>
                </a:extLst>
              </p:cNvPr>
              <p:cNvSpPr/>
              <p:nvPr/>
            </p:nvSpPr>
            <p:spPr>
              <a:xfrm>
                <a:off x="523456" y="1288890"/>
                <a:ext cx="402591" cy="402591"/>
              </a:xfrm>
              <a:prstGeom prst="ellipse">
                <a:avLst/>
              </a:prstGeom>
              <a:solidFill>
                <a:schemeClr val="lt1"/>
              </a:solidFill>
              <a:ln>
                <a:noFill/>
              </a:ln>
              <a:effectLst>
                <a:outerShdw blurRad="63500" sx="102000" sy="102000" algn="ctr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 dirty="0">
                  <a:solidFill>
                    <a:srgbClr val="FFFFFF"/>
                  </a:solidFill>
                  <a:ea typeface="Verdana"/>
                  <a:cs typeface="Verdana"/>
                  <a:sym typeface="Verdana"/>
                </a:endParaRPr>
              </a:p>
            </p:txBody>
          </p:sp>
        </p:grp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9AA1E2A1-8058-C478-6525-E0F9279D0016}"/>
                </a:ext>
              </a:extLst>
            </p:cNvPr>
            <p:cNvSpPr txBox="1"/>
            <p:nvPr/>
          </p:nvSpPr>
          <p:spPr>
            <a:xfrm>
              <a:off x="1563323" y="1438875"/>
              <a:ext cx="3204000" cy="50800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marL="0" indent="0">
                <a:spcBef>
                  <a:spcPts val="0"/>
                </a:spcBef>
                <a:buSzPts val="1600"/>
                <a:buNone/>
              </a:pPr>
              <a:r>
                <a:rPr lang="en-US" sz="1600" dirty="0">
                  <a:solidFill>
                    <a:schemeClr val="tx1"/>
                  </a:solidFill>
                  <a:cs typeface="Arial" panose="020B0604020202020204" pitchFamily="34" charset="0"/>
                </a:rPr>
                <a:t>Insert Text Here</a:t>
              </a: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830ECA6-0237-FF96-3666-B3ECC828E43E}"/>
              </a:ext>
            </a:extLst>
          </p:cNvPr>
          <p:cNvGrpSpPr/>
          <p:nvPr/>
        </p:nvGrpSpPr>
        <p:grpSpPr>
          <a:xfrm>
            <a:off x="741501" y="4998418"/>
            <a:ext cx="4025822" cy="637831"/>
            <a:chOff x="741501" y="1373963"/>
            <a:chExt cx="4025822" cy="637831"/>
          </a:xfrm>
        </p:grpSpPr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344A9183-8A97-2C1D-E85F-35E7C130C9AF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41501" y="1373963"/>
              <a:ext cx="637831" cy="637831"/>
              <a:chOff x="472751" y="1238185"/>
              <a:chExt cx="504000" cy="504000"/>
            </a:xfrm>
          </p:grpSpPr>
          <p:sp>
            <p:nvSpPr>
              <p:cNvPr id="47" name="Shape1_20200714_095930">
                <a:extLst>
                  <a:ext uri="{FF2B5EF4-FFF2-40B4-BE49-F238E27FC236}">
                    <a16:creationId xmlns:a16="http://schemas.microsoft.com/office/drawing/2014/main" id="{1EACC22E-9827-4E19-C101-084F8DABDC6A}"/>
                  </a:ext>
                </a:extLst>
              </p:cNvPr>
              <p:cNvSpPr/>
              <p:nvPr/>
            </p:nvSpPr>
            <p:spPr>
              <a:xfrm>
                <a:off x="472751" y="1238185"/>
                <a:ext cx="504000" cy="504000"/>
              </a:xfrm>
              <a:prstGeom prst="ellipse">
                <a:avLst/>
              </a:prstGeom>
              <a:solidFill>
                <a:schemeClr val="accent1"/>
              </a:solidFill>
              <a:ln w="12700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 dirty="0">
                  <a:solidFill>
                    <a:srgbClr val="FFFFFF"/>
                  </a:solidFill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48" name="Google Shape;95;p11">
                <a:extLst>
                  <a:ext uri="{FF2B5EF4-FFF2-40B4-BE49-F238E27FC236}">
                    <a16:creationId xmlns:a16="http://schemas.microsoft.com/office/drawing/2014/main" id="{73C1E28A-3B5E-6D77-9DD7-12DA0E506DBA}"/>
                  </a:ext>
                </a:extLst>
              </p:cNvPr>
              <p:cNvSpPr/>
              <p:nvPr/>
            </p:nvSpPr>
            <p:spPr>
              <a:xfrm>
                <a:off x="523456" y="1288890"/>
                <a:ext cx="402591" cy="402591"/>
              </a:xfrm>
              <a:prstGeom prst="ellipse">
                <a:avLst/>
              </a:prstGeom>
              <a:solidFill>
                <a:schemeClr val="lt1"/>
              </a:solidFill>
              <a:ln>
                <a:noFill/>
              </a:ln>
              <a:effectLst>
                <a:outerShdw blurRad="63500" sx="102000" sy="102000" algn="ctr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 dirty="0">
                  <a:solidFill>
                    <a:srgbClr val="FFFFFF"/>
                  </a:solidFill>
                  <a:ea typeface="Verdana"/>
                  <a:cs typeface="Verdana"/>
                  <a:sym typeface="Verdana"/>
                </a:endParaRPr>
              </a:p>
            </p:txBody>
          </p:sp>
        </p:grp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8E0C3EFE-4A86-B8E9-5BAB-D8333CE8ECAC}"/>
                </a:ext>
              </a:extLst>
            </p:cNvPr>
            <p:cNvSpPr txBox="1"/>
            <p:nvPr/>
          </p:nvSpPr>
          <p:spPr>
            <a:xfrm>
              <a:off x="1563323" y="1438875"/>
              <a:ext cx="3204000" cy="50800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marL="0" indent="0">
                <a:spcBef>
                  <a:spcPts val="0"/>
                </a:spcBef>
                <a:buSzPts val="1600"/>
                <a:buNone/>
              </a:pPr>
              <a:r>
                <a:rPr lang="en-US" sz="1600" dirty="0">
                  <a:solidFill>
                    <a:schemeClr val="tx1"/>
                  </a:solidFill>
                  <a:cs typeface="Arial" panose="020B0604020202020204" pitchFamily="34" charset="0"/>
                </a:rPr>
                <a:t>Insert Text Here</a:t>
              </a: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95BC5157-EC35-D4EE-9A34-3521B4D94276}"/>
              </a:ext>
            </a:extLst>
          </p:cNvPr>
          <p:cNvGrpSpPr/>
          <p:nvPr/>
        </p:nvGrpSpPr>
        <p:grpSpPr>
          <a:xfrm>
            <a:off x="6462885" y="4998418"/>
            <a:ext cx="4025822" cy="637831"/>
            <a:chOff x="741501" y="1373963"/>
            <a:chExt cx="4025822" cy="637831"/>
          </a:xfrm>
        </p:grpSpPr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13A76EF1-9618-0D07-06EA-83980491A8A0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41501" y="1373963"/>
              <a:ext cx="637831" cy="637831"/>
              <a:chOff x="472751" y="1238185"/>
              <a:chExt cx="504000" cy="504000"/>
            </a:xfrm>
          </p:grpSpPr>
          <p:sp>
            <p:nvSpPr>
              <p:cNvPr id="52" name="Shape1_20200714_095930">
                <a:extLst>
                  <a:ext uri="{FF2B5EF4-FFF2-40B4-BE49-F238E27FC236}">
                    <a16:creationId xmlns:a16="http://schemas.microsoft.com/office/drawing/2014/main" id="{6A5A6932-9F7C-BC8A-A846-08ACBB26A8D4}"/>
                  </a:ext>
                </a:extLst>
              </p:cNvPr>
              <p:cNvSpPr/>
              <p:nvPr/>
            </p:nvSpPr>
            <p:spPr>
              <a:xfrm>
                <a:off x="472751" y="1238185"/>
                <a:ext cx="504000" cy="504000"/>
              </a:xfrm>
              <a:prstGeom prst="ellipse">
                <a:avLst/>
              </a:prstGeom>
              <a:solidFill>
                <a:schemeClr val="accent1"/>
              </a:solidFill>
              <a:ln w="12700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 dirty="0">
                  <a:solidFill>
                    <a:srgbClr val="FFFFFF"/>
                  </a:solidFill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53" name="Google Shape;95;p11">
                <a:extLst>
                  <a:ext uri="{FF2B5EF4-FFF2-40B4-BE49-F238E27FC236}">
                    <a16:creationId xmlns:a16="http://schemas.microsoft.com/office/drawing/2014/main" id="{656DF723-F278-D6AC-B343-5BF210106F62}"/>
                  </a:ext>
                </a:extLst>
              </p:cNvPr>
              <p:cNvSpPr/>
              <p:nvPr/>
            </p:nvSpPr>
            <p:spPr>
              <a:xfrm>
                <a:off x="523456" y="1288890"/>
                <a:ext cx="402591" cy="402591"/>
              </a:xfrm>
              <a:prstGeom prst="ellipse">
                <a:avLst/>
              </a:prstGeom>
              <a:solidFill>
                <a:schemeClr val="lt1"/>
              </a:solidFill>
              <a:ln>
                <a:noFill/>
              </a:ln>
              <a:effectLst>
                <a:outerShdw blurRad="63500" sx="102000" sy="102000" algn="ctr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 dirty="0">
                  <a:solidFill>
                    <a:srgbClr val="FFFFFF"/>
                  </a:solidFill>
                  <a:ea typeface="Verdana"/>
                  <a:cs typeface="Verdana"/>
                  <a:sym typeface="Verdana"/>
                </a:endParaRPr>
              </a:p>
            </p:txBody>
          </p:sp>
        </p:grp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98A34C02-5C13-AE28-DE7D-5F400D6A498D}"/>
                </a:ext>
              </a:extLst>
            </p:cNvPr>
            <p:cNvSpPr txBox="1"/>
            <p:nvPr/>
          </p:nvSpPr>
          <p:spPr>
            <a:xfrm>
              <a:off x="1563323" y="1438875"/>
              <a:ext cx="3204000" cy="50800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marL="0" indent="0">
                <a:spcBef>
                  <a:spcPts val="0"/>
                </a:spcBef>
                <a:buSzPts val="1600"/>
                <a:buNone/>
              </a:pPr>
              <a:r>
                <a:rPr lang="en-US" sz="1600" dirty="0">
                  <a:solidFill>
                    <a:schemeClr val="tx1"/>
                  </a:solidFill>
                  <a:cs typeface="Arial" panose="020B0604020202020204" pitchFamily="34" charset="0"/>
                </a:rPr>
                <a:t>Insert Text He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47012743"/>
      </p:ext>
    </p:extLst>
  </p:cSld>
  <p:clrMapOvr>
    <a:masterClrMapping/>
  </p:clrMapOvr>
</p:sld>
</file>

<file path=ppt/slides/slide1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39EF1F-1AD2-EBE4-51CB-8560B7893A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CF5C030-2E72-1E89-89AF-FA4D460F11C9}"/>
              </a:ext>
            </a:extLst>
          </p:cNvPr>
          <p:cNvSpPr/>
          <p:nvPr/>
        </p:nvSpPr>
        <p:spPr bwMode="gray">
          <a:xfrm>
            <a:off x="8660502" y="1200033"/>
            <a:ext cx="2857064" cy="455700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IN" sz="2329" dirty="0">
              <a:solidFill>
                <a:srgbClr val="FFFFFF"/>
              </a:solidFill>
            </a:endParaRPr>
          </a:p>
        </p:txBody>
      </p:sp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82B32CD4-FB58-3E6C-BB55-27E7110219B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2B32CD4-FB58-3E6C-BB55-27E7110219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76B5E3F-1C98-5E0F-7B1F-77BE21952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Bar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3FC36F1F-A03D-E7EE-9C1A-C895F4DB037E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80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4DB93DB2-B946-4A43-DA6C-02C2EA69C86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80902065"/>
              </p:ext>
            </p:extLst>
          </p:nvPr>
        </p:nvGraphicFramePr>
        <p:xfrm>
          <a:off x="372731" y="1200033"/>
          <a:ext cx="7877801" cy="4557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30FAAAF8-B7A1-33FF-8049-118A3215CDD3}"/>
              </a:ext>
            </a:extLst>
          </p:cNvPr>
          <p:cNvSpPr txBox="1"/>
          <p:nvPr/>
        </p:nvSpPr>
        <p:spPr bwMode="gray">
          <a:xfrm>
            <a:off x="8830387" y="1375376"/>
            <a:ext cx="2517292" cy="23654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537" b="1" noProof="1">
                <a:solidFill>
                  <a:schemeClr val="tx1">
                    <a:lumMod val="100000"/>
                  </a:schemeClr>
                </a:solidFill>
              </a:rPr>
              <a:t>Tit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7E4B608-C9CB-53D5-DBF0-2B2A8A62A8B3}"/>
              </a:ext>
            </a:extLst>
          </p:cNvPr>
          <p:cNvSpPr txBox="1"/>
          <p:nvPr/>
        </p:nvSpPr>
        <p:spPr bwMode="gray">
          <a:xfrm>
            <a:off x="8830387" y="1665403"/>
            <a:ext cx="2517292" cy="23654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537" noProof="1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</p:spTree>
    <p:extLst>
      <p:ext uri="{BB962C8B-B14F-4D97-AF65-F5344CB8AC3E}">
        <p14:creationId xmlns:p14="http://schemas.microsoft.com/office/powerpoint/2010/main" val="3193948753"/>
      </p:ext>
    </p:extLst>
  </p:cSld>
  <p:clrMapOvr>
    <a:masterClrMapping/>
  </p:clrMapOvr>
</p:sld>
</file>

<file path=ppt/slides/slide1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87439E-281D-A4C4-32E1-E08B8ED0F4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C8FC4767-FDE7-9F9D-7751-8F3C0A1C9D4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8FC4767-FDE7-9F9D-7751-8F3C0A1C9D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A8338DD-9AF4-1333-961E-8441A98417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Bar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CE3465E6-250E-6392-04AF-96C8DF6B6588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81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8" name="Table 2">
            <a:extLst>
              <a:ext uri="{FF2B5EF4-FFF2-40B4-BE49-F238E27FC236}">
                <a16:creationId xmlns:a16="http://schemas.microsoft.com/office/drawing/2014/main" id="{6437F2BA-620D-A7FD-C6EB-E2E094B8BF47}"/>
              </a:ext>
            </a:extLst>
          </p:cNvPr>
          <p:cNvGraphicFramePr>
            <a:graphicFrameLocks noGrp="1"/>
          </p:cNvGraphicFramePr>
          <p:nvPr/>
        </p:nvGraphicFramePr>
        <p:xfrm>
          <a:off x="517702" y="1184555"/>
          <a:ext cx="11156595" cy="456783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55164">
                  <a:extLst>
                    <a:ext uri="{9D8B030D-6E8A-4147-A177-3AD203B41FA5}">
                      <a16:colId xmlns:a16="http://schemas.microsoft.com/office/drawing/2014/main" val="209073432"/>
                    </a:ext>
                  </a:extLst>
                </a:gridCol>
                <a:gridCol w="1271633">
                  <a:extLst>
                    <a:ext uri="{9D8B030D-6E8A-4147-A177-3AD203B41FA5}">
                      <a16:colId xmlns:a16="http://schemas.microsoft.com/office/drawing/2014/main" val="1359006512"/>
                    </a:ext>
                  </a:extLst>
                </a:gridCol>
                <a:gridCol w="1271633">
                  <a:extLst>
                    <a:ext uri="{9D8B030D-6E8A-4147-A177-3AD203B41FA5}">
                      <a16:colId xmlns:a16="http://schemas.microsoft.com/office/drawing/2014/main" val="452308803"/>
                    </a:ext>
                  </a:extLst>
                </a:gridCol>
                <a:gridCol w="1271633">
                  <a:extLst>
                    <a:ext uri="{9D8B030D-6E8A-4147-A177-3AD203B41FA5}">
                      <a16:colId xmlns:a16="http://schemas.microsoft.com/office/drawing/2014/main" val="3134237105"/>
                    </a:ext>
                  </a:extLst>
                </a:gridCol>
                <a:gridCol w="1271633">
                  <a:extLst>
                    <a:ext uri="{9D8B030D-6E8A-4147-A177-3AD203B41FA5}">
                      <a16:colId xmlns:a16="http://schemas.microsoft.com/office/drawing/2014/main" val="585510681"/>
                    </a:ext>
                  </a:extLst>
                </a:gridCol>
                <a:gridCol w="1271633">
                  <a:extLst>
                    <a:ext uri="{9D8B030D-6E8A-4147-A177-3AD203B41FA5}">
                      <a16:colId xmlns:a16="http://schemas.microsoft.com/office/drawing/2014/main" val="563736982"/>
                    </a:ext>
                  </a:extLst>
                </a:gridCol>
                <a:gridCol w="1271633">
                  <a:extLst>
                    <a:ext uri="{9D8B030D-6E8A-4147-A177-3AD203B41FA5}">
                      <a16:colId xmlns:a16="http://schemas.microsoft.com/office/drawing/2014/main" val="3346023102"/>
                    </a:ext>
                  </a:extLst>
                </a:gridCol>
                <a:gridCol w="1271633">
                  <a:extLst>
                    <a:ext uri="{9D8B030D-6E8A-4147-A177-3AD203B41FA5}">
                      <a16:colId xmlns:a16="http://schemas.microsoft.com/office/drawing/2014/main" val="588875718"/>
                    </a:ext>
                  </a:extLst>
                </a:gridCol>
              </a:tblGrid>
              <a:tr h="553237">
                <a:tc>
                  <a:txBody>
                    <a:bodyPr/>
                    <a:lstStyle/>
                    <a:p>
                      <a:r>
                        <a:rPr lang="en-IN" sz="1400" dirty="0">
                          <a:solidFill>
                            <a:schemeClr val="bg1"/>
                          </a:solidFill>
                          <a:latin typeface="+mn-lt"/>
                        </a:rPr>
                        <a:t>Title</a:t>
                      </a: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en-IN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itle</a:t>
                      </a:r>
                      <a:endParaRPr lang="en-IN" sz="140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en-IN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itle</a:t>
                      </a:r>
                      <a:endParaRPr lang="en-IN" sz="140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en-IN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itle</a:t>
                      </a:r>
                      <a:endParaRPr lang="en-IN" sz="140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en-IN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itle</a:t>
                      </a:r>
                      <a:endParaRPr lang="en-IN" sz="140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en-IN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itle</a:t>
                      </a:r>
                      <a:endParaRPr lang="en-IN" sz="140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en-IN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itle</a:t>
                      </a:r>
                      <a:endParaRPr lang="en-IN" sz="140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en-IN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itle</a:t>
                      </a:r>
                      <a:endParaRPr lang="en-IN" sz="140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2148821"/>
                  </a:ext>
                </a:extLst>
              </a:tr>
              <a:tr h="1338199">
                <a:tc>
                  <a:txBody>
                    <a:bodyPr/>
                    <a:lstStyle/>
                    <a:p>
                      <a:r>
                        <a:rPr lang="en-IN" sz="1400" dirty="0">
                          <a:solidFill>
                            <a:schemeClr val="tx1"/>
                          </a:solidFill>
                          <a:latin typeface="+mn-lt"/>
                        </a:rPr>
                        <a:t>Insert Text Here</a:t>
                      </a: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77433772"/>
                  </a:ext>
                </a:extLst>
              </a:tr>
              <a:tr h="1338199">
                <a:tc>
                  <a:txBody>
                    <a:bodyPr/>
                    <a:lstStyle/>
                    <a:p>
                      <a:r>
                        <a:rPr lang="en-IN" sz="1400" dirty="0">
                          <a:solidFill>
                            <a:schemeClr val="tx1"/>
                          </a:solidFill>
                          <a:latin typeface="+mn-lt"/>
                        </a:rPr>
                        <a:t>Insert Text Here</a:t>
                      </a: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71744574"/>
                  </a:ext>
                </a:extLst>
              </a:tr>
              <a:tr h="1338199">
                <a:tc>
                  <a:txBody>
                    <a:bodyPr/>
                    <a:lstStyle/>
                    <a:p>
                      <a:r>
                        <a:rPr lang="en-IN" sz="1400" dirty="0">
                          <a:solidFill>
                            <a:schemeClr val="tx1"/>
                          </a:solidFill>
                          <a:latin typeface="+mn-lt"/>
                        </a:rPr>
                        <a:t>Insert Text Here</a:t>
                      </a: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8299071"/>
                  </a:ext>
                </a:extLst>
              </a:tr>
            </a:tbl>
          </a:graphicData>
        </a:graphic>
      </p:graphicFrame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6EE53351-6BDD-CC98-EC7E-62507401155F}"/>
              </a:ext>
            </a:extLst>
          </p:cNvPr>
          <p:cNvGraphicFramePr/>
          <p:nvPr/>
        </p:nvGraphicFramePr>
        <p:xfrm>
          <a:off x="2989918" y="1817482"/>
          <a:ext cx="869771" cy="40754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0987CB4B-BBFC-0564-C0DA-D862F7748117}"/>
              </a:ext>
            </a:extLst>
          </p:cNvPr>
          <p:cNvGraphicFramePr/>
          <p:nvPr/>
        </p:nvGraphicFramePr>
        <p:xfrm>
          <a:off x="4271943" y="1817482"/>
          <a:ext cx="869771" cy="40754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C55BBC25-6743-1F38-0214-E6A45042B3B6}"/>
              </a:ext>
            </a:extLst>
          </p:cNvPr>
          <p:cNvGraphicFramePr/>
          <p:nvPr/>
        </p:nvGraphicFramePr>
        <p:xfrm>
          <a:off x="5553969" y="1817482"/>
          <a:ext cx="869771" cy="40754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29BB3834-2635-4DD1-053F-F3351F085D1C}"/>
              </a:ext>
            </a:extLst>
          </p:cNvPr>
          <p:cNvGraphicFramePr/>
          <p:nvPr/>
        </p:nvGraphicFramePr>
        <p:xfrm>
          <a:off x="6835995" y="1817482"/>
          <a:ext cx="869771" cy="40754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A5B1F3DD-73A2-B372-059B-1282B6C43FF2}"/>
              </a:ext>
            </a:extLst>
          </p:cNvPr>
          <p:cNvGraphicFramePr/>
          <p:nvPr/>
        </p:nvGraphicFramePr>
        <p:xfrm>
          <a:off x="8118021" y="1817482"/>
          <a:ext cx="972451" cy="40754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AAFA8E56-3DEF-3D93-F678-97F4C8CBF29B}"/>
              </a:ext>
            </a:extLst>
          </p:cNvPr>
          <p:cNvGraphicFramePr/>
          <p:nvPr/>
        </p:nvGraphicFramePr>
        <p:xfrm>
          <a:off x="9400047" y="1817482"/>
          <a:ext cx="869771" cy="40754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CF89F380-8755-4C37-61AE-69EFD53BD9C3}"/>
              </a:ext>
            </a:extLst>
          </p:cNvPr>
          <p:cNvGraphicFramePr/>
          <p:nvPr/>
        </p:nvGraphicFramePr>
        <p:xfrm>
          <a:off x="10682072" y="1817482"/>
          <a:ext cx="869771" cy="40754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</p:spTree>
    <p:extLst>
      <p:ext uri="{BB962C8B-B14F-4D97-AF65-F5344CB8AC3E}">
        <p14:creationId xmlns:p14="http://schemas.microsoft.com/office/powerpoint/2010/main" val="3121408871"/>
      </p:ext>
    </p:extLst>
  </p:cSld>
  <p:clrMapOvr>
    <a:masterClrMapping/>
  </p:clrMapOvr>
</p:sld>
</file>

<file path=ppt/slides/slide1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7161294-3228-7328-B6F0-3CB0E02ED8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03DF6BB6-95E6-DFB1-1C11-A05CF77FED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3DF6BB6-95E6-DFB1-1C11-A05CF77FED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8BDE0C8-C3E3-5EB8-2B07-8E342E8D61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Bar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254AE426-559F-6155-036D-79EDCC7D9A0E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82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7760BF3-6018-B9EC-D80D-64ADF53735B4}"/>
              </a:ext>
            </a:extLst>
          </p:cNvPr>
          <p:cNvSpPr txBox="1">
            <a:spLocks/>
          </p:cNvSpPr>
          <p:nvPr/>
        </p:nvSpPr>
        <p:spPr>
          <a:xfrm>
            <a:off x="882319" y="1332707"/>
            <a:ext cx="2407636" cy="2263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71" b="1" dirty="0"/>
              <a:t>Tit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37B6503-57F3-CDC1-6D75-1B87C081CD1A}"/>
              </a:ext>
            </a:extLst>
          </p:cNvPr>
          <p:cNvSpPr txBox="1">
            <a:spLocks/>
          </p:cNvSpPr>
          <p:nvPr/>
        </p:nvSpPr>
        <p:spPr>
          <a:xfrm>
            <a:off x="882319" y="1614263"/>
            <a:ext cx="2407636" cy="2263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6C1F8B3-0C71-8D4D-AE32-5048E0800DC5}"/>
              </a:ext>
            </a:extLst>
          </p:cNvPr>
          <p:cNvSpPr txBox="1">
            <a:spLocks/>
          </p:cNvSpPr>
          <p:nvPr/>
        </p:nvSpPr>
        <p:spPr>
          <a:xfrm>
            <a:off x="3607367" y="1332707"/>
            <a:ext cx="2407636" cy="2263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71" b="1" dirty="0"/>
              <a:t>Tit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A2B012F-ABF4-AF0F-677C-45DC4E715341}"/>
              </a:ext>
            </a:extLst>
          </p:cNvPr>
          <p:cNvSpPr txBox="1">
            <a:spLocks/>
          </p:cNvSpPr>
          <p:nvPr/>
        </p:nvSpPr>
        <p:spPr>
          <a:xfrm>
            <a:off x="3607367" y="1614263"/>
            <a:ext cx="2407636" cy="2263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A31A329-8A37-EAF9-85F7-3C61E51D72C4}"/>
              </a:ext>
            </a:extLst>
          </p:cNvPr>
          <p:cNvSpPr txBox="1">
            <a:spLocks/>
          </p:cNvSpPr>
          <p:nvPr/>
        </p:nvSpPr>
        <p:spPr>
          <a:xfrm>
            <a:off x="6332411" y="1332707"/>
            <a:ext cx="2407636" cy="2263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71" b="1" dirty="0"/>
              <a:t>Tit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63DFD5B-7340-66AA-A00C-1392F838A17B}"/>
              </a:ext>
            </a:extLst>
          </p:cNvPr>
          <p:cNvSpPr txBox="1">
            <a:spLocks/>
          </p:cNvSpPr>
          <p:nvPr/>
        </p:nvSpPr>
        <p:spPr>
          <a:xfrm>
            <a:off x="6332411" y="1614263"/>
            <a:ext cx="2407636" cy="2263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4578789-830F-3824-50C7-E3ADEAF9812E}"/>
              </a:ext>
            </a:extLst>
          </p:cNvPr>
          <p:cNvSpPr txBox="1">
            <a:spLocks/>
          </p:cNvSpPr>
          <p:nvPr/>
        </p:nvSpPr>
        <p:spPr>
          <a:xfrm>
            <a:off x="9057455" y="1332707"/>
            <a:ext cx="2407636" cy="2263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71" b="1" dirty="0"/>
              <a:t>Tit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13D2EA4-F57A-A739-555B-06C7047A84B1}"/>
              </a:ext>
            </a:extLst>
          </p:cNvPr>
          <p:cNvSpPr txBox="1">
            <a:spLocks/>
          </p:cNvSpPr>
          <p:nvPr/>
        </p:nvSpPr>
        <p:spPr>
          <a:xfrm>
            <a:off x="9057455" y="1614263"/>
            <a:ext cx="2407636" cy="2263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71" dirty="0"/>
              <a:t>Insert Text Here</a:t>
            </a: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6F892689-7782-141C-68DF-3561F95495D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9320020"/>
              </p:ext>
            </p:extLst>
          </p:nvPr>
        </p:nvGraphicFramePr>
        <p:xfrm>
          <a:off x="837332" y="1942634"/>
          <a:ext cx="2447262" cy="3711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80E60720-0EA8-1059-5F2D-403FF57FD00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12369251"/>
              </p:ext>
            </p:extLst>
          </p:nvPr>
        </p:nvGraphicFramePr>
        <p:xfrm>
          <a:off x="3607367" y="1942634"/>
          <a:ext cx="2447262" cy="3711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C9DC4BAE-085A-C9D0-21D2-42E21BFA904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05786444"/>
              </p:ext>
            </p:extLst>
          </p:nvPr>
        </p:nvGraphicFramePr>
        <p:xfrm>
          <a:off x="6332412" y="1942634"/>
          <a:ext cx="2447262" cy="3711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8EA72CB0-151D-BB2C-2EB5-130A1B1CBAD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19674221"/>
              </p:ext>
            </p:extLst>
          </p:nvPr>
        </p:nvGraphicFramePr>
        <p:xfrm>
          <a:off x="9057456" y="1942634"/>
          <a:ext cx="2447262" cy="3711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2A385F6-18D5-BF6D-1A45-1466F29BB51C}"/>
              </a:ext>
            </a:extLst>
          </p:cNvPr>
          <p:cNvCxnSpPr/>
          <p:nvPr/>
        </p:nvCxnSpPr>
        <p:spPr>
          <a:xfrm>
            <a:off x="837332" y="1942634"/>
            <a:ext cx="212578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B0BEB81-FEAF-6EC1-C47B-CD3648C24F7B}"/>
              </a:ext>
            </a:extLst>
          </p:cNvPr>
          <p:cNvCxnSpPr/>
          <p:nvPr/>
        </p:nvCxnSpPr>
        <p:spPr>
          <a:xfrm>
            <a:off x="3607367" y="1942634"/>
            <a:ext cx="212578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FFF4A67-148A-BE52-ADBA-1BDB89C584DA}"/>
              </a:ext>
            </a:extLst>
          </p:cNvPr>
          <p:cNvCxnSpPr/>
          <p:nvPr/>
        </p:nvCxnSpPr>
        <p:spPr>
          <a:xfrm>
            <a:off x="6332411" y="1942634"/>
            <a:ext cx="212578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AD8F736D-1885-DD26-52CD-0CA03ED87963}"/>
              </a:ext>
            </a:extLst>
          </p:cNvPr>
          <p:cNvCxnSpPr/>
          <p:nvPr/>
        </p:nvCxnSpPr>
        <p:spPr>
          <a:xfrm>
            <a:off x="9057455" y="1942634"/>
            <a:ext cx="212578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7893306"/>
      </p:ext>
    </p:extLst>
  </p:cSld>
  <p:clrMapOvr>
    <a:masterClrMapping/>
  </p:clrMapOvr>
</p:sld>
</file>

<file path=ppt/slides/slide1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2657E1-7CBD-A6A7-FCF4-1D1EF21306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9BF85C16-6E15-1C7B-F399-0BABA66C5E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F85C16-6E15-1C7B-F399-0BABA66C5E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F5D9677-70D1-D03D-E91D-50F084D93F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lustered Bar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DC9A5F05-D098-CED3-E11C-7F66A527F681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83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3" name="Chart 35">
            <a:extLst>
              <a:ext uri="{FF2B5EF4-FFF2-40B4-BE49-F238E27FC236}">
                <a16:creationId xmlns:a16="http://schemas.microsoft.com/office/drawing/2014/main" id="{3681B647-983D-3443-C29A-81E323EF31A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28414321"/>
              </p:ext>
            </p:extLst>
          </p:nvPr>
        </p:nvGraphicFramePr>
        <p:xfrm>
          <a:off x="419099" y="1088288"/>
          <a:ext cx="5883275" cy="47799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E1EA1E5F-C126-4097-0F69-41690185AD39}"/>
              </a:ext>
            </a:extLst>
          </p:cNvPr>
          <p:cNvSpPr/>
          <p:nvPr/>
        </p:nvSpPr>
        <p:spPr>
          <a:xfrm>
            <a:off x="6621463" y="1269683"/>
            <a:ext cx="1000125" cy="100012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948E420-7744-CF85-CEC6-03FC3BB1A28C}"/>
              </a:ext>
            </a:extLst>
          </p:cNvPr>
          <p:cNvSpPr/>
          <p:nvPr/>
        </p:nvSpPr>
        <p:spPr>
          <a:xfrm>
            <a:off x="6621463" y="2458720"/>
            <a:ext cx="1000125" cy="10001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7404279-062D-9220-3710-245490E11EE6}"/>
              </a:ext>
            </a:extLst>
          </p:cNvPr>
          <p:cNvSpPr/>
          <p:nvPr/>
        </p:nvSpPr>
        <p:spPr>
          <a:xfrm>
            <a:off x="6621463" y="3654108"/>
            <a:ext cx="1000125" cy="10001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6" name="Freeform 139">
            <a:extLst>
              <a:ext uri="{FF2B5EF4-FFF2-40B4-BE49-F238E27FC236}">
                <a16:creationId xmlns:a16="http://schemas.microsoft.com/office/drawing/2014/main" id="{B9753C28-E876-87E9-1AE4-7BD09D41409F}"/>
              </a:ext>
            </a:extLst>
          </p:cNvPr>
          <p:cNvSpPr>
            <a:spLocks noEditPoints="1"/>
          </p:cNvSpPr>
          <p:nvPr/>
        </p:nvSpPr>
        <p:spPr bwMode="auto">
          <a:xfrm>
            <a:off x="6889750" y="1490345"/>
            <a:ext cx="474663" cy="530225"/>
          </a:xfrm>
          <a:custGeom>
            <a:avLst/>
            <a:gdLst>
              <a:gd name="T0" fmla="*/ 474829 w 49"/>
              <a:gd name="T1" fmla="*/ 86776 h 61"/>
              <a:gd name="T2" fmla="*/ 0 w 49"/>
              <a:gd name="T3" fmla="*/ 86776 h 61"/>
              <a:gd name="T4" fmla="*/ 0 w 49"/>
              <a:gd name="T5" fmla="*/ 69420 h 61"/>
              <a:gd name="T6" fmla="*/ 67833 w 49"/>
              <a:gd name="T7" fmla="*/ 0 h 61"/>
              <a:gd name="T8" fmla="*/ 397306 w 49"/>
              <a:gd name="T9" fmla="*/ 0 h 61"/>
              <a:gd name="T10" fmla="*/ 474829 w 49"/>
              <a:gd name="T11" fmla="*/ 69420 h 61"/>
              <a:gd name="T12" fmla="*/ 474829 w 49"/>
              <a:gd name="T13" fmla="*/ 86776 h 61"/>
              <a:gd name="T14" fmla="*/ 474829 w 49"/>
              <a:gd name="T15" fmla="*/ 208261 h 61"/>
              <a:gd name="T16" fmla="*/ 0 w 49"/>
              <a:gd name="T17" fmla="*/ 208261 h 61"/>
              <a:gd name="T18" fmla="*/ 0 w 49"/>
              <a:gd name="T19" fmla="*/ 112808 h 61"/>
              <a:gd name="T20" fmla="*/ 474829 w 49"/>
              <a:gd name="T21" fmla="*/ 112808 h 61"/>
              <a:gd name="T22" fmla="*/ 474829 w 49"/>
              <a:gd name="T23" fmla="*/ 208261 h 61"/>
              <a:gd name="T24" fmla="*/ 474829 w 49"/>
              <a:gd name="T25" fmla="*/ 321070 h 61"/>
              <a:gd name="T26" fmla="*/ 0 w 49"/>
              <a:gd name="T27" fmla="*/ 321070 h 61"/>
              <a:gd name="T28" fmla="*/ 0 w 49"/>
              <a:gd name="T29" fmla="*/ 234294 h 61"/>
              <a:gd name="T30" fmla="*/ 474829 w 49"/>
              <a:gd name="T31" fmla="*/ 234294 h 61"/>
              <a:gd name="T32" fmla="*/ 474829 w 49"/>
              <a:gd name="T33" fmla="*/ 321070 h 61"/>
              <a:gd name="T34" fmla="*/ 474829 w 49"/>
              <a:gd name="T35" fmla="*/ 364457 h 61"/>
              <a:gd name="T36" fmla="*/ 397306 w 49"/>
              <a:gd name="T37" fmla="*/ 433878 h 61"/>
              <a:gd name="T38" fmla="*/ 377925 w 49"/>
              <a:gd name="T39" fmla="*/ 433878 h 61"/>
              <a:gd name="T40" fmla="*/ 281021 w 49"/>
              <a:gd name="T41" fmla="*/ 529331 h 61"/>
              <a:gd name="T42" fmla="*/ 281021 w 49"/>
              <a:gd name="T43" fmla="*/ 433878 h 61"/>
              <a:gd name="T44" fmla="*/ 67833 w 49"/>
              <a:gd name="T45" fmla="*/ 433878 h 61"/>
              <a:gd name="T46" fmla="*/ 0 w 49"/>
              <a:gd name="T47" fmla="*/ 364457 h 61"/>
              <a:gd name="T48" fmla="*/ 0 w 49"/>
              <a:gd name="T49" fmla="*/ 347102 h 61"/>
              <a:gd name="T50" fmla="*/ 474829 w 49"/>
              <a:gd name="T51" fmla="*/ 347102 h 61"/>
              <a:gd name="T52" fmla="*/ 474829 w 49"/>
              <a:gd name="T53" fmla="*/ 364457 h 61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49" h="61">
                <a:moveTo>
                  <a:pt x="49" y="10"/>
                </a:moveTo>
                <a:cubicBezTo>
                  <a:pt x="0" y="10"/>
                  <a:pt x="0" y="10"/>
                  <a:pt x="0" y="10"/>
                </a:cubicBezTo>
                <a:cubicBezTo>
                  <a:pt x="0" y="8"/>
                  <a:pt x="0" y="8"/>
                  <a:pt x="0" y="8"/>
                </a:cubicBezTo>
                <a:cubicBezTo>
                  <a:pt x="0" y="3"/>
                  <a:pt x="3" y="0"/>
                  <a:pt x="7" y="0"/>
                </a:cubicBezTo>
                <a:cubicBezTo>
                  <a:pt x="41" y="0"/>
                  <a:pt x="41" y="0"/>
                  <a:pt x="41" y="0"/>
                </a:cubicBezTo>
                <a:cubicBezTo>
                  <a:pt x="46" y="0"/>
                  <a:pt x="49" y="3"/>
                  <a:pt x="49" y="8"/>
                </a:cubicBezTo>
                <a:lnTo>
                  <a:pt x="49" y="10"/>
                </a:lnTo>
                <a:close/>
                <a:moveTo>
                  <a:pt x="49" y="24"/>
                </a:moveTo>
                <a:cubicBezTo>
                  <a:pt x="0" y="24"/>
                  <a:pt x="0" y="24"/>
                  <a:pt x="0" y="24"/>
                </a:cubicBezTo>
                <a:cubicBezTo>
                  <a:pt x="0" y="13"/>
                  <a:pt x="0" y="13"/>
                  <a:pt x="0" y="13"/>
                </a:cubicBezTo>
                <a:cubicBezTo>
                  <a:pt x="49" y="13"/>
                  <a:pt x="49" y="13"/>
                  <a:pt x="49" y="13"/>
                </a:cubicBezTo>
                <a:lnTo>
                  <a:pt x="49" y="24"/>
                </a:lnTo>
                <a:close/>
                <a:moveTo>
                  <a:pt x="49" y="37"/>
                </a:moveTo>
                <a:cubicBezTo>
                  <a:pt x="0" y="37"/>
                  <a:pt x="0" y="37"/>
                  <a:pt x="0" y="37"/>
                </a:cubicBezTo>
                <a:cubicBezTo>
                  <a:pt x="0" y="27"/>
                  <a:pt x="0" y="27"/>
                  <a:pt x="0" y="27"/>
                </a:cubicBezTo>
                <a:cubicBezTo>
                  <a:pt x="49" y="27"/>
                  <a:pt x="49" y="27"/>
                  <a:pt x="49" y="27"/>
                </a:cubicBezTo>
                <a:lnTo>
                  <a:pt x="49" y="37"/>
                </a:lnTo>
                <a:close/>
                <a:moveTo>
                  <a:pt x="49" y="42"/>
                </a:moveTo>
                <a:cubicBezTo>
                  <a:pt x="49" y="47"/>
                  <a:pt x="46" y="50"/>
                  <a:pt x="41" y="50"/>
                </a:cubicBezTo>
                <a:cubicBezTo>
                  <a:pt x="39" y="50"/>
                  <a:pt x="39" y="50"/>
                  <a:pt x="39" y="50"/>
                </a:cubicBezTo>
                <a:cubicBezTo>
                  <a:pt x="29" y="61"/>
                  <a:pt x="29" y="61"/>
                  <a:pt x="29" y="61"/>
                </a:cubicBezTo>
                <a:cubicBezTo>
                  <a:pt x="29" y="50"/>
                  <a:pt x="29" y="50"/>
                  <a:pt x="29" y="50"/>
                </a:cubicBezTo>
                <a:cubicBezTo>
                  <a:pt x="7" y="50"/>
                  <a:pt x="7" y="50"/>
                  <a:pt x="7" y="50"/>
                </a:cubicBezTo>
                <a:cubicBezTo>
                  <a:pt x="3" y="50"/>
                  <a:pt x="0" y="47"/>
                  <a:pt x="0" y="42"/>
                </a:cubicBezTo>
                <a:cubicBezTo>
                  <a:pt x="0" y="40"/>
                  <a:pt x="0" y="40"/>
                  <a:pt x="0" y="40"/>
                </a:cubicBezTo>
                <a:cubicBezTo>
                  <a:pt x="49" y="40"/>
                  <a:pt x="49" y="40"/>
                  <a:pt x="49" y="40"/>
                </a:cubicBezTo>
                <a:lnTo>
                  <a:pt x="49" y="4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1920" tIns="60960" rIns="121920" bIns="60960"/>
          <a:lstStyle/>
          <a:p>
            <a:endParaRPr lang="en-US"/>
          </a:p>
        </p:txBody>
      </p:sp>
      <p:sp>
        <p:nvSpPr>
          <p:cNvPr id="28" name="Freeform 221">
            <a:extLst>
              <a:ext uri="{FF2B5EF4-FFF2-40B4-BE49-F238E27FC236}">
                <a16:creationId xmlns:a16="http://schemas.microsoft.com/office/drawing/2014/main" id="{B32860C1-4383-549D-7FA2-56606B688DF0}"/>
              </a:ext>
            </a:extLst>
          </p:cNvPr>
          <p:cNvSpPr>
            <a:spLocks noEditPoints="1"/>
          </p:cNvSpPr>
          <p:nvPr/>
        </p:nvSpPr>
        <p:spPr bwMode="auto">
          <a:xfrm>
            <a:off x="6880225" y="2739708"/>
            <a:ext cx="490538" cy="450850"/>
          </a:xfrm>
          <a:custGeom>
            <a:avLst/>
            <a:gdLst>
              <a:gd name="T0" fmla="*/ 165958 w 59"/>
              <a:gd name="T1" fmla="*/ 132309 h 58"/>
              <a:gd name="T2" fmla="*/ 141065 w 59"/>
              <a:gd name="T3" fmla="*/ 147874 h 58"/>
              <a:gd name="T4" fmla="*/ 24894 w 59"/>
              <a:gd name="T5" fmla="*/ 147874 h 58"/>
              <a:gd name="T6" fmla="*/ 0 w 59"/>
              <a:gd name="T7" fmla="*/ 132309 h 58"/>
              <a:gd name="T8" fmla="*/ 0 w 59"/>
              <a:gd name="T9" fmla="*/ 15566 h 58"/>
              <a:gd name="T10" fmla="*/ 24894 w 59"/>
              <a:gd name="T11" fmla="*/ 0 h 58"/>
              <a:gd name="T12" fmla="*/ 141065 w 59"/>
              <a:gd name="T13" fmla="*/ 0 h 58"/>
              <a:gd name="T14" fmla="*/ 165958 w 59"/>
              <a:gd name="T15" fmla="*/ 15566 h 58"/>
              <a:gd name="T16" fmla="*/ 165958 w 59"/>
              <a:gd name="T17" fmla="*/ 132309 h 58"/>
              <a:gd name="T18" fmla="*/ 489577 w 59"/>
              <a:gd name="T19" fmla="*/ 241269 h 58"/>
              <a:gd name="T20" fmla="*/ 248937 w 59"/>
              <a:gd name="T21" fmla="*/ 451406 h 58"/>
              <a:gd name="T22" fmla="*/ 0 w 59"/>
              <a:gd name="T23" fmla="*/ 241269 h 58"/>
              <a:gd name="T24" fmla="*/ 0 w 59"/>
              <a:gd name="T25" fmla="*/ 202354 h 58"/>
              <a:gd name="T26" fmla="*/ 24894 w 59"/>
              <a:gd name="T27" fmla="*/ 186789 h 58"/>
              <a:gd name="T28" fmla="*/ 141065 w 59"/>
              <a:gd name="T29" fmla="*/ 186789 h 58"/>
              <a:gd name="T30" fmla="*/ 165958 w 59"/>
              <a:gd name="T31" fmla="*/ 202354 h 58"/>
              <a:gd name="T32" fmla="*/ 165958 w 59"/>
              <a:gd name="T33" fmla="*/ 241269 h 58"/>
              <a:gd name="T34" fmla="*/ 248937 w 59"/>
              <a:gd name="T35" fmla="*/ 295749 h 58"/>
              <a:gd name="T36" fmla="*/ 323619 w 59"/>
              <a:gd name="T37" fmla="*/ 241269 h 58"/>
              <a:gd name="T38" fmla="*/ 323619 w 59"/>
              <a:gd name="T39" fmla="*/ 202354 h 58"/>
              <a:gd name="T40" fmla="*/ 348512 w 59"/>
              <a:gd name="T41" fmla="*/ 186789 h 58"/>
              <a:gd name="T42" fmla="*/ 464683 w 59"/>
              <a:gd name="T43" fmla="*/ 186789 h 58"/>
              <a:gd name="T44" fmla="*/ 489577 w 59"/>
              <a:gd name="T45" fmla="*/ 202354 h 58"/>
              <a:gd name="T46" fmla="*/ 489577 w 59"/>
              <a:gd name="T47" fmla="*/ 241269 h 58"/>
              <a:gd name="T48" fmla="*/ 489577 w 59"/>
              <a:gd name="T49" fmla="*/ 132309 h 58"/>
              <a:gd name="T50" fmla="*/ 464683 w 59"/>
              <a:gd name="T51" fmla="*/ 147874 h 58"/>
              <a:gd name="T52" fmla="*/ 348512 w 59"/>
              <a:gd name="T53" fmla="*/ 147874 h 58"/>
              <a:gd name="T54" fmla="*/ 323619 w 59"/>
              <a:gd name="T55" fmla="*/ 132309 h 58"/>
              <a:gd name="T56" fmla="*/ 323619 w 59"/>
              <a:gd name="T57" fmla="*/ 15566 h 58"/>
              <a:gd name="T58" fmla="*/ 348512 w 59"/>
              <a:gd name="T59" fmla="*/ 0 h 58"/>
              <a:gd name="T60" fmla="*/ 464683 w 59"/>
              <a:gd name="T61" fmla="*/ 0 h 58"/>
              <a:gd name="T62" fmla="*/ 489577 w 59"/>
              <a:gd name="T63" fmla="*/ 15566 h 58"/>
              <a:gd name="T64" fmla="*/ 489577 w 59"/>
              <a:gd name="T65" fmla="*/ 132309 h 58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59" h="58">
                <a:moveTo>
                  <a:pt x="20" y="17"/>
                </a:moveTo>
                <a:cubicBezTo>
                  <a:pt x="20" y="18"/>
                  <a:pt x="19" y="19"/>
                  <a:pt x="17" y="19"/>
                </a:cubicBezTo>
                <a:cubicBezTo>
                  <a:pt x="3" y="19"/>
                  <a:pt x="3" y="19"/>
                  <a:pt x="3" y="19"/>
                </a:cubicBezTo>
                <a:cubicBezTo>
                  <a:pt x="2" y="19"/>
                  <a:pt x="0" y="18"/>
                  <a:pt x="0" y="17"/>
                </a:cubicBezTo>
                <a:cubicBezTo>
                  <a:pt x="0" y="2"/>
                  <a:pt x="0" y="2"/>
                  <a:pt x="0" y="2"/>
                </a:cubicBezTo>
                <a:cubicBezTo>
                  <a:pt x="0" y="1"/>
                  <a:pt x="2" y="0"/>
                  <a:pt x="3" y="0"/>
                </a:cubicBezTo>
                <a:cubicBezTo>
                  <a:pt x="17" y="0"/>
                  <a:pt x="17" y="0"/>
                  <a:pt x="17" y="0"/>
                </a:cubicBezTo>
                <a:cubicBezTo>
                  <a:pt x="19" y="0"/>
                  <a:pt x="20" y="1"/>
                  <a:pt x="20" y="2"/>
                </a:cubicBezTo>
                <a:lnTo>
                  <a:pt x="20" y="17"/>
                </a:lnTo>
                <a:close/>
                <a:moveTo>
                  <a:pt x="59" y="31"/>
                </a:moveTo>
                <a:cubicBezTo>
                  <a:pt x="59" y="47"/>
                  <a:pt x="46" y="58"/>
                  <a:pt x="30" y="58"/>
                </a:cubicBezTo>
                <a:cubicBezTo>
                  <a:pt x="13" y="58"/>
                  <a:pt x="0" y="47"/>
                  <a:pt x="0" y="31"/>
                </a:cubicBezTo>
                <a:cubicBezTo>
                  <a:pt x="0" y="26"/>
                  <a:pt x="0" y="26"/>
                  <a:pt x="0" y="26"/>
                </a:cubicBezTo>
                <a:cubicBezTo>
                  <a:pt x="0" y="25"/>
                  <a:pt x="2" y="24"/>
                  <a:pt x="3" y="24"/>
                </a:cubicBezTo>
                <a:cubicBezTo>
                  <a:pt x="17" y="24"/>
                  <a:pt x="17" y="24"/>
                  <a:pt x="17" y="24"/>
                </a:cubicBezTo>
                <a:cubicBezTo>
                  <a:pt x="19" y="24"/>
                  <a:pt x="20" y="25"/>
                  <a:pt x="20" y="26"/>
                </a:cubicBezTo>
                <a:cubicBezTo>
                  <a:pt x="20" y="31"/>
                  <a:pt x="20" y="31"/>
                  <a:pt x="20" y="31"/>
                </a:cubicBezTo>
                <a:cubicBezTo>
                  <a:pt x="20" y="38"/>
                  <a:pt x="28" y="38"/>
                  <a:pt x="30" y="38"/>
                </a:cubicBezTo>
                <a:cubicBezTo>
                  <a:pt x="31" y="38"/>
                  <a:pt x="39" y="38"/>
                  <a:pt x="39" y="31"/>
                </a:cubicBezTo>
                <a:cubicBezTo>
                  <a:pt x="39" y="26"/>
                  <a:pt x="39" y="26"/>
                  <a:pt x="39" y="26"/>
                </a:cubicBezTo>
                <a:cubicBezTo>
                  <a:pt x="39" y="25"/>
                  <a:pt x="40" y="24"/>
                  <a:pt x="42" y="24"/>
                </a:cubicBezTo>
                <a:cubicBezTo>
                  <a:pt x="56" y="24"/>
                  <a:pt x="56" y="24"/>
                  <a:pt x="56" y="24"/>
                </a:cubicBezTo>
                <a:cubicBezTo>
                  <a:pt x="58" y="24"/>
                  <a:pt x="59" y="25"/>
                  <a:pt x="59" y="26"/>
                </a:cubicBezTo>
                <a:lnTo>
                  <a:pt x="59" y="31"/>
                </a:lnTo>
                <a:close/>
                <a:moveTo>
                  <a:pt x="59" y="17"/>
                </a:moveTo>
                <a:cubicBezTo>
                  <a:pt x="59" y="18"/>
                  <a:pt x="58" y="19"/>
                  <a:pt x="56" y="19"/>
                </a:cubicBezTo>
                <a:cubicBezTo>
                  <a:pt x="42" y="19"/>
                  <a:pt x="42" y="19"/>
                  <a:pt x="42" y="19"/>
                </a:cubicBezTo>
                <a:cubicBezTo>
                  <a:pt x="40" y="19"/>
                  <a:pt x="39" y="18"/>
                  <a:pt x="39" y="17"/>
                </a:cubicBezTo>
                <a:cubicBezTo>
                  <a:pt x="39" y="2"/>
                  <a:pt x="39" y="2"/>
                  <a:pt x="39" y="2"/>
                </a:cubicBezTo>
                <a:cubicBezTo>
                  <a:pt x="39" y="1"/>
                  <a:pt x="40" y="0"/>
                  <a:pt x="42" y="0"/>
                </a:cubicBezTo>
                <a:cubicBezTo>
                  <a:pt x="56" y="0"/>
                  <a:pt x="56" y="0"/>
                  <a:pt x="56" y="0"/>
                </a:cubicBezTo>
                <a:cubicBezTo>
                  <a:pt x="58" y="0"/>
                  <a:pt x="59" y="1"/>
                  <a:pt x="59" y="2"/>
                </a:cubicBezTo>
                <a:lnTo>
                  <a:pt x="59" y="1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1920" tIns="60960" rIns="121920" bIns="60960"/>
          <a:lstStyle/>
          <a:p>
            <a:endParaRPr lang="en-US"/>
          </a:p>
        </p:txBody>
      </p:sp>
      <p:sp>
        <p:nvSpPr>
          <p:cNvPr id="29" name="Freeform 15">
            <a:extLst>
              <a:ext uri="{FF2B5EF4-FFF2-40B4-BE49-F238E27FC236}">
                <a16:creationId xmlns:a16="http://schemas.microsoft.com/office/drawing/2014/main" id="{8A987E92-9A85-4E9D-3273-1476AB159F15}"/>
              </a:ext>
            </a:extLst>
          </p:cNvPr>
          <p:cNvSpPr>
            <a:spLocks noEditPoints="1"/>
          </p:cNvSpPr>
          <p:nvPr/>
        </p:nvSpPr>
        <p:spPr bwMode="auto">
          <a:xfrm>
            <a:off x="6848475" y="3920808"/>
            <a:ext cx="565150" cy="427037"/>
          </a:xfrm>
          <a:custGeom>
            <a:avLst/>
            <a:gdLst>
              <a:gd name="T0" fmla="*/ 168 w 168"/>
              <a:gd name="T1" fmla="*/ 126 h 126"/>
              <a:gd name="T2" fmla="*/ 0 w 168"/>
              <a:gd name="T3" fmla="*/ 126 h 126"/>
              <a:gd name="T4" fmla="*/ 0 w 168"/>
              <a:gd name="T5" fmla="*/ 0 h 126"/>
              <a:gd name="T6" fmla="*/ 10 w 168"/>
              <a:gd name="T7" fmla="*/ 0 h 126"/>
              <a:gd name="T8" fmla="*/ 10 w 168"/>
              <a:gd name="T9" fmla="*/ 115 h 126"/>
              <a:gd name="T10" fmla="*/ 168 w 168"/>
              <a:gd name="T11" fmla="*/ 115 h 126"/>
              <a:gd name="T12" fmla="*/ 168 w 168"/>
              <a:gd name="T13" fmla="*/ 126 h 126"/>
              <a:gd name="T14" fmla="*/ 54 w 168"/>
              <a:gd name="T15" fmla="*/ 104 h 126"/>
              <a:gd name="T16" fmla="*/ 32 w 168"/>
              <a:gd name="T17" fmla="*/ 104 h 126"/>
              <a:gd name="T18" fmla="*/ 32 w 168"/>
              <a:gd name="T19" fmla="*/ 63 h 126"/>
              <a:gd name="T20" fmla="*/ 54 w 168"/>
              <a:gd name="T21" fmla="*/ 63 h 126"/>
              <a:gd name="T22" fmla="*/ 54 w 168"/>
              <a:gd name="T23" fmla="*/ 104 h 126"/>
              <a:gd name="T24" fmla="*/ 84 w 168"/>
              <a:gd name="T25" fmla="*/ 104 h 126"/>
              <a:gd name="T26" fmla="*/ 64 w 168"/>
              <a:gd name="T27" fmla="*/ 104 h 126"/>
              <a:gd name="T28" fmla="*/ 64 w 168"/>
              <a:gd name="T29" fmla="*/ 19 h 126"/>
              <a:gd name="T30" fmla="*/ 84 w 168"/>
              <a:gd name="T31" fmla="*/ 19 h 126"/>
              <a:gd name="T32" fmla="*/ 84 w 168"/>
              <a:gd name="T33" fmla="*/ 104 h 126"/>
              <a:gd name="T34" fmla="*/ 116 w 168"/>
              <a:gd name="T35" fmla="*/ 104 h 126"/>
              <a:gd name="T36" fmla="*/ 95 w 168"/>
              <a:gd name="T37" fmla="*/ 104 h 126"/>
              <a:gd name="T38" fmla="*/ 95 w 168"/>
              <a:gd name="T39" fmla="*/ 41 h 126"/>
              <a:gd name="T40" fmla="*/ 116 w 168"/>
              <a:gd name="T41" fmla="*/ 41 h 126"/>
              <a:gd name="T42" fmla="*/ 116 w 168"/>
              <a:gd name="T43" fmla="*/ 104 h 126"/>
              <a:gd name="T44" fmla="*/ 147 w 168"/>
              <a:gd name="T45" fmla="*/ 104 h 126"/>
              <a:gd name="T46" fmla="*/ 127 w 168"/>
              <a:gd name="T47" fmla="*/ 104 h 126"/>
              <a:gd name="T48" fmla="*/ 127 w 168"/>
              <a:gd name="T49" fmla="*/ 9 h 126"/>
              <a:gd name="T50" fmla="*/ 147 w 168"/>
              <a:gd name="T51" fmla="*/ 9 h 126"/>
              <a:gd name="T52" fmla="*/ 147 w 168"/>
              <a:gd name="T53" fmla="*/ 104 h 12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168" h="126">
                <a:moveTo>
                  <a:pt x="168" y="126"/>
                </a:moveTo>
                <a:lnTo>
                  <a:pt x="0" y="126"/>
                </a:lnTo>
                <a:lnTo>
                  <a:pt x="0" y="0"/>
                </a:lnTo>
                <a:lnTo>
                  <a:pt x="10" y="0"/>
                </a:lnTo>
                <a:lnTo>
                  <a:pt x="10" y="115"/>
                </a:lnTo>
                <a:lnTo>
                  <a:pt x="168" y="115"/>
                </a:lnTo>
                <a:lnTo>
                  <a:pt x="168" y="126"/>
                </a:lnTo>
                <a:close/>
                <a:moveTo>
                  <a:pt x="54" y="104"/>
                </a:moveTo>
                <a:lnTo>
                  <a:pt x="32" y="104"/>
                </a:lnTo>
                <a:lnTo>
                  <a:pt x="32" y="63"/>
                </a:lnTo>
                <a:lnTo>
                  <a:pt x="54" y="63"/>
                </a:lnTo>
                <a:lnTo>
                  <a:pt x="54" y="104"/>
                </a:lnTo>
                <a:close/>
                <a:moveTo>
                  <a:pt x="84" y="104"/>
                </a:moveTo>
                <a:lnTo>
                  <a:pt x="64" y="104"/>
                </a:lnTo>
                <a:lnTo>
                  <a:pt x="64" y="19"/>
                </a:lnTo>
                <a:lnTo>
                  <a:pt x="84" y="19"/>
                </a:lnTo>
                <a:lnTo>
                  <a:pt x="84" y="104"/>
                </a:lnTo>
                <a:close/>
                <a:moveTo>
                  <a:pt x="116" y="104"/>
                </a:moveTo>
                <a:lnTo>
                  <a:pt x="95" y="104"/>
                </a:lnTo>
                <a:lnTo>
                  <a:pt x="95" y="41"/>
                </a:lnTo>
                <a:lnTo>
                  <a:pt x="116" y="41"/>
                </a:lnTo>
                <a:lnTo>
                  <a:pt x="116" y="104"/>
                </a:lnTo>
                <a:close/>
                <a:moveTo>
                  <a:pt x="147" y="104"/>
                </a:moveTo>
                <a:lnTo>
                  <a:pt x="127" y="104"/>
                </a:lnTo>
                <a:lnTo>
                  <a:pt x="127" y="9"/>
                </a:lnTo>
                <a:lnTo>
                  <a:pt x="147" y="9"/>
                </a:lnTo>
                <a:lnTo>
                  <a:pt x="147" y="10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1920" tIns="60960" rIns="121920" bIns="60960"/>
          <a:lstStyle/>
          <a:p>
            <a:endParaRPr lang="en-US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262B1AF5-FF25-E82F-F9AE-E6D8E5E61163}"/>
              </a:ext>
            </a:extLst>
          </p:cNvPr>
          <p:cNvSpPr/>
          <p:nvPr/>
        </p:nvSpPr>
        <p:spPr>
          <a:xfrm>
            <a:off x="6621463" y="4843145"/>
            <a:ext cx="1000125" cy="100012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23FFB3D-A525-13E5-1521-DF90318C317A}"/>
              </a:ext>
            </a:extLst>
          </p:cNvPr>
          <p:cNvSpPr/>
          <p:nvPr/>
        </p:nvSpPr>
        <p:spPr>
          <a:xfrm>
            <a:off x="7714680" y="1269683"/>
            <a:ext cx="4052498" cy="100012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B5D2E1F4-C2DD-3F6C-7FA2-CB2384AA1914}"/>
              </a:ext>
            </a:extLst>
          </p:cNvPr>
          <p:cNvSpPr/>
          <p:nvPr/>
        </p:nvSpPr>
        <p:spPr>
          <a:xfrm>
            <a:off x="7714680" y="2458720"/>
            <a:ext cx="4052498" cy="10001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950968FA-9EB8-B594-7E17-759ACF724B45}"/>
              </a:ext>
            </a:extLst>
          </p:cNvPr>
          <p:cNvSpPr/>
          <p:nvPr/>
        </p:nvSpPr>
        <p:spPr>
          <a:xfrm>
            <a:off x="7714680" y="3654108"/>
            <a:ext cx="4052498" cy="10001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7" name="TextBox 86">
            <a:extLst>
              <a:ext uri="{FF2B5EF4-FFF2-40B4-BE49-F238E27FC236}">
                <a16:creationId xmlns:a16="http://schemas.microsoft.com/office/drawing/2014/main" id="{617395B9-8175-BAD3-A390-C993D671EB9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07008" y="1385570"/>
            <a:ext cx="3928251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89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89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89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89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89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890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890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890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890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b="1" dirty="0">
                <a:solidFill>
                  <a:schemeClr val="bg1"/>
                </a:solidFill>
                <a:latin typeface="+mn-lt"/>
              </a:rPr>
              <a:t>Text here</a:t>
            </a:r>
            <a:endParaRPr lang="en-US" altLang="en-US" sz="1200" dirty="0">
              <a:solidFill>
                <a:schemeClr val="bg1"/>
              </a:solidFill>
              <a:latin typeface="+mn-lt"/>
            </a:endParaRPr>
          </a:p>
          <a:p>
            <a:pPr eaLnBrk="1" hangingPunct="1"/>
            <a:r>
              <a:rPr lang="en-US" altLang="en-US" sz="1400" dirty="0">
                <a:solidFill>
                  <a:schemeClr val="bg1"/>
                </a:solidFill>
                <a:latin typeface="+mn-lt"/>
              </a:rPr>
              <a:t>Insert text</a:t>
            </a:r>
            <a:endParaRPr lang="fr-FR" altLang="en-US" sz="14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0" name="TextBox 86">
            <a:extLst>
              <a:ext uri="{FF2B5EF4-FFF2-40B4-BE49-F238E27FC236}">
                <a16:creationId xmlns:a16="http://schemas.microsoft.com/office/drawing/2014/main" id="{7771BC72-CDEF-D8C6-E37D-2807ECCA71B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07008" y="2588895"/>
            <a:ext cx="3928251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89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89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89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89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89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890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890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890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890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b="1" dirty="0">
                <a:solidFill>
                  <a:schemeClr val="bg1"/>
                </a:solidFill>
                <a:latin typeface="+mn-lt"/>
              </a:rPr>
              <a:t>Text here</a:t>
            </a:r>
          </a:p>
          <a:p>
            <a:pPr eaLnBrk="1" hangingPunct="1"/>
            <a:r>
              <a:rPr lang="en-US" altLang="en-US" sz="1400" dirty="0">
                <a:solidFill>
                  <a:schemeClr val="bg1"/>
                </a:solidFill>
                <a:latin typeface="+mn-lt"/>
              </a:rPr>
              <a:t>Insert text</a:t>
            </a:r>
            <a:endParaRPr lang="fr-FR" altLang="en-US" sz="14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1" name="TextBox 86">
            <a:extLst>
              <a:ext uri="{FF2B5EF4-FFF2-40B4-BE49-F238E27FC236}">
                <a16:creationId xmlns:a16="http://schemas.microsoft.com/office/drawing/2014/main" id="{3C8B6A72-C8E3-3185-98C1-A87E635CCED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07008" y="3765233"/>
            <a:ext cx="3928251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89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89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89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89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89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890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890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890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890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b="1" dirty="0">
                <a:solidFill>
                  <a:schemeClr val="bg1"/>
                </a:solidFill>
                <a:latin typeface="+mn-lt"/>
              </a:rPr>
              <a:t>Text here</a:t>
            </a:r>
          </a:p>
          <a:p>
            <a:pPr eaLnBrk="1" hangingPunct="1"/>
            <a:r>
              <a:rPr lang="en-US" altLang="en-US" sz="1400" dirty="0">
                <a:solidFill>
                  <a:schemeClr val="bg1"/>
                </a:solidFill>
                <a:latin typeface="+mn-lt"/>
              </a:rPr>
              <a:t>Insert text</a:t>
            </a:r>
            <a:endParaRPr lang="fr-FR" altLang="en-US" sz="14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3CED70A9-5CAD-2822-DE61-6A23A4B05B8E}"/>
              </a:ext>
            </a:extLst>
          </p:cNvPr>
          <p:cNvSpPr/>
          <p:nvPr/>
        </p:nvSpPr>
        <p:spPr>
          <a:xfrm>
            <a:off x="7714680" y="4843145"/>
            <a:ext cx="4052498" cy="100012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9" name="TextBox 86">
            <a:extLst>
              <a:ext uri="{FF2B5EF4-FFF2-40B4-BE49-F238E27FC236}">
                <a16:creationId xmlns:a16="http://schemas.microsoft.com/office/drawing/2014/main" id="{64A3BC78-31C1-5768-8405-6BB8B7FC068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07008" y="4968558"/>
            <a:ext cx="3727413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89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89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89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89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89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890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890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890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890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b="1" dirty="0">
                <a:solidFill>
                  <a:schemeClr val="bg1"/>
                </a:solidFill>
                <a:latin typeface="+mn-lt"/>
              </a:rPr>
              <a:t>Text here</a:t>
            </a:r>
          </a:p>
          <a:p>
            <a:pPr eaLnBrk="1" hangingPunct="1"/>
            <a:r>
              <a:rPr lang="en-US" altLang="en-US" sz="1400" dirty="0">
                <a:solidFill>
                  <a:schemeClr val="bg1"/>
                </a:solidFill>
                <a:latin typeface="+mn-lt"/>
              </a:rPr>
              <a:t>Insert text</a:t>
            </a:r>
            <a:endParaRPr lang="fr-FR" altLang="en-US" sz="14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40" name="Freeform 173">
            <a:extLst>
              <a:ext uri="{FF2B5EF4-FFF2-40B4-BE49-F238E27FC236}">
                <a16:creationId xmlns:a16="http://schemas.microsoft.com/office/drawing/2014/main" id="{4D22827E-F7E1-440B-468D-C4D75851F0BB}"/>
              </a:ext>
            </a:extLst>
          </p:cNvPr>
          <p:cNvSpPr>
            <a:spLocks noEditPoints="1"/>
          </p:cNvSpPr>
          <p:nvPr/>
        </p:nvSpPr>
        <p:spPr bwMode="auto">
          <a:xfrm>
            <a:off x="6854825" y="5113020"/>
            <a:ext cx="544513" cy="450850"/>
          </a:xfrm>
          <a:custGeom>
            <a:avLst/>
            <a:gdLst>
              <a:gd name="T0" fmla="*/ 366392 w 73"/>
              <a:gd name="T1" fmla="*/ 135187 h 60"/>
              <a:gd name="T2" fmla="*/ 201890 w 73"/>
              <a:gd name="T3" fmla="*/ 292905 h 60"/>
              <a:gd name="T4" fmla="*/ 209367 w 73"/>
              <a:gd name="T5" fmla="*/ 330457 h 60"/>
              <a:gd name="T6" fmla="*/ 194412 w 73"/>
              <a:gd name="T7" fmla="*/ 330457 h 60"/>
              <a:gd name="T8" fmla="*/ 127116 w 73"/>
              <a:gd name="T9" fmla="*/ 322946 h 60"/>
              <a:gd name="T10" fmla="*/ 59819 w 73"/>
              <a:gd name="T11" fmla="*/ 352988 h 60"/>
              <a:gd name="T12" fmla="*/ 74774 w 73"/>
              <a:gd name="T13" fmla="*/ 300415 h 60"/>
              <a:gd name="T14" fmla="*/ 0 w 73"/>
              <a:gd name="T15" fmla="*/ 165228 h 60"/>
              <a:gd name="T16" fmla="*/ 194412 w 73"/>
              <a:gd name="T17" fmla="*/ 0 h 60"/>
              <a:gd name="T18" fmla="*/ 388825 w 73"/>
              <a:gd name="T19" fmla="*/ 135187 h 60"/>
              <a:gd name="T20" fmla="*/ 366392 w 73"/>
              <a:gd name="T21" fmla="*/ 135187 h 60"/>
              <a:gd name="T22" fmla="*/ 127116 w 73"/>
              <a:gd name="T23" fmla="*/ 82614 h 60"/>
              <a:gd name="T24" fmla="*/ 97206 w 73"/>
              <a:gd name="T25" fmla="*/ 105145 h 60"/>
              <a:gd name="T26" fmla="*/ 127116 w 73"/>
              <a:gd name="T27" fmla="*/ 135187 h 60"/>
              <a:gd name="T28" fmla="*/ 149548 w 73"/>
              <a:gd name="T29" fmla="*/ 105145 h 60"/>
              <a:gd name="T30" fmla="*/ 127116 w 73"/>
              <a:gd name="T31" fmla="*/ 82614 h 60"/>
              <a:gd name="T32" fmla="*/ 478553 w 73"/>
              <a:gd name="T33" fmla="*/ 398050 h 60"/>
              <a:gd name="T34" fmla="*/ 493508 w 73"/>
              <a:gd name="T35" fmla="*/ 450623 h 60"/>
              <a:gd name="T36" fmla="*/ 441166 w 73"/>
              <a:gd name="T37" fmla="*/ 420581 h 60"/>
              <a:gd name="T38" fmla="*/ 381347 w 73"/>
              <a:gd name="T39" fmla="*/ 428092 h 60"/>
              <a:gd name="T40" fmla="*/ 216845 w 73"/>
              <a:gd name="T41" fmla="*/ 285395 h 60"/>
              <a:gd name="T42" fmla="*/ 381347 w 73"/>
              <a:gd name="T43" fmla="*/ 150208 h 60"/>
              <a:gd name="T44" fmla="*/ 545850 w 73"/>
              <a:gd name="T45" fmla="*/ 285395 h 60"/>
              <a:gd name="T46" fmla="*/ 478553 w 73"/>
              <a:gd name="T47" fmla="*/ 398050 h 60"/>
              <a:gd name="T48" fmla="*/ 261709 w 73"/>
              <a:gd name="T49" fmla="*/ 82614 h 60"/>
              <a:gd name="T50" fmla="*/ 231799 w 73"/>
              <a:gd name="T51" fmla="*/ 105145 h 60"/>
              <a:gd name="T52" fmla="*/ 261709 w 73"/>
              <a:gd name="T53" fmla="*/ 135187 h 60"/>
              <a:gd name="T54" fmla="*/ 291618 w 73"/>
              <a:gd name="T55" fmla="*/ 105145 h 60"/>
              <a:gd name="T56" fmla="*/ 261709 w 73"/>
              <a:gd name="T57" fmla="*/ 82614 h 60"/>
              <a:gd name="T58" fmla="*/ 329005 w 73"/>
              <a:gd name="T59" fmla="*/ 225312 h 60"/>
              <a:gd name="T60" fmla="*/ 306573 w 73"/>
              <a:gd name="T61" fmla="*/ 247843 h 60"/>
              <a:gd name="T62" fmla="*/ 329005 w 73"/>
              <a:gd name="T63" fmla="*/ 262863 h 60"/>
              <a:gd name="T64" fmla="*/ 351438 w 73"/>
              <a:gd name="T65" fmla="*/ 247843 h 60"/>
              <a:gd name="T66" fmla="*/ 329005 w 73"/>
              <a:gd name="T67" fmla="*/ 225312 h 60"/>
              <a:gd name="T68" fmla="*/ 433689 w 73"/>
              <a:gd name="T69" fmla="*/ 225312 h 60"/>
              <a:gd name="T70" fmla="*/ 411257 w 73"/>
              <a:gd name="T71" fmla="*/ 247843 h 60"/>
              <a:gd name="T72" fmla="*/ 433689 w 73"/>
              <a:gd name="T73" fmla="*/ 262863 h 60"/>
              <a:gd name="T74" fmla="*/ 456121 w 73"/>
              <a:gd name="T75" fmla="*/ 247843 h 60"/>
              <a:gd name="T76" fmla="*/ 433689 w 73"/>
              <a:gd name="T77" fmla="*/ 225312 h 60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73" h="60">
                <a:moveTo>
                  <a:pt x="49" y="18"/>
                </a:moveTo>
                <a:cubicBezTo>
                  <a:pt x="37" y="18"/>
                  <a:pt x="27" y="27"/>
                  <a:pt x="27" y="39"/>
                </a:cubicBezTo>
                <a:cubicBezTo>
                  <a:pt x="27" y="41"/>
                  <a:pt x="28" y="42"/>
                  <a:pt x="28" y="44"/>
                </a:cubicBezTo>
                <a:cubicBezTo>
                  <a:pt x="27" y="44"/>
                  <a:pt x="26" y="44"/>
                  <a:pt x="26" y="44"/>
                </a:cubicBezTo>
                <a:cubicBezTo>
                  <a:pt x="22" y="44"/>
                  <a:pt x="20" y="44"/>
                  <a:pt x="17" y="43"/>
                </a:cubicBezTo>
                <a:cubicBezTo>
                  <a:pt x="8" y="47"/>
                  <a:pt x="8" y="47"/>
                  <a:pt x="8" y="47"/>
                </a:cubicBezTo>
                <a:cubicBezTo>
                  <a:pt x="10" y="40"/>
                  <a:pt x="10" y="40"/>
                  <a:pt x="10" y="40"/>
                </a:cubicBezTo>
                <a:cubicBezTo>
                  <a:pt x="4" y="35"/>
                  <a:pt x="0" y="29"/>
                  <a:pt x="0" y="22"/>
                </a:cubicBezTo>
                <a:cubicBezTo>
                  <a:pt x="0" y="10"/>
                  <a:pt x="11" y="0"/>
                  <a:pt x="26" y="0"/>
                </a:cubicBezTo>
                <a:cubicBezTo>
                  <a:pt x="38" y="0"/>
                  <a:pt x="50" y="8"/>
                  <a:pt x="52" y="18"/>
                </a:cubicBezTo>
                <a:cubicBezTo>
                  <a:pt x="51" y="18"/>
                  <a:pt x="50" y="18"/>
                  <a:pt x="49" y="18"/>
                </a:cubicBezTo>
                <a:close/>
                <a:moveTo>
                  <a:pt x="17" y="11"/>
                </a:moveTo>
                <a:cubicBezTo>
                  <a:pt x="15" y="11"/>
                  <a:pt x="13" y="12"/>
                  <a:pt x="13" y="14"/>
                </a:cubicBezTo>
                <a:cubicBezTo>
                  <a:pt x="13" y="16"/>
                  <a:pt x="15" y="18"/>
                  <a:pt x="17" y="18"/>
                </a:cubicBezTo>
                <a:cubicBezTo>
                  <a:pt x="19" y="18"/>
                  <a:pt x="20" y="16"/>
                  <a:pt x="20" y="14"/>
                </a:cubicBezTo>
                <a:cubicBezTo>
                  <a:pt x="20" y="12"/>
                  <a:pt x="19" y="11"/>
                  <a:pt x="17" y="11"/>
                </a:cubicBezTo>
                <a:close/>
                <a:moveTo>
                  <a:pt x="64" y="53"/>
                </a:moveTo>
                <a:cubicBezTo>
                  <a:pt x="66" y="60"/>
                  <a:pt x="66" y="60"/>
                  <a:pt x="66" y="60"/>
                </a:cubicBezTo>
                <a:cubicBezTo>
                  <a:pt x="59" y="56"/>
                  <a:pt x="59" y="56"/>
                  <a:pt x="59" y="56"/>
                </a:cubicBezTo>
                <a:cubicBezTo>
                  <a:pt x="56" y="56"/>
                  <a:pt x="53" y="57"/>
                  <a:pt x="51" y="57"/>
                </a:cubicBezTo>
                <a:cubicBezTo>
                  <a:pt x="39" y="57"/>
                  <a:pt x="29" y="49"/>
                  <a:pt x="29" y="38"/>
                </a:cubicBezTo>
                <a:cubicBezTo>
                  <a:pt x="29" y="28"/>
                  <a:pt x="39" y="20"/>
                  <a:pt x="51" y="20"/>
                </a:cubicBezTo>
                <a:cubicBezTo>
                  <a:pt x="63" y="20"/>
                  <a:pt x="73" y="28"/>
                  <a:pt x="73" y="38"/>
                </a:cubicBezTo>
                <a:cubicBezTo>
                  <a:pt x="73" y="44"/>
                  <a:pt x="69" y="49"/>
                  <a:pt x="64" y="53"/>
                </a:cubicBezTo>
                <a:close/>
                <a:moveTo>
                  <a:pt x="35" y="11"/>
                </a:moveTo>
                <a:cubicBezTo>
                  <a:pt x="33" y="11"/>
                  <a:pt x="31" y="12"/>
                  <a:pt x="31" y="14"/>
                </a:cubicBezTo>
                <a:cubicBezTo>
                  <a:pt x="31" y="16"/>
                  <a:pt x="33" y="18"/>
                  <a:pt x="35" y="18"/>
                </a:cubicBezTo>
                <a:cubicBezTo>
                  <a:pt x="37" y="18"/>
                  <a:pt x="39" y="16"/>
                  <a:pt x="39" y="14"/>
                </a:cubicBezTo>
                <a:cubicBezTo>
                  <a:pt x="39" y="12"/>
                  <a:pt x="37" y="11"/>
                  <a:pt x="35" y="11"/>
                </a:cubicBezTo>
                <a:close/>
                <a:moveTo>
                  <a:pt x="44" y="30"/>
                </a:moveTo>
                <a:cubicBezTo>
                  <a:pt x="42" y="30"/>
                  <a:pt x="41" y="31"/>
                  <a:pt x="41" y="33"/>
                </a:cubicBezTo>
                <a:cubicBezTo>
                  <a:pt x="41" y="34"/>
                  <a:pt x="42" y="35"/>
                  <a:pt x="44" y="35"/>
                </a:cubicBezTo>
                <a:cubicBezTo>
                  <a:pt x="46" y="35"/>
                  <a:pt x="47" y="34"/>
                  <a:pt x="47" y="33"/>
                </a:cubicBezTo>
                <a:cubicBezTo>
                  <a:pt x="47" y="31"/>
                  <a:pt x="46" y="30"/>
                  <a:pt x="44" y="30"/>
                </a:cubicBezTo>
                <a:close/>
                <a:moveTo>
                  <a:pt x="58" y="30"/>
                </a:moveTo>
                <a:cubicBezTo>
                  <a:pt x="57" y="30"/>
                  <a:pt x="55" y="31"/>
                  <a:pt x="55" y="33"/>
                </a:cubicBezTo>
                <a:cubicBezTo>
                  <a:pt x="55" y="34"/>
                  <a:pt x="57" y="35"/>
                  <a:pt x="58" y="35"/>
                </a:cubicBezTo>
                <a:cubicBezTo>
                  <a:pt x="60" y="35"/>
                  <a:pt x="61" y="34"/>
                  <a:pt x="61" y="33"/>
                </a:cubicBezTo>
                <a:cubicBezTo>
                  <a:pt x="61" y="31"/>
                  <a:pt x="60" y="30"/>
                  <a:pt x="58" y="3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1920" tIns="60960" rIns="121920" bIns="60960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9089980"/>
      </p:ext>
    </p:extLst>
  </p:cSld>
  <p:clrMapOvr>
    <a:masterClrMapping/>
  </p:clrMapOvr>
</p:sld>
</file>

<file path=ppt/slides/slide1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FADE3E-A79C-5A5C-6696-A2A5074141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BA6944AF-82FD-82A6-B008-AA5371FD105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A6944AF-82FD-82A6-B008-AA5371FD10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C697B11-BCC0-CB76-A8DD-6BDB4E4C1B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tacked Bar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BD999B03-B943-34CF-4BBB-1E293A49AAE0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84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8BBBFA37-08AA-3D49-6ADD-6201A525EF9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24328707"/>
              </p:ext>
            </p:extLst>
          </p:nvPr>
        </p:nvGraphicFramePr>
        <p:xfrm>
          <a:off x="419099" y="978622"/>
          <a:ext cx="10667386" cy="50465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856841398"/>
      </p:ext>
    </p:extLst>
  </p:cSld>
  <p:clrMapOvr>
    <a:masterClrMapping/>
  </p:clrMapOvr>
</p:sld>
</file>

<file path=ppt/slides/slide1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958DE0-8D62-3C29-AD8E-19EF2C9ACB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91AA8002-6669-7EA7-F7C3-10A0633B93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1AA8002-6669-7EA7-F7C3-10A0633B93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085C7E7-D736-9CD3-B88B-5EE0109813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olumn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508382C3-11CC-C3E6-7E8E-EB743D476B95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85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4C0B414F-7721-F052-B45B-40334D7DC53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14422127"/>
              </p:ext>
            </p:extLst>
          </p:nvPr>
        </p:nvGraphicFramePr>
        <p:xfrm>
          <a:off x="419099" y="1467709"/>
          <a:ext cx="10667386" cy="39225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5" name="Oval 4">
            <a:extLst>
              <a:ext uri="{FF2B5EF4-FFF2-40B4-BE49-F238E27FC236}">
                <a16:creationId xmlns:a16="http://schemas.microsoft.com/office/drawing/2014/main" id="{39218DCD-D627-3EF8-3E40-A61076B56C4F}"/>
              </a:ext>
            </a:extLst>
          </p:cNvPr>
          <p:cNvSpPr/>
          <p:nvPr/>
        </p:nvSpPr>
        <p:spPr>
          <a:xfrm>
            <a:off x="4004887" y="5411552"/>
            <a:ext cx="343482" cy="34348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dirty="0">
                <a:solidFill>
                  <a:srgbClr val="FFFFFF"/>
                </a:solidFill>
              </a:rPr>
              <a:t>01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17580E5-0AEC-316C-DB49-DDBE3EF140D6}"/>
              </a:ext>
            </a:extLst>
          </p:cNvPr>
          <p:cNvSpPr txBox="1"/>
          <p:nvPr/>
        </p:nvSpPr>
        <p:spPr>
          <a:xfrm>
            <a:off x="4461859" y="5490962"/>
            <a:ext cx="1419832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dirty="0"/>
              <a:t>Insert Text Here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EA198746-9561-546B-D5DC-EB003409C052}"/>
              </a:ext>
            </a:extLst>
          </p:cNvPr>
          <p:cNvSpPr/>
          <p:nvPr/>
        </p:nvSpPr>
        <p:spPr>
          <a:xfrm>
            <a:off x="6290018" y="5411552"/>
            <a:ext cx="343482" cy="34348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dirty="0">
                <a:solidFill>
                  <a:srgbClr val="FFFFFF"/>
                </a:solidFill>
              </a:rPr>
              <a:t>0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7C50563-0B42-9D9F-D42F-B81FB206D6E4}"/>
              </a:ext>
            </a:extLst>
          </p:cNvPr>
          <p:cNvSpPr txBox="1"/>
          <p:nvPr/>
        </p:nvSpPr>
        <p:spPr>
          <a:xfrm>
            <a:off x="6746993" y="5490962"/>
            <a:ext cx="1476214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dirty="0"/>
              <a:t>Insert Text Here</a:t>
            </a:r>
          </a:p>
        </p:txBody>
      </p:sp>
    </p:spTree>
    <p:extLst>
      <p:ext uri="{BB962C8B-B14F-4D97-AF65-F5344CB8AC3E}">
        <p14:creationId xmlns:p14="http://schemas.microsoft.com/office/powerpoint/2010/main" val="2067507935"/>
      </p:ext>
    </p:extLst>
  </p:cSld>
  <p:clrMapOvr>
    <a:masterClrMapping/>
  </p:clrMapOvr>
</p:sld>
</file>

<file path=ppt/slides/slide1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82C4A6-F746-BD1A-212D-CE330199E7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66A5AECD-BC17-9B58-21FA-36A41451A47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6A5AECD-BC17-9B58-21FA-36A41451A4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3E7AC72-98B3-D306-FC7B-762A4C8A32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lustered Column / Pi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390CFD6D-0A09-13C8-0A12-7E406A817A7F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86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57" name="Shape1_20220715_152516">
            <a:extLst>
              <a:ext uri="{FF2B5EF4-FFF2-40B4-BE49-F238E27FC236}">
                <a16:creationId xmlns:a16="http://schemas.microsoft.com/office/drawing/2014/main" id="{914FAE28-ABFE-DE1C-63ED-2738C3BE570B}"/>
              </a:ext>
            </a:extLst>
          </p:cNvPr>
          <p:cNvSpPr/>
          <p:nvPr/>
        </p:nvSpPr>
        <p:spPr>
          <a:xfrm>
            <a:off x="550226" y="1591386"/>
            <a:ext cx="6706701" cy="1961090"/>
          </a:xfrm>
          <a:prstGeom prst="rect">
            <a:avLst/>
          </a:prstGeom>
          <a:noFill/>
          <a:ln w="12700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88752" tIns="44364" rIns="88752" bIns="44364" anchor="ctr" anchorCtr="0">
            <a:no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165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58" name="Shape0_20220715_152516">
            <a:extLst>
              <a:ext uri="{FF2B5EF4-FFF2-40B4-BE49-F238E27FC236}">
                <a16:creationId xmlns:a16="http://schemas.microsoft.com/office/drawing/2014/main" id="{3A6FFCFD-B163-92DB-C682-F431499DED8D}"/>
              </a:ext>
            </a:extLst>
          </p:cNvPr>
          <p:cNvSpPr/>
          <p:nvPr/>
        </p:nvSpPr>
        <p:spPr>
          <a:xfrm>
            <a:off x="7413863" y="1591386"/>
            <a:ext cx="4274178" cy="1961090"/>
          </a:xfrm>
          <a:prstGeom prst="rect">
            <a:avLst/>
          </a:prstGeom>
          <a:noFill/>
          <a:ln w="12700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88752" tIns="44364" rIns="88752" bIns="44364" anchor="ctr" anchorCtr="0">
            <a:no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165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59" name="Shape0_20220516_185614">
            <a:extLst>
              <a:ext uri="{FF2B5EF4-FFF2-40B4-BE49-F238E27FC236}">
                <a16:creationId xmlns:a16="http://schemas.microsoft.com/office/drawing/2014/main" id="{BB813597-1A8E-5B61-410E-4520FCEB0B8A}"/>
              </a:ext>
            </a:extLst>
          </p:cNvPr>
          <p:cNvSpPr/>
          <p:nvPr/>
        </p:nvSpPr>
        <p:spPr>
          <a:xfrm>
            <a:off x="550226" y="1196446"/>
            <a:ext cx="6706701" cy="402813"/>
          </a:xfrm>
          <a:prstGeom prst="rect">
            <a:avLst/>
          </a:prstGeom>
          <a:solidFill>
            <a:schemeClr val="accent1"/>
          </a:solidFill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88752" tIns="44364" rIns="88752" bIns="44364" anchor="ctr" anchorCtr="0">
            <a:no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white"/>
              </a:buClr>
              <a:buSzPts val="1800"/>
              <a:buFontTx/>
              <a:buNone/>
              <a:tabLst/>
              <a:defRPr/>
            </a:pPr>
            <a:r>
              <a:rPr kumimoji="0" lang="en-US" sz="1537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Title</a:t>
            </a:r>
            <a:endParaRPr kumimoji="0" sz="1537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60" name="Shape1_20220516_185614">
            <a:extLst>
              <a:ext uri="{FF2B5EF4-FFF2-40B4-BE49-F238E27FC236}">
                <a16:creationId xmlns:a16="http://schemas.microsoft.com/office/drawing/2014/main" id="{1582D8C5-AC2F-0C33-BED4-374C488A1610}"/>
              </a:ext>
            </a:extLst>
          </p:cNvPr>
          <p:cNvSpPr/>
          <p:nvPr/>
        </p:nvSpPr>
        <p:spPr>
          <a:xfrm>
            <a:off x="7413863" y="1196446"/>
            <a:ext cx="4274178" cy="402813"/>
          </a:xfrm>
          <a:prstGeom prst="rect">
            <a:avLst/>
          </a:prstGeom>
          <a:solidFill>
            <a:schemeClr val="accent1"/>
          </a:solidFill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88752" tIns="44364" rIns="88752" bIns="44364" anchor="ctr" anchorCtr="0">
            <a:no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white"/>
              </a:buClr>
              <a:buSzPts val="1800"/>
              <a:buFontTx/>
              <a:buNone/>
              <a:tabLst/>
              <a:defRPr/>
            </a:pPr>
            <a:r>
              <a:rPr kumimoji="0" lang="en-US" sz="1537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Title</a:t>
            </a:r>
            <a:endParaRPr kumimoji="0" sz="1537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graphicFrame>
        <p:nvGraphicFramePr>
          <p:cNvPr id="61" name="Shape1_20210204_150637">
            <a:extLst>
              <a:ext uri="{FF2B5EF4-FFF2-40B4-BE49-F238E27FC236}">
                <a16:creationId xmlns:a16="http://schemas.microsoft.com/office/drawing/2014/main" id="{7996E2AE-F2FF-F462-5F62-000932A6065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91060636"/>
              </p:ext>
            </p:extLst>
          </p:nvPr>
        </p:nvGraphicFramePr>
        <p:xfrm>
          <a:off x="580006" y="1666291"/>
          <a:ext cx="6573837" cy="18112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62" name="Google Shape;1760;p42">
            <a:extLst>
              <a:ext uri="{FF2B5EF4-FFF2-40B4-BE49-F238E27FC236}">
                <a16:creationId xmlns:a16="http://schemas.microsoft.com/office/drawing/2014/main" id="{A42257C6-6ADB-39C3-A56D-F9A439D7829C}"/>
              </a:ext>
            </a:extLst>
          </p:cNvPr>
          <p:cNvSpPr/>
          <p:nvPr/>
        </p:nvSpPr>
        <p:spPr>
          <a:xfrm>
            <a:off x="8440559" y="2638065"/>
            <a:ext cx="411504" cy="670679"/>
          </a:xfrm>
          <a:prstGeom prst="downArrow">
            <a:avLst>
              <a:gd name="adj1" fmla="val 50000"/>
              <a:gd name="adj2" fmla="val 50000"/>
            </a:avLst>
          </a:prstGeom>
          <a:solidFill>
            <a:srgbClr val="DA1E28"/>
          </a:solidFill>
          <a:ln>
            <a:noFill/>
          </a:ln>
        </p:spPr>
        <p:txBody>
          <a:bodyPr spcFirstLastPara="1" wrap="square" lIns="88752" tIns="44364" rIns="88752" bIns="44364" anchor="ctr" anchorCtr="0">
            <a:no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165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63" name="Google Shape;1761;p42">
            <a:extLst>
              <a:ext uri="{FF2B5EF4-FFF2-40B4-BE49-F238E27FC236}">
                <a16:creationId xmlns:a16="http://schemas.microsoft.com/office/drawing/2014/main" id="{5A369A0D-49CE-94F3-09C1-380AF54193F5}"/>
              </a:ext>
            </a:extLst>
          </p:cNvPr>
          <p:cNvSpPr/>
          <p:nvPr/>
        </p:nvSpPr>
        <p:spPr>
          <a:xfrm rot="10800000" flipH="1">
            <a:off x="8440559" y="1873661"/>
            <a:ext cx="411504" cy="670679"/>
          </a:xfrm>
          <a:prstGeom prst="downArrow">
            <a:avLst>
              <a:gd name="adj1" fmla="val 50000"/>
              <a:gd name="adj2" fmla="val 50000"/>
            </a:avLst>
          </a:prstGeom>
          <a:solidFill>
            <a:srgbClr val="24A148"/>
          </a:solidFill>
          <a:ln>
            <a:noFill/>
          </a:ln>
        </p:spPr>
        <p:txBody>
          <a:bodyPr spcFirstLastPara="1" wrap="square" lIns="88752" tIns="44364" rIns="88752" bIns="44364" anchor="ctr" anchorCtr="0">
            <a:no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165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64" name="Shape0_20220502_112004">
            <a:extLst>
              <a:ext uri="{FF2B5EF4-FFF2-40B4-BE49-F238E27FC236}">
                <a16:creationId xmlns:a16="http://schemas.microsoft.com/office/drawing/2014/main" id="{2B1F46AF-CDC8-4346-683E-3E8EE0027231}"/>
              </a:ext>
            </a:extLst>
          </p:cNvPr>
          <p:cNvSpPr txBox="1">
            <a:spLocks/>
          </p:cNvSpPr>
          <p:nvPr/>
        </p:nvSpPr>
        <p:spPr>
          <a:xfrm>
            <a:off x="7479364" y="2085910"/>
            <a:ext cx="943656" cy="3600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7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Insert Text Here</a:t>
            </a:r>
            <a:endParaRPr kumimoji="0" sz="117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65" name="Shape1_20220502_112004">
            <a:extLst>
              <a:ext uri="{FF2B5EF4-FFF2-40B4-BE49-F238E27FC236}">
                <a16:creationId xmlns:a16="http://schemas.microsoft.com/office/drawing/2014/main" id="{29A199CB-95CD-560D-8757-DC4D28BB9B0D}"/>
              </a:ext>
            </a:extLst>
          </p:cNvPr>
          <p:cNvSpPr txBox="1">
            <a:spLocks/>
          </p:cNvSpPr>
          <p:nvPr/>
        </p:nvSpPr>
        <p:spPr>
          <a:xfrm>
            <a:off x="7479364" y="1770827"/>
            <a:ext cx="943656" cy="2696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4364" rIns="0" bIns="44364" anchor="b" anchorCtr="0">
            <a:sp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7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XX%</a:t>
            </a:r>
            <a:endParaRPr kumimoji="0" sz="117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66" name="Shape2_20220502_112004">
            <a:extLst>
              <a:ext uri="{FF2B5EF4-FFF2-40B4-BE49-F238E27FC236}">
                <a16:creationId xmlns:a16="http://schemas.microsoft.com/office/drawing/2014/main" id="{F3880429-229C-B3D6-D88A-F7F78E0DFD75}"/>
              </a:ext>
            </a:extLst>
          </p:cNvPr>
          <p:cNvSpPr txBox="1">
            <a:spLocks/>
          </p:cNvSpPr>
          <p:nvPr/>
        </p:nvSpPr>
        <p:spPr>
          <a:xfrm>
            <a:off x="7479364" y="3132808"/>
            <a:ext cx="943656" cy="3600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7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Insert Text Here</a:t>
            </a:r>
            <a:endParaRPr kumimoji="0" sz="117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67" name="Shape3_20220502_112004">
            <a:extLst>
              <a:ext uri="{FF2B5EF4-FFF2-40B4-BE49-F238E27FC236}">
                <a16:creationId xmlns:a16="http://schemas.microsoft.com/office/drawing/2014/main" id="{7AB58316-A5A7-2D80-D409-C9B246799882}"/>
              </a:ext>
            </a:extLst>
          </p:cNvPr>
          <p:cNvSpPr txBox="1">
            <a:spLocks/>
          </p:cNvSpPr>
          <p:nvPr/>
        </p:nvSpPr>
        <p:spPr>
          <a:xfrm>
            <a:off x="7479364" y="2817725"/>
            <a:ext cx="943656" cy="2696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4364" rIns="0" bIns="44364" anchor="b" anchorCtr="0">
            <a:sp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7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XX%</a:t>
            </a:r>
            <a:endParaRPr kumimoji="0" sz="117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68" name="Shape2_20220715_152516">
            <a:extLst>
              <a:ext uri="{FF2B5EF4-FFF2-40B4-BE49-F238E27FC236}">
                <a16:creationId xmlns:a16="http://schemas.microsoft.com/office/drawing/2014/main" id="{87FF3E87-6E4D-A655-2804-E94F2AF1BE1B}"/>
              </a:ext>
            </a:extLst>
          </p:cNvPr>
          <p:cNvSpPr/>
          <p:nvPr/>
        </p:nvSpPr>
        <p:spPr>
          <a:xfrm>
            <a:off x="550235" y="4075842"/>
            <a:ext cx="11144184" cy="1675904"/>
          </a:xfrm>
          <a:prstGeom prst="rect">
            <a:avLst/>
          </a:prstGeom>
          <a:noFill/>
          <a:ln w="12700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88752" tIns="44364" rIns="88752" bIns="44364" anchor="ctr" anchorCtr="0">
            <a:no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975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69" name="Shape2_20220516_185614">
            <a:extLst>
              <a:ext uri="{FF2B5EF4-FFF2-40B4-BE49-F238E27FC236}">
                <a16:creationId xmlns:a16="http://schemas.microsoft.com/office/drawing/2014/main" id="{28830090-C9E9-DB30-77A1-FF7E09F7200B}"/>
              </a:ext>
            </a:extLst>
          </p:cNvPr>
          <p:cNvSpPr/>
          <p:nvPr/>
        </p:nvSpPr>
        <p:spPr>
          <a:xfrm>
            <a:off x="550235" y="3680901"/>
            <a:ext cx="11144184" cy="402813"/>
          </a:xfrm>
          <a:prstGeom prst="rect">
            <a:avLst/>
          </a:prstGeom>
          <a:solidFill>
            <a:schemeClr val="accent2"/>
          </a:solidFill>
          <a:ln w="12700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88752" tIns="44364" rIns="88752" bIns="44364" anchor="ctr" anchorCtr="0">
            <a:no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white"/>
              </a:buClr>
              <a:buSzPts val="1800"/>
              <a:buFontTx/>
              <a:buNone/>
              <a:tabLst/>
              <a:defRPr/>
            </a:pPr>
            <a:r>
              <a:rPr kumimoji="0" lang="en-US" sz="117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Title</a:t>
            </a:r>
            <a:endParaRPr kumimoji="0" sz="117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70" name="Google Shape;1721;p42">
            <a:extLst>
              <a:ext uri="{FF2B5EF4-FFF2-40B4-BE49-F238E27FC236}">
                <a16:creationId xmlns:a16="http://schemas.microsoft.com/office/drawing/2014/main" id="{71626A15-30FB-59BD-758F-A11F7F881956}"/>
              </a:ext>
            </a:extLst>
          </p:cNvPr>
          <p:cNvSpPr/>
          <p:nvPr/>
        </p:nvSpPr>
        <p:spPr>
          <a:xfrm>
            <a:off x="550235" y="4081560"/>
            <a:ext cx="11144184" cy="402813"/>
          </a:xfrm>
          <a:prstGeom prst="rect">
            <a:avLst/>
          </a:prstGeom>
          <a:solidFill>
            <a:schemeClr val="bg2">
              <a:alpha val="50000"/>
            </a:schemeClr>
          </a:solidFill>
          <a:ln w="9525" cap="flat" cmpd="sng" algn="ctr">
            <a:solidFill>
              <a:schemeClr val="bg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defTabSz="88762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975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aphicFrame>
        <p:nvGraphicFramePr>
          <p:cNvPr id="71" name="Shape2_20210204_150637">
            <a:extLst>
              <a:ext uri="{FF2B5EF4-FFF2-40B4-BE49-F238E27FC236}">
                <a16:creationId xmlns:a16="http://schemas.microsoft.com/office/drawing/2014/main" id="{D263DC17-2116-EA2F-6C2E-910A6EF7A0CC}"/>
              </a:ext>
            </a:extLst>
          </p:cNvPr>
          <p:cNvGraphicFramePr/>
          <p:nvPr/>
        </p:nvGraphicFramePr>
        <p:xfrm>
          <a:off x="9233180" y="4492264"/>
          <a:ext cx="2445470" cy="4028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2" name="Shape4_20210204_150637">
            <a:extLst>
              <a:ext uri="{FF2B5EF4-FFF2-40B4-BE49-F238E27FC236}">
                <a16:creationId xmlns:a16="http://schemas.microsoft.com/office/drawing/2014/main" id="{4057AF43-5A71-91AF-8BD4-8D35F8DCC5EB}"/>
              </a:ext>
            </a:extLst>
          </p:cNvPr>
          <p:cNvGraphicFramePr/>
          <p:nvPr/>
        </p:nvGraphicFramePr>
        <p:xfrm>
          <a:off x="9233180" y="5178777"/>
          <a:ext cx="2445470" cy="4028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73" name="Shape1_20220526_175303">
            <a:extLst>
              <a:ext uri="{FF2B5EF4-FFF2-40B4-BE49-F238E27FC236}">
                <a16:creationId xmlns:a16="http://schemas.microsoft.com/office/drawing/2014/main" id="{FD2C3018-D47C-9B4A-8243-05CF01426DB4}"/>
              </a:ext>
            </a:extLst>
          </p:cNvPr>
          <p:cNvSpPr txBox="1"/>
          <p:nvPr/>
        </p:nvSpPr>
        <p:spPr>
          <a:xfrm>
            <a:off x="550234" y="4171046"/>
            <a:ext cx="1487731" cy="2396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8752" tIns="44364" rIns="88752" bIns="44364" anchor="ctr" anchorCtr="0">
            <a:spAutoFit/>
          </a:bodyPr>
          <a:lstStyle/>
          <a:p>
            <a:pPr marL="0" marR="0" lvl="0" indent="0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Insert Text Here</a:t>
            </a:r>
            <a:endParaRPr kumimoji="0" sz="975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74" name="Shape2_20220526_175303">
            <a:extLst>
              <a:ext uri="{FF2B5EF4-FFF2-40B4-BE49-F238E27FC236}">
                <a16:creationId xmlns:a16="http://schemas.microsoft.com/office/drawing/2014/main" id="{B5657F07-EA1D-12EA-3BAC-52F00F1DF98C}"/>
              </a:ext>
            </a:extLst>
          </p:cNvPr>
          <p:cNvSpPr txBox="1"/>
          <p:nvPr/>
        </p:nvSpPr>
        <p:spPr>
          <a:xfrm>
            <a:off x="2267244" y="4171047"/>
            <a:ext cx="1152204" cy="2396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8752" tIns="44364" rIns="88752" bIns="44364" anchor="ctr" anchorCtr="0">
            <a:sp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Insert Text Here</a:t>
            </a:r>
            <a:endParaRPr kumimoji="0" sz="975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75" name="Shape3_20220526_175303">
            <a:extLst>
              <a:ext uri="{FF2B5EF4-FFF2-40B4-BE49-F238E27FC236}">
                <a16:creationId xmlns:a16="http://schemas.microsoft.com/office/drawing/2014/main" id="{74D698FA-5D5C-B15E-5717-FFE8D9C6A645}"/>
              </a:ext>
            </a:extLst>
          </p:cNvPr>
          <p:cNvSpPr txBox="1"/>
          <p:nvPr/>
        </p:nvSpPr>
        <p:spPr>
          <a:xfrm>
            <a:off x="3648727" y="4171047"/>
            <a:ext cx="1152204" cy="2396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8752" tIns="44364" rIns="88752" bIns="44364" anchor="ctr" anchorCtr="0">
            <a:sp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Insert Text Here</a:t>
            </a:r>
            <a:endParaRPr kumimoji="0" sz="975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76" name="Shape0_20220526_175303">
            <a:extLst>
              <a:ext uri="{FF2B5EF4-FFF2-40B4-BE49-F238E27FC236}">
                <a16:creationId xmlns:a16="http://schemas.microsoft.com/office/drawing/2014/main" id="{6E033E62-3BD1-AF8F-C06C-F668F8B8A38C}"/>
              </a:ext>
            </a:extLst>
          </p:cNvPr>
          <p:cNvSpPr txBox="1"/>
          <p:nvPr/>
        </p:nvSpPr>
        <p:spPr>
          <a:xfrm>
            <a:off x="5030212" y="4171047"/>
            <a:ext cx="1152204" cy="2396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8752" tIns="44364" rIns="88752" bIns="44364" anchor="ctr" anchorCtr="0">
            <a:sp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Insert Text Here</a:t>
            </a:r>
            <a:endParaRPr kumimoji="0" sz="975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77" name="Shape4_20220526_175303">
            <a:extLst>
              <a:ext uri="{FF2B5EF4-FFF2-40B4-BE49-F238E27FC236}">
                <a16:creationId xmlns:a16="http://schemas.microsoft.com/office/drawing/2014/main" id="{0838704E-EA5E-7AA2-3F6D-3A062B69ADD6}"/>
              </a:ext>
            </a:extLst>
          </p:cNvPr>
          <p:cNvSpPr txBox="1"/>
          <p:nvPr/>
        </p:nvSpPr>
        <p:spPr>
          <a:xfrm>
            <a:off x="6411695" y="4171047"/>
            <a:ext cx="1152204" cy="2396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8752" tIns="44364" rIns="88752" bIns="44364" anchor="ctr" anchorCtr="0">
            <a:sp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Insert Text Here</a:t>
            </a:r>
            <a:endParaRPr kumimoji="0" sz="975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78" name="Shape5_20220526_175303">
            <a:extLst>
              <a:ext uri="{FF2B5EF4-FFF2-40B4-BE49-F238E27FC236}">
                <a16:creationId xmlns:a16="http://schemas.microsoft.com/office/drawing/2014/main" id="{F61521D0-41C3-24AB-43D7-227C1E01904B}"/>
              </a:ext>
            </a:extLst>
          </p:cNvPr>
          <p:cNvSpPr txBox="1"/>
          <p:nvPr/>
        </p:nvSpPr>
        <p:spPr>
          <a:xfrm>
            <a:off x="7793179" y="4171047"/>
            <a:ext cx="1152204" cy="2396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8752" tIns="44364" rIns="88752" bIns="44364" anchor="ctr" anchorCtr="0">
            <a:sp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Insert Text Here</a:t>
            </a:r>
            <a:endParaRPr kumimoji="0" sz="975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79" name="Shape6_20220526_175303">
            <a:extLst>
              <a:ext uri="{FF2B5EF4-FFF2-40B4-BE49-F238E27FC236}">
                <a16:creationId xmlns:a16="http://schemas.microsoft.com/office/drawing/2014/main" id="{2705BFAC-BBCD-AE36-583B-EA59A2BF9801}"/>
              </a:ext>
            </a:extLst>
          </p:cNvPr>
          <p:cNvSpPr txBox="1"/>
          <p:nvPr/>
        </p:nvSpPr>
        <p:spPr>
          <a:xfrm>
            <a:off x="9263910" y="4171045"/>
            <a:ext cx="2338962" cy="2396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4364" rIns="88752" bIns="44364" anchor="ctr" anchorCtr="0">
            <a:spAutoFit/>
          </a:bodyPr>
          <a:lstStyle/>
          <a:p>
            <a:pPr marL="0" marR="0" lvl="0" indent="0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Insert Text Here</a:t>
            </a:r>
            <a:endParaRPr kumimoji="0" sz="975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80" name="Shape11_20220502_112004">
            <a:extLst>
              <a:ext uri="{FF2B5EF4-FFF2-40B4-BE49-F238E27FC236}">
                <a16:creationId xmlns:a16="http://schemas.microsoft.com/office/drawing/2014/main" id="{18B540C5-93C6-E0F7-9CAA-1FD82B10999D}"/>
              </a:ext>
            </a:extLst>
          </p:cNvPr>
          <p:cNvSpPr txBox="1"/>
          <p:nvPr/>
        </p:nvSpPr>
        <p:spPr>
          <a:xfrm>
            <a:off x="550234" y="4592827"/>
            <a:ext cx="1487731" cy="2200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8752" tIns="44364" rIns="88752" bIns="44364" anchor="ctr" anchorCtr="0">
            <a:noAutofit/>
          </a:bodyPr>
          <a:lstStyle/>
          <a:p>
            <a:pPr marL="0" marR="0" lvl="0" indent="0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Insert Text Here</a:t>
            </a:r>
            <a:endParaRPr kumimoji="0" sz="975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81" name="Shape12_20220502_112004">
            <a:extLst>
              <a:ext uri="{FF2B5EF4-FFF2-40B4-BE49-F238E27FC236}">
                <a16:creationId xmlns:a16="http://schemas.microsoft.com/office/drawing/2014/main" id="{C32211DD-A43F-3C4D-2772-48932CB5EA5F}"/>
              </a:ext>
            </a:extLst>
          </p:cNvPr>
          <p:cNvSpPr txBox="1"/>
          <p:nvPr/>
        </p:nvSpPr>
        <p:spPr>
          <a:xfrm>
            <a:off x="2267244" y="4592827"/>
            <a:ext cx="1152204" cy="2200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8752" tIns="44364" rIns="88752" bIns="44364" anchor="ctr" anchorCtr="0">
            <a:no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XXX</a:t>
            </a:r>
            <a:endParaRPr kumimoji="0" sz="975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82" name="Shape13_20220502_112004">
            <a:extLst>
              <a:ext uri="{FF2B5EF4-FFF2-40B4-BE49-F238E27FC236}">
                <a16:creationId xmlns:a16="http://schemas.microsoft.com/office/drawing/2014/main" id="{A9023D4A-3693-2E85-12D1-C01549CFDE1B}"/>
              </a:ext>
            </a:extLst>
          </p:cNvPr>
          <p:cNvSpPr txBox="1"/>
          <p:nvPr/>
        </p:nvSpPr>
        <p:spPr>
          <a:xfrm>
            <a:off x="3648727" y="4592827"/>
            <a:ext cx="1152204" cy="2200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8752" tIns="44364" rIns="88752" bIns="44364" anchor="ctr" anchorCtr="0">
            <a:no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XXX</a:t>
            </a:r>
            <a:endParaRPr kumimoji="0" sz="975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83" name="Shape14_20220502_112004">
            <a:extLst>
              <a:ext uri="{FF2B5EF4-FFF2-40B4-BE49-F238E27FC236}">
                <a16:creationId xmlns:a16="http://schemas.microsoft.com/office/drawing/2014/main" id="{D2F3AF64-D18A-C395-B6C6-9D67710ABF0A}"/>
              </a:ext>
            </a:extLst>
          </p:cNvPr>
          <p:cNvSpPr txBox="1"/>
          <p:nvPr/>
        </p:nvSpPr>
        <p:spPr>
          <a:xfrm>
            <a:off x="5030212" y="4592827"/>
            <a:ext cx="1152204" cy="2200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8752" tIns="44364" rIns="88752" bIns="44364" anchor="ctr" anchorCtr="0">
            <a:no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XXX</a:t>
            </a:r>
            <a:endParaRPr kumimoji="0" sz="975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84" name="Shape15_20220502_112004">
            <a:extLst>
              <a:ext uri="{FF2B5EF4-FFF2-40B4-BE49-F238E27FC236}">
                <a16:creationId xmlns:a16="http://schemas.microsoft.com/office/drawing/2014/main" id="{455544D9-4BF6-72B2-45B7-2C91E2417CA9}"/>
              </a:ext>
            </a:extLst>
          </p:cNvPr>
          <p:cNvSpPr txBox="1"/>
          <p:nvPr/>
        </p:nvSpPr>
        <p:spPr>
          <a:xfrm>
            <a:off x="6411695" y="4592827"/>
            <a:ext cx="1152204" cy="2200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8752" tIns="44364" rIns="88752" bIns="44364" anchor="ctr" anchorCtr="0">
            <a:no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XXX</a:t>
            </a:r>
            <a:endParaRPr kumimoji="0" sz="975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85" name="Shape16_20220502_112004">
            <a:extLst>
              <a:ext uri="{FF2B5EF4-FFF2-40B4-BE49-F238E27FC236}">
                <a16:creationId xmlns:a16="http://schemas.microsoft.com/office/drawing/2014/main" id="{CFE88E4B-9346-57B9-D624-84235EE4437F}"/>
              </a:ext>
            </a:extLst>
          </p:cNvPr>
          <p:cNvSpPr txBox="1"/>
          <p:nvPr/>
        </p:nvSpPr>
        <p:spPr>
          <a:xfrm>
            <a:off x="7793179" y="4592827"/>
            <a:ext cx="1152204" cy="2200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8752" tIns="44364" rIns="88752" bIns="44364" anchor="ctr" anchorCtr="0">
            <a:no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XXX</a:t>
            </a:r>
            <a:endParaRPr kumimoji="0" sz="975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86" name="Shape23_20220502_112004">
            <a:extLst>
              <a:ext uri="{FF2B5EF4-FFF2-40B4-BE49-F238E27FC236}">
                <a16:creationId xmlns:a16="http://schemas.microsoft.com/office/drawing/2014/main" id="{CA0DAD74-C25D-6805-2945-F997F020C90B}"/>
              </a:ext>
            </a:extLst>
          </p:cNvPr>
          <p:cNvSpPr txBox="1"/>
          <p:nvPr/>
        </p:nvSpPr>
        <p:spPr>
          <a:xfrm>
            <a:off x="550234" y="5284121"/>
            <a:ext cx="1487731" cy="2200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8752" tIns="44364" rIns="88752" bIns="44364" anchor="ctr" anchorCtr="0">
            <a:noAutofit/>
          </a:bodyPr>
          <a:lstStyle/>
          <a:p>
            <a:pPr marL="0" marR="0" lvl="0" indent="0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Insert Text Here</a:t>
            </a:r>
            <a:endParaRPr kumimoji="0" sz="975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87" name="Shape24_20220502_112004">
            <a:extLst>
              <a:ext uri="{FF2B5EF4-FFF2-40B4-BE49-F238E27FC236}">
                <a16:creationId xmlns:a16="http://schemas.microsoft.com/office/drawing/2014/main" id="{2FCD9F12-9782-08C8-2D5C-2F71718F06E9}"/>
              </a:ext>
            </a:extLst>
          </p:cNvPr>
          <p:cNvSpPr txBox="1"/>
          <p:nvPr/>
        </p:nvSpPr>
        <p:spPr>
          <a:xfrm>
            <a:off x="2267244" y="5284121"/>
            <a:ext cx="1152204" cy="2200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8752" tIns="44364" rIns="88752" bIns="44364" anchor="ctr" anchorCtr="0">
            <a:no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XXX</a:t>
            </a:r>
            <a:endParaRPr kumimoji="0" sz="975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88" name="Shape25_20220502_112004">
            <a:extLst>
              <a:ext uri="{FF2B5EF4-FFF2-40B4-BE49-F238E27FC236}">
                <a16:creationId xmlns:a16="http://schemas.microsoft.com/office/drawing/2014/main" id="{0095AC71-B744-3BA6-26A7-42A313ECAE57}"/>
              </a:ext>
            </a:extLst>
          </p:cNvPr>
          <p:cNvSpPr txBox="1"/>
          <p:nvPr/>
        </p:nvSpPr>
        <p:spPr>
          <a:xfrm>
            <a:off x="3648727" y="5284121"/>
            <a:ext cx="1152204" cy="2200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8752" tIns="44364" rIns="88752" bIns="44364" anchor="ctr" anchorCtr="0">
            <a:no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XXX</a:t>
            </a:r>
            <a:endParaRPr kumimoji="0" sz="975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89" name="Shape26_20220502_112004">
            <a:extLst>
              <a:ext uri="{FF2B5EF4-FFF2-40B4-BE49-F238E27FC236}">
                <a16:creationId xmlns:a16="http://schemas.microsoft.com/office/drawing/2014/main" id="{28052B41-2DB2-5E27-884D-190CE308E9E5}"/>
              </a:ext>
            </a:extLst>
          </p:cNvPr>
          <p:cNvSpPr txBox="1"/>
          <p:nvPr/>
        </p:nvSpPr>
        <p:spPr>
          <a:xfrm>
            <a:off x="5030212" y="5284121"/>
            <a:ext cx="1152204" cy="2200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8752" tIns="44364" rIns="88752" bIns="44364" anchor="ctr" anchorCtr="0">
            <a:no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XXX</a:t>
            </a:r>
            <a:endParaRPr kumimoji="0" sz="975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90" name="Shape27_20220502_112004">
            <a:extLst>
              <a:ext uri="{FF2B5EF4-FFF2-40B4-BE49-F238E27FC236}">
                <a16:creationId xmlns:a16="http://schemas.microsoft.com/office/drawing/2014/main" id="{3456A8EA-861D-B586-82D8-71D6F7C76DFE}"/>
              </a:ext>
            </a:extLst>
          </p:cNvPr>
          <p:cNvSpPr txBox="1"/>
          <p:nvPr/>
        </p:nvSpPr>
        <p:spPr>
          <a:xfrm>
            <a:off x="6411695" y="5284121"/>
            <a:ext cx="1152204" cy="2200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8752" tIns="44364" rIns="88752" bIns="44364" anchor="ctr" anchorCtr="0">
            <a:no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XXX</a:t>
            </a:r>
            <a:endParaRPr kumimoji="0" sz="975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91" name="Shape28_20220502_112004">
            <a:extLst>
              <a:ext uri="{FF2B5EF4-FFF2-40B4-BE49-F238E27FC236}">
                <a16:creationId xmlns:a16="http://schemas.microsoft.com/office/drawing/2014/main" id="{77E4F3C8-CE82-3B5B-D444-612220C5E47D}"/>
              </a:ext>
            </a:extLst>
          </p:cNvPr>
          <p:cNvSpPr txBox="1"/>
          <p:nvPr/>
        </p:nvSpPr>
        <p:spPr>
          <a:xfrm>
            <a:off x="7793179" y="5284121"/>
            <a:ext cx="1152204" cy="2200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8752" tIns="44364" rIns="88752" bIns="44364" anchor="ctr" anchorCtr="0">
            <a:no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XXX</a:t>
            </a:r>
            <a:endParaRPr kumimoji="0" sz="975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cxnSp>
        <p:nvCxnSpPr>
          <p:cNvPr id="92" name="Shape3_20220715_152509">
            <a:extLst>
              <a:ext uri="{FF2B5EF4-FFF2-40B4-BE49-F238E27FC236}">
                <a16:creationId xmlns:a16="http://schemas.microsoft.com/office/drawing/2014/main" id="{CAE3287D-C7AE-2F31-ED85-B285DA87F1BA}"/>
              </a:ext>
            </a:extLst>
          </p:cNvPr>
          <p:cNvCxnSpPr/>
          <p:nvPr/>
        </p:nvCxnSpPr>
        <p:spPr>
          <a:xfrm>
            <a:off x="2152599" y="4592831"/>
            <a:ext cx="0" cy="1085149"/>
          </a:xfrm>
          <a:prstGeom prst="straightConnector1">
            <a:avLst/>
          </a:prstGeom>
          <a:noFill/>
          <a:ln w="12700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93" name="Shape4_20220715_152509">
            <a:extLst>
              <a:ext uri="{FF2B5EF4-FFF2-40B4-BE49-F238E27FC236}">
                <a16:creationId xmlns:a16="http://schemas.microsoft.com/office/drawing/2014/main" id="{44740AF5-4F4A-26C2-6D45-BEDE3859AD6D}"/>
              </a:ext>
            </a:extLst>
          </p:cNvPr>
          <p:cNvCxnSpPr/>
          <p:nvPr/>
        </p:nvCxnSpPr>
        <p:spPr>
          <a:xfrm>
            <a:off x="3534082" y="4592831"/>
            <a:ext cx="0" cy="1085149"/>
          </a:xfrm>
          <a:prstGeom prst="straightConnector1">
            <a:avLst/>
          </a:prstGeom>
          <a:noFill/>
          <a:ln w="12700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94" name="Shape5_20220715_152509">
            <a:extLst>
              <a:ext uri="{FF2B5EF4-FFF2-40B4-BE49-F238E27FC236}">
                <a16:creationId xmlns:a16="http://schemas.microsoft.com/office/drawing/2014/main" id="{D094B16F-8B09-3253-1477-0744B485A4EC}"/>
              </a:ext>
            </a:extLst>
          </p:cNvPr>
          <p:cNvCxnSpPr/>
          <p:nvPr/>
        </p:nvCxnSpPr>
        <p:spPr>
          <a:xfrm>
            <a:off x="4915565" y="4592831"/>
            <a:ext cx="0" cy="1085149"/>
          </a:xfrm>
          <a:prstGeom prst="straightConnector1">
            <a:avLst/>
          </a:prstGeom>
          <a:noFill/>
          <a:ln w="12700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95" name="Shape6_20220715_152509">
            <a:extLst>
              <a:ext uri="{FF2B5EF4-FFF2-40B4-BE49-F238E27FC236}">
                <a16:creationId xmlns:a16="http://schemas.microsoft.com/office/drawing/2014/main" id="{713019F1-55F0-12BE-6D06-188925950EAF}"/>
              </a:ext>
            </a:extLst>
          </p:cNvPr>
          <p:cNvCxnSpPr/>
          <p:nvPr/>
        </p:nvCxnSpPr>
        <p:spPr>
          <a:xfrm>
            <a:off x="6297051" y="4592831"/>
            <a:ext cx="0" cy="1085149"/>
          </a:xfrm>
          <a:prstGeom prst="straightConnector1">
            <a:avLst/>
          </a:prstGeom>
          <a:noFill/>
          <a:ln w="12700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96" name="Shape7_20220715_152509">
            <a:extLst>
              <a:ext uri="{FF2B5EF4-FFF2-40B4-BE49-F238E27FC236}">
                <a16:creationId xmlns:a16="http://schemas.microsoft.com/office/drawing/2014/main" id="{F021FCF9-F314-9956-F122-05065367B48D}"/>
              </a:ext>
            </a:extLst>
          </p:cNvPr>
          <p:cNvCxnSpPr/>
          <p:nvPr/>
        </p:nvCxnSpPr>
        <p:spPr>
          <a:xfrm>
            <a:off x="7678537" y="4592831"/>
            <a:ext cx="0" cy="1085149"/>
          </a:xfrm>
          <a:prstGeom prst="straightConnector1">
            <a:avLst/>
          </a:prstGeom>
          <a:noFill/>
          <a:ln w="12700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97" name="Shape0_20220715_152509">
            <a:extLst>
              <a:ext uri="{FF2B5EF4-FFF2-40B4-BE49-F238E27FC236}">
                <a16:creationId xmlns:a16="http://schemas.microsoft.com/office/drawing/2014/main" id="{0B3C0D80-55A5-36ED-1797-5C3E92B906BA}"/>
              </a:ext>
            </a:extLst>
          </p:cNvPr>
          <p:cNvCxnSpPr/>
          <p:nvPr/>
        </p:nvCxnSpPr>
        <p:spPr>
          <a:xfrm>
            <a:off x="9060015" y="4592831"/>
            <a:ext cx="0" cy="1085149"/>
          </a:xfrm>
          <a:prstGeom prst="straightConnector1">
            <a:avLst/>
          </a:prstGeom>
          <a:noFill/>
          <a:ln w="12700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8" name="Shape3_20220502_105029">
            <a:extLst>
              <a:ext uri="{FF2B5EF4-FFF2-40B4-BE49-F238E27FC236}">
                <a16:creationId xmlns:a16="http://schemas.microsoft.com/office/drawing/2014/main" id="{D6B901D3-DAE4-E68E-D51F-54BDE2246BF7}"/>
              </a:ext>
            </a:extLst>
          </p:cNvPr>
          <p:cNvSpPr txBox="1"/>
          <p:nvPr/>
        </p:nvSpPr>
        <p:spPr>
          <a:xfrm>
            <a:off x="10030998" y="4635442"/>
            <a:ext cx="303412" cy="1500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XXX</a:t>
            </a:r>
            <a:endParaRPr kumimoji="0" sz="975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99" name="Google Shape;1767;p42">
            <a:extLst>
              <a:ext uri="{FF2B5EF4-FFF2-40B4-BE49-F238E27FC236}">
                <a16:creationId xmlns:a16="http://schemas.microsoft.com/office/drawing/2014/main" id="{1AB0E070-7E75-3B64-425E-8E98CD75B133}"/>
              </a:ext>
            </a:extLst>
          </p:cNvPr>
          <p:cNvSpPr txBox="1"/>
          <p:nvPr/>
        </p:nvSpPr>
        <p:spPr>
          <a:xfrm>
            <a:off x="10929433" y="4635442"/>
            <a:ext cx="303412" cy="1500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XXX</a:t>
            </a:r>
            <a:endParaRPr kumimoji="0" sz="975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00" name="Shape5_20220502_105029">
            <a:extLst>
              <a:ext uri="{FF2B5EF4-FFF2-40B4-BE49-F238E27FC236}">
                <a16:creationId xmlns:a16="http://schemas.microsoft.com/office/drawing/2014/main" id="{9F7EABE9-256B-855E-5C2F-039ECD433436}"/>
              </a:ext>
            </a:extLst>
          </p:cNvPr>
          <p:cNvSpPr txBox="1"/>
          <p:nvPr/>
        </p:nvSpPr>
        <p:spPr>
          <a:xfrm>
            <a:off x="10250501" y="5321955"/>
            <a:ext cx="303412" cy="1500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XXX</a:t>
            </a:r>
            <a:endParaRPr kumimoji="0" sz="975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101" name="Google Shape;1771;p42">
            <a:extLst>
              <a:ext uri="{FF2B5EF4-FFF2-40B4-BE49-F238E27FC236}">
                <a16:creationId xmlns:a16="http://schemas.microsoft.com/office/drawing/2014/main" id="{F62897C0-8504-DC30-C3A2-5E579E8ED801}"/>
              </a:ext>
            </a:extLst>
          </p:cNvPr>
          <p:cNvSpPr txBox="1"/>
          <p:nvPr/>
        </p:nvSpPr>
        <p:spPr>
          <a:xfrm>
            <a:off x="11148935" y="5321955"/>
            <a:ext cx="303412" cy="1500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XXX</a:t>
            </a:r>
            <a:endParaRPr kumimoji="0" sz="975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cxnSp>
        <p:nvCxnSpPr>
          <p:cNvPr id="102" name="Shape3_20220715_152516">
            <a:extLst>
              <a:ext uri="{FF2B5EF4-FFF2-40B4-BE49-F238E27FC236}">
                <a16:creationId xmlns:a16="http://schemas.microsoft.com/office/drawing/2014/main" id="{55EB8494-9F03-3BB6-7187-46B189F5DAC4}"/>
              </a:ext>
            </a:extLst>
          </p:cNvPr>
          <p:cNvCxnSpPr/>
          <p:nvPr/>
        </p:nvCxnSpPr>
        <p:spPr>
          <a:xfrm>
            <a:off x="2152599" y="4147405"/>
            <a:ext cx="0" cy="271129"/>
          </a:xfrm>
          <a:prstGeom prst="straightConnector1">
            <a:avLst/>
          </a:prstGeom>
          <a:noFill/>
          <a:ln w="12700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103" name="Shape4_20220715_152516">
            <a:extLst>
              <a:ext uri="{FF2B5EF4-FFF2-40B4-BE49-F238E27FC236}">
                <a16:creationId xmlns:a16="http://schemas.microsoft.com/office/drawing/2014/main" id="{010EE6A7-5FE4-5B6B-DCBB-158B20F1BEF6}"/>
              </a:ext>
            </a:extLst>
          </p:cNvPr>
          <p:cNvCxnSpPr/>
          <p:nvPr/>
        </p:nvCxnSpPr>
        <p:spPr>
          <a:xfrm>
            <a:off x="3534082" y="4147405"/>
            <a:ext cx="0" cy="271129"/>
          </a:xfrm>
          <a:prstGeom prst="straightConnector1">
            <a:avLst/>
          </a:prstGeom>
          <a:noFill/>
          <a:ln w="12700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104" name="Shape5_20220715_152516">
            <a:extLst>
              <a:ext uri="{FF2B5EF4-FFF2-40B4-BE49-F238E27FC236}">
                <a16:creationId xmlns:a16="http://schemas.microsoft.com/office/drawing/2014/main" id="{129A2135-6EEA-07E4-7349-EF01629C211C}"/>
              </a:ext>
            </a:extLst>
          </p:cNvPr>
          <p:cNvCxnSpPr/>
          <p:nvPr/>
        </p:nvCxnSpPr>
        <p:spPr>
          <a:xfrm>
            <a:off x="4915565" y="4147405"/>
            <a:ext cx="0" cy="271129"/>
          </a:xfrm>
          <a:prstGeom prst="straightConnector1">
            <a:avLst/>
          </a:prstGeom>
          <a:noFill/>
          <a:ln w="12700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105" name="Shape6_20220715_152516">
            <a:extLst>
              <a:ext uri="{FF2B5EF4-FFF2-40B4-BE49-F238E27FC236}">
                <a16:creationId xmlns:a16="http://schemas.microsoft.com/office/drawing/2014/main" id="{CEC9FEBB-4C8D-B5C2-49E6-8BB39EF4C663}"/>
              </a:ext>
            </a:extLst>
          </p:cNvPr>
          <p:cNvCxnSpPr/>
          <p:nvPr/>
        </p:nvCxnSpPr>
        <p:spPr>
          <a:xfrm>
            <a:off x="6297051" y="4147405"/>
            <a:ext cx="0" cy="271129"/>
          </a:xfrm>
          <a:prstGeom prst="straightConnector1">
            <a:avLst/>
          </a:prstGeom>
          <a:noFill/>
          <a:ln w="12700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106" name="Shape7_20220715_152516">
            <a:extLst>
              <a:ext uri="{FF2B5EF4-FFF2-40B4-BE49-F238E27FC236}">
                <a16:creationId xmlns:a16="http://schemas.microsoft.com/office/drawing/2014/main" id="{09785E0D-8F57-6BD4-0632-ABD59AE72C74}"/>
              </a:ext>
            </a:extLst>
          </p:cNvPr>
          <p:cNvCxnSpPr/>
          <p:nvPr/>
        </p:nvCxnSpPr>
        <p:spPr>
          <a:xfrm>
            <a:off x="7678537" y="4147405"/>
            <a:ext cx="0" cy="271129"/>
          </a:xfrm>
          <a:prstGeom prst="straightConnector1">
            <a:avLst/>
          </a:prstGeom>
          <a:noFill/>
          <a:ln w="12700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107" name="Shape8_20220715_152516">
            <a:extLst>
              <a:ext uri="{FF2B5EF4-FFF2-40B4-BE49-F238E27FC236}">
                <a16:creationId xmlns:a16="http://schemas.microsoft.com/office/drawing/2014/main" id="{5C7D5C3A-9B69-13CA-33E2-B83A162DEEC4}"/>
              </a:ext>
            </a:extLst>
          </p:cNvPr>
          <p:cNvCxnSpPr/>
          <p:nvPr/>
        </p:nvCxnSpPr>
        <p:spPr>
          <a:xfrm>
            <a:off x="9060015" y="4147405"/>
            <a:ext cx="0" cy="271129"/>
          </a:xfrm>
          <a:prstGeom prst="straightConnector1">
            <a:avLst/>
          </a:prstGeom>
          <a:noFill/>
          <a:ln w="12700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  <p:graphicFrame>
        <p:nvGraphicFramePr>
          <p:cNvPr id="108" name="Shape5_20210204_150637">
            <a:extLst>
              <a:ext uri="{FF2B5EF4-FFF2-40B4-BE49-F238E27FC236}">
                <a16:creationId xmlns:a16="http://schemas.microsoft.com/office/drawing/2014/main" id="{BB1C28C1-2B4B-3AB1-CF14-D8BDFFA1562B}"/>
              </a:ext>
            </a:extLst>
          </p:cNvPr>
          <p:cNvGraphicFramePr/>
          <p:nvPr/>
        </p:nvGraphicFramePr>
        <p:xfrm>
          <a:off x="8500358" y="1643896"/>
          <a:ext cx="3110346" cy="18379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1956659284"/>
      </p:ext>
    </p:extLst>
  </p:cSld>
  <p:clrMapOvr>
    <a:masterClrMapping/>
  </p:clrMapOvr>
</p:sld>
</file>

<file path=ppt/slides/slide1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EF002A-E7E2-968E-B65C-9B7AE92B2E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93EA4A3C-ABA1-5B98-39EB-53AE095CA56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3EA4A3C-ABA1-5B98-39EB-53AE095CA5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1D88848-8308-9535-05B9-112B3F1E12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tacked Column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0068956B-055F-3635-6157-D7FC26E8CC11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>
                <a:solidFill>
                  <a:schemeClr val="bg1"/>
                </a:solidFill>
              </a:rPr>
              <a:pPr algn="ctr"/>
              <a:t>187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E2E64282-CC43-68DF-0BAF-46B8BCD29EB6}"/>
              </a:ext>
            </a:extLst>
          </p:cNvPr>
          <p:cNvGraphicFramePr/>
          <p:nvPr/>
        </p:nvGraphicFramePr>
        <p:xfrm>
          <a:off x="419099" y="1559532"/>
          <a:ext cx="10679260" cy="4372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51840166"/>
      </p:ext>
    </p:extLst>
  </p:cSld>
  <p:clrMapOvr>
    <a:masterClrMapping/>
  </p:clrMapOvr>
</p:sld>
</file>

<file path=ppt/slides/slide1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22A858-10B0-7B35-C24C-AB419CB1CF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6C9CEAE5-B7AC-3593-1135-728500BECE1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9CEAE5-B7AC-3593-1135-728500BECE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501AA82-D68C-D564-CC0B-81BFBB8F6F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tacked Column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CB76F52D-36CC-C007-D774-D01CB9F58D31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88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3" name="Chart 34">
            <a:extLst>
              <a:ext uri="{FF2B5EF4-FFF2-40B4-BE49-F238E27FC236}">
                <a16:creationId xmlns:a16="http://schemas.microsoft.com/office/drawing/2014/main" id="{CF9CD9C9-0BEF-47E0-4396-539842FA218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98780288"/>
              </p:ext>
            </p:extLst>
          </p:nvPr>
        </p:nvGraphicFramePr>
        <p:xfrm>
          <a:off x="5932488" y="1365759"/>
          <a:ext cx="5781675" cy="48672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57738F44-8D1B-BDE0-E69C-1A3D2C4B0807}"/>
              </a:ext>
            </a:extLst>
          </p:cNvPr>
          <p:cNvSpPr/>
          <p:nvPr/>
        </p:nvSpPr>
        <p:spPr bwMode="auto">
          <a:xfrm>
            <a:off x="481013" y="1430847"/>
            <a:ext cx="965200" cy="965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8" name="Freeform 120">
            <a:extLst>
              <a:ext uri="{FF2B5EF4-FFF2-40B4-BE49-F238E27FC236}">
                <a16:creationId xmlns:a16="http://schemas.microsoft.com/office/drawing/2014/main" id="{F0A2D2B7-52FF-BCE6-4CE0-64C6164E8C3F}"/>
              </a:ext>
            </a:extLst>
          </p:cNvPr>
          <p:cNvSpPr>
            <a:spLocks noEditPoints="1"/>
          </p:cNvSpPr>
          <p:nvPr/>
        </p:nvSpPr>
        <p:spPr bwMode="auto">
          <a:xfrm>
            <a:off x="732904" y="1662101"/>
            <a:ext cx="461418" cy="461418"/>
          </a:xfrm>
          <a:custGeom>
            <a:avLst/>
            <a:gdLst>
              <a:gd name="T0" fmla="*/ 249238 w 62"/>
              <a:gd name="T1" fmla="*/ 498476 h 62"/>
              <a:gd name="T2" fmla="*/ 0 w 62"/>
              <a:gd name="T3" fmla="*/ 249238 h 62"/>
              <a:gd name="T4" fmla="*/ 249238 w 62"/>
              <a:gd name="T5" fmla="*/ 0 h 62"/>
              <a:gd name="T6" fmla="*/ 498476 w 62"/>
              <a:gd name="T7" fmla="*/ 249238 h 62"/>
              <a:gd name="T8" fmla="*/ 249238 w 62"/>
              <a:gd name="T9" fmla="*/ 498476 h 62"/>
              <a:gd name="T10" fmla="*/ 249238 w 62"/>
              <a:gd name="T11" fmla="*/ 72359 h 62"/>
              <a:gd name="T12" fmla="*/ 72359 w 62"/>
              <a:gd name="T13" fmla="*/ 249238 h 62"/>
              <a:gd name="T14" fmla="*/ 249238 w 62"/>
              <a:gd name="T15" fmla="*/ 426117 h 62"/>
              <a:gd name="T16" fmla="*/ 426117 w 62"/>
              <a:gd name="T17" fmla="*/ 249238 h 62"/>
              <a:gd name="T18" fmla="*/ 249238 w 62"/>
              <a:gd name="T19" fmla="*/ 72359 h 62"/>
              <a:gd name="T20" fmla="*/ 377877 w 62"/>
              <a:gd name="T21" fmla="*/ 273358 h 62"/>
              <a:gd name="T22" fmla="*/ 200998 w 62"/>
              <a:gd name="T23" fmla="*/ 369837 h 62"/>
              <a:gd name="T24" fmla="*/ 192958 w 62"/>
              <a:gd name="T25" fmla="*/ 377877 h 62"/>
              <a:gd name="T26" fmla="*/ 176879 w 62"/>
              <a:gd name="T27" fmla="*/ 369837 h 62"/>
              <a:gd name="T28" fmla="*/ 168839 w 62"/>
              <a:gd name="T29" fmla="*/ 353757 h 62"/>
              <a:gd name="T30" fmla="*/ 168839 w 62"/>
              <a:gd name="T31" fmla="*/ 144719 h 62"/>
              <a:gd name="T32" fmla="*/ 176879 w 62"/>
              <a:gd name="T33" fmla="*/ 128639 h 62"/>
              <a:gd name="T34" fmla="*/ 200998 w 62"/>
              <a:gd name="T35" fmla="*/ 128639 h 62"/>
              <a:gd name="T36" fmla="*/ 377877 w 62"/>
              <a:gd name="T37" fmla="*/ 233158 h 62"/>
              <a:gd name="T38" fmla="*/ 385917 w 62"/>
              <a:gd name="T39" fmla="*/ 249238 h 62"/>
              <a:gd name="T40" fmla="*/ 377877 w 62"/>
              <a:gd name="T41" fmla="*/ 273358 h 62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62" h="62">
                <a:moveTo>
                  <a:pt x="31" y="62"/>
                </a:moveTo>
                <a:cubicBezTo>
                  <a:pt x="14" y="62"/>
                  <a:pt x="0" y="48"/>
                  <a:pt x="0" y="31"/>
                </a:cubicBezTo>
                <a:cubicBezTo>
                  <a:pt x="0" y="14"/>
                  <a:pt x="14" y="0"/>
                  <a:pt x="31" y="0"/>
                </a:cubicBezTo>
                <a:cubicBezTo>
                  <a:pt x="48" y="0"/>
                  <a:pt x="62" y="14"/>
                  <a:pt x="62" y="31"/>
                </a:cubicBezTo>
                <a:cubicBezTo>
                  <a:pt x="62" y="48"/>
                  <a:pt x="48" y="62"/>
                  <a:pt x="31" y="62"/>
                </a:cubicBezTo>
                <a:close/>
                <a:moveTo>
                  <a:pt x="31" y="9"/>
                </a:moveTo>
                <a:cubicBezTo>
                  <a:pt x="19" y="9"/>
                  <a:pt x="9" y="19"/>
                  <a:pt x="9" y="31"/>
                </a:cubicBezTo>
                <a:cubicBezTo>
                  <a:pt x="9" y="43"/>
                  <a:pt x="19" y="53"/>
                  <a:pt x="31" y="53"/>
                </a:cubicBezTo>
                <a:cubicBezTo>
                  <a:pt x="43" y="53"/>
                  <a:pt x="53" y="43"/>
                  <a:pt x="53" y="31"/>
                </a:cubicBezTo>
                <a:cubicBezTo>
                  <a:pt x="53" y="19"/>
                  <a:pt x="43" y="9"/>
                  <a:pt x="31" y="9"/>
                </a:cubicBezTo>
                <a:close/>
                <a:moveTo>
                  <a:pt x="47" y="34"/>
                </a:moveTo>
                <a:cubicBezTo>
                  <a:pt x="25" y="46"/>
                  <a:pt x="25" y="46"/>
                  <a:pt x="25" y="46"/>
                </a:cubicBezTo>
                <a:cubicBezTo>
                  <a:pt x="24" y="47"/>
                  <a:pt x="24" y="47"/>
                  <a:pt x="24" y="47"/>
                </a:cubicBezTo>
                <a:cubicBezTo>
                  <a:pt x="23" y="47"/>
                  <a:pt x="23" y="47"/>
                  <a:pt x="22" y="46"/>
                </a:cubicBezTo>
                <a:cubicBezTo>
                  <a:pt x="22" y="46"/>
                  <a:pt x="21" y="45"/>
                  <a:pt x="21" y="44"/>
                </a:cubicBezTo>
                <a:cubicBezTo>
                  <a:pt x="21" y="18"/>
                  <a:pt x="21" y="18"/>
                  <a:pt x="21" y="18"/>
                </a:cubicBezTo>
                <a:cubicBezTo>
                  <a:pt x="21" y="18"/>
                  <a:pt x="22" y="17"/>
                  <a:pt x="22" y="16"/>
                </a:cubicBezTo>
                <a:cubicBezTo>
                  <a:pt x="23" y="16"/>
                  <a:pt x="24" y="16"/>
                  <a:pt x="25" y="16"/>
                </a:cubicBezTo>
                <a:cubicBezTo>
                  <a:pt x="47" y="29"/>
                  <a:pt x="47" y="29"/>
                  <a:pt x="47" y="29"/>
                </a:cubicBezTo>
                <a:cubicBezTo>
                  <a:pt x="48" y="30"/>
                  <a:pt x="48" y="30"/>
                  <a:pt x="48" y="31"/>
                </a:cubicBezTo>
                <a:cubicBezTo>
                  <a:pt x="48" y="32"/>
                  <a:pt x="48" y="33"/>
                  <a:pt x="47" y="3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1920" tIns="60960" rIns="121920" bIns="60960"/>
          <a:lstStyle/>
          <a:p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EA2EB58-DAE0-AA71-BEB8-834802686FE8}"/>
              </a:ext>
            </a:extLst>
          </p:cNvPr>
          <p:cNvSpPr/>
          <p:nvPr/>
        </p:nvSpPr>
        <p:spPr>
          <a:xfrm>
            <a:off x="481013" y="2608116"/>
            <a:ext cx="965201" cy="9652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005FADB-0F9F-0616-EA23-90502FD1C862}"/>
              </a:ext>
            </a:extLst>
          </p:cNvPr>
          <p:cNvSpPr/>
          <p:nvPr/>
        </p:nvSpPr>
        <p:spPr>
          <a:xfrm>
            <a:off x="481013" y="3786043"/>
            <a:ext cx="965201" cy="96520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F374995-1526-8DD3-408F-F4317F34D5ED}"/>
              </a:ext>
            </a:extLst>
          </p:cNvPr>
          <p:cNvSpPr/>
          <p:nvPr/>
        </p:nvSpPr>
        <p:spPr>
          <a:xfrm>
            <a:off x="481013" y="4963970"/>
            <a:ext cx="965201" cy="96520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8" name="TextBox 86">
            <a:extLst>
              <a:ext uri="{FF2B5EF4-FFF2-40B4-BE49-F238E27FC236}">
                <a16:creationId xmlns:a16="http://schemas.microsoft.com/office/drawing/2014/main" id="{1B6CD638-4331-369E-8884-26F78C5F2A8D}"/>
              </a:ext>
            </a:extLst>
          </p:cNvPr>
          <p:cNvSpPr txBox="1"/>
          <p:nvPr/>
        </p:nvSpPr>
        <p:spPr>
          <a:xfrm>
            <a:off x="1585912" y="1554672"/>
            <a:ext cx="3935413" cy="923330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>
            <a:defPPr>
              <a:defRPr lang="fr-FR"/>
            </a:defPPr>
            <a:lvl1pPr marL="0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9458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89167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83750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7833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72916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7499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6208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56666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b="1" dirty="0">
                <a:solidFill>
                  <a:schemeClr val="accent1"/>
                </a:solidFill>
              </a:rPr>
              <a:t>Insert header</a:t>
            </a:r>
          </a:p>
          <a:p>
            <a:pPr>
              <a:defRPr/>
            </a:pPr>
            <a:r>
              <a:rPr lang="en-US" sz="1400" dirty="0"/>
              <a:t>Insert text Insert text Insert text</a:t>
            </a:r>
          </a:p>
          <a:p>
            <a:pPr>
              <a:defRPr/>
            </a:pPr>
            <a:endParaRPr lang="en-US" sz="1400" dirty="0"/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/>
          </a:p>
        </p:txBody>
      </p:sp>
      <p:sp>
        <p:nvSpPr>
          <p:cNvPr id="19" name="TextBox 86">
            <a:extLst>
              <a:ext uri="{FF2B5EF4-FFF2-40B4-BE49-F238E27FC236}">
                <a16:creationId xmlns:a16="http://schemas.microsoft.com/office/drawing/2014/main" id="{484AD547-C615-C438-3BDC-14935971192E}"/>
              </a:ext>
            </a:extLst>
          </p:cNvPr>
          <p:cNvSpPr txBox="1"/>
          <p:nvPr/>
        </p:nvSpPr>
        <p:spPr>
          <a:xfrm>
            <a:off x="1585912" y="2732597"/>
            <a:ext cx="3887788" cy="7080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>
            <a:defPPr>
              <a:defRPr lang="fr-FR"/>
            </a:defPPr>
            <a:lvl1pPr marL="0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9458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89167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83750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7833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72916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7499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6208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56666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b="1" dirty="0">
                <a:solidFill>
                  <a:schemeClr val="accent2"/>
                </a:solidFill>
              </a:rPr>
              <a:t>Insert header</a:t>
            </a:r>
          </a:p>
          <a:p>
            <a:pPr>
              <a:defRPr/>
            </a:pPr>
            <a:r>
              <a:rPr lang="en-US" sz="1400" dirty="0"/>
              <a:t>Insert text Insert text Insert text</a:t>
            </a:r>
          </a:p>
          <a:p>
            <a:pPr>
              <a:defRPr/>
            </a:pPr>
            <a:endParaRPr lang="en-US" sz="1400" dirty="0"/>
          </a:p>
        </p:txBody>
      </p:sp>
      <p:sp>
        <p:nvSpPr>
          <p:cNvPr id="20" name="TextBox 86">
            <a:extLst>
              <a:ext uri="{FF2B5EF4-FFF2-40B4-BE49-F238E27FC236}">
                <a16:creationId xmlns:a16="http://schemas.microsoft.com/office/drawing/2014/main" id="{A7BFA0DE-0719-52E0-35A8-D8A6BB2460A0}"/>
              </a:ext>
            </a:extLst>
          </p:cNvPr>
          <p:cNvSpPr txBox="1"/>
          <p:nvPr/>
        </p:nvSpPr>
        <p:spPr>
          <a:xfrm>
            <a:off x="1581150" y="3910522"/>
            <a:ext cx="3892550" cy="7080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>
            <a:defPPr>
              <a:defRPr lang="fr-FR"/>
            </a:defPPr>
            <a:lvl1pPr marL="0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9458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89167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83750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7833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72916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7499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6208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56666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b="1" dirty="0">
                <a:solidFill>
                  <a:schemeClr val="accent3"/>
                </a:solidFill>
              </a:rPr>
              <a:t>Insert header</a:t>
            </a:r>
          </a:p>
          <a:p>
            <a:pPr>
              <a:defRPr/>
            </a:pPr>
            <a:r>
              <a:rPr lang="en-US" sz="1400" dirty="0"/>
              <a:t>Insert text Insert text Insert text</a:t>
            </a:r>
          </a:p>
          <a:p>
            <a:pPr>
              <a:defRPr/>
            </a:pPr>
            <a:endParaRPr lang="en-US" sz="1400" dirty="0"/>
          </a:p>
        </p:txBody>
      </p:sp>
      <p:sp>
        <p:nvSpPr>
          <p:cNvPr id="21" name="TextBox 86">
            <a:extLst>
              <a:ext uri="{FF2B5EF4-FFF2-40B4-BE49-F238E27FC236}">
                <a16:creationId xmlns:a16="http://schemas.microsoft.com/office/drawing/2014/main" id="{E2601324-DAE6-D402-57CF-74E1142C0A3E}"/>
              </a:ext>
            </a:extLst>
          </p:cNvPr>
          <p:cNvSpPr txBox="1"/>
          <p:nvPr/>
        </p:nvSpPr>
        <p:spPr>
          <a:xfrm>
            <a:off x="1581150" y="5093209"/>
            <a:ext cx="3892550" cy="7080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>
            <a:defPPr>
              <a:defRPr lang="fr-FR"/>
            </a:defPPr>
            <a:lvl1pPr marL="0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9458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89167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83750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7833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72916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7499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6208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56666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b="1" dirty="0">
                <a:solidFill>
                  <a:schemeClr val="accent4"/>
                </a:solidFill>
              </a:rPr>
              <a:t>Insert header</a:t>
            </a:r>
          </a:p>
          <a:p>
            <a:pPr>
              <a:defRPr/>
            </a:pPr>
            <a:r>
              <a:rPr lang="en-US" sz="1400" dirty="0"/>
              <a:t>Insert text Insert text Insert text</a:t>
            </a:r>
          </a:p>
          <a:p>
            <a:pPr>
              <a:defRPr/>
            </a:pPr>
            <a:endParaRPr lang="en-US" sz="1400" dirty="0"/>
          </a:p>
        </p:txBody>
      </p:sp>
      <p:sp>
        <p:nvSpPr>
          <p:cNvPr id="22" name="Freeform 117">
            <a:extLst>
              <a:ext uri="{FF2B5EF4-FFF2-40B4-BE49-F238E27FC236}">
                <a16:creationId xmlns:a16="http://schemas.microsoft.com/office/drawing/2014/main" id="{A71F66AD-E615-C0AB-FB06-61D449F07931}"/>
              </a:ext>
            </a:extLst>
          </p:cNvPr>
          <p:cNvSpPr>
            <a:spLocks/>
          </p:cNvSpPr>
          <p:nvPr/>
        </p:nvSpPr>
        <p:spPr bwMode="auto">
          <a:xfrm>
            <a:off x="797100" y="2886759"/>
            <a:ext cx="399700" cy="399700"/>
          </a:xfrm>
          <a:custGeom>
            <a:avLst/>
            <a:gdLst>
              <a:gd name="T0" fmla="*/ 424421 w 57"/>
              <a:gd name="T1" fmla="*/ 386526 h 57"/>
              <a:gd name="T2" fmla="*/ 386526 w 57"/>
              <a:gd name="T3" fmla="*/ 416842 h 57"/>
              <a:gd name="T4" fmla="*/ 325895 w 57"/>
              <a:gd name="T5" fmla="*/ 432000 h 57"/>
              <a:gd name="T6" fmla="*/ 250105 w 57"/>
              <a:gd name="T7" fmla="*/ 409263 h 57"/>
              <a:gd name="T8" fmla="*/ 197053 w 57"/>
              <a:gd name="T9" fmla="*/ 386526 h 57"/>
              <a:gd name="T10" fmla="*/ 53053 w 57"/>
              <a:gd name="T11" fmla="*/ 242526 h 57"/>
              <a:gd name="T12" fmla="*/ 22737 w 57"/>
              <a:gd name="T13" fmla="*/ 189474 h 57"/>
              <a:gd name="T14" fmla="*/ 0 w 57"/>
              <a:gd name="T15" fmla="*/ 106105 h 57"/>
              <a:gd name="T16" fmla="*/ 22737 w 57"/>
              <a:gd name="T17" fmla="*/ 53053 h 57"/>
              <a:gd name="T18" fmla="*/ 53053 w 57"/>
              <a:gd name="T19" fmla="*/ 15158 h 57"/>
              <a:gd name="T20" fmla="*/ 90947 w 57"/>
              <a:gd name="T21" fmla="*/ 0 h 57"/>
              <a:gd name="T22" fmla="*/ 98526 w 57"/>
              <a:gd name="T23" fmla="*/ 7579 h 57"/>
              <a:gd name="T24" fmla="*/ 113684 w 57"/>
              <a:gd name="T25" fmla="*/ 30316 h 57"/>
              <a:gd name="T26" fmla="*/ 144000 w 57"/>
              <a:gd name="T27" fmla="*/ 75789 h 57"/>
              <a:gd name="T28" fmla="*/ 159158 w 57"/>
              <a:gd name="T29" fmla="*/ 106105 h 57"/>
              <a:gd name="T30" fmla="*/ 106105 w 57"/>
              <a:gd name="T31" fmla="*/ 166737 h 57"/>
              <a:gd name="T32" fmla="*/ 113684 w 57"/>
              <a:gd name="T33" fmla="*/ 197053 h 57"/>
              <a:gd name="T34" fmla="*/ 242526 w 57"/>
              <a:gd name="T35" fmla="*/ 318316 h 57"/>
              <a:gd name="T36" fmla="*/ 265263 w 57"/>
              <a:gd name="T37" fmla="*/ 333474 h 57"/>
              <a:gd name="T38" fmla="*/ 325895 w 57"/>
              <a:gd name="T39" fmla="*/ 272842 h 57"/>
              <a:gd name="T40" fmla="*/ 356211 w 57"/>
              <a:gd name="T41" fmla="*/ 288000 h 57"/>
              <a:gd name="T42" fmla="*/ 409263 w 57"/>
              <a:gd name="T43" fmla="*/ 318316 h 57"/>
              <a:gd name="T44" fmla="*/ 432000 w 57"/>
              <a:gd name="T45" fmla="*/ 333474 h 57"/>
              <a:gd name="T46" fmla="*/ 432000 w 57"/>
              <a:gd name="T47" fmla="*/ 341053 h 57"/>
              <a:gd name="T48" fmla="*/ 424421 w 57"/>
              <a:gd name="T49" fmla="*/ 386526 h 57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57" h="57">
                <a:moveTo>
                  <a:pt x="56" y="51"/>
                </a:moveTo>
                <a:cubicBezTo>
                  <a:pt x="55" y="53"/>
                  <a:pt x="53" y="54"/>
                  <a:pt x="51" y="55"/>
                </a:cubicBezTo>
                <a:cubicBezTo>
                  <a:pt x="49" y="56"/>
                  <a:pt x="46" y="57"/>
                  <a:pt x="43" y="57"/>
                </a:cubicBezTo>
                <a:cubicBezTo>
                  <a:pt x="40" y="57"/>
                  <a:pt x="36" y="55"/>
                  <a:pt x="33" y="54"/>
                </a:cubicBezTo>
                <a:cubicBezTo>
                  <a:pt x="30" y="53"/>
                  <a:pt x="28" y="52"/>
                  <a:pt x="26" y="51"/>
                </a:cubicBezTo>
                <a:cubicBezTo>
                  <a:pt x="19" y="47"/>
                  <a:pt x="11" y="38"/>
                  <a:pt x="7" y="32"/>
                </a:cubicBezTo>
                <a:cubicBezTo>
                  <a:pt x="5" y="29"/>
                  <a:pt x="4" y="27"/>
                  <a:pt x="3" y="25"/>
                </a:cubicBezTo>
                <a:cubicBezTo>
                  <a:pt x="2" y="21"/>
                  <a:pt x="0" y="18"/>
                  <a:pt x="0" y="14"/>
                </a:cubicBezTo>
                <a:cubicBezTo>
                  <a:pt x="0" y="11"/>
                  <a:pt x="1" y="9"/>
                  <a:pt x="3" y="7"/>
                </a:cubicBezTo>
                <a:cubicBezTo>
                  <a:pt x="4" y="5"/>
                  <a:pt x="5" y="3"/>
                  <a:pt x="7" y="2"/>
                </a:cubicBezTo>
                <a:cubicBezTo>
                  <a:pt x="8" y="1"/>
                  <a:pt x="11" y="0"/>
                  <a:pt x="12" y="0"/>
                </a:cubicBezTo>
                <a:cubicBezTo>
                  <a:pt x="13" y="0"/>
                  <a:pt x="13" y="0"/>
                  <a:pt x="13" y="1"/>
                </a:cubicBezTo>
                <a:cubicBezTo>
                  <a:pt x="14" y="1"/>
                  <a:pt x="15" y="3"/>
                  <a:pt x="15" y="4"/>
                </a:cubicBezTo>
                <a:cubicBezTo>
                  <a:pt x="17" y="6"/>
                  <a:pt x="18" y="8"/>
                  <a:pt x="19" y="10"/>
                </a:cubicBezTo>
                <a:cubicBezTo>
                  <a:pt x="20" y="12"/>
                  <a:pt x="21" y="13"/>
                  <a:pt x="21" y="14"/>
                </a:cubicBezTo>
                <a:cubicBezTo>
                  <a:pt x="21" y="17"/>
                  <a:pt x="14" y="20"/>
                  <a:pt x="14" y="22"/>
                </a:cubicBezTo>
                <a:cubicBezTo>
                  <a:pt x="14" y="23"/>
                  <a:pt x="15" y="25"/>
                  <a:pt x="15" y="26"/>
                </a:cubicBezTo>
                <a:cubicBezTo>
                  <a:pt x="19" y="33"/>
                  <a:pt x="24" y="38"/>
                  <a:pt x="32" y="42"/>
                </a:cubicBezTo>
                <a:cubicBezTo>
                  <a:pt x="33" y="43"/>
                  <a:pt x="34" y="44"/>
                  <a:pt x="35" y="44"/>
                </a:cubicBezTo>
                <a:cubicBezTo>
                  <a:pt x="37" y="44"/>
                  <a:pt x="41" y="36"/>
                  <a:pt x="43" y="36"/>
                </a:cubicBezTo>
                <a:cubicBezTo>
                  <a:pt x="45" y="36"/>
                  <a:pt x="46" y="38"/>
                  <a:pt x="47" y="38"/>
                </a:cubicBezTo>
                <a:cubicBezTo>
                  <a:pt x="49" y="40"/>
                  <a:pt x="52" y="41"/>
                  <a:pt x="54" y="42"/>
                </a:cubicBezTo>
                <a:cubicBezTo>
                  <a:pt x="55" y="43"/>
                  <a:pt x="57" y="43"/>
                  <a:pt x="57" y="44"/>
                </a:cubicBezTo>
                <a:cubicBezTo>
                  <a:pt x="57" y="45"/>
                  <a:pt x="57" y="45"/>
                  <a:pt x="57" y="45"/>
                </a:cubicBezTo>
                <a:cubicBezTo>
                  <a:pt x="57" y="47"/>
                  <a:pt x="56" y="49"/>
                  <a:pt x="56" y="5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1920" tIns="60960" rIns="121920" bIns="60960"/>
          <a:lstStyle/>
          <a:p>
            <a:endParaRPr lang="en-US"/>
          </a:p>
        </p:txBody>
      </p:sp>
      <p:sp>
        <p:nvSpPr>
          <p:cNvPr id="23" name="Freeform 90">
            <a:extLst>
              <a:ext uri="{FF2B5EF4-FFF2-40B4-BE49-F238E27FC236}">
                <a16:creationId xmlns:a16="http://schemas.microsoft.com/office/drawing/2014/main" id="{268C3917-0309-5459-76FC-5DEEB86AF8A8}"/>
              </a:ext>
            </a:extLst>
          </p:cNvPr>
          <p:cNvSpPr>
            <a:spLocks noEditPoints="1"/>
          </p:cNvSpPr>
          <p:nvPr/>
        </p:nvSpPr>
        <p:spPr bwMode="auto">
          <a:xfrm>
            <a:off x="797986" y="4089784"/>
            <a:ext cx="421742" cy="352676"/>
          </a:xfrm>
          <a:custGeom>
            <a:avLst/>
            <a:gdLst>
              <a:gd name="T0" fmla="*/ 435274 w 67"/>
              <a:gd name="T1" fmla="*/ 298590 h 56"/>
              <a:gd name="T2" fmla="*/ 231239 w 67"/>
              <a:gd name="T3" fmla="*/ 380024 h 56"/>
              <a:gd name="T4" fmla="*/ 13602 w 67"/>
              <a:gd name="T5" fmla="*/ 298590 h 56"/>
              <a:gd name="T6" fmla="*/ 0 w 67"/>
              <a:gd name="T7" fmla="*/ 210370 h 56"/>
              <a:gd name="T8" fmla="*/ 34006 w 67"/>
              <a:gd name="T9" fmla="*/ 101792 h 56"/>
              <a:gd name="T10" fmla="*/ 27205 w 67"/>
              <a:gd name="T11" fmla="*/ 54289 h 56"/>
              <a:gd name="T12" fmla="*/ 40807 w 67"/>
              <a:gd name="T13" fmla="*/ 0 h 56"/>
              <a:gd name="T14" fmla="*/ 142824 w 67"/>
              <a:gd name="T15" fmla="*/ 40717 h 56"/>
              <a:gd name="T16" fmla="*/ 231239 w 67"/>
              <a:gd name="T17" fmla="*/ 33931 h 56"/>
              <a:gd name="T18" fmla="*/ 306052 w 67"/>
              <a:gd name="T19" fmla="*/ 40717 h 56"/>
              <a:gd name="T20" fmla="*/ 408069 w 67"/>
              <a:gd name="T21" fmla="*/ 0 h 56"/>
              <a:gd name="T22" fmla="*/ 421671 w 67"/>
              <a:gd name="T23" fmla="*/ 54289 h 56"/>
              <a:gd name="T24" fmla="*/ 414870 w 67"/>
              <a:gd name="T25" fmla="*/ 101792 h 56"/>
              <a:gd name="T26" fmla="*/ 455677 w 67"/>
              <a:gd name="T27" fmla="*/ 210370 h 56"/>
              <a:gd name="T28" fmla="*/ 435274 w 67"/>
              <a:gd name="T29" fmla="*/ 298590 h 56"/>
              <a:gd name="T30" fmla="*/ 319654 w 67"/>
              <a:gd name="T31" fmla="*/ 183226 h 56"/>
              <a:gd name="T32" fmla="*/ 265245 w 67"/>
              <a:gd name="T33" fmla="*/ 183226 h 56"/>
              <a:gd name="T34" fmla="*/ 224438 w 67"/>
              <a:gd name="T35" fmla="*/ 190012 h 56"/>
              <a:gd name="T36" fmla="*/ 183631 w 67"/>
              <a:gd name="T37" fmla="*/ 183226 h 56"/>
              <a:gd name="T38" fmla="*/ 129222 w 67"/>
              <a:gd name="T39" fmla="*/ 183226 h 56"/>
              <a:gd name="T40" fmla="*/ 61210 w 67"/>
              <a:gd name="T41" fmla="*/ 257873 h 56"/>
              <a:gd name="T42" fmla="*/ 204034 w 67"/>
              <a:gd name="T43" fmla="*/ 352879 h 56"/>
              <a:gd name="T44" fmla="*/ 251643 w 67"/>
              <a:gd name="T45" fmla="*/ 352879 h 56"/>
              <a:gd name="T46" fmla="*/ 394467 w 67"/>
              <a:gd name="T47" fmla="*/ 257873 h 56"/>
              <a:gd name="T48" fmla="*/ 319654 w 67"/>
              <a:gd name="T49" fmla="*/ 183226 h 56"/>
              <a:gd name="T50" fmla="*/ 136023 w 67"/>
              <a:gd name="T51" fmla="*/ 312163 h 56"/>
              <a:gd name="T52" fmla="*/ 102017 w 67"/>
              <a:gd name="T53" fmla="*/ 257873 h 56"/>
              <a:gd name="T54" fmla="*/ 136023 w 67"/>
              <a:gd name="T55" fmla="*/ 203584 h 56"/>
              <a:gd name="T56" fmla="*/ 170029 w 67"/>
              <a:gd name="T57" fmla="*/ 257873 h 56"/>
              <a:gd name="T58" fmla="*/ 136023 w 67"/>
              <a:gd name="T59" fmla="*/ 312163 h 56"/>
              <a:gd name="T60" fmla="*/ 312853 w 67"/>
              <a:gd name="T61" fmla="*/ 312163 h 56"/>
              <a:gd name="T62" fmla="*/ 278847 w 67"/>
              <a:gd name="T63" fmla="*/ 257873 h 56"/>
              <a:gd name="T64" fmla="*/ 312853 w 67"/>
              <a:gd name="T65" fmla="*/ 203584 h 56"/>
              <a:gd name="T66" fmla="*/ 346859 w 67"/>
              <a:gd name="T67" fmla="*/ 257873 h 56"/>
              <a:gd name="T68" fmla="*/ 312853 w 67"/>
              <a:gd name="T69" fmla="*/ 312163 h 5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67" h="56">
                <a:moveTo>
                  <a:pt x="64" y="44"/>
                </a:moveTo>
                <a:cubicBezTo>
                  <a:pt x="59" y="55"/>
                  <a:pt x="44" y="56"/>
                  <a:pt x="34" y="56"/>
                </a:cubicBezTo>
                <a:cubicBezTo>
                  <a:pt x="23" y="56"/>
                  <a:pt x="8" y="55"/>
                  <a:pt x="2" y="44"/>
                </a:cubicBezTo>
                <a:cubicBezTo>
                  <a:pt x="0" y="40"/>
                  <a:pt x="0" y="36"/>
                  <a:pt x="0" y="31"/>
                </a:cubicBezTo>
                <a:cubicBezTo>
                  <a:pt x="0" y="25"/>
                  <a:pt x="1" y="20"/>
                  <a:pt x="5" y="15"/>
                </a:cubicBezTo>
                <a:cubicBezTo>
                  <a:pt x="4" y="13"/>
                  <a:pt x="4" y="11"/>
                  <a:pt x="4" y="8"/>
                </a:cubicBezTo>
                <a:cubicBezTo>
                  <a:pt x="4" y="5"/>
                  <a:pt x="5" y="2"/>
                  <a:pt x="6" y="0"/>
                </a:cubicBezTo>
                <a:cubicBezTo>
                  <a:pt x="13" y="0"/>
                  <a:pt x="17" y="2"/>
                  <a:pt x="21" y="6"/>
                </a:cubicBezTo>
                <a:cubicBezTo>
                  <a:pt x="25" y="5"/>
                  <a:pt x="30" y="5"/>
                  <a:pt x="34" y="5"/>
                </a:cubicBezTo>
                <a:cubicBezTo>
                  <a:pt x="38" y="5"/>
                  <a:pt x="41" y="5"/>
                  <a:pt x="45" y="6"/>
                </a:cubicBezTo>
                <a:cubicBezTo>
                  <a:pt x="50" y="2"/>
                  <a:pt x="54" y="0"/>
                  <a:pt x="60" y="0"/>
                </a:cubicBezTo>
                <a:cubicBezTo>
                  <a:pt x="62" y="2"/>
                  <a:pt x="62" y="5"/>
                  <a:pt x="62" y="8"/>
                </a:cubicBezTo>
                <a:cubicBezTo>
                  <a:pt x="62" y="11"/>
                  <a:pt x="62" y="13"/>
                  <a:pt x="61" y="15"/>
                </a:cubicBezTo>
                <a:cubicBezTo>
                  <a:pt x="65" y="20"/>
                  <a:pt x="67" y="25"/>
                  <a:pt x="67" y="31"/>
                </a:cubicBezTo>
                <a:cubicBezTo>
                  <a:pt x="67" y="36"/>
                  <a:pt x="66" y="40"/>
                  <a:pt x="64" y="44"/>
                </a:cubicBezTo>
                <a:close/>
                <a:moveTo>
                  <a:pt x="47" y="27"/>
                </a:moveTo>
                <a:cubicBezTo>
                  <a:pt x="45" y="27"/>
                  <a:pt x="42" y="27"/>
                  <a:pt x="39" y="27"/>
                </a:cubicBezTo>
                <a:cubicBezTo>
                  <a:pt x="37" y="28"/>
                  <a:pt x="35" y="28"/>
                  <a:pt x="33" y="28"/>
                </a:cubicBezTo>
                <a:cubicBezTo>
                  <a:pt x="31" y="28"/>
                  <a:pt x="29" y="28"/>
                  <a:pt x="27" y="27"/>
                </a:cubicBezTo>
                <a:cubicBezTo>
                  <a:pt x="24" y="27"/>
                  <a:pt x="22" y="27"/>
                  <a:pt x="19" y="27"/>
                </a:cubicBezTo>
                <a:cubicBezTo>
                  <a:pt x="12" y="27"/>
                  <a:pt x="9" y="32"/>
                  <a:pt x="9" y="38"/>
                </a:cubicBezTo>
                <a:cubicBezTo>
                  <a:pt x="9" y="50"/>
                  <a:pt x="20" y="52"/>
                  <a:pt x="30" y="52"/>
                </a:cubicBezTo>
                <a:cubicBezTo>
                  <a:pt x="37" y="52"/>
                  <a:pt x="37" y="52"/>
                  <a:pt x="37" y="52"/>
                </a:cubicBezTo>
                <a:cubicBezTo>
                  <a:pt x="46" y="52"/>
                  <a:pt x="58" y="50"/>
                  <a:pt x="58" y="38"/>
                </a:cubicBezTo>
                <a:cubicBezTo>
                  <a:pt x="58" y="32"/>
                  <a:pt x="54" y="27"/>
                  <a:pt x="47" y="27"/>
                </a:cubicBezTo>
                <a:close/>
                <a:moveTo>
                  <a:pt x="20" y="46"/>
                </a:moveTo>
                <a:cubicBezTo>
                  <a:pt x="17" y="46"/>
                  <a:pt x="15" y="41"/>
                  <a:pt x="15" y="38"/>
                </a:cubicBezTo>
                <a:cubicBezTo>
                  <a:pt x="15" y="35"/>
                  <a:pt x="17" y="30"/>
                  <a:pt x="20" y="30"/>
                </a:cubicBezTo>
                <a:cubicBezTo>
                  <a:pt x="24" y="30"/>
                  <a:pt x="25" y="35"/>
                  <a:pt x="25" y="38"/>
                </a:cubicBezTo>
                <a:cubicBezTo>
                  <a:pt x="25" y="41"/>
                  <a:pt x="24" y="46"/>
                  <a:pt x="20" y="46"/>
                </a:cubicBezTo>
                <a:close/>
                <a:moveTo>
                  <a:pt x="46" y="46"/>
                </a:moveTo>
                <a:cubicBezTo>
                  <a:pt x="42" y="46"/>
                  <a:pt x="41" y="41"/>
                  <a:pt x="41" y="38"/>
                </a:cubicBezTo>
                <a:cubicBezTo>
                  <a:pt x="41" y="35"/>
                  <a:pt x="42" y="30"/>
                  <a:pt x="46" y="30"/>
                </a:cubicBezTo>
                <a:cubicBezTo>
                  <a:pt x="50" y="30"/>
                  <a:pt x="51" y="35"/>
                  <a:pt x="51" y="38"/>
                </a:cubicBezTo>
                <a:cubicBezTo>
                  <a:pt x="51" y="41"/>
                  <a:pt x="50" y="46"/>
                  <a:pt x="46" y="4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1920" tIns="60960" rIns="121920" bIns="60960"/>
          <a:lstStyle/>
          <a:p>
            <a:endParaRPr lang="en-US"/>
          </a:p>
        </p:txBody>
      </p:sp>
      <p:sp>
        <p:nvSpPr>
          <p:cNvPr id="24" name="Freeform 122">
            <a:extLst>
              <a:ext uri="{FF2B5EF4-FFF2-40B4-BE49-F238E27FC236}">
                <a16:creationId xmlns:a16="http://schemas.microsoft.com/office/drawing/2014/main" id="{9515B83F-3DC4-D8E4-1E3A-02E41BAFC2E3}"/>
              </a:ext>
            </a:extLst>
          </p:cNvPr>
          <p:cNvSpPr>
            <a:spLocks noEditPoints="1"/>
          </p:cNvSpPr>
          <p:nvPr/>
        </p:nvSpPr>
        <p:spPr bwMode="auto">
          <a:xfrm>
            <a:off x="838364" y="5216454"/>
            <a:ext cx="320348" cy="459948"/>
          </a:xfrm>
          <a:custGeom>
            <a:avLst/>
            <a:gdLst>
              <a:gd name="T0" fmla="*/ 346075 w 41"/>
              <a:gd name="T1" fmla="*/ 244233 h 59"/>
              <a:gd name="T2" fmla="*/ 194140 w 41"/>
              <a:gd name="T3" fmla="*/ 421091 h 59"/>
              <a:gd name="T4" fmla="*/ 194140 w 41"/>
              <a:gd name="T5" fmla="*/ 463200 h 59"/>
              <a:gd name="T6" fmla="*/ 270107 w 41"/>
              <a:gd name="T7" fmla="*/ 463200 h 59"/>
              <a:gd name="T8" fmla="*/ 286989 w 41"/>
              <a:gd name="T9" fmla="*/ 480043 h 59"/>
              <a:gd name="T10" fmla="*/ 270107 w 41"/>
              <a:gd name="T11" fmla="*/ 496887 h 59"/>
              <a:gd name="T12" fmla="*/ 75968 w 41"/>
              <a:gd name="T13" fmla="*/ 496887 h 59"/>
              <a:gd name="T14" fmla="*/ 59086 w 41"/>
              <a:gd name="T15" fmla="*/ 480043 h 59"/>
              <a:gd name="T16" fmla="*/ 75968 w 41"/>
              <a:gd name="T17" fmla="*/ 463200 h 59"/>
              <a:gd name="T18" fmla="*/ 151935 w 41"/>
              <a:gd name="T19" fmla="*/ 463200 h 59"/>
              <a:gd name="T20" fmla="*/ 151935 w 41"/>
              <a:gd name="T21" fmla="*/ 421091 h 59"/>
              <a:gd name="T22" fmla="*/ 0 w 41"/>
              <a:gd name="T23" fmla="*/ 244233 h 59"/>
              <a:gd name="T24" fmla="*/ 0 w 41"/>
              <a:gd name="T25" fmla="*/ 210545 h 59"/>
              <a:gd name="T26" fmla="*/ 16882 w 41"/>
              <a:gd name="T27" fmla="*/ 193702 h 59"/>
              <a:gd name="T28" fmla="*/ 33763 w 41"/>
              <a:gd name="T29" fmla="*/ 210545 h 59"/>
              <a:gd name="T30" fmla="*/ 33763 w 41"/>
              <a:gd name="T31" fmla="*/ 244233 h 59"/>
              <a:gd name="T32" fmla="*/ 168817 w 41"/>
              <a:gd name="T33" fmla="*/ 378982 h 59"/>
              <a:gd name="T34" fmla="*/ 303871 w 41"/>
              <a:gd name="T35" fmla="*/ 244233 h 59"/>
              <a:gd name="T36" fmla="*/ 303871 w 41"/>
              <a:gd name="T37" fmla="*/ 210545 h 59"/>
              <a:gd name="T38" fmla="*/ 329193 w 41"/>
              <a:gd name="T39" fmla="*/ 193702 h 59"/>
              <a:gd name="T40" fmla="*/ 346075 w 41"/>
              <a:gd name="T41" fmla="*/ 210545 h 59"/>
              <a:gd name="T42" fmla="*/ 346075 w 41"/>
              <a:gd name="T43" fmla="*/ 244233 h 59"/>
              <a:gd name="T44" fmla="*/ 270107 w 41"/>
              <a:gd name="T45" fmla="*/ 244233 h 59"/>
              <a:gd name="T46" fmla="*/ 168817 w 41"/>
              <a:gd name="T47" fmla="*/ 345294 h 59"/>
              <a:gd name="T48" fmla="*/ 75968 w 41"/>
              <a:gd name="T49" fmla="*/ 244233 h 59"/>
              <a:gd name="T50" fmla="*/ 75968 w 41"/>
              <a:gd name="T51" fmla="*/ 92640 h 59"/>
              <a:gd name="T52" fmla="*/ 168817 w 41"/>
              <a:gd name="T53" fmla="*/ 0 h 59"/>
              <a:gd name="T54" fmla="*/ 270107 w 41"/>
              <a:gd name="T55" fmla="*/ 92640 h 59"/>
              <a:gd name="T56" fmla="*/ 270107 w 41"/>
              <a:gd name="T57" fmla="*/ 244233 h 59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41" h="59">
                <a:moveTo>
                  <a:pt x="41" y="29"/>
                </a:moveTo>
                <a:cubicBezTo>
                  <a:pt x="41" y="40"/>
                  <a:pt x="33" y="49"/>
                  <a:pt x="23" y="50"/>
                </a:cubicBezTo>
                <a:cubicBezTo>
                  <a:pt x="23" y="55"/>
                  <a:pt x="23" y="55"/>
                  <a:pt x="23" y="55"/>
                </a:cubicBezTo>
                <a:cubicBezTo>
                  <a:pt x="32" y="55"/>
                  <a:pt x="32" y="55"/>
                  <a:pt x="32" y="55"/>
                </a:cubicBezTo>
                <a:cubicBezTo>
                  <a:pt x="33" y="55"/>
                  <a:pt x="34" y="56"/>
                  <a:pt x="34" y="57"/>
                </a:cubicBezTo>
                <a:cubicBezTo>
                  <a:pt x="34" y="58"/>
                  <a:pt x="33" y="59"/>
                  <a:pt x="32" y="59"/>
                </a:cubicBezTo>
                <a:cubicBezTo>
                  <a:pt x="9" y="59"/>
                  <a:pt x="9" y="59"/>
                  <a:pt x="9" y="59"/>
                </a:cubicBezTo>
                <a:cubicBezTo>
                  <a:pt x="8" y="59"/>
                  <a:pt x="7" y="58"/>
                  <a:pt x="7" y="57"/>
                </a:cubicBezTo>
                <a:cubicBezTo>
                  <a:pt x="7" y="56"/>
                  <a:pt x="8" y="55"/>
                  <a:pt x="9" y="55"/>
                </a:cubicBezTo>
                <a:cubicBezTo>
                  <a:pt x="18" y="55"/>
                  <a:pt x="18" y="55"/>
                  <a:pt x="18" y="55"/>
                </a:cubicBezTo>
                <a:cubicBezTo>
                  <a:pt x="18" y="50"/>
                  <a:pt x="18" y="50"/>
                  <a:pt x="18" y="50"/>
                </a:cubicBezTo>
                <a:cubicBezTo>
                  <a:pt x="8" y="49"/>
                  <a:pt x="0" y="40"/>
                  <a:pt x="0" y="29"/>
                </a:cubicBezTo>
                <a:cubicBezTo>
                  <a:pt x="0" y="25"/>
                  <a:pt x="0" y="25"/>
                  <a:pt x="0" y="25"/>
                </a:cubicBezTo>
                <a:cubicBezTo>
                  <a:pt x="0" y="24"/>
                  <a:pt x="1" y="23"/>
                  <a:pt x="2" y="23"/>
                </a:cubicBezTo>
                <a:cubicBezTo>
                  <a:pt x="3" y="23"/>
                  <a:pt x="4" y="24"/>
                  <a:pt x="4" y="25"/>
                </a:cubicBezTo>
                <a:cubicBezTo>
                  <a:pt x="4" y="29"/>
                  <a:pt x="4" y="29"/>
                  <a:pt x="4" y="29"/>
                </a:cubicBezTo>
                <a:cubicBezTo>
                  <a:pt x="4" y="38"/>
                  <a:pt x="12" y="45"/>
                  <a:pt x="20" y="45"/>
                </a:cubicBezTo>
                <a:cubicBezTo>
                  <a:pt x="29" y="45"/>
                  <a:pt x="36" y="38"/>
                  <a:pt x="36" y="29"/>
                </a:cubicBezTo>
                <a:cubicBezTo>
                  <a:pt x="36" y="25"/>
                  <a:pt x="36" y="25"/>
                  <a:pt x="36" y="25"/>
                </a:cubicBezTo>
                <a:cubicBezTo>
                  <a:pt x="36" y="24"/>
                  <a:pt x="37" y="23"/>
                  <a:pt x="39" y="23"/>
                </a:cubicBezTo>
                <a:cubicBezTo>
                  <a:pt x="40" y="23"/>
                  <a:pt x="41" y="24"/>
                  <a:pt x="41" y="25"/>
                </a:cubicBezTo>
                <a:lnTo>
                  <a:pt x="41" y="29"/>
                </a:lnTo>
                <a:close/>
                <a:moveTo>
                  <a:pt x="32" y="29"/>
                </a:moveTo>
                <a:cubicBezTo>
                  <a:pt x="32" y="36"/>
                  <a:pt x="27" y="41"/>
                  <a:pt x="20" y="41"/>
                </a:cubicBezTo>
                <a:cubicBezTo>
                  <a:pt x="14" y="41"/>
                  <a:pt x="9" y="36"/>
                  <a:pt x="9" y="29"/>
                </a:cubicBezTo>
                <a:cubicBezTo>
                  <a:pt x="9" y="11"/>
                  <a:pt x="9" y="11"/>
                  <a:pt x="9" y="11"/>
                </a:cubicBezTo>
                <a:cubicBezTo>
                  <a:pt x="9" y="5"/>
                  <a:pt x="14" y="0"/>
                  <a:pt x="20" y="0"/>
                </a:cubicBezTo>
                <a:cubicBezTo>
                  <a:pt x="27" y="0"/>
                  <a:pt x="32" y="5"/>
                  <a:pt x="32" y="11"/>
                </a:cubicBezTo>
                <a:lnTo>
                  <a:pt x="32" y="2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1920" tIns="60960" rIns="121920" bIns="60960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0729778"/>
      </p:ext>
    </p:extLst>
  </p:cSld>
  <p:clrMapOvr>
    <a:masterClrMapping/>
  </p:clrMapOvr>
</p:sld>
</file>

<file path=ppt/slides/slide1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53C20D-CEEE-6CB4-7DD8-BAD1FB4A3B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692B4F74-3931-4F44-5CEF-36185A5A60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92B4F74-3931-4F44-5CEF-36185A5A60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C3E393A-52D5-D699-33C8-DA7830F4FC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lustered Column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F9BA1C1B-3D10-6429-A7A1-40A248B61570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89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29" name="Chart 33">
            <a:extLst>
              <a:ext uri="{FF2B5EF4-FFF2-40B4-BE49-F238E27FC236}">
                <a16:creationId xmlns:a16="http://schemas.microsoft.com/office/drawing/2014/main" id="{158086E3-36ED-9554-03E5-B3EEC9085B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74108577"/>
              </p:ext>
            </p:extLst>
          </p:nvPr>
        </p:nvGraphicFramePr>
        <p:xfrm>
          <a:off x="481013" y="2823878"/>
          <a:ext cx="11233150" cy="34845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E4900124-CECF-478A-6A3A-2E3E1C7B0162}"/>
              </a:ext>
            </a:extLst>
          </p:cNvPr>
          <p:cNvCxnSpPr/>
          <p:nvPr/>
        </p:nvCxnSpPr>
        <p:spPr>
          <a:xfrm flipV="1">
            <a:off x="1529377" y="2458753"/>
            <a:ext cx="0" cy="1422400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16D5663A-E8CF-6E18-22BF-CA17985BEDD0}"/>
              </a:ext>
            </a:extLst>
          </p:cNvPr>
          <p:cNvCxnSpPr/>
          <p:nvPr/>
        </p:nvCxnSpPr>
        <p:spPr>
          <a:xfrm flipV="1">
            <a:off x="2124689" y="1726915"/>
            <a:ext cx="0" cy="2865438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297BC72D-3AA2-4E7C-4F9C-9F8CAB79CFBD}"/>
              </a:ext>
            </a:extLst>
          </p:cNvPr>
          <p:cNvCxnSpPr/>
          <p:nvPr/>
        </p:nvCxnSpPr>
        <p:spPr>
          <a:xfrm flipV="1">
            <a:off x="2719388" y="2458753"/>
            <a:ext cx="0" cy="2295525"/>
          </a:xfrm>
          <a:prstGeom prst="straightConnector1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71CE522D-0453-9B9C-C3F6-35BD4734086C}"/>
              </a:ext>
            </a:extLst>
          </p:cNvPr>
          <p:cNvCxnSpPr/>
          <p:nvPr/>
        </p:nvCxnSpPr>
        <p:spPr>
          <a:xfrm flipV="1">
            <a:off x="4224031" y="2458753"/>
            <a:ext cx="0" cy="2133600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0D3D1723-3841-0B50-2E9C-F1AA2BADA267}"/>
              </a:ext>
            </a:extLst>
          </p:cNvPr>
          <p:cNvCxnSpPr/>
          <p:nvPr/>
        </p:nvCxnSpPr>
        <p:spPr>
          <a:xfrm flipV="1">
            <a:off x="4827588" y="1726915"/>
            <a:ext cx="0" cy="1990725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21BA848C-B6F2-177E-D1F1-1544BFB07DD2}"/>
              </a:ext>
            </a:extLst>
          </p:cNvPr>
          <p:cNvCxnSpPr/>
          <p:nvPr/>
        </p:nvCxnSpPr>
        <p:spPr>
          <a:xfrm flipV="1">
            <a:off x="5428584" y="2458753"/>
            <a:ext cx="0" cy="2295525"/>
          </a:xfrm>
          <a:prstGeom prst="straightConnector1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908C38CE-F323-6378-AFF4-5050EA32B9C5}"/>
              </a:ext>
            </a:extLst>
          </p:cNvPr>
          <p:cNvCxnSpPr/>
          <p:nvPr/>
        </p:nvCxnSpPr>
        <p:spPr>
          <a:xfrm flipV="1">
            <a:off x="6934814" y="2458753"/>
            <a:ext cx="0" cy="1665287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1F0F624B-E1AC-C126-5D1B-6A61FA51ADCB}"/>
              </a:ext>
            </a:extLst>
          </p:cNvPr>
          <p:cNvCxnSpPr/>
          <p:nvPr/>
        </p:nvCxnSpPr>
        <p:spPr>
          <a:xfrm flipV="1">
            <a:off x="7521268" y="1726915"/>
            <a:ext cx="0" cy="3157538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33FEAF5F-97B4-F46A-C261-64958D0ED59D}"/>
              </a:ext>
            </a:extLst>
          </p:cNvPr>
          <p:cNvCxnSpPr/>
          <p:nvPr/>
        </p:nvCxnSpPr>
        <p:spPr>
          <a:xfrm flipV="1">
            <a:off x="8123238" y="2458753"/>
            <a:ext cx="0" cy="1887537"/>
          </a:xfrm>
          <a:prstGeom prst="straightConnector1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ED8E9CCA-6DBC-6A7B-15CB-45048BD09CCB}"/>
              </a:ext>
            </a:extLst>
          </p:cNvPr>
          <p:cNvCxnSpPr/>
          <p:nvPr/>
        </p:nvCxnSpPr>
        <p:spPr>
          <a:xfrm flipV="1">
            <a:off x="9626907" y="2458753"/>
            <a:ext cx="0" cy="1246187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01A4B209-5FE0-0248-ACCA-8B856C000393}"/>
              </a:ext>
            </a:extLst>
          </p:cNvPr>
          <p:cNvCxnSpPr/>
          <p:nvPr/>
        </p:nvCxnSpPr>
        <p:spPr>
          <a:xfrm flipV="1">
            <a:off x="10230464" y="1726915"/>
            <a:ext cx="0" cy="2659063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0D11E4B4-4E05-CAB4-6DEB-3597B91627FB}"/>
              </a:ext>
            </a:extLst>
          </p:cNvPr>
          <p:cNvCxnSpPr/>
          <p:nvPr/>
        </p:nvCxnSpPr>
        <p:spPr>
          <a:xfrm flipV="1">
            <a:off x="10824189" y="2458753"/>
            <a:ext cx="0" cy="963612"/>
          </a:xfrm>
          <a:prstGeom prst="straightConnector1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41">
            <a:extLst>
              <a:ext uri="{FF2B5EF4-FFF2-40B4-BE49-F238E27FC236}">
                <a16:creationId xmlns:a16="http://schemas.microsoft.com/office/drawing/2014/main" id="{FAFCAD28-1F5F-41B8-CFAA-C7D13E9E904E}"/>
              </a:ext>
            </a:extLst>
          </p:cNvPr>
          <p:cNvSpPr txBox="1"/>
          <p:nvPr/>
        </p:nvSpPr>
        <p:spPr>
          <a:xfrm>
            <a:off x="1113787" y="2028540"/>
            <a:ext cx="830262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b="1" dirty="0"/>
              <a:t>40%</a:t>
            </a:r>
            <a:endParaRPr lang="en-US" b="1" dirty="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87BBF228-F499-87C2-0011-B88EA539C025}"/>
              </a:ext>
            </a:extLst>
          </p:cNvPr>
          <p:cNvSpPr txBox="1"/>
          <p:nvPr/>
        </p:nvSpPr>
        <p:spPr>
          <a:xfrm>
            <a:off x="1784939" y="1297134"/>
            <a:ext cx="830262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b="1" dirty="0"/>
              <a:t>50%</a:t>
            </a:r>
            <a:endParaRPr lang="en-US" b="1" dirty="0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C504C932-A0FC-4133-D85E-4AC124AE0FF7}"/>
              </a:ext>
            </a:extLst>
          </p:cNvPr>
          <p:cNvSpPr txBox="1"/>
          <p:nvPr/>
        </p:nvSpPr>
        <p:spPr>
          <a:xfrm>
            <a:off x="2352496" y="2022190"/>
            <a:ext cx="830263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b="1" dirty="0"/>
              <a:t>30%</a:t>
            </a:r>
            <a:endParaRPr lang="en-US" b="1" dirty="0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61855AFD-F0D2-0EF6-77F4-C8812F4FC00C}"/>
              </a:ext>
            </a:extLst>
          </p:cNvPr>
          <p:cNvSpPr txBox="1"/>
          <p:nvPr/>
        </p:nvSpPr>
        <p:spPr>
          <a:xfrm>
            <a:off x="3807466" y="2028749"/>
            <a:ext cx="830262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b="1" dirty="0"/>
              <a:t>60%</a:t>
            </a:r>
            <a:endParaRPr lang="en-US" b="1" dirty="0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5504A188-1413-4FD3-1529-3AABA8081B2C}"/>
              </a:ext>
            </a:extLst>
          </p:cNvPr>
          <p:cNvSpPr txBox="1"/>
          <p:nvPr/>
        </p:nvSpPr>
        <p:spPr>
          <a:xfrm>
            <a:off x="5046176" y="2022190"/>
            <a:ext cx="830262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b="1" dirty="0"/>
              <a:t>80%</a:t>
            </a:r>
            <a:endParaRPr lang="en-US" b="1" dirty="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BBF1B5F4-B5B8-E3C6-27ED-14F36FD4981F}"/>
              </a:ext>
            </a:extLst>
          </p:cNvPr>
          <p:cNvSpPr txBox="1"/>
          <p:nvPr/>
        </p:nvSpPr>
        <p:spPr>
          <a:xfrm>
            <a:off x="4440878" y="1294178"/>
            <a:ext cx="831850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b="1" dirty="0"/>
              <a:t>90%</a:t>
            </a:r>
            <a:endParaRPr lang="en-US" b="1" dirty="0"/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FB68581A-E40D-9228-C994-555373E0981D}"/>
              </a:ext>
            </a:extLst>
          </p:cNvPr>
          <p:cNvSpPr txBox="1"/>
          <p:nvPr/>
        </p:nvSpPr>
        <p:spPr>
          <a:xfrm>
            <a:off x="7056988" y="1294178"/>
            <a:ext cx="1000125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b="1" dirty="0"/>
              <a:t>100%</a:t>
            </a:r>
            <a:endParaRPr lang="en-US" b="1" dirty="0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1E9F3BFC-DD68-16CD-26D3-9B124CD67693}"/>
              </a:ext>
            </a:extLst>
          </p:cNvPr>
          <p:cNvSpPr txBox="1"/>
          <p:nvPr/>
        </p:nvSpPr>
        <p:spPr>
          <a:xfrm>
            <a:off x="6511437" y="2028749"/>
            <a:ext cx="830263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b="1" dirty="0"/>
              <a:t>80%</a:t>
            </a:r>
            <a:endParaRPr lang="en-US" b="1" dirty="0"/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657F737B-7FAB-FE46-94C6-746CB03DE9E4}"/>
              </a:ext>
            </a:extLst>
          </p:cNvPr>
          <p:cNvSpPr txBox="1"/>
          <p:nvPr/>
        </p:nvSpPr>
        <p:spPr>
          <a:xfrm>
            <a:off x="7714945" y="2022190"/>
            <a:ext cx="830262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b="1" dirty="0"/>
              <a:t>30%</a:t>
            </a:r>
            <a:endParaRPr lang="en-US" b="1" dirty="0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5CC78EDE-F4C7-8DBA-65F8-5506CBE28291}"/>
              </a:ext>
            </a:extLst>
          </p:cNvPr>
          <p:cNvSpPr txBox="1"/>
          <p:nvPr/>
        </p:nvSpPr>
        <p:spPr>
          <a:xfrm>
            <a:off x="9212337" y="2028749"/>
            <a:ext cx="830262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b="1" dirty="0"/>
              <a:t>20%</a:t>
            </a:r>
            <a:endParaRPr lang="en-US" b="1" dirty="0"/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7EE49432-2BF3-5A95-4BCE-907A017A70C4}"/>
              </a:ext>
            </a:extLst>
          </p:cNvPr>
          <p:cNvSpPr txBox="1"/>
          <p:nvPr/>
        </p:nvSpPr>
        <p:spPr>
          <a:xfrm>
            <a:off x="9815332" y="1292189"/>
            <a:ext cx="830263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b="1" dirty="0"/>
              <a:t>10%</a:t>
            </a:r>
            <a:endParaRPr lang="en-US" b="1" dirty="0"/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FF6E9525-9168-BABA-65A2-7BD696715671}"/>
              </a:ext>
            </a:extLst>
          </p:cNvPr>
          <p:cNvSpPr txBox="1"/>
          <p:nvPr/>
        </p:nvSpPr>
        <p:spPr>
          <a:xfrm>
            <a:off x="10418096" y="2022190"/>
            <a:ext cx="831850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b="1" dirty="0"/>
              <a:t>80%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335326345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C19E03-5FBC-EF82-774D-CD18A0AB00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think-cell data - do not delete" hidden="1">
            <a:extLst>
              <a:ext uri="{FF2B5EF4-FFF2-40B4-BE49-F238E27FC236}">
                <a16:creationId xmlns:a16="http://schemas.microsoft.com/office/drawing/2014/main" id="{09157840-AE1B-F2A0-4935-2EB3494DE49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68136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5A9278D-5B0B-B2E1-730C-FC3B5EB934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x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21FFAE5-B0F4-8BA9-9438-E558CB44A5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BC2D2F62-BC6E-E19B-7D8B-95E3BB88A15B}"/>
              </a:ext>
            </a:extLst>
          </p:cNvPr>
          <p:cNvSpPr/>
          <p:nvPr/>
        </p:nvSpPr>
        <p:spPr>
          <a:xfrm>
            <a:off x="489024" y="1090081"/>
            <a:ext cx="11186187" cy="5056610"/>
          </a:xfrm>
          <a:prstGeom prst="roundRect">
            <a:avLst>
              <a:gd name="adj" fmla="val 3074"/>
            </a:avLst>
          </a:prstGeom>
          <a:solidFill>
            <a:schemeClr val="bg1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7" name="Rectangle: Top Corners Rounded 6">
            <a:extLst>
              <a:ext uri="{FF2B5EF4-FFF2-40B4-BE49-F238E27FC236}">
                <a16:creationId xmlns:a16="http://schemas.microsoft.com/office/drawing/2014/main" id="{95CD703B-702D-189A-9E96-B15A06BCABBD}"/>
              </a:ext>
            </a:extLst>
          </p:cNvPr>
          <p:cNvSpPr/>
          <p:nvPr/>
        </p:nvSpPr>
        <p:spPr>
          <a:xfrm rot="5400000">
            <a:off x="10252508" y="729160"/>
            <a:ext cx="562407" cy="1800683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175" dirty="0" err="1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8" name="Rectangle: Top Corners Rounded 7">
            <a:extLst>
              <a:ext uri="{FF2B5EF4-FFF2-40B4-BE49-F238E27FC236}">
                <a16:creationId xmlns:a16="http://schemas.microsoft.com/office/drawing/2014/main" id="{2C8954F3-70C3-DBC7-0278-961BA45622DE}"/>
              </a:ext>
            </a:extLst>
          </p:cNvPr>
          <p:cNvSpPr/>
          <p:nvPr/>
        </p:nvSpPr>
        <p:spPr>
          <a:xfrm rot="5400000">
            <a:off x="5629160" y="-3788425"/>
            <a:ext cx="562405" cy="10835848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175" dirty="0" err="1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5163401-3D31-EE95-FF14-ED9C0E846758}"/>
              </a:ext>
            </a:extLst>
          </p:cNvPr>
          <p:cNvSpPr txBox="1">
            <a:spLocks/>
          </p:cNvSpPr>
          <p:nvPr/>
        </p:nvSpPr>
        <p:spPr>
          <a:xfrm>
            <a:off x="757947" y="1444833"/>
            <a:ext cx="62600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accent1"/>
                </a:solidFill>
              </a14:hiddenLine>
            </a:ext>
          </a:extLst>
        </p:spPr>
        <p:txBody>
          <a:bodyPr vert="horz" wrap="none" lIns="0" tIns="0" rIns="0" bIns="0" rtlCol="0" anchor="t">
            <a:spAutoFit/>
          </a:bodyPr>
          <a:lstStyle/>
          <a:p>
            <a:pPr>
              <a:buSzPct val="100000"/>
            </a:pPr>
            <a:r>
              <a:rPr lang="en-US" sz="2400" b="1" dirty="0">
                <a:solidFill>
                  <a:schemeClr val="bg1"/>
                </a:solidFill>
                <a:cs typeface="Arial" panose="020B0604020202020204" pitchFamily="34" charset="0"/>
              </a:rPr>
              <a:t>Tit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75C3277-FC0F-9073-DBBC-3A5874AD428C}"/>
              </a:ext>
            </a:extLst>
          </p:cNvPr>
          <p:cNvSpPr/>
          <p:nvPr/>
        </p:nvSpPr>
        <p:spPr>
          <a:xfrm>
            <a:off x="870897" y="2100843"/>
            <a:ext cx="10281952" cy="338554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rgbClr val="000000"/>
                </a:solidFill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6" name="Shape0_20181128_173253">
            <a:extLst>
              <a:ext uri="{FF2B5EF4-FFF2-40B4-BE49-F238E27FC236}">
                <a16:creationId xmlns:a16="http://schemas.microsoft.com/office/drawing/2014/main" id="{AD546BBB-4FD8-7C36-BF81-16F0FAF4ADF0}"/>
              </a:ext>
            </a:extLst>
          </p:cNvPr>
          <p:cNvSpPr>
            <a:spLocks/>
          </p:cNvSpPr>
          <p:nvPr/>
        </p:nvSpPr>
        <p:spPr>
          <a:xfrm>
            <a:off x="1045199" y="2495898"/>
            <a:ext cx="10116728" cy="360000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i="1" dirty="0"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3" name="Speech Bubble: Oval 12">
            <a:extLst>
              <a:ext uri="{FF2B5EF4-FFF2-40B4-BE49-F238E27FC236}">
                <a16:creationId xmlns:a16="http://schemas.microsoft.com/office/drawing/2014/main" id="{8B15AB5F-D1DA-90C8-C9A0-C6CB78C348E9}"/>
              </a:ext>
            </a:extLst>
          </p:cNvPr>
          <p:cNvSpPr/>
          <p:nvPr/>
        </p:nvSpPr>
        <p:spPr>
          <a:xfrm flipH="1">
            <a:off x="528363" y="2314866"/>
            <a:ext cx="332490" cy="277074"/>
          </a:xfrm>
          <a:prstGeom prst="wedgeEllipseCallout">
            <a:avLst>
              <a:gd name="adj1" fmla="val -42833"/>
              <a:gd name="adj2" fmla="val 64700"/>
            </a:avLst>
          </a:prstGeom>
          <a:solidFill>
            <a:schemeClr val="accent4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28" dirty="0" err="1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93A1986D-A447-7DF5-F7B9-0324E98B9B6E}"/>
              </a:ext>
            </a:extLst>
          </p:cNvPr>
          <p:cNvSpPr/>
          <p:nvPr/>
        </p:nvSpPr>
        <p:spPr>
          <a:xfrm>
            <a:off x="715145" y="2453403"/>
            <a:ext cx="10512000" cy="0"/>
          </a:xfrm>
          <a:custGeom>
            <a:avLst/>
            <a:gdLst>
              <a:gd name="connsiteX0" fmla="*/ 0 w 3786909"/>
              <a:gd name="connsiteY0" fmla="*/ 0 h 0"/>
              <a:gd name="connsiteX1" fmla="*/ 3786909 w 3786909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786909">
                <a:moveTo>
                  <a:pt x="0" y="0"/>
                </a:moveTo>
                <a:lnTo>
                  <a:pt x="3786909" y="0"/>
                </a:lnTo>
              </a:path>
            </a:pathLst>
          </a:cu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28" dirty="0">
              <a:cs typeface="Arial" panose="020B0604020202020204" pitchFamily="34" charset="0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9D55B8FB-4399-436D-DD26-C45DAF45CF50}"/>
              </a:ext>
            </a:extLst>
          </p:cNvPr>
          <p:cNvGrpSpPr/>
          <p:nvPr/>
        </p:nvGrpSpPr>
        <p:grpSpPr>
          <a:xfrm>
            <a:off x="870897" y="3156824"/>
            <a:ext cx="10291030" cy="755055"/>
            <a:chOff x="870897" y="2100843"/>
            <a:chExt cx="4503973" cy="755055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1204B5A9-4634-9B44-468A-23DD44CB86A0}"/>
                </a:ext>
              </a:extLst>
            </p:cNvPr>
            <p:cNvSpPr/>
            <p:nvPr/>
          </p:nvSpPr>
          <p:spPr>
            <a:xfrm>
              <a:off x="870897" y="2100843"/>
              <a:ext cx="4500000" cy="338554"/>
            </a:xfrm>
            <a:prstGeom prst="rect">
              <a:avLst/>
            </a:prstGeom>
          </p:spPr>
          <p:txBody>
            <a:bodyPr wrap="square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  <a:cs typeface="Arial" panose="020B0604020202020204" pitchFamily="34" charset="0"/>
                </a:rPr>
                <a:t>Insert Text Here</a:t>
              </a:r>
            </a:p>
          </p:txBody>
        </p:sp>
        <p:sp>
          <p:nvSpPr>
            <p:cNvPr id="22" name="Shape0_20181128_173253">
              <a:extLst>
                <a:ext uri="{FF2B5EF4-FFF2-40B4-BE49-F238E27FC236}">
                  <a16:creationId xmlns:a16="http://schemas.microsoft.com/office/drawing/2014/main" id="{8A8B6553-A8DF-B054-7342-3DBDD49D7218}"/>
                </a:ext>
              </a:extLst>
            </p:cNvPr>
            <p:cNvSpPr>
              <a:spLocks/>
            </p:cNvSpPr>
            <p:nvPr/>
          </p:nvSpPr>
          <p:spPr>
            <a:xfrm>
              <a:off x="947182" y="2495898"/>
              <a:ext cx="4427688" cy="360000"/>
            </a:xfrm>
            <a:prstGeom prst="rect">
              <a:avLst/>
            </a:prstGeom>
          </p:spPr>
          <p:txBody>
            <a:bodyPr wrap="square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i="1" dirty="0">
                  <a:cs typeface="Arial" panose="020B0604020202020204" pitchFamily="34" charset="0"/>
                </a:rPr>
                <a:t>Insert Text Here</a:t>
              </a:r>
            </a:p>
          </p:txBody>
        </p:sp>
      </p:grpSp>
      <p:sp>
        <p:nvSpPr>
          <p:cNvPr id="19" name="Speech Bubble: Oval 18">
            <a:extLst>
              <a:ext uri="{FF2B5EF4-FFF2-40B4-BE49-F238E27FC236}">
                <a16:creationId xmlns:a16="http://schemas.microsoft.com/office/drawing/2014/main" id="{276C0909-3C3C-4D8F-FB9A-E2AD3C961F08}"/>
              </a:ext>
            </a:extLst>
          </p:cNvPr>
          <p:cNvSpPr/>
          <p:nvPr/>
        </p:nvSpPr>
        <p:spPr>
          <a:xfrm flipH="1">
            <a:off x="528363" y="3370847"/>
            <a:ext cx="332490" cy="277074"/>
          </a:xfrm>
          <a:prstGeom prst="wedgeEllipseCallout">
            <a:avLst>
              <a:gd name="adj1" fmla="val -42833"/>
              <a:gd name="adj2" fmla="val 64700"/>
            </a:avLst>
          </a:prstGeom>
          <a:solidFill>
            <a:schemeClr val="accent4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28" dirty="0" err="1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21CF5FBD-BBC8-2CDE-67A9-E8BC8E383648}"/>
              </a:ext>
            </a:extLst>
          </p:cNvPr>
          <p:cNvSpPr/>
          <p:nvPr/>
        </p:nvSpPr>
        <p:spPr>
          <a:xfrm>
            <a:off x="715145" y="3509384"/>
            <a:ext cx="10512000" cy="0"/>
          </a:xfrm>
          <a:custGeom>
            <a:avLst/>
            <a:gdLst>
              <a:gd name="connsiteX0" fmla="*/ 0 w 3786909"/>
              <a:gd name="connsiteY0" fmla="*/ 0 h 0"/>
              <a:gd name="connsiteX1" fmla="*/ 3786909 w 3786909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786909">
                <a:moveTo>
                  <a:pt x="0" y="0"/>
                </a:moveTo>
                <a:lnTo>
                  <a:pt x="3786909" y="0"/>
                </a:lnTo>
              </a:path>
            </a:pathLst>
          </a:cu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28" dirty="0">
              <a:cs typeface="Arial" panose="020B0604020202020204" pitchFamily="34" charset="0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2FDBA0B1-03C7-F1E7-D737-379F5E847CAD}"/>
              </a:ext>
            </a:extLst>
          </p:cNvPr>
          <p:cNvGrpSpPr/>
          <p:nvPr/>
        </p:nvGrpSpPr>
        <p:grpSpPr>
          <a:xfrm>
            <a:off x="870897" y="4212805"/>
            <a:ext cx="10291030" cy="755055"/>
            <a:chOff x="870897" y="2100843"/>
            <a:chExt cx="4503973" cy="755055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680C4D59-1932-3E2A-EA0C-80F776F67A78}"/>
                </a:ext>
              </a:extLst>
            </p:cNvPr>
            <p:cNvSpPr/>
            <p:nvPr/>
          </p:nvSpPr>
          <p:spPr>
            <a:xfrm>
              <a:off x="870897" y="2100843"/>
              <a:ext cx="4500000" cy="338554"/>
            </a:xfrm>
            <a:prstGeom prst="rect">
              <a:avLst/>
            </a:prstGeom>
          </p:spPr>
          <p:txBody>
            <a:bodyPr wrap="square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  <a:cs typeface="Arial" panose="020B0604020202020204" pitchFamily="34" charset="0"/>
                </a:rPr>
                <a:t>Insert Text Here</a:t>
              </a:r>
            </a:p>
          </p:txBody>
        </p:sp>
        <p:sp>
          <p:nvSpPr>
            <p:cNvPr id="28" name="Shape0_20181128_173253">
              <a:extLst>
                <a:ext uri="{FF2B5EF4-FFF2-40B4-BE49-F238E27FC236}">
                  <a16:creationId xmlns:a16="http://schemas.microsoft.com/office/drawing/2014/main" id="{249EAE53-4F26-DAE2-D881-344C07C13642}"/>
                </a:ext>
              </a:extLst>
            </p:cNvPr>
            <p:cNvSpPr>
              <a:spLocks/>
            </p:cNvSpPr>
            <p:nvPr/>
          </p:nvSpPr>
          <p:spPr>
            <a:xfrm>
              <a:off x="947182" y="2495898"/>
              <a:ext cx="4427688" cy="360000"/>
            </a:xfrm>
            <a:prstGeom prst="rect">
              <a:avLst/>
            </a:prstGeom>
          </p:spPr>
          <p:txBody>
            <a:bodyPr wrap="square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i="1" dirty="0">
                  <a:cs typeface="Arial" panose="020B0604020202020204" pitchFamily="34" charset="0"/>
                </a:rPr>
                <a:t>Insert Text Here</a:t>
              </a:r>
            </a:p>
          </p:txBody>
        </p:sp>
      </p:grpSp>
      <p:sp>
        <p:nvSpPr>
          <p:cNvPr id="25" name="Speech Bubble: Oval 24">
            <a:extLst>
              <a:ext uri="{FF2B5EF4-FFF2-40B4-BE49-F238E27FC236}">
                <a16:creationId xmlns:a16="http://schemas.microsoft.com/office/drawing/2014/main" id="{E40D96DA-93FC-AD9C-65B4-08C7C9BBA852}"/>
              </a:ext>
            </a:extLst>
          </p:cNvPr>
          <p:cNvSpPr/>
          <p:nvPr/>
        </p:nvSpPr>
        <p:spPr>
          <a:xfrm flipH="1">
            <a:off x="528363" y="4426828"/>
            <a:ext cx="332490" cy="277074"/>
          </a:xfrm>
          <a:prstGeom prst="wedgeEllipseCallout">
            <a:avLst>
              <a:gd name="adj1" fmla="val -42833"/>
              <a:gd name="adj2" fmla="val 64700"/>
            </a:avLst>
          </a:prstGeom>
          <a:solidFill>
            <a:schemeClr val="accent4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28" dirty="0" err="1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18B7728A-D08E-3D21-425E-F600080C692B}"/>
              </a:ext>
            </a:extLst>
          </p:cNvPr>
          <p:cNvSpPr/>
          <p:nvPr/>
        </p:nvSpPr>
        <p:spPr>
          <a:xfrm>
            <a:off x="715145" y="4565365"/>
            <a:ext cx="10512000" cy="0"/>
          </a:xfrm>
          <a:custGeom>
            <a:avLst/>
            <a:gdLst>
              <a:gd name="connsiteX0" fmla="*/ 0 w 3786909"/>
              <a:gd name="connsiteY0" fmla="*/ 0 h 0"/>
              <a:gd name="connsiteX1" fmla="*/ 3786909 w 3786909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786909">
                <a:moveTo>
                  <a:pt x="0" y="0"/>
                </a:moveTo>
                <a:lnTo>
                  <a:pt x="3786909" y="0"/>
                </a:lnTo>
              </a:path>
            </a:pathLst>
          </a:cu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28" dirty="0">
              <a:cs typeface="Arial" panose="020B0604020202020204" pitchFamily="34" charset="0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EE6DE532-B399-972C-DE60-14350F58EC9F}"/>
              </a:ext>
            </a:extLst>
          </p:cNvPr>
          <p:cNvGrpSpPr/>
          <p:nvPr/>
        </p:nvGrpSpPr>
        <p:grpSpPr>
          <a:xfrm>
            <a:off x="870897" y="5268786"/>
            <a:ext cx="10291030" cy="755055"/>
            <a:chOff x="870897" y="2100843"/>
            <a:chExt cx="4503973" cy="755055"/>
          </a:xfrm>
        </p:grpSpPr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06620A77-E7B6-3779-F68C-2700EB237F7C}"/>
                </a:ext>
              </a:extLst>
            </p:cNvPr>
            <p:cNvSpPr/>
            <p:nvPr/>
          </p:nvSpPr>
          <p:spPr>
            <a:xfrm>
              <a:off x="870897" y="2100843"/>
              <a:ext cx="4500000" cy="338554"/>
            </a:xfrm>
            <a:prstGeom prst="rect">
              <a:avLst/>
            </a:prstGeom>
          </p:spPr>
          <p:txBody>
            <a:bodyPr wrap="square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  <a:cs typeface="Arial" panose="020B0604020202020204" pitchFamily="34" charset="0"/>
                </a:rPr>
                <a:t>Insert Text Here</a:t>
              </a:r>
            </a:p>
          </p:txBody>
        </p:sp>
        <p:sp>
          <p:nvSpPr>
            <p:cNvPr id="34" name="Shape0_20181128_173253">
              <a:extLst>
                <a:ext uri="{FF2B5EF4-FFF2-40B4-BE49-F238E27FC236}">
                  <a16:creationId xmlns:a16="http://schemas.microsoft.com/office/drawing/2014/main" id="{6A0353EE-FD0B-A04C-528C-9ADFF748B437}"/>
                </a:ext>
              </a:extLst>
            </p:cNvPr>
            <p:cNvSpPr>
              <a:spLocks/>
            </p:cNvSpPr>
            <p:nvPr/>
          </p:nvSpPr>
          <p:spPr>
            <a:xfrm>
              <a:off x="947182" y="2495898"/>
              <a:ext cx="4427688" cy="360000"/>
            </a:xfrm>
            <a:prstGeom prst="rect">
              <a:avLst/>
            </a:prstGeom>
          </p:spPr>
          <p:txBody>
            <a:bodyPr wrap="square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i="1" dirty="0">
                  <a:cs typeface="Arial" panose="020B0604020202020204" pitchFamily="34" charset="0"/>
                </a:rPr>
                <a:t>Insert Text Here</a:t>
              </a:r>
            </a:p>
          </p:txBody>
        </p:sp>
      </p:grpSp>
      <p:sp>
        <p:nvSpPr>
          <p:cNvPr id="31" name="Speech Bubble: Oval 30">
            <a:extLst>
              <a:ext uri="{FF2B5EF4-FFF2-40B4-BE49-F238E27FC236}">
                <a16:creationId xmlns:a16="http://schemas.microsoft.com/office/drawing/2014/main" id="{4C789567-9626-006C-337D-026296B24981}"/>
              </a:ext>
            </a:extLst>
          </p:cNvPr>
          <p:cNvSpPr/>
          <p:nvPr/>
        </p:nvSpPr>
        <p:spPr>
          <a:xfrm flipH="1">
            <a:off x="528363" y="5482809"/>
            <a:ext cx="332490" cy="277074"/>
          </a:xfrm>
          <a:prstGeom prst="wedgeEllipseCallout">
            <a:avLst>
              <a:gd name="adj1" fmla="val -42833"/>
              <a:gd name="adj2" fmla="val 64700"/>
            </a:avLst>
          </a:prstGeom>
          <a:solidFill>
            <a:schemeClr val="accent4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28" dirty="0" err="1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DA894B1E-B1BA-2B4D-7586-315C13540166}"/>
              </a:ext>
            </a:extLst>
          </p:cNvPr>
          <p:cNvSpPr/>
          <p:nvPr/>
        </p:nvSpPr>
        <p:spPr>
          <a:xfrm>
            <a:off x="715145" y="5621346"/>
            <a:ext cx="10512000" cy="0"/>
          </a:xfrm>
          <a:custGeom>
            <a:avLst/>
            <a:gdLst>
              <a:gd name="connsiteX0" fmla="*/ 0 w 3786909"/>
              <a:gd name="connsiteY0" fmla="*/ 0 h 0"/>
              <a:gd name="connsiteX1" fmla="*/ 3786909 w 3786909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786909">
                <a:moveTo>
                  <a:pt x="0" y="0"/>
                </a:moveTo>
                <a:lnTo>
                  <a:pt x="3786909" y="0"/>
                </a:lnTo>
              </a:path>
            </a:pathLst>
          </a:cu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28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1826931"/>
      </p:ext>
    </p:extLst>
  </p:cSld>
  <p:clrMapOvr>
    <a:masterClrMapping/>
  </p:clrMapOvr>
</p:sld>
</file>

<file path=ppt/slides/slide1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77F47A-F228-2F11-002E-A3CC410AFA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715BCB12-8366-EF47-DA6D-A442FE6E539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15BCB12-8366-EF47-DA6D-A442FE6E53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2172B3A-3DEB-611E-81DF-22BC9A9A4E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lustered Column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53424BFF-049E-1904-F9F3-7CA6AC21D372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90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3" name="Chart 16">
            <a:extLst>
              <a:ext uri="{FF2B5EF4-FFF2-40B4-BE49-F238E27FC236}">
                <a16:creationId xmlns:a16="http://schemas.microsoft.com/office/drawing/2014/main" id="{A32FD53C-7F24-F8F5-6551-31C505E1CBA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38399395"/>
              </p:ext>
            </p:extLst>
          </p:nvPr>
        </p:nvGraphicFramePr>
        <p:xfrm>
          <a:off x="419099" y="2609565"/>
          <a:ext cx="11233150" cy="37179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0D08BD01-D46D-7565-3F21-DE6FED8406DD}"/>
              </a:ext>
            </a:extLst>
          </p:cNvPr>
          <p:cNvCxnSpPr/>
          <p:nvPr/>
        </p:nvCxnSpPr>
        <p:spPr>
          <a:xfrm flipV="1">
            <a:off x="1331723" y="1649128"/>
            <a:ext cx="0" cy="1831975"/>
          </a:xfrm>
          <a:prstGeom prst="line">
            <a:avLst/>
          </a:prstGeom>
          <a:ln w="38100"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>
            <a:extLst>
              <a:ext uri="{FF2B5EF4-FFF2-40B4-BE49-F238E27FC236}">
                <a16:creationId xmlns:a16="http://schemas.microsoft.com/office/drawing/2014/main" id="{B0F56A23-477E-218B-75AB-5F2A6AF657F8}"/>
              </a:ext>
            </a:extLst>
          </p:cNvPr>
          <p:cNvSpPr/>
          <p:nvPr/>
        </p:nvSpPr>
        <p:spPr>
          <a:xfrm>
            <a:off x="828485" y="1271303"/>
            <a:ext cx="965200" cy="56832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b="1" dirty="0">
                <a:solidFill>
                  <a:schemeClr val="bg1"/>
                </a:solidFill>
              </a:rPr>
              <a:t>2020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0EA0889-6FE4-A26C-50A6-1859BBD0EB50}"/>
              </a:ext>
            </a:extLst>
          </p:cNvPr>
          <p:cNvSpPr/>
          <p:nvPr/>
        </p:nvSpPr>
        <p:spPr>
          <a:xfrm>
            <a:off x="828485" y="2041240"/>
            <a:ext cx="965200" cy="56832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000" b="1" dirty="0">
                <a:solidFill>
                  <a:schemeClr val="bg1"/>
                </a:solidFill>
              </a:rPr>
              <a:t>50%</a:t>
            </a:r>
            <a:endParaRPr lang="en-US" sz="2000" b="1" dirty="0">
              <a:solidFill>
                <a:schemeClr val="bg1"/>
              </a:solidFill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9ED09C53-CDA8-1EF5-42C9-4C766960204B}"/>
              </a:ext>
            </a:extLst>
          </p:cNvPr>
          <p:cNvCxnSpPr/>
          <p:nvPr/>
        </p:nvCxnSpPr>
        <p:spPr>
          <a:xfrm flipV="1">
            <a:off x="4506785" y="1585120"/>
            <a:ext cx="0" cy="1831975"/>
          </a:xfrm>
          <a:prstGeom prst="line">
            <a:avLst/>
          </a:prstGeom>
          <a:ln w="38100">
            <a:solidFill>
              <a:schemeClr val="accent2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F673D0F0-58EF-E0DE-9A14-ED7B35603D3B}"/>
              </a:ext>
            </a:extLst>
          </p:cNvPr>
          <p:cNvSpPr/>
          <p:nvPr/>
        </p:nvSpPr>
        <p:spPr>
          <a:xfrm>
            <a:off x="4003548" y="1207295"/>
            <a:ext cx="965200" cy="5683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000" b="1" dirty="0">
                <a:solidFill>
                  <a:schemeClr val="bg1"/>
                </a:solidFill>
              </a:rPr>
              <a:t>2021</a:t>
            </a:r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21194A4-8DD8-633D-54F2-26F3FBED8E63}"/>
              </a:ext>
            </a:extLst>
          </p:cNvPr>
          <p:cNvSpPr/>
          <p:nvPr/>
        </p:nvSpPr>
        <p:spPr>
          <a:xfrm>
            <a:off x="4003548" y="1977232"/>
            <a:ext cx="965200" cy="5683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000" b="1" dirty="0">
                <a:solidFill>
                  <a:schemeClr val="bg1"/>
                </a:solidFill>
              </a:rPr>
              <a:t>60%</a:t>
            </a:r>
            <a:endParaRPr lang="en-US" sz="2000" b="1" dirty="0">
              <a:solidFill>
                <a:schemeClr val="bg1"/>
              </a:solidFill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E056239-03E0-5DEB-4584-F31E60333564}"/>
              </a:ext>
            </a:extLst>
          </p:cNvPr>
          <p:cNvCxnSpPr/>
          <p:nvPr/>
        </p:nvCxnSpPr>
        <p:spPr>
          <a:xfrm flipV="1">
            <a:off x="7697280" y="1749712"/>
            <a:ext cx="0" cy="2338387"/>
          </a:xfrm>
          <a:prstGeom prst="line">
            <a:avLst/>
          </a:prstGeom>
          <a:ln w="38100">
            <a:solidFill>
              <a:schemeClr val="accent3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E580B02F-51CF-4ED7-2CB7-A2160F066829}"/>
              </a:ext>
            </a:extLst>
          </p:cNvPr>
          <p:cNvSpPr/>
          <p:nvPr/>
        </p:nvSpPr>
        <p:spPr>
          <a:xfrm>
            <a:off x="7194043" y="1371887"/>
            <a:ext cx="965200" cy="5683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000" b="1" dirty="0">
                <a:solidFill>
                  <a:schemeClr val="bg1"/>
                </a:solidFill>
              </a:rPr>
              <a:t>2022</a:t>
            </a:r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FF6BF9E-EBCC-BC72-F1B1-F0BF2E78BCB4}"/>
              </a:ext>
            </a:extLst>
          </p:cNvPr>
          <p:cNvSpPr/>
          <p:nvPr/>
        </p:nvSpPr>
        <p:spPr>
          <a:xfrm>
            <a:off x="7194043" y="2141824"/>
            <a:ext cx="965200" cy="5683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000" b="1" dirty="0">
                <a:solidFill>
                  <a:schemeClr val="bg1"/>
                </a:solidFill>
              </a:rPr>
              <a:t>70%</a:t>
            </a:r>
            <a:endParaRPr lang="en-US" sz="2000" b="1" dirty="0">
              <a:solidFill>
                <a:schemeClr val="bg1"/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D8E01F5-4A9E-DCD9-8B39-DBDCF1847552}"/>
              </a:ext>
            </a:extLst>
          </p:cNvPr>
          <p:cNvCxnSpPr/>
          <p:nvPr/>
        </p:nvCxnSpPr>
        <p:spPr>
          <a:xfrm flipV="1">
            <a:off x="10900031" y="1612552"/>
            <a:ext cx="0" cy="2003425"/>
          </a:xfrm>
          <a:prstGeom prst="line">
            <a:avLst/>
          </a:prstGeom>
          <a:ln w="38100">
            <a:solidFill>
              <a:schemeClr val="accent4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id="{AEE34F97-0F06-D993-155A-03093324F489}"/>
              </a:ext>
            </a:extLst>
          </p:cNvPr>
          <p:cNvSpPr/>
          <p:nvPr/>
        </p:nvSpPr>
        <p:spPr>
          <a:xfrm>
            <a:off x="10398381" y="1234727"/>
            <a:ext cx="965200" cy="56832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000" b="1" dirty="0">
                <a:solidFill>
                  <a:schemeClr val="bg1"/>
                </a:solidFill>
              </a:rPr>
              <a:t>2023</a:t>
            </a:r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7087B6F-8814-A432-235F-55F49235FA4D}"/>
              </a:ext>
            </a:extLst>
          </p:cNvPr>
          <p:cNvSpPr/>
          <p:nvPr/>
        </p:nvSpPr>
        <p:spPr>
          <a:xfrm>
            <a:off x="10398381" y="2004664"/>
            <a:ext cx="965200" cy="56832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000" b="1" dirty="0">
                <a:solidFill>
                  <a:schemeClr val="bg1"/>
                </a:solidFill>
              </a:rPr>
              <a:t>90%</a:t>
            </a:r>
            <a:endParaRPr lang="en-US" sz="2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5024357"/>
      </p:ext>
    </p:extLst>
  </p:cSld>
  <p:clrMapOvr>
    <a:masterClrMapping/>
  </p:clrMapOvr>
</p:sld>
</file>

<file path=ppt/slides/slide1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BD4E77-4684-F557-88B4-E3D897E2EA9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0B7064FA-47B4-BCBA-C843-4D79E421A2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B7064FA-47B4-BCBA-C843-4D79E421A2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C0E15AF-BAE1-DDBD-4FD1-FC9E021A52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lustered Column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5615F940-53CB-619C-9336-27AA7F38FFAD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91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3" name="Chart 19">
            <a:extLst>
              <a:ext uri="{FF2B5EF4-FFF2-40B4-BE49-F238E27FC236}">
                <a16:creationId xmlns:a16="http://schemas.microsoft.com/office/drawing/2014/main" id="{B4CBA946-ACAB-C03B-0B80-F0C01155448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73316398"/>
              </p:ext>
            </p:extLst>
          </p:nvPr>
        </p:nvGraphicFramePr>
        <p:xfrm>
          <a:off x="419099" y="1250864"/>
          <a:ext cx="11233150" cy="47863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011136815"/>
      </p:ext>
    </p:extLst>
  </p:cSld>
  <p:clrMapOvr>
    <a:masterClrMapping/>
  </p:clrMapOvr>
</p:sld>
</file>

<file path=ppt/slides/slide1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D8F2F00-CD53-5A98-8D4B-562CE941B3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1631371F-B337-D7F8-D220-B81B40F0AA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631371F-B337-D7F8-D220-B81B40F0AA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87B09DC-BBF5-73C5-C242-6CA1BD3695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tacked Column / Pi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8289E450-110F-0730-FD88-C1B8565967A9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92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8" name="Chart 8">
            <a:extLst>
              <a:ext uri="{FF2B5EF4-FFF2-40B4-BE49-F238E27FC236}">
                <a16:creationId xmlns:a16="http://schemas.microsoft.com/office/drawing/2014/main" id="{DFE14288-52E8-8615-0DA5-B9BF29736FB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33996659"/>
              </p:ext>
            </p:extLst>
          </p:nvPr>
        </p:nvGraphicFramePr>
        <p:xfrm>
          <a:off x="419099" y="1031875"/>
          <a:ext cx="5513387" cy="47942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9" name="Chart 26">
            <a:extLst>
              <a:ext uri="{FF2B5EF4-FFF2-40B4-BE49-F238E27FC236}">
                <a16:creationId xmlns:a16="http://schemas.microsoft.com/office/drawing/2014/main" id="{29F2C1D5-45D1-67FD-1659-3AD405DB1F8C}"/>
              </a:ext>
            </a:extLst>
          </p:cNvPr>
          <p:cNvGraphicFramePr>
            <a:graphicFrameLocks/>
          </p:cNvGraphicFramePr>
          <p:nvPr/>
        </p:nvGraphicFramePr>
        <p:xfrm>
          <a:off x="6097588" y="1217112"/>
          <a:ext cx="5791200" cy="43275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149426758"/>
      </p:ext>
    </p:extLst>
  </p:cSld>
  <p:clrMapOvr>
    <a:masterClrMapping/>
  </p:clrMapOvr>
</p:sld>
</file>

<file path=ppt/slides/slide1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CFA786-8EDC-6526-8030-FC3DC5C6F9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402CA7F9-FB67-3E74-CCB0-86A217478A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02CA7F9-FB67-3E74-CCB0-86A217478A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904FCF4-C724-458F-F656-DCBF50D8CB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ie / Bar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FCFC6B49-7485-3EE3-D16F-0E13D5ABEACD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93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242" name="Chart 241">
            <a:extLst>
              <a:ext uri="{FF2B5EF4-FFF2-40B4-BE49-F238E27FC236}">
                <a16:creationId xmlns:a16="http://schemas.microsoft.com/office/drawing/2014/main" id="{00E560FA-23BD-4F6A-B2C1-AAAE79DD2329}"/>
              </a:ext>
            </a:extLst>
          </p:cNvPr>
          <p:cNvGraphicFramePr>
            <a:graphicFrameLocks/>
          </p:cNvGraphicFramePr>
          <p:nvPr/>
        </p:nvGraphicFramePr>
        <p:xfrm>
          <a:off x="837332" y="2037129"/>
          <a:ext cx="4721520" cy="35032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43" name="Chart 242">
            <a:extLst>
              <a:ext uri="{FF2B5EF4-FFF2-40B4-BE49-F238E27FC236}">
                <a16:creationId xmlns:a16="http://schemas.microsoft.com/office/drawing/2014/main" id="{57094100-E9B0-4DE4-A29F-0B36823A3E26}"/>
              </a:ext>
            </a:extLst>
          </p:cNvPr>
          <p:cNvGraphicFramePr>
            <a:graphicFrameLocks/>
          </p:cNvGraphicFramePr>
          <p:nvPr/>
        </p:nvGraphicFramePr>
        <p:xfrm>
          <a:off x="5351604" y="1751521"/>
          <a:ext cx="2590562" cy="42010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44" name="Chart 243">
            <a:extLst>
              <a:ext uri="{FF2B5EF4-FFF2-40B4-BE49-F238E27FC236}">
                <a16:creationId xmlns:a16="http://schemas.microsoft.com/office/drawing/2014/main" id="{8CF92108-1D03-4167-9BCA-953FE29441E4}"/>
              </a:ext>
            </a:extLst>
          </p:cNvPr>
          <p:cNvGraphicFramePr>
            <a:graphicFrameLocks/>
          </p:cNvGraphicFramePr>
          <p:nvPr/>
        </p:nvGraphicFramePr>
        <p:xfrm>
          <a:off x="8837531" y="1751521"/>
          <a:ext cx="2590562" cy="42010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45" name="Rectangle 244">
            <a:extLst>
              <a:ext uri="{FF2B5EF4-FFF2-40B4-BE49-F238E27FC236}">
                <a16:creationId xmlns:a16="http://schemas.microsoft.com/office/drawing/2014/main" id="{DDCB2B55-238B-4570-B8E2-1E98B8501B7E}"/>
              </a:ext>
            </a:extLst>
          </p:cNvPr>
          <p:cNvSpPr/>
          <p:nvPr/>
        </p:nvSpPr>
        <p:spPr>
          <a:xfrm>
            <a:off x="7942168" y="1811102"/>
            <a:ext cx="971991" cy="357107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IN" sz="2229" dirty="0">
              <a:solidFill>
                <a:srgbClr val="FFFFFF"/>
              </a:solidFill>
            </a:endParaRPr>
          </a:p>
        </p:txBody>
      </p:sp>
      <p:sp>
        <p:nvSpPr>
          <p:cNvPr id="246" name="Rectangle 245">
            <a:extLst>
              <a:ext uri="{FF2B5EF4-FFF2-40B4-BE49-F238E27FC236}">
                <a16:creationId xmlns:a16="http://schemas.microsoft.com/office/drawing/2014/main" id="{2838F579-7A93-4BBC-BB5E-735DC46E1122}"/>
              </a:ext>
            </a:extLst>
          </p:cNvPr>
          <p:cNvSpPr/>
          <p:nvPr/>
        </p:nvSpPr>
        <p:spPr>
          <a:xfrm>
            <a:off x="7942168" y="1672757"/>
            <a:ext cx="971991" cy="366564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IN" sz="2229" dirty="0">
              <a:solidFill>
                <a:schemeClr val="tx1"/>
              </a:solidFill>
            </a:endParaRPr>
          </a:p>
        </p:txBody>
      </p:sp>
      <p:sp>
        <p:nvSpPr>
          <p:cNvPr id="247" name="TextBox 246">
            <a:extLst>
              <a:ext uri="{FF2B5EF4-FFF2-40B4-BE49-F238E27FC236}">
                <a16:creationId xmlns:a16="http://schemas.microsoft.com/office/drawing/2014/main" id="{824CF091-9438-4F2A-8686-1A990AB5C010}"/>
              </a:ext>
            </a:extLst>
          </p:cNvPr>
          <p:cNvSpPr txBox="1"/>
          <p:nvPr/>
        </p:nvSpPr>
        <p:spPr>
          <a:xfrm>
            <a:off x="8105003" y="2037129"/>
            <a:ext cx="646331" cy="3186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71" b="1" dirty="0"/>
              <a:t>Logo</a:t>
            </a:r>
          </a:p>
        </p:txBody>
      </p:sp>
      <p:sp>
        <p:nvSpPr>
          <p:cNvPr id="248" name="TextBox 247">
            <a:extLst>
              <a:ext uri="{FF2B5EF4-FFF2-40B4-BE49-F238E27FC236}">
                <a16:creationId xmlns:a16="http://schemas.microsoft.com/office/drawing/2014/main" id="{4EBF628F-AC5C-4470-8A57-1E0DE20E8C8A}"/>
              </a:ext>
            </a:extLst>
          </p:cNvPr>
          <p:cNvSpPr txBox="1"/>
          <p:nvPr/>
        </p:nvSpPr>
        <p:spPr>
          <a:xfrm>
            <a:off x="8105003" y="2691238"/>
            <a:ext cx="646331" cy="3186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71" b="1" dirty="0"/>
              <a:t>Logo</a:t>
            </a:r>
          </a:p>
        </p:txBody>
      </p:sp>
      <p:sp>
        <p:nvSpPr>
          <p:cNvPr id="249" name="TextBox 248">
            <a:extLst>
              <a:ext uri="{FF2B5EF4-FFF2-40B4-BE49-F238E27FC236}">
                <a16:creationId xmlns:a16="http://schemas.microsoft.com/office/drawing/2014/main" id="{643D7CC4-0233-4DEC-80FF-92286EFE6748}"/>
              </a:ext>
            </a:extLst>
          </p:cNvPr>
          <p:cNvSpPr txBox="1"/>
          <p:nvPr/>
        </p:nvSpPr>
        <p:spPr>
          <a:xfrm>
            <a:off x="8105003" y="3345347"/>
            <a:ext cx="646331" cy="3186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71" b="1" dirty="0"/>
              <a:t>Logo</a:t>
            </a:r>
          </a:p>
        </p:txBody>
      </p:sp>
      <p:sp>
        <p:nvSpPr>
          <p:cNvPr id="250" name="TextBox 249">
            <a:extLst>
              <a:ext uri="{FF2B5EF4-FFF2-40B4-BE49-F238E27FC236}">
                <a16:creationId xmlns:a16="http://schemas.microsoft.com/office/drawing/2014/main" id="{A07D6F1D-3FE0-4850-BC26-E9B1AF07F726}"/>
              </a:ext>
            </a:extLst>
          </p:cNvPr>
          <p:cNvSpPr txBox="1"/>
          <p:nvPr/>
        </p:nvSpPr>
        <p:spPr>
          <a:xfrm>
            <a:off x="8105003" y="3999456"/>
            <a:ext cx="646331" cy="3186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71" b="1" dirty="0"/>
              <a:t>Logo</a:t>
            </a:r>
          </a:p>
        </p:txBody>
      </p:sp>
      <p:sp>
        <p:nvSpPr>
          <p:cNvPr id="251" name="TextBox 250">
            <a:extLst>
              <a:ext uri="{FF2B5EF4-FFF2-40B4-BE49-F238E27FC236}">
                <a16:creationId xmlns:a16="http://schemas.microsoft.com/office/drawing/2014/main" id="{CB1B3362-C37C-4051-B155-9BCB0BE3C6BE}"/>
              </a:ext>
            </a:extLst>
          </p:cNvPr>
          <p:cNvSpPr txBox="1"/>
          <p:nvPr/>
        </p:nvSpPr>
        <p:spPr>
          <a:xfrm>
            <a:off x="8105003" y="4653565"/>
            <a:ext cx="646331" cy="3186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71" b="1" dirty="0"/>
              <a:t>Logo</a:t>
            </a:r>
          </a:p>
        </p:txBody>
      </p:sp>
      <p:sp>
        <p:nvSpPr>
          <p:cNvPr id="252" name="TextBox 251">
            <a:extLst>
              <a:ext uri="{FF2B5EF4-FFF2-40B4-BE49-F238E27FC236}">
                <a16:creationId xmlns:a16="http://schemas.microsoft.com/office/drawing/2014/main" id="{A3CB2011-B402-441B-92A1-F59B6F62E6EF}"/>
              </a:ext>
            </a:extLst>
          </p:cNvPr>
          <p:cNvSpPr txBox="1"/>
          <p:nvPr/>
        </p:nvSpPr>
        <p:spPr>
          <a:xfrm>
            <a:off x="8105003" y="5307674"/>
            <a:ext cx="646331" cy="3186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71" b="1" dirty="0"/>
              <a:t>Logo</a:t>
            </a:r>
          </a:p>
        </p:txBody>
      </p:sp>
      <p:sp>
        <p:nvSpPr>
          <p:cNvPr id="253" name="TextBox 252">
            <a:extLst>
              <a:ext uri="{FF2B5EF4-FFF2-40B4-BE49-F238E27FC236}">
                <a16:creationId xmlns:a16="http://schemas.microsoft.com/office/drawing/2014/main" id="{7CE0558F-BEAD-478C-876E-D7581C9C7B6C}"/>
              </a:ext>
            </a:extLst>
          </p:cNvPr>
          <p:cNvSpPr txBox="1"/>
          <p:nvPr/>
        </p:nvSpPr>
        <p:spPr>
          <a:xfrm>
            <a:off x="5351604" y="1229568"/>
            <a:ext cx="6153114" cy="318677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71" b="1" dirty="0"/>
              <a:t>Title</a:t>
            </a:r>
          </a:p>
        </p:txBody>
      </p:sp>
      <p:sp>
        <p:nvSpPr>
          <p:cNvPr id="254" name="TextBox 253">
            <a:extLst>
              <a:ext uri="{FF2B5EF4-FFF2-40B4-BE49-F238E27FC236}">
                <a16:creationId xmlns:a16="http://schemas.microsoft.com/office/drawing/2014/main" id="{552FA4BA-A9E9-4238-A3F1-AC53A10CF537}"/>
              </a:ext>
            </a:extLst>
          </p:cNvPr>
          <p:cNvSpPr txBox="1"/>
          <p:nvPr/>
        </p:nvSpPr>
        <p:spPr>
          <a:xfrm>
            <a:off x="837332" y="1229568"/>
            <a:ext cx="4303419" cy="318677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71" b="1" dirty="0"/>
              <a:t>Title</a:t>
            </a:r>
          </a:p>
        </p:txBody>
      </p:sp>
      <p:sp>
        <p:nvSpPr>
          <p:cNvPr id="255" name="Freeform: Shape 254">
            <a:extLst>
              <a:ext uri="{FF2B5EF4-FFF2-40B4-BE49-F238E27FC236}">
                <a16:creationId xmlns:a16="http://schemas.microsoft.com/office/drawing/2014/main" id="{FD7AA224-1137-457A-A0DE-A06FB937E8A0}"/>
              </a:ext>
            </a:extLst>
          </p:cNvPr>
          <p:cNvSpPr>
            <a:spLocks/>
          </p:cNvSpPr>
          <p:nvPr/>
        </p:nvSpPr>
        <p:spPr>
          <a:xfrm>
            <a:off x="837332" y="1583596"/>
            <a:ext cx="4303419" cy="0"/>
          </a:xfrm>
          <a:custGeom>
            <a:avLst/>
            <a:gdLst>
              <a:gd name="connsiteX0" fmla="*/ 0 w 10754591"/>
              <a:gd name="connsiteY0" fmla="*/ 0 h 0"/>
              <a:gd name="connsiteX1" fmla="*/ 10754591 w 10754591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754591">
                <a:moveTo>
                  <a:pt x="0" y="0"/>
                </a:moveTo>
                <a:lnTo>
                  <a:pt x="10754591" y="0"/>
                </a:lnTo>
              </a:path>
            </a:pathLst>
          </a:cu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endParaRPr lang="en-US" sz="2229" dirty="0">
              <a:solidFill>
                <a:schemeClr val="tx1"/>
              </a:solidFill>
            </a:endParaRPr>
          </a:p>
        </p:txBody>
      </p:sp>
      <p:sp>
        <p:nvSpPr>
          <p:cNvPr id="256" name="Freeform: Shape 255">
            <a:extLst>
              <a:ext uri="{FF2B5EF4-FFF2-40B4-BE49-F238E27FC236}">
                <a16:creationId xmlns:a16="http://schemas.microsoft.com/office/drawing/2014/main" id="{7B2D4AD3-9C7E-4FBE-8EAA-28D4732D71C3}"/>
              </a:ext>
            </a:extLst>
          </p:cNvPr>
          <p:cNvSpPr>
            <a:spLocks/>
          </p:cNvSpPr>
          <p:nvPr/>
        </p:nvSpPr>
        <p:spPr>
          <a:xfrm>
            <a:off x="5351604" y="1583596"/>
            <a:ext cx="6153114" cy="0"/>
          </a:xfrm>
          <a:custGeom>
            <a:avLst/>
            <a:gdLst>
              <a:gd name="connsiteX0" fmla="*/ 0 w 10754591"/>
              <a:gd name="connsiteY0" fmla="*/ 0 h 0"/>
              <a:gd name="connsiteX1" fmla="*/ 10754591 w 10754591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754591">
                <a:moveTo>
                  <a:pt x="0" y="0"/>
                </a:moveTo>
                <a:lnTo>
                  <a:pt x="10754591" y="0"/>
                </a:lnTo>
              </a:path>
            </a:pathLst>
          </a:cu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sz="2229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6980985"/>
      </p:ext>
    </p:extLst>
  </p:cSld>
  <p:clrMapOvr>
    <a:masterClrMapping/>
  </p:clrMapOvr>
</p:sld>
</file>

<file path=ppt/slides/slide1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3B5124-5646-54C6-DE35-5EAF2723F2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5D9CCF0D-5EB8-1EAA-E0B1-D8D4BCB61A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D9CCF0D-5EB8-1EAA-E0B1-D8D4BCB61A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4F82BAD-C380-9871-0AD3-6D98AE4B6B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Doughnut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8FCE1ACA-2B37-0449-EB5F-76DB93C22E81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94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3" name="Google Shape;1513;p21">
            <a:extLst>
              <a:ext uri="{FF2B5EF4-FFF2-40B4-BE49-F238E27FC236}">
                <a16:creationId xmlns:a16="http://schemas.microsoft.com/office/drawing/2014/main" id="{EACA3A77-EA50-F451-C1F9-5C688B043825}"/>
              </a:ext>
            </a:extLst>
          </p:cNvPr>
          <p:cNvGraphicFramePr/>
          <p:nvPr/>
        </p:nvGraphicFramePr>
        <p:xfrm>
          <a:off x="1044402" y="1717677"/>
          <a:ext cx="3346243" cy="35526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5" name="Google Shape;1496;p36">
            <a:extLst>
              <a:ext uri="{FF2B5EF4-FFF2-40B4-BE49-F238E27FC236}">
                <a16:creationId xmlns:a16="http://schemas.microsoft.com/office/drawing/2014/main" id="{1535DF5B-548F-2D8D-CDEF-9F491BB203F3}"/>
              </a:ext>
            </a:extLst>
          </p:cNvPr>
          <p:cNvSpPr/>
          <p:nvPr/>
        </p:nvSpPr>
        <p:spPr>
          <a:xfrm rot="5400000">
            <a:off x="8240700" y="-758865"/>
            <a:ext cx="1333881" cy="5219851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88752" tIns="88752" rIns="88752" bIns="88752" anchor="ctr" anchorCtr="0">
            <a:noAutofit/>
          </a:bodyPr>
          <a:lstStyle/>
          <a:p>
            <a:endParaRPr sz="1553" dirty="0"/>
          </a:p>
        </p:txBody>
      </p:sp>
      <p:sp>
        <p:nvSpPr>
          <p:cNvPr id="6" name="Shape0_20220502_104935">
            <a:extLst>
              <a:ext uri="{FF2B5EF4-FFF2-40B4-BE49-F238E27FC236}">
                <a16:creationId xmlns:a16="http://schemas.microsoft.com/office/drawing/2014/main" id="{E67CA5C5-ECE5-5304-D8DF-33FFFCE1B455}"/>
              </a:ext>
            </a:extLst>
          </p:cNvPr>
          <p:cNvSpPr txBox="1"/>
          <p:nvPr/>
        </p:nvSpPr>
        <p:spPr>
          <a:xfrm>
            <a:off x="6364666" y="1688006"/>
            <a:ext cx="4392087" cy="3261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8752" tIns="44364" rIns="88752" bIns="44364" anchor="ctr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537" dirty="0">
                <a:solidFill>
                  <a:schemeClr val="bg1"/>
                </a:solidFill>
              </a:rPr>
              <a:t>Insert Text Here</a:t>
            </a:r>
            <a:endParaRPr sz="1537" dirty="0">
              <a:solidFill>
                <a:schemeClr val="bg1"/>
              </a:solidFill>
            </a:endParaRPr>
          </a:p>
        </p:txBody>
      </p:sp>
      <p:sp>
        <p:nvSpPr>
          <p:cNvPr id="7" name="Google Shape;1498;p36">
            <a:extLst>
              <a:ext uri="{FF2B5EF4-FFF2-40B4-BE49-F238E27FC236}">
                <a16:creationId xmlns:a16="http://schemas.microsoft.com/office/drawing/2014/main" id="{CB1D3601-0C99-13CF-94A5-B9035B955F1E}"/>
              </a:ext>
            </a:extLst>
          </p:cNvPr>
          <p:cNvSpPr/>
          <p:nvPr/>
        </p:nvSpPr>
        <p:spPr>
          <a:xfrm rot="5400000">
            <a:off x="8240700" y="868607"/>
            <a:ext cx="1333881" cy="5219851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88752" tIns="88752" rIns="88752" bIns="88752" anchor="ctr" anchorCtr="0">
            <a:noAutofit/>
          </a:bodyPr>
          <a:lstStyle/>
          <a:p>
            <a:endParaRPr sz="1553" dirty="0"/>
          </a:p>
        </p:txBody>
      </p:sp>
      <p:sp>
        <p:nvSpPr>
          <p:cNvPr id="8" name="Shape1_20220502_104935">
            <a:extLst>
              <a:ext uri="{FF2B5EF4-FFF2-40B4-BE49-F238E27FC236}">
                <a16:creationId xmlns:a16="http://schemas.microsoft.com/office/drawing/2014/main" id="{7A194269-8937-DB58-7A59-C458C707C78C}"/>
              </a:ext>
            </a:extLst>
          </p:cNvPr>
          <p:cNvSpPr txBox="1"/>
          <p:nvPr/>
        </p:nvSpPr>
        <p:spPr>
          <a:xfrm>
            <a:off x="6364666" y="3315482"/>
            <a:ext cx="4392087" cy="3261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8752" tIns="44364" rIns="88752" bIns="44364" anchor="ctr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537" dirty="0">
                <a:solidFill>
                  <a:schemeClr val="bg1"/>
                </a:solidFill>
              </a:rPr>
              <a:t>Insert Text Here</a:t>
            </a:r>
            <a:endParaRPr sz="1537" dirty="0">
              <a:solidFill>
                <a:schemeClr val="bg1"/>
              </a:solidFill>
            </a:endParaRPr>
          </a:p>
        </p:txBody>
      </p:sp>
      <p:sp>
        <p:nvSpPr>
          <p:cNvPr id="9" name="Google Shape;1500;p36">
            <a:extLst>
              <a:ext uri="{FF2B5EF4-FFF2-40B4-BE49-F238E27FC236}">
                <a16:creationId xmlns:a16="http://schemas.microsoft.com/office/drawing/2014/main" id="{28556D13-4E51-B6CA-3BE7-2593ABEA94AA}"/>
              </a:ext>
            </a:extLst>
          </p:cNvPr>
          <p:cNvSpPr/>
          <p:nvPr/>
        </p:nvSpPr>
        <p:spPr>
          <a:xfrm rot="5400000">
            <a:off x="8240700" y="2496078"/>
            <a:ext cx="1333881" cy="5219851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88752" tIns="88752" rIns="88752" bIns="88752" anchor="ctr" anchorCtr="0">
            <a:noAutofit/>
          </a:bodyPr>
          <a:lstStyle/>
          <a:p>
            <a:endParaRPr sz="1553" dirty="0"/>
          </a:p>
        </p:txBody>
      </p:sp>
      <p:sp>
        <p:nvSpPr>
          <p:cNvPr id="10" name="Shape2_20220502_104935">
            <a:extLst>
              <a:ext uri="{FF2B5EF4-FFF2-40B4-BE49-F238E27FC236}">
                <a16:creationId xmlns:a16="http://schemas.microsoft.com/office/drawing/2014/main" id="{780A1EA7-1174-5270-20B0-869A737B0BD4}"/>
              </a:ext>
            </a:extLst>
          </p:cNvPr>
          <p:cNvSpPr txBox="1"/>
          <p:nvPr/>
        </p:nvSpPr>
        <p:spPr>
          <a:xfrm>
            <a:off x="6364666" y="4942922"/>
            <a:ext cx="4392087" cy="3261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8752" tIns="44364" rIns="88752" bIns="44364" anchor="ctr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537" dirty="0">
                <a:solidFill>
                  <a:schemeClr val="bg1"/>
                </a:solidFill>
              </a:rPr>
              <a:t>Insert Text Here</a:t>
            </a:r>
            <a:endParaRPr sz="1537" dirty="0">
              <a:solidFill>
                <a:schemeClr val="bg1"/>
              </a:solidFill>
            </a:endParaRPr>
          </a:p>
        </p:txBody>
      </p:sp>
      <p:sp>
        <p:nvSpPr>
          <p:cNvPr id="11" name="Shape0_20210628_180235">
            <a:extLst>
              <a:ext uri="{FF2B5EF4-FFF2-40B4-BE49-F238E27FC236}">
                <a16:creationId xmlns:a16="http://schemas.microsoft.com/office/drawing/2014/main" id="{52FFC48A-A8EC-6478-31CA-925553A7F061}"/>
              </a:ext>
            </a:extLst>
          </p:cNvPr>
          <p:cNvSpPr/>
          <p:nvPr/>
        </p:nvSpPr>
        <p:spPr>
          <a:xfrm>
            <a:off x="10602108" y="1504432"/>
            <a:ext cx="693257" cy="69325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</p:spPr>
        <p:txBody>
          <a:bodyPr spcFirstLastPara="1" wrap="square" lIns="88752" tIns="44364" rIns="88752" bIns="44364" anchor="ctr" anchorCtr="0">
            <a:noAutofit/>
          </a:bodyPr>
          <a:lstStyle/>
          <a:p>
            <a:pPr algn="ctr"/>
            <a:endParaRPr sz="1553" dirty="0">
              <a:solidFill>
                <a:schemeClr val="lt1"/>
              </a:solidFill>
            </a:endParaRPr>
          </a:p>
        </p:txBody>
      </p:sp>
      <p:sp>
        <p:nvSpPr>
          <p:cNvPr id="12" name="Shape1_20210628_180235">
            <a:extLst>
              <a:ext uri="{FF2B5EF4-FFF2-40B4-BE49-F238E27FC236}">
                <a16:creationId xmlns:a16="http://schemas.microsoft.com/office/drawing/2014/main" id="{59C68593-EEC5-4BF5-A77F-D948971790A3}"/>
              </a:ext>
            </a:extLst>
          </p:cNvPr>
          <p:cNvSpPr/>
          <p:nvPr/>
        </p:nvSpPr>
        <p:spPr>
          <a:xfrm>
            <a:off x="10602108" y="4759377"/>
            <a:ext cx="693257" cy="69325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</p:spPr>
        <p:txBody>
          <a:bodyPr spcFirstLastPara="1" wrap="square" lIns="88752" tIns="44364" rIns="88752" bIns="44364" anchor="ctr" anchorCtr="0">
            <a:noAutofit/>
          </a:bodyPr>
          <a:lstStyle/>
          <a:p>
            <a:pPr algn="ctr"/>
            <a:endParaRPr sz="1553" dirty="0">
              <a:solidFill>
                <a:schemeClr val="lt1"/>
              </a:solidFill>
            </a:endParaRPr>
          </a:p>
        </p:txBody>
      </p:sp>
      <p:sp>
        <p:nvSpPr>
          <p:cNvPr id="13" name="Shape2_20210628_180235">
            <a:extLst>
              <a:ext uri="{FF2B5EF4-FFF2-40B4-BE49-F238E27FC236}">
                <a16:creationId xmlns:a16="http://schemas.microsoft.com/office/drawing/2014/main" id="{BBA4A6DB-8F38-5244-3C09-9A13A8EB5850}"/>
              </a:ext>
            </a:extLst>
          </p:cNvPr>
          <p:cNvSpPr/>
          <p:nvPr/>
        </p:nvSpPr>
        <p:spPr>
          <a:xfrm>
            <a:off x="10602108" y="3131904"/>
            <a:ext cx="693257" cy="69325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</p:spPr>
        <p:txBody>
          <a:bodyPr spcFirstLastPara="1" wrap="square" lIns="88752" tIns="44364" rIns="88752" bIns="44364" anchor="ctr" anchorCtr="0">
            <a:noAutofit/>
          </a:bodyPr>
          <a:lstStyle/>
          <a:p>
            <a:pPr algn="ctr"/>
            <a:endParaRPr sz="1553" dirty="0">
              <a:solidFill>
                <a:schemeClr val="lt1"/>
              </a:solidFill>
            </a:endParaRPr>
          </a:p>
        </p:txBody>
      </p:sp>
      <p:sp>
        <p:nvSpPr>
          <p:cNvPr id="14" name="Freeform 884">
            <a:extLst>
              <a:ext uri="{FF2B5EF4-FFF2-40B4-BE49-F238E27FC236}">
                <a16:creationId xmlns:a16="http://schemas.microsoft.com/office/drawing/2014/main" id="{058B1767-34B2-3DEF-0906-2D518BA1832E}"/>
              </a:ext>
            </a:extLst>
          </p:cNvPr>
          <p:cNvSpPr>
            <a:spLocks noEditPoints="1"/>
          </p:cNvSpPr>
          <p:nvPr/>
        </p:nvSpPr>
        <p:spPr bwMode="auto">
          <a:xfrm>
            <a:off x="10749862" y="3322383"/>
            <a:ext cx="397736" cy="268104"/>
          </a:xfrm>
          <a:custGeom>
            <a:avLst/>
            <a:gdLst>
              <a:gd name="T0" fmla="*/ 387 w 413"/>
              <a:gd name="T1" fmla="*/ 279 h 279"/>
              <a:gd name="T2" fmla="*/ 27 w 413"/>
              <a:gd name="T3" fmla="*/ 279 h 279"/>
              <a:gd name="T4" fmla="*/ 0 w 413"/>
              <a:gd name="T5" fmla="*/ 252 h 279"/>
              <a:gd name="T6" fmla="*/ 0 w 413"/>
              <a:gd name="T7" fmla="*/ 27 h 279"/>
              <a:gd name="T8" fmla="*/ 27 w 413"/>
              <a:gd name="T9" fmla="*/ 0 h 279"/>
              <a:gd name="T10" fmla="*/ 387 w 413"/>
              <a:gd name="T11" fmla="*/ 0 h 279"/>
              <a:gd name="T12" fmla="*/ 413 w 413"/>
              <a:gd name="T13" fmla="*/ 27 h 279"/>
              <a:gd name="T14" fmla="*/ 413 w 413"/>
              <a:gd name="T15" fmla="*/ 252 h 279"/>
              <a:gd name="T16" fmla="*/ 387 w 413"/>
              <a:gd name="T17" fmla="*/ 279 h 279"/>
              <a:gd name="T18" fmla="*/ 27 w 413"/>
              <a:gd name="T19" fmla="*/ 11 h 279"/>
              <a:gd name="T20" fmla="*/ 11 w 413"/>
              <a:gd name="T21" fmla="*/ 27 h 279"/>
              <a:gd name="T22" fmla="*/ 11 w 413"/>
              <a:gd name="T23" fmla="*/ 252 h 279"/>
              <a:gd name="T24" fmla="*/ 27 w 413"/>
              <a:gd name="T25" fmla="*/ 268 h 279"/>
              <a:gd name="T26" fmla="*/ 387 w 413"/>
              <a:gd name="T27" fmla="*/ 268 h 279"/>
              <a:gd name="T28" fmla="*/ 402 w 413"/>
              <a:gd name="T29" fmla="*/ 252 h 279"/>
              <a:gd name="T30" fmla="*/ 402 w 413"/>
              <a:gd name="T31" fmla="*/ 27 h 279"/>
              <a:gd name="T32" fmla="*/ 387 w 413"/>
              <a:gd name="T33" fmla="*/ 11 h 279"/>
              <a:gd name="T34" fmla="*/ 27 w 413"/>
              <a:gd name="T35" fmla="*/ 11 h 2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413" h="279">
                <a:moveTo>
                  <a:pt x="387" y="279"/>
                </a:moveTo>
                <a:cubicBezTo>
                  <a:pt x="27" y="279"/>
                  <a:pt x="27" y="279"/>
                  <a:pt x="27" y="279"/>
                </a:cubicBezTo>
                <a:cubicBezTo>
                  <a:pt x="12" y="279"/>
                  <a:pt x="0" y="267"/>
                  <a:pt x="0" y="252"/>
                </a:cubicBezTo>
                <a:cubicBezTo>
                  <a:pt x="0" y="27"/>
                  <a:pt x="0" y="27"/>
                  <a:pt x="0" y="27"/>
                </a:cubicBezTo>
                <a:cubicBezTo>
                  <a:pt x="0" y="12"/>
                  <a:pt x="12" y="0"/>
                  <a:pt x="27" y="0"/>
                </a:cubicBezTo>
                <a:cubicBezTo>
                  <a:pt x="387" y="0"/>
                  <a:pt x="387" y="0"/>
                  <a:pt x="387" y="0"/>
                </a:cubicBezTo>
                <a:cubicBezTo>
                  <a:pt x="401" y="0"/>
                  <a:pt x="413" y="12"/>
                  <a:pt x="413" y="27"/>
                </a:cubicBezTo>
                <a:cubicBezTo>
                  <a:pt x="413" y="252"/>
                  <a:pt x="413" y="252"/>
                  <a:pt x="413" y="252"/>
                </a:cubicBezTo>
                <a:cubicBezTo>
                  <a:pt x="413" y="267"/>
                  <a:pt x="401" y="279"/>
                  <a:pt x="387" y="279"/>
                </a:cubicBezTo>
                <a:close/>
                <a:moveTo>
                  <a:pt x="27" y="11"/>
                </a:moveTo>
                <a:cubicBezTo>
                  <a:pt x="18" y="11"/>
                  <a:pt x="11" y="18"/>
                  <a:pt x="11" y="27"/>
                </a:cubicBezTo>
                <a:cubicBezTo>
                  <a:pt x="11" y="252"/>
                  <a:pt x="11" y="252"/>
                  <a:pt x="11" y="252"/>
                </a:cubicBezTo>
                <a:cubicBezTo>
                  <a:pt x="11" y="261"/>
                  <a:pt x="18" y="268"/>
                  <a:pt x="27" y="268"/>
                </a:cubicBezTo>
                <a:cubicBezTo>
                  <a:pt x="387" y="268"/>
                  <a:pt x="387" y="268"/>
                  <a:pt x="387" y="268"/>
                </a:cubicBezTo>
                <a:cubicBezTo>
                  <a:pt x="395" y="268"/>
                  <a:pt x="402" y="261"/>
                  <a:pt x="402" y="252"/>
                </a:cubicBezTo>
                <a:cubicBezTo>
                  <a:pt x="402" y="27"/>
                  <a:pt x="402" y="27"/>
                  <a:pt x="402" y="27"/>
                </a:cubicBezTo>
                <a:cubicBezTo>
                  <a:pt x="402" y="18"/>
                  <a:pt x="395" y="11"/>
                  <a:pt x="387" y="11"/>
                </a:cubicBezTo>
                <a:lnTo>
                  <a:pt x="27" y="11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15" name="Freeform 885">
            <a:extLst>
              <a:ext uri="{FF2B5EF4-FFF2-40B4-BE49-F238E27FC236}">
                <a16:creationId xmlns:a16="http://schemas.microsoft.com/office/drawing/2014/main" id="{C2E076C1-E9AD-2798-5999-D0DE3C1F0A91}"/>
              </a:ext>
            </a:extLst>
          </p:cNvPr>
          <p:cNvSpPr>
            <a:spLocks noEditPoints="1"/>
          </p:cNvSpPr>
          <p:nvPr/>
        </p:nvSpPr>
        <p:spPr bwMode="auto">
          <a:xfrm>
            <a:off x="10919270" y="3580177"/>
            <a:ext cx="61872" cy="54506"/>
          </a:xfrm>
          <a:custGeom>
            <a:avLst/>
            <a:gdLst>
              <a:gd name="T0" fmla="*/ 58 w 64"/>
              <a:gd name="T1" fmla="*/ 57 h 57"/>
              <a:gd name="T2" fmla="*/ 5 w 64"/>
              <a:gd name="T3" fmla="*/ 57 h 57"/>
              <a:gd name="T4" fmla="*/ 0 w 64"/>
              <a:gd name="T5" fmla="*/ 51 h 57"/>
              <a:gd name="T6" fmla="*/ 0 w 64"/>
              <a:gd name="T7" fmla="*/ 5 h 57"/>
              <a:gd name="T8" fmla="*/ 5 w 64"/>
              <a:gd name="T9" fmla="*/ 0 h 57"/>
              <a:gd name="T10" fmla="*/ 58 w 64"/>
              <a:gd name="T11" fmla="*/ 0 h 57"/>
              <a:gd name="T12" fmla="*/ 64 w 64"/>
              <a:gd name="T13" fmla="*/ 5 h 57"/>
              <a:gd name="T14" fmla="*/ 64 w 64"/>
              <a:gd name="T15" fmla="*/ 51 h 57"/>
              <a:gd name="T16" fmla="*/ 58 w 64"/>
              <a:gd name="T17" fmla="*/ 57 h 57"/>
              <a:gd name="T18" fmla="*/ 11 w 64"/>
              <a:gd name="T19" fmla="*/ 46 h 57"/>
              <a:gd name="T20" fmla="*/ 53 w 64"/>
              <a:gd name="T21" fmla="*/ 46 h 57"/>
              <a:gd name="T22" fmla="*/ 53 w 64"/>
              <a:gd name="T23" fmla="*/ 11 h 57"/>
              <a:gd name="T24" fmla="*/ 11 w 64"/>
              <a:gd name="T25" fmla="*/ 11 h 57"/>
              <a:gd name="T26" fmla="*/ 11 w 64"/>
              <a:gd name="T27" fmla="*/ 46 h 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64" h="57">
                <a:moveTo>
                  <a:pt x="58" y="57"/>
                </a:moveTo>
                <a:cubicBezTo>
                  <a:pt x="5" y="57"/>
                  <a:pt x="5" y="57"/>
                  <a:pt x="5" y="57"/>
                </a:cubicBezTo>
                <a:cubicBezTo>
                  <a:pt x="2" y="57"/>
                  <a:pt x="0" y="54"/>
                  <a:pt x="0" y="51"/>
                </a:cubicBezTo>
                <a:cubicBezTo>
                  <a:pt x="0" y="5"/>
                  <a:pt x="0" y="5"/>
                  <a:pt x="0" y="5"/>
                </a:cubicBezTo>
                <a:cubicBezTo>
                  <a:pt x="0" y="2"/>
                  <a:pt x="2" y="0"/>
                  <a:pt x="5" y="0"/>
                </a:cubicBezTo>
                <a:cubicBezTo>
                  <a:pt x="58" y="0"/>
                  <a:pt x="58" y="0"/>
                  <a:pt x="58" y="0"/>
                </a:cubicBezTo>
                <a:cubicBezTo>
                  <a:pt x="61" y="0"/>
                  <a:pt x="64" y="2"/>
                  <a:pt x="64" y="5"/>
                </a:cubicBezTo>
                <a:cubicBezTo>
                  <a:pt x="64" y="51"/>
                  <a:pt x="64" y="51"/>
                  <a:pt x="64" y="51"/>
                </a:cubicBezTo>
                <a:cubicBezTo>
                  <a:pt x="64" y="54"/>
                  <a:pt x="61" y="57"/>
                  <a:pt x="58" y="57"/>
                </a:cubicBezTo>
                <a:close/>
                <a:moveTo>
                  <a:pt x="11" y="46"/>
                </a:moveTo>
                <a:cubicBezTo>
                  <a:pt x="53" y="46"/>
                  <a:pt x="53" y="46"/>
                  <a:pt x="53" y="46"/>
                </a:cubicBezTo>
                <a:cubicBezTo>
                  <a:pt x="53" y="11"/>
                  <a:pt x="53" y="11"/>
                  <a:pt x="53" y="11"/>
                </a:cubicBezTo>
                <a:cubicBezTo>
                  <a:pt x="11" y="11"/>
                  <a:pt x="11" y="11"/>
                  <a:pt x="11" y="11"/>
                </a:cubicBezTo>
                <a:lnTo>
                  <a:pt x="11" y="4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16" name="Freeform 886">
            <a:extLst>
              <a:ext uri="{FF2B5EF4-FFF2-40B4-BE49-F238E27FC236}">
                <a16:creationId xmlns:a16="http://schemas.microsoft.com/office/drawing/2014/main" id="{7CC64E4C-4F8A-D146-A2E0-72F244D573B8}"/>
              </a:ext>
            </a:extLst>
          </p:cNvPr>
          <p:cNvSpPr>
            <a:spLocks/>
          </p:cNvSpPr>
          <p:nvPr/>
        </p:nvSpPr>
        <p:spPr bwMode="auto">
          <a:xfrm>
            <a:off x="10749862" y="3533042"/>
            <a:ext cx="397736" cy="10313"/>
          </a:xfrm>
          <a:custGeom>
            <a:avLst/>
            <a:gdLst>
              <a:gd name="T0" fmla="*/ 408 w 413"/>
              <a:gd name="T1" fmla="*/ 11 h 11"/>
              <a:gd name="T2" fmla="*/ 6 w 413"/>
              <a:gd name="T3" fmla="*/ 11 h 11"/>
              <a:gd name="T4" fmla="*/ 0 w 413"/>
              <a:gd name="T5" fmla="*/ 6 h 11"/>
              <a:gd name="T6" fmla="*/ 6 w 413"/>
              <a:gd name="T7" fmla="*/ 0 h 11"/>
              <a:gd name="T8" fmla="*/ 408 w 413"/>
              <a:gd name="T9" fmla="*/ 0 h 11"/>
              <a:gd name="T10" fmla="*/ 413 w 413"/>
              <a:gd name="T11" fmla="*/ 6 h 11"/>
              <a:gd name="T12" fmla="*/ 408 w 413"/>
              <a:gd name="T13" fmla="*/ 11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13" h="11">
                <a:moveTo>
                  <a:pt x="408" y="11"/>
                </a:moveTo>
                <a:cubicBezTo>
                  <a:pt x="6" y="11"/>
                  <a:pt x="6" y="11"/>
                  <a:pt x="6" y="11"/>
                </a:cubicBezTo>
                <a:cubicBezTo>
                  <a:pt x="3" y="11"/>
                  <a:pt x="0" y="9"/>
                  <a:pt x="0" y="6"/>
                </a:cubicBezTo>
                <a:cubicBezTo>
                  <a:pt x="0" y="3"/>
                  <a:pt x="3" y="0"/>
                  <a:pt x="6" y="0"/>
                </a:cubicBezTo>
                <a:cubicBezTo>
                  <a:pt x="408" y="0"/>
                  <a:pt x="408" y="0"/>
                  <a:pt x="408" y="0"/>
                </a:cubicBezTo>
                <a:cubicBezTo>
                  <a:pt x="411" y="0"/>
                  <a:pt x="413" y="3"/>
                  <a:pt x="413" y="6"/>
                </a:cubicBezTo>
                <a:cubicBezTo>
                  <a:pt x="413" y="9"/>
                  <a:pt x="411" y="11"/>
                  <a:pt x="408" y="11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17" name="Freeform 887">
            <a:extLst>
              <a:ext uri="{FF2B5EF4-FFF2-40B4-BE49-F238E27FC236}">
                <a16:creationId xmlns:a16="http://schemas.microsoft.com/office/drawing/2014/main" id="{844C5113-2DB8-3AA2-AE25-900CC1FB11FA}"/>
              </a:ext>
            </a:extLst>
          </p:cNvPr>
          <p:cNvSpPr>
            <a:spLocks/>
          </p:cNvSpPr>
          <p:nvPr/>
        </p:nvSpPr>
        <p:spPr bwMode="auto">
          <a:xfrm>
            <a:off x="10879499" y="3624373"/>
            <a:ext cx="139946" cy="10313"/>
          </a:xfrm>
          <a:custGeom>
            <a:avLst/>
            <a:gdLst>
              <a:gd name="T0" fmla="*/ 140 w 145"/>
              <a:gd name="T1" fmla="*/ 11 h 11"/>
              <a:gd name="T2" fmla="*/ 6 w 145"/>
              <a:gd name="T3" fmla="*/ 11 h 11"/>
              <a:gd name="T4" fmla="*/ 0 w 145"/>
              <a:gd name="T5" fmla="*/ 5 h 11"/>
              <a:gd name="T6" fmla="*/ 6 w 145"/>
              <a:gd name="T7" fmla="*/ 0 h 11"/>
              <a:gd name="T8" fmla="*/ 140 w 145"/>
              <a:gd name="T9" fmla="*/ 0 h 11"/>
              <a:gd name="T10" fmla="*/ 145 w 145"/>
              <a:gd name="T11" fmla="*/ 5 h 11"/>
              <a:gd name="T12" fmla="*/ 140 w 145"/>
              <a:gd name="T13" fmla="*/ 11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45" h="11">
                <a:moveTo>
                  <a:pt x="140" y="11"/>
                </a:moveTo>
                <a:cubicBezTo>
                  <a:pt x="6" y="11"/>
                  <a:pt x="6" y="11"/>
                  <a:pt x="6" y="11"/>
                </a:cubicBezTo>
                <a:cubicBezTo>
                  <a:pt x="3" y="11"/>
                  <a:pt x="0" y="8"/>
                  <a:pt x="0" y="5"/>
                </a:cubicBezTo>
                <a:cubicBezTo>
                  <a:pt x="0" y="2"/>
                  <a:pt x="3" y="0"/>
                  <a:pt x="6" y="0"/>
                </a:cubicBezTo>
                <a:cubicBezTo>
                  <a:pt x="140" y="0"/>
                  <a:pt x="140" y="0"/>
                  <a:pt x="140" y="0"/>
                </a:cubicBezTo>
                <a:cubicBezTo>
                  <a:pt x="143" y="0"/>
                  <a:pt x="145" y="2"/>
                  <a:pt x="145" y="5"/>
                </a:cubicBezTo>
                <a:cubicBezTo>
                  <a:pt x="145" y="8"/>
                  <a:pt x="143" y="11"/>
                  <a:pt x="140" y="11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18" name="Freeform 888">
            <a:extLst>
              <a:ext uri="{FF2B5EF4-FFF2-40B4-BE49-F238E27FC236}">
                <a16:creationId xmlns:a16="http://schemas.microsoft.com/office/drawing/2014/main" id="{78208758-11CB-6D2C-14AE-6E548ACABA25}"/>
              </a:ext>
            </a:extLst>
          </p:cNvPr>
          <p:cNvSpPr>
            <a:spLocks/>
          </p:cNvSpPr>
          <p:nvPr/>
        </p:nvSpPr>
        <p:spPr bwMode="auto">
          <a:xfrm>
            <a:off x="10978192" y="3394569"/>
            <a:ext cx="73656" cy="78077"/>
          </a:xfrm>
          <a:custGeom>
            <a:avLst/>
            <a:gdLst>
              <a:gd name="T0" fmla="*/ 6 w 77"/>
              <a:gd name="T1" fmla="*/ 81 h 81"/>
              <a:gd name="T2" fmla="*/ 2 w 77"/>
              <a:gd name="T3" fmla="*/ 79 h 81"/>
              <a:gd name="T4" fmla="*/ 2 w 77"/>
              <a:gd name="T5" fmla="*/ 71 h 81"/>
              <a:gd name="T6" fmla="*/ 66 w 77"/>
              <a:gd name="T7" fmla="*/ 3 h 81"/>
              <a:gd name="T8" fmla="*/ 74 w 77"/>
              <a:gd name="T9" fmla="*/ 2 h 81"/>
              <a:gd name="T10" fmla="*/ 74 w 77"/>
              <a:gd name="T11" fmla="*/ 10 h 81"/>
              <a:gd name="T12" fmla="*/ 10 w 77"/>
              <a:gd name="T13" fmla="*/ 79 h 81"/>
              <a:gd name="T14" fmla="*/ 6 w 77"/>
              <a:gd name="T15" fmla="*/ 81 h 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7" h="81">
                <a:moveTo>
                  <a:pt x="6" y="81"/>
                </a:moveTo>
                <a:cubicBezTo>
                  <a:pt x="5" y="81"/>
                  <a:pt x="3" y="80"/>
                  <a:pt x="2" y="79"/>
                </a:cubicBezTo>
                <a:cubicBezTo>
                  <a:pt x="0" y="77"/>
                  <a:pt x="0" y="74"/>
                  <a:pt x="2" y="71"/>
                </a:cubicBezTo>
                <a:cubicBezTo>
                  <a:pt x="66" y="3"/>
                  <a:pt x="66" y="3"/>
                  <a:pt x="66" y="3"/>
                </a:cubicBezTo>
                <a:cubicBezTo>
                  <a:pt x="68" y="0"/>
                  <a:pt x="72" y="0"/>
                  <a:pt x="74" y="2"/>
                </a:cubicBezTo>
                <a:cubicBezTo>
                  <a:pt x="76" y="5"/>
                  <a:pt x="77" y="8"/>
                  <a:pt x="74" y="10"/>
                </a:cubicBezTo>
                <a:cubicBezTo>
                  <a:pt x="10" y="79"/>
                  <a:pt x="10" y="79"/>
                  <a:pt x="10" y="79"/>
                </a:cubicBezTo>
                <a:cubicBezTo>
                  <a:pt x="9" y="80"/>
                  <a:pt x="7" y="81"/>
                  <a:pt x="6" y="81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19" name="Freeform 889">
            <a:extLst>
              <a:ext uri="{FF2B5EF4-FFF2-40B4-BE49-F238E27FC236}">
                <a16:creationId xmlns:a16="http://schemas.microsoft.com/office/drawing/2014/main" id="{E95BBC89-0539-636D-64A7-C556B7A3C9D1}"/>
              </a:ext>
            </a:extLst>
          </p:cNvPr>
          <p:cNvSpPr>
            <a:spLocks/>
          </p:cNvSpPr>
          <p:nvPr/>
        </p:nvSpPr>
        <p:spPr bwMode="auto">
          <a:xfrm>
            <a:off x="10889810" y="3429924"/>
            <a:ext cx="76602" cy="45666"/>
          </a:xfrm>
          <a:custGeom>
            <a:avLst/>
            <a:gdLst>
              <a:gd name="T0" fmla="*/ 74 w 81"/>
              <a:gd name="T1" fmla="*/ 48 h 48"/>
              <a:gd name="T2" fmla="*/ 72 w 81"/>
              <a:gd name="T3" fmla="*/ 48 h 48"/>
              <a:gd name="T4" fmla="*/ 4 w 81"/>
              <a:gd name="T5" fmla="*/ 11 h 48"/>
              <a:gd name="T6" fmla="*/ 2 w 81"/>
              <a:gd name="T7" fmla="*/ 4 h 48"/>
              <a:gd name="T8" fmla="*/ 9 w 81"/>
              <a:gd name="T9" fmla="*/ 1 h 48"/>
              <a:gd name="T10" fmla="*/ 77 w 81"/>
              <a:gd name="T11" fmla="*/ 38 h 48"/>
              <a:gd name="T12" fmla="*/ 79 w 81"/>
              <a:gd name="T13" fmla="*/ 46 h 48"/>
              <a:gd name="T14" fmla="*/ 74 w 81"/>
              <a:gd name="T15" fmla="*/ 48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81" h="48">
                <a:moveTo>
                  <a:pt x="74" y="48"/>
                </a:moveTo>
                <a:cubicBezTo>
                  <a:pt x="74" y="48"/>
                  <a:pt x="73" y="48"/>
                  <a:pt x="72" y="48"/>
                </a:cubicBezTo>
                <a:cubicBezTo>
                  <a:pt x="4" y="11"/>
                  <a:pt x="4" y="11"/>
                  <a:pt x="4" y="11"/>
                </a:cubicBezTo>
                <a:cubicBezTo>
                  <a:pt x="1" y="10"/>
                  <a:pt x="0" y="6"/>
                  <a:pt x="2" y="4"/>
                </a:cubicBezTo>
                <a:cubicBezTo>
                  <a:pt x="3" y="1"/>
                  <a:pt x="6" y="0"/>
                  <a:pt x="9" y="1"/>
                </a:cubicBezTo>
                <a:cubicBezTo>
                  <a:pt x="77" y="38"/>
                  <a:pt x="77" y="38"/>
                  <a:pt x="77" y="38"/>
                </a:cubicBezTo>
                <a:cubicBezTo>
                  <a:pt x="80" y="40"/>
                  <a:pt x="81" y="43"/>
                  <a:pt x="79" y="46"/>
                </a:cubicBezTo>
                <a:cubicBezTo>
                  <a:pt x="78" y="47"/>
                  <a:pt x="76" y="48"/>
                  <a:pt x="74" y="48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20" name="Freeform 890">
            <a:extLst>
              <a:ext uri="{FF2B5EF4-FFF2-40B4-BE49-F238E27FC236}">
                <a16:creationId xmlns:a16="http://schemas.microsoft.com/office/drawing/2014/main" id="{A3FB255B-537F-D115-D1A6-487422505174}"/>
              </a:ext>
            </a:extLst>
          </p:cNvPr>
          <p:cNvSpPr>
            <a:spLocks/>
          </p:cNvSpPr>
          <p:nvPr/>
        </p:nvSpPr>
        <p:spPr bwMode="auto">
          <a:xfrm>
            <a:off x="10835304" y="3434339"/>
            <a:ext cx="45666" cy="53033"/>
          </a:xfrm>
          <a:custGeom>
            <a:avLst/>
            <a:gdLst>
              <a:gd name="T0" fmla="*/ 6 w 47"/>
              <a:gd name="T1" fmla="*/ 55 h 55"/>
              <a:gd name="T2" fmla="*/ 3 w 47"/>
              <a:gd name="T3" fmla="*/ 54 h 55"/>
              <a:gd name="T4" fmla="*/ 2 w 47"/>
              <a:gd name="T5" fmla="*/ 46 h 55"/>
              <a:gd name="T6" fmla="*/ 37 w 47"/>
              <a:gd name="T7" fmla="*/ 3 h 55"/>
              <a:gd name="T8" fmla="*/ 44 w 47"/>
              <a:gd name="T9" fmla="*/ 2 h 55"/>
              <a:gd name="T10" fmla="*/ 45 w 47"/>
              <a:gd name="T11" fmla="*/ 9 h 55"/>
              <a:gd name="T12" fmla="*/ 11 w 47"/>
              <a:gd name="T13" fmla="*/ 53 h 55"/>
              <a:gd name="T14" fmla="*/ 6 w 47"/>
              <a:gd name="T15" fmla="*/ 55 h 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7" h="55">
                <a:moveTo>
                  <a:pt x="6" y="55"/>
                </a:moveTo>
                <a:cubicBezTo>
                  <a:pt x="5" y="55"/>
                  <a:pt x="4" y="55"/>
                  <a:pt x="3" y="54"/>
                </a:cubicBezTo>
                <a:cubicBezTo>
                  <a:pt x="1" y="52"/>
                  <a:pt x="0" y="48"/>
                  <a:pt x="2" y="46"/>
                </a:cubicBezTo>
                <a:cubicBezTo>
                  <a:pt x="37" y="3"/>
                  <a:pt x="37" y="3"/>
                  <a:pt x="37" y="3"/>
                </a:cubicBezTo>
                <a:cubicBezTo>
                  <a:pt x="38" y="0"/>
                  <a:pt x="42" y="0"/>
                  <a:pt x="44" y="2"/>
                </a:cubicBezTo>
                <a:cubicBezTo>
                  <a:pt x="47" y="4"/>
                  <a:pt x="47" y="7"/>
                  <a:pt x="45" y="9"/>
                </a:cubicBezTo>
                <a:cubicBezTo>
                  <a:pt x="11" y="53"/>
                  <a:pt x="11" y="53"/>
                  <a:pt x="11" y="53"/>
                </a:cubicBezTo>
                <a:cubicBezTo>
                  <a:pt x="10" y="54"/>
                  <a:pt x="8" y="55"/>
                  <a:pt x="6" y="55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21" name="Freeform 891">
            <a:extLst>
              <a:ext uri="{FF2B5EF4-FFF2-40B4-BE49-F238E27FC236}">
                <a16:creationId xmlns:a16="http://schemas.microsoft.com/office/drawing/2014/main" id="{B331066C-9FBE-0090-C266-80CD976829E4}"/>
              </a:ext>
            </a:extLst>
          </p:cNvPr>
          <p:cNvSpPr>
            <a:spLocks noEditPoints="1"/>
          </p:cNvSpPr>
          <p:nvPr/>
        </p:nvSpPr>
        <p:spPr bwMode="auto">
          <a:xfrm>
            <a:off x="10813209" y="3475588"/>
            <a:ext cx="36828" cy="36828"/>
          </a:xfrm>
          <a:custGeom>
            <a:avLst/>
            <a:gdLst>
              <a:gd name="T0" fmla="*/ 20 w 39"/>
              <a:gd name="T1" fmla="*/ 39 h 39"/>
              <a:gd name="T2" fmla="*/ 19 w 39"/>
              <a:gd name="T3" fmla="*/ 39 h 39"/>
              <a:gd name="T4" fmla="*/ 5 w 39"/>
              <a:gd name="T5" fmla="*/ 33 h 39"/>
              <a:gd name="T6" fmla="*/ 0 w 39"/>
              <a:gd name="T7" fmla="*/ 19 h 39"/>
              <a:gd name="T8" fmla="*/ 7 w 39"/>
              <a:gd name="T9" fmla="*/ 6 h 39"/>
              <a:gd name="T10" fmla="*/ 20 w 39"/>
              <a:gd name="T11" fmla="*/ 1 h 39"/>
              <a:gd name="T12" fmla="*/ 34 w 39"/>
              <a:gd name="T13" fmla="*/ 7 h 39"/>
              <a:gd name="T14" fmla="*/ 39 w 39"/>
              <a:gd name="T15" fmla="*/ 21 h 39"/>
              <a:gd name="T16" fmla="*/ 39 w 39"/>
              <a:gd name="T17" fmla="*/ 21 h 39"/>
              <a:gd name="T18" fmla="*/ 20 w 39"/>
              <a:gd name="T19" fmla="*/ 39 h 39"/>
              <a:gd name="T20" fmla="*/ 20 w 39"/>
              <a:gd name="T21" fmla="*/ 12 h 39"/>
              <a:gd name="T22" fmla="*/ 14 w 39"/>
              <a:gd name="T23" fmla="*/ 14 h 39"/>
              <a:gd name="T24" fmla="*/ 11 w 39"/>
              <a:gd name="T25" fmla="*/ 19 h 39"/>
              <a:gd name="T26" fmla="*/ 14 w 39"/>
              <a:gd name="T27" fmla="*/ 25 h 39"/>
              <a:gd name="T28" fmla="*/ 19 w 39"/>
              <a:gd name="T29" fmla="*/ 28 h 39"/>
              <a:gd name="T30" fmla="*/ 28 w 39"/>
              <a:gd name="T31" fmla="*/ 20 h 39"/>
              <a:gd name="T32" fmla="*/ 28 w 39"/>
              <a:gd name="T33" fmla="*/ 20 h 39"/>
              <a:gd name="T34" fmla="*/ 26 w 39"/>
              <a:gd name="T35" fmla="*/ 14 h 39"/>
              <a:gd name="T36" fmla="*/ 20 w 39"/>
              <a:gd name="T37" fmla="*/ 12 h 39"/>
              <a:gd name="T38" fmla="*/ 20 w 39"/>
              <a:gd name="T39" fmla="*/ 12 h 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39" h="39">
                <a:moveTo>
                  <a:pt x="20" y="39"/>
                </a:moveTo>
                <a:cubicBezTo>
                  <a:pt x="19" y="39"/>
                  <a:pt x="19" y="39"/>
                  <a:pt x="19" y="39"/>
                </a:cubicBezTo>
                <a:cubicBezTo>
                  <a:pt x="14" y="39"/>
                  <a:pt x="9" y="36"/>
                  <a:pt x="5" y="33"/>
                </a:cubicBezTo>
                <a:cubicBezTo>
                  <a:pt x="2" y="29"/>
                  <a:pt x="0" y="24"/>
                  <a:pt x="0" y="19"/>
                </a:cubicBezTo>
                <a:cubicBezTo>
                  <a:pt x="1" y="14"/>
                  <a:pt x="3" y="9"/>
                  <a:pt x="7" y="6"/>
                </a:cubicBezTo>
                <a:cubicBezTo>
                  <a:pt x="10" y="2"/>
                  <a:pt x="15" y="0"/>
                  <a:pt x="20" y="1"/>
                </a:cubicBezTo>
                <a:cubicBezTo>
                  <a:pt x="26" y="1"/>
                  <a:pt x="30" y="3"/>
                  <a:pt x="34" y="7"/>
                </a:cubicBezTo>
                <a:cubicBezTo>
                  <a:pt x="37" y="11"/>
                  <a:pt x="39" y="15"/>
                  <a:pt x="39" y="21"/>
                </a:cubicBezTo>
                <a:cubicBezTo>
                  <a:pt x="39" y="21"/>
                  <a:pt x="39" y="21"/>
                  <a:pt x="39" y="21"/>
                </a:cubicBezTo>
                <a:cubicBezTo>
                  <a:pt x="38" y="31"/>
                  <a:pt x="30" y="39"/>
                  <a:pt x="20" y="39"/>
                </a:cubicBezTo>
                <a:close/>
                <a:moveTo>
                  <a:pt x="20" y="12"/>
                </a:moveTo>
                <a:cubicBezTo>
                  <a:pt x="18" y="12"/>
                  <a:pt x="16" y="12"/>
                  <a:pt x="14" y="14"/>
                </a:cubicBezTo>
                <a:cubicBezTo>
                  <a:pt x="12" y="15"/>
                  <a:pt x="11" y="17"/>
                  <a:pt x="11" y="19"/>
                </a:cubicBezTo>
                <a:cubicBezTo>
                  <a:pt x="11" y="22"/>
                  <a:pt x="12" y="24"/>
                  <a:pt x="14" y="25"/>
                </a:cubicBezTo>
                <a:cubicBezTo>
                  <a:pt x="15" y="27"/>
                  <a:pt x="17" y="28"/>
                  <a:pt x="19" y="28"/>
                </a:cubicBezTo>
                <a:cubicBezTo>
                  <a:pt x="24" y="28"/>
                  <a:pt x="28" y="25"/>
                  <a:pt x="28" y="20"/>
                </a:cubicBezTo>
                <a:cubicBezTo>
                  <a:pt x="28" y="20"/>
                  <a:pt x="28" y="20"/>
                  <a:pt x="28" y="20"/>
                </a:cubicBezTo>
                <a:cubicBezTo>
                  <a:pt x="28" y="18"/>
                  <a:pt x="27" y="16"/>
                  <a:pt x="26" y="14"/>
                </a:cubicBezTo>
                <a:cubicBezTo>
                  <a:pt x="24" y="13"/>
                  <a:pt x="22" y="12"/>
                  <a:pt x="20" y="12"/>
                </a:cubicBezTo>
                <a:cubicBezTo>
                  <a:pt x="20" y="12"/>
                  <a:pt x="20" y="12"/>
                  <a:pt x="20" y="12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22" name="Freeform 892">
            <a:extLst>
              <a:ext uri="{FF2B5EF4-FFF2-40B4-BE49-F238E27FC236}">
                <a16:creationId xmlns:a16="http://schemas.microsoft.com/office/drawing/2014/main" id="{0E78B512-19FC-C737-7A90-D0EFD6016AD2}"/>
              </a:ext>
            </a:extLst>
          </p:cNvPr>
          <p:cNvSpPr>
            <a:spLocks noEditPoints="1"/>
          </p:cNvSpPr>
          <p:nvPr/>
        </p:nvSpPr>
        <p:spPr bwMode="auto">
          <a:xfrm>
            <a:off x="10864764" y="3410771"/>
            <a:ext cx="38301" cy="36828"/>
          </a:xfrm>
          <a:custGeom>
            <a:avLst/>
            <a:gdLst>
              <a:gd name="T0" fmla="*/ 19 w 39"/>
              <a:gd name="T1" fmla="*/ 39 h 39"/>
              <a:gd name="T2" fmla="*/ 18 w 39"/>
              <a:gd name="T3" fmla="*/ 39 h 39"/>
              <a:gd name="T4" fmla="*/ 5 w 39"/>
              <a:gd name="T5" fmla="*/ 32 h 39"/>
              <a:gd name="T6" fmla="*/ 0 w 39"/>
              <a:gd name="T7" fmla="*/ 19 h 39"/>
              <a:gd name="T8" fmla="*/ 20 w 39"/>
              <a:gd name="T9" fmla="*/ 0 h 39"/>
              <a:gd name="T10" fmla="*/ 38 w 39"/>
              <a:gd name="T11" fmla="*/ 20 h 39"/>
              <a:gd name="T12" fmla="*/ 38 w 39"/>
              <a:gd name="T13" fmla="*/ 20 h 39"/>
              <a:gd name="T14" fmla="*/ 19 w 39"/>
              <a:gd name="T15" fmla="*/ 39 h 39"/>
              <a:gd name="T16" fmla="*/ 19 w 39"/>
              <a:gd name="T17" fmla="*/ 11 h 39"/>
              <a:gd name="T18" fmla="*/ 11 w 39"/>
              <a:gd name="T19" fmla="*/ 19 h 39"/>
              <a:gd name="T20" fmla="*/ 13 w 39"/>
              <a:gd name="T21" fmla="*/ 25 h 39"/>
              <a:gd name="T22" fmla="*/ 19 w 39"/>
              <a:gd name="T23" fmla="*/ 28 h 39"/>
              <a:gd name="T24" fmla="*/ 27 w 39"/>
              <a:gd name="T25" fmla="*/ 20 h 39"/>
              <a:gd name="T26" fmla="*/ 20 w 39"/>
              <a:gd name="T27" fmla="*/ 11 h 39"/>
              <a:gd name="T28" fmla="*/ 19 w 39"/>
              <a:gd name="T29" fmla="*/ 11 h 39"/>
              <a:gd name="T30" fmla="*/ 33 w 39"/>
              <a:gd name="T31" fmla="*/ 20 h 39"/>
              <a:gd name="T32" fmla="*/ 33 w 39"/>
              <a:gd name="T33" fmla="*/ 20 h 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39" h="39">
                <a:moveTo>
                  <a:pt x="19" y="39"/>
                </a:moveTo>
                <a:cubicBezTo>
                  <a:pt x="19" y="39"/>
                  <a:pt x="19" y="39"/>
                  <a:pt x="18" y="39"/>
                </a:cubicBezTo>
                <a:cubicBezTo>
                  <a:pt x="13" y="38"/>
                  <a:pt x="8" y="36"/>
                  <a:pt x="5" y="32"/>
                </a:cubicBezTo>
                <a:cubicBezTo>
                  <a:pt x="2" y="29"/>
                  <a:pt x="0" y="24"/>
                  <a:pt x="0" y="19"/>
                </a:cubicBezTo>
                <a:cubicBezTo>
                  <a:pt x="0" y="8"/>
                  <a:pt x="9" y="0"/>
                  <a:pt x="20" y="0"/>
                </a:cubicBezTo>
                <a:cubicBezTo>
                  <a:pt x="31" y="1"/>
                  <a:pt x="39" y="10"/>
                  <a:pt x="38" y="20"/>
                </a:cubicBezTo>
                <a:cubicBezTo>
                  <a:pt x="38" y="20"/>
                  <a:pt x="38" y="20"/>
                  <a:pt x="38" y="20"/>
                </a:cubicBezTo>
                <a:cubicBezTo>
                  <a:pt x="38" y="31"/>
                  <a:pt x="29" y="39"/>
                  <a:pt x="19" y="39"/>
                </a:cubicBezTo>
                <a:close/>
                <a:moveTo>
                  <a:pt x="19" y="11"/>
                </a:moveTo>
                <a:cubicBezTo>
                  <a:pt x="15" y="11"/>
                  <a:pt x="11" y="15"/>
                  <a:pt x="11" y="19"/>
                </a:cubicBezTo>
                <a:cubicBezTo>
                  <a:pt x="11" y="21"/>
                  <a:pt x="12" y="23"/>
                  <a:pt x="13" y="25"/>
                </a:cubicBezTo>
                <a:cubicBezTo>
                  <a:pt x="15" y="27"/>
                  <a:pt x="17" y="28"/>
                  <a:pt x="19" y="28"/>
                </a:cubicBezTo>
                <a:cubicBezTo>
                  <a:pt x="23" y="28"/>
                  <a:pt x="27" y="24"/>
                  <a:pt x="27" y="20"/>
                </a:cubicBezTo>
                <a:cubicBezTo>
                  <a:pt x="28" y="15"/>
                  <a:pt x="24" y="12"/>
                  <a:pt x="20" y="11"/>
                </a:cubicBezTo>
                <a:cubicBezTo>
                  <a:pt x="19" y="11"/>
                  <a:pt x="19" y="11"/>
                  <a:pt x="19" y="11"/>
                </a:cubicBezTo>
                <a:close/>
                <a:moveTo>
                  <a:pt x="33" y="20"/>
                </a:moveTo>
                <a:cubicBezTo>
                  <a:pt x="33" y="20"/>
                  <a:pt x="33" y="20"/>
                  <a:pt x="33" y="2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23" name="Freeform 893">
            <a:extLst>
              <a:ext uri="{FF2B5EF4-FFF2-40B4-BE49-F238E27FC236}">
                <a16:creationId xmlns:a16="http://schemas.microsoft.com/office/drawing/2014/main" id="{1C30F7A4-B018-8CD2-D1DE-6284207A8EBA}"/>
              </a:ext>
            </a:extLst>
          </p:cNvPr>
          <p:cNvSpPr>
            <a:spLocks noEditPoints="1"/>
          </p:cNvSpPr>
          <p:nvPr/>
        </p:nvSpPr>
        <p:spPr bwMode="auto">
          <a:xfrm>
            <a:off x="10954627" y="3459383"/>
            <a:ext cx="36828" cy="36828"/>
          </a:xfrm>
          <a:custGeom>
            <a:avLst/>
            <a:gdLst>
              <a:gd name="T0" fmla="*/ 20 w 39"/>
              <a:gd name="T1" fmla="*/ 38 h 38"/>
              <a:gd name="T2" fmla="*/ 19 w 39"/>
              <a:gd name="T3" fmla="*/ 38 h 38"/>
              <a:gd name="T4" fmla="*/ 6 w 39"/>
              <a:gd name="T5" fmla="*/ 32 h 38"/>
              <a:gd name="T6" fmla="*/ 1 w 39"/>
              <a:gd name="T7" fmla="*/ 18 h 38"/>
              <a:gd name="T8" fmla="*/ 21 w 39"/>
              <a:gd name="T9" fmla="*/ 0 h 38"/>
              <a:gd name="T10" fmla="*/ 34 w 39"/>
              <a:gd name="T11" fmla="*/ 6 h 38"/>
              <a:gd name="T12" fmla="*/ 39 w 39"/>
              <a:gd name="T13" fmla="*/ 20 h 38"/>
              <a:gd name="T14" fmla="*/ 39 w 39"/>
              <a:gd name="T15" fmla="*/ 20 h 38"/>
              <a:gd name="T16" fmla="*/ 20 w 39"/>
              <a:gd name="T17" fmla="*/ 38 h 38"/>
              <a:gd name="T18" fmla="*/ 20 w 39"/>
              <a:gd name="T19" fmla="*/ 11 h 38"/>
              <a:gd name="T20" fmla="*/ 12 w 39"/>
              <a:gd name="T21" fmla="*/ 19 h 38"/>
              <a:gd name="T22" fmla="*/ 14 w 39"/>
              <a:gd name="T23" fmla="*/ 25 h 38"/>
              <a:gd name="T24" fmla="*/ 19 w 39"/>
              <a:gd name="T25" fmla="*/ 27 h 38"/>
              <a:gd name="T26" fmla="*/ 28 w 39"/>
              <a:gd name="T27" fmla="*/ 20 h 38"/>
              <a:gd name="T28" fmla="*/ 28 w 39"/>
              <a:gd name="T29" fmla="*/ 20 h 38"/>
              <a:gd name="T30" fmla="*/ 26 w 39"/>
              <a:gd name="T31" fmla="*/ 14 h 38"/>
              <a:gd name="T32" fmla="*/ 20 w 39"/>
              <a:gd name="T33" fmla="*/ 11 h 38"/>
              <a:gd name="T34" fmla="*/ 20 w 39"/>
              <a:gd name="T35" fmla="*/ 11 h 38"/>
              <a:gd name="T36" fmla="*/ 34 w 39"/>
              <a:gd name="T37" fmla="*/ 20 h 38"/>
              <a:gd name="T38" fmla="*/ 34 w 39"/>
              <a:gd name="T39" fmla="*/ 20 h 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39" h="38">
                <a:moveTo>
                  <a:pt x="20" y="38"/>
                </a:moveTo>
                <a:cubicBezTo>
                  <a:pt x="20" y="38"/>
                  <a:pt x="19" y="38"/>
                  <a:pt x="19" y="38"/>
                </a:cubicBezTo>
                <a:cubicBezTo>
                  <a:pt x="14" y="38"/>
                  <a:pt x="9" y="36"/>
                  <a:pt x="6" y="32"/>
                </a:cubicBezTo>
                <a:cubicBezTo>
                  <a:pt x="2" y="28"/>
                  <a:pt x="0" y="23"/>
                  <a:pt x="1" y="18"/>
                </a:cubicBezTo>
                <a:cubicBezTo>
                  <a:pt x="1" y="8"/>
                  <a:pt x="10" y="0"/>
                  <a:pt x="21" y="0"/>
                </a:cubicBezTo>
                <a:cubicBezTo>
                  <a:pt x="26" y="0"/>
                  <a:pt x="31" y="2"/>
                  <a:pt x="34" y="6"/>
                </a:cubicBezTo>
                <a:cubicBezTo>
                  <a:pt x="37" y="10"/>
                  <a:pt x="39" y="15"/>
                  <a:pt x="39" y="20"/>
                </a:cubicBezTo>
                <a:cubicBezTo>
                  <a:pt x="39" y="20"/>
                  <a:pt x="39" y="20"/>
                  <a:pt x="39" y="20"/>
                </a:cubicBezTo>
                <a:cubicBezTo>
                  <a:pt x="39" y="30"/>
                  <a:pt x="30" y="38"/>
                  <a:pt x="20" y="38"/>
                </a:cubicBezTo>
                <a:close/>
                <a:moveTo>
                  <a:pt x="20" y="11"/>
                </a:moveTo>
                <a:cubicBezTo>
                  <a:pt x="15" y="11"/>
                  <a:pt x="12" y="14"/>
                  <a:pt x="12" y="19"/>
                </a:cubicBezTo>
                <a:cubicBezTo>
                  <a:pt x="12" y="21"/>
                  <a:pt x="12" y="23"/>
                  <a:pt x="14" y="25"/>
                </a:cubicBezTo>
                <a:cubicBezTo>
                  <a:pt x="15" y="26"/>
                  <a:pt x="17" y="27"/>
                  <a:pt x="19" y="27"/>
                </a:cubicBezTo>
                <a:cubicBezTo>
                  <a:pt x="24" y="28"/>
                  <a:pt x="28" y="24"/>
                  <a:pt x="28" y="20"/>
                </a:cubicBezTo>
                <a:cubicBezTo>
                  <a:pt x="28" y="20"/>
                  <a:pt x="28" y="20"/>
                  <a:pt x="28" y="20"/>
                </a:cubicBezTo>
                <a:cubicBezTo>
                  <a:pt x="28" y="17"/>
                  <a:pt x="27" y="15"/>
                  <a:pt x="26" y="14"/>
                </a:cubicBezTo>
                <a:cubicBezTo>
                  <a:pt x="24" y="12"/>
                  <a:pt x="22" y="11"/>
                  <a:pt x="20" y="11"/>
                </a:cubicBezTo>
                <a:cubicBezTo>
                  <a:pt x="20" y="11"/>
                  <a:pt x="20" y="11"/>
                  <a:pt x="20" y="11"/>
                </a:cubicBezTo>
                <a:close/>
                <a:moveTo>
                  <a:pt x="34" y="20"/>
                </a:moveTo>
                <a:cubicBezTo>
                  <a:pt x="34" y="20"/>
                  <a:pt x="34" y="20"/>
                  <a:pt x="34" y="2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24" name="Freeform 894">
            <a:extLst>
              <a:ext uri="{FF2B5EF4-FFF2-40B4-BE49-F238E27FC236}">
                <a16:creationId xmlns:a16="http://schemas.microsoft.com/office/drawing/2014/main" id="{C6C2BE0C-675C-A69E-4E0D-907A324CB1FD}"/>
              </a:ext>
            </a:extLst>
          </p:cNvPr>
          <p:cNvSpPr>
            <a:spLocks noEditPoints="1"/>
          </p:cNvSpPr>
          <p:nvPr/>
        </p:nvSpPr>
        <p:spPr bwMode="auto">
          <a:xfrm>
            <a:off x="11037121" y="3372472"/>
            <a:ext cx="36828" cy="36828"/>
          </a:xfrm>
          <a:custGeom>
            <a:avLst/>
            <a:gdLst>
              <a:gd name="T0" fmla="*/ 20 w 39"/>
              <a:gd name="T1" fmla="*/ 39 h 39"/>
              <a:gd name="T2" fmla="*/ 19 w 39"/>
              <a:gd name="T3" fmla="*/ 39 h 39"/>
              <a:gd name="T4" fmla="*/ 5 w 39"/>
              <a:gd name="T5" fmla="*/ 32 h 39"/>
              <a:gd name="T6" fmla="*/ 0 w 39"/>
              <a:gd name="T7" fmla="*/ 19 h 39"/>
              <a:gd name="T8" fmla="*/ 7 w 39"/>
              <a:gd name="T9" fmla="*/ 5 h 39"/>
              <a:gd name="T10" fmla="*/ 21 w 39"/>
              <a:gd name="T11" fmla="*/ 0 h 39"/>
              <a:gd name="T12" fmla="*/ 34 w 39"/>
              <a:gd name="T13" fmla="*/ 7 h 39"/>
              <a:gd name="T14" fmla="*/ 39 w 39"/>
              <a:gd name="T15" fmla="*/ 20 h 39"/>
              <a:gd name="T16" fmla="*/ 39 w 39"/>
              <a:gd name="T17" fmla="*/ 20 h 39"/>
              <a:gd name="T18" fmla="*/ 20 w 39"/>
              <a:gd name="T19" fmla="*/ 39 h 39"/>
              <a:gd name="T20" fmla="*/ 20 w 39"/>
              <a:gd name="T21" fmla="*/ 11 h 39"/>
              <a:gd name="T22" fmla="*/ 14 w 39"/>
              <a:gd name="T23" fmla="*/ 13 h 39"/>
              <a:gd name="T24" fmla="*/ 11 w 39"/>
              <a:gd name="T25" fmla="*/ 19 h 39"/>
              <a:gd name="T26" fmla="*/ 14 w 39"/>
              <a:gd name="T27" fmla="*/ 25 h 39"/>
              <a:gd name="T28" fmla="*/ 19 w 39"/>
              <a:gd name="T29" fmla="*/ 28 h 39"/>
              <a:gd name="T30" fmla="*/ 28 w 39"/>
              <a:gd name="T31" fmla="*/ 20 h 39"/>
              <a:gd name="T32" fmla="*/ 28 w 39"/>
              <a:gd name="T33" fmla="*/ 20 h 39"/>
              <a:gd name="T34" fmla="*/ 26 w 39"/>
              <a:gd name="T35" fmla="*/ 14 h 39"/>
              <a:gd name="T36" fmla="*/ 20 w 39"/>
              <a:gd name="T37" fmla="*/ 11 h 39"/>
              <a:gd name="T38" fmla="*/ 20 w 39"/>
              <a:gd name="T39" fmla="*/ 11 h 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39" h="39">
                <a:moveTo>
                  <a:pt x="20" y="39"/>
                </a:moveTo>
                <a:cubicBezTo>
                  <a:pt x="19" y="39"/>
                  <a:pt x="19" y="39"/>
                  <a:pt x="19" y="39"/>
                </a:cubicBezTo>
                <a:cubicBezTo>
                  <a:pt x="14" y="38"/>
                  <a:pt x="9" y="36"/>
                  <a:pt x="5" y="32"/>
                </a:cubicBezTo>
                <a:cubicBezTo>
                  <a:pt x="2" y="29"/>
                  <a:pt x="0" y="24"/>
                  <a:pt x="0" y="19"/>
                </a:cubicBezTo>
                <a:cubicBezTo>
                  <a:pt x="1" y="14"/>
                  <a:pt x="3" y="9"/>
                  <a:pt x="7" y="5"/>
                </a:cubicBezTo>
                <a:cubicBezTo>
                  <a:pt x="10" y="2"/>
                  <a:pt x="15" y="0"/>
                  <a:pt x="21" y="0"/>
                </a:cubicBezTo>
                <a:cubicBezTo>
                  <a:pt x="26" y="1"/>
                  <a:pt x="30" y="3"/>
                  <a:pt x="34" y="7"/>
                </a:cubicBezTo>
                <a:cubicBezTo>
                  <a:pt x="37" y="10"/>
                  <a:pt x="39" y="15"/>
                  <a:pt x="39" y="20"/>
                </a:cubicBezTo>
                <a:cubicBezTo>
                  <a:pt x="39" y="20"/>
                  <a:pt x="39" y="20"/>
                  <a:pt x="39" y="20"/>
                </a:cubicBezTo>
                <a:cubicBezTo>
                  <a:pt x="38" y="31"/>
                  <a:pt x="30" y="39"/>
                  <a:pt x="20" y="39"/>
                </a:cubicBezTo>
                <a:close/>
                <a:moveTo>
                  <a:pt x="20" y="11"/>
                </a:moveTo>
                <a:cubicBezTo>
                  <a:pt x="18" y="11"/>
                  <a:pt x="16" y="12"/>
                  <a:pt x="14" y="13"/>
                </a:cubicBezTo>
                <a:cubicBezTo>
                  <a:pt x="12" y="15"/>
                  <a:pt x="12" y="17"/>
                  <a:pt x="11" y="19"/>
                </a:cubicBezTo>
                <a:cubicBezTo>
                  <a:pt x="11" y="21"/>
                  <a:pt x="12" y="23"/>
                  <a:pt x="14" y="25"/>
                </a:cubicBezTo>
                <a:cubicBezTo>
                  <a:pt x="15" y="27"/>
                  <a:pt x="17" y="28"/>
                  <a:pt x="19" y="28"/>
                </a:cubicBezTo>
                <a:cubicBezTo>
                  <a:pt x="24" y="28"/>
                  <a:pt x="28" y="24"/>
                  <a:pt x="28" y="20"/>
                </a:cubicBezTo>
                <a:cubicBezTo>
                  <a:pt x="28" y="20"/>
                  <a:pt x="28" y="20"/>
                  <a:pt x="28" y="20"/>
                </a:cubicBezTo>
                <a:cubicBezTo>
                  <a:pt x="28" y="18"/>
                  <a:pt x="27" y="16"/>
                  <a:pt x="26" y="14"/>
                </a:cubicBezTo>
                <a:cubicBezTo>
                  <a:pt x="24" y="12"/>
                  <a:pt x="22" y="11"/>
                  <a:pt x="20" y="11"/>
                </a:cubicBezTo>
                <a:cubicBezTo>
                  <a:pt x="20" y="11"/>
                  <a:pt x="20" y="11"/>
                  <a:pt x="20" y="11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25" name="Freeform 173">
            <a:extLst>
              <a:ext uri="{FF2B5EF4-FFF2-40B4-BE49-F238E27FC236}">
                <a16:creationId xmlns:a16="http://schemas.microsoft.com/office/drawing/2014/main" id="{9920D1D6-620D-D3F9-B845-AEA6F1FB66FD}"/>
              </a:ext>
            </a:extLst>
          </p:cNvPr>
          <p:cNvSpPr>
            <a:spLocks/>
          </p:cNvSpPr>
          <p:nvPr/>
        </p:nvSpPr>
        <p:spPr bwMode="auto">
          <a:xfrm>
            <a:off x="10783693" y="4966754"/>
            <a:ext cx="222799" cy="278503"/>
          </a:xfrm>
          <a:custGeom>
            <a:avLst/>
            <a:gdLst>
              <a:gd name="T0" fmla="*/ 171 w 175"/>
              <a:gd name="T1" fmla="*/ 219 h 219"/>
              <a:gd name="T2" fmla="*/ 4 w 175"/>
              <a:gd name="T3" fmla="*/ 219 h 219"/>
              <a:gd name="T4" fmla="*/ 0 w 175"/>
              <a:gd name="T5" fmla="*/ 215 h 219"/>
              <a:gd name="T6" fmla="*/ 0 w 175"/>
              <a:gd name="T7" fmla="*/ 4 h 219"/>
              <a:gd name="T8" fmla="*/ 4 w 175"/>
              <a:gd name="T9" fmla="*/ 0 h 219"/>
              <a:gd name="T10" fmla="*/ 171 w 175"/>
              <a:gd name="T11" fmla="*/ 0 h 219"/>
              <a:gd name="T12" fmla="*/ 175 w 175"/>
              <a:gd name="T13" fmla="*/ 4 h 219"/>
              <a:gd name="T14" fmla="*/ 175 w 175"/>
              <a:gd name="T15" fmla="*/ 72 h 219"/>
              <a:gd name="T16" fmla="*/ 171 w 175"/>
              <a:gd name="T17" fmla="*/ 76 h 219"/>
              <a:gd name="T18" fmla="*/ 167 w 175"/>
              <a:gd name="T19" fmla="*/ 72 h 219"/>
              <a:gd name="T20" fmla="*/ 167 w 175"/>
              <a:gd name="T21" fmla="*/ 9 h 219"/>
              <a:gd name="T22" fmla="*/ 8 w 175"/>
              <a:gd name="T23" fmla="*/ 9 h 219"/>
              <a:gd name="T24" fmla="*/ 8 w 175"/>
              <a:gd name="T25" fmla="*/ 211 h 219"/>
              <a:gd name="T26" fmla="*/ 167 w 175"/>
              <a:gd name="T27" fmla="*/ 211 h 219"/>
              <a:gd name="T28" fmla="*/ 167 w 175"/>
              <a:gd name="T29" fmla="*/ 129 h 219"/>
              <a:gd name="T30" fmla="*/ 171 w 175"/>
              <a:gd name="T31" fmla="*/ 125 h 219"/>
              <a:gd name="T32" fmla="*/ 175 w 175"/>
              <a:gd name="T33" fmla="*/ 129 h 219"/>
              <a:gd name="T34" fmla="*/ 175 w 175"/>
              <a:gd name="T35" fmla="*/ 215 h 219"/>
              <a:gd name="T36" fmla="*/ 171 w 175"/>
              <a:gd name="T37" fmla="*/ 219 h 2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75" h="219">
                <a:moveTo>
                  <a:pt x="171" y="219"/>
                </a:moveTo>
                <a:cubicBezTo>
                  <a:pt x="4" y="219"/>
                  <a:pt x="4" y="219"/>
                  <a:pt x="4" y="219"/>
                </a:cubicBezTo>
                <a:cubicBezTo>
                  <a:pt x="2" y="219"/>
                  <a:pt x="0" y="217"/>
                  <a:pt x="0" y="215"/>
                </a:cubicBezTo>
                <a:cubicBezTo>
                  <a:pt x="0" y="4"/>
                  <a:pt x="0" y="4"/>
                  <a:pt x="0" y="4"/>
                </a:cubicBezTo>
                <a:cubicBezTo>
                  <a:pt x="0" y="2"/>
                  <a:pt x="2" y="0"/>
                  <a:pt x="4" y="0"/>
                </a:cubicBezTo>
                <a:cubicBezTo>
                  <a:pt x="171" y="0"/>
                  <a:pt x="171" y="0"/>
                  <a:pt x="171" y="0"/>
                </a:cubicBezTo>
                <a:cubicBezTo>
                  <a:pt x="174" y="0"/>
                  <a:pt x="175" y="2"/>
                  <a:pt x="175" y="4"/>
                </a:cubicBezTo>
                <a:cubicBezTo>
                  <a:pt x="175" y="72"/>
                  <a:pt x="175" y="72"/>
                  <a:pt x="175" y="72"/>
                </a:cubicBezTo>
                <a:cubicBezTo>
                  <a:pt x="175" y="74"/>
                  <a:pt x="174" y="76"/>
                  <a:pt x="171" y="76"/>
                </a:cubicBezTo>
                <a:cubicBezTo>
                  <a:pt x="169" y="76"/>
                  <a:pt x="167" y="74"/>
                  <a:pt x="167" y="72"/>
                </a:cubicBezTo>
                <a:cubicBezTo>
                  <a:pt x="167" y="9"/>
                  <a:pt x="167" y="9"/>
                  <a:pt x="167" y="9"/>
                </a:cubicBezTo>
                <a:cubicBezTo>
                  <a:pt x="8" y="9"/>
                  <a:pt x="8" y="9"/>
                  <a:pt x="8" y="9"/>
                </a:cubicBezTo>
                <a:cubicBezTo>
                  <a:pt x="8" y="211"/>
                  <a:pt x="8" y="211"/>
                  <a:pt x="8" y="211"/>
                </a:cubicBezTo>
                <a:cubicBezTo>
                  <a:pt x="167" y="211"/>
                  <a:pt x="167" y="211"/>
                  <a:pt x="167" y="211"/>
                </a:cubicBezTo>
                <a:cubicBezTo>
                  <a:pt x="167" y="129"/>
                  <a:pt x="167" y="129"/>
                  <a:pt x="167" y="129"/>
                </a:cubicBezTo>
                <a:cubicBezTo>
                  <a:pt x="167" y="126"/>
                  <a:pt x="169" y="125"/>
                  <a:pt x="171" y="125"/>
                </a:cubicBezTo>
                <a:cubicBezTo>
                  <a:pt x="174" y="125"/>
                  <a:pt x="175" y="126"/>
                  <a:pt x="175" y="129"/>
                </a:cubicBezTo>
                <a:cubicBezTo>
                  <a:pt x="175" y="215"/>
                  <a:pt x="175" y="215"/>
                  <a:pt x="175" y="215"/>
                </a:cubicBezTo>
                <a:cubicBezTo>
                  <a:pt x="175" y="217"/>
                  <a:pt x="174" y="219"/>
                  <a:pt x="171" y="219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26" name="Freeform 174">
            <a:extLst>
              <a:ext uri="{FF2B5EF4-FFF2-40B4-BE49-F238E27FC236}">
                <a16:creationId xmlns:a16="http://schemas.microsoft.com/office/drawing/2014/main" id="{375641B6-B7E5-EEF0-F15D-8CD166AB2D51}"/>
              </a:ext>
            </a:extLst>
          </p:cNvPr>
          <p:cNvSpPr>
            <a:spLocks noEditPoints="1"/>
          </p:cNvSpPr>
          <p:nvPr/>
        </p:nvSpPr>
        <p:spPr bwMode="auto">
          <a:xfrm>
            <a:off x="10827017" y="5036893"/>
            <a:ext cx="53637" cy="51577"/>
          </a:xfrm>
          <a:custGeom>
            <a:avLst/>
            <a:gdLst>
              <a:gd name="T0" fmla="*/ 38 w 42"/>
              <a:gd name="T1" fmla="*/ 41 h 41"/>
              <a:gd name="T2" fmla="*/ 4 w 42"/>
              <a:gd name="T3" fmla="*/ 41 h 41"/>
              <a:gd name="T4" fmla="*/ 0 w 42"/>
              <a:gd name="T5" fmla="*/ 37 h 41"/>
              <a:gd name="T6" fmla="*/ 0 w 42"/>
              <a:gd name="T7" fmla="*/ 4 h 41"/>
              <a:gd name="T8" fmla="*/ 4 w 42"/>
              <a:gd name="T9" fmla="*/ 0 h 41"/>
              <a:gd name="T10" fmla="*/ 38 w 42"/>
              <a:gd name="T11" fmla="*/ 0 h 41"/>
              <a:gd name="T12" fmla="*/ 42 w 42"/>
              <a:gd name="T13" fmla="*/ 4 h 41"/>
              <a:gd name="T14" fmla="*/ 42 w 42"/>
              <a:gd name="T15" fmla="*/ 37 h 41"/>
              <a:gd name="T16" fmla="*/ 38 w 42"/>
              <a:gd name="T17" fmla="*/ 41 h 41"/>
              <a:gd name="T18" fmla="*/ 8 w 42"/>
              <a:gd name="T19" fmla="*/ 33 h 41"/>
              <a:gd name="T20" fmla="*/ 34 w 42"/>
              <a:gd name="T21" fmla="*/ 33 h 41"/>
              <a:gd name="T22" fmla="*/ 34 w 42"/>
              <a:gd name="T23" fmla="*/ 8 h 41"/>
              <a:gd name="T24" fmla="*/ 8 w 42"/>
              <a:gd name="T25" fmla="*/ 8 h 41"/>
              <a:gd name="T26" fmla="*/ 8 w 42"/>
              <a:gd name="T27" fmla="*/ 33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42" h="41">
                <a:moveTo>
                  <a:pt x="38" y="41"/>
                </a:moveTo>
                <a:cubicBezTo>
                  <a:pt x="4" y="41"/>
                  <a:pt x="4" y="41"/>
                  <a:pt x="4" y="41"/>
                </a:cubicBezTo>
                <a:cubicBezTo>
                  <a:pt x="2" y="41"/>
                  <a:pt x="0" y="39"/>
                  <a:pt x="0" y="37"/>
                </a:cubicBezTo>
                <a:cubicBezTo>
                  <a:pt x="0" y="4"/>
                  <a:pt x="0" y="4"/>
                  <a:pt x="0" y="4"/>
                </a:cubicBezTo>
                <a:cubicBezTo>
                  <a:pt x="0" y="2"/>
                  <a:pt x="2" y="0"/>
                  <a:pt x="4" y="0"/>
                </a:cubicBezTo>
                <a:cubicBezTo>
                  <a:pt x="38" y="0"/>
                  <a:pt x="38" y="0"/>
                  <a:pt x="38" y="0"/>
                </a:cubicBezTo>
                <a:cubicBezTo>
                  <a:pt x="40" y="0"/>
                  <a:pt x="42" y="2"/>
                  <a:pt x="42" y="4"/>
                </a:cubicBezTo>
                <a:cubicBezTo>
                  <a:pt x="42" y="37"/>
                  <a:pt x="42" y="37"/>
                  <a:pt x="42" y="37"/>
                </a:cubicBezTo>
                <a:cubicBezTo>
                  <a:pt x="42" y="39"/>
                  <a:pt x="40" y="41"/>
                  <a:pt x="38" y="41"/>
                </a:cubicBezTo>
                <a:close/>
                <a:moveTo>
                  <a:pt x="8" y="33"/>
                </a:moveTo>
                <a:cubicBezTo>
                  <a:pt x="34" y="33"/>
                  <a:pt x="34" y="33"/>
                  <a:pt x="34" y="33"/>
                </a:cubicBezTo>
                <a:cubicBezTo>
                  <a:pt x="34" y="8"/>
                  <a:pt x="34" y="8"/>
                  <a:pt x="34" y="8"/>
                </a:cubicBezTo>
                <a:cubicBezTo>
                  <a:pt x="8" y="8"/>
                  <a:pt x="8" y="8"/>
                  <a:pt x="8" y="8"/>
                </a:cubicBezTo>
                <a:lnTo>
                  <a:pt x="8" y="33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27" name="Freeform 175">
            <a:extLst>
              <a:ext uri="{FF2B5EF4-FFF2-40B4-BE49-F238E27FC236}">
                <a16:creationId xmlns:a16="http://schemas.microsoft.com/office/drawing/2014/main" id="{345AE4CB-7BCA-BC97-03AB-BEA34E537AA6}"/>
              </a:ext>
            </a:extLst>
          </p:cNvPr>
          <p:cNvSpPr>
            <a:spLocks noEditPoints="1"/>
          </p:cNvSpPr>
          <p:nvPr/>
        </p:nvSpPr>
        <p:spPr bwMode="auto">
          <a:xfrm>
            <a:off x="10827017" y="5123540"/>
            <a:ext cx="53637" cy="53637"/>
          </a:xfrm>
          <a:custGeom>
            <a:avLst/>
            <a:gdLst>
              <a:gd name="T0" fmla="*/ 38 w 42"/>
              <a:gd name="T1" fmla="*/ 42 h 42"/>
              <a:gd name="T2" fmla="*/ 4 w 42"/>
              <a:gd name="T3" fmla="*/ 42 h 42"/>
              <a:gd name="T4" fmla="*/ 0 w 42"/>
              <a:gd name="T5" fmla="*/ 38 h 42"/>
              <a:gd name="T6" fmla="*/ 0 w 42"/>
              <a:gd name="T7" fmla="*/ 5 h 42"/>
              <a:gd name="T8" fmla="*/ 4 w 42"/>
              <a:gd name="T9" fmla="*/ 0 h 42"/>
              <a:gd name="T10" fmla="*/ 38 w 42"/>
              <a:gd name="T11" fmla="*/ 0 h 42"/>
              <a:gd name="T12" fmla="*/ 42 w 42"/>
              <a:gd name="T13" fmla="*/ 5 h 42"/>
              <a:gd name="T14" fmla="*/ 42 w 42"/>
              <a:gd name="T15" fmla="*/ 38 h 42"/>
              <a:gd name="T16" fmla="*/ 38 w 42"/>
              <a:gd name="T17" fmla="*/ 42 h 42"/>
              <a:gd name="T18" fmla="*/ 8 w 42"/>
              <a:gd name="T19" fmla="*/ 34 h 42"/>
              <a:gd name="T20" fmla="*/ 34 w 42"/>
              <a:gd name="T21" fmla="*/ 34 h 42"/>
              <a:gd name="T22" fmla="*/ 34 w 42"/>
              <a:gd name="T23" fmla="*/ 9 h 42"/>
              <a:gd name="T24" fmla="*/ 8 w 42"/>
              <a:gd name="T25" fmla="*/ 9 h 42"/>
              <a:gd name="T26" fmla="*/ 8 w 42"/>
              <a:gd name="T27" fmla="*/ 34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42" h="42">
                <a:moveTo>
                  <a:pt x="38" y="42"/>
                </a:moveTo>
                <a:cubicBezTo>
                  <a:pt x="4" y="42"/>
                  <a:pt x="4" y="42"/>
                  <a:pt x="4" y="42"/>
                </a:cubicBezTo>
                <a:cubicBezTo>
                  <a:pt x="2" y="42"/>
                  <a:pt x="0" y="40"/>
                  <a:pt x="0" y="38"/>
                </a:cubicBezTo>
                <a:cubicBezTo>
                  <a:pt x="0" y="5"/>
                  <a:pt x="0" y="5"/>
                  <a:pt x="0" y="5"/>
                </a:cubicBezTo>
                <a:cubicBezTo>
                  <a:pt x="0" y="2"/>
                  <a:pt x="2" y="0"/>
                  <a:pt x="4" y="0"/>
                </a:cubicBezTo>
                <a:cubicBezTo>
                  <a:pt x="38" y="0"/>
                  <a:pt x="38" y="0"/>
                  <a:pt x="38" y="0"/>
                </a:cubicBezTo>
                <a:cubicBezTo>
                  <a:pt x="40" y="0"/>
                  <a:pt x="42" y="2"/>
                  <a:pt x="42" y="5"/>
                </a:cubicBezTo>
                <a:cubicBezTo>
                  <a:pt x="42" y="38"/>
                  <a:pt x="42" y="38"/>
                  <a:pt x="42" y="38"/>
                </a:cubicBezTo>
                <a:cubicBezTo>
                  <a:pt x="42" y="40"/>
                  <a:pt x="40" y="42"/>
                  <a:pt x="38" y="42"/>
                </a:cubicBezTo>
                <a:close/>
                <a:moveTo>
                  <a:pt x="8" y="34"/>
                </a:moveTo>
                <a:cubicBezTo>
                  <a:pt x="34" y="34"/>
                  <a:pt x="34" y="34"/>
                  <a:pt x="34" y="34"/>
                </a:cubicBezTo>
                <a:cubicBezTo>
                  <a:pt x="34" y="9"/>
                  <a:pt x="34" y="9"/>
                  <a:pt x="34" y="9"/>
                </a:cubicBezTo>
                <a:cubicBezTo>
                  <a:pt x="8" y="9"/>
                  <a:pt x="8" y="9"/>
                  <a:pt x="8" y="9"/>
                </a:cubicBezTo>
                <a:lnTo>
                  <a:pt x="8" y="34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28" name="Freeform 176">
            <a:extLst>
              <a:ext uri="{FF2B5EF4-FFF2-40B4-BE49-F238E27FC236}">
                <a16:creationId xmlns:a16="http://schemas.microsoft.com/office/drawing/2014/main" id="{013B841E-FE1C-28E6-1D03-56F7702E286B}"/>
              </a:ext>
            </a:extLst>
          </p:cNvPr>
          <p:cNvSpPr>
            <a:spLocks/>
          </p:cNvSpPr>
          <p:nvPr/>
        </p:nvSpPr>
        <p:spPr bwMode="auto">
          <a:xfrm>
            <a:off x="10899217" y="5078155"/>
            <a:ext cx="51577" cy="10316"/>
          </a:xfrm>
          <a:custGeom>
            <a:avLst/>
            <a:gdLst>
              <a:gd name="T0" fmla="*/ 36 w 40"/>
              <a:gd name="T1" fmla="*/ 8 h 8"/>
              <a:gd name="T2" fmla="*/ 4 w 40"/>
              <a:gd name="T3" fmla="*/ 8 h 8"/>
              <a:gd name="T4" fmla="*/ 0 w 40"/>
              <a:gd name="T5" fmla="*/ 4 h 8"/>
              <a:gd name="T6" fmla="*/ 4 w 40"/>
              <a:gd name="T7" fmla="*/ 0 h 8"/>
              <a:gd name="T8" fmla="*/ 36 w 40"/>
              <a:gd name="T9" fmla="*/ 0 h 8"/>
              <a:gd name="T10" fmla="*/ 40 w 40"/>
              <a:gd name="T11" fmla="*/ 4 h 8"/>
              <a:gd name="T12" fmla="*/ 36 w 40"/>
              <a:gd name="T13" fmla="*/ 8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0" h="8">
                <a:moveTo>
                  <a:pt x="36" y="8"/>
                </a:moveTo>
                <a:cubicBezTo>
                  <a:pt x="4" y="8"/>
                  <a:pt x="4" y="8"/>
                  <a:pt x="4" y="8"/>
                </a:cubicBezTo>
                <a:cubicBezTo>
                  <a:pt x="2" y="8"/>
                  <a:pt x="0" y="6"/>
                  <a:pt x="0" y="4"/>
                </a:cubicBezTo>
                <a:cubicBezTo>
                  <a:pt x="0" y="2"/>
                  <a:pt x="2" y="0"/>
                  <a:pt x="4" y="0"/>
                </a:cubicBezTo>
                <a:cubicBezTo>
                  <a:pt x="36" y="0"/>
                  <a:pt x="36" y="0"/>
                  <a:pt x="36" y="0"/>
                </a:cubicBezTo>
                <a:cubicBezTo>
                  <a:pt x="38" y="0"/>
                  <a:pt x="40" y="2"/>
                  <a:pt x="40" y="4"/>
                </a:cubicBezTo>
                <a:cubicBezTo>
                  <a:pt x="40" y="6"/>
                  <a:pt x="38" y="8"/>
                  <a:pt x="36" y="8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29" name="Freeform 177">
            <a:extLst>
              <a:ext uri="{FF2B5EF4-FFF2-40B4-BE49-F238E27FC236}">
                <a16:creationId xmlns:a16="http://schemas.microsoft.com/office/drawing/2014/main" id="{9A8EF806-9ED9-FFF4-4657-8251854D73DD}"/>
              </a:ext>
            </a:extLst>
          </p:cNvPr>
          <p:cNvSpPr>
            <a:spLocks/>
          </p:cNvSpPr>
          <p:nvPr/>
        </p:nvSpPr>
        <p:spPr bwMode="auto">
          <a:xfrm>
            <a:off x="10899217" y="5166861"/>
            <a:ext cx="51577" cy="10316"/>
          </a:xfrm>
          <a:custGeom>
            <a:avLst/>
            <a:gdLst>
              <a:gd name="T0" fmla="*/ 36 w 40"/>
              <a:gd name="T1" fmla="*/ 8 h 8"/>
              <a:gd name="T2" fmla="*/ 4 w 40"/>
              <a:gd name="T3" fmla="*/ 8 h 8"/>
              <a:gd name="T4" fmla="*/ 0 w 40"/>
              <a:gd name="T5" fmla="*/ 4 h 8"/>
              <a:gd name="T6" fmla="*/ 4 w 40"/>
              <a:gd name="T7" fmla="*/ 0 h 8"/>
              <a:gd name="T8" fmla="*/ 36 w 40"/>
              <a:gd name="T9" fmla="*/ 0 h 8"/>
              <a:gd name="T10" fmla="*/ 40 w 40"/>
              <a:gd name="T11" fmla="*/ 4 h 8"/>
              <a:gd name="T12" fmla="*/ 36 w 40"/>
              <a:gd name="T13" fmla="*/ 8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0" h="8">
                <a:moveTo>
                  <a:pt x="36" y="8"/>
                </a:moveTo>
                <a:cubicBezTo>
                  <a:pt x="4" y="8"/>
                  <a:pt x="4" y="8"/>
                  <a:pt x="4" y="8"/>
                </a:cubicBezTo>
                <a:cubicBezTo>
                  <a:pt x="2" y="8"/>
                  <a:pt x="0" y="6"/>
                  <a:pt x="0" y="4"/>
                </a:cubicBezTo>
                <a:cubicBezTo>
                  <a:pt x="0" y="1"/>
                  <a:pt x="2" y="0"/>
                  <a:pt x="4" y="0"/>
                </a:cubicBezTo>
                <a:cubicBezTo>
                  <a:pt x="36" y="0"/>
                  <a:pt x="36" y="0"/>
                  <a:pt x="36" y="0"/>
                </a:cubicBezTo>
                <a:cubicBezTo>
                  <a:pt x="38" y="0"/>
                  <a:pt x="40" y="1"/>
                  <a:pt x="40" y="4"/>
                </a:cubicBezTo>
                <a:cubicBezTo>
                  <a:pt x="40" y="6"/>
                  <a:pt x="38" y="8"/>
                  <a:pt x="36" y="8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30" name="Freeform 178">
            <a:extLst>
              <a:ext uri="{FF2B5EF4-FFF2-40B4-BE49-F238E27FC236}">
                <a16:creationId xmlns:a16="http://schemas.microsoft.com/office/drawing/2014/main" id="{0DB5FACC-3C01-61F8-E86B-9C61952A76F7}"/>
              </a:ext>
            </a:extLst>
          </p:cNvPr>
          <p:cNvSpPr>
            <a:spLocks noEditPoints="1"/>
          </p:cNvSpPr>
          <p:nvPr/>
        </p:nvSpPr>
        <p:spPr bwMode="auto">
          <a:xfrm>
            <a:off x="10938416" y="5005946"/>
            <a:ext cx="150598" cy="148533"/>
          </a:xfrm>
          <a:custGeom>
            <a:avLst/>
            <a:gdLst>
              <a:gd name="T0" fmla="*/ 5 w 118"/>
              <a:gd name="T1" fmla="*/ 117 h 117"/>
              <a:gd name="T2" fmla="*/ 2 w 118"/>
              <a:gd name="T3" fmla="*/ 116 h 117"/>
              <a:gd name="T4" fmla="*/ 1 w 118"/>
              <a:gd name="T5" fmla="*/ 112 h 117"/>
              <a:gd name="T6" fmla="*/ 11 w 118"/>
              <a:gd name="T7" fmla="*/ 78 h 117"/>
              <a:gd name="T8" fmla="*/ 12 w 118"/>
              <a:gd name="T9" fmla="*/ 76 h 117"/>
              <a:gd name="T10" fmla="*/ 86 w 118"/>
              <a:gd name="T11" fmla="*/ 1 h 117"/>
              <a:gd name="T12" fmla="*/ 92 w 118"/>
              <a:gd name="T13" fmla="*/ 1 h 117"/>
              <a:gd name="T14" fmla="*/ 117 w 118"/>
              <a:gd name="T15" fmla="*/ 26 h 117"/>
              <a:gd name="T16" fmla="*/ 118 w 118"/>
              <a:gd name="T17" fmla="*/ 29 h 117"/>
              <a:gd name="T18" fmla="*/ 117 w 118"/>
              <a:gd name="T19" fmla="*/ 32 h 117"/>
              <a:gd name="T20" fmla="*/ 42 w 118"/>
              <a:gd name="T21" fmla="*/ 106 h 117"/>
              <a:gd name="T22" fmla="*/ 40 w 118"/>
              <a:gd name="T23" fmla="*/ 107 h 117"/>
              <a:gd name="T24" fmla="*/ 6 w 118"/>
              <a:gd name="T25" fmla="*/ 117 h 117"/>
              <a:gd name="T26" fmla="*/ 5 w 118"/>
              <a:gd name="T27" fmla="*/ 117 h 117"/>
              <a:gd name="T28" fmla="*/ 18 w 118"/>
              <a:gd name="T29" fmla="*/ 81 h 117"/>
              <a:gd name="T30" fmla="*/ 11 w 118"/>
              <a:gd name="T31" fmla="*/ 107 h 117"/>
              <a:gd name="T32" fmla="*/ 37 w 118"/>
              <a:gd name="T33" fmla="*/ 100 h 117"/>
              <a:gd name="T34" fmla="*/ 108 w 118"/>
              <a:gd name="T35" fmla="*/ 29 h 117"/>
              <a:gd name="T36" fmla="*/ 89 w 118"/>
              <a:gd name="T37" fmla="*/ 10 h 117"/>
              <a:gd name="T38" fmla="*/ 18 w 118"/>
              <a:gd name="T39" fmla="*/ 81 h 1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18" h="117">
                <a:moveTo>
                  <a:pt x="5" y="117"/>
                </a:moveTo>
                <a:cubicBezTo>
                  <a:pt x="4" y="117"/>
                  <a:pt x="3" y="117"/>
                  <a:pt x="2" y="116"/>
                </a:cubicBezTo>
                <a:cubicBezTo>
                  <a:pt x="1" y="115"/>
                  <a:pt x="0" y="114"/>
                  <a:pt x="1" y="112"/>
                </a:cubicBezTo>
                <a:cubicBezTo>
                  <a:pt x="11" y="78"/>
                  <a:pt x="11" y="78"/>
                  <a:pt x="11" y="78"/>
                </a:cubicBezTo>
                <a:cubicBezTo>
                  <a:pt x="11" y="77"/>
                  <a:pt x="11" y="76"/>
                  <a:pt x="12" y="76"/>
                </a:cubicBezTo>
                <a:cubicBezTo>
                  <a:pt x="86" y="1"/>
                  <a:pt x="86" y="1"/>
                  <a:pt x="86" y="1"/>
                </a:cubicBezTo>
                <a:cubicBezTo>
                  <a:pt x="88" y="0"/>
                  <a:pt x="91" y="0"/>
                  <a:pt x="92" y="1"/>
                </a:cubicBezTo>
                <a:cubicBezTo>
                  <a:pt x="117" y="26"/>
                  <a:pt x="117" y="26"/>
                  <a:pt x="117" y="26"/>
                </a:cubicBezTo>
                <a:cubicBezTo>
                  <a:pt x="118" y="27"/>
                  <a:pt x="118" y="28"/>
                  <a:pt x="118" y="29"/>
                </a:cubicBezTo>
                <a:cubicBezTo>
                  <a:pt x="118" y="30"/>
                  <a:pt x="118" y="31"/>
                  <a:pt x="117" y="32"/>
                </a:cubicBezTo>
                <a:cubicBezTo>
                  <a:pt x="42" y="106"/>
                  <a:pt x="42" y="106"/>
                  <a:pt x="42" y="106"/>
                </a:cubicBezTo>
                <a:cubicBezTo>
                  <a:pt x="42" y="107"/>
                  <a:pt x="41" y="107"/>
                  <a:pt x="40" y="107"/>
                </a:cubicBezTo>
                <a:cubicBezTo>
                  <a:pt x="6" y="117"/>
                  <a:pt x="6" y="117"/>
                  <a:pt x="6" y="117"/>
                </a:cubicBezTo>
                <a:cubicBezTo>
                  <a:pt x="5" y="117"/>
                  <a:pt x="5" y="117"/>
                  <a:pt x="5" y="117"/>
                </a:cubicBezTo>
                <a:close/>
                <a:moveTo>
                  <a:pt x="18" y="81"/>
                </a:moveTo>
                <a:cubicBezTo>
                  <a:pt x="11" y="107"/>
                  <a:pt x="11" y="107"/>
                  <a:pt x="11" y="107"/>
                </a:cubicBezTo>
                <a:cubicBezTo>
                  <a:pt x="37" y="100"/>
                  <a:pt x="37" y="100"/>
                  <a:pt x="37" y="100"/>
                </a:cubicBezTo>
                <a:cubicBezTo>
                  <a:pt x="108" y="29"/>
                  <a:pt x="108" y="29"/>
                  <a:pt x="108" y="29"/>
                </a:cubicBezTo>
                <a:cubicBezTo>
                  <a:pt x="89" y="10"/>
                  <a:pt x="89" y="10"/>
                  <a:pt x="89" y="10"/>
                </a:cubicBezTo>
                <a:lnTo>
                  <a:pt x="18" y="81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31" name="Freeform 179">
            <a:extLst>
              <a:ext uri="{FF2B5EF4-FFF2-40B4-BE49-F238E27FC236}">
                <a16:creationId xmlns:a16="http://schemas.microsoft.com/office/drawing/2014/main" id="{76FCABCB-F444-C265-D456-0D8E23A99F63}"/>
              </a:ext>
            </a:extLst>
          </p:cNvPr>
          <p:cNvSpPr>
            <a:spLocks/>
          </p:cNvSpPr>
          <p:nvPr/>
        </p:nvSpPr>
        <p:spPr bwMode="auto">
          <a:xfrm>
            <a:off x="10950793" y="5098782"/>
            <a:ext cx="43324" cy="43324"/>
          </a:xfrm>
          <a:custGeom>
            <a:avLst/>
            <a:gdLst>
              <a:gd name="T0" fmla="*/ 29 w 34"/>
              <a:gd name="T1" fmla="*/ 33 h 33"/>
              <a:gd name="T2" fmla="*/ 26 w 34"/>
              <a:gd name="T3" fmla="*/ 32 h 33"/>
              <a:gd name="T4" fmla="*/ 2 w 34"/>
              <a:gd name="T5" fmla="*/ 8 h 33"/>
              <a:gd name="T6" fmla="*/ 2 w 34"/>
              <a:gd name="T7" fmla="*/ 2 h 33"/>
              <a:gd name="T8" fmla="*/ 8 w 34"/>
              <a:gd name="T9" fmla="*/ 2 h 33"/>
              <a:gd name="T10" fmla="*/ 32 w 34"/>
              <a:gd name="T11" fmla="*/ 26 h 33"/>
              <a:gd name="T12" fmla="*/ 32 w 34"/>
              <a:gd name="T13" fmla="*/ 32 h 33"/>
              <a:gd name="T14" fmla="*/ 29 w 34"/>
              <a:gd name="T15" fmla="*/ 33 h 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4" h="33">
                <a:moveTo>
                  <a:pt x="29" y="33"/>
                </a:moveTo>
                <a:cubicBezTo>
                  <a:pt x="28" y="33"/>
                  <a:pt x="27" y="33"/>
                  <a:pt x="26" y="32"/>
                </a:cubicBezTo>
                <a:cubicBezTo>
                  <a:pt x="2" y="8"/>
                  <a:pt x="2" y="8"/>
                  <a:pt x="2" y="8"/>
                </a:cubicBezTo>
                <a:cubicBezTo>
                  <a:pt x="0" y="6"/>
                  <a:pt x="0" y="3"/>
                  <a:pt x="2" y="2"/>
                </a:cubicBezTo>
                <a:cubicBezTo>
                  <a:pt x="3" y="0"/>
                  <a:pt x="6" y="0"/>
                  <a:pt x="8" y="2"/>
                </a:cubicBezTo>
                <a:cubicBezTo>
                  <a:pt x="32" y="26"/>
                  <a:pt x="32" y="26"/>
                  <a:pt x="32" y="26"/>
                </a:cubicBezTo>
                <a:cubicBezTo>
                  <a:pt x="34" y="28"/>
                  <a:pt x="34" y="31"/>
                  <a:pt x="32" y="32"/>
                </a:cubicBezTo>
                <a:cubicBezTo>
                  <a:pt x="31" y="33"/>
                  <a:pt x="30" y="33"/>
                  <a:pt x="29" y="33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32" name="Freeform 180">
            <a:extLst>
              <a:ext uri="{FF2B5EF4-FFF2-40B4-BE49-F238E27FC236}">
                <a16:creationId xmlns:a16="http://schemas.microsoft.com/office/drawing/2014/main" id="{C0D79809-18C9-6006-A3D0-6FEC28447846}"/>
              </a:ext>
            </a:extLst>
          </p:cNvPr>
          <p:cNvSpPr>
            <a:spLocks noEditPoints="1"/>
          </p:cNvSpPr>
          <p:nvPr/>
        </p:nvSpPr>
        <p:spPr bwMode="auto">
          <a:xfrm>
            <a:off x="11045691" y="4981196"/>
            <a:ext cx="68079" cy="66016"/>
          </a:xfrm>
          <a:custGeom>
            <a:avLst/>
            <a:gdLst>
              <a:gd name="T0" fmla="*/ 29 w 52"/>
              <a:gd name="T1" fmla="*/ 52 h 52"/>
              <a:gd name="T2" fmla="*/ 26 w 52"/>
              <a:gd name="T3" fmla="*/ 51 h 52"/>
              <a:gd name="T4" fmla="*/ 1 w 52"/>
              <a:gd name="T5" fmla="*/ 26 h 52"/>
              <a:gd name="T6" fmla="*/ 1 w 52"/>
              <a:gd name="T7" fmla="*/ 20 h 52"/>
              <a:gd name="T8" fmla="*/ 20 w 52"/>
              <a:gd name="T9" fmla="*/ 2 h 52"/>
              <a:gd name="T10" fmla="*/ 26 w 52"/>
              <a:gd name="T11" fmla="*/ 2 h 52"/>
              <a:gd name="T12" fmla="*/ 50 w 52"/>
              <a:gd name="T13" fmla="*/ 26 h 52"/>
              <a:gd name="T14" fmla="*/ 50 w 52"/>
              <a:gd name="T15" fmla="*/ 32 h 52"/>
              <a:gd name="T16" fmla="*/ 32 w 52"/>
              <a:gd name="T17" fmla="*/ 51 h 52"/>
              <a:gd name="T18" fmla="*/ 29 w 52"/>
              <a:gd name="T19" fmla="*/ 52 h 52"/>
              <a:gd name="T20" fmla="*/ 10 w 52"/>
              <a:gd name="T21" fmla="*/ 23 h 52"/>
              <a:gd name="T22" fmla="*/ 29 w 52"/>
              <a:gd name="T23" fmla="*/ 42 h 52"/>
              <a:gd name="T24" fmla="*/ 41 w 52"/>
              <a:gd name="T25" fmla="*/ 29 h 52"/>
              <a:gd name="T26" fmla="*/ 23 w 52"/>
              <a:gd name="T27" fmla="*/ 11 h 52"/>
              <a:gd name="T28" fmla="*/ 10 w 52"/>
              <a:gd name="T29" fmla="*/ 23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52" h="52">
                <a:moveTo>
                  <a:pt x="29" y="52"/>
                </a:moveTo>
                <a:cubicBezTo>
                  <a:pt x="28" y="52"/>
                  <a:pt x="27" y="51"/>
                  <a:pt x="26" y="51"/>
                </a:cubicBezTo>
                <a:cubicBezTo>
                  <a:pt x="1" y="26"/>
                  <a:pt x="1" y="26"/>
                  <a:pt x="1" y="26"/>
                </a:cubicBezTo>
                <a:cubicBezTo>
                  <a:pt x="0" y="24"/>
                  <a:pt x="0" y="22"/>
                  <a:pt x="1" y="20"/>
                </a:cubicBezTo>
                <a:cubicBezTo>
                  <a:pt x="20" y="2"/>
                  <a:pt x="20" y="2"/>
                  <a:pt x="20" y="2"/>
                </a:cubicBezTo>
                <a:cubicBezTo>
                  <a:pt x="21" y="0"/>
                  <a:pt x="24" y="0"/>
                  <a:pt x="26" y="2"/>
                </a:cubicBezTo>
                <a:cubicBezTo>
                  <a:pt x="50" y="26"/>
                  <a:pt x="50" y="26"/>
                  <a:pt x="50" y="26"/>
                </a:cubicBezTo>
                <a:cubicBezTo>
                  <a:pt x="52" y="28"/>
                  <a:pt x="52" y="31"/>
                  <a:pt x="50" y="32"/>
                </a:cubicBezTo>
                <a:cubicBezTo>
                  <a:pt x="32" y="51"/>
                  <a:pt x="32" y="51"/>
                  <a:pt x="32" y="51"/>
                </a:cubicBezTo>
                <a:cubicBezTo>
                  <a:pt x="31" y="51"/>
                  <a:pt x="30" y="52"/>
                  <a:pt x="29" y="52"/>
                </a:cubicBezTo>
                <a:close/>
                <a:moveTo>
                  <a:pt x="10" y="23"/>
                </a:moveTo>
                <a:cubicBezTo>
                  <a:pt x="29" y="42"/>
                  <a:pt x="29" y="42"/>
                  <a:pt x="29" y="42"/>
                </a:cubicBezTo>
                <a:cubicBezTo>
                  <a:pt x="41" y="29"/>
                  <a:pt x="41" y="29"/>
                  <a:pt x="41" y="29"/>
                </a:cubicBezTo>
                <a:cubicBezTo>
                  <a:pt x="23" y="11"/>
                  <a:pt x="23" y="11"/>
                  <a:pt x="23" y="11"/>
                </a:cubicBezTo>
                <a:lnTo>
                  <a:pt x="10" y="23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33" name="Freeform 769">
            <a:extLst>
              <a:ext uri="{FF2B5EF4-FFF2-40B4-BE49-F238E27FC236}">
                <a16:creationId xmlns:a16="http://schemas.microsoft.com/office/drawing/2014/main" id="{3BF4AA3D-A2BD-9540-42B7-5955DCA3DCE4}"/>
              </a:ext>
            </a:extLst>
          </p:cNvPr>
          <p:cNvSpPr>
            <a:spLocks noEditPoints="1"/>
          </p:cNvSpPr>
          <p:nvPr/>
        </p:nvSpPr>
        <p:spPr bwMode="auto">
          <a:xfrm>
            <a:off x="11015442" y="1652595"/>
            <a:ext cx="76717" cy="76717"/>
          </a:xfrm>
          <a:custGeom>
            <a:avLst/>
            <a:gdLst>
              <a:gd name="T0" fmla="*/ 77 w 84"/>
              <a:gd name="T1" fmla="*/ 84 h 84"/>
              <a:gd name="T2" fmla="*/ 6 w 84"/>
              <a:gd name="T3" fmla="*/ 84 h 84"/>
              <a:gd name="T4" fmla="*/ 0 w 84"/>
              <a:gd name="T5" fmla="*/ 78 h 84"/>
              <a:gd name="T6" fmla="*/ 0 w 84"/>
              <a:gd name="T7" fmla="*/ 7 h 84"/>
              <a:gd name="T8" fmla="*/ 4 w 84"/>
              <a:gd name="T9" fmla="*/ 1 h 84"/>
              <a:gd name="T10" fmla="*/ 10 w 84"/>
              <a:gd name="T11" fmla="*/ 2 h 84"/>
              <a:gd name="T12" fmla="*/ 82 w 84"/>
              <a:gd name="T13" fmla="*/ 74 h 84"/>
              <a:gd name="T14" fmla="*/ 83 w 84"/>
              <a:gd name="T15" fmla="*/ 81 h 84"/>
              <a:gd name="T16" fmla="*/ 77 w 84"/>
              <a:gd name="T17" fmla="*/ 84 h 84"/>
              <a:gd name="T18" fmla="*/ 12 w 84"/>
              <a:gd name="T19" fmla="*/ 72 h 84"/>
              <a:gd name="T20" fmla="*/ 63 w 84"/>
              <a:gd name="T21" fmla="*/ 72 h 84"/>
              <a:gd name="T22" fmla="*/ 12 w 84"/>
              <a:gd name="T23" fmla="*/ 22 h 84"/>
              <a:gd name="T24" fmla="*/ 12 w 84"/>
              <a:gd name="T25" fmla="*/ 72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4" h="84">
                <a:moveTo>
                  <a:pt x="77" y="84"/>
                </a:moveTo>
                <a:cubicBezTo>
                  <a:pt x="6" y="84"/>
                  <a:pt x="6" y="84"/>
                  <a:pt x="6" y="84"/>
                </a:cubicBezTo>
                <a:cubicBezTo>
                  <a:pt x="3" y="84"/>
                  <a:pt x="0" y="82"/>
                  <a:pt x="0" y="78"/>
                </a:cubicBezTo>
                <a:cubicBezTo>
                  <a:pt x="0" y="7"/>
                  <a:pt x="0" y="7"/>
                  <a:pt x="0" y="7"/>
                </a:cubicBezTo>
                <a:cubicBezTo>
                  <a:pt x="0" y="4"/>
                  <a:pt x="1" y="2"/>
                  <a:pt x="4" y="1"/>
                </a:cubicBezTo>
                <a:cubicBezTo>
                  <a:pt x="6" y="0"/>
                  <a:pt x="9" y="1"/>
                  <a:pt x="10" y="2"/>
                </a:cubicBezTo>
                <a:cubicBezTo>
                  <a:pt x="82" y="74"/>
                  <a:pt x="82" y="74"/>
                  <a:pt x="82" y="74"/>
                </a:cubicBezTo>
                <a:cubicBezTo>
                  <a:pt x="83" y="76"/>
                  <a:pt x="84" y="78"/>
                  <a:pt x="83" y="81"/>
                </a:cubicBezTo>
                <a:cubicBezTo>
                  <a:pt x="82" y="83"/>
                  <a:pt x="80" y="84"/>
                  <a:pt x="77" y="84"/>
                </a:cubicBezTo>
                <a:close/>
                <a:moveTo>
                  <a:pt x="12" y="72"/>
                </a:moveTo>
                <a:cubicBezTo>
                  <a:pt x="63" y="72"/>
                  <a:pt x="63" y="72"/>
                  <a:pt x="63" y="72"/>
                </a:cubicBezTo>
                <a:cubicBezTo>
                  <a:pt x="12" y="22"/>
                  <a:pt x="12" y="22"/>
                  <a:pt x="12" y="22"/>
                </a:cubicBezTo>
                <a:lnTo>
                  <a:pt x="12" y="7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34" name="Freeform 770">
            <a:extLst>
              <a:ext uri="{FF2B5EF4-FFF2-40B4-BE49-F238E27FC236}">
                <a16:creationId xmlns:a16="http://schemas.microsoft.com/office/drawing/2014/main" id="{DEC046C4-29FE-C238-D9BD-5115E6933FF0}"/>
              </a:ext>
            </a:extLst>
          </p:cNvPr>
          <p:cNvSpPr>
            <a:spLocks/>
          </p:cNvSpPr>
          <p:nvPr/>
        </p:nvSpPr>
        <p:spPr bwMode="auto">
          <a:xfrm>
            <a:off x="10781960" y="1652597"/>
            <a:ext cx="310200" cy="396925"/>
          </a:xfrm>
          <a:custGeom>
            <a:avLst/>
            <a:gdLst>
              <a:gd name="T0" fmla="*/ 331 w 338"/>
              <a:gd name="T1" fmla="*/ 432 h 432"/>
              <a:gd name="T2" fmla="*/ 6 w 338"/>
              <a:gd name="T3" fmla="*/ 432 h 432"/>
              <a:gd name="T4" fmla="*/ 0 w 338"/>
              <a:gd name="T5" fmla="*/ 426 h 432"/>
              <a:gd name="T6" fmla="*/ 0 w 338"/>
              <a:gd name="T7" fmla="*/ 6 h 432"/>
              <a:gd name="T8" fmla="*/ 6 w 338"/>
              <a:gd name="T9" fmla="*/ 0 h 432"/>
              <a:gd name="T10" fmla="*/ 260 w 338"/>
              <a:gd name="T11" fmla="*/ 0 h 432"/>
              <a:gd name="T12" fmla="*/ 264 w 338"/>
              <a:gd name="T13" fmla="*/ 1 h 432"/>
              <a:gd name="T14" fmla="*/ 336 w 338"/>
              <a:gd name="T15" fmla="*/ 73 h 432"/>
              <a:gd name="T16" fmla="*/ 338 w 338"/>
              <a:gd name="T17" fmla="*/ 77 h 432"/>
              <a:gd name="T18" fmla="*/ 338 w 338"/>
              <a:gd name="T19" fmla="*/ 368 h 432"/>
              <a:gd name="T20" fmla="*/ 331 w 338"/>
              <a:gd name="T21" fmla="*/ 374 h 432"/>
              <a:gd name="T22" fmla="*/ 325 w 338"/>
              <a:gd name="T23" fmla="*/ 368 h 432"/>
              <a:gd name="T24" fmla="*/ 325 w 338"/>
              <a:gd name="T25" fmla="*/ 80 h 432"/>
              <a:gd name="T26" fmla="*/ 257 w 338"/>
              <a:gd name="T27" fmla="*/ 12 h 432"/>
              <a:gd name="T28" fmla="*/ 12 w 338"/>
              <a:gd name="T29" fmla="*/ 12 h 432"/>
              <a:gd name="T30" fmla="*/ 12 w 338"/>
              <a:gd name="T31" fmla="*/ 420 h 432"/>
              <a:gd name="T32" fmla="*/ 325 w 338"/>
              <a:gd name="T33" fmla="*/ 420 h 432"/>
              <a:gd name="T34" fmla="*/ 325 w 338"/>
              <a:gd name="T35" fmla="*/ 414 h 432"/>
              <a:gd name="T36" fmla="*/ 331 w 338"/>
              <a:gd name="T37" fmla="*/ 408 h 432"/>
              <a:gd name="T38" fmla="*/ 338 w 338"/>
              <a:gd name="T39" fmla="*/ 414 h 432"/>
              <a:gd name="T40" fmla="*/ 338 w 338"/>
              <a:gd name="T41" fmla="*/ 426 h 432"/>
              <a:gd name="T42" fmla="*/ 331 w 338"/>
              <a:gd name="T43" fmla="*/ 432 h 4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338" h="432">
                <a:moveTo>
                  <a:pt x="331" y="432"/>
                </a:moveTo>
                <a:cubicBezTo>
                  <a:pt x="6" y="432"/>
                  <a:pt x="6" y="432"/>
                  <a:pt x="6" y="432"/>
                </a:cubicBezTo>
                <a:cubicBezTo>
                  <a:pt x="3" y="432"/>
                  <a:pt x="0" y="430"/>
                  <a:pt x="0" y="426"/>
                </a:cubicBezTo>
                <a:cubicBezTo>
                  <a:pt x="0" y="6"/>
                  <a:pt x="0" y="6"/>
                  <a:pt x="0" y="6"/>
                </a:cubicBezTo>
                <a:cubicBezTo>
                  <a:pt x="0" y="2"/>
                  <a:pt x="3" y="0"/>
                  <a:pt x="6" y="0"/>
                </a:cubicBezTo>
                <a:cubicBezTo>
                  <a:pt x="260" y="0"/>
                  <a:pt x="260" y="0"/>
                  <a:pt x="260" y="0"/>
                </a:cubicBezTo>
                <a:cubicBezTo>
                  <a:pt x="262" y="0"/>
                  <a:pt x="263" y="0"/>
                  <a:pt x="264" y="1"/>
                </a:cubicBezTo>
                <a:cubicBezTo>
                  <a:pt x="336" y="73"/>
                  <a:pt x="336" y="73"/>
                  <a:pt x="336" y="73"/>
                </a:cubicBezTo>
                <a:cubicBezTo>
                  <a:pt x="337" y="74"/>
                  <a:pt x="338" y="76"/>
                  <a:pt x="338" y="77"/>
                </a:cubicBezTo>
                <a:cubicBezTo>
                  <a:pt x="338" y="368"/>
                  <a:pt x="338" y="368"/>
                  <a:pt x="338" y="368"/>
                </a:cubicBezTo>
                <a:cubicBezTo>
                  <a:pt x="338" y="371"/>
                  <a:pt x="335" y="374"/>
                  <a:pt x="331" y="374"/>
                </a:cubicBezTo>
                <a:cubicBezTo>
                  <a:pt x="328" y="374"/>
                  <a:pt x="325" y="371"/>
                  <a:pt x="325" y="368"/>
                </a:cubicBezTo>
                <a:cubicBezTo>
                  <a:pt x="325" y="80"/>
                  <a:pt x="325" y="80"/>
                  <a:pt x="325" y="80"/>
                </a:cubicBezTo>
                <a:cubicBezTo>
                  <a:pt x="257" y="12"/>
                  <a:pt x="257" y="12"/>
                  <a:pt x="257" y="12"/>
                </a:cubicBezTo>
                <a:cubicBezTo>
                  <a:pt x="12" y="12"/>
                  <a:pt x="12" y="12"/>
                  <a:pt x="12" y="12"/>
                </a:cubicBezTo>
                <a:cubicBezTo>
                  <a:pt x="12" y="420"/>
                  <a:pt x="12" y="420"/>
                  <a:pt x="12" y="420"/>
                </a:cubicBezTo>
                <a:cubicBezTo>
                  <a:pt x="325" y="420"/>
                  <a:pt x="325" y="420"/>
                  <a:pt x="325" y="420"/>
                </a:cubicBezTo>
                <a:cubicBezTo>
                  <a:pt x="325" y="414"/>
                  <a:pt x="325" y="414"/>
                  <a:pt x="325" y="414"/>
                </a:cubicBezTo>
                <a:cubicBezTo>
                  <a:pt x="325" y="410"/>
                  <a:pt x="328" y="408"/>
                  <a:pt x="331" y="408"/>
                </a:cubicBezTo>
                <a:cubicBezTo>
                  <a:pt x="335" y="408"/>
                  <a:pt x="338" y="410"/>
                  <a:pt x="338" y="414"/>
                </a:cubicBezTo>
                <a:cubicBezTo>
                  <a:pt x="338" y="426"/>
                  <a:pt x="338" y="426"/>
                  <a:pt x="338" y="426"/>
                </a:cubicBezTo>
                <a:cubicBezTo>
                  <a:pt x="338" y="430"/>
                  <a:pt x="335" y="432"/>
                  <a:pt x="331" y="432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35" name="Freeform 771">
            <a:extLst>
              <a:ext uri="{FF2B5EF4-FFF2-40B4-BE49-F238E27FC236}">
                <a16:creationId xmlns:a16="http://schemas.microsoft.com/office/drawing/2014/main" id="{04DA5F78-9FD1-2DA4-7498-6179EE5785CD}"/>
              </a:ext>
            </a:extLst>
          </p:cNvPr>
          <p:cNvSpPr>
            <a:spLocks noEditPoints="1"/>
          </p:cNvSpPr>
          <p:nvPr/>
        </p:nvSpPr>
        <p:spPr bwMode="auto">
          <a:xfrm>
            <a:off x="10825318" y="1752662"/>
            <a:ext cx="223479" cy="226816"/>
          </a:xfrm>
          <a:custGeom>
            <a:avLst/>
            <a:gdLst>
              <a:gd name="T0" fmla="*/ 121 w 242"/>
              <a:gd name="T1" fmla="*/ 243 h 243"/>
              <a:gd name="T2" fmla="*/ 0 w 242"/>
              <a:gd name="T3" fmla="*/ 122 h 243"/>
              <a:gd name="T4" fmla="*/ 121 w 242"/>
              <a:gd name="T5" fmla="*/ 0 h 243"/>
              <a:gd name="T6" fmla="*/ 242 w 242"/>
              <a:gd name="T7" fmla="*/ 122 h 243"/>
              <a:gd name="T8" fmla="*/ 121 w 242"/>
              <a:gd name="T9" fmla="*/ 243 h 243"/>
              <a:gd name="T10" fmla="*/ 121 w 242"/>
              <a:gd name="T11" fmla="*/ 13 h 243"/>
              <a:gd name="T12" fmla="*/ 12 w 242"/>
              <a:gd name="T13" fmla="*/ 122 h 243"/>
              <a:gd name="T14" fmla="*/ 121 w 242"/>
              <a:gd name="T15" fmla="*/ 231 h 243"/>
              <a:gd name="T16" fmla="*/ 230 w 242"/>
              <a:gd name="T17" fmla="*/ 122 h 243"/>
              <a:gd name="T18" fmla="*/ 121 w 242"/>
              <a:gd name="T19" fmla="*/ 13 h 2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42" h="243">
                <a:moveTo>
                  <a:pt x="121" y="243"/>
                </a:moveTo>
                <a:cubicBezTo>
                  <a:pt x="54" y="243"/>
                  <a:pt x="0" y="188"/>
                  <a:pt x="0" y="122"/>
                </a:cubicBezTo>
                <a:cubicBezTo>
                  <a:pt x="0" y="55"/>
                  <a:pt x="54" y="0"/>
                  <a:pt x="121" y="0"/>
                </a:cubicBezTo>
                <a:cubicBezTo>
                  <a:pt x="188" y="0"/>
                  <a:pt x="242" y="55"/>
                  <a:pt x="242" y="122"/>
                </a:cubicBezTo>
                <a:cubicBezTo>
                  <a:pt x="242" y="188"/>
                  <a:pt x="188" y="243"/>
                  <a:pt x="121" y="243"/>
                </a:cubicBezTo>
                <a:close/>
                <a:moveTo>
                  <a:pt x="121" y="13"/>
                </a:moveTo>
                <a:cubicBezTo>
                  <a:pt x="61" y="13"/>
                  <a:pt x="12" y="61"/>
                  <a:pt x="12" y="122"/>
                </a:cubicBezTo>
                <a:cubicBezTo>
                  <a:pt x="12" y="182"/>
                  <a:pt x="61" y="231"/>
                  <a:pt x="121" y="231"/>
                </a:cubicBezTo>
                <a:cubicBezTo>
                  <a:pt x="181" y="231"/>
                  <a:pt x="230" y="182"/>
                  <a:pt x="230" y="122"/>
                </a:cubicBezTo>
                <a:cubicBezTo>
                  <a:pt x="230" y="61"/>
                  <a:pt x="181" y="13"/>
                  <a:pt x="121" y="13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36" name="Freeform 772">
            <a:extLst>
              <a:ext uri="{FF2B5EF4-FFF2-40B4-BE49-F238E27FC236}">
                <a16:creationId xmlns:a16="http://schemas.microsoft.com/office/drawing/2014/main" id="{545CB1CC-2363-D93D-79CF-5CAAE1CD6AC5}"/>
              </a:ext>
            </a:extLst>
          </p:cNvPr>
          <p:cNvSpPr>
            <a:spLocks/>
          </p:cNvSpPr>
          <p:nvPr/>
        </p:nvSpPr>
        <p:spPr bwMode="auto">
          <a:xfrm>
            <a:off x="10995430" y="1926110"/>
            <a:ext cx="120079" cy="113406"/>
          </a:xfrm>
          <a:custGeom>
            <a:avLst/>
            <a:gdLst>
              <a:gd name="T0" fmla="*/ 103 w 129"/>
              <a:gd name="T1" fmla="*/ 123 h 123"/>
              <a:gd name="T2" fmla="*/ 87 w 129"/>
              <a:gd name="T3" fmla="*/ 116 h 123"/>
              <a:gd name="T4" fmla="*/ 2 w 129"/>
              <a:gd name="T5" fmla="*/ 32 h 123"/>
              <a:gd name="T6" fmla="*/ 2 w 129"/>
              <a:gd name="T7" fmla="*/ 23 h 123"/>
              <a:gd name="T8" fmla="*/ 11 w 129"/>
              <a:gd name="T9" fmla="*/ 23 h 123"/>
              <a:gd name="T10" fmla="*/ 95 w 129"/>
              <a:gd name="T11" fmla="*/ 107 h 123"/>
              <a:gd name="T12" fmla="*/ 111 w 129"/>
              <a:gd name="T13" fmla="*/ 107 h 123"/>
              <a:gd name="T14" fmla="*/ 111 w 129"/>
              <a:gd name="T15" fmla="*/ 92 h 123"/>
              <a:gd name="T16" fmla="*/ 30 w 129"/>
              <a:gd name="T17" fmla="*/ 11 h 123"/>
              <a:gd name="T18" fmla="*/ 30 w 129"/>
              <a:gd name="T19" fmla="*/ 2 h 123"/>
              <a:gd name="T20" fmla="*/ 39 w 129"/>
              <a:gd name="T21" fmla="*/ 2 h 123"/>
              <a:gd name="T22" fmla="*/ 120 w 129"/>
              <a:gd name="T23" fmla="*/ 83 h 123"/>
              <a:gd name="T24" fmla="*/ 120 w 129"/>
              <a:gd name="T25" fmla="*/ 116 h 123"/>
              <a:gd name="T26" fmla="*/ 103 w 129"/>
              <a:gd name="T27" fmla="*/ 123 h 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29" h="123">
                <a:moveTo>
                  <a:pt x="103" y="123"/>
                </a:moveTo>
                <a:cubicBezTo>
                  <a:pt x="97" y="123"/>
                  <a:pt x="91" y="120"/>
                  <a:pt x="87" y="116"/>
                </a:cubicBezTo>
                <a:cubicBezTo>
                  <a:pt x="2" y="32"/>
                  <a:pt x="2" y="32"/>
                  <a:pt x="2" y="32"/>
                </a:cubicBezTo>
                <a:cubicBezTo>
                  <a:pt x="0" y="29"/>
                  <a:pt x="0" y="25"/>
                  <a:pt x="2" y="23"/>
                </a:cubicBezTo>
                <a:cubicBezTo>
                  <a:pt x="4" y="21"/>
                  <a:pt x="8" y="21"/>
                  <a:pt x="11" y="23"/>
                </a:cubicBezTo>
                <a:cubicBezTo>
                  <a:pt x="95" y="107"/>
                  <a:pt x="95" y="107"/>
                  <a:pt x="95" y="107"/>
                </a:cubicBezTo>
                <a:cubicBezTo>
                  <a:pt x="99" y="112"/>
                  <a:pt x="107" y="112"/>
                  <a:pt x="111" y="107"/>
                </a:cubicBezTo>
                <a:cubicBezTo>
                  <a:pt x="115" y="103"/>
                  <a:pt x="115" y="96"/>
                  <a:pt x="111" y="92"/>
                </a:cubicBezTo>
                <a:cubicBezTo>
                  <a:pt x="30" y="11"/>
                  <a:pt x="30" y="11"/>
                  <a:pt x="30" y="11"/>
                </a:cubicBezTo>
                <a:cubicBezTo>
                  <a:pt x="28" y="8"/>
                  <a:pt x="28" y="5"/>
                  <a:pt x="30" y="2"/>
                </a:cubicBezTo>
                <a:cubicBezTo>
                  <a:pt x="33" y="0"/>
                  <a:pt x="37" y="0"/>
                  <a:pt x="39" y="2"/>
                </a:cubicBezTo>
                <a:cubicBezTo>
                  <a:pt x="120" y="83"/>
                  <a:pt x="120" y="83"/>
                  <a:pt x="120" y="83"/>
                </a:cubicBezTo>
                <a:cubicBezTo>
                  <a:pt x="129" y="92"/>
                  <a:pt x="129" y="107"/>
                  <a:pt x="120" y="116"/>
                </a:cubicBezTo>
                <a:cubicBezTo>
                  <a:pt x="115" y="120"/>
                  <a:pt x="109" y="123"/>
                  <a:pt x="103" y="123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37" name="Freeform 773">
            <a:extLst>
              <a:ext uri="{FF2B5EF4-FFF2-40B4-BE49-F238E27FC236}">
                <a16:creationId xmlns:a16="http://schemas.microsoft.com/office/drawing/2014/main" id="{39CB17AF-83E8-1D13-172E-7ABB345B5AE6}"/>
              </a:ext>
            </a:extLst>
          </p:cNvPr>
          <p:cNvSpPr>
            <a:spLocks/>
          </p:cNvSpPr>
          <p:nvPr/>
        </p:nvSpPr>
        <p:spPr bwMode="auto">
          <a:xfrm>
            <a:off x="10865343" y="1892752"/>
            <a:ext cx="146762" cy="13343"/>
          </a:xfrm>
          <a:custGeom>
            <a:avLst/>
            <a:gdLst>
              <a:gd name="T0" fmla="*/ 153 w 159"/>
              <a:gd name="T1" fmla="*/ 12 h 12"/>
              <a:gd name="T2" fmla="*/ 6 w 159"/>
              <a:gd name="T3" fmla="*/ 12 h 12"/>
              <a:gd name="T4" fmla="*/ 0 w 159"/>
              <a:gd name="T5" fmla="*/ 6 h 12"/>
              <a:gd name="T6" fmla="*/ 6 w 159"/>
              <a:gd name="T7" fmla="*/ 0 h 12"/>
              <a:gd name="T8" fmla="*/ 153 w 159"/>
              <a:gd name="T9" fmla="*/ 0 h 12"/>
              <a:gd name="T10" fmla="*/ 159 w 159"/>
              <a:gd name="T11" fmla="*/ 6 h 12"/>
              <a:gd name="T12" fmla="*/ 153 w 159"/>
              <a:gd name="T13" fmla="*/ 12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59" h="12">
                <a:moveTo>
                  <a:pt x="153" y="12"/>
                </a:moveTo>
                <a:cubicBezTo>
                  <a:pt x="6" y="12"/>
                  <a:pt x="6" y="12"/>
                  <a:pt x="6" y="12"/>
                </a:cubicBezTo>
                <a:cubicBezTo>
                  <a:pt x="3" y="12"/>
                  <a:pt x="0" y="9"/>
                  <a:pt x="0" y="6"/>
                </a:cubicBezTo>
                <a:cubicBezTo>
                  <a:pt x="0" y="2"/>
                  <a:pt x="3" y="0"/>
                  <a:pt x="6" y="0"/>
                </a:cubicBezTo>
                <a:cubicBezTo>
                  <a:pt x="153" y="0"/>
                  <a:pt x="153" y="0"/>
                  <a:pt x="153" y="0"/>
                </a:cubicBezTo>
                <a:cubicBezTo>
                  <a:pt x="156" y="0"/>
                  <a:pt x="159" y="2"/>
                  <a:pt x="159" y="6"/>
                </a:cubicBezTo>
                <a:cubicBezTo>
                  <a:pt x="159" y="9"/>
                  <a:pt x="156" y="12"/>
                  <a:pt x="153" y="12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38" name="Freeform 774">
            <a:extLst>
              <a:ext uri="{FF2B5EF4-FFF2-40B4-BE49-F238E27FC236}">
                <a16:creationId xmlns:a16="http://schemas.microsoft.com/office/drawing/2014/main" id="{2E8D6F42-F240-77BB-23E2-23CE5D7433B2}"/>
              </a:ext>
            </a:extLst>
          </p:cNvPr>
          <p:cNvSpPr>
            <a:spLocks noEditPoints="1"/>
          </p:cNvSpPr>
          <p:nvPr/>
        </p:nvSpPr>
        <p:spPr bwMode="auto">
          <a:xfrm>
            <a:off x="10878687" y="1862737"/>
            <a:ext cx="46697" cy="43361"/>
          </a:xfrm>
          <a:custGeom>
            <a:avLst/>
            <a:gdLst>
              <a:gd name="T0" fmla="*/ 46 w 52"/>
              <a:gd name="T1" fmla="*/ 47 h 47"/>
              <a:gd name="T2" fmla="*/ 7 w 52"/>
              <a:gd name="T3" fmla="*/ 47 h 47"/>
              <a:gd name="T4" fmla="*/ 0 w 52"/>
              <a:gd name="T5" fmla="*/ 41 h 47"/>
              <a:gd name="T6" fmla="*/ 0 w 52"/>
              <a:gd name="T7" fmla="*/ 6 h 47"/>
              <a:gd name="T8" fmla="*/ 7 w 52"/>
              <a:gd name="T9" fmla="*/ 0 h 47"/>
              <a:gd name="T10" fmla="*/ 46 w 52"/>
              <a:gd name="T11" fmla="*/ 0 h 47"/>
              <a:gd name="T12" fmla="*/ 52 w 52"/>
              <a:gd name="T13" fmla="*/ 6 h 47"/>
              <a:gd name="T14" fmla="*/ 52 w 52"/>
              <a:gd name="T15" fmla="*/ 41 h 47"/>
              <a:gd name="T16" fmla="*/ 46 w 52"/>
              <a:gd name="T17" fmla="*/ 47 h 47"/>
              <a:gd name="T18" fmla="*/ 13 w 52"/>
              <a:gd name="T19" fmla="*/ 35 h 47"/>
              <a:gd name="T20" fmla="*/ 40 w 52"/>
              <a:gd name="T21" fmla="*/ 35 h 47"/>
              <a:gd name="T22" fmla="*/ 40 w 52"/>
              <a:gd name="T23" fmla="*/ 12 h 47"/>
              <a:gd name="T24" fmla="*/ 13 w 52"/>
              <a:gd name="T25" fmla="*/ 12 h 47"/>
              <a:gd name="T26" fmla="*/ 13 w 52"/>
              <a:gd name="T27" fmla="*/ 35 h 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52" h="47">
                <a:moveTo>
                  <a:pt x="46" y="47"/>
                </a:moveTo>
                <a:cubicBezTo>
                  <a:pt x="7" y="47"/>
                  <a:pt x="7" y="47"/>
                  <a:pt x="7" y="47"/>
                </a:cubicBezTo>
                <a:cubicBezTo>
                  <a:pt x="3" y="47"/>
                  <a:pt x="0" y="44"/>
                  <a:pt x="0" y="41"/>
                </a:cubicBezTo>
                <a:cubicBezTo>
                  <a:pt x="0" y="6"/>
                  <a:pt x="0" y="6"/>
                  <a:pt x="0" y="6"/>
                </a:cubicBezTo>
                <a:cubicBezTo>
                  <a:pt x="0" y="3"/>
                  <a:pt x="3" y="0"/>
                  <a:pt x="7" y="0"/>
                </a:cubicBezTo>
                <a:cubicBezTo>
                  <a:pt x="46" y="0"/>
                  <a:pt x="46" y="0"/>
                  <a:pt x="46" y="0"/>
                </a:cubicBezTo>
                <a:cubicBezTo>
                  <a:pt x="49" y="0"/>
                  <a:pt x="52" y="3"/>
                  <a:pt x="52" y="6"/>
                </a:cubicBezTo>
                <a:cubicBezTo>
                  <a:pt x="52" y="41"/>
                  <a:pt x="52" y="41"/>
                  <a:pt x="52" y="41"/>
                </a:cubicBezTo>
                <a:cubicBezTo>
                  <a:pt x="52" y="44"/>
                  <a:pt x="49" y="47"/>
                  <a:pt x="46" y="47"/>
                </a:cubicBezTo>
                <a:close/>
                <a:moveTo>
                  <a:pt x="13" y="35"/>
                </a:moveTo>
                <a:cubicBezTo>
                  <a:pt x="40" y="35"/>
                  <a:pt x="40" y="35"/>
                  <a:pt x="40" y="35"/>
                </a:cubicBezTo>
                <a:cubicBezTo>
                  <a:pt x="40" y="12"/>
                  <a:pt x="40" y="12"/>
                  <a:pt x="40" y="12"/>
                </a:cubicBezTo>
                <a:cubicBezTo>
                  <a:pt x="13" y="12"/>
                  <a:pt x="13" y="12"/>
                  <a:pt x="13" y="12"/>
                </a:cubicBezTo>
                <a:lnTo>
                  <a:pt x="13" y="35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39" name="Freeform 775">
            <a:extLst>
              <a:ext uri="{FF2B5EF4-FFF2-40B4-BE49-F238E27FC236}">
                <a16:creationId xmlns:a16="http://schemas.microsoft.com/office/drawing/2014/main" id="{2CBD716E-596D-55D7-C110-9DF09E65156A}"/>
              </a:ext>
            </a:extLst>
          </p:cNvPr>
          <p:cNvSpPr>
            <a:spLocks noEditPoints="1"/>
          </p:cNvSpPr>
          <p:nvPr/>
        </p:nvSpPr>
        <p:spPr bwMode="auto">
          <a:xfrm>
            <a:off x="10915378" y="1839387"/>
            <a:ext cx="46697" cy="66711"/>
          </a:xfrm>
          <a:custGeom>
            <a:avLst/>
            <a:gdLst>
              <a:gd name="T0" fmla="*/ 45 w 51"/>
              <a:gd name="T1" fmla="*/ 71 h 71"/>
              <a:gd name="T2" fmla="*/ 6 w 51"/>
              <a:gd name="T3" fmla="*/ 71 h 71"/>
              <a:gd name="T4" fmla="*/ 0 w 51"/>
              <a:gd name="T5" fmla="*/ 65 h 71"/>
              <a:gd name="T6" fmla="*/ 0 w 51"/>
              <a:gd name="T7" fmla="*/ 6 h 71"/>
              <a:gd name="T8" fmla="*/ 6 w 51"/>
              <a:gd name="T9" fmla="*/ 0 h 71"/>
              <a:gd name="T10" fmla="*/ 45 w 51"/>
              <a:gd name="T11" fmla="*/ 0 h 71"/>
              <a:gd name="T12" fmla="*/ 51 w 51"/>
              <a:gd name="T13" fmla="*/ 6 h 71"/>
              <a:gd name="T14" fmla="*/ 51 w 51"/>
              <a:gd name="T15" fmla="*/ 65 h 71"/>
              <a:gd name="T16" fmla="*/ 45 w 51"/>
              <a:gd name="T17" fmla="*/ 71 h 71"/>
              <a:gd name="T18" fmla="*/ 12 w 51"/>
              <a:gd name="T19" fmla="*/ 59 h 71"/>
              <a:gd name="T20" fmla="*/ 39 w 51"/>
              <a:gd name="T21" fmla="*/ 59 h 71"/>
              <a:gd name="T22" fmla="*/ 39 w 51"/>
              <a:gd name="T23" fmla="*/ 13 h 71"/>
              <a:gd name="T24" fmla="*/ 12 w 51"/>
              <a:gd name="T25" fmla="*/ 13 h 71"/>
              <a:gd name="T26" fmla="*/ 12 w 51"/>
              <a:gd name="T27" fmla="*/ 59 h 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51" h="71">
                <a:moveTo>
                  <a:pt x="45" y="71"/>
                </a:moveTo>
                <a:cubicBezTo>
                  <a:pt x="6" y="71"/>
                  <a:pt x="6" y="71"/>
                  <a:pt x="6" y="71"/>
                </a:cubicBezTo>
                <a:cubicBezTo>
                  <a:pt x="2" y="71"/>
                  <a:pt x="0" y="68"/>
                  <a:pt x="0" y="65"/>
                </a:cubicBezTo>
                <a:cubicBezTo>
                  <a:pt x="0" y="6"/>
                  <a:pt x="0" y="6"/>
                  <a:pt x="0" y="6"/>
                </a:cubicBezTo>
                <a:cubicBezTo>
                  <a:pt x="0" y="3"/>
                  <a:pt x="2" y="0"/>
                  <a:pt x="6" y="0"/>
                </a:cubicBezTo>
                <a:cubicBezTo>
                  <a:pt x="45" y="0"/>
                  <a:pt x="45" y="0"/>
                  <a:pt x="45" y="0"/>
                </a:cubicBezTo>
                <a:cubicBezTo>
                  <a:pt x="48" y="0"/>
                  <a:pt x="51" y="3"/>
                  <a:pt x="51" y="6"/>
                </a:cubicBezTo>
                <a:cubicBezTo>
                  <a:pt x="51" y="65"/>
                  <a:pt x="51" y="65"/>
                  <a:pt x="51" y="65"/>
                </a:cubicBezTo>
                <a:cubicBezTo>
                  <a:pt x="51" y="68"/>
                  <a:pt x="48" y="71"/>
                  <a:pt x="45" y="71"/>
                </a:cubicBezTo>
                <a:close/>
                <a:moveTo>
                  <a:pt x="12" y="59"/>
                </a:moveTo>
                <a:cubicBezTo>
                  <a:pt x="39" y="59"/>
                  <a:pt x="39" y="59"/>
                  <a:pt x="39" y="59"/>
                </a:cubicBezTo>
                <a:cubicBezTo>
                  <a:pt x="39" y="13"/>
                  <a:pt x="39" y="13"/>
                  <a:pt x="39" y="13"/>
                </a:cubicBezTo>
                <a:cubicBezTo>
                  <a:pt x="12" y="13"/>
                  <a:pt x="12" y="13"/>
                  <a:pt x="12" y="13"/>
                </a:cubicBezTo>
                <a:lnTo>
                  <a:pt x="12" y="59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  <p:sp>
        <p:nvSpPr>
          <p:cNvPr id="40" name="Freeform 776">
            <a:extLst>
              <a:ext uri="{FF2B5EF4-FFF2-40B4-BE49-F238E27FC236}">
                <a16:creationId xmlns:a16="http://schemas.microsoft.com/office/drawing/2014/main" id="{536A0A2F-5F32-15B0-6721-A43517ECC71A}"/>
              </a:ext>
            </a:extLst>
          </p:cNvPr>
          <p:cNvSpPr>
            <a:spLocks noEditPoints="1"/>
          </p:cNvSpPr>
          <p:nvPr/>
        </p:nvSpPr>
        <p:spPr bwMode="auto">
          <a:xfrm>
            <a:off x="10952066" y="1819373"/>
            <a:ext cx="46697" cy="86724"/>
          </a:xfrm>
          <a:custGeom>
            <a:avLst/>
            <a:gdLst>
              <a:gd name="T0" fmla="*/ 45 w 51"/>
              <a:gd name="T1" fmla="*/ 94 h 94"/>
              <a:gd name="T2" fmla="*/ 6 w 51"/>
              <a:gd name="T3" fmla="*/ 94 h 94"/>
              <a:gd name="T4" fmla="*/ 0 w 51"/>
              <a:gd name="T5" fmla="*/ 88 h 94"/>
              <a:gd name="T6" fmla="*/ 0 w 51"/>
              <a:gd name="T7" fmla="*/ 6 h 94"/>
              <a:gd name="T8" fmla="*/ 6 w 51"/>
              <a:gd name="T9" fmla="*/ 0 h 94"/>
              <a:gd name="T10" fmla="*/ 45 w 51"/>
              <a:gd name="T11" fmla="*/ 0 h 94"/>
              <a:gd name="T12" fmla="*/ 51 w 51"/>
              <a:gd name="T13" fmla="*/ 6 h 94"/>
              <a:gd name="T14" fmla="*/ 51 w 51"/>
              <a:gd name="T15" fmla="*/ 88 h 94"/>
              <a:gd name="T16" fmla="*/ 45 w 51"/>
              <a:gd name="T17" fmla="*/ 94 h 94"/>
              <a:gd name="T18" fmla="*/ 12 w 51"/>
              <a:gd name="T19" fmla="*/ 82 h 94"/>
              <a:gd name="T20" fmla="*/ 39 w 51"/>
              <a:gd name="T21" fmla="*/ 82 h 94"/>
              <a:gd name="T22" fmla="*/ 39 w 51"/>
              <a:gd name="T23" fmla="*/ 12 h 94"/>
              <a:gd name="T24" fmla="*/ 12 w 51"/>
              <a:gd name="T25" fmla="*/ 12 h 94"/>
              <a:gd name="T26" fmla="*/ 12 w 51"/>
              <a:gd name="T27" fmla="*/ 82 h 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51" h="94">
                <a:moveTo>
                  <a:pt x="45" y="94"/>
                </a:moveTo>
                <a:cubicBezTo>
                  <a:pt x="6" y="94"/>
                  <a:pt x="6" y="94"/>
                  <a:pt x="6" y="94"/>
                </a:cubicBezTo>
                <a:cubicBezTo>
                  <a:pt x="2" y="94"/>
                  <a:pt x="0" y="91"/>
                  <a:pt x="0" y="88"/>
                </a:cubicBezTo>
                <a:cubicBezTo>
                  <a:pt x="0" y="6"/>
                  <a:pt x="0" y="6"/>
                  <a:pt x="0" y="6"/>
                </a:cubicBezTo>
                <a:cubicBezTo>
                  <a:pt x="0" y="3"/>
                  <a:pt x="2" y="0"/>
                  <a:pt x="6" y="0"/>
                </a:cubicBezTo>
                <a:cubicBezTo>
                  <a:pt x="45" y="0"/>
                  <a:pt x="45" y="0"/>
                  <a:pt x="45" y="0"/>
                </a:cubicBezTo>
                <a:cubicBezTo>
                  <a:pt x="48" y="0"/>
                  <a:pt x="51" y="3"/>
                  <a:pt x="51" y="6"/>
                </a:cubicBezTo>
                <a:cubicBezTo>
                  <a:pt x="51" y="88"/>
                  <a:pt x="51" y="88"/>
                  <a:pt x="51" y="88"/>
                </a:cubicBezTo>
                <a:cubicBezTo>
                  <a:pt x="51" y="91"/>
                  <a:pt x="48" y="94"/>
                  <a:pt x="45" y="94"/>
                </a:cubicBezTo>
                <a:close/>
                <a:moveTo>
                  <a:pt x="12" y="82"/>
                </a:moveTo>
                <a:cubicBezTo>
                  <a:pt x="39" y="82"/>
                  <a:pt x="39" y="82"/>
                  <a:pt x="39" y="82"/>
                </a:cubicBezTo>
                <a:cubicBezTo>
                  <a:pt x="39" y="12"/>
                  <a:pt x="39" y="12"/>
                  <a:pt x="39" y="12"/>
                </a:cubicBezTo>
                <a:cubicBezTo>
                  <a:pt x="12" y="12"/>
                  <a:pt x="12" y="12"/>
                  <a:pt x="12" y="12"/>
                </a:cubicBezTo>
                <a:lnTo>
                  <a:pt x="12" y="8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8355" tIns="59178" rIns="118355" bIns="5917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1553" dirty="0"/>
          </a:p>
        </p:txBody>
      </p:sp>
    </p:spTree>
    <p:extLst>
      <p:ext uri="{BB962C8B-B14F-4D97-AF65-F5344CB8AC3E}">
        <p14:creationId xmlns:p14="http://schemas.microsoft.com/office/powerpoint/2010/main" val="2785087074"/>
      </p:ext>
    </p:extLst>
  </p:cSld>
  <p:clrMapOvr>
    <a:masterClrMapping/>
  </p:clrMapOvr>
</p:sld>
</file>

<file path=ppt/slides/slide1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15180A-188A-F292-C2B2-1E9305C33B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E5823DF0-3E8C-913B-0B91-961996E7B26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5823DF0-3E8C-913B-0B91-961996E7B2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6F969DE-FD16-65E9-329A-D5250C1845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olumn / Lin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DCCB10E3-32CE-1CB1-7F85-44FE321183AC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95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46A8F29E-2178-8750-080A-06D0B91AF0C9}"/>
              </a:ext>
            </a:extLst>
          </p:cNvPr>
          <p:cNvGraphicFramePr/>
          <p:nvPr/>
        </p:nvGraphicFramePr>
        <p:xfrm>
          <a:off x="475305" y="2065825"/>
          <a:ext cx="4577303" cy="28237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5" name="Teardrop 4">
            <a:extLst>
              <a:ext uri="{FF2B5EF4-FFF2-40B4-BE49-F238E27FC236}">
                <a16:creationId xmlns:a16="http://schemas.microsoft.com/office/drawing/2014/main" id="{D5BBC607-5725-F735-B9B5-8AA7548D8242}"/>
              </a:ext>
            </a:extLst>
          </p:cNvPr>
          <p:cNvSpPr/>
          <p:nvPr/>
        </p:nvSpPr>
        <p:spPr bwMode="gray">
          <a:xfrm rot="8100000">
            <a:off x="684115" y="2425728"/>
            <a:ext cx="568638" cy="568638"/>
          </a:xfrm>
          <a:prstGeom prst="teardrop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IN" sz="1365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39FD0E54-6B01-8D5D-BD5F-515DD6529EBF}"/>
              </a:ext>
            </a:extLst>
          </p:cNvPr>
          <p:cNvSpPr/>
          <p:nvPr/>
        </p:nvSpPr>
        <p:spPr bwMode="gray">
          <a:xfrm>
            <a:off x="728325" y="2467920"/>
            <a:ext cx="480218" cy="4578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1365" b="1" dirty="0">
                <a:solidFill>
                  <a:schemeClr val="tx1"/>
                </a:solidFill>
                <a:cs typeface="Arial" panose="020B0604020202020204" pitchFamily="34" charset="0"/>
              </a:rPr>
              <a:t>50%</a:t>
            </a:r>
          </a:p>
        </p:txBody>
      </p:sp>
      <p:sp>
        <p:nvSpPr>
          <p:cNvPr id="7" name="Teardrop 6">
            <a:extLst>
              <a:ext uri="{FF2B5EF4-FFF2-40B4-BE49-F238E27FC236}">
                <a16:creationId xmlns:a16="http://schemas.microsoft.com/office/drawing/2014/main" id="{82B21757-D62A-F3AF-1269-A45E9B074056}"/>
              </a:ext>
            </a:extLst>
          </p:cNvPr>
          <p:cNvSpPr/>
          <p:nvPr/>
        </p:nvSpPr>
        <p:spPr bwMode="gray">
          <a:xfrm rot="8100000">
            <a:off x="1420588" y="2070726"/>
            <a:ext cx="568638" cy="568638"/>
          </a:xfrm>
          <a:prstGeom prst="teardrop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IN" sz="1365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504D9DE5-7C3C-ECD4-4009-86C37F1E722A}"/>
              </a:ext>
            </a:extLst>
          </p:cNvPr>
          <p:cNvSpPr/>
          <p:nvPr/>
        </p:nvSpPr>
        <p:spPr bwMode="gray">
          <a:xfrm>
            <a:off x="1464799" y="2112915"/>
            <a:ext cx="480218" cy="48021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1365" b="1" dirty="0">
                <a:solidFill>
                  <a:schemeClr val="tx1"/>
                </a:solidFill>
                <a:cs typeface="Arial" panose="020B0604020202020204" pitchFamily="34" charset="0"/>
              </a:rPr>
              <a:t>60%</a:t>
            </a:r>
          </a:p>
        </p:txBody>
      </p:sp>
      <p:sp>
        <p:nvSpPr>
          <p:cNvPr id="9" name="Teardrop 8">
            <a:extLst>
              <a:ext uri="{FF2B5EF4-FFF2-40B4-BE49-F238E27FC236}">
                <a16:creationId xmlns:a16="http://schemas.microsoft.com/office/drawing/2014/main" id="{81828D9F-4048-EF78-1B64-80FC2C3D1C9C}"/>
              </a:ext>
            </a:extLst>
          </p:cNvPr>
          <p:cNvSpPr/>
          <p:nvPr/>
        </p:nvSpPr>
        <p:spPr bwMode="gray">
          <a:xfrm rot="8100000">
            <a:off x="2127132" y="2550945"/>
            <a:ext cx="568638" cy="568638"/>
          </a:xfrm>
          <a:prstGeom prst="teardrop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IN" sz="1365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16AAB43-5B30-B51C-0058-8FBEDAF094BD}"/>
              </a:ext>
            </a:extLst>
          </p:cNvPr>
          <p:cNvSpPr/>
          <p:nvPr/>
        </p:nvSpPr>
        <p:spPr bwMode="gray">
          <a:xfrm>
            <a:off x="2171345" y="2593135"/>
            <a:ext cx="480218" cy="48021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1365" b="1" dirty="0">
                <a:solidFill>
                  <a:schemeClr val="tx1"/>
                </a:solidFill>
                <a:cs typeface="Arial" panose="020B0604020202020204" pitchFamily="34" charset="0"/>
              </a:rPr>
              <a:t>45%</a:t>
            </a:r>
          </a:p>
        </p:txBody>
      </p:sp>
      <p:sp>
        <p:nvSpPr>
          <p:cNvPr id="11" name="Teardrop 10">
            <a:extLst>
              <a:ext uri="{FF2B5EF4-FFF2-40B4-BE49-F238E27FC236}">
                <a16:creationId xmlns:a16="http://schemas.microsoft.com/office/drawing/2014/main" id="{DDAB9478-B1BD-B326-B63A-5A442BF52CA7}"/>
              </a:ext>
            </a:extLst>
          </p:cNvPr>
          <p:cNvSpPr/>
          <p:nvPr/>
        </p:nvSpPr>
        <p:spPr bwMode="gray">
          <a:xfrm rot="8100000">
            <a:off x="2832748" y="2242711"/>
            <a:ext cx="568638" cy="568638"/>
          </a:xfrm>
          <a:prstGeom prst="teardrop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IN" sz="1365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A0200C73-4708-4A98-923E-27A5E01414D0}"/>
              </a:ext>
            </a:extLst>
          </p:cNvPr>
          <p:cNvSpPr/>
          <p:nvPr/>
        </p:nvSpPr>
        <p:spPr bwMode="gray">
          <a:xfrm>
            <a:off x="2876957" y="2284896"/>
            <a:ext cx="480218" cy="48021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1365" b="1" dirty="0">
                <a:solidFill>
                  <a:schemeClr val="tx1"/>
                </a:solidFill>
                <a:cs typeface="Arial" panose="020B0604020202020204" pitchFamily="34" charset="0"/>
              </a:rPr>
              <a:t>55%</a:t>
            </a:r>
          </a:p>
        </p:txBody>
      </p:sp>
      <p:sp>
        <p:nvSpPr>
          <p:cNvPr id="13" name="Teardrop 12">
            <a:extLst>
              <a:ext uri="{FF2B5EF4-FFF2-40B4-BE49-F238E27FC236}">
                <a16:creationId xmlns:a16="http://schemas.microsoft.com/office/drawing/2014/main" id="{E974E180-E1CB-59CA-4B22-00C3F77A89C3}"/>
              </a:ext>
            </a:extLst>
          </p:cNvPr>
          <p:cNvSpPr/>
          <p:nvPr/>
        </p:nvSpPr>
        <p:spPr bwMode="gray">
          <a:xfrm rot="8100000">
            <a:off x="4271783" y="1506682"/>
            <a:ext cx="568638" cy="568638"/>
          </a:xfrm>
          <a:prstGeom prst="teardrop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>
              <a:defRPr/>
            </a:pPr>
            <a:endParaRPr lang="en-IN" sz="1365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55339258-9758-ECE6-75D7-57EA49E4E6D6}"/>
              </a:ext>
            </a:extLst>
          </p:cNvPr>
          <p:cNvSpPr/>
          <p:nvPr/>
        </p:nvSpPr>
        <p:spPr bwMode="gray">
          <a:xfrm>
            <a:off x="4315997" y="1548872"/>
            <a:ext cx="480218" cy="48021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1365" b="1" dirty="0">
                <a:solidFill>
                  <a:schemeClr val="tx1"/>
                </a:solidFill>
                <a:cs typeface="Arial" panose="020B0604020202020204" pitchFamily="34" charset="0"/>
              </a:rPr>
              <a:t>80%</a:t>
            </a:r>
          </a:p>
        </p:txBody>
      </p:sp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0E2D4E82-D2A5-EA11-8DFB-D113D3C4374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93256122"/>
              </p:ext>
            </p:extLst>
          </p:nvPr>
        </p:nvGraphicFramePr>
        <p:xfrm>
          <a:off x="5323847" y="1436099"/>
          <a:ext cx="6034727" cy="33787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6" name="Speech Bubble: Rectangle 15">
            <a:extLst>
              <a:ext uri="{FF2B5EF4-FFF2-40B4-BE49-F238E27FC236}">
                <a16:creationId xmlns:a16="http://schemas.microsoft.com/office/drawing/2014/main" id="{81865384-82E1-4B14-5537-75B3D7170F70}"/>
              </a:ext>
            </a:extLst>
          </p:cNvPr>
          <p:cNvSpPr/>
          <p:nvPr/>
        </p:nvSpPr>
        <p:spPr bwMode="gray">
          <a:xfrm>
            <a:off x="7764346" y="1436094"/>
            <a:ext cx="1724848" cy="767765"/>
          </a:xfrm>
          <a:prstGeom prst="wedgeRectCallout">
            <a:avLst>
              <a:gd name="adj1" fmla="val -16619"/>
              <a:gd name="adj2" fmla="val 107831"/>
            </a:avLst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4948" tIns="34948" rIns="34948" bIns="34948"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sz="1537" dirty="0">
                <a:solidFill>
                  <a:schemeClr val="tx1"/>
                </a:solidFill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1691800-2A81-6023-40C1-63CA613CB234}"/>
              </a:ext>
            </a:extLst>
          </p:cNvPr>
          <p:cNvSpPr txBox="1"/>
          <p:nvPr/>
        </p:nvSpPr>
        <p:spPr bwMode="gray">
          <a:xfrm>
            <a:off x="372731" y="5020808"/>
            <a:ext cx="1617529" cy="47307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1537" b="1" dirty="0">
                <a:cs typeface="Arial" panose="020B0604020202020204" pitchFamily="34" charset="0"/>
              </a:rPr>
              <a:t>Title</a:t>
            </a:r>
          </a:p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1537" dirty="0"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F66D911-6CEA-CD70-0834-99A3FC94D1D9}"/>
              </a:ext>
            </a:extLst>
          </p:cNvPr>
          <p:cNvSpPr txBox="1"/>
          <p:nvPr/>
        </p:nvSpPr>
        <p:spPr bwMode="gray">
          <a:xfrm>
            <a:off x="2278193" y="5020808"/>
            <a:ext cx="1617529" cy="47307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1537" b="1" dirty="0">
                <a:cs typeface="Arial" panose="020B0604020202020204" pitchFamily="34" charset="0"/>
              </a:rPr>
              <a:t>Title</a:t>
            </a:r>
          </a:p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1537" dirty="0"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476E459-79A1-3E4E-F4F2-8BBAAB41C43C}"/>
              </a:ext>
            </a:extLst>
          </p:cNvPr>
          <p:cNvSpPr txBox="1"/>
          <p:nvPr/>
        </p:nvSpPr>
        <p:spPr bwMode="gray">
          <a:xfrm>
            <a:off x="4183656" y="5020808"/>
            <a:ext cx="1617529" cy="47307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1537" b="1" dirty="0">
                <a:cs typeface="Arial" panose="020B0604020202020204" pitchFamily="34" charset="0"/>
              </a:rPr>
              <a:t>Title</a:t>
            </a:r>
          </a:p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1537" dirty="0"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B1FBE43-35FF-E179-DFBA-D0D5324ABC25}"/>
              </a:ext>
            </a:extLst>
          </p:cNvPr>
          <p:cNvSpPr txBox="1"/>
          <p:nvPr/>
        </p:nvSpPr>
        <p:spPr bwMode="gray">
          <a:xfrm>
            <a:off x="6089117" y="5020808"/>
            <a:ext cx="1617529" cy="47307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1537" b="1" dirty="0">
                <a:cs typeface="Arial" panose="020B0604020202020204" pitchFamily="34" charset="0"/>
              </a:rPr>
              <a:t>Title</a:t>
            </a:r>
          </a:p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1537" dirty="0"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14696B0-F591-2327-8A18-CBBE402EDAF6}"/>
              </a:ext>
            </a:extLst>
          </p:cNvPr>
          <p:cNvSpPr txBox="1"/>
          <p:nvPr/>
        </p:nvSpPr>
        <p:spPr bwMode="gray">
          <a:xfrm>
            <a:off x="7994578" y="5020808"/>
            <a:ext cx="1617529" cy="47307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1537" b="1" dirty="0">
                <a:cs typeface="Arial" panose="020B0604020202020204" pitchFamily="34" charset="0"/>
              </a:rPr>
              <a:t>Title</a:t>
            </a:r>
          </a:p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1537" dirty="0"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7C598B6-CBD8-5BB5-C4DD-29C9B495D08F}"/>
              </a:ext>
            </a:extLst>
          </p:cNvPr>
          <p:cNvSpPr txBox="1"/>
          <p:nvPr/>
        </p:nvSpPr>
        <p:spPr bwMode="gray">
          <a:xfrm>
            <a:off x="9900038" y="5020808"/>
            <a:ext cx="1617529" cy="47307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1537" b="1" dirty="0">
                <a:cs typeface="Arial" panose="020B0604020202020204" pitchFamily="34" charset="0"/>
              </a:rPr>
              <a:t>Title</a:t>
            </a:r>
          </a:p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1537" dirty="0"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23" name="Teardrop 22">
            <a:extLst>
              <a:ext uri="{FF2B5EF4-FFF2-40B4-BE49-F238E27FC236}">
                <a16:creationId xmlns:a16="http://schemas.microsoft.com/office/drawing/2014/main" id="{B60E58B0-A9BF-DDEA-401F-B2A13AC184F2}"/>
              </a:ext>
            </a:extLst>
          </p:cNvPr>
          <p:cNvSpPr/>
          <p:nvPr/>
        </p:nvSpPr>
        <p:spPr bwMode="gray">
          <a:xfrm rot="8100000">
            <a:off x="3544990" y="1798528"/>
            <a:ext cx="568638" cy="568638"/>
          </a:xfrm>
          <a:prstGeom prst="teardrop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IN" sz="1365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0979216E-0854-861A-6989-93488AD95EBD}"/>
              </a:ext>
            </a:extLst>
          </p:cNvPr>
          <p:cNvSpPr/>
          <p:nvPr/>
        </p:nvSpPr>
        <p:spPr bwMode="gray">
          <a:xfrm>
            <a:off x="3589206" y="1840718"/>
            <a:ext cx="480218" cy="48021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1365" b="1" dirty="0">
                <a:solidFill>
                  <a:schemeClr val="tx1"/>
                </a:solidFill>
                <a:cs typeface="Arial" panose="020B0604020202020204" pitchFamily="34" charset="0"/>
              </a:rPr>
              <a:t>70%</a:t>
            </a:r>
          </a:p>
        </p:txBody>
      </p:sp>
    </p:spTree>
    <p:extLst>
      <p:ext uri="{BB962C8B-B14F-4D97-AF65-F5344CB8AC3E}">
        <p14:creationId xmlns:p14="http://schemas.microsoft.com/office/powerpoint/2010/main" val="2340332921"/>
      </p:ext>
    </p:extLst>
  </p:cSld>
  <p:clrMapOvr>
    <a:masterClrMapping/>
  </p:clrMapOvr>
</p:sld>
</file>

<file path=ppt/slides/slide1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1904D27-67A9-10E5-3820-2E794A007E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8CBCB433-3E8B-4AB6-E1F1-66757ECED2C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BCB433-3E8B-4AB6-E1F1-66757ECED2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E577CA3-8313-37AC-A78A-6224799F23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Gantt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0F3A7313-35C9-2DC9-47D4-333C52989FCC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96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23" name="Google Shape;452;p3">
            <a:extLst>
              <a:ext uri="{FF2B5EF4-FFF2-40B4-BE49-F238E27FC236}">
                <a16:creationId xmlns:a16="http://schemas.microsoft.com/office/drawing/2014/main" id="{AB5B1A8E-A3AA-9A68-EE94-00117A2A7E6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53983671"/>
              </p:ext>
            </p:extLst>
          </p:nvPr>
        </p:nvGraphicFramePr>
        <p:xfrm>
          <a:off x="781085" y="1726888"/>
          <a:ext cx="10449621" cy="4094790"/>
        </p:xfrm>
        <a:graphic>
          <a:graphicData uri="http://schemas.openxmlformats.org/drawingml/2006/table">
            <a:tbl>
              <a:tblPr firstRow="1" bandRow="1">
                <a:noFill/>
              </a:tblPr>
              <a:tblGrid>
                <a:gridCol w="22131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4729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4729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4729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64729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64729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68246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u="none" strike="noStrike" cap="none" dirty="0">
                          <a:solidFill>
                            <a:schemeClr val="tx1"/>
                          </a:solidFill>
                          <a:latin typeface="+mn-lt"/>
                        </a:rPr>
                        <a:t>Insert Text Here </a:t>
                      </a:r>
                      <a:endParaRPr lang="en-US" sz="16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8246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400"/>
                        <a:buFont typeface="Arial"/>
                        <a:buNone/>
                      </a:pPr>
                      <a:r>
                        <a:rPr lang="en-US" sz="1600" b="0" u="none" strike="noStrike" cap="none" dirty="0">
                          <a:solidFill>
                            <a:schemeClr val="tx1"/>
                          </a:solidFill>
                          <a:latin typeface="+mn-lt"/>
                        </a:rPr>
                        <a:t>Insert Text Here </a:t>
                      </a:r>
                      <a:endParaRPr lang="en-US" sz="16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8246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u="none" strike="noStrike" cap="none" dirty="0">
                          <a:solidFill>
                            <a:schemeClr val="tx1"/>
                          </a:solidFill>
                          <a:latin typeface="+mn-lt"/>
                        </a:rPr>
                        <a:t>Insert Text Here</a:t>
                      </a:r>
                      <a:endParaRPr lang="en-US" sz="16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8246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u="none" strike="noStrike" cap="none" dirty="0">
                          <a:solidFill>
                            <a:schemeClr val="tx1"/>
                          </a:solidFill>
                          <a:latin typeface="+mn-lt"/>
                        </a:rPr>
                        <a:t>Insert Text Here</a:t>
                      </a:r>
                      <a:endParaRPr lang="en-US" sz="16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8246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u="none" strike="noStrike" cap="none" dirty="0">
                          <a:solidFill>
                            <a:schemeClr val="tx1"/>
                          </a:solidFill>
                          <a:latin typeface="+mn-lt"/>
                        </a:rPr>
                        <a:t>Insert Text Here</a:t>
                      </a:r>
                      <a:endParaRPr lang="en-US" sz="16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8246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b="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24" name="Shape0_20220425_155857">
            <a:extLst>
              <a:ext uri="{FF2B5EF4-FFF2-40B4-BE49-F238E27FC236}">
                <a16:creationId xmlns:a16="http://schemas.microsoft.com/office/drawing/2014/main" id="{35054AAA-2BF8-AD71-26B0-85831204C3C5}"/>
              </a:ext>
            </a:extLst>
          </p:cNvPr>
          <p:cNvSpPr/>
          <p:nvPr/>
        </p:nvSpPr>
        <p:spPr>
          <a:xfrm>
            <a:off x="3394360" y="1964047"/>
            <a:ext cx="2074271" cy="9310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marL="0" marR="0" lvl="0" indent="0" defTabSz="150802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44" name="Shape0_20220502_120933">
            <a:extLst>
              <a:ext uri="{FF2B5EF4-FFF2-40B4-BE49-F238E27FC236}">
                <a16:creationId xmlns:a16="http://schemas.microsoft.com/office/drawing/2014/main" id="{0CCDE62B-F901-1D2B-1D70-4668AB18FC6C}"/>
              </a:ext>
            </a:extLst>
          </p:cNvPr>
          <p:cNvSpPr/>
          <p:nvPr/>
        </p:nvSpPr>
        <p:spPr>
          <a:xfrm>
            <a:off x="5356918" y="1853488"/>
            <a:ext cx="275131" cy="31422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1508028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01</a:t>
            </a:r>
            <a:endParaRPr kumimoji="0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45" name="Shape1_20220425_155857">
            <a:extLst>
              <a:ext uri="{FF2B5EF4-FFF2-40B4-BE49-F238E27FC236}">
                <a16:creationId xmlns:a16="http://schemas.microsoft.com/office/drawing/2014/main" id="{A657DB43-5BD6-61EE-EBE8-C31746E2C816}"/>
              </a:ext>
            </a:extLst>
          </p:cNvPr>
          <p:cNvSpPr/>
          <p:nvPr/>
        </p:nvSpPr>
        <p:spPr>
          <a:xfrm>
            <a:off x="3796939" y="2668026"/>
            <a:ext cx="5585050" cy="9310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marL="0" marR="0" lvl="0" indent="0" defTabSz="150802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46" name="Shape1_20220502_120933">
            <a:extLst>
              <a:ext uri="{FF2B5EF4-FFF2-40B4-BE49-F238E27FC236}">
                <a16:creationId xmlns:a16="http://schemas.microsoft.com/office/drawing/2014/main" id="{52070F20-DCFF-0B81-4776-6CCD5083A1BD}"/>
              </a:ext>
            </a:extLst>
          </p:cNvPr>
          <p:cNvSpPr/>
          <p:nvPr/>
        </p:nvSpPr>
        <p:spPr>
          <a:xfrm>
            <a:off x="9252855" y="2557465"/>
            <a:ext cx="275131" cy="31422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1508028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02</a:t>
            </a:r>
            <a:endParaRPr kumimoji="0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47" name="Shape2_20220425_155857">
            <a:extLst>
              <a:ext uri="{FF2B5EF4-FFF2-40B4-BE49-F238E27FC236}">
                <a16:creationId xmlns:a16="http://schemas.microsoft.com/office/drawing/2014/main" id="{61C075DC-2B27-883B-EC34-51499EA189A2}"/>
              </a:ext>
            </a:extLst>
          </p:cNvPr>
          <p:cNvSpPr/>
          <p:nvPr/>
        </p:nvSpPr>
        <p:spPr>
          <a:xfrm>
            <a:off x="5433212" y="3372005"/>
            <a:ext cx="5044431" cy="9310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marL="0" marR="0" lvl="0" indent="0" defTabSz="150802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48" name="Shape2_20220502_120933">
            <a:extLst>
              <a:ext uri="{FF2B5EF4-FFF2-40B4-BE49-F238E27FC236}">
                <a16:creationId xmlns:a16="http://schemas.microsoft.com/office/drawing/2014/main" id="{9E0D538C-7B8E-9FD8-EE2D-119EA4E7416B}"/>
              </a:ext>
            </a:extLst>
          </p:cNvPr>
          <p:cNvSpPr/>
          <p:nvPr/>
        </p:nvSpPr>
        <p:spPr>
          <a:xfrm>
            <a:off x="10348512" y="3261442"/>
            <a:ext cx="275131" cy="31422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1508028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03</a:t>
            </a:r>
            <a:endParaRPr kumimoji="0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49" name="Shape3_20220425_155857">
            <a:extLst>
              <a:ext uri="{FF2B5EF4-FFF2-40B4-BE49-F238E27FC236}">
                <a16:creationId xmlns:a16="http://schemas.microsoft.com/office/drawing/2014/main" id="{7D09955E-AD97-6426-7CFA-6C23F6F0144F}"/>
              </a:ext>
            </a:extLst>
          </p:cNvPr>
          <p:cNvSpPr/>
          <p:nvPr/>
        </p:nvSpPr>
        <p:spPr>
          <a:xfrm>
            <a:off x="5433212" y="4060604"/>
            <a:ext cx="1815129" cy="9310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marL="0" marR="0" lvl="0" indent="0" defTabSz="150802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50" name="Shape3_20220502_120933">
            <a:extLst>
              <a:ext uri="{FF2B5EF4-FFF2-40B4-BE49-F238E27FC236}">
                <a16:creationId xmlns:a16="http://schemas.microsoft.com/office/drawing/2014/main" id="{0A47200F-F1D8-319A-6FAF-4F7317E5AD66}"/>
              </a:ext>
            </a:extLst>
          </p:cNvPr>
          <p:cNvSpPr/>
          <p:nvPr/>
        </p:nvSpPr>
        <p:spPr>
          <a:xfrm>
            <a:off x="7119211" y="3950040"/>
            <a:ext cx="275131" cy="31422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1508028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04</a:t>
            </a:r>
            <a:endParaRPr kumimoji="0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51" name="Shape4_20220425_155857">
            <a:extLst>
              <a:ext uri="{FF2B5EF4-FFF2-40B4-BE49-F238E27FC236}">
                <a16:creationId xmlns:a16="http://schemas.microsoft.com/office/drawing/2014/main" id="{45285E97-7A12-C5D7-4907-BBC2B4B4D3B2}"/>
              </a:ext>
            </a:extLst>
          </p:cNvPr>
          <p:cNvSpPr/>
          <p:nvPr/>
        </p:nvSpPr>
        <p:spPr>
          <a:xfrm>
            <a:off x="6990196" y="4764576"/>
            <a:ext cx="1815129" cy="9310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marL="0" marR="0" lvl="0" indent="0" defTabSz="150802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52" name="Shape4_20220502_120933">
            <a:extLst>
              <a:ext uri="{FF2B5EF4-FFF2-40B4-BE49-F238E27FC236}">
                <a16:creationId xmlns:a16="http://schemas.microsoft.com/office/drawing/2014/main" id="{10808707-BB08-382A-5772-3CAED00E3ECA}"/>
              </a:ext>
            </a:extLst>
          </p:cNvPr>
          <p:cNvSpPr/>
          <p:nvPr/>
        </p:nvSpPr>
        <p:spPr>
          <a:xfrm>
            <a:off x="8676194" y="4654014"/>
            <a:ext cx="275131" cy="31422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1508028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05</a:t>
            </a:r>
            <a:endParaRPr kumimoji="0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53" name="Shape10_20210707_122900">
            <a:extLst>
              <a:ext uri="{FF2B5EF4-FFF2-40B4-BE49-F238E27FC236}">
                <a16:creationId xmlns:a16="http://schemas.microsoft.com/office/drawing/2014/main" id="{BBA59938-B265-E2DD-BD82-EED4BAA9E41B}"/>
              </a:ext>
            </a:extLst>
          </p:cNvPr>
          <p:cNvSpPr/>
          <p:nvPr/>
        </p:nvSpPr>
        <p:spPr>
          <a:xfrm>
            <a:off x="781083" y="1277596"/>
            <a:ext cx="2229860" cy="449298"/>
          </a:xfrm>
          <a:prstGeom prst="rect">
            <a:avLst/>
          </a:prstGeom>
          <a:solidFill>
            <a:schemeClr val="accent1"/>
          </a:solidFill>
          <a:ln w="9525" cap="flat" cmpd="sng">
            <a:solidFill>
              <a:schemeClr val="bg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marL="0" marR="0" lvl="0" indent="0" algn="ctr" defTabSz="1508028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Title</a:t>
            </a:r>
            <a:endParaRPr kumimoji="0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54" name="Shape11_20210707_122900">
            <a:extLst>
              <a:ext uri="{FF2B5EF4-FFF2-40B4-BE49-F238E27FC236}">
                <a16:creationId xmlns:a16="http://schemas.microsoft.com/office/drawing/2014/main" id="{0451EA45-BCCE-E94B-EB80-DAB1438CC9EC}"/>
              </a:ext>
            </a:extLst>
          </p:cNvPr>
          <p:cNvSpPr/>
          <p:nvPr/>
        </p:nvSpPr>
        <p:spPr>
          <a:xfrm>
            <a:off x="3012446" y="1277596"/>
            <a:ext cx="1642449" cy="449298"/>
          </a:xfrm>
          <a:prstGeom prst="rect">
            <a:avLst/>
          </a:prstGeom>
          <a:solidFill>
            <a:schemeClr val="accent1"/>
          </a:solidFill>
          <a:ln w="9525" cap="flat" cmpd="sng">
            <a:solidFill>
              <a:schemeClr val="bg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marL="0" marR="0" lvl="0" indent="0" algn="ctr" defTabSz="1508028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Title</a:t>
            </a:r>
            <a:endParaRPr kumimoji="0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56" name="Shape12_20210707_122900">
            <a:extLst>
              <a:ext uri="{FF2B5EF4-FFF2-40B4-BE49-F238E27FC236}">
                <a16:creationId xmlns:a16="http://schemas.microsoft.com/office/drawing/2014/main" id="{50E50A92-7179-D0E7-B0C7-559B211D1243}"/>
              </a:ext>
            </a:extLst>
          </p:cNvPr>
          <p:cNvSpPr/>
          <p:nvPr/>
        </p:nvSpPr>
        <p:spPr>
          <a:xfrm>
            <a:off x="4656399" y="1277596"/>
            <a:ext cx="1642449" cy="449298"/>
          </a:xfrm>
          <a:prstGeom prst="rect">
            <a:avLst/>
          </a:prstGeom>
          <a:solidFill>
            <a:schemeClr val="accent1"/>
          </a:solidFill>
          <a:ln w="9525" cap="flat" cmpd="sng">
            <a:solidFill>
              <a:schemeClr val="bg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marL="0" marR="0" lvl="0" indent="0" algn="ctr" defTabSz="1508028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Title</a:t>
            </a:r>
            <a:endParaRPr kumimoji="0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57" name="Shape13_20210707_122900">
            <a:extLst>
              <a:ext uri="{FF2B5EF4-FFF2-40B4-BE49-F238E27FC236}">
                <a16:creationId xmlns:a16="http://schemas.microsoft.com/office/drawing/2014/main" id="{D92EF47D-94FB-4CD6-5AE3-BEC4BF9F467C}"/>
              </a:ext>
            </a:extLst>
          </p:cNvPr>
          <p:cNvSpPr/>
          <p:nvPr/>
        </p:nvSpPr>
        <p:spPr>
          <a:xfrm>
            <a:off x="6300352" y="1277596"/>
            <a:ext cx="1642449" cy="449298"/>
          </a:xfrm>
          <a:prstGeom prst="rect">
            <a:avLst/>
          </a:prstGeom>
          <a:solidFill>
            <a:schemeClr val="accent1"/>
          </a:solidFill>
          <a:ln w="9525" cap="flat" cmpd="sng">
            <a:solidFill>
              <a:schemeClr val="bg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marL="0" marR="0" lvl="0" indent="0" algn="ctr" defTabSz="1508028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Title</a:t>
            </a:r>
            <a:endParaRPr kumimoji="0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58" name="Shape14_20210707_122900">
            <a:extLst>
              <a:ext uri="{FF2B5EF4-FFF2-40B4-BE49-F238E27FC236}">
                <a16:creationId xmlns:a16="http://schemas.microsoft.com/office/drawing/2014/main" id="{478BACF2-C9FC-8099-2BE1-07B9FE44C3BE}"/>
              </a:ext>
            </a:extLst>
          </p:cNvPr>
          <p:cNvSpPr/>
          <p:nvPr/>
        </p:nvSpPr>
        <p:spPr>
          <a:xfrm>
            <a:off x="7944299" y="1277596"/>
            <a:ext cx="1642449" cy="449298"/>
          </a:xfrm>
          <a:prstGeom prst="rect">
            <a:avLst/>
          </a:prstGeom>
          <a:solidFill>
            <a:schemeClr val="accent1"/>
          </a:solidFill>
          <a:ln w="9525" cap="flat" cmpd="sng">
            <a:solidFill>
              <a:schemeClr val="bg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marL="0" marR="0" lvl="0" indent="0" algn="ctr" defTabSz="1508028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Title</a:t>
            </a:r>
            <a:endParaRPr kumimoji="0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59" name="Shape0_20210707_122900">
            <a:extLst>
              <a:ext uri="{FF2B5EF4-FFF2-40B4-BE49-F238E27FC236}">
                <a16:creationId xmlns:a16="http://schemas.microsoft.com/office/drawing/2014/main" id="{878FD573-FB6D-0329-6EF4-5772921F6C0A}"/>
              </a:ext>
            </a:extLst>
          </p:cNvPr>
          <p:cNvSpPr/>
          <p:nvPr/>
        </p:nvSpPr>
        <p:spPr>
          <a:xfrm>
            <a:off x="9588257" y="1277596"/>
            <a:ext cx="1642449" cy="449298"/>
          </a:xfrm>
          <a:prstGeom prst="rect">
            <a:avLst/>
          </a:prstGeom>
          <a:solidFill>
            <a:schemeClr val="accent1"/>
          </a:solidFill>
          <a:ln w="9525" cap="flat" cmpd="sng">
            <a:solidFill>
              <a:schemeClr val="bg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marL="0" marR="0" lvl="0" indent="0" algn="ctr" defTabSz="1508028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Title</a:t>
            </a:r>
            <a:endParaRPr kumimoji="0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226436572"/>
      </p:ext>
    </p:extLst>
  </p:cSld>
  <p:clrMapOvr>
    <a:masterClrMapping/>
  </p:clrMapOvr>
</p:sld>
</file>

<file path=ppt/slides/slide1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EE168B-64EA-C4E5-E6C3-15CE7189619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3AFD4CF0-D44C-352B-992B-14AC9037C20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AFD4CF0-D44C-352B-992B-14AC9037C2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DC70E4A-269D-474A-A350-4DFBE0E9FB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Gantt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6CAF0049-A78F-E91A-8975-570131664BBC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97</a:t>
            </a:fld>
            <a:endParaRPr lang="en-US" sz="1200" dirty="0">
              <a:solidFill>
                <a:schemeClr val="bg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CA51F5D0-7F89-7A5E-8FE8-80582DC38319}"/>
              </a:ext>
            </a:extLst>
          </p:cNvPr>
          <p:cNvGrpSpPr/>
          <p:nvPr/>
        </p:nvGrpSpPr>
        <p:grpSpPr>
          <a:xfrm>
            <a:off x="801361" y="1712695"/>
            <a:ext cx="10581270" cy="2970931"/>
            <a:chOff x="964262" y="2336290"/>
            <a:chExt cx="10325595" cy="2842019"/>
          </a:xfrm>
        </p:grpSpPr>
        <p:sp>
          <p:nvSpPr>
            <p:cNvPr id="5" name="Freeform: Shape 21">
              <a:extLst>
                <a:ext uri="{FF2B5EF4-FFF2-40B4-BE49-F238E27FC236}">
                  <a16:creationId xmlns:a16="http://schemas.microsoft.com/office/drawing/2014/main" id="{1A6D8116-BB8C-EA50-B356-2C4AE2F16CA5}"/>
                </a:ext>
              </a:extLst>
            </p:cNvPr>
            <p:cNvSpPr/>
            <p:nvPr/>
          </p:nvSpPr>
          <p:spPr>
            <a:xfrm>
              <a:off x="964262" y="2336290"/>
              <a:ext cx="0" cy="2842019"/>
            </a:xfrm>
            <a:custGeom>
              <a:avLst/>
              <a:gdLst>
                <a:gd name="connsiteX0" fmla="*/ 0 w 0"/>
                <a:gd name="connsiteY0" fmla="*/ 0 h 2863780"/>
                <a:gd name="connsiteX1" fmla="*/ 0 w 0"/>
                <a:gd name="connsiteY1" fmla="*/ 2863780 h 2863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863780">
                  <a:moveTo>
                    <a:pt x="0" y="0"/>
                  </a:moveTo>
                  <a:lnTo>
                    <a:pt x="0" y="2863780"/>
                  </a:lnTo>
                </a:path>
              </a:pathLst>
            </a:custGeom>
            <a:noFill/>
            <a:ln w="9525" cap="rnd">
              <a:solidFill>
                <a:schemeClr val="accent6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lang="en-IN" sz="1200" dirty="0">
                <a:solidFill>
                  <a:schemeClr val="tx1"/>
                </a:solidFill>
              </a:endParaRPr>
            </a:p>
          </p:txBody>
        </p:sp>
        <p:sp>
          <p:nvSpPr>
            <p:cNvPr id="6" name="Freeform: Shape 76">
              <a:extLst>
                <a:ext uri="{FF2B5EF4-FFF2-40B4-BE49-F238E27FC236}">
                  <a16:creationId xmlns:a16="http://schemas.microsoft.com/office/drawing/2014/main" id="{28E068EE-F1B3-EDB6-B755-07E3AC7690A1}"/>
                </a:ext>
              </a:extLst>
            </p:cNvPr>
            <p:cNvSpPr/>
            <p:nvPr/>
          </p:nvSpPr>
          <p:spPr>
            <a:xfrm>
              <a:off x="1901618" y="2336290"/>
              <a:ext cx="0" cy="2842019"/>
            </a:xfrm>
            <a:custGeom>
              <a:avLst/>
              <a:gdLst>
                <a:gd name="connsiteX0" fmla="*/ 0 w 0"/>
                <a:gd name="connsiteY0" fmla="*/ 0 h 2863780"/>
                <a:gd name="connsiteX1" fmla="*/ 0 w 0"/>
                <a:gd name="connsiteY1" fmla="*/ 2863780 h 2863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863780">
                  <a:moveTo>
                    <a:pt x="0" y="0"/>
                  </a:moveTo>
                  <a:lnTo>
                    <a:pt x="0" y="2863780"/>
                  </a:lnTo>
                </a:path>
              </a:pathLst>
            </a:custGeom>
            <a:noFill/>
            <a:ln w="9525" cap="rnd">
              <a:solidFill>
                <a:schemeClr val="accent6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lang="en-IN" sz="1200" dirty="0">
                <a:solidFill>
                  <a:schemeClr val="tx1"/>
                </a:solidFill>
              </a:endParaRPr>
            </a:p>
          </p:txBody>
        </p:sp>
        <p:sp>
          <p:nvSpPr>
            <p:cNvPr id="7" name="Freeform: Shape 77">
              <a:extLst>
                <a:ext uri="{FF2B5EF4-FFF2-40B4-BE49-F238E27FC236}">
                  <a16:creationId xmlns:a16="http://schemas.microsoft.com/office/drawing/2014/main" id="{6B19FEFB-9F49-A559-F119-DB0AB9054184}"/>
                </a:ext>
              </a:extLst>
            </p:cNvPr>
            <p:cNvSpPr/>
            <p:nvPr/>
          </p:nvSpPr>
          <p:spPr>
            <a:xfrm>
              <a:off x="2838977" y="2336290"/>
              <a:ext cx="0" cy="2842019"/>
            </a:xfrm>
            <a:custGeom>
              <a:avLst/>
              <a:gdLst>
                <a:gd name="connsiteX0" fmla="*/ 0 w 0"/>
                <a:gd name="connsiteY0" fmla="*/ 0 h 2863780"/>
                <a:gd name="connsiteX1" fmla="*/ 0 w 0"/>
                <a:gd name="connsiteY1" fmla="*/ 2863780 h 2863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863780">
                  <a:moveTo>
                    <a:pt x="0" y="0"/>
                  </a:moveTo>
                  <a:lnTo>
                    <a:pt x="0" y="2863780"/>
                  </a:lnTo>
                </a:path>
              </a:pathLst>
            </a:custGeom>
            <a:noFill/>
            <a:ln w="9525" cap="rnd">
              <a:solidFill>
                <a:schemeClr val="accent6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lang="en-IN" sz="1200" dirty="0">
                <a:solidFill>
                  <a:schemeClr val="tx1"/>
                </a:solidFill>
              </a:endParaRPr>
            </a:p>
          </p:txBody>
        </p:sp>
        <p:sp>
          <p:nvSpPr>
            <p:cNvPr id="8" name="Freeform: Shape 78">
              <a:extLst>
                <a:ext uri="{FF2B5EF4-FFF2-40B4-BE49-F238E27FC236}">
                  <a16:creationId xmlns:a16="http://schemas.microsoft.com/office/drawing/2014/main" id="{03861351-A83E-152A-59AD-E6547D48B79D}"/>
                </a:ext>
              </a:extLst>
            </p:cNvPr>
            <p:cNvSpPr/>
            <p:nvPr/>
          </p:nvSpPr>
          <p:spPr>
            <a:xfrm>
              <a:off x="3776333" y="2336290"/>
              <a:ext cx="0" cy="2842019"/>
            </a:xfrm>
            <a:custGeom>
              <a:avLst/>
              <a:gdLst>
                <a:gd name="connsiteX0" fmla="*/ 0 w 0"/>
                <a:gd name="connsiteY0" fmla="*/ 0 h 2863780"/>
                <a:gd name="connsiteX1" fmla="*/ 0 w 0"/>
                <a:gd name="connsiteY1" fmla="*/ 2863780 h 2863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863780">
                  <a:moveTo>
                    <a:pt x="0" y="0"/>
                  </a:moveTo>
                  <a:lnTo>
                    <a:pt x="0" y="2863780"/>
                  </a:lnTo>
                </a:path>
              </a:pathLst>
            </a:custGeom>
            <a:noFill/>
            <a:ln w="9525" cap="rnd">
              <a:solidFill>
                <a:schemeClr val="accent6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lang="en-IN" sz="1200" dirty="0">
                <a:solidFill>
                  <a:schemeClr val="tx1"/>
                </a:solidFill>
              </a:endParaRPr>
            </a:p>
          </p:txBody>
        </p:sp>
        <p:sp>
          <p:nvSpPr>
            <p:cNvPr id="9" name="Freeform: Shape 79">
              <a:extLst>
                <a:ext uri="{FF2B5EF4-FFF2-40B4-BE49-F238E27FC236}">
                  <a16:creationId xmlns:a16="http://schemas.microsoft.com/office/drawing/2014/main" id="{1B887048-5AD3-4767-5304-B6CB80CA6477}"/>
                </a:ext>
              </a:extLst>
            </p:cNvPr>
            <p:cNvSpPr/>
            <p:nvPr/>
          </p:nvSpPr>
          <p:spPr>
            <a:xfrm>
              <a:off x="4713690" y="2336290"/>
              <a:ext cx="0" cy="2842019"/>
            </a:xfrm>
            <a:custGeom>
              <a:avLst/>
              <a:gdLst>
                <a:gd name="connsiteX0" fmla="*/ 0 w 0"/>
                <a:gd name="connsiteY0" fmla="*/ 0 h 2863780"/>
                <a:gd name="connsiteX1" fmla="*/ 0 w 0"/>
                <a:gd name="connsiteY1" fmla="*/ 2863780 h 2863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863780">
                  <a:moveTo>
                    <a:pt x="0" y="0"/>
                  </a:moveTo>
                  <a:lnTo>
                    <a:pt x="0" y="2863780"/>
                  </a:lnTo>
                </a:path>
              </a:pathLst>
            </a:custGeom>
            <a:noFill/>
            <a:ln w="9525" cap="rnd">
              <a:solidFill>
                <a:schemeClr val="accent6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lang="en-IN" sz="1200" dirty="0">
                <a:solidFill>
                  <a:schemeClr val="tx1"/>
                </a:solidFill>
              </a:endParaRPr>
            </a:p>
          </p:txBody>
        </p:sp>
        <p:sp>
          <p:nvSpPr>
            <p:cNvPr id="10" name="Freeform: Shape 80">
              <a:extLst>
                <a:ext uri="{FF2B5EF4-FFF2-40B4-BE49-F238E27FC236}">
                  <a16:creationId xmlns:a16="http://schemas.microsoft.com/office/drawing/2014/main" id="{1161D5DF-2D92-D03F-56E2-B17CE48D5D62}"/>
                </a:ext>
              </a:extLst>
            </p:cNvPr>
            <p:cNvSpPr/>
            <p:nvPr/>
          </p:nvSpPr>
          <p:spPr>
            <a:xfrm>
              <a:off x="5651045" y="2336290"/>
              <a:ext cx="0" cy="2842019"/>
            </a:xfrm>
            <a:custGeom>
              <a:avLst/>
              <a:gdLst>
                <a:gd name="connsiteX0" fmla="*/ 0 w 0"/>
                <a:gd name="connsiteY0" fmla="*/ 0 h 2863780"/>
                <a:gd name="connsiteX1" fmla="*/ 0 w 0"/>
                <a:gd name="connsiteY1" fmla="*/ 2863780 h 2863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863780">
                  <a:moveTo>
                    <a:pt x="0" y="0"/>
                  </a:moveTo>
                  <a:lnTo>
                    <a:pt x="0" y="2863780"/>
                  </a:lnTo>
                </a:path>
              </a:pathLst>
            </a:custGeom>
            <a:noFill/>
            <a:ln w="9525" cap="rnd">
              <a:solidFill>
                <a:schemeClr val="accent6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lang="en-IN" sz="1200" dirty="0">
                <a:solidFill>
                  <a:schemeClr val="tx1"/>
                </a:solidFill>
              </a:endParaRPr>
            </a:p>
          </p:txBody>
        </p:sp>
        <p:sp>
          <p:nvSpPr>
            <p:cNvPr id="11" name="Freeform: Shape 81">
              <a:extLst>
                <a:ext uri="{FF2B5EF4-FFF2-40B4-BE49-F238E27FC236}">
                  <a16:creationId xmlns:a16="http://schemas.microsoft.com/office/drawing/2014/main" id="{8F1655A7-8EB7-A594-4411-7DF669979A8B}"/>
                </a:ext>
              </a:extLst>
            </p:cNvPr>
            <p:cNvSpPr/>
            <p:nvPr/>
          </p:nvSpPr>
          <p:spPr>
            <a:xfrm>
              <a:off x="6588402" y="2336290"/>
              <a:ext cx="0" cy="2842019"/>
            </a:xfrm>
            <a:custGeom>
              <a:avLst/>
              <a:gdLst>
                <a:gd name="connsiteX0" fmla="*/ 0 w 0"/>
                <a:gd name="connsiteY0" fmla="*/ 0 h 2863780"/>
                <a:gd name="connsiteX1" fmla="*/ 0 w 0"/>
                <a:gd name="connsiteY1" fmla="*/ 2863780 h 2863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863780">
                  <a:moveTo>
                    <a:pt x="0" y="0"/>
                  </a:moveTo>
                  <a:lnTo>
                    <a:pt x="0" y="2863780"/>
                  </a:lnTo>
                </a:path>
              </a:pathLst>
            </a:custGeom>
            <a:noFill/>
            <a:ln w="9525" cap="rnd">
              <a:solidFill>
                <a:schemeClr val="accent6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lang="en-IN" sz="1200" dirty="0">
                <a:solidFill>
                  <a:schemeClr val="tx1"/>
                </a:solidFill>
              </a:endParaRPr>
            </a:p>
          </p:txBody>
        </p:sp>
        <p:sp>
          <p:nvSpPr>
            <p:cNvPr id="12" name="Freeform: Shape 82">
              <a:extLst>
                <a:ext uri="{FF2B5EF4-FFF2-40B4-BE49-F238E27FC236}">
                  <a16:creationId xmlns:a16="http://schemas.microsoft.com/office/drawing/2014/main" id="{00D409BE-DC96-43E0-F93F-146E0A3A314B}"/>
                </a:ext>
              </a:extLst>
            </p:cNvPr>
            <p:cNvSpPr/>
            <p:nvPr/>
          </p:nvSpPr>
          <p:spPr>
            <a:xfrm>
              <a:off x="7525758" y="2336290"/>
              <a:ext cx="0" cy="2842019"/>
            </a:xfrm>
            <a:custGeom>
              <a:avLst/>
              <a:gdLst>
                <a:gd name="connsiteX0" fmla="*/ 0 w 0"/>
                <a:gd name="connsiteY0" fmla="*/ 0 h 2863780"/>
                <a:gd name="connsiteX1" fmla="*/ 0 w 0"/>
                <a:gd name="connsiteY1" fmla="*/ 2863780 h 2863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863780">
                  <a:moveTo>
                    <a:pt x="0" y="0"/>
                  </a:moveTo>
                  <a:lnTo>
                    <a:pt x="0" y="2863780"/>
                  </a:lnTo>
                </a:path>
              </a:pathLst>
            </a:custGeom>
            <a:noFill/>
            <a:ln w="9525" cap="rnd">
              <a:solidFill>
                <a:schemeClr val="accent6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lang="en-IN" sz="1200" dirty="0">
                <a:solidFill>
                  <a:schemeClr val="tx1"/>
                </a:solidFill>
              </a:endParaRPr>
            </a:p>
          </p:txBody>
        </p:sp>
        <p:sp>
          <p:nvSpPr>
            <p:cNvPr id="13" name="Freeform: Shape 83">
              <a:extLst>
                <a:ext uri="{FF2B5EF4-FFF2-40B4-BE49-F238E27FC236}">
                  <a16:creationId xmlns:a16="http://schemas.microsoft.com/office/drawing/2014/main" id="{1843D0CB-19E8-6C33-7046-BDD72785AABB}"/>
                </a:ext>
              </a:extLst>
            </p:cNvPr>
            <p:cNvSpPr/>
            <p:nvPr/>
          </p:nvSpPr>
          <p:spPr>
            <a:xfrm>
              <a:off x="8463117" y="2336290"/>
              <a:ext cx="0" cy="2842019"/>
            </a:xfrm>
            <a:custGeom>
              <a:avLst/>
              <a:gdLst>
                <a:gd name="connsiteX0" fmla="*/ 0 w 0"/>
                <a:gd name="connsiteY0" fmla="*/ 0 h 2863780"/>
                <a:gd name="connsiteX1" fmla="*/ 0 w 0"/>
                <a:gd name="connsiteY1" fmla="*/ 2863780 h 2863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863780">
                  <a:moveTo>
                    <a:pt x="0" y="0"/>
                  </a:moveTo>
                  <a:lnTo>
                    <a:pt x="0" y="2863780"/>
                  </a:lnTo>
                </a:path>
              </a:pathLst>
            </a:custGeom>
            <a:noFill/>
            <a:ln w="9525" cap="rnd">
              <a:solidFill>
                <a:schemeClr val="accent6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lang="en-IN" sz="1200" dirty="0">
                <a:solidFill>
                  <a:schemeClr val="tx1"/>
                </a:solidFill>
              </a:endParaRPr>
            </a:p>
          </p:txBody>
        </p:sp>
        <p:sp>
          <p:nvSpPr>
            <p:cNvPr id="14" name="Freeform: Shape 84">
              <a:extLst>
                <a:ext uri="{FF2B5EF4-FFF2-40B4-BE49-F238E27FC236}">
                  <a16:creationId xmlns:a16="http://schemas.microsoft.com/office/drawing/2014/main" id="{E5D64154-2CBD-05D7-5319-EF6A0A7655CD}"/>
                </a:ext>
              </a:extLst>
            </p:cNvPr>
            <p:cNvSpPr/>
            <p:nvPr/>
          </p:nvSpPr>
          <p:spPr>
            <a:xfrm>
              <a:off x="9400473" y="2336290"/>
              <a:ext cx="0" cy="2842019"/>
            </a:xfrm>
            <a:custGeom>
              <a:avLst/>
              <a:gdLst>
                <a:gd name="connsiteX0" fmla="*/ 0 w 0"/>
                <a:gd name="connsiteY0" fmla="*/ 0 h 2863780"/>
                <a:gd name="connsiteX1" fmla="*/ 0 w 0"/>
                <a:gd name="connsiteY1" fmla="*/ 2863780 h 2863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863780">
                  <a:moveTo>
                    <a:pt x="0" y="0"/>
                  </a:moveTo>
                  <a:lnTo>
                    <a:pt x="0" y="2863780"/>
                  </a:lnTo>
                </a:path>
              </a:pathLst>
            </a:custGeom>
            <a:noFill/>
            <a:ln w="9525" cap="rnd">
              <a:solidFill>
                <a:schemeClr val="accent6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lang="en-IN" sz="1200" dirty="0">
                <a:solidFill>
                  <a:schemeClr val="tx1"/>
                </a:solidFill>
              </a:endParaRPr>
            </a:p>
          </p:txBody>
        </p:sp>
        <p:sp>
          <p:nvSpPr>
            <p:cNvPr id="15" name="Freeform: Shape 85">
              <a:extLst>
                <a:ext uri="{FF2B5EF4-FFF2-40B4-BE49-F238E27FC236}">
                  <a16:creationId xmlns:a16="http://schemas.microsoft.com/office/drawing/2014/main" id="{6DB3C58E-55A7-1870-DC7D-A4B62FDD4DFE}"/>
                </a:ext>
              </a:extLst>
            </p:cNvPr>
            <p:cNvSpPr/>
            <p:nvPr/>
          </p:nvSpPr>
          <p:spPr>
            <a:xfrm>
              <a:off x="10337830" y="2336290"/>
              <a:ext cx="0" cy="2842019"/>
            </a:xfrm>
            <a:custGeom>
              <a:avLst/>
              <a:gdLst>
                <a:gd name="connsiteX0" fmla="*/ 0 w 0"/>
                <a:gd name="connsiteY0" fmla="*/ 0 h 2863780"/>
                <a:gd name="connsiteX1" fmla="*/ 0 w 0"/>
                <a:gd name="connsiteY1" fmla="*/ 2863780 h 2863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863780">
                  <a:moveTo>
                    <a:pt x="0" y="0"/>
                  </a:moveTo>
                  <a:lnTo>
                    <a:pt x="0" y="2863780"/>
                  </a:lnTo>
                </a:path>
              </a:pathLst>
            </a:custGeom>
            <a:noFill/>
            <a:ln w="9525" cap="rnd">
              <a:solidFill>
                <a:schemeClr val="accent6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lang="en-IN" sz="1200" dirty="0">
                <a:solidFill>
                  <a:schemeClr val="tx1"/>
                </a:solidFill>
              </a:endParaRPr>
            </a:p>
          </p:txBody>
        </p:sp>
        <p:sp>
          <p:nvSpPr>
            <p:cNvPr id="16" name="Freeform: Shape 86">
              <a:extLst>
                <a:ext uri="{FF2B5EF4-FFF2-40B4-BE49-F238E27FC236}">
                  <a16:creationId xmlns:a16="http://schemas.microsoft.com/office/drawing/2014/main" id="{C1B3D8A7-4574-DF74-A7AF-9D81AB8F317C}"/>
                </a:ext>
              </a:extLst>
            </p:cNvPr>
            <p:cNvSpPr/>
            <p:nvPr/>
          </p:nvSpPr>
          <p:spPr>
            <a:xfrm>
              <a:off x="11289857" y="2336290"/>
              <a:ext cx="0" cy="2842019"/>
            </a:xfrm>
            <a:custGeom>
              <a:avLst/>
              <a:gdLst>
                <a:gd name="connsiteX0" fmla="*/ 0 w 0"/>
                <a:gd name="connsiteY0" fmla="*/ 0 h 2863780"/>
                <a:gd name="connsiteX1" fmla="*/ 0 w 0"/>
                <a:gd name="connsiteY1" fmla="*/ 2863780 h 2863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863780">
                  <a:moveTo>
                    <a:pt x="0" y="0"/>
                  </a:moveTo>
                  <a:lnTo>
                    <a:pt x="0" y="2863780"/>
                  </a:lnTo>
                </a:path>
              </a:pathLst>
            </a:custGeom>
            <a:noFill/>
            <a:ln w="9525" cap="rnd">
              <a:solidFill>
                <a:srgbClr val="C0C0C0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lang="en-IN" sz="1200" dirty="0">
                <a:solidFill>
                  <a:schemeClr val="tx1"/>
                </a:solidFill>
              </a:endParaRPr>
            </a:p>
          </p:txBody>
        </p:sp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168EB1E9-1AAB-59ED-1057-D98DE4D119D6}"/>
              </a:ext>
            </a:extLst>
          </p:cNvPr>
          <p:cNvSpPr txBox="1"/>
          <p:nvPr/>
        </p:nvSpPr>
        <p:spPr>
          <a:xfrm>
            <a:off x="4415933" y="5290334"/>
            <a:ext cx="183056" cy="18673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wrap="square" rtlCol="0">
            <a:noAutofit/>
          </a:bodyPr>
          <a:lstStyle/>
          <a:p>
            <a:pPr>
              <a:spcBef>
                <a:spcPts val="165"/>
              </a:spcBef>
              <a:spcAft>
                <a:spcPts val="165"/>
              </a:spcAft>
            </a:pPr>
            <a:endParaRPr lang="en-IN" sz="1200" dirty="0"/>
          </a:p>
        </p:txBody>
      </p:sp>
      <p:sp>
        <p:nvSpPr>
          <p:cNvPr id="18" name="Shape3_20220106_183708">
            <a:extLst>
              <a:ext uri="{FF2B5EF4-FFF2-40B4-BE49-F238E27FC236}">
                <a16:creationId xmlns:a16="http://schemas.microsoft.com/office/drawing/2014/main" id="{BA041653-EEBC-1422-357F-8FA9A45D8827}"/>
              </a:ext>
            </a:extLst>
          </p:cNvPr>
          <p:cNvSpPr/>
          <p:nvPr/>
        </p:nvSpPr>
        <p:spPr>
          <a:xfrm>
            <a:off x="4653090" y="5297280"/>
            <a:ext cx="1208167" cy="161583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IN" sz="105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C6FC4B3-D033-693E-82DB-AA1586000A9D}"/>
              </a:ext>
            </a:extLst>
          </p:cNvPr>
          <p:cNvSpPr txBox="1"/>
          <p:nvPr/>
        </p:nvSpPr>
        <p:spPr>
          <a:xfrm>
            <a:off x="6226337" y="5290334"/>
            <a:ext cx="183056" cy="186735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wrap="square" rtlCol="0">
            <a:noAutofit/>
          </a:bodyPr>
          <a:lstStyle/>
          <a:p>
            <a:pPr>
              <a:spcBef>
                <a:spcPts val="165"/>
              </a:spcBef>
              <a:spcAft>
                <a:spcPts val="165"/>
              </a:spcAft>
            </a:pPr>
            <a:endParaRPr lang="en-IN" sz="1200" dirty="0"/>
          </a:p>
        </p:txBody>
      </p:sp>
      <p:sp>
        <p:nvSpPr>
          <p:cNvPr id="20" name="Shape4_20220106_183708">
            <a:extLst>
              <a:ext uri="{FF2B5EF4-FFF2-40B4-BE49-F238E27FC236}">
                <a16:creationId xmlns:a16="http://schemas.microsoft.com/office/drawing/2014/main" id="{E4639E49-4B44-597A-F548-1A7F05B52E06}"/>
              </a:ext>
            </a:extLst>
          </p:cNvPr>
          <p:cNvSpPr/>
          <p:nvPr/>
        </p:nvSpPr>
        <p:spPr>
          <a:xfrm>
            <a:off x="6463494" y="5297280"/>
            <a:ext cx="1208167" cy="161583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IN" sz="105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21" name="Freeform: Shape 88">
            <a:extLst>
              <a:ext uri="{FF2B5EF4-FFF2-40B4-BE49-F238E27FC236}">
                <a16:creationId xmlns:a16="http://schemas.microsoft.com/office/drawing/2014/main" id="{33C5DB86-F71A-D934-AB16-DE518AFABEFD}"/>
              </a:ext>
            </a:extLst>
          </p:cNvPr>
          <p:cNvSpPr>
            <a:spLocks/>
          </p:cNvSpPr>
          <p:nvPr/>
        </p:nvSpPr>
        <p:spPr>
          <a:xfrm>
            <a:off x="801359" y="3292947"/>
            <a:ext cx="10566233" cy="0"/>
          </a:xfrm>
          <a:custGeom>
            <a:avLst/>
            <a:gdLst>
              <a:gd name="connsiteX0" fmla="*/ 0 w 10178980"/>
              <a:gd name="connsiteY0" fmla="*/ 0 h 0"/>
              <a:gd name="connsiteX1" fmla="*/ 10178980 w 1017898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178980">
                <a:moveTo>
                  <a:pt x="0" y="0"/>
                </a:moveTo>
                <a:lnTo>
                  <a:pt x="10178980" y="0"/>
                </a:lnTo>
              </a:path>
            </a:pathLst>
          </a:custGeom>
          <a:noFill/>
          <a:ln w="9525" cap="rnd">
            <a:solidFill>
              <a:schemeClr val="accent6"/>
            </a:solidFill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50148" tIns="75075" rIns="150148" bIns="750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22" name="Freeform: Shape 90">
            <a:extLst>
              <a:ext uri="{FF2B5EF4-FFF2-40B4-BE49-F238E27FC236}">
                <a16:creationId xmlns:a16="http://schemas.microsoft.com/office/drawing/2014/main" id="{1D1A2DC6-6020-350E-4115-B011686605F3}"/>
              </a:ext>
            </a:extLst>
          </p:cNvPr>
          <p:cNvSpPr>
            <a:spLocks/>
          </p:cNvSpPr>
          <p:nvPr/>
        </p:nvSpPr>
        <p:spPr>
          <a:xfrm>
            <a:off x="801359" y="2344335"/>
            <a:ext cx="10566233" cy="0"/>
          </a:xfrm>
          <a:custGeom>
            <a:avLst/>
            <a:gdLst>
              <a:gd name="connsiteX0" fmla="*/ 0 w 10178980"/>
              <a:gd name="connsiteY0" fmla="*/ 0 h 0"/>
              <a:gd name="connsiteX1" fmla="*/ 10178980 w 1017898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178980">
                <a:moveTo>
                  <a:pt x="0" y="0"/>
                </a:moveTo>
                <a:lnTo>
                  <a:pt x="10178980" y="0"/>
                </a:lnTo>
              </a:path>
            </a:pathLst>
          </a:custGeom>
          <a:noFill/>
          <a:ln w="9525" cap="rnd">
            <a:solidFill>
              <a:schemeClr val="accent6"/>
            </a:solidFill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50148" tIns="75075" rIns="150148" bIns="750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25" name="Shape5_20220106_183708">
            <a:extLst>
              <a:ext uri="{FF2B5EF4-FFF2-40B4-BE49-F238E27FC236}">
                <a16:creationId xmlns:a16="http://schemas.microsoft.com/office/drawing/2014/main" id="{148C7BF1-A29E-518B-E5D7-4A446E76E139}"/>
              </a:ext>
            </a:extLst>
          </p:cNvPr>
          <p:cNvSpPr/>
          <p:nvPr/>
        </p:nvSpPr>
        <p:spPr>
          <a:xfrm>
            <a:off x="499891" y="4663814"/>
            <a:ext cx="616294" cy="184666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sz="1200" dirty="0">
                <a:solidFill>
                  <a:schemeClr val="tx1">
                    <a:lumMod val="100000"/>
                  </a:schemeClr>
                </a:solidFill>
              </a:rPr>
              <a:t>Text</a:t>
            </a:r>
          </a:p>
        </p:txBody>
      </p:sp>
      <p:sp>
        <p:nvSpPr>
          <p:cNvPr id="26" name="Shape6_20220106_183708">
            <a:extLst>
              <a:ext uri="{FF2B5EF4-FFF2-40B4-BE49-F238E27FC236}">
                <a16:creationId xmlns:a16="http://schemas.microsoft.com/office/drawing/2014/main" id="{47FC6AE9-0FD2-C0D6-BC0C-8B9A5F198772}"/>
              </a:ext>
            </a:extLst>
          </p:cNvPr>
          <p:cNvSpPr/>
          <p:nvPr/>
        </p:nvSpPr>
        <p:spPr>
          <a:xfrm>
            <a:off x="1464685" y="4663814"/>
            <a:ext cx="616294" cy="184666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sz="1200" dirty="0">
                <a:solidFill>
                  <a:schemeClr val="tx1">
                    <a:lumMod val="100000"/>
                  </a:schemeClr>
                </a:solidFill>
              </a:rPr>
              <a:t>Text</a:t>
            </a:r>
          </a:p>
        </p:txBody>
      </p:sp>
      <p:sp>
        <p:nvSpPr>
          <p:cNvPr id="27" name="Shape7_20220106_183708">
            <a:extLst>
              <a:ext uri="{FF2B5EF4-FFF2-40B4-BE49-F238E27FC236}">
                <a16:creationId xmlns:a16="http://schemas.microsoft.com/office/drawing/2014/main" id="{1D33B295-0977-FE00-1BB4-D390AAA6363D}"/>
              </a:ext>
            </a:extLst>
          </p:cNvPr>
          <p:cNvSpPr/>
          <p:nvPr/>
        </p:nvSpPr>
        <p:spPr>
          <a:xfrm>
            <a:off x="2429477" y="4663814"/>
            <a:ext cx="616294" cy="184666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sz="1200" dirty="0">
                <a:solidFill>
                  <a:schemeClr val="tx1">
                    <a:lumMod val="100000"/>
                  </a:schemeClr>
                </a:solidFill>
              </a:rPr>
              <a:t>Text</a:t>
            </a:r>
          </a:p>
        </p:txBody>
      </p:sp>
      <p:sp>
        <p:nvSpPr>
          <p:cNvPr id="28" name="Shape8_20220106_183708">
            <a:extLst>
              <a:ext uri="{FF2B5EF4-FFF2-40B4-BE49-F238E27FC236}">
                <a16:creationId xmlns:a16="http://schemas.microsoft.com/office/drawing/2014/main" id="{5D211AEC-76B1-B25C-A4D7-2EE91D6A3561}"/>
              </a:ext>
            </a:extLst>
          </p:cNvPr>
          <p:cNvSpPr/>
          <p:nvPr/>
        </p:nvSpPr>
        <p:spPr>
          <a:xfrm>
            <a:off x="3374896" y="4663814"/>
            <a:ext cx="616294" cy="184666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sz="1200" dirty="0">
                <a:solidFill>
                  <a:schemeClr val="tx1">
                    <a:lumMod val="100000"/>
                  </a:schemeClr>
                </a:solidFill>
              </a:rPr>
              <a:t>Text</a:t>
            </a:r>
          </a:p>
        </p:txBody>
      </p:sp>
      <p:sp>
        <p:nvSpPr>
          <p:cNvPr id="29" name="Shape9_20220106_183708">
            <a:extLst>
              <a:ext uri="{FF2B5EF4-FFF2-40B4-BE49-F238E27FC236}">
                <a16:creationId xmlns:a16="http://schemas.microsoft.com/office/drawing/2014/main" id="{E5D2080C-25AE-AB89-E9D0-CE36760AD46D}"/>
              </a:ext>
            </a:extLst>
          </p:cNvPr>
          <p:cNvSpPr/>
          <p:nvPr/>
        </p:nvSpPr>
        <p:spPr>
          <a:xfrm>
            <a:off x="4331942" y="4663814"/>
            <a:ext cx="616294" cy="184666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sz="1200" dirty="0">
                <a:solidFill>
                  <a:schemeClr val="tx1">
                    <a:lumMod val="100000"/>
                  </a:schemeClr>
                </a:solidFill>
              </a:rPr>
              <a:t>Text</a:t>
            </a:r>
          </a:p>
        </p:txBody>
      </p:sp>
      <p:sp>
        <p:nvSpPr>
          <p:cNvPr id="30" name="Shape10_20220106_183708">
            <a:extLst>
              <a:ext uri="{FF2B5EF4-FFF2-40B4-BE49-F238E27FC236}">
                <a16:creationId xmlns:a16="http://schemas.microsoft.com/office/drawing/2014/main" id="{656E66F8-E613-914B-91CA-28A53418A2B0}"/>
              </a:ext>
            </a:extLst>
          </p:cNvPr>
          <p:cNvSpPr/>
          <p:nvPr/>
        </p:nvSpPr>
        <p:spPr>
          <a:xfrm>
            <a:off x="5288986" y="4663814"/>
            <a:ext cx="616294" cy="184666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sz="1200" dirty="0">
                <a:solidFill>
                  <a:schemeClr val="tx1">
                    <a:lumMod val="100000"/>
                  </a:schemeClr>
                </a:solidFill>
              </a:rPr>
              <a:t>Text</a:t>
            </a:r>
          </a:p>
        </p:txBody>
      </p:sp>
      <p:sp>
        <p:nvSpPr>
          <p:cNvPr id="31" name="Shape11_20220106_183708">
            <a:extLst>
              <a:ext uri="{FF2B5EF4-FFF2-40B4-BE49-F238E27FC236}">
                <a16:creationId xmlns:a16="http://schemas.microsoft.com/office/drawing/2014/main" id="{2561701D-5188-4BF0-A33B-030E41C16A05}"/>
              </a:ext>
            </a:extLst>
          </p:cNvPr>
          <p:cNvSpPr/>
          <p:nvPr/>
        </p:nvSpPr>
        <p:spPr>
          <a:xfrm>
            <a:off x="6253780" y="4663814"/>
            <a:ext cx="616294" cy="184666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sz="1200" dirty="0">
                <a:solidFill>
                  <a:schemeClr val="tx1">
                    <a:lumMod val="100000"/>
                  </a:schemeClr>
                </a:solidFill>
              </a:rPr>
              <a:t>Text</a:t>
            </a:r>
          </a:p>
        </p:txBody>
      </p:sp>
      <p:sp>
        <p:nvSpPr>
          <p:cNvPr id="32" name="Shape12_20220106_183708">
            <a:extLst>
              <a:ext uri="{FF2B5EF4-FFF2-40B4-BE49-F238E27FC236}">
                <a16:creationId xmlns:a16="http://schemas.microsoft.com/office/drawing/2014/main" id="{BDA0213C-9528-00E4-A37F-905135322F2A}"/>
              </a:ext>
            </a:extLst>
          </p:cNvPr>
          <p:cNvSpPr/>
          <p:nvPr/>
        </p:nvSpPr>
        <p:spPr>
          <a:xfrm>
            <a:off x="7206950" y="4663814"/>
            <a:ext cx="616294" cy="184666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sz="1200" dirty="0">
                <a:solidFill>
                  <a:schemeClr val="tx1">
                    <a:lumMod val="100000"/>
                  </a:schemeClr>
                </a:solidFill>
              </a:rPr>
              <a:t>Text</a:t>
            </a:r>
          </a:p>
        </p:txBody>
      </p:sp>
      <p:sp>
        <p:nvSpPr>
          <p:cNvPr id="33" name="Shape13_20220106_183708">
            <a:extLst>
              <a:ext uri="{FF2B5EF4-FFF2-40B4-BE49-F238E27FC236}">
                <a16:creationId xmlns:a16="http://schemas.microsoft.com/office/drawing/2014/main" id="{FA88AF6A-246C-A2A2-1193-1424A5A3C76C}"/>
              </a:ext>
            </a:extLst>
          </p:cNvPr>
          <p:cNvSpPr/>
          <p:nvPr/>
        </p:nvSpPr>
        <p:spPr>
          <a:xfrm>
            <a:off x="8160121" y="4663814"/>
            <a:ext cx="616294" cy="184666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sz="1200" dirty="0">
                <a:solidFill>
                  <a:schemeClr val="tx1">
                    <a:lumMod val="100000"/>
                  </a:schemeClr>
                </a:solidFill>
              </a:rPr>
              <a:t>Text</a:t>
            </a:r>
          </a:p>
        </p:txBody>
      </p:sp>
      <p:sp>
        <p:nvSpPr>
          <p:cNvPr id="34" name="Shape14_20220106_183708">
            <a:extLst>
              <a:ext uri="{FF2B5EF4-FFF2-40B4-BE49-F238E27FC236}">
                <a16:creationId xmlns:a16="http://schemas.microsoft.com/office/drawing/2014/main" id="{6FE1D85E-0416-8894-7A88-984612AD9853}"/>
              </a:ext>
            </a:extLst>
          </p:cNvPr>
          <p:cNvSpPr/>
          <p:nvPr/>
        </p:nvSpPr>
        <p:spPr>
          <a:xfrm>
            <a:off x="9117162" y="4663814"/>
            <a:ext cx="616294" cy="184666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sz="1200" dirty="0">
                <a:solidFill>
                  <a:schemeClr val="tx1">
                    <a:lumMod val="100000"/>
                  </a:schemeClr>
                </a:solidFill>
              </a:rPr>
              <a:t>Text</a:t>
            </a:r>
          </a:p>
        </p:txBody>
      </p:sp>
      <p:sp>
        <p:nvSpPr>
          <p:cNvPr id="35" name="Shape15_20220106_183708">
            <a:extLst>
              <a:ext uri="{FF2B5EF4-FFF2-40B4-BE49-F238E27FC236}">
                <a16:creationId xmlns:a16="http://schemas.microsoft.com/office/drawing/2014/main" id="{EDAA8B75-D2AD-6257-0E59-C1443184A7C2}"/>
              </a:ext>
            </a:extLst>
          </p:cNvPr>
          <p:cNvSpPr/>
          <p:nvPr/>
        </p:nvSpPr>
        <p:spPr>
          <a:xfrm>
            <a:off x="10070334" y="4663814"/>
            <a:ext cx="616294" cy="184666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sz="1200" dirty="0">
                <a:solidFill>
                  <a:schemeClr val="tx1">
                    <a:lumMod val="100000"/>
                  </a:schemeClr>
                </a:solidFill>
              </a:rPr>
              <a:t>Text</a:t>
            </a:r>
          </a:p>
        </p:txBody>
      </p:sp>
      <p:sp>
        <p:nvSpPr>
          <p:cNvPr id="36" name="Shape16_20220106_183708">
            <a:extLst>
              <a:ext uri="{FF2B5EF4-FFF2-40B4-BE49-F238E27FC236}">
                <a16:creationId xmlns:a16="http://schemas.microsoft.com/office/drawing/2014/main" id="{6B2D2D78-E665-1155-D2B6-EB9D31827F65}"/>
              </a:ext>
            </a:extLst>
          </p:cNvPr>
          <p:cNvSpPr/>
          <p:nvPr/>
        </p:nvSpPr>
        <p:spPr>
          <a:xfrm>
            <a:off x="11066124" y="4663814"/>
            <a:ext cx="616294" cy="184666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sz="1200" dirty="0">
                <a:solidFill>
                  <a:schemeClr val="tx1">
                    <a:lumMod val="100000"/>
                  </a:schemeClr>
                </a:solidFill>
              </a:rPr>
              <a:t>Text</a:t>
            </a:r>
          </a:p>
        </p:txBody>
      </p:sp>
      <p:sp>
        <p:nvSpPr>
          <p:cNvPr id="37" name="Shape1_20210628_132115">
            <a:extLst>
              <a:ext uri="{FF2B5EF4-FFF2-40B4-BE49-F238E27FC236}">
                <a16:creationId xmlns:a16="http://schemas.microsoft.com/office/drawing/2014/main" id="{DC01D0FC-F4F1-909F-B463-17BE79B72B40}"/>
              </a:ext>
            </a:extLst>
          </p:cNvPr>
          <p:cNvSpPr txBox="1"/>
          <p:nvPr/>
        </p:nvSpPr>
        <p:spPr>
          <a:xfrm>
            <a:off x="807182" y="2240407"/>
            <a:ext cx="2559222" cy="186443"/>
          </a:xfrm>
          <a:prstGeom prst="rect">
            <a:avLst/>
          </a:prstGeom>
          <a:solidFill>
            <a:schemeClr val="accent2"/>
          </a:solidFill>
        </p:spPr>
        <p:txBody>
          <a:bodyPr wrap="square" lIns="59114" tIns="59114" rIns="59114" bIns="59114" rtlCol="0">
            <a:noAutofit/>
          </a:bodyPr>
          <a:lstStyle/>
          <a:p>
            <a:pPr>
              <a:spcBef>
                <a:spcPts val="165"/>
              </a:spcBef>
              <a:spcAft>
                <a:spcPts val="165"/>
              </a:spcAft>
            </a:pPr>
            <a:endParaRPr lang="en-IN" sz="1200" dirty="0"/>
          </a:p>
        </p:txBody>
      </p:sp>
      <p:sp>
        <p:nvSpPr>
          <p:cNvPr id="38" name="Shape0_20220516_103222">
            <a:extLst>
              <a:ext uri="{FF2B5EF4-FFF2-40B4-BE49-F238E27FC236}">
                <a16:creationId xmlns:a16="http://schemas.microsoft.com/office/drawing/2014/main" id="{0A4569C7-657C-0962-BF14-45B28FFC8602}"/>
              </a:ext>
            </a:extLst>
          </p:cNvPr>
          <p:cNvSpPr txBox="1"/>
          <p:nvPr/>
        </p:nvSpPr>
        <p:spPr>
          <a:xfrm>
            <a:off x="2907247" y="1600097"/>
            <a:ext cx="571515" cy="438765"/>
          </a:xfrm>
          <a:prstGeom prst="wedgeRectCallout">
            <a:avLst>
              <a:gd name="adj1" fmla="val -20833"/>
              <a:gd name="adj2" fmla="val 84921"/>
            </a:avLst>
          </a:prstGeom>
          <a:solidFill>
            <a:schemeClr val="accent2"/>
          </a:solidFill>
        </p:spPr>
        <p:txBody>
          <a:bodyPr wrap="square" lIns="59114" tIns="59114" rIns="59114" bIns="59114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FFFFFF"/>
                </a:solidFill>
              </a:rPr>
              <a:t>Title</a:t>
            </a:r>
            <a:endParaRPr lang="en-IN" sz="1200" b="1" dirty="0">
              <a:solidFill>
                <a:srgbClr val="FFFFFF"/>
              </a:solidFill>
            </a:endParaRPr>
          </a:p>
        </p:txBody>
      </p:sp>
      <p:sp>
        <p:nvSpPr>
          <p:cNvPr id="39" name="Shape1_20210628_132153">
            <a:extLst>
              <a:ext uri="{FF2B5EF4-FFF2-40B4-BE49-F238E27FC236}">
                <a16:creationId xmlns:a16="http://schemas.microsoft.com/office/drawing/2014/main" id="{CA5D90CC-FF08-374D-F92B-673B9540B616}"/>
              </a:ext>
            </a:extLst>
          </p:cNvPr>
          <p:cNvSpPr txBox="1"/>
          <p:nvPr/>
        </p:nvSpPr>
        <p:spPr>
          <a:xfrm>
            <a:off x="5613708" y="3200882"/>
            <a:ext cx="1875343" cy="186443"/>
          </a:xfrm>
          <a:prstGeom prst="rect">
            <a:avLst/>
          </a:prstGeom>
          <a:solidFill>
            <a:schemeClr val="accent3"/>
          </a:solidFill>
        </p:spPr>
        <p:txBody>
          <a:bodyPr wrap="square" lIns="59114" tIns="59114" rIns="59114" bIns="59114" rtlCol="0">
            <a:noAutofit/>
          </a:bodyPr>
          <a:lstStyle/>
          <a:p>
            <a:pPr>
              <a:spcBef>
                <a:spcPts val="165"/>
              </a:spcBef>
              <a:spcAft>
                <a:spcPts val="165"/>
              </a:spcAft>
            </a:pPr>
            <a:endParaRPr lang="en-IN" sz="1200" dirty="0"/>
          </a:p>
        </p:txBody>
      </p:sp>
      <p:sp>
        <p:nvSpPr>
          <p:cNvPr id="40" name="Shape1_20220516_103222">
            <a:extLst>
              <a:ext uri="{FF2B5EF4-FFF2-40B4-BE49-F238E27FC236}">
                <a16:creationId xmlns:a16="http://schemas.microsoft.com/office/drawing/2014/main" id="{A3A1C6C6-7EFB-1992-6806-18D1F6B858EF}"/>
              </a:ext>
            </a:extLst>
          </p:cNvPr>
          <p:cNvSpPr txBox="1"/>
          <p:nvPr/>
        </p:nvSpPr>
        <p:spPr>
          <a:xfrm>
            <a:off x="7351499" y="2600092"/>
            <a:ext cx="571515" cy="438765"/>
          </a:xfrm>
          <a:prstGeom prst="wedgeRectCallout">
            <a:avLst>
              <a:gd name="adj1" fmla="val -26300"/>
              <a:gd name="adj2" fmla="val 79140"/>
            </a:avLst>
          </a:prstGeom>
          <a:solidFill>
            <a:schemeClr val="accent3"/>
          </a:solidFill>
        </p:spPr>
        <p:txBody>
          <a:bodyPr wrap="square" lIns="59114" tIns="59114" rIns="59114" bIns="59114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FFFFFF"/>
                </a:solidFill>
              </a:rPr>
              <a:t>Title</a:t>
            </a:r>
            <a:endParaRPr lang="en-IN" sz="1200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5732531"/>
      </p:ext>
    </p:extLst>
  </p:cSld>
  <p:clrMapOvr>
    <a:masterClrMapping/>
  </p:clrMapOvr>
</p:sld>
</file>

<file path=ppt/slides/slide1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6AB5BC-0282-8153-1CDC-2A9AA42CC3A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E811853B-CD14-8E22-B0E4-69253D4CC9B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11853B-CD14-8E22-B0E4-69253D4CC9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6E6F01A-5352-6768-E842-21884502A2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Gantt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88BFC829-4AB9-5814-32A3-11BF6520F6DF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98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BF2ABFBB-5D41-3EAC-4B6F-82BB6254AC1F}"/>
              </a:ext>
            </a:extLst>
          </p:cNvPr>
          <p:cNvSpPr txBox="1"/>
          <p:nvPr/>
        </p:nvSpPr>
        <p:spPr>
          <a:xfrm>
            <a:off x="812675" y="5393004"/>
            <a:ext cx="168266" cy="16826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wrap="none" rtlCol="0">
            <a:noAutofit/>
          </a:bodyPr>
          <a:lstStyle/>
          <a:p>
            <a:pPr>
              <a:spcBef>
                <a:spcPts val="165"/>
              </a:spcBef>
              <a:spcAft>
                <a:spcPts val="165"/>
              </a:spcAft>
            </a:pPr>
            <a:endParaRPr lang="en-IN" sz="1200" dirty="0"/>
          </a:p>
        </p:txBody>
      </p:sp>
      <p:sp>
        <p:nvSpPr>
          <p:cNvPr id="98" name="Shape2_20220106_182608">
            <a:extLst>
              <a:ext uri="{FF2B5EF4-FFF2-40B4-BE49-F238E27FC236}">
                <a16:creationId xmlns:a16="http://schemas.microsoft.com/office/drawing/2014/main" id="{8B546E78-57B5-AC1B-CF96-5B610F47422E}"/>
              </a:ext>
            </a:extLst>
          </p:cNvPr>
          <p:cNvSpPr/>
          <p:nvPr/>
        </p:nvSpPr>
        <p:spPr>
          <a:xfrm>
            <a:off x="1030673" y="5396347"/>
            <a:ext cx="965008" cy="161583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IN" sz="105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F39ACA69-2093-385C-12A0-B4F2B1ED881C}"/>
              </a:ext>
            </a:extLst>
          </p:cNvPr>
          <p:cNvSpPr txBox="1"/>
          <p:nvPr/>
        </p:nvSpPr>
        <p:spPr>
          <a:xfrm>
            <a:off x="2617900" y="5393004"/>
            <a:ext cx="168266" cy="16826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wrap="none" rtlCol="0">
            <a:noAutofit/>
          </a:bodyPr>
          <a:lstStyle/>
          <a:p>
            <a:pPr>
              <a:spcBef>
                <a:spcPts val="165"/>
              </a:spcBef>
              <a:spcAft>
                <a:spcPts val="165"/>
              </a:spcAft>
            </a:pPr>
            <a:endParaRPr lang="en-IN" sz="1200" dirty="0"/>
          </a:p>
        </p:txBody>
      </p:sp>
      <p:sp>
        <p:nvSpPr>
          <p:cNvPr id="100" name="Shape3_20220106_182608">
            <a:extLst>
              <a:ext uri="{FF2B5EF4-FFF2-40B4-BE49-F238E27FC236}">
                <a16:creationId xmlns:a16="http://schemas.microsoft.com/office/drawing/2014/main" id="{6ECBD99C-46BC-92DF-4569-B468C2DCEB8B}"/>
              </a:ext>
            </a:extLst>
          </p:cNvPr>
          <p:cNvSpPr/>
          <p:nvPr/>
        </p:nvSpPr>
        <p:spPr>
          <a:xfrm>
            <a:off x="2835899" y="5396347"/>
            <a:ext cx="965008" cy="161583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IN" sz="105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196BA4EB-CE73-9AB3-85F0-DF5D3FE2E149}"/>
              </a:ext>
            </a:extLst>
          </p:cNvPr>
          <p:cNvSpPr txBox="1"/>
          <p:nvPr/>
        </p:nvSpPr>
        <p:spPr>
          <a:xfrm>
            <a:off x="4423126" y="5393004"/>
            <a:ext cx="168266" cy="168266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wrap="none" rtlCol="0">
            <a:noAutofit/>
          </a:bodyPr>
          <a:lstStyle/>
          <a:p>
            <a:pPr>
              <a:spcBef>
                <a:spcPts val="165"/>
              </a:spcBef>
              <a:spcAft>
                <a:spcPts val="165"/>
              </a:spcAft>
            </a:pPr>
            <a:endParaRPr lang="en-IN" sz="1200" dirty="0"/>
          </a:p>
        </p:txBody>
      </p:sp>
      <p:sp>
        <p:nvSpPr>
          <p:cNvPr id="102" name="Shape4_20220106_182608">
            <a:extLst>
              <a:ext uri="{FF2B5EF4-FFF2-40B4-BE49-F238E27FC236}">
                <a16:creationId xmlns:a16="http://schemas.microsoft.com/office/drawing/2014/main" id="{31238E16-19BF-F427-FB2C-56906F0DDED1}"/>
              </a:ext>
            </a:extLst>
          </p:cNvPr>
          <p:cNvSpPr/>
          <p:nvPr/>
        </p:nvSpPr>
        <p:spPr>
          <a:xfrm>
            <a:off x="4641125" y="5396347"/>
            <a:ext cx="965008" cy="161583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IN" sz="105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AF41D994-9BD6-2E32-56AC-3F384F57CDAA}"/>
              </a:ext>
            </a:extLst>
          </p:cNvPr>
          <p:cNvSpPr txBox="1"/>
          <p:nvPr/>
        </p:nvSpPr>
        <p:spPr>
          <a:xfrm>
            <a:off x="6228353" y="5393004"/>
            <a:ext cx="168266" cy="168266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wrap="none" rtlCol="0">
            <a:noAutofit/>
          </a:bodyPr>
          <a:lstStyle/>
          <a:p>
            <a:pPr>
              <a:spcBef>
                <a:spcPts val="165"/>
              </a:spcBef>
              <a:spcAft>
                <a:spcPts val="165"/>
              </a:spcAft>
            </a:pPr>
            <a:endParaRPr lang="en-IN" sz="1200" dirty="0"/>
          </a:p>
        </p:txBody>
      </p:sp>
      <p:sp>
        <p:nvSpPr>
          <p:cNvPr id="104" name="Shape5_20220106_182608">
            <a:extLst>
              <a:ext uri="{FF2B5EF4-FFF2-40B4-BE49-F238E27FC236}">
                <a16:creationId xmlns:a16="http://schemas.microsoft.com/office/drawing/2014/main" id="{E2F33A06-3C28-83A1-D35B-11167CFDAAB5}"/>
              </a:ext>
            </a:extLst>
          </p:cNvPr>
          <p:cNvSpPr/>
          <p:nvPr/>
        </p:nvSpPr>
        <p:spPr>
          <a:xfrm>
            <a:off x="6446351" y="5396347"/>
            <a:ext cx="965008" cy="161583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IN" sz="105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105" name="Shape0_20220317_095253">
            <a:extLst>
              <a:ext uri="{FF2B5EF4-FFF2-40B4-BE49-F238E27FC236}">
                <a16:creationId xmlns:a16="http://schemas.microsoft.com/office/drawing/2014/main" id="{B48E4131-F878-CCFF-D3FF-15B26871F96C}"/>
              </a:ext>
            </a:extLst>
          </p:cNvPr>
          <p:cNvSpPr txBox="1"/>
          <p:nvPr/>
        </p:nvSpPr>
        <p:spPr>
          <a:xfrm>
            <a:off x="8033578" y="5393004"/>
            <a:ext cx="168266" cy="168266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txBody>
          <a:bodyPr wrap="none" rtlCol="0">
            <a:noAutofit/>
          </a:bodyPr>
          <a:lstStyle/>
          <a:p>
            <a:pPr>
              <a:spcBef>
                <a:spcPts val="165"/>
              </a:spcBef>
              <a:spcAft>
                <a:spcPts val="165"/>
              </a:spcAft>
            </a:pPr>
            <a:endParaRPr lang="en-IN" sz="1200" dirty="0"/>
          </a:p>
        </p:txBody>
      </p:sp>
      <p:sp>
        <p:nvSpPr>
          <p:cNvPr id="106" name="Shape6_20220106_182608">
            <a:extLst>
              <a:ext uri="{FF2B5EF4-FFF2-40B4-BE49-F238E27FC236}">
                <a16:creationId xmlns:a16="http://schemas.microsoft.com/office/drawing/2014/main" id="{EB14D785-D7DE-5205-FE50-8AE9D74E6C24}"/>
              </a:ext>
            </a:extLst>
          </p:cNvPr>
          <p:cNvSpPr/>
          <p:nvPr/>
        </p:nvSpPr>
        <p:spPr>
          <a:xfrm>
            <a:off x="8251578" y="5396347"/>
            <a:ext cx="965008" cy="161583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IN" sz="105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EB686035-A5A1-CF4F-0C7D-3D9A73046F2C}"/>
              </a:ext>
            </a:extLst>
          </p:cNvPr>
          <p:cNvSpPr txBox="1"/>
          <p:nvPr/>
        </p:nvSpPr>
        <p:spPr>
          <a:xfrm>
            <a:off x="9838804" y="5393004"/>
            <a:ext cx="168266" cy="168266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txBody>
          <a:bodyPr wrap="none" rtlCol="0">
            <a:noAutofit/>
          </a:bodyPr>
          <a:lstStyle/>
          <a:p>
            <a:pPr>
              <a:spcBef>
                <a:spcPts val="165"/>
              </a:spcBef>
              <a:spcAft>
                <a:spcPts val="165"/>
              </a:spcAft>
            </a:pPr>
            <a:endParaRPr lang="en-IN" sz="1200" dirty="0"/>
          </a:p>
        </p:txBody>
      </p:sp>
      <p:sp>
        <p:nvSpPr>
          <p:cNvPr id="108" name="Shape7_20220106_182608">
            <a:extLst>
              <a:ext uri="{FF2B5EF4-FFF2-40B4-BE49-F238E27FC236}">
                <a16:creationId xmlns:a16="http://schemas.microsoft.com/office/drawing/2014/main" id="{2F56837F-534A-CBEA-6BEC-053F1931F099}"/>
              </a:ext>
            </a:extLst>
          </p:cNvPr>
          <p:cNvSpPr/>
          <p:nvPr/>
        </p:nvSpPr>
        <p:spPr>
          <a:xfrm>
            <a:off x="10056801" y="5396347"/>
            <a:ext cx="965008" cy="161583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IN" sz="105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B528D680-9DA2-779F-D04C-8C967239BCAD}"/>
              </a:ext>
            </a:extLst>
          </p:cNvPr>
          <p:cNvSpPr txBox="1"/>
          <p:nvPr/>
        </p:nvSpPr>
        <p:spPr>
          <a:xfrm>
            <a:off x="1990688" y="1288659"/>
            <a:ext cx="780295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Title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B8F87051-7DA4-A7DF-8641-12ED60275761}"/>
              </a:ext>
            </a:extLst>
          </p:cNvPr>
          <p:cNvSpPr txBox="1"/>
          <p:nvPr/>
        </p:nvSpPr>
        <p:spPr>
          <a:xfrm>
            <a:off x="2770982" y="1288659"/>
            <a:ext cx="780295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Title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E8DE5CCB-E853-5E89-5C06-A4B4CA5E4168}"/>
              </a:ext>
            </a:extLst>
          </p:cNvPr>
          <p:cNvSpPr txBox="1"/>
          <p:nvPr/>
        </p:nvSpPr>
        <p:spPr>
          <a:xfrm>
            <a:off x="3551277" y="1288659"/>
            <a:ext cx="780295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Title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2D354307-DC32-412B-2EC2-23DE4F6C9B88}"/>
              </a:ext>
            </a:extLst>
          </p:cNvPr>
          <p:cNvSpPr txBox="1"/>
          <p:nvPr/>
        </p:nvSpPr>
        <p:spPr>
          <a:xfrm>
            <a:off x="4331572" y="1288659"/>
            <a:ext cx="780295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Title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1C6645AC-F0CA-BF3A-016B-261345C60927}"/>
              </a:ext>
            </a:extLst>
          </p:cNvPr>
          <p:cNvSpPr txBox="1"/>
          <p:nvPr/>
        </p:nvSpPr>
        <p:spPr>
          <a:xfrm>
            <a:off x="5111867" y="1288659"/>
            <a:ext cx="780295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Title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E6E9DBCA-3EBC-964D-FD89-FB6F76C61C35}"/>
              </a:ext>
            </a:extLst>
          </p:cNvPr>
          <p:cNvSpPr txBox="1"/>
          <p:nvPr/>
        </p:nvSpPr>
        <p:spPr>
          <a:xfrm>
            <a:off x="5892162" y="1288659"/>
            <a:ext cx="780295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Title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373CD4AA-01F8-3DCF-7068-6D76E7CEF186}"/>
              </a:ext>
            </a:extLst>
          </p:cNvPr>
          <p:cNvSpPr txBox="1"/>
          <p:nvPr/>
        </p:nvSpPr>
        <p:spPr>
          <a:xfrm>
            <a:off x="6672456" y="1288659"/>
            <a:ext cx="780295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Title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5E103CB8-CDC5-1A62-73D8-D79B1C5C648A}"/>
              </a:ext>
            </a:extLst>
          </p:cNvPr>
          <p:cNvSpPr txBox="1"/>
          <p:nvPr/>
        </p:nvSpPr>
        <p:spPr>
          <a:xfrm>
            <a:off x="7452752" y="1288659"/>
            <a:ext cx="780295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Title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637C8D4E-2646-DF0F-7ED8-27D53F6ED50A}"/>
              </a:ext>
            </a:extLst>
          </p:cNvPr>
          <p:cNvSpPr txBox="1"/>
          <p:nvPr/>
        </p:nvSpPr>
        <p:spPr>
          <a:xfrm>
            <a:off x="8233045" y="1288659"/>
            <a:ext cx="780295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Title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280CF553-81C3-5892-58BE-7C9817F0F0DA}"/>
              </a:ext>
            </a:extLst>
          </p:cNvPr>
          <p:cNvSpPr txBox="1"/>
          <p:nvPr/>
        </p:nvSpPr>
        <p:spPr>
          <a:xfrm>
            <a:off x="9013340" y="1288659"/>
            <a:ext cx="780295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Title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B1E5E90E-1237-2E0B-23C2-8555C0108F48}"/>
              </a:ext>
            </a:extLst>
          </p:cNvPr>
          <p:cNvSpPr txBox="1"/>
          <p:nvPr/>
        </p:nvSpPr>
        <p:spPr>
          <a:xfrm>
            <a:off x="9793636" y="1288659"/>
            <a:ext cx="780295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Pts val="1400"/>
              <a:buFont typeface="Arial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Arial"/>
                <a:cs typeface="Arial"/>
                <a:sym typeface="Arial"/>
              </a:rPr>
              <a:t>Title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Arial"/>
              <a:cs typeface="Arial"/>
              <a:sym typeface="Arial"/>
            </a:endParaRP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F5C80C73-3F53-BE14-42FD-C7D0E329D045}"/>
              </a:ext>
            </a:extLst>
          </p:cNvPr>
          <p:cNvSpPr txBox="1"/>
          <p:nvPr/>
        </p:nvSpPr>
        <p:spPr>
          <a:xfrm>
            <a:off x="10573931" y="1288659"/>
            <a:ext cx="780295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Pts val="1400"/>
              <a:buFont typeface="Arial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Arial"/>
                <a:cs typeface="Arial"/>
                <a:sym typeface="Arial"/>
              </a:rPr>
              <a:t>Title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cxnSp>
        <p:nvCxnSpPr>
          <p:cNvPr id="136" name="Straight Connector 135">
            <a:extLst>
              <a:ext uri="{FF2B5EF4-FFF2-40B4-BE49-F238E27FC236}">
                <a16:creationId xmlns:a16="http://schemas.microsoft.com/office/drawing/2014/main" id="{C5AA2D3B-8CCD-88E9-151C-63A0FB080B0B}"/>
              </a:ext>
            </a:extLst>
          </p:cNvPr>
          <p:cNvCxnSpPr/>
          <p:nvPr/>
        </p:nvCxnSpPr>
        <p:spPr>
          <a:xfrm>
            <a:off x="776896" y="1597443"/>
            <a:ext cx="1057733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0" name="Straight Connector 149">
            <a:extLst>
              <a:ext uri="{FF2B5EF4-FFF2-40B4-BE49-F238E27FC236}">
                <a16:creationId xmlns:a16="http://schemas.microsoft.com/office/drawing/2014/main" id="{F00FB042-BE51-520E-2A08-8C38F6BD993C}"/>
              </a:ext>
            </a:extLst>
          </p:cNvPr>
          <p:cNvCxnSpPr/>
          <p:nvPr/>
        </p:nvCxnSpPr>
        <p:spPr>
          <a:xfrm>
            <a:off x="776896" y="1982100"/>
            <a:ext cx="10577330" cy="0"/>
          </a:xfrm>
          <a:prstGeom prst="line">
            <a:avLst/>
          </a:prstGeom>
          <a:ln w="952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Straight Connector 163">
            <a:extLst>
              <a:ext uri="{FF2B5EF4-FFF2-40B4-BE49-F238E27FC236}">
                <a16:creationId xmlns:a16="http://schemas.microsoft.com/office/drawing/2014/main" id="{62D4A707-FEBB-7C33-0D81-56FEA00DFD3D}"/>
              </a:ext>
            </a:extLst>
          </p:cNvPr>
          <p:cNvCxnSpPr/>
          <p:nvPr/>
        </p:nvCxnSpPr>
        <p:spPr>
          <a:xfrm>
            <a:off x="776896" y="2366757"/>
            <a:ext cx="10577330" cy="0"/>
          </a:xfrm>
          <a:prstGeom prst="line">
            <a:avLst/>
          </a:prstGeom>
          <a:ln w="952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Straight Connector 177">
            <a:extLst>
              <a:ext uri="{FF2B5EF4-FFF2-40B4-BE49-F238E27FC236}">
                <a16:creationId xmlns:a16="http://schemas.microsoft.com/office/drawing/2014/main" id="{88E288E0-1F29-0B23-B13D-A99FCD7C2584}"/>
              </a:ext>
            </a:extLst>
          </p:cNvPr>
          <p:cNvCxnSpPr/>
          <p:nvPr/>
        </p:nvCxnSpPr>
        <p:spPr>
          <a:xfrm>
            <a:off x="776896" y="2751414"/>
            <a:ext cx="10577330" cy="0"/>
          </a:xfrm>
          <a:prstGeom prst="line">
            <a:avLst/>
          </a:prstGeom>
          <a:ln w="952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Straight Connector 191">
            <a:extLst>
              <a:ext uri="{FF2B5EF4-FFF2-40B4-BE49-F238E27FC236}">
                <a16:creationId xmlns:a16="http://schemas.microsoft.com/office/drawing/2014/main" id="{ABC5BFA2-08C1-D93C-12AE-7B94C327365C}"/>
              </a:ext>
            </a:extLst>
          </p:cNvPr>
          <p:cNvCxnSpPr/>
          <p:nvPr/>
        </p:nvCxnSpPr>
        <p:spPr>
          <a:xfrm>
            <a:off x="776896" y="3136071"/>
            <a:ext cx="10577330" cy="0"/>
          </a:xfrm>
          <a:prstGeom prst="line">
            <a:avLst/>
          </a:prstGeom>
          <a:ln w="952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Straight Connector 205">
            <a:extLst>
              <a:ext uri="{FF2B5EF4-FFF2-40B4-BE49-F238E27FC236}">
                <a16:creationId xmlns:a16="http://schemas.microsoft.com/office/drawing/2014/main" id="{45D2AF29-A2AC-BF11-6445-B7F835A9C8EB}"/>
              </a:ext>
            </a:extLst>
          </p:cNvPr>
          <p:cNvCxnSpPr/>
          <p:nvPr/>
        </p:nvCxnSpPr>
        <p:spPr>
          <a:xfrm>
            <a:off x="776896" y="3520728"/>
            <a:ext cx="10577330" cy="0"/>
          </a:xfrm>
          <a:prstGeom prst="line">
            <a:avLst/>
          </a:prstGeom>
          <a:ln w="952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0" name="Straight Connector 219">
            <a:extLst>
              <a:ext uri="{FF2B5EF4-FFF2-40B4-BE49-F238E27FC236}">
                <a16:creationId xmlns:a16="http://schemas.microsoft.com/office/drawing/2014/main" id="{19EFFB54-0F61-D819-8321-605ECB1FAC16}"/>
              </a:ext>
            </a:extLst>
          </p:cNvPr>
          <p:cNvCxnSpPr/>
          <p:nvPr/>
        </p:nvCxnSpPr>
        <p:spPr>
          <a:xfrm>
            <a:off x="776896" y="3905384"/>
            <a:ext cx="10577330" cy="0"/>
          </a:xfrm>
          <a:prstGeom prst="line">
            <a:avLst/>
          </a:prstGeom>
          <a:ln w="952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4" name="Straight Connector 233">
            <a:extLst>
              <a:ext uri="{FF2B5EF4-FFF2-40B4-BE49-F238E27FC236}">
                <a16:creationId xmlns:a16="http://schemas.microsoft.com/office/drawing/2014/main" id="{5131FEEC-FC7C-5617-F372-D495E31A8275}"/>
              </a:ext>
            </a:extLst>
          </p:cNvPr>
          <p:cNvCxnSpPr/>
          <p:nvPr/>
        </p:nvCxnSpPr>
        <p:spPr>
          <a:xfrm>
            <a:off x="776896" y="4290041"/>
            <a:ext cx="10577330" cy="0"/>
          </a:xfrm>
          <a:prstGeom prst="line">
            <a:avLst/>
          </a:prstGeom>
          <a:ln w="952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TextBox 108">
            <a:extLst>
              <a:ext uri="{FF2B5EF4-FFF2-40B4-BE49-F238E27FC236}">
                <a16:creationId xmlns:a16="http://schemas.microsoft.com/office/drawing/2014/main" id="{A584C94A-B707-C1A4-8E35-6CF037E0BFA5}"/>
              </a:ext>
            </a:extLst>
          </p:cNvPr>
          <p:cNvSpPr txBox="1"/>
          <p:nvPr/>
        </p:nvSpPr>
        <p:spPr>
          <a:xfrm>
            <a:off x="776896" y="1288659"/>
            <a:ext cx="1213792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Title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5A045050-E2B0-452F-0D34-F87A51E8A2FD}"/>
              </a:ext>
            </a:extLst>
          </p:cNvPr>
          <p:cNvSpPr txBox="1"/>
          <p:nvPr/>
        </p:nvSpPr>
        <p:spPr>
          <a:xfrm>
            <a:off x="776896" y="1649613"/>
            <a:ext cx="1213792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01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7" name="TextBox 136">
            <a:extLst>
              <a:ext uri="{FF2B5EF4-FFF2-40B4-BE49-F238E27FC236}">
                <a16:creationId xmlns:a16="http://schemas.microsoft.com/office/drawing/2014/main" id="{B515DC61-9FFB-7118-E256-D1C97EED9603}"/>
              </a:ext>
            </a:extLst>
          </p:cNvPr>
          <p:cNvSpPr txBox="1"/>
          <p:nvPr/>
        </p:nvSpPr>
        <p:spPr>
          <a:xfrm>
            <a:off x="776896" y="2034270"/>
            <a:ext cx="1213792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96B0"/>
              </a:buClr>
              <a:buSzPts val="1400"/>
              <a:buFont typeface="Calibri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Arial" panose="020B0604020202020204" pitchFamily="34" charset="0"/>
                <a:sym typeface="Calibri"/>
              </a:rPr>
              <a:t>02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51" name="TextBox 150">
            <a:extLst>
              <a:ext uri="{FF2B5EF4-FFF2-40B4-BE49-F238E27FC236}">
                <a16:creationId xmlns:a16="http://schemas.microsoft.com/office/drawing/2014/main" id="{C7917609-6459-8405-C4F3-29770AACADB4}"/>
              </a:ext>
            </a:extLst>
          </p:cNvPr>
          <p:cNvSpPr txBox="1"/>
          <p:nvPr/>
        </p:nvSpPr>
        <p:spPr>
          <a:xfrm>
            <a:off x="776896" y="2418927"/>
            <a:ext cx="1213792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96B0"/>
              </a:buClr>
              <a:buSzPts val="1400"/>
              <a:buFont typeface="Calibri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Arial" panose="020B0604020202020204" pitchFamily="34" charset="0"/>
                <a:sym typeface="Calibri"/>
              </a:rPr>
              <a:t>03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65" name="TextBox 164">
            <a:extLst>
              <a:ext uri="{FF2B5EF4-FFF2-40B4-BE49-F238E27FC236}">
                <a16:creationId xmlns:a16="http://schemas.microsoft.com/office/drawing/2014/main" id="{87839132-DDC1-7006-11B7-310D7A8C0CD3}"/>
              </a:ext>
            </a:extLst>
          </p:cNvPr>
          <p:cNvSpPr txBox="1"/>
          <p:nvPr/>
        </p:nvSpPr>
        <p:spPr>
          <a:xfrm>
            <a:off x="776896" y="2803584"/>
            <a:ext cx="1213792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96B0"/>
              </a:buClr>
              <a:buSzPts val="1400"/>
              <a:buFont typeface="Calibri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Arial" panose="020B0604020202020204" pitchFamily="34" charset="0"/>
                <a:sym typeface="Calibri"/>
              </a:rPr>
              <a:t>04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79" name="TextBox 178">
            <a:extLst>
              <a:ext uri="{FF2B5EF4-FFF2-40B4-BE49-F238E27FC236}">
                <a16:creationId xmlns:a16="http://schemas.microsoft.com/office/drawing/2014/main" id="{D0EE959A-E776-BE57-5BDB-2258B9B78949}"/>
              </a:ext>
            </a:extLst>
          </p:cNvPr>
          <p:cNvSpPr txBox="1"/>
          <p:nvPr/>
        </p:nvSpPr>
        <p:spPr>
          <a:xfrm>
            <a:off x="776896" y="3188241"/>
            <a:ext cx="1213792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96B0"/>
              </a:buClr>
              <a:buSzPts val="1400"/>
              <a:buFont typeface="Calibri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Arial" panose="020B0604020202020204" pitchFamily="34" charset="0"/>
                <a:sym typeface="Calibri"/>
              </a:rPr>
              <a:t>05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93" name="TextBox 192">
            <a:extLst>
              <a:ext uri="{FF2B5EF4-FFF2-40B4-BE49-F238E27FC236}">
                <a16:creationId xmlns:a16="http://schemas.microsoft.com/office/drawing/2014/main" id="{B0072B51-B712-4E84-FFFA-F38B70600184}"/>
              </a:ext>
            </a:extLst>
          </p:cNvPr>
          <p:cNvSpPr txBox="1"/>
          <p:nvPr/>
        </p:nvSpPr>
        <p:spPr>
          <a:xfrm>
            <a:off x="776896" y="3572897"/>
            <a:ext cx="1213792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96B0"/>
              </a:buClr>
              <a:buSzPts val="1400"/>
              <a:buFont typeface="Calibri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Arial" panose="020B0604020202020204" pitchFamily="34" charset="0"/>
                <a:sym typeface="Calibri"/>
              </a:rPr>
              <a:t>06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07" name="TextBox 206">
            <a:extLst>
              <a:ext uri="{FF2B5EF4-FFF2-40B4-BE49-F238E27FC236}">
                <a16:creationId xmlns:a16="http://schemas.microsoft.com/office/drawing/2014/main" id="{9EA87B79-9D72-9237-F8DA-3D6AE6A5E054}"/>
              </a:ext>
            </a:extLst>
          </p:cNvPr>
          <p:cNvSpPr txBox="1"/>
          <p:nvPr/>
        </p:nvSpPr>
        <p:spPr>
          <a:xfrm>
            <a:off x="776896" y="3957554"/>
            <a:ext cx="1213792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96B0"/>
              </a:buClr>
              <a:buSzPts val="1400"/>
              <a:buFont typeface="Calibri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Arial" panose="020B0604020202020204" pitchFamily="34" charset="0"/>
                <a:sym typeface="Calibri"/>
              </a:rPr>
              <a:t>07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21" name="TextBox 220">
            <a:extLst>
              <a:ext uri="{FF2B5EF4-FFF2-40B4-BE49-F238E27FC236}">
                <a16:creationId xmlns:a16="http://schemas.microsoft.com/office/drawing/2014/main" id="{FC3FE6EE-B4C1-1DBC-71E6-841AF6747706}"/>
              </a:ext>
            </a:extLst>
          </p:cNvPr>
          <p:cNvSpPr txBox="1"/>
          <p:nvPr/>
        </p:nvSpPr>
        <p:spPr>
          <a:xfrm>
            <a:off x="776896" y="4342211"/>
            <a:ext cx="1213792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96B0"/>
              </a:buClr>
              <a:buSzPts val="1400"/>
              <a:buFont typeface="Calibri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Arial" panose="020B0604020202020204" pitchFamily="34" charset="0"/>
                <a:sym typeface="Calibri"/>
              </a:rPr>
              <a:t>08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35" name="TextBox 234">
            <a:extLst>
              <a:ext uri="{FF2B5EF4-FFF2-40B4-BE49-F238E27FC236}">
                <a16:creationId xmlns:a16="http://schemas.microsoft.com/office/drawing/2014/main" id="{DF39D2F4-5512-C104-E9E2-D087E55333FC}"/>
              </a:ext>
            </a:extLst>
          </p:cNvPr>
          <p:cNvSpPr txBox="1"/>
          <p:nvPr/>
        </p:nvSpPr>
        <p:spPr>
          <a:xfrm>
            <a:off x="776896" y="4726868"/>
            <a:ext cx="1213792" cy="304049"/>
          </a:xfrm>
          <a:prstGeom prst="rect">
            <a:avLst/>
          </a:prstGeom>
          <a:noFill/>
        </p:spPr>
        <p:txBody>
          <a:bodyPr vert="horz" lIns="88670" tIns="59114" rIns="88670" bIns="59114" rtlCol="0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96B0"/>
              </a:buClr>
              <a:buSzPts val="1400"/>
              <a:buFont typeface="Calibri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/>
                <a:cs typeface="Arial" panose="020B0604020202020204" pitchFamily="34" charset="0"/>
                <a:sym typeface="Calibri"/>
              </a:rPr>
              <a:t>09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cxnSp>
        <p:nvCxnSpPr>
          <p:cNvPr id="248" name="Straight Connector 247">
            <a:extLst>
              <a:ext uri="{FF2B5EF4-FFF2-40B4-BE49-F238E27FC236}">
                <a16:creationId xmlns:a16="http://schemas.microsoft.com/office/drawing/2014/main" id="{7B2DB8BC-125F-9FD7-A8F3-A61D801BF0CA}"/>
              </a:ext>
            </a:extLst>
          </p:cNvPr>
          <p:cNvCxnSpPr/>
          <p:nvPr/>
        </p:nvCxnSpPr>
        <p:spPr>
          <a:xfrm>
            <a:off x="776896" y="4674698"/>
            <a:ext cx="10577330" cy="0"/>
          </a:xfrm>
          <a:prstGeom prst="line">
            <a:avLst/>
          </a:prstGeom>
          <a:ln w="952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4" name="Shape1_20220526_111819">
            <a:extLst>
              <a:ext uri="{FF2B5EF4-FFF2-40B4-BE49-F238E27FC236}">
                <a16:creationId xmlns:a16="http://schemas.microsoft.com/office/drawing/2014/main" id="{DA993F33-D94E-FC99-CB89-6D80F55E77E7}"/>
              </a:ext>
            </a:extLst>
          </p:cNvPr>
          <p:cNvSpPr/>
          <p:nvPr/>
        </p:nvSpPr>
        <p:spPr>
          <a:xfrm>
            <a:off x="4752944" y="2825118"/>
            <a:ext cx="1534951" cy="28279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150125" tIns="75042" rIns="150125" bIns="75042" anchor="t" anchorCtr="0">
            <a:noAutofit/>
          </a:bodyPr>
          <a:lstStyle/>
          <a:p>
            <a:pPr algn="ctr"/>
            <a:endParaRPr lang="en-IN" sz="1100" dirty="0"/>
          </a:p>
        </p:txBody>
      </p:sp>
      <p:sp>
        <p:nvSpPr>
          <p:cNvPr id="266" name="Shape1_20220526_150631">
            <a:extLst>
              <a:ext uri="{FF2B5EF4-FFF2-40B4-BE49-F238E27FC236}">
                <a16:creationId xmlns:a16="http://schemas.microsoft.com/office/drawing/2014/main" id="{3F57851A-EE0C-C232-40C3-187D93BA73CE}"/>
              </a:ext>
            </a:extLst>
          </p:cNvPr>
          <p:cNvSpPr/>
          <p:nvPr/>
        </p:nvSpPr>
        <p:spPr>
          <a:xfrm>
            <a:off x="2451228" y="1671867"/>
            <a:ext cx="1355008" cy="28279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50125" tIns="75042" rIns="150125" bIns="75042" anchor="t" anchorCtr="0">
            <a:noAutofit/>
          </a:bodyPr>
          <a:lstStyle/>
          <a:p>
            <a:pPr algn="ctr"/>
            <a:endParaRPr lang="en-IN" sz="1100" dirty="0"/>
          </a:p>
        </p:txBody>
      </p:sp>
      <p:sp>
        <p:nvSpPr>
          <p:cNvPr id="267" name="Shape0_20220526_150631">
            <a:extLst>
              <a:ext uri="{FF2B5EF4-FFF2-40B4-BE49-F238E27FC236}">
                <a16:creationId xmlns:a16="http://schemas.microsoft.com/office/drawing/2014/main" id="{02D7D42D-6AB5-EB1F-1EC0-E8331539BAFE}"/>
              </a:ext>
            </a:extLst>
          </p:cNvPr>
          <p:cNvSpPr/>
          <p:nvPr/>
        </p:nvSpPr>
        <p:spPr>
          <a:xfrm>
            <a:off x="9160895" y="1671867"/>
            <a:ext cx="1731853" cy="28279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50125" tIns="75042" rIns="150125" bIns="75042" anchor="t" anchorCtr="0">
            <a:noAutofit/>
          </a:bodyPr>
          <a:lstStyle/>
          <a:p>
            <a:pPr algn="ctr"/>
            <a:endParaRPr lang="en-IN" sz="1100" dirty="0"/>
          </a:p>
        </p:txBody>
      </p:sp>
      <p:sp>
        <p:nvSpPr>
          <p:cNvPr id="257" name="Shape0_20220526_150629">
            <a:extLst>
              <a:ext uri="{FF2B5EF4-FFF2-40B4-BE49-F238E27FC236}">
                <a16:creationId xmlns:a16="http://schemas.microsoft.com/office/drawing/2014/main" id="{2E7B1C35-7773-651B-646E-81BCAA7CBD98}"/>
              </a:ext>
            </a:extLst>
          </p:cNvPr>
          <p:cNvSpPr/>
          <p:nvPr/>
        </p:nvSpPr>
        <p:spPr>
          <a:xfrm>
            <a:off x="3383438" y="2056283"/>
            <a:ext cx="781264" cy="28279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50125" tIns="75042" rIns="150125" bIns="75042" anchor="t" anchorCtr="0">
            <a:noAutofit/>
          </a:bodyPr>
          <a:lstStyle/>
          <a:p>
            <a:pPr algn="ctr"/>
            <a:endParaRPr lang="en-IN" sz="1100" dirty="0"/>
          </a:p>
        </p:txBody>
      </p:sp>
      <p:sp>
        <p:nvSpPr>
          <p:cNvPr id="258" name="Shape0_20210610_213245">
            <a:extLst>
              <a:ext uri="{FF2B5EF4-FFF2-40B4-BE49-F238E27FC236}">
                <a16:creationId xmlns:a16="http://schemas.microsoft.com/office/drawing/2014/main" id="{629AE61D-1FD7-1461-08AC-D184E9787279}"/>
              </a:ext>
            </a:extLst>
          </p:cNvPr>
          <p:cNvSpPr/>
          <p:nvPr/>
        </p:nvSpPr>
        <p:spPr>
          <a:xfrm>
            <a:off x="5589354" y="2056283"/>
            <a:ext cx="1240829" cy="28279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50125" tIns="75042" rIns="150125" bIns="75042" anchor="t" anchorCtr="0">
            <a:noAutofit/>
          </a:bodyPr>
          <a:lstStyle/>
          <a:p>
            <a:pPr algn="ctr"/>
            <a:endParaRPr lang="en-IN" sz="1100" dirty="0"/>
          </a:p>
        </p:txBody>
      </p:sp>
      <p:sp>
        <p:nvSpPr>
          <p:cNvPr id="259" name="Shape1_20220526_150629">
            <a:extLst>
              <a:ext uri="{FF2B5EF4-FFF2-40B4-BE49-F238E27FC236}">
                <a16:creationId xmlns:a16="http://schemas.microsoft.com/office/drawing/2014/main" id="{F2DE050D-F102-2D4E-575B-7B0113648B43}"/>
              </a:ext>
            </a:extLst>
          </p:cNvPr>
          <p:cNvSpPr/>
          <p:nvPr/>
        </p:nvSpPr>
        <p:spPr>
          <a:xfrm>
            <a:off x="4036021" y="2440701"/>
            <a:ext cx="4044184" cy="28279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150125" tIns="75042" rIns="150125" bIns="75042" anchor="t" anchorCtr="0">
            <a:noAutofit/>
          </a:bodyPr>
          <a:lstStyle/>
          <a:p>
            <a:pPr algn="ctr"/>
            <a:endParaRPr lang="en-IN" sz="1100" dirty="0"/>
          </a:p>
        </p:txBody>
      </p:sp>
      <p:sp>
        <p:nvSpPr>
          <p:cNvPr id="260" name="Shape2_20220526_111819">
            <a:extLst>
              <a:ext uri="{FF2B5EF4-FFF2-40B4-BE49-F238E27FC236}">
                <a16:creationId xmlns:a16="http://schemas.microsoft.com/office/drawing/2014/main" id="{869DE089-735E-4CD0-EB89-CC6FFB0DE1EA}"/>
              </a:ext>
            </a:extLst>
          </p:cNvPr>
          <p:cNvSpPr/>
          <p:nvPr/>
        </p:nvSpPr>
        <p:spPr>
          <a:xfrm>
            <a:off x="7887186" y="2825118"/>
            <a:ext cx="1167298" cy="28279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150125" tIns="75042" rIns="150125" bIns="75042" anchor="t" anchorCtr="0">
            <a:noAutofit/>
          </a:bodyPr>
          <a:lstStyle/>
          <a:p>
            <a:pPr algn="ctr"/>
            <a:endParaRPr lang="en-IN" sz="1100" dirty="0"/>
          </a:p>
        </p:txBody>
      </p:sp>
      <p:sp>
        <p:nvSpPr>
          <p:cNvPr id="261" name="Shape1_20220317_095306">
            <a:extLst>
              <a:ext uri="{FF2B5EF4-FFF2-40B4-BE49-F238E27FC236}">
                <a16:creationId xmlns:a16="http://schemas.microsoft.com/office/drawing/2014/main" id="{84A94D63-A210-9EC0-F05E-FA3B51658489}"/>
              </a:ext>
            </a:extLst>
          </p:cNvPr>
          <p:cNvSpPr/>
          <p:nvPr/>
        </p:nvSpPr>
        <p:spPr>
          <a:xfrm>
            <a:off x="6765848" y="3209532"/>
            <a:ext cx="4237203" cy="28279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150125" tIns="75042" rIns="150125" bIns="75042" anchor="t" anchorCtr="0">
            <a:noAutofit/>
          </a:bodyPr>
          <a:lstStyle/>
          <a:p>
            <a:pPr algn="ctr"/>
            <a:endParaRPr lang="en-IN" sz="1100" dirty="0"/>
          </a:p>
        </p:txBody>
      </p:sp>
      <p:sp>
        <p:nvSpPr>
          <p:cNvPr id="262" name="Shape0_20210610_213315">
            <a:extLst>
              <a:ext uri="{FF2B5EF4-FFF2-40B4-BE49-F238E27FC236}">
                <a16:creationId xmlns:a16="http://schemas.microsoft.com/office/drawing/2014/main" id="{3CD8ECF7-1CFD-B627-127F-5C4A3D92C1AC}"/>
              </a:ext>
            </a:extLst>
          </p:cNvPr>
          <p:cNvSpPr/>
          <p:nvPr/>
        </p:nvSpPr>
        <p:spPr>
          <a:xfrm>
            <a:off x="4495585" y="3593947"/>
            <a:ext cx="1498186" cy="28279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150125" tIns="75042" rIns="150125" bIns="75042" anchor="t" anchorCtr="0">
            <a:noAutofit/>
          </a:bodyPr>
          <a:lstStyle/>
          <a:p>
            <a:pPr algn="ctr"/>
            <a:endParaRPr lang="en-IN" sz="1100" dirty="0"/>
          </a:p>
        </p:txBody>
      </p:sp>
      <p:sp>
        <p:nvSpPr>
          <p:cNvPr id="263" name="Shape3_20220526_111819">
            <a:extLst>
              <a:ext uri="{FF2B5EF4-FFF2-40B4-BE49-F238E27FC236}">
                <a16:creationId xmlns:a16="http://schemas.microsoft.com/office/drawing/2014/main" id="{E4F4898B-8134-E5A8-BA70-E31DC7ACDDD3}"/>
              </a:ext>
            </a:extLst>
          </p:cNvPr>
          <p:cNvSpPr/>
          <p:nvPr/>
        </p:nvSpPr>
        <p:spPr>
          <a:xfrm>
            <a:off x="5497438" y="3978365"/>
            <a:ext cx="1691205" cy="28279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150125" tIns="75042" rIns="150125" bIns="75042" anchor="t" anchorCtr="0">
            <a:noAutofit/>
          </a:bodyPr>
          <a:lstStyle/>
          <a:p>
            <a:pPr algn="ctr"/>
            <a:endParaRPr lang="en-IN" sz="1100" dirty="0"/>
          </a:p>
        </p:txBody>
      </p:sp>
      <p:sp>
        <p:nvSpPr>
          <p:cNvPr id="264" name="Shape2_20210610_213240">
            <a:extLst>
              <a:ext uri="{FF2B5EF4-FFF2-40B4-BE49-F238E27FC236}">
                <a16:creationId xmlns:a16="http://schemas.microsoft.com/office/drawing/2014/main" id="{4ABE5AC2-1689-2DC0-2609-225426FDD881}"/>
              </a:ext>
            </a:extLst>
          </p:cNvPr>
          <p:cNvSpPr/>
          <p:nvPr/>
        </p:nvSpPr>
        <p:spPr>
          <a:xfrm>
            <a:off x="7078351" y="4362781"/>
            <a:ext cx="1314361" cy="28279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150125" tIns="75042" rIns="150125" bIns="75042" anchor="t" anchorCtr="0">
            <a:noAutofit/>
          </a:bodyPr>
          <a:lstStyle/>
          <a:p>
            <a:pPr algn="ctr"/>
            <a:endParaRPr lang="en-IN" sz="1100" dirty="0"/>
          </a:p>
        </p:txBody>
      </p:sp>
      <p:sp>
        <p:nvSpPr>
          <p:cNvPr id="265" name="Shape2_20220317_095306">
            <a:extLst>
              <a:ext uri="{FF2B5EF4-FFF2-40B4-BE49-F238E27FC236}">
                <a16:creationId xmlns:a16="http://schemas.microsoft.com/office/drawing/2014/main" id="{CBECA333-1114-CAD5-F426-2EF9FCEFBA53}"/>
              </a:ext>
            </a:extLst>
          </p:cNvPr>
          <p:cNvSpPr/>
          <p:nvPr/>
        </p:nvSpPr>
        <p:spPr>
          <a:xfrm>
            <a:off x="8687702" y="4747196"/>
            <a:ext cx="1680267" cy="28279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50125" tIns="75042" rIns="150125" bIns="75042" anchor="t" anchorCtr="0">
            <a:noAutofit/>
          </a:bodyPr>
          <a:lstStyle/>
          <a:p>
            <a:pPr algn="ctr"/>
            <a:endParaRPr lang="en-IN" sz="1100" dirty="0"/>
          </a:p>
        </p:txBody>
      </p:sp>
    </p:spTree>
    <p:extLst>
      <p:ext uri="{BB962C8B-B14F-4D97-AF65-F5344CB8AC3E}">
        <p14:creationId xmlns:p14="http://schemas.microsoft.com/office/powerpoint/2010/main" val="3898642984"/>
      </p:ext>
    </p:extLst>
  </p:cSld>
  <p:clrMapOvr>
    <a:masterClrMapping/>
  </p:clrMapOvr>
</p:sld>
</file>

<file path=ppt/slides/slide1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02B135-1AAF-CE9F-C26C-D17FBC9593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BC6B3FC7-A98F-DC99-2426-D28EC2A533E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C6B3FC7-A98F-DC99-2426-D28EC2A533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621F70E-B78D-C172-20ED-1EB3872A1C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Gantt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6788B507-1CFD-3F02-3D94-2D5034711DAE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99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9" name="Shape0_20220516_120635">
            <a:extLst>
              <a:ext uri="{FF2B5EF4-FFF2-40B4-BE49-F238E27FC236}">
                <a16:creationId xmlns:a16="http://schemas.microsoft.com/office/drawing/2014/main" id="{C19B3402-32F2-EE78-0DF8-1AF34BAD92E9}"/>
              </a:ext>
            </a:extLst>
          </p:cNvPr>
          <p:cNvSpPr/>
          <p:nvPr/>
        </p:nvSpPr>
        <p:spPr>
          <a:xfrm>
            <a:off x="805346" y="1241723"/>
            <a:ext cx="718167" cy="382126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501427">
              <a:defRPr/>
            </a:pPr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30" name="Shape1_20220425_170201">
            <a:extLst>
              <a:ext uri="{FF2B5EF4-FFF2-40B4-BE49-F238E27FC236}">
                <a16:creationId xmlns:a16="http://schemas.microsoft.com/office/drawing/2014/main" id="{8567D362-CE74-9E59-4590-D63B7308224D}"/>
              </a:ext>
            </a:extLst>
          </p:cNvPr>
          <p:cNvSpPr/>
          <p:nvPr/>
        </p:nvSpPr>
        <p:spPr>
          <a:xfrm>
            <a:off x="1701116" y="1241723"/>
            <a:ext cx="718167" cy="382126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501427">
              <a:defRPr/>
            </a:pPr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31" name="Shape1_20220516_120635">
            <a:extLst>
              <a:ext uri="{FF2B5EF4-FFF2-40B4-BE49-F238E27FC236}">
                <a16:creationId xmlns:a16="http://schemas.microsoft.com/office/drawing/2014/main" id="{BF6755F0-101D-8C74-00AC-FAC63B743064}"/>
              </a:ext>
            </a:extLst>
          </p:cNvPr>
          <p:cNvSpPr/>
          <p:nvPr/>
        </p:nvSpPr>
        <p:spPr>
          <a:xfrm>
            <a:off x="2596882" y="1241723"/>
            <a:ext cx="718167" cy="382126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501427">
              <a:defRPr/>
            </a:pPr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32" name="Shape2_20220425_170201">
            <a:extLst>
              <a:ext uri="{FF2B5EF4-FFF2-40B4-BE49-F238E27FC236}">
                <a16:creationId xmlns:a16="http://schemas.microsoft.com/office/drawing/2014/main" id="{052E2EB5-9F84-C3AD-4E88-0E6980348BF2}"/>
              </a:ext>
            </a:extLst>
          </p:cNvPr>
          <p:cNvSpPr/>
          <p:nvPr/>
        </p:nvSpPr>
        <p:spPr>
          <a:xfrm>
            <a:off x="3492654" y="1241723"/>
            <a:ext cx="718167" cy="382126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501427">
              <a:defRPr/>
            </a:pPr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33" name="Shape2_20220516_120635">
            <a:extLst>
              <a:ext uri="{FF2B5EF4-FFF2-40B4-BE49-F238E27FC236}">
                <a16:creationId xmlns:a16="http://schemas.microsoft.com/office/drawing/2014/main" id="{AFC4A959-D0D5-029D-0146-941788DB3CDE}"/>
              </a:ext>
            </a:extLst>
          </p:cNvPr>
          <p:cNvSpPr/>
          <p:nvPr/>
        </p:nvSpPr>
        <p:spPr>
          <a:xfrm>
            <a:off x="4388421" y="1241723"/>
            <a:ext cx="718167" cy="382126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501427">
              <a:defRPr/>
            </a:pPr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34" name="Shape3_20220425_170201">
            <a:extLst>
              <a:ext uri="{FF2B5EF4-FFF2-40B4-BE49-F238E27FC236}">
                <a16:creationId xmlns:a16="http://schemas.microsoft.com/office/drawing/2014/main" id="{9F928865-BDCE-9BAF-7147-75BE12E6395F}"/>
              </a:ext>
            </a:extLst>
          </p:cNvPr>
          <p:cNvSpPr/>
          <p:nvPr/>
        </p:nvSpPr>
        <p:spPr>
          <a:xfrm>
            <a:off x="5284190" y="1241723"/>
            <a:ext cx="718167" cy="382126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501427">
              <a:defRPr/>
            </a:pPr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35" name="Shape3_20220516_120635">
            <a:extLst>
              <a:ext uri="{FF2B5EF4-FFF2-40B4-BE49-F238E27FC236}">
                <a16:creationId xmlns:a16="http://schemas.microsoft.com/office/drawing/2014/main" id="{FE5E7F23-5F3B-BF8E-3BB4-7F7D799734E0}"/>
              </a:ext>
            </a:extLst>
          </p:cNvPr>
          <p:cNvSpPr/>
          <p:nvPr/>
        </p:nvSpPr>
        <p:spPr>
          <a:xfrm>
            <a:off x="6179959" y="1241723"/>
            <a:ext cx="718167" cy="382126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501427">
              <a:defRPr/>
            </a:pPr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36" name="Shape4_20220425_170201">
            <a:extLst>
              <a:ext uri="{FF2B5EF4-FFF2-40B4-BE49-F238E27FC236}">
                <a16:creationId xmlns:a16="http://schemas.microsoft.com/office/drawing/2014/main" id="{E52B2464-7AEE-7B0B-02A4-EA87F760D188}"/>
              </a:ext>
            </a:extLst>
          </p:cNvPr>
          <p:cNvSpPr/>
          <p:nvPr/>
        </p:nvSpPr>
        <p:spPr>
          <a:xfrm>
            <a:off x="7075726" y="1241723"/>
            <a:ext cx="718167" cy="382126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501427">
              <a:defRPr/>
            </a:pPr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37" name="Shape4_20220516_120635">
            <a:extLst>
              <a:ext uri="{FF2B5EF4-FFF2-40B4-BE49-F238E27FC236}">
                <a16:creationId xmlns:a16="http://schemas.microsoft.com/office/drawing/2014/main" id="{20360C88-235E-E385-A306-23EBA10FA839}"/>
              </a:ext>
            </a:extLst>
          </p:cNvPr>
          <p:cNvSpPr/>
          <p:nvPr/>
        </p:nvSpPr>
        <p:spPr>
          <a:xfrm>
            <a:off x="7971497" y="1241723"/>
            <a:ext cx="718167" cy="382126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501427">
              <a:defRPr/>
            </a:pPr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38" name="Shape5_20220425_170201">
            <a:extLst>
              <a:ext uri="{FF2B5EF4-FFF2-40B4-BE49-F238E27FC236}">
                <a16:creationId xmlns:a16="http://schemas.microsoft.com/office/drawing/2014/main" id="{1D3AE645-50C4-B57B-7DDD-01CDCE771428}"/>
              </a:ext>
            </a:extLst>
          </p:cNvPr>
          <p:cNvSpPr/>
          <p:nvPr/>
        </p:nvSpPr>
        <p:spPr>
          <a:xfrm>
            <a:off x="8867264" y="1241723"/>
            <a:ext cx="718167" cy="382126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501427">
              <a:defRPr/>
            </a:pPr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39" name="Shape5_20220516_120635">
            <a:extLst>
              <a:ext uri="{FF2B5EF4-FFF2-40B4-BE49-F238E27FC236}">
                <a16:creationId xmlns:a16="http://schemas.microsoft.com/office/drawing/2014/main" id="{32C0D0FE-5D3C-D963-4D8F-7E36C1E328AA}"/>
              </a:ext>
            </a:extLst>
          </p:cNvPr>
          <p:cNvSpPr/>
          <p:nvPr/>
        </p:nvSpPr>
        <p:spPr>
          <a:xfrm>
            <a:off x="9763032" y="1241723"/>
            <a:ext cx="718167" cy="382126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501427">
              <a:defRPr/>
            </a:pPr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40" name="Shape6_20220425_170201">
            <a:extLst>
              <a:ext uri="{FF2B5EF4-FFF2-40B4-BE49-F238E27FC236}">
                <a16:creationId xmlns:a16="http://schemas.microsoft.com/office/drawing/2014/main" id="{966B206D-03A0-4B56-A2CE-29EDE09BB132}"/>
              </a:ext>
            </a:extLst>
          </p:cNvPr>
          <p:cNvSpPr/>
          <p:nvPr/>
        </p:nvSpPr>
        <p:spPr>
          <a:xfrm>
            <a:off x="10658796" y="1241723"/>
            <a:ext cx="718167" cy="382126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501427">
              <a:defRPr/>
            </a:pPr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41" name="Shape13_20220106_182657">
            <a:extLst>
              <a:ext uri="{FF2B5EF4-FFF2-40B4-BE49-F238E27FC236}">
                <a16:creationId xmlns:a16="http://schemas.microsoft.com/office/drawing/2014/main" id="{F6EF5B55-9853-2BBA-E219-2B88D2C102F8}"/>
              </a:ext>
            </a:extLst>
          </p:cNvPr>
          <p:cNvSpPr txBox="1"/>
          <p:nvPr/>
        </p:nvSpPr>
        <p:spPr>
          <a:xfrm>
            <a:off x="805349" y="5115341"/>
            <a:ext cx="7290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501427">
              <a:defRPr/>
            </a:pPr>
            <a:r>
              <a:rPr lang="en-IN" sz="1400" b="1" dirty="0">
                <a:solidFill>
                  <a:schemeClr val="accent5"/>
                </a:solidFill>
              </a:rPr>
              <a:t>Jan</a:t>
            </a:r>
          </a:p>
        </p:txBody>
      </p:sp>
      <p:sp>
        <p:nvSpPr>
          <p:cNvPr id="42" name="Shape14_20220106_182657">
            <a:extLst>
              <a:ext uri="{FF2B5EF4-FFF2-40B4-BE49-F238E27FC236}">
                <a16:creationId xmlns:a16="http://schemas.microsoft.com/office/drawing/2014/main" id="{75F437C8-06B3-8DF9-C571-FD1365713811}"/>
              </a:ext>
            </a:extLst>
          </p:cNvPr>
          <p:cNvSpPr txBox="1"/>
          <p:nvPr/>
        </p:nvSpPr>
        <p:spPr>
          <a:xfrm>
            <a:off x="1699978" y="5115341"/>
            <a:ext cx="7290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501427">
              <a:defRPr/>
            </a:pPr>
            <a:r>
              <a:rPr lang="en-IN" sz="1400" b="1" dirty="0">
                <a:solidFill>
                  <a:schemeClr val="accent5"/>
                </a:solidFill>
              </a:rPr>
              <a:t>Feb</a:t>
            </a:r>
          </a:p>
        </p:txBody>
      </p:sp>
      <p:sp>
        <p:nvSpPr>
          <p:cNvPr id="43" name="Shape15_20220106_182657">
            <a:extLst>
              <a:ext uri="{FF2B5EF4-FFF2-40B4-BE49-F238E27FC236}">
                <a16:creationId xmlns:a16="http://schemas.microsoft.com/office/drawing/2014/main" id="{E0EAD47F-3E44-1D34-FB6B-45FA7FA58EFF}"/>
              </a:ext>
            </a:extLst>
          </p:cNvPr>
          <p:cNvSpPr txBox="1"/>
          <p:nvPr/>
        </p:nvSpPr>
        <p:spPr>
          <a:xfrm>
            <a:off x="2594606" y="5115341"/>
            <a:ext cx="7290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501427">
              <a:defRPr/>
            </a:pPr>
            <a:r>
              <a:rPr lang="en-US" sz="1400" b="1" dirty="0">
                <a:solidFill>
                  <a:schemeClr val="accent5"/>
                </a:solidFill>
              </a:rPr>
              <a:t>Mar</a:t>
            </a:r>
            <a:endParaRPr lang="en-IN" sz="1400" b="1" dirty="0">
              <a:solidFill>
                <a:schemeClr val="accent5"/>
              </a:solidFill>
            </a:endParaRPr>
          </a:p>
        </p:txBody>
      </p:sp>
      <p:sp>
        <p:nvSpPr>
          <p:cNvPr id="44" name="Shape16_20220106_182657">
            <a:extLst>
              <a:ext uri="{FF2B5EF4-FFF2-40B4-BE49-F238E27FC236}">
                <a16:creationId xmlns:a16="http://schemas.microsoft.com/office/drawing/2014/main" id="{9F910BB4-5D83-27D5-4F65-2844CAB32642}"/>
              </a:ext>
            </a:extLst>
          </p:cNvPr>
          <p:cNvSpPr txBox="1"/>
          <p:nvPr/>
        </p:nvSpPr>
        <p:spPr>
          <a:xfrm>
            <a:off x="3489236" y="5115341"/>
            <a:ext cx="7290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501427">
              <a:defRPr/>
            </a:pPr>
            <a:r>
              <a:rPr lang="en-IN" sz="1400" b="1" dirty="0">
                <a:solidFill>
                  <a:schemeClr val="accent5"/>
                </a:solidFill>
              </a:rPr>
              <a:t>Apr</a:t>
            </a:r>
          </a:p>
        </p:txBody>
      </p:sp>
      <p:sp>
        <p:nvSpPr>
          <p:cNvPr id="45" name="Shape17_20220106_182657">
            <a:extLst>
              <a:ext uri="{FF2B5EF4-FFF2-40B4-BE49-F238E27FC236}">
                <a16:creationId xmlns:a16="http://schemas.microsoft.com/office/drawing/2014/main" id="{A1FD763D-1AF0-3D1F-3990-28E512E1F97A}"/>
              </a:ext>
            </a:extLst>
          </p:cNvPr>
          <p:cNvSpPr txBox="1"/>
          <p:nvPr/>
        </p:nvSpPr>
        <p:spPr>
          <a:xfrm>
            <a:off x="4383864" y="5115341"/>
            <a:ext cx="7290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501427">
              <a:defRPr/>
            </a:pPr>
            <a:r>
              <a:rPr lang="en-IN" sz="1400" b="1" dirty="0">
                <a:solidFill>
                  <a:schemeClr val="accent5"/>
                </a:solidFill>
              </a:rPr>
              <a:t>May</a:t>
            </a:r>
          </a:p>
        </p:txBody>
      </p:sp>
      <p:sp>
        <p:nvSpPr>
          <p:cNvPr id="46" name="Shape18_20220106_182657">
            <a:extLst>
              <a:ext uri="{FF2B5EF4-FFF2-40B4-BE49-F238E27FC236}">
                <a16:creationId xmlns:a16="http://schemas.microsoft.com/office/drawing/2014/main" id="{4027AC8D-C725-8554-B8A4-91D918CA4A41}"/>
              </a:ext>
            </a:extLst>
          </p:cNvPr>
          <p:cNvSpPr txBox="1"/>
          <p:nvPr/>
        </p:nvSpPr>
        <p:spPr>
          <a:xfrm>
            <a:off x="5278493" y="5115341"/>
            <a:ext cx="7290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501427">
              <a:defRPr/>
            </a:pPr>
            <a:r>
              <a:rPr lang="en-IN" sz="1400" b="1" dirty="0">
                <a:solidFill>
                  <a:schemeClr val="accent5"/>
                </a:solidFill>
              </a:rPr>
              <a:t>Jun</a:t>
            </a:r>
          </a:p>
        </p:txBody>
      </p:sp>
      <p:sp>
        <p:nvSpPr>
          <p:cNvPr id="47" name="Shape19_20220106_182657">
            <a:extLst>
              <a:ext uri="{FF2B5EF4-FFF2-40B4-BE49-F238E27FC236}">
                <a16:creationId xmlns:a16="http://schemas.microsoft.com/office/drawing/2014/main" id="{4ACE4401-DEFC-1CC9-7798-EE2D234274FE}"/>
              </a:ext>
            </a:extLst>
          </p:cNvPr>
          <p:cNvSpPr txBox="1"/>
          <p:nvPr/>
        </p:nvSpPr>
        <p:spPr>
          <a:xfrm>
            <a:off x="6173125" y="5115341"/>
            <a:ext cx="7290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501427">
              <a:defRPr/>
            </a:pPr>
            <a:r>
              <a:rPr lang="en-IN" sz="1400" b="1" dirty="0">
                <a:solidFill>
                  <a:schemeClr val="accent5"/>
                </a:solidFill>
              </a:rPr>
              <a:t>Jul</a:t>
            </a:r>
          </a:p>
        </p:txBody>
      </p:sp>
      <p:sp>
        <p:nvSpPr>
          <p:cNvPr id="48" name="Shape20_20220106_182657">
            <a:extLst>
              <a:ext uri="{FF2B5EF4-FFF2-40B4-BE49-F238E27FC236}">
                <a16:creationId xmlns:a16="http://schemas.microsoft.com/office/drawing/2014/main" id="{56442FB8-7E3D-DFA4-DC3B-6560636A79C3}"/>
              </a:ext>
            </a:extLst>
          </p:cNvPr>
          <p:cNvSpPr txBox="1"/>
          <p:nvPr/>
        </p:nvSpPr>
        <p:spPr>
          <a:xfrm>
            <a:off x="7067751" y="5115341"/>
            <a:ext cx="7290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501427">
              <a:defRPr/>
            </a:pPr>
            <a:r>
              <a:rPr lang="en-IN" sz="1400" b="1" dirty="0">
                <a:solidFill>
                  <a:schemeClr val="accent5"/>
                </a:solidFill>
              </a:rPr>
              <a:t>Aug</a:t>
            </a:r>
          </a:p>
        </p:txBody>
      </p:sp>
      <p:sp>
        <p:nvSpPr>
          <p:cNvPr id="49" name="Shape21_20220106_182657">
            <a:extLst>
              <a:ext uri="{FF2B5EF4-FFF2-40B4-BE49-F238E27FC236}">
                <a16:creationId xmlns:a16="http://schemas.microsoft.com/office/drawing/2014/main" id="{F34B6D3D-9D8A-92B1-DF8A-E06034F3AA68}"/>
              </a:ext>
            </a:extLst>
          </p:cNvPr>
          <p:cNvSpPr txBox="1"/>
          <p:nvPr/>
        </p:nvSpPr>
        <p:spPr>
          <a:xfrm>
            <a:off x="7962382" y="5115341"/>
            <a:ext cx="7290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501427">
              <a:defRPr/>
            </a:pPr>
            <a:r>
              <a:rPr lang="en-IN" sz="1400" b="1" dirty="0">
                <a:solidFill>
                  <a:schemeClr val="accent5"/>
                </a:solidFill>
              </a:rPr>
              <a:t>Sep</a:t>
            </a:r>
          </a:p>
        </p:txBody>
      </p:sp>
      <p:sp>
        <p:nvSpPr>
          <p:cNvPr id="50" name="Shape22_20220106_182657">
            <a:extLst>
              <a:ext uri="{FF2B5EF4-FFF2-40B4-BE49-F238E27FC236}">
                <a16:creationId xmlns:a16="http://schemas.microsoft.com/office/drawing/2014/main" id="{79360829-81AC-6ED3-3D7A-B7EA2D5B1F67}"/>
              </a:ext>
            </a:extLst>
          </p:cNvPr>
          <p:cNvSpPr txBox="1"/>
          <p:nvPr/>
        </p:nvSpPr>
        <p:spPr>
          <a:xfrm>
            <a:off x="8857011" y="5115341"/>
            <a:ext cx="7290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501427">
              <a:defRPr/>
            </a:pPr>
            <a:r>
              <a:rPr lang="en-IN" sz="1400" b="1" dirty="0">
                <a:solidFill>
                  <a:schemeClr val="accent5"/>
                </a:solidFill>
              </a:rPr>
              <a:t>Oct</a:t>
            </a:r>
          </a:p>
        </p:txBody>
      </p:sp>
      <p:sp>
        <p:nvSpPr>
          <p:cNvPr id="51" name="Shape23_20220106_182657">
            <a:extLst>
              <a:ext uri="{FF2B5EF4-FFF2-40B4-BE49-F238E27FC236}">
                <a16:creationId xmlns:a16="http://schemas.microsoft.com/office/drawing/2014/main" id="{1CFD85AE-699B-5053-C65C-F6667D3A33A0}"/>
              </a:ext>
            </a:extLst>
          </p:cNvPr>
          <p:cNvSpPr txBox="1"/>
          <p:nvPr/>
        </p:nvSpPr>
        <p:spPr>
          <a:xfrm>
            <a:off x="9751637" y="5115341"/>
            <a:ext cx="7290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501427">
              <a:defRPr/>
            </a:pPr>
            <a:r>
              <a:rPr lang="en-IN" sz="1400" b="1" dirty="0">
                <a:solidFill>
                  <a:schemeClr val="accent5"/>
                </a:solidFill>
              </a:rPr>
              <a:t>Nov</a:t>
            </a:r>
          </a:p>
        </p:txBody>
      </p:sp>
      <p:sp>
        <p:nvSpPr>
          <p:cNvPr id="52" name="Shape24_20220106_182657">
            <a:extLst>
              <a:ext uri="{FF2B5EF4-FFF2-40B4-BE49-F238E27FC236}">
                <a16:creationId xmlns:a16="http://schemas.microsoft.com/office/drawing/2014/main" id="{FCC0805A-E25C-17B9-E058-F6C28A4653DC}"/>
              </a:ext>
            </a:extLst>
          </p:cNvPr>
          <p:cNvSpPr txBox="1"/>
          <p:nvPr/>
        </p:nvSpPr>
        <p:spPr>
          <a:xfrm>
            <a:off x="10646265" y="5115341"/>
            <a:ext cx="7290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501427">
              <a:defRPr/>
            </a:pPr>
            <a:r>
              <a:rPr lang="en-IN" sz="1400" b="1" dirty="0">
                <a:solidFill>
                  <a:schemeClr val="accent5"/>
                </a:solidFill>
              </a:rPr>
              <a:t>Dec</a:t>
            </a:r>
          </a:p>
        </p:txBody>
      </p:sp>
      <p:sp>
        <p:nvSpPr>
          <p:cNvPr id="53" name="Shape25_20220106_182657">
            <a:extLst>
              <a:ext uri="{FF2B5EF4-FFF2-40B4-BE49-F238E27FC236}">
                <a16:creationId xmlns:a16="http://schemas.microsoft.com/office/drawing/2014/main" id="{F53B438E-7018-D975-A5FA-271F3D4D8533}"/>
              </a:ext>
            </a:extLst>
          </p:cNvPr>
          <p:cNvSpPr txBox="1"/>
          <p:nvPr/>
        </p:nvSpPr>
        <p:spPr>
          <a:xfrm>
            <a:off x="3645371" y="5711809"/>
            <a:ext cx="1702052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defTabSz="1501427">
              <a:defRPr/>
            </a:pPr>
            <a:r>
              <a:rPr lang="en-IN" sz="120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54" name="Shape6_20220425_170157">
            <a:extLst>
              <a:ext uri="{FF2B5EF4-FFF2-40B4-BE49-F238E27FC236}">
                <a16:creationId xmlns:a16="http://schemas.microsoft.com/office/drawing/2014/main" id="{DE6A0C8B-4ED2-594B-CAB1-7384087B7DDB}"/>
              </a:ext>
            </a:extLst>
          </p:cNvPr>
          <p:cNvSpPr/>
          <p:nvPr/>
        </p:nvSpPr>
        <p:spPr>
          <a:xfrm>
            <a:off x="3391303" y="5751128"/>
            <a:ext cx="195863" cy="1983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501427">
              <a:defRPr/>
            </a:pPr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56" name="Shape26_20220106_182657">
            <a:extLst>
              <a:ext uri="{FF2B5EF4-FFF2-40B4-BE49-F238E27FC236}">
                <a16:creationId xmlns:a16="http://schemas.microsoft.com/office/drawing/2014/main" id="{962CA6F9-48D5-B161-3CB4-5FECEB9377FE}"/>
              </a:ext>
            </a:extLst>
          </p:cNvPr>
          <p:cNvSpPr txBox="1"/>
          <p:nvPr/>
        </p:nvSpPr>
        <p:spPr>
          <a:xfrm>
            <a:off x="6042681" y="5711809"/>
            <a:ext cx="1702052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defTabSz="1501427">
              <a:defRPr/>
            </a:pPr>
            <a:r>
              <a:rPr lang="en-IN" sz="120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57" name="Shape0_20220425_170201">
            <a:extLst>
              <a:ext uri="{FF2B5EF4-FFF2-40B4-BE49-F238E27FC236}">
                <a16:creationId xmlns:a16="http://schemas.microsoft.com/office/drawing/2014/main" id="{CF18086A-8F79-CCB6-B981-CEEE3749A344}"/>
              </a:ext>
            </a:extLst>
          </p:cNvPr>
          <p:cNvSpPr/>
          <p:nvPr/>
        </p:nvSpPr>
        <p:spPr>
          <a:xfrm>
            <a:off x="5788615" y="5751128"/>
            <a:ext cx="195863" cy="19836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501427">
              <a:defRPr/>
            </a:pPr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58" name="Shape27_20220106_182657">
            <a:extLst>
              <a:ext uri="{FF2B5EF4-FFF2-40B4-BE49-F238E27FC236}">
                <a16:creationId xmlns:a16="http://schemas.microsoft.com/office/drawing/2014/main" id="{7B72F30D-518C-F62A-7A2F-9B9734AC1A3E}"/>
              </a:ext>
            </a:extLst>
          </p:cNvPr>
          <p:cNvSpPr txBox="1"/>
          <p:nvPr/>
        </p:nvSpPr>
        <p:spPr>
          <a:xfrm>
            <a:off x="1742312" y="3410383"/>
            <a:ext cx="15315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501427">
              <a:defRPr/>
            </a:pPr>
            <a:r>
              <a:rPr lang="en-IN" sz="1400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IN" sz="14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59" name="Shape28_20220106_182657">
            <a:extLst>
              <a:ext uri="{FF2B5EF4-FFF2-40B4-BE49-F238E27FC236}">
                <a16:creationId xmlns:a16="http://schemas.microsoft.com/office/drawing/2014/main" id="{E0B1A95A-5338-113C-91D2-E2D93BEBDAAF}"/>
              </a:ext>
            </a:extLst>
          </p:cNvPr>
          <p:cNvSpPr txBox="1"/>
          <p:nvPr/>
        </p:nvSpPr>
        <p:spPr>
          <a:xfrm>
            <a:off x="3567909" y="2412771"/>
            <a:ext cx="15315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501427">
              <a:defRPr/>
            </a:pPr>
            <a:r>
              <a:rPr lang="en-IN" sz="1400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IN" sz="14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60" name="Shape29_20220106_182657">
            <a:extLst>
              <a:ext uri="{FF2B5EF4-FFF2-40B4-BE49-F238E27FC236}">
                <a16:creationId xmlns:a16="http://schemas.microsoft.com/office/drawing/2014/main" id="{340F5A32-A5E6-4545-6CAD-AB39C8FB633B}"/>
              </a:ext>
            </a:extLst>
          </p:cNvPr>
          <p:cNvSpPr txBox="1"/>
          <p:nvPr/>
        </p:nvSpPr>
        <p:spPr>
          <a:xfrm>
            <a:off x="7159884" y="3233077"/>
            <a:ext cx="15315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501427">
              <a:defRPr/>
            </a:pPr>
            <a:r>
              <a:rPr lang="en-IN" sz="1400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IN" sz="14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61" name="Shape30_20220106_182657">
            <a:extLst>
              <a:ext uri="{FF2B5EF4-FFF2-40B4-BE49-F238E27FC236}">
                <a16:creationId xmlns:a16="http://schemas.microsoft.com/office/drawing/2014/main" id="{BCC42C66-0176-C3D3-3B74-2F2F79263377}"/>
              </a:ext>
            </a:extLst>
          </p:cNvPr>
          <p:cNvSpPr txBox="1"/>
          <p:nvPr/>
        </p:nvSpPr>
        <p:spPr>
          <a:xfrm>
            <a:off x="8851414" y="2022517"/>
            <a:ext cx="15315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501427">
              <a:defRPr/>
            </a:pPr>
            <a:r>
              <a:rPr lang="en-IN" sz="1400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IN" sz="14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62" name="Shape31_20220106_182657">
            <a:extLst>
              <a:ext uri="{FF2B5EF4-FFF2-40B4-BE49-F238E27FC236}">
                <a16:creationId xmlns:a16="http://schemas.microsoft.com/office/drawing/2014/main" id="{E288EC04-26AC-73C9-1B40-84A174ACAB7E}"/>
              </a:ext>
            </a:extLst>
          </p:cNvPr>
          <p:cNvSpPr txBox="1"/>
          <p:nvPr/>
        </p:nvSpPr>
        <p:spPr>
          <a:xfrm>
            <a:off x="6369203" y="1333327"/>
            <a:ext cx="15315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501427">
              <a:defRPr/>
            </a:pPr>
            <a:r>
              <a:rPr lang="en-IN" sz="1400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IN" sz="14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63" name="Shape0_20210707_143722">
            <a:extLst>
              <a:ext uri="{FF2B5EF4-FFF2-40B4-BE49-F238E27FC236}">
                <a16:creationId xmlns:a16="http://schemas.microsoft.com/office/drawing/2014/main" id="{40C19E35-75D9-E4F9-FCBA-FDF9940EF91C}"/>
              </a:ext>
            </a:extLst>
          </p:cNvPr>
          <p:cNvSpPr/>
          <p:nvPr/>
        </p:nvSpPr>
        <p:spPr>
          <a:xfrm rot="16200000">
            <a:off x="1684231" y="3545888"/>
            <a:ext cx="125904" cy="1363683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501427">
              <a:defRPr/>
            </a:pPr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64" name="Shape0_20210707_143728">
            <a:extLst>
              <a:ext uri="{FF2B5EF4-FFF2-40B4-BE49-F238E27FC236}">
                <a16:creationId xmlns:a16="http://schemas.microsoft.com/office/drawing/2014/main" id="{6A357832-61B9-E0E3-66EF-93849A864777}"/>
              </a:ext>
            </a:extLst>
          </p:cNvPr>
          <p:cNvSpPr/>
          <p:nvPr/>
        </p:nvSpPr>
        <p:spPr>
          <a:xfrm rot="5400000" flipH="1">
            <a:off x="3104475" y="3479587"/>
            <a:ext cx="125904" cy="1496287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501427">
              <a:defRPr/>
            </a:pPr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65" name="Shape1_20210707_143736">
            <a:extLst>
              <a:ext uri="{FF2B5EF4-FFF2-40B4-BE49-F238E27FC236}">
                <a16:creationId xmlns:a16="http://schemas.microsoft.com/office/drawing/2014/main" id="{980E3C35-0BF9-77E0-CD51-DA80D5E22524}"/>
              </a:ext>
            </a:extLst>
          </p:cNvPr>
          <p:cNvSpPr/>
          <p:nvPr/>
        </p:nvSpPr>
        <p:spPr>
          <a:xfrm>
            <a:off x="2346417" y="4146056"/>
            <a:ext cx="169779" cy="163349"/>
          </a:xfrm>
          <a:prstGeom prst="ellipse">
            <a:avLst/>
          </a:prstGeom>
          <a:solidFill>
            <a:srgbClr val="FFFFFF"/>
          </a:solidFill>
          <a:ln w="571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501427">
              <a:defRPr/>
            </a:pPr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66" name="Shape1_20210707_143722">
            <a:extLst>
              <a:ext uri="{FF2B5EF4-FFF2-40B4-BE49-F238E27FC236}">
                <a16:creationId xmlns:a16="http://schemas.microsoft.com/office/drawing/2014/main" id="{BD12C624-A890-D67C-F33A-E0AE6DBC4D02}"/>
              </a:ext>
            </a:extLst>
          </p:cNvPr>
          <p:cNvSpPr/>
          <p:nvPr/>
        </p:nvSpPr>
        <p:spPr>
          <a:xfrm rot="16200000">
            <a:off x="3719288" y="2268557"/>
            <a:ext cx="125904" cy="1789193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501427">
              <a:defRPr/>
            </a:pPr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67" name="Shape1_20210707_143728">
            <a:extLst>
              <a:ext uri="{FF2B5EF4-FFF2-40B4-BE49-F238E27FC236}">
                <a16:creationId xmlns:a16="http://schemas.microsoft.com/office/drawing/2014/main" id="{D50A7E30-D68F-A79C-B9FE-303D5D3A9EB6}"/>
              </a:ext>
            </a:extLst>
          </p:cNvPr>
          <p:cNvSpPr/>
          <p:nvPr/>
        </p:nvSpPr>
        <p:spPr>
          <a:xfrm rot="5400000" flipH="1">
            <a:off x="5149839" y="2627198"/>
            <a:ext cx="125904" cy="1071914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501427">
              <a:defRPr/>
            </a:pPr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68" name="Shape2_20210707_143736">
            <a:extLst>
              <a:ext uri="{FF2B5EF4-FFF2-40B4-BE49-F238E27FC236}">
                <a16:creationId xmlns:a16="http://schemas.microsoft.com/office/drawing/2014/main" id="{F06B9F2E-F7E6-434F-6C42-E898DBE22029}"/>
              </a:ext>
            </a:extLst>
          </p:cNvPr>
          <p:cNvSpPr/>
          <p:nvPr/>
        </p:nvSpPr>
        <p:spPr>
          <a:xfrm>
            <a:off x="4603970" y="3081482"/>
            <a:ext cx="169779" cy="163349"/>
          </a:xfrm>
          <a:prstGeom prst="ellipse">
            <a:avLst/>
          </a:prstGeom>
          <a:solidFill>
            <a:srgbClr val="FFFFFF"/>
          </a:solidFill>
          <a:ln w="571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501427">
              <a:defRPr/>
            </a:pPr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69" name="Shape2_20210707_143722">
            <a:extLst>
              <a:ext uri="{FF2B5EF4-FFF2-40B4-BE49-F238E27FC236}">
                <a16:creationId xmlns:a16="http://schemas.microsoft.com/office/drawing/2014/main" id="{E8437F99-1B5C-9315-158A-4E0B77309B01}"/>
              </a:ext>
            </a:extLst>
          </p:cNvPr>
          <p:cNvSpPr/>
          <p:nvPr/>
        </p:nvSpPr>
        <p:spPr>
          <a:xfrm rot="16200000">
            <a:off x="6567205" y="961977"/>
            <a:ext cx="125904" cy="212107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501427">
              <a:defRPr/>
            </a:pPr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70" name="Shape2_20210707_143728">
            <a:extLst>
              <a:ext uri="{FF2B5EF4-FFF2-40B4-BE49-F238E27FC236}">
                <a16:creationId xmlns:a16="http://schemas.microsoft.com/office/drawing/2014/main" id="{A016648B-327B-F4E2-7C7A-16BC22AC91FF}"/>
              </a:ext>
            </a:extLst>
          </p:cNvPr>
          <p:cNvSpPr/>
          <p:nvPr/>
        </p:nvSpPr>
        <p:spPr>
          <a:xfrm rot="5400000" flipH="1">
            <a:off x="7997810" y="1663434"/>
            <a:ext cx="125904" cy="718168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501427">
              <a:defRPr/>
            </a:pPr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71" name="Shape3_20210707_143736">
            <a:extLst>
              <a:ext uri="{FF2B5EF4-FFF2-40B4-BE49-F238E27FC236}">
                <a16:creationId xmlns:a16="http://schemas.microsoft.com/office/drawing/2014/main" id="{74455FED-5578-FCC4-21BF-B32BE0234BDE}"/>
              </a:ext>
            </a:extLst>
          </p:cNvPr>
          <p:cNvSpPr/>
          <p:nvPr/>
        </p:nvSpPr>
        <p:spPr>
          <a:xfrm>
            <a:off x="7617826" y="1940843"/>
            <a:ext cx="169779" cy="163349"/>
          </a:xfrm>
          <a:prstGeom prst="ellipse">
            <a:avLst/>
          </a:prstGeom>
          <a:solidFill>
            <a:srgbClr val="FFFFFF"/>
          </a:solidFill>
          <a:ln w="571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501427">
              <a:defRPr/>
            </a:pPr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72" name="Shape3_20210707_143722">
            <a:extLst>
              <a:ext uri="{FF2B5EF4-FFF2-40B4-BE49-F238E27FC236}">
                <a16:creationId xmlns:a16="http://schemas.microsoft.com/office/drawing/2014/main" id="{5F0413B4-3B78-7D7B-B90C-D7CACF9B677E}"/>
              </a:ext>
            </a:extLst>
          </p:cNvPr>
          <p:cNvSpPr/>
          <p:nvPr/>
        </p:nvSpPr>
        <p:spPr>
          <a:xfrm rot="16200000">
            <a:off x="9352578" y="1467804"/>
            <a:ext cx="125904" cy="2507463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501427">
              <a:defRPr/>
            </a:pPr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73" name="Shape3_20210707_143728">
            <a:extLst>
              <a:ext uri="{FF2B5EF4-FFF2-40B4-BE49-F238E27FC236}">
                <a16:creationId xmlns:a16="http://schemas.microsoft.com/office/drawing/2014/main" id="{318AE8C4-BAF7-8D93-EB0A-83C6E522ECA3}"/>
              </a:ext>
            </a:extLst>
          </p:cNvPr>
          <p:cNvSpPr/>
          <p:nvPr/>
        </p:nvSpPr>
        <p:spPr>
          <a:xfrm rot="5400000" flipH="1">
            <a:off x="10785852" y="2541993"/>
            <a:ext cx="125904" cy="35908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501427">
              <a:defRPr/>
            </a:pPr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74" name="Shape4_20210707_143736">
            <a:extLst>
              <a:ext uri="{FF2B5EF4-FFF2-40B4-BE49-F238E27FC236}">
                <a16:creationId xmlns:a16="http://schemas.microsoft.com/office/drawing/2014/main" id="{7C6E6341-C92B-F13F-3FF1-93899C2C4E8A}"/>
              </a:ext>
            </a:extLst>
          </p:cNvPr>
          <p:cNvSpPr/>
          <p:nvPr/>
        </p:nvSpPr>
        <p:spPr>
          <a:xfrm>
            <a:off x="10585414" y="2639864"/>
            <a:ext cx="169779" cy="163349"/>
          </a:xfrm>
          <a:prstGeom prst="ellipse">
            <a:avLst/>
          </a:prstGeom>
          <a:solidFill>
            <a:srgbClr val="FFFFFF"/>
          </a:solidFill>
          <a:ln w="571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501427">
              <a:defRPr/>
            </a:pPr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75" name="Shape4_20210707_143722">
            <a:extLst>
              <a:ext uri="{FF2B5EF4-FFF2-40B4-BE49-F238E27FC236}">
                <a16:creationId xmlns:a16="http://schemas.microsoft.com/office/drawing/2014/main" id="{5BA280C9-F164-AD17-14A0-4B34FDAC608E}"/>
              </a:ext>
            </a:extLst>
          </p:cNvPr>
          <p:cNvSpPr/>
          <p:nvPr/>
        </p:nvSpPr>
        <p:spPr>
          <a:xfrm rot="16200000">
            <a:off x="6852659" y="3598249"/>
            <a:ext cx="125904" cy="729048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501427">
              <a:defRPr/>
            </a:pPr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76" name="Shape4_20210707_143728">
            <a:extLst>
              <a:ext uri="{FF2B5EF4-FFF2-40B4-BE49-F238E27FC236}">
                <a16:creationId xmlns:a16="http://schemas.microsoft.com/office/drawing/2014/main" id="{94EAD0CD-5013-E09E-8F92-763891A8E9B7}"/>
              </a:ext>
            </a:extLst>
          </p:cNvPr>
          <p:cNvSpPr/>
          <p:nvPr/>
        </p:nvSpPr>
        <p:spPr>
          <a:xfrm rot="5400000" flipH="1">
            <a:off x="8272535" y="2882263"/>
            <a:ext cx="125904" cy="216103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501427">
              <a:defRPr/>
            </a:pPr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77" name="Shape0_20210707_143736">
            <a:extLst>
              <a:ext uri="{FF2B5EF4-FFF2-40B4-BE49-F238E27FC236}">
                <a16:creationId xmlns:a16="http://schemas.microsoft.com/office/drawing/2014/main" id="{007DBDDA-BEBD-AF0C-1080-E957D8481AE3}"/>
              </a:ext>
            </a:extLst>
          </p:cNvPr>
          <p:cNvSpPr/>
          <p:nvPr/>
        </p:nvSpPr>
        <p:spPr>
          <a:xfrm>
            <a:off x="7171118" y="3881101"/>
            <a:ext cx="169779" cy="163349"/>
          </a:xfrm>
          <a:prstGeom prst="ellipse">
            <a:avLst/>
          </a:prstGeom>
          <a:solidFill>
            <a:srgbClr val="FFFFFF"/>
          </a:solidFill>
          <a:ln w="571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501427">
              <a:defRPr/>
            </a:pPr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78" name="Shape32_20220106_182657">
            <a:extLst>
              <a:ext uri="{FF2B5EF4-FFF2-40B4-BE49-F238E27FC236}">
                <a16:creationId xmlns:a16="http://schemas.microsoft.com/office/drawing/2014/main" id="{41BB7E76-01CF-B6A7-620B-F358E0CE16D6}"/>
              </a:ext>
            </a:extLst>
          </p:cNvPr>
          <p:cNvSpPr txBox="1"/>
          <p:nvPr/>
        </p:nvSpPr>
        <p:spPr>
          <a:xfrm>
            <a:off x="1665736" y="3680710"/>
            <a:ext cx="16847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501427">
              <a:defRPr/>
            </a:pPr>
            <a:r>
              <a:rPr lang="en-IN" sz="140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79" name="Shape0_20220106_182657">
            <a:extLst>
              <a:ext uri="{FF2B5EF4-FFF2-40B4-BE49-F238E27FC236}">
                <a16:creationId xmlns:a16="http://schemas.microsoft.com/office/drawing/2014/main" id="{ECE841DA-7C74-5F4F-B51A-A6247232BF21}"/>
              </a:ext>
            </a:extLst>
          </p:cNvPr>
          <p:cNvSpPr txBox="1"/>
          <p:nvPr/>
        </p:nvSpPr>
        <p:spPr>
          <a:xfrm>
            <a:off x="3491334" y="2683098"/>
            <a:ext cx="16847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501427">
              <a:defRPr/>
            </a:pPr>
            <a:r>
              <a:rPr lang="en-IN" sz="140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80" name="Shape33_20220106_182657">
            <a:extLst>
              <a:ext uri="{FF2B5EF4-FFF2-40B4-BE49-F238E27FC236}">
                <a16:creationId xmlns:a16="http://schemas.microsoft.com/office/drawing/2014/main" id="{62BA9218-DD60-A859-A34E-093F54C0DA37}"/>
              </a:ext>
            </a:extLst>
          </p:cNvPr>
          <p:cNvSpPr txBox="1"/>
          <p:nvPr/>
        </p:nvSpPr>
        <p:spPr>
          <a:xfrm>
            <a:off x="7083312" y="3503405"/>
            <a:ext cx="16847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501427">
              <a:defRPr/>
            </a:pPr>
            <a:r>
              <a:rPr lang="en-IN" sz="140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81" name="Shape34_20220106_182657">
            <a:extLst>
              <a:ext uri="{FF2B5EF4-FFF2-40B4-BE49-F238E27FC236}">
                <a16:creationId xmlns:a16="http://schemas.microsoft.com/office/drawing/2014/main" id="{EB890AB1-8E77-FF41-9E0D-7A6DD84CC11B}"/>
              </a:ext>
            </a:extLst>
          </p:cNvPr>
          <p:cNvSpPr txBox="1"/>
          <p:nvPr/>
        </p:nvSpPr>
        <p:spPr>
          <a:xfrm>
            <a:off x="8774835" y="2292843"/>
            <a:ext cx="16847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501427">
              <a:defRPr/>
            </a:pPr>
            <a:r>
              <a:rPr lang="en-IN" sz="140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82" name="Shape35_20220106_182657">
            <a:extLst>
              <a:ext uri="{FF2B5EF4-FFF2-40B4-BE49-F238E27FC236}">
                <a16:creationId xmlns:a16="http://schemas.microsoft.com/office/drawing/2014/main" id="{CB4E8701-AC3C-582F-6114-D13AA8CA5327}"/>
              </a:ext>
            </a:extLst>
          </p:cNvPr>
          <p:cNvSpPr txBox="1"/>
          <p:nvPr/>
        </p:nvSpPr>
        <p:spPr>
          <a:xfrm>
            <a:off x="6292627" y="1603652"/>
            <a:ext cx="16847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501427">
              <a:defRPr/>
            </a:pPr>
            <a:r>
              <a:rPr lang="en-IN" sz="140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</p:spTree>
    <p:extLst>
      <p:ext uri="{BB962C8B-B14F-4D97-AF65-F5344CB8AC3E}">
        <p14:creationId xmlns:p14="http://schemas.microsoft.com/office/powerpoint/2010/main" val="26533889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4">
            <a:extLst>
              <a:ext uri="{FF2B5EF4-FFF2-40B4-BE49-F238E27FC236}">
                <a16:creationId xmlns:a16="http://schemas.microsoft.com/office/drawing/2014/main" id="{BED781BE-5DFD-5A43-B10E-ACC778D9E8B1}"/>
              </a:ext>
            </a:extLst>
          </p:cNvPr>
          <p:cNvSpPr txBox="1">
            <a:spLocks/>
          </p:cNvSpPr>
          <p:nvPr/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lnSpc>
                <a:spcPct val="90000"/>
              </a:lnSpc>
              <a:spcBef>
                <a:spcPct val="0"/>
              </a:spcBef>
              <a:buNone/>
              <a:defRPr sz="5400" b="1">
                <a:solidFill>
                  <a:schemeClr val="bg1"/>
                </a:solidFill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chemeClr val="accent1"/>
                </a:solidFill>
              </a:rPr>
              <a:t>01</a:t>
            </a:r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7211521B-54E2-9B40-839F-63E2ABFF3C02}"/>
              </a:ext>
            </a:extLst>
          </p:cNvPr>
          <p:cNvSpPr txBox="1">
            <a:spLocks/>
          </p:cNvSpPr>
          <p:nvPr/>
        </p:nvSpPr>
        <p:spPr>
          <a:xfrm>
            <a:off x="419099" y="3635858"/>
            <a:ext cx="11283166" cy="434926"/>
          </a:xfrm>
          <a:prstGeom prst="rect">
            <a:avLst/>
          </a:prstGeom>
        </p:spPr>
        <p:txBody>
          <a:bodyPr/>
          <a:lstStyle>
            <a:lvl1pPr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Tx/>
              <a:buNone/>
              <a:defRPr b="1">
                <a:solidFill>
                  <a:schemeClr val="bg1"/>
                </a:solidFill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Tx/>
              <a:buNone/>
              <a:defRPr b="1">
                <a:solidFill>
                  <a:schemeClr val="bg1"/>
                </a:solidFill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Tx/>
              <a:buNone/>
              <a:defRPr b="1">
                <a:solidFill>
                  <a:schemeClr val="bg1"/>
                </a:solidFill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Tx/>
              <a:buNone/>
              <a:defRPr b="1">
                <a:solidFill>
                  <a:schemeClr val="bg1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sz="3600" b="0" dirty="0">
                <a:solidFill>
                  <a:schemeClr val="tx1"/>
                </a:solidFill>
              </a:rPr>
              <a:t>Qualitative Slid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49925A55-B7AB-6DCC-BFB8-AA758370A744}"/>
              </a:ext>
            </a:extLst>
          </p:cNvPr>
          <p:cNvCxnSpPr/>
          <p:nvPr/>
        </p:nvCxnSpPr>
        <p:spPr>
          <a:xfrm>
            <a:off x="419099" y="3521558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5386668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A52059-66CD-79E5-EB17-E3D29C1224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EF0B2295-E9DE-DB5D-42A2-F98136122D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F0B2295-E9DE-DB5D-42A2-F98136122D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B97376C-6928-A015-0AC7-B2B6327D9B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xt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449766AA-70F1-FCF4-EB88-8940ADD71F79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20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" name="Google Shape;2175;p38">
            <a:extLst>
              <a:ext uri="{FF2B5EF4-FFF2-40B4-BE49-F238E27FC236}">
                <a16:creationId xmlns:a16="http://schemas.microsoft.com/office/drawing/2014/main" id="{877D28E6-6124-FB79-EA1B-D6D070DAF47A}"/>
              </a:ext>
            </a:extLst>
          </p:cNvPr>
          <p:cNvSpPr/>
          <p:nvPr/>
        </p:nvSpPr>
        <p:spPr>
          <a:xfrm flipH="1">
            <a:off x="3677721" y="2103282"/>
            <a:ext cx="532818" cy="53281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45221" tIns="45221" rIns="45221" bIns="45221" anchor="ctr" anchorCtr="0">
            <a:no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ea typeface="Trebuchet MS"/>
                <a:cs typeface="Arial" panose="020B0604020202020204" pitchFamily="34" charset="0"/>
                <a:sym typeface="Trebuchet MS"/>
              </a:rPr>
              <a:t>2</a:t>
            </a:r>
            <a:endParaRPr sz="2000" dirty="0">
              <a:solidFill>
                <a:schemeClr val="bg1"/>
              </a:solidFill>
            </a:endParaRPr>
          </a:p>
        </p:txBody>
      </p:sp>
      <p:grpSp>
        <p:nvGrpSpPr>
          <p:cNvPr id="19" name="Google Shape;2176;p38">
            <a:extLst>
              <a:ext uri="{FF2B5EF4-FFF2-40B4-BE49-F238E27FC236}">
                <a16:creationId xmlns:a16="http://schemas.microsoft.com/office/drawing/2014/main" id="{4FAC7181-D34B-558E-1F6F-F71E9B2B6539}"/>
              </a:ext>
            </a:extLst>
          </p:cNvPr>
          <p:cNvGrpSpPr/>
          <p:nvPr/>
        </p:nvGrpSpPr>
        <p:grpSpPr>
          <a:xfrm>
            <a:off x="4516845" y="2176486"/>
            <a:ext cx="3029019" cy="386409"/>
            <a:chOff x="4360893" y="2840540"/>
            <a:chExt cx="3017520" cy="384943"/>
          </a:xfrm>
        </p:grpSpPr>
        <p:sp>
          <p:nvSpPr>
            <p:cNvPr id="20" name="Google Shape;2177;p38">
              <a:extLst>
                <a:ext uri="{FF2B5EF4-FFF2-40B4-BE49-F238E27FC236}">
                  <a16:creationId xmlns:a16="http://schemas.microsoft.com/office/drawing/2014/main" id="{75559A99-4400-DA7B-ED83-5D0A0BF72B79}"/>
                </a:ext>
              </a:extLst>
            </p:cNvPr>
            <p:cNvSpPr txBox="1"/>
            <p:nvPr/>
          </p:nvSpPr>
          <p:spPr>
            <a:xfrm>
              <a:off x="4360893" y="3056206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>
                <a:buClr>
                  <a:schemeClr val="dk1"/>
                </a:buClr>
                <a:buSzPts val="1100"/>
              </a:pPr>
              <a:r>
                <a:rPr lang="en-US" sz="1600" dirty="0">
                  <a:ea typeface="Trebuchet MS"/>
                  <a:cs typeface="Arial" panose="020B0604020202020204" pitchFamily="34" charset="0"/>
                  <a:sym typeface="Trebuchet MS"/>
                </a:rPr>
                <a:t>Insert Text Here</a:t>
              </a:r>
              <a:endParaRPr sz="1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2" name="Google Shape;2178;p38">
              <a:extLst>
                <a:ext uri="{FF2B5EF4-FFF2-40B4-BE49-F238E27FC236}">
                  <a16:creationId xmlns:a16="http://schemas.microsoft.com/office/drawing/2014/main" id="{EA4DD358-43DE-9FEE-CAD6-4534E302A811}"/>
                </a:ext>
              </a:extLst>
            </p:cNvPr>
            <p:cNvSpPr txBox="1"/>
            <p:nvPr/>
          </p:nvSpPr>
          <p:spPr>
            <a:xfrm>
              <a:off x="4360893" y="2840540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noAutofit/>
            </a:bodyPr>
            <a:lstStyle/>
            <a:p>
              <a:pPr>
                <a:buClr>
                  <a:schemeClr val="dk1"/>
                </a:buClr>
                <a:buSzPts val="1300"/>
              </a:pPr>
              <a:r>
                <a:rPr lang="en-US" sz="1600" b="1" dirty="0">
                  <a:ea typeface="Trebuchet MS"/>
                  <a:cs typeface="Arial" panose="020B0604020202020204" pitchFamily="34" charset="0"/>
                  <a:sym typeface="Trebuchet MS"/>
                </a:rPr>
                <a:t>Title</a:t>
              </a:r>
              <a:endParaRPr sz="1600" dirty="0"/>
            </a:p>
          </p:txBody>
        </p:sp>
      </p:grpSp>
      <p:sp>
        <p:nvSpPr>
          <p:cNvPr id="26" name="Google Shape;2180;p38">
            <a:extLst>
              <a:ext uri="{FF2B5EF4-FFF2-40B4-BE49-F238E27FC236}">
                <a16:creationId xmlns:a16="http://schemas.microsoft.com/office/drawing/2014/main" id="{0CC2FC16-E02C-969C-CFA9-B62AB2B94AFC}"/>
              </a:ext>
            </a:extLst>
          </p:cNvPr>
          <p:cNvSpPr/>
          <p:nvPr/>
        </p:nvSpPr>
        <p:spPr>
          <a:xfrm>
            <a:off x="3677724" y="2962518"/>
            <a:ext cx="532818" cy="53281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45221" tIns="45221" rIns="45221" bIns="45221" anchor="ctr" anchorCtr="0">
            <a:no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ea typeface="Trebuchet MS"/>
                <a:cs typeface="Arial" panose="020B0604020202020204" pitchFamily="34" charset="0"/>
                <a:sym typeface="Trebuchet MS"/>
              </a:rPr>
              <a:t>3</a:t>
            </a:r>
            <a:endParaRPr sz="2000" dirty="0">
              <a:solidFill>
                <a:schemeClr val="bg1"/>
              </a:solidFill>
            </a:endParaRPr>
          </a:p>
        </p:txBody>
      </p:sp>
      <p:grpSp>
        <p:nvGrpSpPr>
          <p:cNvPr id="27" name="Google Shape;2181;p38">
            <a:extLst>
              <a:ext uri="{FF2B5EF4-FFF2-40B4-BE49-F238E27FC236}">
                <a16:creationId xmlns:a16="http://schemas.microsoft.com/office/drawing/2014/main" id="{C48569AF-0AE0-D0BC-D618-09CF53AC8502}"/>
              </a:ext>
            </a:extLst>
          </p:cNvPr>
          <p:cNvGrpSpPr/>
          <p:nvPr/>
        </p:nvGrpSpPr>
        <p:grpSpPr>
          <a:xfrm>
            <a:off x="4516847" y="3035721"/>
            <a:ext cx="3029019" cy="386409"/>
            <a:chOff x="4360893" y="3678040"/>
            <a:chExt cx="3017520" cy="384943"/>
          </a:xfrm>
        </p:grpSpPr>
        <p:sp>
          <p:nvSpPr>
            <p:cNvPr id="28" name="Google Shape;2182;p38">
              <a:extLst>
                <a:ext uri="{FF2B5EF4-FFF2-40B4-BE49-F238E27FC236}">
                  <a16:creationId xmlns:a16="http://schemas.microsoft.com/office/drawing/2014/main" id="{349FA384-7F25-47E0-5FDE-E2D8B92E93ED}"/>
                </a:ext>
              </a:extLst>
            </p:cNvPr>
            <p:cNvSpPr txBox="1"/>
            <p:nvPr/>
          </p:nvSpPr>
          <p:spPr>
            <a:xfrm>
              <a:off x="4360893" y="3893706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>
                <a:buClr>
                  <a:schemeClr val="dk1"/>
                </a:buClr>
                <a:buSzPts val="1100"/>
              </a:pPr>
              <a:r>
                <a:rPr lang="en-US" sz="1600" dirty="0">
                  <a:ea typeface="Trebuchet MS"/>
                  <a:cs typeface="Arial" panose="020B0604020202020204" pitchFamily="34" charset="0"/>
                  <a:sym typeface="Trebuchet MS"/>
                </a:rPr>
                <a:t>Insert Text Here</a:t>
              </a:r>
              <a:endParaRPr sz="1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9" name="Google Shape;2183;p38">
              <a:extLst>
                <a:ext uri="{FF2B5EF4-FFF2-40B4-BE49-F238E27FC236}">
                  <a16:creationId xmlns:a16="http://schemas.microsoft.com/office/drawing/2014/main" id="{CEE6C079-0F9A-96EB-713D-340412BD4BB2}"/>
                </a:ext>
              </a:extLst>
            </p:cNvPr>
            <p:cNvSpPr txBox="1"/>
            <p:nvPr/>
          </p:nvSpPr>
          <p:spPr>
            <a:xfrm>
              <a:off x="4360893" y="3678040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noAutofit/>
            </a:bodyPr>
            <a:lstStyle/>
            <a:p>
              <a:pPr>
                <a:buClr>
                  <a:schemeClr val="dk1"/>
                </a:buClr>
                <a:buSzPts val="1300"/>
              </a:pPr>
              <a:r>
                <a:rPr lang="en-US" sz="1600" b="1" dirty="0">
                  <a:ea typeface="Trebuchet MS"/>
                  <a:cs typeface="Arial" panose="020B0604020202020204" pitchFamily="34" charset="0"/>
                  <a:sym typeface="Trebuchet MS"/>
                </a:rPr>
                <a:t>Title</a:t>
              </a:r>
              <a:endParaRPr sz="1600" dirty="0"/>
            </a:p>
          </p:txBody>
        </p:sp>
      </p:grpSp>
      <p:sp>
        <p:nvSpPr>
          <p:cNvPr id="31" name="Google Shape;2185;p38">
            <a:extLst>
              <a:ext uri="{FF2B5EF4-FFF2-40B4-BE49-F238E27FC236}">
                <a16:creationId xmlns:a16="http://schemas.microsoft.com/office/drawing/2014/main" id="{E0000AB1-AD57-97E1-10CF-E3BB98587038}"/>
              </a:ext>
            </a:extLst>
          </p:cNvPr>
          <p:cNvSpPr/>
          <p:nvPr/>
        </p:nvSpPr>
        <p:spPr>
          <a:xfrm flipH="1">
            <a:off x="3677724" y="3821753"/>
            <a:ext cx="532818" cy="53281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45221" tIns="45221" rIns="45221" bIns="45221" anchor="ctr" anchorCtr="0">
            <a:no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ea typeface="Trebuchet MS"/>
                <a:cs typeface="Arial" panose="020B0604020202020204" pitchFamily="34" charset="0"/>
                <a:sym typeface="Trebuchet MS"/>
              </a:rPr>
              <a:t>4</a:t>
            </a:r>
            <a:endParaRPr sz="2000" dirty="0">
              <a:solidFill>
                <a:schemeClr val="bg1"/>
              </a:solidFill>
            </a:endParaRPr>
          </a:p>
        </p:txBody>
      </p:sp>
      <p:grpSp>
        <p:nvGrpSpPr>
          <p:cNvPr id="32" name="Google Shape;2186;p38">
            <a:extLst>
              <a:ext uri="{FF2B5EF4-FFF2-40B4-BE49-F238E27FC236}">
                <a16:creationId xmlns:a16="http://schemas.microsoft.com/office/drawing/2014/main" id="{00367605-7ADA-6BCA-AAB2-0A7DA5551210}"/>
              </a:ext>
            </a:extLst>
          </p:cNvPr>
          <p:cNvGrpSpPr/>
          <p:nvPr/>
        </p:nvGrpSpPr>
        <p:grpSpPr>
          <a:xfrm>
            <a:off x="4516847" y="3894958"/>
            <a:ext cx="3029019" cy="386409"/>
            <a:chOff x="4360893" y="4557499"/>
            <a:chExt cx="3017520" cy="384943"/>
          </a:xfrm>
        </p:grpSpPr>
        <p:sp>
          <p:nvSpPr>
            <p:cNvPr id="33" name="Google Shape;2187;p38">
              <a:extLst>
                <a:ext uri="{FF2B5EF4-FFF2-40B4-BE49-F238E27FC236}">
                  <a16:creationId xmlns:a16="http://schemas.microsoft.com/office/drawing/2014/main" id="{5FA2141D-C0F3-452F-915F-17651F5B91D4}"/>
                </a:ext>
              </a:extLst>
            </p:cNvPr>
            <p:cNvSpPr txBox="1"/>
            <p:nvPr/>
          </p:nvSpPr>
          <p:spPr>
            <a:xfrm>
              <a:off x="4360893" y="4773165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>
                <a:buClr>
                  <a:schemeClr val="dk1"/>
                </a:buClr>
                <a:buSzPts val="1100"/>
              </a:pPr>
              <a:r>
                <a:rPr lang="en-US" sz="1600" dirty="0">
                  <a:ea typeface="Trebuchet MS"/>
                  <a:cs typeface="Arial" panose="020B0604020202020204" pitchFamily="34" charset="0"/>
                  <a:sym typeface="Trebuchet MS"/>
                </a:rPr>
                <a:t>Insert Text Here</a:t>
              </a:r>
              <a:endParaRPr sz="1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34" name="Google Shape;2188;p38">
              <a:extLst>
                <a:ext uri="{FF2B5EF4-FFF2-40B4-BE49-F238E27FC236}">
                  <a16:creationId xmlns:a16="http://schemas.microsoft.com/office/drawing/2014/main" id="{43FFAAE5-9531-F2EC-15F1-CB1228420B80}"/>
                </a:ext>
              </a:extLst>
            </p:cNvPr>
            <p:cNvSpPr txBox="1"/>
            <p:nvPr/>
          </p:nvSpPr>
          <p:spPr>
            <a:xfrm>
              <a:off x="4360893" y="4557499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noAutofit/>
            </a:bodyPr>
            <a:lstStyle/>
            <a:p>
              <a:pPr>
                <a:buClr>
                  <a:schemeClr val="dk1"/>
                </a:buClr>
                <a:buSzPts val="1300"/>
              </a:pPr>
              <a:r>
                <a:rPr lang="en-US" sz="1600" b="1" dirty="0">
                  <a:ea typeface="Trebuchet MS"/>
                  <a:cs typeface="Arial" panose="020B0604020202020204" pitchFamily="34" charset="0"/>
                  <a:sym typeface="Trebuchet MS"/>
                </a:rPr>
                <a:t>Title</a:t>
              </a:r>
              <a:endParaRPr sz="1600" dirty="0"/>
            </a:p>
          </p:txBody>
        </p:sp>
      </p:grpSp>
      <p:sp>
        <p:nvSpPr>
          <p:cNvPr id="35" name="Google Shape;2190;p38">
            <a:extLst>
              <a:ext uri="{FF2B5EF4-FFF2-40B4-BE49-F238E27FC236}">
                <a16:creationId xmlns:a16="http://schemas.microsoft.com/office/drawing/2014/main" id="{28CE9B48-8D5F-5B7F-A127-349A46A91FED}"/>
              </a:ext>
            </a:extLst>
          </p:cNvPr>
          <p:cNvSpPr/>
          <p:nvPr/>
        </p:nvSpPr>
        <p:spPr>
          <a:xfrm>
            <a:off x="3677724" y="1244046"/>
            <a:ext cx="532818" cy="53281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45221" tIns="45221" rIns="45221" bIns="45221" anchor="ctr" anchorCtr="0">
            <a:no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ea typeface="Trebuchet MS"/>
                <a:cs typeface="Arial" panose="020B0604020202020204" pitchFamily="34" charset="0"/>
                <a:sym typeface="Trebuchet MS"/>
              </a:rPr>
              <a:t>1</a:t>
            </a:r>
            <a:endParaRPr sz="2000" dirty="0">
              <a:solidFill>
                <a:schemeClr val="bg1"/>
              </a:solidFill>
            </a:endParaRPr>
          </a:p>
        </p:txBody>
      </p:sp>
      <p:grpSp>
        <p:nvGrpSpPr>
          <p:cNvPr id="36" name="Google Shape;2191;p38">
            <a:extLst>
              <a:ext uri="{FF2B5EF4-FFF2-40B4-BE49-F238E27FC236}">
                <a16:creationId xmlns:a16="http://schemas.microsoft.com/office/drawing/2014/main" id="{0CC60021-E055-C97D-724E-85D0C54F8973}"/>
              </a:ext>
            </a:extLst>
          </p:cNvPr>
          <p:cNvGrpSpPr/>
          <p:nvPr/>
        </p:nvGrpSpPr>
        <p:grpSpPr>
          <a:xfrm>
            <a:off x="4516847" y="1317248"/>
            <a:ext cx="3029019" cy="386409"/>
            <a:chOff x="4360893" y="2038828"/>
            <a:chExt cx="3017520" cy="384943"/>
          </a:xfrm>
        </p:grpSpPr>
        <p:sp>
          <p:nvSpPr>
            <p:cNvPr id="37" name="Google Shape;2192;p38">
              <a:extLst>
                <a:ext uri="{FF2B5EF4-FFF2-40B4-BE49-F238E27FC236}">
                  <a16:creationId xmlns:a16="http://schemas.microsoft.com/office/drawing/2014/main" id="{A733935B-D150-A4AE-F62C-DAE90E112557}"/>
                </a:ext>
              </a:extLst>
            </p:cNvPr>
            <p:cNvSpPr txBox="1"/>
            <p:nvPr/>
          </p:nvSpPr>
          <p:spPr>
            <a:xfrm>
              <a:off x="4360893" y="2254494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>
                <a:buClr>
                  <a:schemeClr val="dk1"/>
                </a:buClr>
                <a:buSzPts val="1100"/>
              </a:pPr>
              <a:r>
                <a:rPr lang="en-US" sz="1600" dirty="0">
                  <a:ea typeface="Trebuchet MS"/>
                  <a:cs typeface="Arial" panose="020B0604020202020204" pitchFamily="34" charset="0"/>
                  <a:sym typeface="Trebuchet MS"/>
                </a:rPr>
                <a:t>Insert Text Here</a:t>
              </a:r>
              <a:endParaRPr sz="1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38" name="Google Shape;2193;p38">
              <a:extLst>
                <a:ext uri="{FF2B5EF4-FFF2-40B4-BE49-F238E27FC236}">
                  <a16:creationId xmlns:a16="http://schemas.microsoft.com/office/drawing/2014/main" id="{0F526AFB-C6E8-F537-E6E0-0B374179032A}"/>
                </a:ext>
              </a:extLst>
            </p:cNvPr>
            <p:cNvSpPr txBox="1"/>
            <p:nvPr/>
          </p:nvSpPr>
          <p:spPr>
            <a:xfrm>
              <a:off x="4360893" y="2038828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noAutofit/>
            </a:bodyPr>
            <a:lstStyle/>
            <a:p>
              <a:pPr>
                <a:buClr>
                  <a:schemeClr val="dk1"/>
                </a:buClr>
                <a:buSzPts val="1300"/>
              </a:pPr>
              <a:r>
                <a:rPr lang="en-US" sz="1600" b="1" dirty="0">
                  <a:ea typeface="Trebuchet MS"/>
                  <a:cs typeface="Arial" panose="020B0604020202020204" pitchFamily="34" charset="0"/>
                  <a:sym typeface="Trebuchet MS"/>
                </a:rPr>
                <a:t>Title</a:t>
              </a:r>
              <a:endParaRPr sz="1600" dirty="0"/>
            </a:p>
          </p:txBody>
        </p:sp>
      </p:grpSp>
      <p:sp>
        <p:nvSpPr>
          <p:cNvPr id="39" name="Google Shape;2195;p38">
            <a:extLst>
              <a:ext uri="{FF2B5EF4-FFF2-40B4-BE49-F238E27FC236}">
                <a16:creationId xmlns:a16="http://schemas.microsoft.com/office/drawing/2014/main" id="{878AEC8A-FE78-5E0A-9D33-9C9F2891CA62}"/>
              </a:ext>
            </a:extLst>
          </p:cNvPr>
          <p:cNvSpPr/>
          <p:nvPr/>
        </p:nvSpPr>
        <p:spPr>
          <a:xfrm>
            <a:off x="7667384" y="1244045"/>
            <a:ext cx="531942" cy="532374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none" lIns="45221" tIns="45221" rIns="45221" bIns="45221" anchor="ctr" anchorCtr="0">
            <a:no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ea typeface="Trebuchet MS"/>
                <a:cs typeface="Arial" panose="020B0604020202020204" pitchFamily="34" charset="0"/>
                <a:sym typeface="Trebuchet MS"/>
              </a:rPr>
              <a:t>6</a:t>
            </a:r>
            <a:endParaRPr sz="2000" dirty="0">
              <a:solidFill>
                <a:schemeClr val="bg1"/>
              </a:solidFill>
            </a:endParaRPr>
          </a:p>
        </p:txBody>
      </p:sp>
      <p:grpSp>
        <p:nvGrpSpPr>
          <p:cNvPr id="40" name="Google Shape;2196;p38">
            <a:extLst>
              <a:ext uri="{FF2B5EF4-FFF2-40B4-BE49-F238E27FC236}">
                <a16:creationId xmlns:a16="http://schemas.microsoft.com/office/drawing/2014/main" id="{31A17FA2-E492-20A2-1D99-57C8958E4040}"/>
              </a:ext>
            </a:extLst>
          </p:cNvPr>
          <p:cNvGrpSpPr/>
          <p:nvPr/>
        </p:nvGrpSpPr>
        <p:grpSpPr>
          <a:xfrm>
            <a:off x="8535439" y="1317028"/>
            <a:ext cx="3029020" cy="386410"/>
            <a:chOff x="8686149" y="2038828"/>
            <a:chExt cx="3017520" cy="384943"/>
          </a:xfrm>
        </p:grpSpPr>
        <p:sp>
          <p:nvSpPr>
            <p:cNvPr id="41" name="Google Shape;2197;p38">
              <a:extLst>
                <a:ext uri="{FF2B5EF4-FFF2-40B4-BE49-F238E27FC236}">
                  <a16:creationId xmlns:a16="http://schemas.microsoft.com/office/drawing/2014/main" id="{01114EC5-4340-15CE-20CC-89A83BBC81E7}"/>
                </a:ext>
              </a:extLst>
            </p:cNvPr>
            <p:cNvSpPr txBox="1"/>
            <p:nvPr/>
          </p:nvSpPr>
          <p:spPr>
            <a:xfrm>
              <a:off x="8686149" y="2254494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>
                <a:buClr>
                  <a:schemeClr val="dk1"/>
                </a:buClr>
                <a:buSzPts val="1100"/>
              </a:pPr>
              <a:r>
                <a:rPr lang="en-US" sz="1600" dirty="0">
                  <a:ea typeface="Trebuchet MS"/>
                  <a:cs typeface="Arial" panose="020B0604020202020204" pitchFamily="34" charset="0"/>
                  <a:sym typeface="Trebuchet MS"/>
                </a:rPr>
                <a:t>Insert Text Here</a:t>
              </a:r>
              <a:endParaRPr sz="1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42" name="Google Shape;2198;p38">
              <a:extLst>
                <a:ext uri="{FF2B5EF4-FFF2-40B4-BE49-F238E27FC236}">
                  <a16:creationId xmlns:a16="http://schemas.microsoft.com/office/drawing/2014/main" id="{80D0A7BD-67C6-206F-42D7-467105E28201}"/>
                </a:ext>
              </a:extLst>
            </p:cNvPr>
            <p:cNvSpPr txBox="1"/>
            <p:nvPr/>
          </p:nvSpPr>
          <p:spPr>
            <a:xfrm>
              <a:off x="8686149" y="2038828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noAutofit/>
            </a:bodyPr>
            <a:lstStyle/>
            <a:p>
              <a:pPr>
                <a:buClr>
                  <a:schemeClr val="dk1"/>
                </a:buClr>
                <a:buSzPts val="1300"/>
              </a:pPr>
              <a:r>
                <a:rPr lang="en-US" sz="1600" b="1" dirty="0">
                  <a:ea typeface="Trebuchet MS"/>
                  <a:cs typeface="Arial" panose="020B0604020202020204" pitchFamily="34" charset="0"/>
                  <a:sym typeface="Trebuchet MS"/>
                </a:rPr>
                <a:t>Title</a:t>
              </a:r>
              <a:endParaRPr sz="1600" dirty="0"/>
            </a:p>
          </p:txBody>
        </p:sp>
      </p:grpSp>
      <p:sp>
        <p:nvSpPr>
          <p:cNvPr id="43" name="Google Shape;2200;p38">
            <a:extLst>
              <a:ext uri="{FF2B5EF4-FFF2-40B4-BE49-F238E27FC236}">
                <a16:creationId xmlns:a16="http://schemas.microsoft.com/office/drawing/2014/main" id="{1F6AC5D9-E33C-3CE5-D633-3556702A1954}"/>
              </a:ext>
            </a:extLst>
          </p:cNvPr>
          <p:cNvSpPr/>
          <p:nvPr/>
        </p:nvSpPr>
        <p:spPr>
          <a:xfrm>
            <a:off x="7667384" y="2103281"/>
            <a:ext cx="531942" cy="532374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none" lIns="45221" tIns="45221" rIns="45221" bIns="45221" anchor="ctr" anchorCtr="0">
            <a:no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ea typeface="Trebuchet MS"/>
                <a:cs typeface="Arial" panose="020B0604020202020204" pitchFamily="34" charset="0"/>
                <a:sym typeface="Trebuchet MS"/>
              </a:rPr>
              <a:t>7</a:t>
            </a:r>
            <a:endParaRPr sz="2000" dirty="0">
              <a:solidFill>
                <a:schemeClr val="bg1"/>
              </a:solidFill>
            </a:endParaRPr>
          </a:p>
        </p:txBody>
      </p:sp>
      <p:grpSp>
        <p:nvGrpSpPr>
          <p:cNvPr id="44" name="Google Shape;2201;p38">
            <a:extLst>
              <a:ext uri="{FF2B5EF4-FFF2-40B4-BE49-F238E27FC236}">
                <a16:creationId xmlns:a16="http://schemas.microsoft.com/office/drawing/2014/main" id="{5DC87524-1A44-65EE-39A0-580DE5A9CC4C}"/>
              </a:ext>
            </a:extLst>
          </p:cNvPr>
          <p:cNvGrpSpPr/>
          <p:nvPr/>
        </p:nvGrpSpPr>
        <p:grpSpPr>
          <a:xfrm>
            <a:off x="8535439" y="2176264"/>
            <a:ext cx="3029020" cy="386410"/>
            <a:chOff x="8686149" y="2840540"/>
            <a:chExt cx="3017520" cy="384943"/>
          </a:xfrm>
        </p:grpSpPr>
        <p:sp>
          <p:nvSpPr>
            <p:cNvPr id="45" name="Google Shape;2202;p38">
              <a:extLst>
                <a:ext uri="{FF2B5EF4-FFF2-40B4-BE49-F238E27FC236}">
                  <a16:creationId xmlns:a16="http://schemas.microsoft.com/office/drawing/2014/main" id="{6AA1C12B-C692-D265-6530-8DF7DEDF4188}"/>
                </a:ext>
              </a:extLst>
            </p:cNvPr>
            <p:cNvSpPr txBox="1"/>
            <p:nvPr/>
          </p:nvSpPr>
          <p:spPr>
            <a:xfrm>
              <a:off x="8686149" y="3056206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>
                <a:buClr>
                  <a:schemeClr val="dk1"/>
                </a:buClr>
                <a:buSzPts val="1100"/>
              </a:pPr>
              <a:r>
                <a:rPr lang="en-US" sz="1600" dirty="0">
                  <a:ea typeface="Trebuchet MS"/>
                  <a:cs typeface="Arial" panose="020B0604020202020204" pitchFamily="34" charset="0"/>
                  <a:sym typeface="Trebuchet MS"/>
                </a:rPr>
                <a:t>Insert Text Here</a:t>
              </a:r>
              <a:endParaRPr sz="1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46" name="Google Shape;2203;p38">
              <a:extLst>
                <a:ext uri="{FF2B5EF4-FFF2-40B4-BE49-F238E27FC236}">
                  <a16:creationId xmlns:a16="http://schemas.microsoft.com/office/drawing/2014/main" id="{75C10B76-A6D4-BB01-5BA8-ACD1396FC797}"/>
                </a:ext>
              </a:extLst>
            </p:cNvPr>
            <p:cNvSpPr txBox="1"/>
            <p:nvPr/>
          </p:nvSpPr>
          <p:spPr>
            <a:xfrm>
              <a:off x="8686149" y="2840540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noAutofit/>
            </a:bodyPr>
            <a:lstStyle/>
            <a:p>
              <a:pPr>
                <a:buClr>
                  <a:schemeClr val="dk1"/>
                </a:buClr>
                <a:buSzPts val="1300"/>
              </a:pPr>
              <a:r>
                <a:rPr lang="en-US" sz="1600" b="1" dirty="0">
                  <a:ea typeface="Trebuchet MS"/>
                  <a:cs typeface="Arial" panose="020B0604020202020204" pitchFamily="34" charset="0"/>
                  <a:sym typeface="Trebuchet MS"/>
                </a:rPr>
                <a:t>Title</a:t>
              </a:r>
              <a:endParaRPr sz="1600" dirty="0"/>
            </a:p>
          </p:txBody>
        </p:sp>
      </p:grpSp>
      <p:sp>
        <p:nvSpPr>
          <p:cNvPr id="47" name="Google Shape;2205;p38">
            <a:extLst>
              <a:ext uri="{FF2B5EF4-FFF2-40B4-BE49-F238E27FC236}">
                <a16:creationId xmlns:a16="http://schemas.microsoft.com/office/drawing/2014/main" id="{5B28A65D-E7D5-A941-2D19-7117256F3979}"/>
              </a:ext>
            </a:extLst>
          </p:cNvPr>
          <p:cNvSpPr/>
          <p:nvPr/>
        </p:nvSpPr>
        <p:spPr>
          <a:xfrm>
            <a:off x="7667384" y="3490198"/>
            <a:ext cx="531942" cy="532374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none" lIns="45221" tIns="45221" rIns="45221" bIns="45221" anchor="ctr" anchorCtr="0">
            <a:no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ea typeface="Trebuchet MS"/>
                <a:cs typeface="Arial" panose="020B0604020202020204" pitchFamily="34" charset="0"/>
                <a:sym typeface="Trebuchet MS"/>
              </a:rPr>
              <a:t>8</a:t>
            </a:r>
            <a:endParaRPr sz="2000" dirty="0">
              <a:solidFill>
                <a:schemeClr val="bg1"/>
              </a:solidFill>
            </a:endParaRPr>
          </a:p>
        </p:txBody>
      </p:sp>
      <p:grpSp>
        <p:nvGrpSpPr>
          <p:cNvPr id="48" name="Google Shape;2206;p38">
            <a:extLst>
              <a:ext uri="{FF2B5EF4-FFF2-40B4-BE49-F238E27FC236}">
                <a16:creationId xmlns:a16="http://schemas.microsoft.com/office/drawing/2014/main" id="{076F855E-03B1-72F6-EF86-23B420FC4B42}"/>
              </a:ext>
            </a:extLst>
          </p:cNvPr>
          <p:cNvGrpSpPr/>
          <p:nvPr/>
        </p:nvGrpSpPr>
        <p:grpSpPr>
          <a:xfrm>
            <a:off x="8535439" y="3563180"/>
            <a:ext cx="3029020" cy="386410"/>
            <a:chOff x="8686149" y="3982840"/>
            <a:chExt cx="3017520" cy="384943"/>
          </a:xfrm>
        </p:grpSpPr>
        <p:sp>
          <p:nvSpPr>
            <p:cNvPr id="49" name="Google Shape;2207;p38">
              <a:extLst>
                <a:ext uri="{FF2B5EF4-FFF2-40B4-BE49-F238E27FC236}">
                  <a16:creationId xmlns:a16="http://schemas.microsoft.com/office/drawing/2014/main" id="{9E6B87B0-3874-8085-A0AD-0F032CF25321}"/>
                </a:ext>
              </a:extLst>
            </p:cNvPr>
            <p:cNvSpPr txBox="1"/>
            <p:nvPr/>
          </p:nvSpPr>
          <p:spPr>
            <a:xfrm>
              <a:off x="8686149" y="4198506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>
                <a:buClr>
                  <a:schemeClr val="dk1"/>
                </a:buClr>
                <a:buSzPts val="1100"/>
              </a:pPr>
              <a:r>
                <a:rPr lang="en-US" sz="1600" dirty="0">
                  <a:ea typeface="Trebuchet MS"/>
                  <a:cs typeface="Arial" panose="020B0604020202020204" pitchFamily="34" charset="0"/>
                  <a:sym typeface="Trebuchet MS"/>
                </a:rPr>
                <a:t>Insert Text Here</a:t>
              </a:r>
              <a:endParaRPr sz="1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50" name="Google Shape;2208;p38">
              <a:extLst>
                <a:ext uri="{FF2B5EF4-FFF2-40B4-BE49-F238E27FC236}">
                  <a16:creationId xmlns:a16="http://schemas.microsoft.com/office/drawing/2014/main" id="{F40CEFCC-4FD9-35BC-0EBE-9CE149369A64}"/>
                </a:ext>
              </a:extLst>
            </p:cNvPr>
            <p:cNvSpPr txBox="1"/>
            <p:nvPr/>
          </p:nvSpPr>
          <p:spPr>
            <a:xfrm>
              <a:off x="8686149" y="3982840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noAutofit/>
            </a:bodyPr>
            <a:lstStyle/>
            <a:p>
              <a:pPr>
                <a:buClr>
                  <a:schemeClr val="dk1"/>
                </a:buClr>
                <a:buSzPts val="1300"/>
              </a:pPr>
              <a:r>
                <a:rPr lang="en-US" sz="1600" b="1" dirty="0">
                  <a:ea typeface="Trebuchet MS"/>
                  <a:cs typeface="Arial" panose="020B0604020202020204" pitchFamily="34" charset="0"/>
                  <a:sym typeface="Trebuchet MS"/>
                </a:rPr>
                <a:t>Title</a:t>
              </a:r>
              <a:endParaRPr sz="1600" dirty="0"/>
            </a:p>
          </p:txBody>
        </p:sp>
      </p:grpSp>
      <p:sp>
        <p:nvSpPr>
          <p:cNvPr id="51" name="Google Shape;2210;p38">
            <a:extLst>
              <a:ext uri="{FF2B5EF4-FFF2-40B4-BE49-F238E27FC236}">
                <a16:creationId xmlns:a16="http://schemas.microsoft.com/office/drawing/2014/main" id="{87E3BDB3-AF78-61BC-52B0-0A0C304662C3}"/>
              </a:ext>
            </a:extLst>
          </p:cNvPr>
          <p:cNvSpPr/>
          <p:nvPr/>
        </p:nvSpPr>
        <p:spPr>
          <a:xfrm>
            <a:off x="7667384" y="4349434"/>
            <a:ext cx="531942" cy="532374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none" lIns="45221" tIns="45221" rIns="45221" bIns="45221" anchor="ctr" anchorCtr="0">
            <a:no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ea typeface="Trebuchet MS"/>
                <a:cs typeface="Arial" panose="020B0604020202020204" pitchFamily="34" charset="0"/>
                <a:sym typeface="Trebuchet MS"/>
              </a:rPr>
              <a:t>9</a:t>
            </a:r>
            <a:endParaRPr sz="2000" dirty="0">
              <a:solidFill>
                <a:schemeClr val="bg1"/>
              </a:solidFill>
            </a:endParaRPr>
          </a:p>
        </p:txBody>
      </p:sp>
      <p:grpSp>
        <p:nvGrpSpPr>
          <p:cNvPr id="52" name="Google Shape;2211;p38">
            <a:extLst>
              <a:ext uri="{FF2B5EF4-FFF2-40B4-BE49-F238E27FC236}">
                <a16:creationId xmlns:a16="http://schemas.microsoft.com/office/drawing/2014/main" id="{C9D0E20C-D462-DB1E-FB7D-901ACFC24AE1}"/>
              </a:ext>
            </a:extLst>
          </p:cNvPr>
          <p:cNvGrpSpPr/>
          <p:nvPr/>
        </p:nvGrpSpPr>
        <p:grpSpPr>
          <a:xfrm>
            <a:off x="8535439" y="4422417"/>
            <a:ext cx="3029020" cy="386410"/>
            <a:chOff x="8686149" y="4862299"/>
            <a:chExt cx="3017520" cy="384943"/>
          </a:xfrm>
        </p:grpSpPr>
        <p:sp>
          <p:nvSpPr>
            <p:cNvPr id="53" name="Google Shape;2212;p38">
              <a:extLst>
                <a:ext uri="{FF2B5EF4-FFF2-40B4-BE49-F238E27FC236}">
                  <a16:creationId xmlns:a16="http://schemas.microsoft.com/office/drawing/2014/main" id="{2EC6CB52-80C4-EFB2-9420-C2FA7DB4278E}"/>
                </a:ext>
              </a:extLst>
            </p:cNvPr>
            <p:cNvSpPr txBox="1"/>
            <p:nvPr/>
          </p:nvSpPr>
          <p:spPr>
            <a:xfrm>
              <a:off x="8686149" y="5077965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>
                <a:buClr>
                  <a:schemeClr val="dk1"/>
                </a:buClr>
                <a:buSzPts val="1100"/>
              </a:pPr>
              <a:r>
                <a:rPr lang="en-US" sz="1600" dirty="0">
                  <a:ea typeface="Trebuchet MS"/>
                  <a:cs typeface="Arial" panose="020B0604020202020204" pitchFamily="34" charset="0"/>
                  <a:sym typeface="Trebuchet MS"/>
                </a:rPr>
                <a:t>Insert Text Here</a:t>
              </a:r>
              <a:endParaRPr sz="1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54" name="Google Shape;2213;p38">
              <a:extLst>
                <a:ext uri="{FF2B5EF4-FFF2-40B4-BE49-F238E27FC236}">
                  <a16:creationId xmlns:a16="http://schemas.microsoft.com/office/drawing/2014/main" id="{C37D9A57-838B-4CD0-6A98-69508B77FF56}"/>
                </a:ext>
              </a:extLst>
            </p:cNvPr>
            <p:cNvSpPr txBox="1"/>
            <p:nvPr/>
          </p:nvSpPr>
          <p:spPr>
            <a:xfrm>
              <a:off x="8686149" y="4862299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noAutofit/>
            </a:bodyPr>
            <a:lstStyle/>
            <a:p>
              <a:pPr>
                <a:buClr>
                  <a:schemeClr val="dk1"/>
                </a:buClr>
                <a:buSzPts val="1300"/>
              </a:pPr>
              <a:r>
                <a:rPr lang="en-US" sz="1600" b="1" dirty="0">
                  <a:ea typeface="Trebuchet MS"/>
                  <a:cs typeface="Arial" panose="020B0604020202020204" pitchFamily="34" charset="0"/>
                  <a:sym typeface="Trebuchet MS"/>
                </a:rPr>
                <a:t>Title</a:t>
              </a:r>
              <a:endParaRPr sz="1600" dirty="0"/>
            </a:p>
          </p:txBody>
        </p:sp>
      </p:grpSp>
      <p:sp>
        <p:nvSpPr>
          <p:cNvPr id="56" name="Google Shape;2215;p38">
            <a:extLst>
              <a:ext uri="{FF2B5EF4-FFF2-40B4-BE49-F238E27FC236}">
                <a16:creationId xmlns:a16="http://schemas.microsoft.com/office/drawing/2014/main" id="{87D43A73-068D-5390-3038-A892D5CBB9A0}"/>
              </a:ext>
            </a:extLst>
          </p:cNvPr>
          <p:cNvSpPr/>
          <p:nvPr/>
        </p:nvSpPr>
        <p:spPr>
          <a:xfrm>
            <a:off x="3677724" y="5208225"/>
            <a:ext cx="532818" cy="53281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45221" tIns="45221" rIns="45221" bIns="45221" anchor="ctr" anchorCtr="0">
            <a:no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ea typeface="Trebuchet MS"/>
                <a:cs typeface="Arial" panose="020B0604020202020204" pitchFamily="34" charset="0"/>
                <a:sym typeface="Trebuchet MS"/>
              </a:rPr>
              <a:t>5</a:t>
            </a:r>
            <a:endParaRPr sz="2000" dirty="0">
              <a:solidFill>
                <a:schemeClr val="bg1"/>
              </a:solidFill>
            </a:endParaRPr>
          </a:p>
        </p:txBody>
      </p:sp>
      <p:grpSp>
        <p:nvGrpSpPr>
          <p:cNvPr id="57" name="Google Shape;2216;p38">
            <a:extLst>
              <a:ext uri="{FF2B5EF4-FFF2-40B4-BE49-F238E27FC236}">
                <a16:creationId xmlns:a16="http://schemas.microsoft.com/office/drawing/2014/main" id="{281551A4-AA3A-3495-2FF1-1FFF8C00E849}"/>
              </a:ext>
            </a:extLst>
          </p:cNvPr>
          <p:cNvGrpSpPr/>
          <p:nvPr/>
        </p:nvGrpSpPr>
        <p:grpSpPr>
          <a:xfrm>
            <a:off x="4516847" y="5281428"/>
            <a:ext cx="3029019" cy="386409"/>
            <a:chOff x="4360893" y="5696988"/>
            <a:chExt cx="3017520" cy="384943"/>
          </a:xfrm>
        </p:grpSpPr>
        <p:sp>
          <p:nvSpPr>
            <p:cNvPr id="58" name="Google Shape;2217;p38">
              <a:extLst>
                <a:ext uri="{FF2B5EF4-FFF2-40B4-BE49-F238E27FC236}">
                  <a16:creationId xmlns:a16="http://schemas.microsoft.com/office/drawing/2014/main" id="{FF760BE0-5157-6B2D-5835-EDD8BA97E40D}"/>
                </a:ext>
              </a:extLst>
            </p:cNvPr>
            <p:cNvSpPr txBox="1"/>
            <p:nvPr/>
          </p:nvSpPr>
          <p:spPr>
            <a:xfrm>
              <a:off x="4360893" y="5912654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>
                <a:buClr>
                  <a:schemeClr val="dk1"/>
                </a:buClr>
                <a:buSzPts val="1100"/>
              </a:pPr>
              <a:r>
                <a:rPr lang="en-US" sz="1600" dirty="0">
                  <a:ea typeface="Trebuchet MS"/>
                  <a:cs typeface="Arial" panose="020B0604020202020204" pitchFamily="34" charset="0"/>
                  <a:sym typeface="Trebuchet MS"/>
                </a:rPr>
                <a:t>Insert Text Here</a:t>
              </a:r>
              <a:endParaRPr sz="1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59" name="Google Shape;2218;p38">
              <a:extLst>
                <a:ext uri="{FF2B5EF4-FFF2-40B4-BE49-F238E27FC236}">
                  <a16:creationId xmlns:a16="http://schemas.microsoft.com/office/drawing/2014/main" id="{DD03DB0B-63B5-F0FE-47F2-D1385D21B34A}"/>
                </a:ext>
              </a:extLst>
            </p:cNvPr>
            <p:cNvSpPr txBox="1"/>
            <p:nvPr/>
          </p:nvSpPr>
          <p:spPr>
            <a:xfrm>
              <a:off x="4360893" y="5696988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noAutofit/>
            </a:bodyPr>
            <a:lstStyle/>
            <a:p>
              <a:pPr>
                <a:buClr>
                  <a:schemeClr val="dk1"/>
                </a:buClr>
                <a:buSzPts val="1300"/>
              </a:pPr>
              <a:r>
                <a:rPr lang="en-US" sz="1600" b="1" dirty="0">
                  <a:ea typeface="Trebuchet MS"/>
                  <a:cs typeface="Arial" panose="020B0604020202020204" pitchFamily="34" charset="0"/>
                  <a:sym typeface="Trebuchet MS"/>
                </a:rPr>
                <a:t>Title</a:t>
              </a:r>
              <a:endParaRPr sz="1600" dirty="0"/>
            </a:p>
          </p:txBody>
        </p:sp>
      </p:grpSp>
      <p:sp>
        <p:nvSpPr>
          <p:cNvPr id="60" name="Google Shape;2220;p38">
            <a:extLst>
              <a:ext uri="{FF2B5EF4-FFF2-40B4-BE49-F238E27FC236}">
                <a16:creationId xmlns:a16="http://schemas.microsoft.com/office/drawing/2014/main" id="{F4B6F788-FA05-7B5D-6689-C42420EB5566}"/>
              </a:ext>
            </a:extLst>
          </p:cNvPr>
          <p:cNvSpPr/>
          <p:nvPr/>
        </p:nvSpPr>
        <p:spPr>
          <a:xfrm>
            <a:off x="7667384" y="5208669"/>
            <a:ext cx="531942" cy="532374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none" lIns="45221" tIns="45221" rIns="45221" bIns="45221" anchor="ctr" anchorCtr="0">
            <a:no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ea typeface="Trebuchet MS"/>
                <a:cs typeface="Arial" panose="020B0604020202020204" pitchFamily="34" charset="0"/>
                <a:sym typeface="Trebuchet MS"/>
              </a:rPr>
              <a:t>10</a:t>
            </a:r>
            <a:endParaRPr sz="2000" dirty="0">
              <a:solidFill>
                <a:schemeClr val="bg1"/>
              </a:solidFill>
            </a:endParaRPr>
          </a:p>
        </p:txBody>
      </p:sp>
      <p:grpSp>
        <p:nvGrpSpPr>
          <p:cNvPr id="61" name="Google Shape;2221;p38">
            <a:extLst>
              <a:ext uri="{FF2B5EF4-FFF2-40B4-BE49-F238E27FC236}">
                <a16:creationId xmlns:a16="http://schemas.microsoft.com/office/drawing/2014/main" id="{5E1A3793-9657-A7CD-5992-711B6A84F4DB}"/>
              </a:ext>
            </a:extLst>
          </p:cNvPr>
          <p:cNvGrpSpPr/>
          <p:nvPr/>
        </p:nvGrpSpPr>
        <p:grpSpPr>
          <a:xfrm>
            <a:off x="8535439" y="5281652"/>
            <a:ext cx="3029020" cy="386410"/>
            <a:chOff x="8686149" y="5696988"/>
            <a:chExt cx="3017520" cy="384943"/>
          </a:xfrm>
        </p:grpSpPr>
        <p:sp>
          <p:nvSpPr>
            <p:cNvPr id="62" name="Google Shape;2222;p38">
              <a:extLst>
                <a:ext uri="{FF2B5EF4-FFF2-40B4-BE49-F238E27FC236}">
                  <a16:creationId xmlns:a16="http://schemas.microsoft.com/office/drawing/2014/main" id="{E706ED80-B586-454A-158B-AEDA818195C2}"/>
                </a:ext>
              </a:extLst>
            </p:cNvPr>
            <p:cNvSpPr txBox="1"/>
            <p:nvPr/>
          </p:nvSpPr>
          <p:spPr>
            <a:xfrm>
              <a:off x="8686149" y="5912654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>
                <a:buClr>
                  <a:schemeClr val="dk1"/>
                </a:buClr>
                <a:buSzPts val="1100"/>
              </a:pPr>
              <a:r>
                <a:rPr lang="en-US" sz="1600" dirty="0">
                  <a:ea typeface="Trebuchet MS"/>
                  <a:cs typeface="Arial" panose="020B0604020202020204" pitchFamily="34" charset="0"/>
                  <a:sym typeface="Trebuchet MS"/>
                </a:rPr>
                <a:t>Insert Text Here</a:t>
              </a:r>
              <a:endParaRPr sz="1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63" name="Google Shape;2223;p38">
              <a:extLst>
                <a:ext uri="{FF2B5EF4-FFF2-40B4-BE49-F238E27FC236}">
                  <a16:creationId xmlns:a16="http://schemas.microsoft.com/office/drawing/2014/main" id="{6FA76D51-FC0E-28E3-DA76-3C86C83723DA}"/>
                </a:ext>
              </a:extLst>
            </p:cNvPr>
            <p:cNvSpPr txBox="1"/>
            <p:nvPr/>
          </p:nvSpPr>
          <p:spPr>
            <a:xfrm>
              <a:off x="8686149" y="5696988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noAutofit/>
            </a:bodyPr>
            <a:lstStyle/>
            <a:p>
              <a:pPr>
                <a:buClr>
                  <a:schemeClr val="dk1"/>
                </a:buClr>
                <a:buSzPts val="1300"/>
              </a:pPr>
              <a:r>
                <a:rPr lang="en-US" sz="1600" b="1" dirty="0">
                  <a:ea typeface="Trebuchet MS"/>
                  <a:cs typeface="Arial" panose="020B0604020202020204" pitchFamily="34" charset="0"/>
                  <a:sym typeface="Trebuchet MS"/>
                </a:rPr>
                <a:t>Title</a:t>
              </a:r>
              <a:endParaRPr sz="1600" dirty="0"/>
            </a:p>
          </p:txBody>
        </p:sp>
      </p:grpSp>
      <p:sp>
        <p:nvSpPr>
          <p:cNvPr id="64" name="Google Shape;2224;p38">
            <a:extLst>
              <a:ext uri="{FF2B5EF4-FFF2-40B4-BE49-F238E27FC236}">
                <a16:creationId xmlns:a16="http://schemas.microsoft.com/office/drawing/2014/main" id="{9E248384-AE58-4855-3D8F-EDC12E113DE7}"/>
              </a:ext>
            </a:extLst>
          </p:cNvPr>
          <p:cNvSpPr txBox="1"/>
          <p:nvPr/>
        </p:nvSpPr>
        <p:spPr>
          <a:xfrm>
            <a:off x="3509690" y="4680989"/>
            <a:ext cx="2753655" cy="253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buClr>
                <a:schemeClr val="dk2"/>
              </a:buClr>
              <a:buSzPts val="1300"/>
            </a:pPr>
            <a:r>
              <a:rPr lang="en-US" sz="1600" b="1" dirty="0">
                <a:ea typeface="Trebuchet MS"/>
                <a:cs typeface="Arial" panose="020B0604020202020204" pitchFamily="34" charset="0"/>
                <a:sym typeface="Trebuchet MS"/>
              </a:rPr>
              <a:t>----- Lunch Break -----</a:t>
            </a:r>
            <a:endParaRPr sz="1600" b="1" dirty="0"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65" name="Google Shape;2225;p38">
            <a:extLst>
              <a:ext uri="{FF2B5EF4-FFF2-40B4-BE49-F238E27FC236}">
                <a16:creationId xmlns:a16="http://schemas.microsoft.com/office/drawing/2014/main" id="{3D2F66FA-F1BE-49C6-3000-2442489F3985}"/>
              </a:ext>
            </a:extLst>
          </p:cNvPr>
          <p:cNvSpPr txBox="1"/>
          <p:nvPr/>
        </p:nvSpPr>
        <p:spPr>
          <a:xfrm>
            <a:off x="7677486" y="2962518"/>
            <a:ext cx="2753655" cy="253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buClr>
                <a:schemeClr val="dk2"/>
              </a:buClr>
              <a:buSzPts val="1300"/>
            </a:pPr>
            <a:r>
              <a:rPr lang="en-US" sz="1600" b="1" dirty="0">
                <a:ea typeface="Trebuchet MS"/>
                <a:cs typeface="Arial" panose="020B0604020202020204" pitchFamily="34" charset="0"/>
                <a:sym typeface="Trebuchet MS"/>
              </a:rPr>
              <a:t>----- Coffee Break -----</a:t>
            </a:r>
            <a:endParaRPr sz="1600" b="1" dirty="0"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66" name="Google Shape;2037;p35">
            <a:extLst>
              <a:ext uri="{FF2B5EF4-FFF2-40B4-BE49-F238E27FC236}">
                <a16:creationId xmlns:a16="http://schemas.microsoft.com/office/drawing/2014/main" id="{999F0CD3-1A7F-F5AF-9492-9C7F282E7628}"/>
              </a:ext>
            </a:extLst>
          </p:cNvPr>
          <p:cNvSpPr/>
          <p:nvPr/>
        </p:nvSpPr>
        <p:spPr>
          <a:xfrm>
            <a:off x="627542" y="1244045"/>
            <a:ext cx="2901854" cy="449699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4000" dirty="0">
              <a:solidFill>
                <a:schemeClr val="lt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67" name="Google Shape;2039;p35">
            <a:extLst>
              <a:ext uri="{FF2B5EF4-FFF2-40B4-BE49-F238E27FC236}">
                <a16:creationId xmlns:a16="http://schemas.microsoft.com/office/drawing/2014/main" id="{D4C5A97E-CD31-098B-72ED-5127DE02DA37}"/>
              </a:ext>
            </a:extLst>
          </p:cNvPr>
          <p:cNvSpPr txBox="1"/>
          <p:nvPr/>
        </p:nvSpPr>
        <p:spPr>
          <a:xfrm>
            <a:off x="673755" y="2802094"/>
            <a:ext cx="2753655" cy="253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buClr>
                <a:schemeClr val="dk1"/>
              </a:buClr>
              <a:buSzPts val="1100"/>
            </a:pPr>
            <a:r>
              <a:rPr lang="en-US" sz="1600" b="1" dirty="0">
                <a:ea typeface="Trebuchet MS"/>
                <a:cs typeface="Arial" panose="020B0604020202020204" pitchFamily="34" charset="0"/>
                <a:sym typeface="Trebuchet MS"/>
              </a:rPr>
              <a:t>Date</a:t>
            </a:r>
            <a:endParaRPr sz="1600" b="1" dirty="0"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68" name="Google Shape;2040;p35">
            <a:extLst>
              <a:ext uri="{FF2B5EF4-FFF2-40B4-BE49-F238E27FC236}">
                <a16:creationId xmlns:a16="http://schemas.microsoft.com/office/drawing/2014/main" id="{513CC2C9-BF98-74C2-4EE6-A2E5DBC81F36}"/>
              </a:ext>
            </a:extLst>
          </p:cNvPr>
          <p:cNvSpPr txBox="1"/>
          <p:nvPr/>
        </p:nvSpPr>
        <p:spPr>
          <a:xfrm>
            <a:off x="673755" y="3929614"/>
            <a:ext cx="2753655" cy="253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algn="ctr">
              <a:buClr>
                <a:schemeClr val="dk1"/>
              </a:buClr>
              <a:buSzPts val="1100"/>
            </a:pPr>
            <a:r>
              <a:rPr lang="en-US" sz="1600" b="1" dirty="0"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600" dirty="0"/>
          </a:p>
        </p:txBody>
      </p:sp>
      <p:sp>
        <p:nvSpPr>
          <p:cNvPr id="69" name="Google Shape;2041;p35">
            <a:extLst>
              <a:ext uri="{FF2B5EF4-FFF2-40B4-BE49-F238E27FC236}">
                <a16:creationId xmlns:a16="http://schemas.microsoft.com/office/drawing/2014/main" id="{B7683109-5D78-FA88-8E4A-30183CA2F891}"/>
              </a:ext>
            </a:extLst>
          </p:cNvPr>
          <p:cNvSpPr txBox="1"/>
          <p:nvPr/>
        </p:nvSpPr>
        <p:spPr>
          <a:xfrm>
            <a:off x="673755" y="3369325"/>
            <a:ext cx="2753655" cy="2850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buClr>
                <a:schemeClr val="dk2"/>
              </a:buClr>
              <a:buSzPts val="1800"/>
            </a:pPr>
            <a:r>
              <a:rPr lang="en-US" b="1" dirty="0">
                <a:ea typeface="Trebuchet MS"/>
                <a:cs typeface="Arial" panose="020B0604020202020204" pitchFamily="34" charset="0"/>
                <a:sym typeface="Trebuchet MS"/>
              </a:rPr>
              <a:t>Title</a:t>
            </a:r>
            <a:endParaRPr b="1" dirty="0"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cxnSp>
        <p:nvCxnSpPr>
          <p:cNvPr id="70" name="Google Shape;2042;p35">
            <a:extLst>
              <a:ext uri="{FF2B5EF4-FFF2-40B4-BE49-F238E27FC236}">
                <a16:creationId xmlns:a16="http://schemas.microsoft.com/office/drawing/2014/main" id="{25CECE23-0AFD-D281-3D03-44EF752AFDEC}"/>
              </a:ext>
            </a:extLst>
          </p:cNvPr>
          <p:cNvCxnSpPr/>
          <p:nvPr/>
        </p:nvCxnSpPr>
        <p:spPr>
          <a:xfrm>
            <a:off x="627542" y="3161011"/>
            <a:ext cx="2901854" cy="0"/>
          </a:xfrm>
          <a:prstGeom prst="straightConnector1">
            <a:avLst/>
          </a:prstGeom>
          <a:noFill/>
          <a:ln w="9525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71" name="Google Shape;2043;p35">
            <a:extLst>
              <a:ext uri="{FF2B5EF4-FFF2-40B4-BE49-F238E27FC236}">
                <a16:creationId xmlns:a16="http://schemas.microsoft.com/office/drawing/2014/main" id="{5DE54ED5-BD70-5CB2-A1B7-3EF6D89E3B45}"/>
              </a:ext>
            </a:extLst>
          </p:cNvPr>
          <p:cNvCxnSpPr/>
          <p:nvPr/>
        </p:nvCxnSpPr>
        <p:spPr>
          <a:xfrm>
            <a:off x="627542" y="3824077"/>
            <a:ext cx="2901854" cy="0"/>
          </a:xfrm>
          <a:prstGeom prst="straightConnector1">
            <a:avLst/>
          </a:prstGeom>
          <a:noFill/>
          <a:ln w="9525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4006770319"/>
      </p:ext>
    </p:extLst>
  </p:cSld>
  <p:clrMapOvr>
    <a:masterClrMapping/>
  </p:clrMapOvr>
</p:sld>
</file>

<file path=ppt/slides/slide2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7F305C-D4B5-3347-8F13-E64764F313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B9885905-F857-4D8B-334B-739FC0EA0C1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9885905-F857-4D8B-334B-739FC0EA0C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35A8537-128C-C4E6-6FFC-6369B2B7F0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ase Study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3B7B9392-55C6-836E-EB0A-BDCF2376928A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200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6" name="Shape2_20210630_091508">
            <a:extLst>
              <a:ext uri="{FF2B5EF4-FFF2-40B4-BE49-F238E27FC236}">
                <a16:creationId xmlns:a16="http://schemas.microsoft.com/office/drawing/2014/main" id="{C37DCC02-1622-7660-5AF1-8F7511C165B6}"/>
              </a:ext>
            </a:extLst>
          </p:cNvPr>
          <p:cNvSpPr/>
          <p:nvPr/>
        </p:nvSpPr>
        <p:spPr>
          <a:xfrm>
            <a:off x="714254" y="2228736"/>
            <a:ext cx="586706" cy="584299"/>
          </a:xfrm>
          <a:custGeom>
            <a:avLst/>
            <a:gdLst/>
            <a:ahLst/>
            <a:cxnLst/>
            <a:rect l="l" t="t" r="r" b="b"/>
            <a:pathLst>
              <a:path w="3657" h="3636" extrusionOk="0">
                <a:moveTo>
                  <a:pt x="1829" y="123"/>
                </a:moveTo>
                <a:lnTo>
                  <a:pt x="1716" y="128"/>
                </a:lnTo>
                <a:lnTo>
                  <a:pt x="1606" y="138"/>
                </a:lnTo>
                <a:lnTo>
                  <a:pt x="1498" y="156"/>
                </a:lnTo>
                <a:lnTo>
                  <a:pt x="1393" y="180"/>
                </a:lnTo>
                <a:lnTo>
                  <a:pt x="1290" y="211"/>
                </a:lnTo>
                <a:lnTo>
                  <a:pt x="1190" y="247"/>
                </a:lnTo>
                <a:lnTo>
                  <a:pt x="1093" y="289"/>
                </a:lnTo>
                <a:lnTo>
                  <a:pt x="999" y="338"/>
                </a:lnTo>
                <a:lnTo>
                  <a:pt x="909" y="392"/>
                </a:lnTo>
                <a:lnTo>
                  <a:pt x="823" y="452"/>
                </a:lnTo>
                <a:lnTo>
                  <a:pt x="739" y="515"/>
                </a:lnTo>
                <a:lnTo>
                  <a:pt x="661" y="584"/>
                </a:lnTo>
                <a:lnTo>
                  <a:pt x="588" y="658"/>
                </a:lnTo>
                <a:lnTo>
                  <a:pt x="518" y="736"/>
                </a:lnTo>
                <a:lnTo>
                  <a:pt x="453" y="818"/>
                </a:lnTo>
                <a:lnTo>
                  <a:pt x="393" y="904"/>
                </a:lnTo>
                <a:lnTo>
                  <a:pt x="340" y="994"/>
                </a:lnTo>
                <a:lnTo>
                  <a:pt x="291" y="1087"/>
                </a:lnTo>
                <a:lnTo>
                  <a:pt x="248" y="1184"/>
                </a:lnTo>
                <a:lnTo>
                  <a:pt x="211" y="1283"/>
                </a:lnTo>
                <a:lnTo>
                  <a:pt x="180" y="1385"/>
                </a:lnTo>
                <a:lnTo>
                  <a:pt x="155" y="1490"/>
                </a:lnTo>
                <a:lnTo>
                  <a:pt x="138" y="1597"/>
                </a:lnTo>
                <a:lnTo>
                  <a:pt x="127" y="1707"/>
                </a:lnTo>
                <a:lnTo>
                  <a:pt x="124" y="1818"/>
                </a:lnTo>
                <a:lnTo>
                  <a:pt x="127" y="1929"/>
                </a:lnTo>
                <a:lnTo>
                  <a:pt x="138" y="2038"/>
                </a:lnTo>
                <a:lnTo>
                  <a:pt x="155" y="2145"/>
                </a:lnTo>
                <a:lnTo>
                  <a:pt x="180" y="2250"/>
                </a:lnTo>
                <a:lnTo>
                  <a:pt x="211" y="2353"/>
                </a:lnTo>
                <a:lnTo>
                  <a:pt x="248" y="2453"/>
                </a:lnTo>
                <a:lnTo>
                  <a:pt x="291" y="2548"/>
                </a:lnTo>
                <a:lnTo>
                  <a:pt x="340" y="2642"/>
                </a:lnTo>
                <a:lnTo>
                  <a:pt x="393" y="2732"/>
                </a:lnTo>
                <a:lnTo>
                  <a:pt x="453" y="2818"/>
                </a:lnTo>
                <a:lnTo>
                  <a:pt x="518" y="2900"/>
                </a:lnTo>
                <a:lnTo>
                  <a:pt x="588" y="2978"/>
                </a:lnTo>
                <a:lnTo>
                  <a:pt x="661" y="3052"/>
                </a:lnTo>
                <a:lnTo>
                  <a:pt x="739" y="3121"/>
                </a:lnTo>
                <a:lnTo>
                  <a:pt x="823" y="3185"/>
                </a:lnTo>
                <a:lnTo>
                  <a:pt x="909" y="3244"/>
                </a:lnTo>
                <a:lnTo>
                  <a:pt x="999" y="3298"/>
                </a:lnTo>
                <a:lnTo>
                  <a:pt x="1093" y="3346"/>
                </a:lnTo>
                <a:lnTo>
                  <a:pt x="1190" y="3389"/>
                </a:lnTo>
                <a:lnTo>
                  <a:pt x="1290" y="3426"/>
                </a:lnTo>
                <a:lnTo>
                  <a:pt x="1393" y="3456"/>
                </a:lnTo>
                <a:lnTo>
                  <a:pt x="1498" y="3480"/>
                </a:lnTo>
                <a:lnTo>
                  <a:pt x="1606" y="3497"/>
                </a:lnTo>
                <a:lnTo>
                  <a:pt x="1716" y="3509"/>
                </a:lnTo>
                <a:lnTo>
                  <a:pt x="1829" y="3512"/>
                </a:lnTo>
                <a:lnTo>
                  <a:pt x="1940" y="3509"/>
                </a:lnTo>
                <a:lnTo>
                  <a:pt x="2050" y="3497"/>
                </a:lnTo>
                <a:lnTo>
                  <a:pt x="2158" y="3480"/>
                </a:lnTo>
                <a:lnTo>
                  <a:pt x="2263" y="3456"/>
                </a:lnTo>
                <a:lnTo>
                  <a:pt x="2366" y="3426"/>
                </a:lnTo>
                <a:lnTo>
                  <a:pt x="2467" y="3389"/>
                </a:lnTo>
                <a:lnTo>
                  <a:pt x="2563" y="3346"/>
                </a:lnTo>
                <a:lnTo>
                  <a:pt x="2657" y="3298"/>
                </a:lnTo>
                <a:lnTo>
                  <a:pt x="2748" y="3244"/>
                </a:lnTo>
                <a:lnTo>
                  <a:pt x="2835" y="3185"/>
                </a:lnTo>
                <a:lnTo>
                  <a:pt x="2917" y="3121"/>
                </a:lnTo>
                <a:lnTo>
                  <a:pt x="2996" y="3052"/>
                </a:lnTo>
                <a:lnTo>
                  <a:pt x="3070" y="2978"/>
                </a:lnTo>
                <a:lnTo>
                  <a:pt x="3139" y="2900"/>
                </a:lnTo>
                <a:lnTo>
                  <a:pt x="3204" y="2818"/>
                </a:lnTo>
                <a:lnTo>
                  <a:pt x="3263" y="2732"/>
                </a:lnTo>
                <a:lnTo>
                  <a:pt x="3318" y="2642"/>
                </a:lnTo>
                <a:lnTo>
                  <a:pt x="3367" y="2548"/>
                </a:lnTo>
                <a:lnTo>
                  <a:pt x="3409" y="2453"/>
                </a:lnTo>
                <a:lnTo>
                  <a:pt x="3447" y="2353"/>
                </a:lnTo>
                <a:lnTo>
                  <a:pt x="3477" y="2250"/>
                </a:lnTo>
                <a:lnTo>
                  <a:pt x="3501" y="2145"/>
                </a:lnTo>
                <a:lnTo>
                  <a:pt x="3520" y="2038"/>
                </a:lnTo>
                <a:lnTo>
                  <a:pt x="3530" y="1929"/>
                </a:lnTo>
                <a:lnTo>
                  <a:pt x="3533" y="1818"/>
                </a:lnTo>
                <a:lnTo>
                  <a:pt x="3530" y="1707"/>
                </a:lnTo>
                <a:lnTo>
                  <a:pt x="3520" y="1597"/>
                </a:lnTo>
                <a:lnTo>
                  <a:pt x="3501" y="1490"/>
                </a:lnTo>
                <a:lnTo>
                  <a:pt x="3477" y="1385"/>
                </a:lnTo>
                <a:lnTo>
                  <a:pt x="3447" y="1283"/>
                </a:lnTo>
                <a:lnTo>
                  <a:pt x="3409" y="1184"/>
                </a:lnTo>
                <a:lnTo>
                  <a:pt x="3367" y="1087"/>
                </a:lnTo>
                <a:lnTo>
                  <a:pt x="3318" y="994"/>
                </a:lnTo>
                <a:lnTo>
                  <a:pt x="3263" y="904"/>
                </a:lnTo>
                <a:lnTo>
                  <a:pt x="3204" y="818"/>
                </a:lnTo>
                <a:lnTo>
                  <a:pt x="3139" y="736"/>
                </a:lnTo>
                <a:lnTo>
                  <a:pt x="3070" y="658"/>
                </a:lnTo>
                <a:lnTo>
                  <a:pt x="2996" y="584"/>
                </a:lnTo>
                <a:lnTo>
                  <a:pt x="2917" y="515"/>
                </a:lnTo>
                <a:lnTo>
                  <a:pt x="2835" y="452"/>
                </a:lnTo>
                <a:lnTo>
                  <a:pt x="2748" y="392"/>
                </a:lnTo>
                <a:lnTo>
                  <a:pt x="2657" y="338"/>
                </a:lnTo>
                <a:lnTo>
                  <a:pt x="2563" y="289"/>
                </a:lnTo>
                <a:lnTo>
                  <a:pt x="2467" y="247"/>
                </a:lnTo>
                <a:lnTo>
                  <a:pt x="2366" y="211"/>
                </a:lnTo>
                <a:lnTo>
                  <a:pt x="2263" y="180"/>
                </a:lnTo>
                <a:lnTo>
                  <a:pt x="2158" y="156"/>
                </a:lnTo>
                <a:lnTo>
                  <a:pt x="2050" y="138"/>
                </a:lnTo>
                <a:lnTo>
                  <a:pt x="1940" y="128"/>
                </a:lnTo>
                <a:lnTo>
                  <a:pt x="1829" y="123"/>
                </a:lnTo>
                <a:close/>
                <a:moveTo>
                  <a:pt x="1829" y="0"/>
                </a:moveTo>
                <a:lnTo>
                  <a:pt x="1943" y="5"/>
                </a:lnTo>
                <a:lnTo>
                  <a:pt x="2058" y="15"/>
                </a:lnTo>
                <a:lnTo>
                  <a:pt x="2169" y="32"/>
                </a:lnTo>
                <a:lnTo>
                  <a:pt x="2278" y="57"/>
                </a:lnTo>
                <a:lnTo>
                  <a:pt x="2385" y="87"/>
                </a:lnTo>
                <a:lnTo>
                  <a:pt x="2489" y="123"/>
                </a:lnTo>
                <a:lnTo>
                  <a:pt x="2590" y="166"/>
                </a:lnTo>
                <a:lnTo>
                  <a:pt x="2687" y="214"/>
                </a:lnTo>
                <a:lnTo>
                  <a:pt x="2782" y="267"/>
                </a:lnTo>
                <a:lnTo>
                  <a:pt x="2873" y="327"/>
                </a:lnTo>
                <a:lnTo>
                  <a:pt x="2960" y="391"/>
                </a:lnTo>
                <a:lnTo>
                  <a:pt x="3042" y="460"/>
                </a:lnTo>
                <a:lnTo>
                  <a:pt x="3121" y="533"/>
                </a:lnTo>
                <a:lnTo>
                  <a:pt x="3195" y="612"/>
                </a:lnTo>
                <a:lnTo>
                  <a:pt x="3265" y="695"/>
                </a:lnTo>
                <a:lnTo>
                  <a:pt x="3329" y="781"/>
                </a:lnTo>
                <a:lnTo>
                  <a:pt x="3389" y="871"/>
                </a:lnTo>
                <a:lnTo>
                  <a:pt x="3443" y="964"/>
                </a:lnTo>
                <a:lnTo>
                  <a:pt x="3492" y="1062"/>
                </a:lnTo>
                <a:lnTo>
                  <a:pt x="3535" y="1162"/>
                </a:lnTo>
                <a:lnTo>
                  <a:pt x="3571" y="1266"/>
                </a:lnTo>
                <a:lnTo>
                  <a:pt x="3602" y="1372"/>
                </a:lnTo>
                <a:lnTo>
                  <a:pt x="3626" y="1480"/>
                </a:lnTo>
                <a:lnTo>
                  <a:pt x="3644" y="1590"/>
                </a:lnTo>
                <a:lnTo>
                  <a:pt x="3654" y="1703"/>
                </a:lnTo>
                <a:lnTo>
                  <a:pt x="3657" y="1818"/>
                </a:lnTo>
                <a:lnTo>
                  <a:pt x="3654" y="1932"/>
                </a:lnTo>
                <a:lnTo>
                  <a:pt x="3644" y="2045"/>
                </a:lnTo>
                <a:lnTo>
                  <a:pt x="3626" y="2157"/>
                </a:lnTo>
                <a:lnTo>
                  <a:pt x="3602" y="2265"/>
                </a:lnTo>
                <a:lnTo>
                  <a:pt x="3571" y="2371"/>
                </a:lnTo>
                <a:lnTo>
                  <a:pt x="3535" y="2475"/>
                </a:lnTo>
                <a:lnTo>
                  <a:pt x="3492" y="2575"/>
                </a:lnTo>
                <a:lnTo>
                  <a:pt x="3443" y="2672"/>
                </a:lnTo>
                <a:lnTo>
                  <a:pt x="3389" y="2766"/>
                </a:lnTo>
                <a:lnTo>
                  <a:pt x="3329" y="2856"/>
                </a:lnTo>
                <a:lnTo>
                  <a:pt x="3265" y="2942"/>
                </a:lnTo>
                <a:lnTo>
                  <a:pt x="3195" y="3024"/>
                </a:lnTo>
                <a:lnTo>
                  <a:pt x="3121" y="3102"/>
                </a:lnTo>
                <a:lnTo>
                  <a:pt x="3042" y="3176"/>
                </a:lnTo>
                <a:lnTo>
                  <a:pt x="2960" y="3245"/>
                </a:lnTo>
                <a:lnTo>
                  <a:pt x="2873" y="3310"/>
                </a:lnTo>
                <a:lnTo>
                  <a:pt x="2782" y="3368"/>
                </a:lnTo>
                <a:lnTo>
                  <a:pt x="2687" y="3422"/>
                </a:lnTo>
                <a:lnTo>
                  <a:pt x="2590" y="3471"/>
                </a:lnTo>
                <a:lnTo>
                  <a:pt x="2489" y="3513"/>
                </a:lnTo>
                <a:lnTo>
                  <a:pt x="2385" y="3549"/>
                </a:lnTo>
                <a:lnTo>
                  <a:pt x="2278" y="3580"/>
                </a:lnTo>
                <a:lnTo>
                  <a:pt x="2169" y="3604"/>
                </a:lnTo>
                <a:lnTo>
                  <a:pt x="2058" y="3622"/>
                </a:lnTo>
                <a:lnTo>
                  <a:pt x="1943" y="3632"/>
                </a:lnTo>
                <a:lnTo>
                  <a:pt x="1829" y="3636"/>
                </a:lnTo>
                <a:lnTo>
                  <a:pt x="1713" y="3632"/>
                </a:lnTo>
                <a:lnTo>
                  <a:pt x="1599" y="3622"/>
                </a:lnTo>
                <a:lnTo>
                  <a:pt x="1488" y="3604"/>
                </a:lnTo>
                <a:lnTo>
                  <a:pt x="1379" y="3580"/>
                </a:lnTo>
                <a:lnTo>
                  <a:pt x="1272" y="3549"/>
                </a:lnTo>
                <a:lnTo>
                  <a:pt x="1168" y="3513"/>
                </a:lnTo>
                <a:lnTo>
                  <a:pt x="1067" y="3471"/>
                </a:lnTo>
                <a:lnTo>
                  <a:pt x="969" y="3422"/>
                </a:lnTo>
                <a:lnTo>
                  <a:pt x="875" y="3368"/>
                </a:lnTo>
                <a:lnTo>
                  <a:pt x="785" y="3310"/>
                </a:lnTo>
                <a:lnTo>
                  <a:pt x="698" y="3245"/>
                </a:lnTo>
                <a:lnTo>
                  <a:pt x="614" y="3176"/>
                </a:lnTo>
                <a:lnTo>
                  <a:pt x="535" y="3102"/>
                </a:lnTo>
                <a:lnTo>
                  <a:pt x="461" y="3024"/>
                </a:lnTo>
                <a:lnTo>
                  <a:pt x="392" y="2942"/>
                </a:lnTo>
                <a:lnTo>
                  <a:pt x="328" y="2856"/>
                </a:lnTo>
                <a:lnTo>
                  <a:pt x="268" y="2766"/>
                </a:lnTo>
                <a:lnTo>
                  <a:pt x="214" y="2672"/>
                </a:lnTo>
                <a:lnTo>
                  <a:pt x="166" y="2575"/>
                </a:lnTo>
                <a:lnTo>
                  <a:pt x="123" y="2475"/>
                </a:lnTo>
                <a:lnTo>
                  <a:pt x="86" y="2371"/>
                </a:lnTo>
                <a:lnTo>
                  <a:pt x="56" y="2265"/>
                </a:lnTo>
                <a:lnTo>
                  <a:pt x="31" y="2157"/>
                </a:lnTo>
                <a:lnTo>
                  <a:pt x="14" y="2045"/>
                </a:lnTo>
                <a:lnTo>
                  <a:pt x="3" y="1932"/>
                </a:lnTo>
                <a:lnTo>
                  <a:pt x="0" y="1818"/>
                </a:lnTo>
                <a:lnTo>
                  <a:pt x="3" y="1703"/>
                </a:lnTo>
                <a:lnTo>
                  <a:pt x="14" y="1590"/>
                </a:lnTo>
                <a:lnTo>
                  <a:pt x="31" y="1480"/>
                </a:lnTo>
                <a:lnTo>
                  <a:pt x="56" y="1372"/>
                </a:lnTo>
                <a:lnTo>
                  <a:pt x="86" y="1266"/>
                </a:lnTo>
                <a:lnTo>
                  <a:pt x="123" y="1162"/>
                </a:lnTo>
                <a:lnTo>
                  <a:pt x="166" y="1062"/>
                </a:lnTo>
                <a:lnTo>
                  <a:pt x="214" y="964"/>
                </a:lnTo>
                <a:lnTo>
                  <a:pt x="268" y="871"/>
                </a:lnTo>
                <a:lnTo>
                  <a:pt x="328" y="781"/>
                </a:lnTo>
                <a:lnTo>
                  <a:pt x="392" y="695"/>
                </a:lnTo>
                <a:lnTo>
                  <a:pt x="461" y="612"/>
                </a:lnTo>
                <a:lnTo>
                  <a:pt x="535" y="533"/>
                </a:lnTo>
                <a:lnTo>
                  <a:pt x="614" y="460"/>
                </a:lnTo>
                <a:lnTo>
                  <a:pt x="698" y="391"/>
                </a:lnTo>
                <a:lnTo>
                  <a:pt x="785" y="327"/>
                </a:lnTo>
                <a:lnTo>
                  <a:pt x="875" y="267"/>
                </a:lnTo>
                <a:lnTo>
                  <a:pt x="969" y="214"/>
                </a:lnTo>
                <a:lnTo>
                  <a:pt x="1067" y="166"/>
                </a:lnTo>
                <a:lnTo>
                  <a:pt x="1168" y="123"/>
                </a:lnTo>
                <a:lnTo>
                  <a:pt x="1272" y="87"/>
                </a:lnTo>
                <a:lnTo>
                  <a:pt x="1379" y="57"/>
                </a:lnTo>
                <a:lnTo>
                  <a:pt x="1488" y="32"/>
                </a:lnTo>
                <a:lnTo>
                  <a:pt x="1599" y="15"/>
                </a:lnTo>
                <a:lnTo>
                  <a:pt x="1713" y="5"/>
                </a:lnTo>
                <a:lnTo>
                  <a:pt x="1829" y="0"/>
                </a:lnTo>
                <a:close/>
              </a:path>
            </a:pathLst>
          </a:custGeom>
          <a:solidFill>
            <a:schemeClr val="tx2"/>
          </a:solidFill>
          <a:ln w="19050" cap="flat" cmpd="sng">
            <a:solidFill>
              <a:schemeClr val="tx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t" anchorCtr="0">
            <a:noAutofit/>
          </a:bodyPr>
          <a:lstStyle/>
          <a:p>
            <a:pPr>
              <a:buClr>
                <a:srgbClr val="000000"/>
              </a:buClr>
              <a:buSzPts val="1800"/>
              <a:defRPr/>
            </a:pPr>
            <a:endParaRPr sz="2800" dirty="0"/>
          </a:p>
        </p:txBody>
      </p:sp>
      <p:sp>
        <p:nvSpPr>
          <p:cNvPr id="7" name="Shape3_20210630_091508">
            <a:extLst>
              <a:ext uri="{FF2B5EF4-FFF2-40B4-BE49-F238E27FC236}">
                <a16:creationId xmlns:a16="http://schemas.microsoft.com/office/drawing/2014/main" id="{49B5DFDC-F488-FF1D-2F9E-8625DB56136E}"/>
              </a:ext>
            </a:extLst>
          </p:cNvPr>
          <p:cNvSpPr/>
          <p:nvPr/>
        </p:nvSpPr>
        <p:spPr>
          <a:xfrm>
            <a:off x="714254" y="4310130"/>
            <a:ext cx="586706" cy="582473"/>
          </a:xfrm>
          <a:custGeom>
            <a:avLst/>
            <a:gdLst/>
            <a:ahLst/>
            <a:cxnLst/>
            <a:rect l="l" t="t" r="r" b="b"/>
            <a:pathLst>
              <a:path w="3740" h="3713" extrusionOk="0">
                <a:moveTo>
                  <a:pt x="1870" y="125"/>
                </a:moveTo>
                <a:lnTo>
                  <a:pt x="1755" y="130"/>
                </a:lnTo>
                <a:lnTo>
                  <a:pt x="1642" y="141"/>
                </a:lnTo>
                <a:lnTo>
                  <a:pt x="1532" y="158"/>
                </a:lnTo>
                <a:lnTo>
                  <a:pt x="1424" y="183"/>
                </a:lnTo>
                <a:lnTo>
                  <a:pt x="1319" y="215"/>
                </a:lnTo>
                <a:lnTo>
                  <a:pt x="1217" y="251"/>
                </a:lnTo>
                <a:lnTo>
                  <a:pt x="1117" y="296"/>
                </a:lnTo>
                <a:lnTo>
                  <a:pt x="1022" y="345"/>
                </a:lnTo>
                <a:lnTo>
                  <a:pt x="929" y="399"/>
                </a:lnTo>
                <a:lnTo>
                  <a:pt x="840" y="461"/>
                </a:lnTo>
                <a:lnTo>
                  <a:pt x="756" y="525"/>
                </a:lnTo>
                <a:lnTo>
                  <a:pt x="675" y="596"/>
                </a:lnTo>
                <a:lnTo>
                  <a:pt x="600" y="671"/>
                </a:lnTo>
                <a:lnTo>
                  <a:pt x="529" y="751"/>
                </a:lnTo>
                <a:lnTo>
                  <a:pt x="463" y="835"/>
                </a:lnTo>
                <a:lnTo>
                  <a:pt x="402" y="923"/>
                </a:lnTo>
                <a:lnTo>
                  <a:pt x="347" y="1015"/>
                </a:lnTo>
                <a:lnTo>
                  <a:pt x="297" y="1110"/>
                </a:lnTo>
                <a:lnTo>
                  <a:pt x="254" y="1209"/>
                </a:lnTo>
                <a:lnTo>
                  <a:pt x="216" y="1310"/>
                </a:lnTo>
                <a:lnTo>
                  <a:pt x="184" y="1415"/>
                </a:lnTo>
                <a:lnTo>
                  <a:pt x="159" y="1522"/>
                </a:lnTo>
                <a:lnTo>
                  <a:pt x="141" y="1631"/>
                </a:lnTo>
                <a:lnTo>
                  <a:pt x="130" y="1743"/>
                </a:lnTo>
                <a:lnTo>
                  <a:pt x="127" y="1857"/>
                </a:lnTo>
                <a:lnTo>
                  <a:pt x="130" y="1970"/>
                </a:lnTo>
                <a:lnTo>
                  <a:pt x="141" y="2082"/>
                </a:lnTo>
                <a:lnTo>
                  <a:pt x="159" y="2191"/>
                </a:lnTo>
                <a:lnTo>
                  <a:pt x="184" y="2298"/>
                </a:lnTo>
                <a:lnTo>
                  <a:pt x="216" y="2403"/>
                </a:lnTo>
                <a:lnTo>
                  <a:pt x="254" y="2505"/>
                </a:lnTo>
                <a:lnTo>
                  <a:pt x="297" y="2603"/>
                </a:lnTo>
                <a:lnTo>
                  <a:pt x="347" y="2698"/>
                </a:lnTo>
                <a:lnTo>
                  <a:pt x="402" y="2790"/>
                </a:lnTo>
                <a:lnTo>
                  <a:pt x="463" y="2878"/>
                </a:lnTo>
                <a:lnTo>
                  <a:pt x="529" y="2962"/>
                </a:lnTo>
                <a:lnTo>
                  <a:pt x="600" y="3042"/>
                </a:lnTo>
                <a:lnTo>
                  <a:pt x="675" y="3117"/>
                </a:lnTo>
                <a:lnTo>
                  <a:pt x="756" y="3187"/>
                </a:lnTo>
                <a:lnTo>
                  <a:pt x="840" y="3253"/>
                </a:lnTo>
                <a:lnTo>
                  <a:pt x="929" y="3313"/>
                </a:lnTo>
                <a:lnTo>
                  <a:pt x="1022" y="3369"/>
                </a:lnTo>
                <a:lnTo>
                  <a:pt x="1117" y="3418"/>
                </a:lnTo>
                <a:lnTo>
                  <a:pt x="1217" y="3462"/>
                </a:lnTo>
                <a:lnTo>
                  <a:pt x="1319" y="3499"/>
                </a:lnTo>
                <a:lnTo>
                  <a:pt x="1424" y="3530"/>
                </a:lnTo>
                <a:lnTo>
                  <a:pt x="1532" y="3554"/>
                </a:lnTo>
                <a:lnTo>
                  <a:pt x="1642" y="3573"/>
                </a:lnTo>
                <a:lnTo>
                  <a:pt x="1755" y="3584"/>
                </a:lnTo>
                <a:lnTo>
                  <a:pt x="1870" y="3587"/>
                </a:lnTo>
                <a:lnTo>
                  <a:pt x="1984" y="3584"/>
                </a:lnTo>
                <a:lnTo>
                  <a:pt x="2096" y="3573"/>
                </a:lnTo>
                <a:lnTo>
                  <a:pt x="2207" y="3554"/>
                </a:lnTo>
                <a:lnTo>
                  <a:pt x="2314" y="3530"/>
                </a:lnTo>
                <a:lnTo>
                  <a:pt x="2420" y="3499"/>
                </a:lnTo>
                <a:lnTo>
                  <a:pt x="2523" y="3462"/>
                </a:lnTo>
                <a:lnTo>
                  <a:pt x="2621" y="3418"/>
                </a:lnTo>
                <a:lnTo>
                  <a:pt x="2717" y="3369"/>
                </a:lnTo>
                <a:lnTo>
                  <a:pt x="2810" y="3313"/>
                </a:lnTo>
                <a:lnTo>
                  <a:pt x="2899" y="3253"/>
                </a:lnTo>
                <a:lnTo>
                  <a:pt x="2983" y="3187"/>
                </a:lnTo>
                <a:lnTo>
                  <a:pt x="3063" y="3117"/>
                </a:lnTo>
                <a:lnTo>
                  <a:pt x="3139" y="3042"/>
                </a:lnTo>
                <a:lnTo>
                  <a:pt x="3210" y="2962"/>
                </a:lnTo>
                <a:lnTo>
                  <a:pt x="3277" y="2878"/>
                </a:lnTo>
                <a:lnTo>
                  <a:pt x="3337" y="2790"/>
                </a:lnTo>
                <a:lnTo>
                  <a:pt x="3393" y="2698"/>
                </a:lnTo>
                <a:lnTo>
                  <a:pt x="3443" y="2603"/>
                </a:lnTo>
                <a:lnTo>
                  <a:pt x="3486" y="2505"/>
                </a:lnTo>
                <a:lnTo>
                  <a:pt x="3524" y="2403"/>
                </a:lnTo>
                <a:lnTo>
                  <a:pt x="3555" y="2298"/>
                </a:lnTo>
                <a:lnTo>
                  <a:pt x="3580" y="2191"/>
                </a:lnTo>
                <a:lnTo>
                  <a:pt x="3598" y="2082"/>
                </a:lnTo>
                <a:lnTo>
                  <a:pt x="3610" y="1970"/>
                </a:lnTo>
                <a:lnTo>
                  <a:pt x="3613" y="1857"/>
                </a:lnTo>
                <a:lnTo>
                  <a:pt x="3610" y="1743"/>
                </a:lnTo>
                <a:lnTo>
                  <a:pt x="3598" y="1631"/>
                </a:lnTo>
                <a:lnTo>
                  <a:pt x="3580" y="1522"/>
                </a:lnTo>
                <a:lnTo>
                  <a:pt x="3555" y="1415"/>
                </a:lnTo>
                <a:lnTo>
                  <a:pt x="3524" y="1310"/>
                </a:lnTo>
                <a:lnTo>
                  <a:pt x="3486" y="1209"/>
                </a:lnTo>
                <a:lnTo>
                  <a:pt x="3443" y="1110"/>
                </a:lnTo>
                <a:lnTo>
                  <a:pt x="3393" y="1015"/>
                </a:lnTo>
                <a:lnTo>
                  <a:pt x="3337" y="923"/>
                </a:lnTo>
                <a:lnTo>
                  <a:pt x="3277" y="835"/>
                </a:lnTo>
                <a:lnTo>
                  <a:pt x="3210" y="751"/>
                </a:lnTo>
                <a:lnTo>
                  <a:pt x="3139" y="671"/>
                </a:lnTo>
                <a:lnTo>
                  <a:pt x="3063" y="596"/>
                </a:lnTo>
                <a:lnTo>
                  <a:pt x="2983" y="525"/>
                </a:lnTo>
                <a:lnTo>
                  <a:pt x="2899" y="461"/>
                </a:lnTo>
                <a:lnTo>
                  <a:pt x="2810" y="399"/>
                </a:lnTo>
                <a:lnTo>
                  <a:pt x="2717" y="345"/>
                </a:lnTo>
                <a:lnTo>
                  <a:pt x="2621" y="296"/>
                </a:lnTo>
                <a:lnTo>
                  <a:pt x="2523" y="251"/>
                </a:lnTo>
                <a:lnTo>
                  <a:pt x="2420" y="215"/>
                </a:lnTo>
                <a:lnTo>
                  <a:pt x="2314" y="183"/>
                </a:lnTo>
                <a:lnTo>
                  <a:pt x="2207" y="158"/>
                </a:lnTo>
                <a:lnTo>
                  <a:pt x="2096" y="141"/>
                </a:lnTo>
                <a:lnTo>
                  <a:pt x="1984" y="130"/>
                </a:lnTo>
                <a:lnTo>
                  <a:pt x="1870" y="125"/>
                </a:lnTo>
                <a:close/>
                <a:moveTo>
                  <a:pt x="1870" y="0"/>
                </a:moveTo>
                <a:lnTo>
                  <a:pt x="1870" y="0"/>
                </a:lnTo>
                <a:lnTo>
                  <a:pt x="1987" y="4"/>
                </a:lnTo>
                <a:lnTo>
                  <a:pt x="2105" y="15"/>
                </a:lnTo>
                <a:lnTo>
                  <a:pt x="2218" y="32"/>
                </a:lnTo>
                <a:lnTo>
                  <a:pt x="2330" y="57"/>
                </a:lnTo>
                <a:lnTo>
                  <a:pt x="2439" y="88"/>
                </a:lnTo>
                <a:lnTo>
                  <a:pt x="2545" y="125"/>
                </a:lnTo>
                <a:lnTo>
                  <a:pt x="2649" y="169"/>
                </a:lnTo>
                <a:lnTo>
                  <a:pt x="2748" y="218"/>
                </a:lnTo>
                <a:lnTo>
                  <a:pt x="2845" y="272"/>
                </a:lnTo>
                <a:lnTo>
                  <a:pt x="2938" y="334"/>
                </a:lnTo>
                <a:lnTo>
                  <a:pt x="3027" y="398"/>
                </a:lnTo>
                <a:lnTo>
                  <a:pt x="3111" y="469"/>
                </a:lnTo>
                <a:lnTo>
                  <a:pt x="3191" y="544"/>
                </a:lnTo>
                <a:lnTo>
                  <a:pt x="3267" y="624"/>
                </a:lnTo>
                <a:lnTo>
                  <a:pt x="3338" y="709"/>
                </a:lnTo>
                <a:lnTo>
                  <a:pt x="3405" y="797"/>
                </a:lnTo>
                <a:lnTo>
                  <a:pt x="3465" y="889"/>
                </a:lnTo>
                <a:lnTo>
                  <a:pt x="3521" y="984"/>
                </a:lnTo>
                <a:lnTo>
                  <a:pt x="3571" y="1084"/>
                </a:lnTo>
                <a:lnTo>
                  <a:pt x="3614" y="1186"/>
                </a:lnTo>
                <a:lnTo>
                  <a:pt x="3651" y="1291"/>
                </a:lnTo>
                <a:lnTo>
                  <a:pt x="3683" y="1401"/>
                </a:lnTo>
                <a:lnTo>
                  <a:pt x="3708" y="1511"/>
                </a:lnTo>
                <a:lnTo>
                  <a:pt x="3726" y="1624"/>
                </a:lnTo>
                <a:lnTo>
                  <a:pt x="3736" y="1739"/>
                </a:lnTo>
                <a:lnTo>
                  <a:pt x="3740" y="1857"/>
                </a:lnTo>
                <a:lnTo>
                  <a:pt x="3736" y="1973"/>
                </a:lnTo>
                <a:lnTo>
                  <a:pt x="3726" y="2089"/>
                </a:lnTo>
                <a:lnTo>
                  <a:pt x="3708" y="2203"/>
                </a:lnTo>
                <a:lnTo>
                  <a:pt x="3683" y="2313"/>
                </a:lnTo>
                <a:lnTo>
                  <a:pt x="3651" y="2422"/>
                </a:lnTo>
                <a:lnTo>
                  <a:pt x="3614" y="2528"/>
                </a:lnTo>
                <a:lnTo>
                  <a:pt x="3571" y="2630"/>
                </a:lnTo>
                <a:lnTo>
                  <a:pt x="3521" y="2729"/>
                </a:lnTo>
                <a:lnTo>
                  <a:pt x="3465" y="2824"/>
                </a:lnTo>
                <a:lnTo>
                  <a:pt x="3405" y="2917"/>
                </a:lnTo>
                <a:lnTo>
                  <a:pt x="3338" y="3005"/>
                </a:lnTo>
                <a:lnTo>
                  <a:pt x="3267" y="3089"/>
                </a:lnTo>
                <a:lnTo>
                  <a:pt x="3191" y="3169"/>
                </a:lnTo>
                <a:lnTo>
                  <a:pt x="3111" y="3244"/>
                </a:lnTo>
                <a:lnTo>
                  <a:pt x="3027" y="3315"/>
                </a:lnTo>
                <a:lnTo>
                  <a:pt x="2938" y="3380"/>
                </a:lnTo>
                <a:lnTo>
                  <a:pt x="2845" y="3440"/>
                </a:lnTo>
                <a:lnTo>
                  <a:pt x="2748" y="3496"/>
                </a:lnTo>
                <a:lnTo>
                  <a:pt x="2649" y="3545"/>
                </a:lnTo>
                <a:lnTo>
                  <a:pt x="2545" y="3589"/>
                </a:lnTo>
                <a:lnTo>
                  <a:pt x="2439" y="3625"/>
                </a:lnTo>
                <a:lnTo>
                  <a:pt x="2330" y="3657"/>
                </a:lnTo>
                <a:lnTo>
                  <a:pt x="2218" y="3680"/>
                </a:lnTo>
                <a:lnTo>
                  <a:pt x="2105" y="3699"/>
                </a:lnTo>
                <a:lnTo>
                  <a:pt x="1987" y="3710"/>
                </a:lnTo>
                <a:lnTo>
                  <a:pt x="1870" y="3713"/>
                </a:lnTo>
                <a:lnTo>
                  <a:pt x="1751" y="3710"/>
                </a:lnTo>
                <a:lnTo>
                  <a:pt x="1635" y="3699"/>
                </a:lnTo>
                <a:lnTo>
                  <a:pt x="1522" y="3680"/>
                </a:lnTo>
                <a:lnTo>
                  <a:pt x="1410" y="3657"/>
                </a:lnTo>
                <a:lnTo>
                  <a:pt x="1301" y="3625"/>
                </a:lnTo>
                <a:lnTo>
                  <a:pt x="1195" y="3589"/>
                </a:lnTo>
                <a:lnTo>
                  <a:pt x="1091" y="3545"/>
                </a:lnTo>
                <a:lnTo>
                  <a:pt x="991" y="3496"/>
                </a:lnTo>
                <a:lnTo>
                  <a:pt x="895" y="3440"/>
                </a:lnTo>
                <a:lnTo>
                  <a:pt x="802" y="3380"/>
                </a:lnTo>
                <a:lnTo>
                  <a:pt x="713" y="3315"/>
                </a:lnTo>
                <a:lnTo>
                  <a:pt x="628" y="3244"/>
                </a:lnTo>
                <a:lnTo>
                  <a:pt x="547" y="3169"/>
                </a:lnTo>
                <a:lnTo>
                  <a:pt x="472" y="3089"/>
                </a:lnTo>
                <a:lnTo>
                  <a:pt x="401" y="3005"/>
                </a:lnTo>
                <a:lnTo>
                  <a:pt x="335" y="2917"/>
                </a:lnTo>
                <a:lnTo>
                  <a:pt x="274" y="2824"/>
                </a:lnTo>
                <a:lnTo>
                  <a:pt x="219" y="2729"/>
                </a:lnTo>
                <a:lnTo>
                  <a:pt x="169" y="2630"/>
                </a:lnTo>
                <a:lnTo>
                  <a:pt x="126" y="2528"/>
                </a:lnTo>
                <a:lnTo>
                  <a:pt x="88" y="2422"/>
                </a:lnTo>
                <a:lnTo>
                  <a:pt x="57" y="2313"/>
                </a:lnTo>
                <a:lnTo>
                  <a:pt x="32" y="2203"/>
                </a:lnTo>
                <a:lnTo>
                  <a:pt x="14" y="2089"/>
                </a:lnTo>
                <a:lnTo>
                  <a:pt x="4" y="1973"/>
                </a:lnTo>
                <a:lnTo>
                  <a:pt x="0" y="1857"/>
                </a:lnTo>
                <a:lnTo>
                  <a:pt x="4" y="1739"/>
                </a:lnTo>
                <a:lnTo>
                  <a:pt x="14" y="1624"/>
                </a:lnTo>
                <a:lnTo>
                  <a:pt x="32" y="1511"/>
                </a:lnTo>
                <a:lnTo>
                  <a:pt x="57" y="1401"/>
                </a:lnTo>
                <a:lnTo>
                  <a:pt x="88" y="1291"/>
                </a:lnTo>
                <a:lnTo>
                  <a:pt x="126" y="1186"/>
                </a:lnTo>
                <a:lnTo>
                  <a:pt x="169" y="1084"/>
                </a:lnTo>
                <a:lnTo>
                  <a:pt x="219" y="984"/>
                </a:lnTo>
                <a:lnTo>
                  <a:pt x="274" y="889"/>
                </a:lnTo>
                <a:lnTo>
                  <a:pt x="335" y="797"/>
                </a:lnTo>
                <a:lnTo>
                  <a:pt x="401" y="709"/>
                </a:lnTo>
                <a:lnTo>
                  <a:pt x="472" y="624"/>
                </a:lnTo>
                <a:lnTo>
                  <a:pt x="547" y="544"/>
                </a:lnTo>
                <a:lnTo>
                  <a:pt x="628" y="469"/>
                </a:lnTo>
                <a:lnTo>
                  <a:pt x="713" y="398"/>
                </a:lnTo>
                <a:lnTo>
                  <a:pt x="802" y="334"/>
                </a:lnTo>
                <a:lnTo>
                  <a:pt x="895" y="272"/>
                </a:lnTo>
                <a:lnTo>
                  <a:pt x="991" y="218"/>
                </a:lnTo>
                <a:lnTo>
                  <a:pt x="1091" y="169"/>
                </a:lnTo>
                <a:lnTo>
                  <a:pt x="1195" y="125"/>
                </a:lnTo>
                <a:lnTo>
                  <a:pt x="1301" y="88"/>
                </a:lnTo>
                <a:lnTo>
                  <a:pt x="1410" y="57"/>
                </a:lnTo>
                <a:lnTo>
                  <a:pt x="1522" y="32"/>
                </a:lnTo>
                <a:lnTo>
                  <a:pt x="1635" y="15"/>
                </a:lnTo>
                <a:lnTo>
                  <a:pt x="1751" y="4"/>
                </a:lnTo>
                <a:lnTo>
                  <a:pt x="1870" y="0"/>
                </a:lnTo>
                <a:close/>
              </a:path>
            </a:pathLst>
          </a:custGeom>
          <a:solidFill>
            <a:schemeClr val="tx2"/>
          </a:solidFill>
          <a:ln w="19050" cap="flat" cmpd="sng">
            <a:solidFill>
              <a:schemeClr val="tx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t" anchorCtr="0">
            <a:noAutofit/>
          </a:bodyPr>
          <a:lstStyle/>
          <a:p>
            <a:pPr>
              <a:buClr>
                <a:srgbClr val="000000"/>
              </a:buClr>
              <a:buSzPts val="1800"/>
            </a:pPr>
            <a:endParaRPr sz="2800" dirty="0"/>
          </a:p>
        </p:txBody>
      </p:sp>
      <p:sp>
        <p:nvSpPr>
          <p:cNvPr id="8" name="Shape1_20210621_150455">
            <a:extLst>
              <a:ext uri="{FF2B5EF4-FFF2-40B4-BE49-F238E27FC236}">
                <a16:creationId xmlns:a16="http://schemas.microsoft.com/office/drawing/2014/main" id="{EF42ADD7-89D4-8C32-4512-9BA40D03A197}"/>
              </a:ext>
            </a:extLst>
          </p:cNvPr>
          <p:cNvSpPr txBox="1"/>
          <p:nvPr/>
        </p:nvSpPr>
        <p:spPr>
          <a:xfrm>
            <a:off x="1446809" y="2397772"/>
            <a:ext cx="1566539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dirty="0"/>
              <a:t>Insert text here</a:t>
            </a:r>
          </a:p>
        </p:txBody>
      </p:sp>
      <p:sp>
        <p:nvSpPr>
          <p:cNvPr id="9" name="Shape2_20210621_150455">
            <a:extLst>
              <a:ext uri="{FF2B5EF4-FFF2-40B4-BE49-F238E27FC236}">
                <a16:creationId xmlns:a16="http://schemas.microsoft.com/office/drawing/2014/main" id="{EA4FDDA5-B01D-A40C-7297-113F1DEB0CDC}"/>
              </a:ext>
            </a:extLst>
          </p:cNvPr>
          <p:cNvSpPr txBox="1"/>
          <p:nvPr/>
        </p:nvSpPr>
        <p:spPr>
          <a:xfrm>
            <a:off x="1446809" y="4478253"/>
            <a:ext cx="1566539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dirty="0"/>
              <a:t>Insert text here</a:t>
            </a:r>
          </a:p>
        </p:txBody>
      </p:sp>
      <p:sp>
        <p:nvSpPr>
          <p:cNvPr id="10" name="Google Shape;504;p3">
            <a:extLst>
              <a:ext uri="{FF2B5EF4-FFF2-40B4-BE49-F238E27FC236}">
                <a16:creationId xmlns:a16="http://schemas.microsoft.com/office/drawing/2014/main" id="{60FF1898-B997-A60C-4C9A-498CE3676DE5}"/>
              </a:ext>
            </a:extLst>
          </p:cNvPr>
          <p:cNvSpPr txBox="1"/>
          <p:nvPr/>
        </p:nvSpPr>
        <p:spPr>
          <a:xfrm>
            <a:off x="714252" y="1690723"/>
            <a:ext cx="241550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104A65"/>
              </a:buClr>
              <a:buSzPts val="2000"/>
              <a:buFont typeface="Arial"/>
              <a:buNone/>
            </a:pPr>
            <a:r>
              <a:rPr lang="en-US" sz="1600" b="1" dirty="0"/>
              <a:t>Title</a:t>
            </a:r>
            <a:endParaRPr sz="1600" b="1" dirty="0"/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680A15C9-5720-74A5-10E6-05ACDC1022BE}"/>
              </a:ext>
            </a:extLst>
          </p:cNvPr>
          <p:cNvGraphicFramePr/>
          <p:nvPr/>
        </p:nvGraphicFramePr>
        <p:xfrm>
          <a:off x="3703570" y="1653050"/>
          <a:ext cx="7970270" cy="26774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pSp>
        <p:nvGrpSpPr>
          <p:cNvPr id="97" name="Group 96">
            <a:extLst>
              <a:ext uri="{FF2B5EF4-FFF2-40B4-BE49-F238E27FC236}">
                <a16:creationId xmlns:a16="http://schemas.microsoft.com/office/drawing/2014/main" id="{899004CB-B007-601B-EC3D-F00C22ED55E3}"/>
              </a:ext>
            </a:extLst>
          </p:cNvPr>
          <p:cNvGrpSpPr/>
          <p:nvPr/>
        </p:nvGrpSpPr>
        <p:grpSpPr>
          <a:xfrm>
            <a:off x="852503" y="2367072"/>
            <a:ext cx="310210" cy="307624"/>
            <a:chOff x="852503" y="2367072"/>
            <a:chExt cx="310210" cy="307624"/>
          </a:xfrm>
          <a:solidFill>
            <a:schemeClr val="accent1"/>
          </a:solidFill>
        </p:grpSpPr>
        <p:sp>
          <p:nvSpPr>
            <p:cNvPr id="12" name="Freeform 1532">
              <a:extLst>
                <a:ext uri="{FF2B5EF4-FFF2-40B4-BE49-F238E27FC236}">
                  <a16:creationId xmlns:a16="http://schemas.microsoft.com/office/drawing/2014/main" id="{C9B3B76A-00E3-949B-3B67-9E3121383C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43" y="2577756"/>
              <a:ext cx="76237" cy="74968"/>
            </a:xfrm>
            <a:custGeom>
              <a:avLst/>
              <a:gdLst>
                <a:gd name="T0" fmla="*/ 16 w 41"/>
                <a:gd name="T1" fmla="*/ 41 h 41"/>
                <a:gd name="T2" fmla="*/ 13 w 41"/>
                <a:gd name="T3" fmla="*/ 40 h 41"/>
                <a:gd name="T4" fmla="*/ 1 w 41"/>
                <a:gd name="T5" fmla="*/ 28 h 41"/>
                <a:gd name="T6" fmla="*/ 0 w 41"/>
                <a:gd name="T7" fmla="*/ 24 h 41"/>
                <a:gd name="T8" fmla="*/ 5 w 41"/>
                <a:gd name="T9" fmla="*/ 7 h 41"/>
                <a:gd name="T10" fmla="*/ 7 w 41"/>
                <a:gd name="T11" fmla="*/ 5 h 41"/>
                <a:gd name="T12" fmla="*/ 24 w 41"/>
                <a:gd name="T13" fmla="*/ 0 h 41"/>
                <a:gd name="T14" fmla="*/ 28 w 41"/>
                <a:gd name="T15" fmla="*/ 1 h 41"/>
                <a:gd name="T16" fmla="*/ 40 w 41"/>
                <a:gd name="T17" fmla="*/ 14 h 41"/>
                <a:gd name="T18" fmla="*/ 40 w 41"/>
                <a:gd name="T19" fmla="*/ 14 h 41"/>
                <a:gd name="T20" fmla="*/ 41 w 41"/>
                <a:gd name="T21" fmla="*/ 17 h 41"/>
                <a:gd name="T22" fmla="*/ 36 w 41"/>
                <a:gd name="T23" fmla="*/ 34 h 41"/>
                <a:gd name="T24" fmla="*/ 34 w 41"/>
                <a:gd name="T25" fmla="*/ 37 h 41"/>
                <a:gd name="T26" fmla="*/ 17 w 41"/>
                <a:gd name="T27" fmla="*/ 41 h 41"/>
                <a:gd name="T28" fmla="*/ 16 w 41"/>
                <a:gd name="T29" fmla="*/ 41 h 41"/>
                <a:gd name="T30" fmla="*/ 5 w 41"/>
                <a:gd name="T31" fmla="*/ 25 h 41"/>
                <a:gd name="T32" fmla="*/ 16 w 41"/>
                <a:gd name="T33" fmla="*/ 36 h 41"/>
                <a:gd name="T34" fmla="*/ 32 w 41"/>
                <a:gd name="T35" fmla="*/ 32 h 41"/>
                <a:gd name="T36" fmla="*/ 36 w 41"/>
                <a:gd name="T37" fmla="*/ 17 h 41"/>
                <a:gd name="T38" fmla="*/ 25 w 41"/>
                <a:gd name="T39" fmla="*/ 5 h 41"/>
                <a:gd name="T40" fmla="*/ 9 w 41"/>
                <a:gd name="T41" fmla="*/ 9 h 41"/>
                <a:gd name="T42" fmla="*/ 5 w 41"/>
                <a:gd name="T43" fmla="*/ 25 h 41"/>
                <a:gd name="T44" fmla="*/ 32 w 41"/>
                <a:gd name="T45" fmla="*/ 33 h 41"/>
                <a:gd name="T46" fmla="*/ 32 w 41"/>
                <a:gd name="T47" fmla="*/ 33 h 41"/>
                <a:gd name="T48" fmla="*/ 5 w 41"/>
                <a:gd name="T49" fmla="*/ 26 h 41"/>
                <a:gd name="T50" fmla="*/ 5 w 41"/>
                <a:gd name="T51" fmla="*/ 26 h 41"/>
                <a:gd name="T52" fmla="*/ 5 w 41"/>
                <a:gd name="T53" fmla="*/ 26 h 41"/>
                <a:gd name="T54" fmla="*/ 36 w 41"/>
                <a:gd name="T55" fmla="*/ 16 h 41"/>
                <a:gd name="T56" fmla="*/ 36 w 41"/>
                <a:gd name="T57" fmla="*/ 16 h 41"/>
                <a:gd name="T58" fmla="*/ 9 w 41"/>
                <a:gd name="T59" fmla="*/ 9 h 41"/>
                <a:gd name="T60" fmla="*/ 9 w 41"/>
                <a:gd name="T61" fmla="*/ 9 h 41"/>
                <a:gd name="T62" fmla="*/ 9 w 41"/>
                <a:gd name="T63" fmla="*/ 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" h="41">
                  <a:moveTo>
                    <a:pt x="16" y="41"/>
                  </a:moveTo>
                  <a:cubicBezTo>
                    <a:pt x="15" y="41"/>
                    <a:pt x="14" y="41"/>
                    <a:pt x="13" y="40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0" y="27"/>
                    <a:pt x="0" y="26"/>
                    <a:pt x="0" y="24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6" y="5"/>
                    <a:pt x="7" y="5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5" y="0"/>
                    <a:pt x="27" y="0"/>
                    <a:pt x="28" y="1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41" y="15"/>
                    <a:pt x="41" y="16"/>
                    <a:pt x="41" y="17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36" y="35"/>
                    <a:pt x="35" y="36"/>
                    <a:pt x="34" y="37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1"/>
                    <a:pt x="16" y="41"/>
                    <a:pt x="16" y="41"/>
                  </a:cubicBezTo>
                  <a:close/>
                  <a:moveTo>
                    <a:pt x="5" y="25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9" y="9"/>
                    <a:pt x="9" y="9"/>
                    <a:pt x="9" y="9"/>
                  </a:cubicBezTo>
                  <a:lnTo>
                    <a:pt x="5" y="25"/>
                  </a:lnTo>
                  <a:close/>
                  <a:moveTo>
                    <a:pt x="32" y="33"/>
                  </a:moveTo>
                  <a:cubicBezTo>
                    <a:pt x="32" y="33"/>
                    <a:pt x="32" y="33"/>
                    <a:pt x="32" y="33"/>
                  </a:cubicBezTo>
                  <a:close/>
                  <a:moveTo>
                    <a:pt x="5" y="26"/>
                  </a:move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lose/>
                  <a:moveTo>
                    <a:pt x="36" y="16"/>
                  </a:moveTo>
                  <a:cubicBezTo>
                    <a:pt x="36" y="16"/>
                    <a:pt x="36" y="16"/>
                    <a:pt x="36" y="16"/>
                  </a:cubicBezTo>
                  <a:close/>
                  <a:moveTo>
                    <a:pt x="9" y="9"/>
                  </a:move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800" dirty="0"/>
            </a:p>
          </p:txBody>
        </p:sp>
        <p:sp>
          <p:nvSpPr>
            <p:cNvPr id="13" name="Freeform 1533">
              <a:extLst>
                <a:ext uri="{FF2B5EF4-FFF2-40B4-BE49-F238E27FC236}">
                  <a16:creationId xmlns:a16="http://schemas.microsoft.com/office/drawing/2014/main" id="{833BA89C-0F7A-2F71-F776-B23757C3F2B2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132" y="2369654"/>
              <a:ext cx="85440" cy="84016"/>
            </a:xfrm>
            <a:custGeom>
              <a:avLst/>
              <a:gdLst>
                <a:gd name="T0" fmla="*/ 18 w 46"/>
                <a:gd name="T1" fmla="*/ 46 h 46"/>
                <a:gd name="T2" fmla="*/ 16 w 46"/>
                <a:gd name="T3" fmla="*/ 45 h 46"/>
                <a:gd name="T4" fmla="*/ 1 w 46"/>
                <a:gd name="T5" fmla="*/ 30 h 46"/>
                <a:gd name="T6" fmla="*/ 1 w 46"/>
                <a:gd name="T7" fmla="*/ 26 h 46"/>
                <a:gd name="T8" fmla="*/ 5 w 46"/>
                <a:gd name="T9" fmla="*/ 26 h 46"/>
                <a:gd name="T10" fmla="*/ 19 w 46"/>
                <a:gd name="T11" fmla="*/ 41 h 46"/>
                <a:gd name="T12" fmla="*/ 36 w 46"/>
                <a:gd name="T13" fmla="*/ 36 h 46"/>
                <a:gd name="T14" fmla="*/ 40 w 46"/>
                <a:gd name="T15" fmla="*/ 19 h 46"/>
                <a:gd name="T16" fmla="*/ 26 w 46"/>
                <a:gd name="T17" fmla="*/ 5 h 46"/>
                <a:gd name="T18" fmla="*/ 26 w 46"/>
                <a:gd name="T19" fmla="*/ 1 h 46"/>
                <a:gd name="T20" fmla="*/ 30 w 46"/>
                <a:gd name="T21" fmla="*/ 1 h 46"/>
                <a:gd name="T22" fmla="*/ 45 w 46"/>
                <a:gd name="T23" fmla="*/ 17 h 46"/>
                <a:gd name="T24" fmla="*/ 45 w 46"/>
                <a:gd name="T25" fmla="*/ 19 h 46"/>
                <a:gd name="T26" fmla="*/ 40 w 46"/>
                <a:gd name="T27" fmla="*/ 39 h 46"/>
                <a:gd name="T28" fmla="*/ 38 w 46"/>
                <a:gd name="T29" fmla="*/ 40 h 46"/>
                <a:gd name="T30" fmla="*/ 19 w 46"/>
                <a:gd name="T31" fmla="*/ 46 h 46"/>
                <a:gd name="T32" fmla="*/ 18 w 46"/>
                <a:gd name="T33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" h="46">
                  <a:moveTo>
                    <a:pt x="18" y="46"/>
                  </a:moveTo>
                  <a:cubicBezTo>
                    <a:pt x="18" y="46"/>
                    <a:pt x="17" y="46"/>
                    <a:pt x="16" y="45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0" y="29"/>
                    <a:pt x="0" y="27"/>
                    <a:pt x="1" y="26"/>
                  </a:cubicBezTo>
                  <a:cubicBezTo>
                    <a:pt x="2" y="25"/>
                    <a:pt x="4" y="25"/>
                    <a:pt x="5" y="26"/>
                  </a:cubicBezTo>
                  <a:cubicBezTo>
                    <a:pt x="19" y="41"/>
                    <a:pt x="19" y="41"/>
                    <a:pt x="19" y="41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5" y="4"/>
                    <a:pt x="25" y="2"/>
                    <a:pt x="26" y="1"/>
                  </a:cubicBezTo>
                  <a:cubicBezTo>
                    <a:pt x="27" y="0"/>
                    <a:pt x="29" y="0"/>
                    <a:pt x="30" y="1"/>
                  </a:cubicBezTo>
                  <a:cubicBezTo>
                    <a:pt x="45" y="17"/>
                    <a:pt x="45" y="17"/>
                    <a:pt x="45" y="17"/>
                  </a:cubicBezTo>
                  <a:cubicBezTo>
                    <a:pt x="45" y="17"/>
                    <a:pt x="46" y="18"/>
                    <a:pt x="45" y="19"/>
                  </a:cubicBezTo>
                  <a:cubicBezTo>
                    <a:pt x="40" y="39"/>
                    <a:pt x="40" y="39"/>
                    <a:pt x="40" y="39"/>
                  </a:cubicBezTo>
                  <a:cubicBezTo>
                    <a:pt x="40" y="40"/>
                    <a:pt x="39" y="40"/>
                    <a:pt x="38" y="40"/>
                  </a:cubicBezTo>
                  <a:cubicBezTo>
                    <a:pt x="19" y="46"/>
                    <a:pt x="19" y="46"/>
                    <a:pt x="19" y="46"/>
                  </a:cubicBezTo>
                  <a:cubicBezTo>
                    <a:pt x="19" y="46"/>
                    <a:pt x="18" y="46"/>
                    <a:pt x="18" y="4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800" dirty="0"/>
            </a:p>
          </p:txBody>
        </p:sp>
        <p:sp>
          <p:nvSpPr>
            <p:cNvPr id="14" name="Freeform 1534">
              <a:extLst>
                <a:ext uri="{FF2B5EF4-FFF2-40B4-BE49-F238E27FC236}">
                  <a16:creationId xmlns:a16="http://schemas.microsoft.com/office/drawing/2014/main" id="{B46A76DF-0CEA-129F-B8B3-50641E4197E1}"/>
                </a:ext>
              </a:extLst>
            </p:cNvPr>
            <p:cNvSpPr>
              <a:spLocks/>
            </p:cNvSpPr>
            <p:nvPr/>
          </p:nvSpPr>
          <p:spPr bwMode="auto">
            <a:xfrm>
              <a:off x="852503" y="2414893"/>
              <a:ext cx="95955" cy="73675"/>
            </a:xfrm>
            <a:custGeom>
              <a:avLst/>
              <a:gdLst>
                <a:gd name="T0" fmla="*/ 33 w 51"/>
                <a:gd name="T1" fmla="*/ 40 h 40"/>
                <a:gd name="T2" fmla="*/ 11 w 51"/>
                <a:gd name="T3" fmla="*/ 30 h 40"/>
                <a:gd name="T4" fmla="*/ 1 w 51"/>
                <a:gd name="T5" fmla="*/ 3 h 40"/>
                <a:gd name="T6" fmla="*/ 4 w 51"/>
                <a:gd name="T7" fmla="*/ 1 h 40"/>
                <a:gd name="T8" fmla="*/ 6 w 51"/>
                <a:gd name="T9" fmla="*/ 3 h 40"/>
                <a:gd name="T10" fmla="*/ 14 w 51"/>
                <a:gd name="T11" fmla="*/ 27 h 40"/>
                <a:gd name="T12" fmla="*/ 47 w 51"/>
                <a:gd name="T13" fmla="*/ 31 h 40"/>
                <a:gd name="T14" fmla="*/ 50 w 51"/>
                <a:gd name="T15" fmla="*/ 32 h 40"/>
                <a:gd name="T16" fmla="*/ 50 w 51"/>
                <a:gd name="T17" fmla="*/ 35 h 40"/>
                <a:gd name="T18" fmla="*/ 33 w 51"/>
                <a:gd name="T19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" h="40">
                  <a:moveTo>
                    <a:pt x="33" y="40"/>
                  </a:moveTo>
                  <a:cubicBezTo>
                    <a:pt x="25" y="40"/>
                    <a:pt x="17" y="36"/>
                    <a:pt x="11" y="30"/>
                  </a:cubicBezTo>
                  <a:cubicBezTo>
                    <a:pt x="3" y="23"/>
                    <a:pt x="0" y="13"/>
                    <a:pt x="1" y="3"/>
                  </a:cubicBezTo>
                  <a:cubicBezTo>
                    <a:pt x="2" y="1"/>
                    <a:pt x="3" y="0"/>
                    <a:pt x="4" y="1"/>
                  </a:cubicBezTo>
                  <a:cubicBezTo>
                    <a:pt x="6" y="1"/>
                    <a:pt x="7" y="2"/>
                    <a:pt x="6" y="3"/>
                  </a:cubicBezTo>
                  <a:cubicBezTo>
                    <a:pt x="5" y="12"/>
                    <a:pt x="8" y="21"/>
                    <a:pt x="14" y="27"/>
                  </a:cubicBezTo>
                  <a:cubicBezTo>
                    <a:pt x="23" y="36"/>
                    <a:pt x="36" y="37"/>
                    <a:pt x="47" y="31"/>
                  </a:cubicBezTo>
                  <a:cubicBezTo>
                    <a:pt x="48" y="30"/>
                    <a:pt x="50" y="31"/>
                    <a:pt x="50" y="32"/>
                  </a:cubicBezTo>
                  <a:cubicBezTo>
                    <a:pt x="51" y="33"/>
                    <a:pt x="51" y="34"/>
                    <a:pt x="50" y="35"/>
                  </a:cubicBezTo>
                  <a:cubicBezTo>
                    <a:pt x="45" y="38"/>
                    <a:pt x="39" y="40"/>
                    <a:pt x="33" y="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800" dirty="0"/>
            </a:p>
          </p:txBody>
        </p:sp>
        <p:sp>
          <p:nvSpPr>
            <p:cNvPr id="15" name="Freeform 1535">
              <a:extLst>
                <a:ext uri="{FF2B5EF4-FFF2-40B4-BE49-F238E27FC236}">
                  <a16:creationId xmlns:a16="http://schemas.microsoft.com/office/drawing/2014/main" id="{E01B0EA9-4E6B-7D02-62F4-D974FC0189CF}"/>
                </a:ext>
              </a:extLst>
            </p:cNvPr>
            <p:cNvSpPr>
              <a:spLocks/>
            </p:cNvSpPr>
            <p:nvPr/>
          </p:nvSpPr>
          <p:spPr bwMode="auto">
            <a:xfrm>
              <a:off x="901138" y="2367072"/>
              <a:ext cx="78867" cy="94355"/>
            </a:xfrm>
            <a:custGeom>
              <a:avLst/>
              <a:gdLst>
                <a:gd name="T0" fmla="*/ 33 w 42"/>
                <a:gd name="T1" fmla="*/ 51 h 51"/>
                <a:gd name="T2" fmla="*/ 31 w 42"/>
                <a:gd name="T3" fmla="*/ 51 h 51"/>
                <a:gd name="T4" fmla="*/ 31 w 42"/>
                <a:gd name="T5" fmla="*/ 47 h 51"/>
                <a:gd name="T6" fmla="*/ 26 w 42"/>
                <a:gd name="T7" fmla="*/ 14 h 51"/>
                <a:gd name="T8" fmla="*/ 3 w 42"/>
                <a:gd name="T9" fmla="*/ 7 h 51"/>
                <a:gd name="T10" fmla="*/ 0 w 42"/>
                <a:gd name="T11" fmla="*/ 5 h 51"/>
                <a:gd name="T12" fmla="*/ 2 w 42"/>
                <a:gd name="T13" fmla="*/ 2 h 51"/>
                <a:gd name="T14" fmla="*/ 30 w 42"/>
                <a:gd name="T15" fmla="*/ 11 h 51"/>
                <a:gd name="T16" fmla="*/ 35 w 42"/>
                <a:gd name="T17" fmla="*/ 50 h 51"/>
                <a:gd name="T18" fmla="*/ 33 w 42"/>
                <a:gd name="T19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51">
                  <a:moveTo>
                    <a:pt x="33" y="51"/>
                  </a:moveTo>
                  <a:cubicBezTo>
                    <a:pt x="32" y="51"/>
                    <a:pt x="32" y="51"/>
                    <a:pt x="31" y="51"/>
                  </a:cubicBezTo>
                  <a:cubicBezTo>
                    <a:pt x="30" y="50"/>
                    <a:pt x="30" y="49"/>
                    <a:pt x="31" y="47"/>
                  </a:cubicBezTo>
                  <a:cubicBezTo>
                    <a:pt x="37" y="37"/>
                    <a:pt x="35" y="23"/>
                    <a:pt x="26" y="14"/>
                  </a:cubicBezTo>
                  <a:cubicBezTo>
                    <a:pt x="20" y="8"/>
                    <a:pt x="12" y="5"/>
                    <a:pt x="3" y="7"/>
                  </a:cubicBezTo>
                  <a:cubicBezTo>
                    <a:pt x="2" y="7"/>
                    <a:pt x="1" y="6"/>
                    <a:pt x="0" y="5"/>
                  </a:cubicBezTo>
                  <a:cubicBezTo>
                    <a:pt x="0" y="3"/>
                    <a:pt x="1" y="2"/>
                    <a:pt x="2" y="2"/>
                  </a:cubicBezTo>
                  <a:cubicBezTo>
                    <a:pt x="12" y="0"/>
                    <a:pt x="23" y="4"/>
                    <a:pt x="30" y="11"/>
                  </a:cubicBezTo>
                  <a:cubicBezTo>
                    <a:pt x="40" y="21"/>
                    <a:pt x="42" y="37"/>
                    <a:pt x="35" y="50"/>
                  </a:cubicBezTo>
                  <a:cubicBezTo>
                    <a:pt x="34" y="51"/>
                    <a:pt x="34" y="51"/>
                    <a:pt x="33" y="5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800" dirty="0"/>
            </a:p>
          </p:txBody>
        </p:sp>
        <p:sp>
          <p:nvSpPr>
            <p:cNvPr id="16" name="Freeform 1536">
              <a:extLst>
                <a:ext uri="{FF2B5EF4-FFF2-40B4-BE49-F238E27FC236}">
                  <a16:creationId xmlns:a16="http://schemas.microsoft.com/office/drawing/2014/main" id="{0368BD0F-19D6-07A7-02A9-3ACBEEFB912C}"/>
                </a:ext>
              </a:extLst>
            </p:cNvPr>
            <p:cNvSpPr>
              <a:spLocks/>
            </p:cNvSpPr>
            <p:nvPr/>
          </p:nvSpPr>
          <p:spPr bwMode="auto">
            <a:xfrm>
              <a:off x="939258" y="2473059"/>
              <a:ext cx="48634" cy="45239"/>
            </a:xfrm>
            <a:custGeom>
              <a:avLst/>
              <a:gdLst>
                <a:gd name="T0" fmla="*/ 23 w 26"/>
                <a:gd name="T1" fmla="*/ 25 h 25"/>
                <a:gd name="T2" fmla="*/ 21 w 26"/>
                <a:gd name="T3" fmla="*/ 25 h 25"/>
                <a:gd name="T4" fmla="*/ 1 w 26"/>
                <a:gd name="T5" fmla="*/ 4 h 25"/>
                <a:gd name="T6" fmla="*/ 1 w 26"/>
                <a:gd name="T7" fmla="*/ 1 h 25"/>
                <a:gd name="T8" fmla="*/ 5 w 26"/>
                <a:gd name="T9" fmla="*/ 1 h 25"/>
                <a:gd name="T10" fmla="*/ 25 w 26"/>
                <a:gd name="T11" fmla="*/ 21 h 25"/>
                <a:gd name="T12" fmla="*/ 25 w 26"/>
                <a:gd name="T13" fmla="*/ 25 h 25"/>
                <a:gd name="T14" fmla="*/ 23 w 26"/>
                <a:gd name="T1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5">
                  <a:moveTo>
                    <a:pt x="23" y="25"/>
                  </a:moveTo>
                  <a:cubicBezTo>
                    <a:pt x="23" y="25"/>
                    <a:pt x="22" y="25"/>
                    <a:pt x="21" y="25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5" y="1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26" y="22"/>
                    <a:pt x="26" y="24"/>
                    <a:pt x="25" y="25"/>
                  </a:cubicBezTo>
                  <a:cubicBezTo>
                    <a:pt x="24" y="25"/>
                    <a:pt x="24" y="25"/>
                    <a:pt x="23" y="2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800" dirty="0"/>
            </a:p>
          </p:txBody>
        </p:sp>
        <p:sp>
          <p:nvSpPr>
            <p:cNvPr id="17" name="Freeform 1537">
              <a:extLst>
                <a:ext uri="{FF2B5EF4-FFF2-40B4-BE49-F238E27FC236}">
                  <a16:creationId xmlns:a16="http://schemas.microsoft.com/office/drawing/2014/main" id="{5D44C515-7763-F712-0397-B50574B1E1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553" y="2544150"/>
              <a:ext cx="49949" cy="47824"/>
            </a:xfrm>
            <a:custGeom>
              <a:avLst/>
              <a:gdLst>
                <a:gd name="T0" fmla="*/ 24 w 27"/>
                <a:gd name="T1" fmla="*/ 26 h 26"/>
                <a:gd name="T2" fmla="*/ 22 w 27"/>
                <a:gd name="T3" fmla="*/ 26 h 26"/>
                <a:gd name="T4" fmla="*/ 1 w 27"/>
                <a:gd name="T5" fmla="*/ 4 h 26"/>
                <a:gd name="T6" fmla="*/ 1 w 27"/>
                <a:gd name="T7" fmla="*/ 1 h 26"/>
                <a:gd name="T8" fmla="*/ 5 w 27"/>
                <a:gd name="T9" fmla="*/ 1 h 26"/>
                <a:gd name="T10" fmla="*/ 26 w 27"/>
                <a:gd name="T11" fmla="*/ 22 h 26"/>
                <a:gd name="T12" fmla="*/ 26 w 27"/>
                <a:gd name="T13" fmla="*/ 26 h 26"/>
                <a:gd name="T14" fmla="*/ 24 w 27"/>
                <a:gd name="T1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" h="26">
                  <a:moveTo>
                    <a:pt x="24" y="26"/>
                  </a:moveTo>
                  <a:cubicBezTo>
                    <a:pt x="24" y="26"/>
                    <a:pt x="23" y="26"/>
                    <a:pt x="22" y="26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5" y="1"/>
                  </a:cubicBezTo>
                  <a:cubicBezTo>
                    <a:pt x="26" y="22"/>
                    <a:pt x="26" y="22"/>
                    <a:pt x="26" y="22"/>
                  </a:cubicBezTo>
                  <a:cubicBezTo>
                    <a:pt x="27" y="23"/>
                    <a:pt x="27" y="25"/>
                    <a:pt x="26" y="26"/>
                  </a:cubicBezTo>
                  <a:cubicBezTo>
                    <a:pt x="25" y="26"/>
                    <a:pt x="25" y="26"/>
                    <a:pt x="24" y="2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800" dirty="0"/>
            </a:p>
          </p:txBody>
        </p:sp>
        <p:sp>
          <p:nvSpPr>
            <p:cNvPr id="18" name="Freeform 1538">
              <a:extLst>
                <a:ext uri="{FF2B5EF4-FFF2-40B4-BE49-F238E27FC236}">
                  <a16:creationId xmlns:a16="http://schemas.microsoft.com/office/drawing/2014/main" id="{109343F8-498A-F6F1-E6D8-9A5741851FC9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974" y="2453669"/>
              <a:ext cx="122243" cy="120207"/>
            </a:xfrm>
            <a:custGeom>
              <a:avLst/>
              <a:gdLst>
                <a:gd name="T0" fmla="*/ 63 w 65"/>
                <a:gd name="T1" fmla="*/ 65 h 65"/>
                <a:gd name="T2" fmla="*/ 61 w 65"/>
                <a:gd name="T3" fmla="*/ 64 h 65"/>
                <a:gd name="T4" fmla="*/ 1 w 65"/>
                <a:gd name="T5" fmla="*/ 4 h 65"/>
                <a:gd name="T6" fmla="*/ 1 w 65"/>
                <a:gd name="T7" fmla="*/ 1 h 65"/>
                <a:gd name="T8" fmla="*/ 4 w 65"/>
                <a:gd name="T9" fmla="*/ 1 h 65"/>
                <a:gd name="T10" fmla="*/ 64 w 65"/>
                <a:gd name="T11" fmla="*/ 61 h 65"/>
                <a:gd name="T12" fmla="*/ 64 w 65"/>
                <a:gd name="T13" fmla="*/ 64 h 65"/>
                <a:gd name="T14" fmla="*/ 63 w 65"/>
                <a:gd name="T15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65">
                  <a:moveTo>
                    <a:pt x="63" y="65"/>
                  </a:moveTo>
                  <a:cubicBezTo>
                    <a:pt x="62" y="65"/>
                    <a:pt x="61" y="65"/>
                    <a:pt x="61" y="6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1"/>
                  </a:cubicBezTo>
                  <a:cubicBezTo>
                    <a:pt x="64" y="61"/>
                    <a:pt x="64" y="61"/>
                    <a:pt x="64" y="61"/>
                  </a:cubicBezTo>
                  <a:cubicBezTo>
                    <a:pt x="65" y="62"/>
                    <a:pt x="65" y="63"/>
                    <a:pt x="64" y="64"/>
                  </a:cubicBezTo>
                  <a:cubicBezTo>
                    <a:pt x="64" y="65"/>
                    <a:pt x="63" y="65"/>
                    <a:pt x="63" y="6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800" dirty="0"/>
            </a:p>
          </p:txBody>
        </p:sp>
        <p:sp>
          <p:nvSpPr>
            <p:cNvPr id="19" name="Freeform 1539">
              <a:extLst>
                <a:ext uri="{FF2B5EF4-FFF2-40B4-BE49-F238E27FC236}">
                  <a16:creationId xmlns:a16="http://schemas.microsoft.com/office/drawing/2014/main" id="{9A72ADFB-4FD5-294F-D0C1-461674B6283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9155" y="2551904"/>
              <a:ext cx="123558" cy="122792"/>
            </a:xfrm>
            <a:custGeom>
              <a:avLst/>
              <a:gdLst>
                <a:gd name="T0" fmla="*/ 34 w 66"/>
                <a:gd name="T1" fmla="*/ 67 h 67"/>
                <a:gd name="T2" fmla="*/ 12 w 66"/>
                <a:gd name="T3" fmla="*/ 57 h 67"/>
                <a:gd name="T4" fmla="*/ 7 w 66"/>
                <a:gd name="T5" fmla="*/ 19 h 67"/>
                <a:gd name="T6" fmla="*/ 10 w 66"/>
                <a:gd name="T7" fmla="*/ 18 h 67"/>
                <a:gd name="T8" fmla="*/ 11 w 66"/>
                <a:gd name="T9" fmla="*/ 21 h 67"/>
                <a:gd name="T10" fmla="*/ 16 w 66"/>
                <a:gd name="T11" fmla="*/ 54 h 67"/>
                <a:gd name="T12" fmla="*/ 34 w 66"/>
                <a:gd name="T13" fmla="*/ 62 h 67"/>
                <a:gd name="T14" fmla="*/ 53 w 66"/>
                <a:gd name="T15" fmla="*/ 54 h 67"/>
                <a:gd name="T16" fmla="*/ 61 w 66"/>
                <a:gd name="T17" fmla="*/ 35 h 67"/>
                <a:gd name="T18" fmla="*/ 53 w 66"/>
                <a:gd name="T19" fmla="*/ 16 h 67"/>
                <a:gd name="T20" fmla="*/ 21 w 66"/>
                <a:gd name="T21" fmla="*/ 12 h 67"/>
                <a:gd name="T22" fmla="*/ 18 w 66"/>
                <a:gd name="T23" fmla="*/ 11 h 67"/>
                <a:gd name="T24" fmla="*/ 18 w 66"/>
                <a:gd name="T25" fmla="*/ 7 h 67"/>
                <a:gd name="T26" fmla="*/ 57 w 66"/>
                <a:gd name="T27" fmla="*/ 12 h 67"/>
                <a:gd name="T28" fmla="*/ 66 w 66"/>
                <a:gd name="T29" fmla="*/ 35 h 67"/>
                <a:gd name="T30" fmla="*/ 57 w 66"/>
                <a:gd name="T31" fmla="*/ 57 h 67"/>
                <a:gd name="T32" fmla="*/ 34 w 66"/>
                <a:gd name="T33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6" h="67">
                  <a:moveTo>
                    <a:pt x="34" y="67"/>
                  </a:moveTo>
                  <a:cubicBezTo>
                    <a:pt x="26" y="67"/>
                    <a:pt x="18" y="63"/>
                    <a:pt x="12" y="57"/>
                  </a:cubicBezTo>
                  <a:cubicBezTo>
                    <a:pt x="2" y="47"/>
                    <a:pt x="0" y="31"/>
                    <a:pt x="7" y="19"/>
                  </a:cubicBezTo>
                  <a:cubicBezTo>
                    <a:pt x="8" y="18"/>
                    <a:pt x="9" y="17"/>
                    <a:pt x="10" y="18"/>
                  </a:cubicBezTo>
                  <a:cubicBezTo>
                    <a:pt x="12" y="19"/>
                    <a:pt x="12" y="20"/>
                    <a:pt x="11" y="21"/>
                  </a:cubicBezTo>
                  <a:cubicBezTo>
                    <a:pt x="5" y="32"/>
                    <a:pt x="7" y="45"/>
                    <a:pt x="16" y="54"/>
                  </a:cubicBezTo>
                  <a:cubicBezTo>
                    <a:pt x="21" y="59"/>
                    <a:pt x="27" y="62"/>
                    <a:pt x="34" y="62"/>
                  </a:cubicBezTo>
                  <a:cubicBezTo>
                    <a:pt x="42" y="62"/>
                    <a:pt x="48" y="59"/>
                    <a:pt x="53" y="54"/>
                  </a:cubicBezTo>
                  <a:cubicBezTo>
                    <a:pt x="59" y="49"/>
                    <a:pt x="61" y="42"/>
                    <a:pt x="61" y="35"/>
                  </a:cubicBezTo>
                  <a:cubicBezTo>
                    <a:pt x="61" y="28"/>
                    <a:pt x="59" y="21"/>
                    <a:pt x="53" y="16"/>
                  </a:cubicBezTo>
                  <a:cubicBezTo>
                    <a:pt x="45" y="7"/>
                    <a:pt x="31" y="5"/>
                    <a:pt x="21" y="12"/>
                  </a:cubicBezTo>
                  <a:cubicBezTo>
                    <a:pt x="20" y="12"/>
                    <a:pt x="18" y="12"/>
                    <a:pt x="18" y="11"/>
                  </a:cubicBezTo>
                  <a:cubicBezTo>
                    <a:pt x="17" y="10"/>
                    <a:pt x="17" y="8"/>
                    <a:pt x="18" y="7"/>
                  </a:cubicBezTo>
                  <a:cubicBezTo>
                    <a:pt x="31" y="0"/>
                    <a:pt x="47" y="2"/>
                    <a:pt x="57" y="12"/>
                  </a:cubicBezTo>
                  <a:cubicBezTo>
                    <a:pt x="63" y="18"/>
                    <a:pt x="66" y="26"/>
                    <a:pt x="66" y="35"/>
                  </a:cubicBezTo>
                  <a:cubicBezTo>
                    <a:pt x="66" y="43"/>
                    <a:pt x="63" y="51"/>
                    <a:pt x="57" y="57"/>
                  </a:cubicBezTo>
                  <a:cubicBezTo>
                    <a:pt x="51" y="63"/>
                    <a:pt x="43" y="67"/>
                    <a:pt x="34" y="6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800" dirty="0"/>
            </a:p>
          </p:txBody>
        </p:sp>
        <p:sp>
          <p:nvSpPr>
            <p:cNvPr id="20" name="Freeform 1540">
              <a:extLst>
                <a:ext uri="{FF2B5EF4-FFF2-40B4-BE49-F238E27FC236}">
                  <a16:creationId xmlns:a16="http://schemas.microsoft.com/office/drawing/2014/main" id="{A0C7EDE6-2C62-CDD6-7044-7A55694E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998407" y="2379994"/>
              <a:ext cx="153789" cy="153813"/>
            </a:xfrm>
            <a:custGeom>
              <a:avLst/>
              <a:gdLst>
                <a:gd name="T0" fmla="*/ 2 w 82"/>
                <a:gd name="T1" fmla="*/ 83 h 83"/>
                <a:gd name="T2" fmla="*/ 1 w 82"/>
                <a:gd name="T3" fmla="*/ 82 h 83"/>
                <a:gd name="T4" fmla="*/ 1 w 82"/>
                <a:gd name="T5" fmla="*/ 78 h 83"/>
                <a:gd name="T6" fmla="*/ 78 w 82"/>
                <a:gd name="T7" fmla="*/ 1 h 83"/>
                <a:gd name="T8" fmla="*/ 81 w 82"/>
                <a:gd name="T9" fmla="*/ 1 h 83"/>
                <a:gd name="T10" fmla="*/ 81 w 82"/>
                <a:gd name="T11" fmla="*/ 5 h 83"/>
                <a:gd name="T12" fmla="*/ 4 w 82"/>
                <a:gd name="T13" fmla="*/ 82 h 83"/>
                <a:gd name="T14" fmla="*/ 2 w 82"/>
                <a:gd name="T15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83">
                  <a:moveTo>
                    <a:pt x="2" y="83"/>
                  </a:moveTo>
                  <a:cubicBezTo>
                    <a:pt x="2" y="83"/>
                    <a:pt x="1" y="82"/>
                    <a:pt x="1" y="82"/>
                  </a:cubicBezTo>
                  <a:cubicBezTo>
                    <a:pt x="0" y="81"/>
                    <a:pt x="0" y="79"/>
                    <a:pt x="1" y="78"/>
                  </a:cubicBezTo>
                  <a:cubicBezTo>
                    <a:pt x="78" y="1"/>
                    <a:pt x="78" y="1"/>
                    <a:pt x="78" y="1"/>
                  </a:cubicBezTo>
                  <a:cubicBezTo>
                    <a:pt x="79" y="0"/>
                    <a:pt x="80" y="0"/>
                    <a:pt x="81" y="1"/>
                  </a:cubicBezTo>
                  <a:cubicBezTo>
                    <a:pt x="82" y="2"/>
                    <a:pt x="82" y="4"/>
                    <a:pt x="81" y="5"/>
                  </a:cubicBezTo>
                  <a:cubicBezTo>
                    <a:pt x="4" y="82"/>
                    <a:pt x="4" y="82"/>
                    <a:pt x="4" y="82"/>
                  </a:cubicBezTo>
                  <a:cubicBezTo>
                    <a:pt x="4" y="82"/>
                    <a:pt x="3" y="83"/>
                    <a:pt x="2" y="8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800" dirty="0"/>
            </a:p>
          </p:txBody>
        </p:sp>
        <p:sp>
          <p:nvSpPr>
            <p:cNvPr id="21" name="Freeform 1541">
              <a:extLst>
                <a:ext uri="{FF2B5EF4-FFF2-40B4-BE49-F238E27FC236}">
                  <a16:creationId xmlns:a16="http://schemas.microsoft.com/office/drawing/2014/main" id="{9E4B52B0-792C-3962-6867-17056F21259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6447" y="2526055"/>
              <a:ext cx="149848" cy="143472"/>
            </a:xfrm>
            <a:custGeom>
              <a:avLst/>
              <a:gdLst>
                <a:gd name="T0" fmla="*/ 26 w 80"/>
                <a:gd name="T1" fmla="*/ 78 h 78"/>
                <a:gd name="T2" fmla="*/ 20 w 80"/>
                <a:gd name="T3" fmla="*/ 76 h 78"/>
                <a:gd name="T4" fmla="*/ 4 w 80"/>
                <a:gd name="T5" fmla="*/ 60 h 78"/>
                <a:gd name="T6" fmla="*/ 4 w 80"/>
                <a:gd name="T7" fmla="*/ 48 h 78"/>
                <a:gd name="T8" fmla="*/ 49 w 80"/>
                <a:gd name="T9" fmla="*/ 3 h 78"/>
                <a:gd name="T10" fmla="*/ 55 w 80"/>
                <a:gd name="T11" fmla="*/ 0 h 78"/>
                <a:gd name="T12" fmla="*/ 61 w 80"/>
                <a:gd name="T13" fmla="*/ 3 h 78"/>
                <a:gd name="T14" fmla="*/ 77 w 80"/>
                <a:gd name="T15" fmla="*/ 19 h 78"/>
                <a:gd name="T16" fmla="*/ 77 w 80"/>
                <a:gd name="T17" fmla="*/ 31 h 78"/>
                <a:gd name="T18" fmla="*/ 32 w 80"/>
                <a:gd name="T19" fmla="*/ 76 h 78"/>
                <a:gd name="T20" fmla="*/ 26 w 80"/>
                <a:gd name="T21" fmla="*/ 78 h 78"/>
                <a:gd name="T22" fmla="*/ 55 w 80"/>
                <a:gd name="T23" fmla="*/ 5 h 78"/>
                <a:gd name="T24" fmla="*/ 52 w 80"/>
                <a:gd name="T25" fmla="*/ 7 h 78"/>
                <a:gd name="T26" fmla="*/ 7 w 80"/>
                <a:gd name="T27" fmla="*/ 51 h 78"/>
                <a:gd name="T28" fmla="*/ 7 w 80"/>
                <a:gd name="T29" fmla="*/ 57 h 78"/>
                <a:gd name="T30" fmla="*/ 23 w 80"/>
                <a:gd name="T31" fmla="*/ 72 h 78"/>
                <a:gd name="T32" fmla="*/ 28 w 80"/>
                <a:gd name="T33" fmla="*/ 72 h 78"/>
                <a:gd name="T34" fmla="*/ 73 w 80"/>
                <a:gd name="T35" fmla="*/ 28 h 78"/>
                <a:gd name="T36" fmla="*/ 73 w 80"/>
                <a:gd name="T37" fmla="*/ 22 h 78"/>
                <a:gd name="T38" fmla="*/ 58 w 80"/>
                <a:gd name="T39" fmla="*/ 7 h 78"/>
                <a:gd name="T40" fmla="*/ 55 w 80"/>
                <a:gd name="T41" fmla="*/ 5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0" h="78">
                  <a:moveTo>
                    <a:pt x="26" y="78"/>
                  </a:moveTo>
                  <a:cubicBezTo>
                    <a:pt x="23" y="78"/>
                    <a:pt x="21" y="77"/>
                    <a:pt x="20" y="76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0" y="57"/>
                    <a:pt x="0" y="51"/>
                    <a:pt x="4" y="48"/>
                  </a:cubicBezTo>
                  <a:cubicBezTo>
                    <a:pt x="49" y="3"/>
                    <a:pt x="49" y="3"/>
                    <a:pt x="49" y="3"/>
                  </a:cubicBezTo>
                  <a:cubicBezTo>
                    <a:pt x="50" y="1"/>
                    <a:pt x="52" y="0"/>
                    <a:pt x="55" y="0"/>
                  </a:cubicBezTo>
                  <a:cubicBezTo>
                    <a:pt x="57" y="0"/>
                    <a:pt x="59" y="1"/>
                    <a:pt x="61" y="3"/>
                  </a:cubicBezTo>
                  <a:cubicBezTo>
                    <a:pt x="77" y="19"/>
                    <a:pt x="77" y="19"/>
                    <a:pt x="77" y="19"/>
                  </a:cubicBezTo>
                  <a:cubicBezTo>
                    <a:pt x="80" y="22"/>
                    <a:pt x="80" y="28"/>
                    <a:pt x="77" y="31"/>
                  </a:cubicBezTo>
                  <a:cubicBezTo>
                    <a:pt x="32" y="76"/>
                    <a:pt x="32" y="76"/>
                    <a:pt x="32" y="76"/>
                  </a:cubicBezTo>
                  <a:cubicBezTo>
                    <a:pt x="30" y="77"/>
                    <a:pt x="28" y="78"/>
                    <a:pt x="26" y="78"/>
                  </a:cubicBezTo>
                  <a:close/>
                  <a:moveTo>
                    <a:pt x="55" y="5"/>
                  </a:moveTo>
                  <a:cubicBezTo>
                    <a:pt x="54" y="5"/>
                    <a:pt x="53" y="6"/>
                    <a:pt x="52" y="7"/>
                  </a:cubicBezTo>
                  <a:cubicBezTo>
                    <a:pt x="7" y="51"/>
                    <a:pt x="7" y="51"/>
                    <a:pt x="7" y="51"/>
                  </a:cubicBezTo>
                  <a:cubicBezTo>
                    <a:pt x="6" y="53"/>
                    <a:pt x="6" y="55"/>
                    <a:pt x="7" y="57"/>
                  </a:cubicBezTo>
                  <a:cubicBezTo>
                    <a:pt x="23" y="72"/>
                    <a:pt x="23" y="72"/>
                    <a:pt x="23" y="72"/>
                  </a:cubicBezTo>
                  <a:cubicBezTo>
                    <a:pt x="24" y="74"/>
                    <a:pt x="27" y="74"/>
                    <a:pt x="28" y="72"/>
                  </a:cubicBezTo>
                  <a:cubicBezTo>
                    <a:pt x="73" y="28"/>
                    <a:pt x="73" y="28"/>
                    <a:pt x="73" y="28"/>
                  </a:cubicBezTo>
                  <a:cubicBezTo>
                    <a:pt x="75" y="26"/>
                    <a:pt x="75" y="24"/>
                    <a:pt x="73" y="22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7" y="6"/>
                    <a:pt x="56" y="5"/>
                    <a:pt x="55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800" dirty="0"/>
            </a:p>
          </p:txBody>
        </p:sp>
        <p:sp>
          <p:nvSpPr>
            <p:cNvPr id="22" name="Freeform 1542">
              <a:extLst>
                <a:ext uri="{FF2B5EF4-FFF2-40B4-BE49-F238E27FC236}">
                  <a16:creationId xmlns:a16="http://schemas.microsoft.com/office/drawing/2014/main" id="{CCDA32D5-7109-03CE-B055-12E70CCA74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62916" y="2509249"/>
              <a:ext cx="60466" cy="56874"/>
            </a:xfrm>
            <a:custGeom>
              <a:avLst/>
              <a:gdLst>
                <a:gd name="T0" fmla="*/ 19 w 32"/>
                <a:gd name="T1" fmla="*/ 31 h 31"/>
                <a:gd name="T2" fmla="*/ 14 w 32"/>
                <a:gd name="T3" fmla="*/ 29 h 31"/>
                <a:gd name="T4" fmla="*/ 2 w 32"/>
                <a:gd name="T5" fmla="*/ 17 h 31"/>
                <a:gd name="T6" fmla="*/ 0 w 32"/>
                <a:gd name="T7" fmla="*/ 12 h 31"/>
                <a:gd name="T8" fmla="*/ 2 w 32"/>
                <a:gd name="T9" fmla="*/ 7 h 31"/>
                <a:gd name="T10" fmla="*/ 7 w 32"/>
                <a:gd name="T11" fmla="*/ 3 h 31"/>
                <a:gd name="T12" fmla="*/ 12 w 32"/>
                <a:gd name="T13" fmla="*/ 0 h 31"/>
                <a:gd name="T14" fmla="*/ 17 w 32"/>
                <a:gd name="T15" fmla="*/ 3 h 31"/>
                <a:gd name="T16" fmla="*/ 29 w 32"/>
                <a:gd name="T17" fmla="*/ 14 h 31"/>
                <a:gd name="T18" fmla="*/ 29 w 32"/>
                <a:gd name="T19" fmla="*/ 24 h 31"/>
                <a:gd name="T20" fmla="*/ 24 w 32"/>
                <a:gd name="T21" fmla="*/ 29 h 31"/>
                <a:gd name="T22" fmla="*/ 19 w 32"/>
                <a:gd name="T23" fmla="*/ 31 h 31"/>
                <a:gd name="T24" fmla="*/ 12 w 32"/>
                <a:gd name="T25" fmla="*/ 5 h 31"/>
                <a:gd name="T26" fmla="*/ 11 w 32"/>
                <a:gd name="T27" fmla="*/ 6 h 31"/>
                <a:gd name="T28" fmla="*/ 6 w 32"/>
                <a:gd name="T29" fmla="*/ 11 h 31"/>
                <a:gd name="T30" fmla="*/ 5 w 32"/>
                <a:gd name="T31" fmla="*/ 12 h 31"/>
                <a:gd name="T32" fmla="*/ 6 w 32"/>
                <a:gd name="T33" fmla="*/ 14 h 31"/>
                <a:gd name="T34" fmla="*/ 18 w 32"/>
                <a:gd name="T35" fmla="*/ 26 h 31"/>
                <a:gd name="T36" fmla="*/ 21 w 32"/>
                <a:gd name="T37" fmla="*/ 26 h 31"/>
                <a:gd name="T38" fmla="*/ 24 w 32"/>
                <a:gd name="T39" fmla="*/ 23 h 31"/>
                <a:gd name="T40" fmla="*/ 24 w 32"/>
                <a:gd name="T41" fmla="*/ 23 h 31"/>
                <a:gd name="T42" fmla="*/ 26 w 32"/>
                <a:gd name="T43" fmla="*/ 21 h 31"/>
                <a:gd name="T44" fmla="*/ 26 w 32"/>
                <a:gd name="T45" fmla="*/ 18 h 31"/>
                <a:gd name="T46" fmla="*/ 14 w 32"/>
                <a:gd name="T47" fmla="*/ 6 h 31"/>
                <a:gd name="T48" fmla="*/ 12 w 32"/>
                <a:gd name="T49" fmla="*/ 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2" h="31">
                  <a:moveTo>
                    <a:pt x="19" y="31"/>
                  </a:moveTo>
                  <a:cubicBezTo>
                    <a:pt x="17" y="31"/>
                    <a:pt x="16" y="31"/>
                    <a:pt x="14" y="29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1" y="16"/>
                    <a:pt x="0" y="14"/>
                    <a:pt x="0" y="12"/>
                  </a:cubicBezTo>
                  <a:cubicBezTo>
                    <a:pt x="0" y="10"/>
                    <a:pt x="1" y="9"/>
                    <a:pt x="2" y="7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8" y="1"/>
                    <a:pt x="10" y="0"/>
                    <a:pt x="12" y="0"/>
                  </a:cubicBezTo>
                  <a:cubicBezTo>
                    <a:pt x="14" y="0"/>
                    <a:pt x="16" y="1"/>
                    <a:pt x="17" y="3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32" y="17"/>
                    <a:pt x="32" y="22"/>
                    <a:pt x="29" y="24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23" y="31"/>
                    <a:pt x="21" y="31"/>
                    <a:pt x="19" y="31"/>
                  </a:cubicBezTo>
                  <a:close/>
                  <a:moveTo>
                    <a:pt x="12" y="5"/>
                  </a:moveTo>
                  <a:cubicBezTo>
                    <a:pt x="12" y="5"/>
                    <a:pt x="11" y="6"/>
                    <a:pt x="11" y="6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5" y="11"/>
                    <a:pt x="5" y="12"/>
                    <a:pt x="5" y="12"/>
                  </a:cubicBezTo>
                  <a:cubicBezTo>
                    <a:pt x="5" y="13"/>
                    <a:pt x="5" y="13"/>
                    <a:pt x="6" y="14"/>
                  </a:cubicBezTo>
                  <a:cubicBezTo>
                    <a:pt x="18" y="26"/>
                    <a:pt x="18" y="26"/>
                    <a:pt x="18" y="26"/>
                  </a:cubicBezTo>
                  <a:cubicBezTo>
                    <a:pt x="19" y="27"/>
                    <a:pt x="20" y="27"/>
                    <a:pt x="21" y="26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6" y="21"/>
                    <a:pt x="26" y="21"/>
                    <a:pt x="26" y="21"/>
                  </a:cubicBezTo>
                  <a:cubicBezTo>
                    <a:pt x="27" y="20"/>
                    <a:pt x="27" y="19"/>
                    <a:pt x="26" y="18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3" y="6"/>
                    <a:pt x="13" y="5"/>
                    <a:pt x="12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800" dirty="0"/>
            </a:p>
          </p:txBody>
        </p:sp>
        <p:sp>
          <p:nvSpPr>
            <p:cNvPr id="23" name="Freeform 1543">
              <a:extLst>
                <a:ext uri="{FF2B5EF4-FFF2-40B4-BE49-F238E27FC236}">
                  <a16:creationId xmlns:a16="http://schemas.microsoft.com/office/drawing/2014/main" id="{DEBAD237-4F7E-6CA4-9176-EF3150BE93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7223" y="2379997"/>
              <a:ext cx="26289" cy="25850"/>
            </a:xfrm>
            <a:custGeom>
              <a:avLst/>
              <a:gdLst>
                <a:gd name="T0" fmla="*/ 4 w 14"/>
                <a:gd name="T1" fmla="*/ 14 h 14"/>
                <a:gd name="T2" fmla="*/ 1 w 14"/>
                <a:gd name="T3" fmla="*/ 13 h 14"/>
                <a:gd name="T4" fmla="*/ 1 w 14"/>
                <a:gd name="T5" fmla="*/ 13 h 14"/>
                <a:gd name="T6" fmla="*/ 1 w 14"/>
                <a:gd name="T7" fmla="*/ 8 h 14"/>
                <a:gd name="T8" fmla="*/ 8 w 14"/>
                <a:gd name="T9" fmla="*/ 1 h 14"/>
                <a:gd name="T10" fmla="*/ 13 w 14"/>
                <a:gd name="T11" fmla="*/ 1 h 14"/>
                <a:gd name="T12" fmla="*/ 14 w 14"/>
                <a:gd name="T13" fmla="*/ 3 h 14"/>
                <a:gd name="T14" fmla="*/ 13 w 14"/>
                <a:gd name="T15" fmla="*/ 6 h 14"/>
                <a:gd name="T16" fmla="*/ 6 w 14"/>
                <a:gd name="T17" fmla="*/ 13 h 14"/>
                <a:gd name="T18" fmla="*/ 4 w 14"/>
                <a:gd name="T1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14">
                  <a:moveTo>
                    <a:pt x="4" y="14"/>
                  </a:moveTo>
                  <a:cubicBezTo>
                    <a:pt x="3" y="14"/>
                    <a:pt x="2" y="13"/>
                    <a:pt x="1" y="1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0" y="11"/>
                    <a:pt x="0" y="9"/>
                    <a:pt x="1" y="8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9" y="0"/>
                    <a:pt x="11" y="0"/>
                    <a:pt x="13" y="1"/>
                  </a:cubicBezTo>
                  <a:cubicBezTo>
                    <a:pt x="13" y="2"/>
                    <a:pt x="14" y="3"/>
                    <a:pt x="14" y="3"/>
                  </a:cubicBezTo>
                  <a:cubicBezTo>
                    <a:pt x="14" y="4"/>
                    <a:pt x="13" y="5"/>
                    <a:pt x="13" y="6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5" y="13"/>
                    <a:pt x="4" y="14"/>
                    <a:pt x="4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800" dirty="0"/>
            </a:p>
          </p:txBody>
        </p:sp>
      </p:grpSp>
      <p:grpSp>
        <p:nvGrpSpPr>
          <p:cNvPr id="98" name="Group 97">
            <a:extLst>
              <a:ext uri="{FF2B5EF4-FFF2-40B4-BE49-F238E27FC236}">
                <a16:creationId xmlns:a16="http://schemas.microsoft.com/office/drawing/2014/main" id="{7E8DA0FD-8A85-8AD6-48BB-D9E4F9B2ACEF}"/>
              </a:ext>
            </a:extLst>
          </p:cNvPr>
          <p:cNvGrpSpPr/>
          <p:nvPr/>
        </p:nvGrpSpPr>
        <p:grpSpPr>
          <a:xfrm>
            <a:off x="863016" y="4455330"/>
            <a:ext cx="289178" cy="292066"/>
            <a:chOff x="863016" y="4455330"/>
            <a:chExt cx="289178" cy="292066"/>
          </a:xfrm>
          <a:solidFill>
            <a:schemeClr val="accent1"/>
          </a:solidFill>
        </p:grpSpPr>
        <p:sp>
          <p:nvSpPr>
            <p:cNvPr id="24" name="Freeform 380">
              <a:extLst>
                <a:ext uri="{FF2B5EF4-FFF2-40B4-BE49-F238E27FC236}">
                  <a16:creationId xmlns:a16="http://schemas.microsoft.com/office/drawing/2014/main" id="{328BB8C4-6D86-9D2F-9F0C-DA918B126D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3016" y="4455330"/>
              <a:ext cx="225559" cy="228450"/>
            </a:xfrm>
            <a:custGeom>
              <a:avLst/>
              <a:gdLst>
                <a:gd name="T0" fmla="*/ 142 w 285"/>
                <a:gd name="T1" fmla="*/ 285 h 285"/>
                <a:gd name="T2" fmla="*/ 0 w 285"/>
                <a:gd name="T3" fmla="*/ 143 h 285"/>
                <a:gd name="T4" fmla="*/ 142 w 285"/>
                <a:gd name="T5" fmla="*/ 0 h 285"/>
                <a:gd name="T6" fmla="*/ 285 w 285"/>
                <a:gd name="T7" fmla="*/ 143 h 285"/>
                <a:gd name="T8" fmla="*/ 142 w 285"/>
                <a:gd name="T9" fmla="*/ 285 h 285"/>
                <a:gd name="T10" fmla="*/ 142 w 285"/>
                <a:gd name="T11" fmla="*/ 12 h 285"/>
                <a:gd name="T12" fmla="*/ 12 w 285"/>
                <a:gd name="T13" fmla="*/ 143 h 285"/>
                <a:gd name="T14" fmla="*/ 142 w 285"/>
                <a:gd name="T15" fmla="*/ 273 h 285"/>
                <a:gd name="T16" fmla="*/ 273 w 285"/>
                <a:gd name="T17" fmla="*/ 143 h 285"/>
                <a:gd name="T18" fmla="*/ 142 w 285"/>
                <a:gd name="T19" fmla="*/ 12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5" h="285">
                  <a:moveTo>
                    <a:pt x="142" y="285"/>
                  </a:moveTo>
                  <a:cubicBezTo>
                    <a:pt x="64" y="285"/>
                    <a:pt x="0" y="221"/>
                    <a:pt x="0" y="143"/>
                  </a:cubicBezTo>
                  <a:cubicBezTo>
                    <a:pt x="0" y="64"/>
                    <a:pt x="64" y="0"/>
                    <a:pt x="142" y="0"/>
                  </a:cubicBezTo>
                  <a:cubicBezTo>
                    <a:pt x="221" y="0"/>
                    <a:pt x="285" y="64"/>
                    <a:pt x="285" y="143"/>
                  </a:cubicBezTo>
                  <a:cubicBezTo>
                    <a:pt x="285" y="221"/>
                    <a:pt x="221" y="285"/>
                    <a:pt x="142" y="285"/>
                  </a:cubicBezTo>
                  <a:close/>
                  <a:moveTo>
                    <a:pt x="142" y="12"/>
                  </a:moveTo>
                  <a:cubicBezTo>
                    <a:pt x="70" y="12"/>
                    <a:pt x="12" y="71"/>
                    <a:pt x="12" y="143"/>
                  </a:cubicBezTo>
                  <a:cubicBezTo>
                    <a:pt x="12" y="214"/>
                    <a:pt x="70" y="273"/>
                    <a:pt x="142" y="273"/>
                  </a:cubicBezTo>
                  <a:cubicBezTo>
                    <a:pt x="214" y="273"/>
                    <a:pt x="273" y="214"/>
                    <a:pt x="273" y="143"/>
                  </a:cubicBezTo>
                  <a:cubicBezTo>
                    <a:pt x="273" y="71"/>
                    <a:pt x="214" y="12"/>
                    <a:pt x="142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800" dirty="0"/>
            </a:p>
          </p:txBody>
        </p:sp>
        <p:sp>
          <p:nvSpPr>
            <p:cNvPr id="25" name="Freeform 381">
              <a:extLst>
                <a:ext uri="{FF2B5EF4-FFF2-40B4-BE49-F238E27FC236}">
                  <a16:creationId xmlns:a16="http://schemas.microsoft.com/office/drawing/2014/main" id="{5465DB47-1F51-3563-CBF0-5EAA347592B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522" y="4628832"/>
              <a:ext cx="115672" cy="118564"/>
            </a:xfrm>
            <a:custGeom>
              <a:avLst/>
              <a:gdLst>
                <a:gd name="T0" fmla="*/ 119 w 145"/>
                <a:gd name="T1" fmla="*/ 146 h 146"/>
                <a:gd name="T2" fmla="*/ 100 w 145"/>
                <a:gd name="T3" fmla="*/ 138 h 146"/>
                <a:gd name="T4" fmla="*/ 2 w 145"/>
                <a:gd name="T5" fmla="*/ 40 h 146"/>
                <a:gd name="T6" fmla="*/ 2 w 145"/>
                <a:gd name="T7" fmla="*/ 32 h 146"/>
                <a:gd name="T8" fmla="*/ 31 w 145"/>
                <a:gd name="T9" fmla="*/ 3 h 146"/>
                <a:gd name="T10" fmla="*/ 40 w 145"/>
                <a:gd name="T11" fmla="*/ 3 h 146"/>
                <a:gd name="T12" fmla="*/ 138 w 145"/>
                <a:gd name="T13" fmla="*/ 100 h 146"/>
                <a:gd name="T14" fmla="*/ 145 w 145"/>
                <a:gd name="T15" fmla="*/ 119 h 146"/>
                <a:gd name="T16" fmla="*/ 138 w 145"/>
                <a:gd name="T17" fmla="*/ 138 h 146"/>
                <a:gd name="T18" fmla="*/ 119 w 145"/>
                <a:gd name="T19" fmla="*/ 146 h 146"/>
                <a:gd name="T20" fmla="*/ 15 w 145"/>
                <a:gd name="T21" fmla="*/ 36 h 146"/>
                <a:gd name="T22" fmla="*/ 109 w 145"/>
                <a:gd name="T23" fmla="*/ 129 h 146"/>
                <a:gd name="T24" fmla="*/ 109 w 145"/>
                <a:gd name="T25" fmla="*/ 129 h 146"/>
                <a:gd name="T26" fmla="*/ 129 w 145"/>
                <a:gd name="T27" fmla="*/ 129 h 146"/>
                <a:gd name="T28" fmla="*/ 133 w 145"/>
                <a:gd name="T29" fmla="*/ 119 h 146"/>
                <a:gd name="T30" fmla="*/ 129 w 145"/>
                <a:gd name="T31" fmla="*/ 109 h 146"/>
                <a:gd name="T32" fmla="*/ 36 w 145"/>
                <a:gd name="T33" fmla="*/ 16 h 146"/>
                <a:gd name="T34" fmla="*/ 15 w 145"/>
                <a:gd name="T35" fmla="*/ 36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45" h="146">
                  <a:moveTo>
                    <a:pt x="119" y="146"/>
                  </a:moveTo>
                  <a:cubicBezTo>
                    <a:pt x="112" y="146"/>
                    <a:pt x="105" y="143"/>
                    <a:pt x="100" y="138"/>
                  </a:cubicBezTo>
                  <a:cubicBezTo>
                    <a:pt x="2" y="40"/>
                    <a:pt x="2" y="40"/>
                    <a:pt x="2" y="40"/>
                  </a:cubicBezTo>
                  <a:cubicBezTo>
                    <a:pt x="0" y="38"/>
                    <a:pt x="0" y="34"/>
                    <a:pt x="2" y="3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4" y="0"/>
                    <a:pt x="38" y="0"/>
                    <a:pt x="40" y="3"/>
                  </a:cubicBezTo>
                  <a:cubicBezTo>
                    <a:pt x="138" y="100"/>
                    <a:pt x="138" y="100"/>
                    <a:pt x="138" y="100"/>
                  </a:cubicBezTo>
                  <a:cubicBezTo>
                    <a:pt x="143" y="105"/>
                    <a:pt x="145" y="112"/>
                    <a:pt x="145" y="119"/>
                  </a:cubicBezTo>
                  <a:cubicBezTo>
                    <a:pt x="145" y="126"/>
                    <a:pt x="143" y="133"/>
                    <a:pt x="138" y="138"/>
                  </a:cubicBezTo>
                  <a:cubicBezTo>
                    <a:pt x="132" y="143"/>
                    <a:pt x="126" y="146"/>
                    <a:pt x="119" y="146"/>
                  </a:cubicBezTo>
                  <a:close/>
                  <a:moveTo>
                    <a:pt x="15" y="36"/>
                  </a:moveTo>
                  <a:cubicBezTo>
                    <a:pt x="109" y="129"/>
                    <a:pt x="109" y="129"/>
                    <a:pt x="109" y="129"/>
                  </a:cubicBezTo>
                  <a:cubicBezTo>
                    <a:pt x="109" y="129"/>
                    <a:pt x="109" y="129"/>
                    <a:pt x="109" y="129"/>
                  </a:cubicBezTo>
                  <a:cubicBezTo>
                    <a:pt x="114" y="135"/>
                    <a:pt x="123" y="135"/>
                    <a:pt x="129" y="129"/>
                  </a:cubicBezTo>
                  <a:cubicBezTo>
                    <a:pt x="132" y="126"/>
                    <a:pt x="133" y="123"/>
                    <a:pt x="133" y="119"/>
                  </a:cubicBezTo>
                  <a:cubicBezTo>
                    <a:pt x="133" y="115"/>
                    <a:pt x="132" y="112"/>
                    <a:pt x="129" y="109"/>
                  </a:cubicBezTo>
                  <a:cubicBezTo>
                    <a:pt x="36" y="16"/>
                    <a:pt x="36" y="16"/>
                    <a:pt x="36" y="16"/>
                  </a:cubicBezTo>
                  <a:lnTo>
                    <a:pt x="15" y="3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800" dirty="0"/>
            </a:p>
          </p:txBody>
        </p:sp>
        <p:sp>
          <p:nvSpPr>
            <p:cNvPr id="26" name="Freeform 382">
              <a:extLst>
                <a:ext uri="{FF2B5EF4-FFF2-40B4-BE49-F238E27FC236}">
                  <a16:creationId xmlns:a16="http://schemas.microsoft.com/office/drawing/2014/main" id="{269206B2-BF71-4979-2F57-4CDF4D940DDF}"/>
                </a:ext>
              </a:extLst>
            </p:cNvPr>
            <p:cNvSpPr>
              <a:spLocks/>
            </p:cNvSpPr>
            <p:nvPr/>
          </p:nvSpPr>
          <p:spPr bwMode="auto">
            <a:xfrm>
              <a:off x="900608" y="4492919"/>
              <a:ext cx="80971" cy="80971"/>
            </a:xfrm>
            <a:custGeom>
              <a:avLst/>
              <a:gdLst>
                <a:gd name="T0" fmla="*/ 6 w 99"/>
                <a:gd name="T1" fmla="*/ 100 h 100"/>
                <a:gd name="T2" fmla="*/ 0 w 99"/>
                <a:gd name="T3" fmla="*/ 94 h 100"/>
                <a:gd name="T4" fmla="*/ 93 w 99"/>
                <a:gd name="T5" fmla="*/ 0 h 100"/>
                <a:gd name="T6" fmla="*/ 99 w 99"/>
                <a:gd name="T7" fmla="*/ 6 h 100"/>
                <a:gd name="T8" fmla="*/ 93 w 99"/>
                <a:gd name="T9" fmla="*/ 12 h 100"/>
                <a:gd name="T10" fmla="*/ 12 w 99"/>
                <a:gd name="T11" fmla="*/ 94 h 100"/>
                <a:gd name="T12" fmla="*/ 6 w 99"/>
                <a:gd name="T13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9" h="100">
                  <a:moveTo>
                    <a:pt x="6" y="100"/>
                  </a:moveTo>
                  <a:cubicBezTo>
                    <a:pt x="3" y="100"/>
                    <a:pt x="0" y="97"/>
                    <a:pt x="0" y="94"/>
                  </a:cubicBezTo>
                  <a:cubicBezTo>
                    <a:pt x="0" y="42"/>
                    <a:pt x="42" y="0"/>
                    <a:pt x="93" y="0"/>
                  </a:cubicBezTo>
                  <a:cubicBezTo>
                    <a:pt x="97" y="0"/>
                    <a:pt x="99" y="3"/>
                    <a:pt x="99" y="6"/>
                  </a:cubicBezTo>
                  <a:cubicBezTo>
                    <a:pt x="99" y="10"/>
                    <a:pt x="97" y="12"/>
                    <a:pt x="93" y="12"/>
                  </a:cubicBezTo>
                  <a:cubicBezTo>
                    <a:pt x="48" y="12"/>
                    <a:pt x="12" y="49"/>
                    <a:pt x="12" y="94"/>
                  </a:cubicBezTo>
                  <a:cubicBezTo>
                    <a:pt x="12" y="97"/>
                    <a:pt x="9" y="100"/>
                    <a:pt x="6" y="10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800" dirty="0"/>
            </a:p>
          </p:txBody>
        </p:sp>
      </p:grpSp>
      <p:sp>
        <p:nvSpPr>
          <p:cNvPr id="27" name="Shape1_20210630_091508">
            <a:extLst>
              <a:ext uri="{FF2B5EF4-FFF2-40B4-BE49-F238E27FC236}">
                <a16:creationId xmlns:a16="http://schemas.microsoft.com/office/drawing/2014/main" id="{112B6F28-F3C3-1DD4-C673-67329930E180}"/>
              </a:ext>
            </a:extLst>
          </p:cNvPr>
          <p:cNvSpPr/>
          <p:nvPr/>
        </p:nvSpPr>
        <p:spPr>
          <a:xfrm>
            <a:off x="3645364" y="4497492"/>
            <a:ext cx="8028476" cy="117170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defRPr/>
            </a:pPr>
            <a:endParaRPr sz="2800" dirty="0">
              <a:solidFill>
                <a:srgbClr val="FFFFFF"/>
              </a:solidFill>
            </a:endParaRPr>
          </a:p>
        </p:txBody>
      </p:sp>
      <p:sp>
        <p:nvSpPr>
          <p:cNvPr id="28" name="Google Shape;511;p3">
            <a:extLst>
              <a:ext uri="{FF2B5EF4-FFF2-40B4-BE49-F238E27FC236}">
                <a16:creationId xmlns:a16="http://schemas.microsoft.com/office/drawing/2014/main" id="{111DE949-7DA8-6AF4-0CC4-F26710C17A86}"/>
              </a:ext>
            </a:extLst>
          </p:cNvPr>
          <p:cNvSpPr/>
          <p:nvPr/>
        </p:nvSpPr>
        <p:spPr>
          <a:xfrm>
            <a:off x="3736285" y="5226653"/>
            <a:ext cx="2721400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ts val="1600"/>
              <a:buFont typeface="Arial"/>
              <a:buNone/>
            </a:pPr>
            <a:r>
              <a:rPr lang="en-US" sz="1600" dirty="0">
                <a:solidFill>
                  <a:schemeClr val="bg1"/>
                </a:solidFill>
              </a:rPr>
              <a:t>Insert Text Here</a:t>
            </a:r>
            <a:endParaRPr sz="1600" dirty="0">
              <a:solidFill>
                <a:schemeClr val="bg1"/>
              </a:solidFill>
            </a:endParaRPr>
          </a:p>
        </p:txBody>
      </p:sp>
      <p:sp>
        <p:nvSpPr>
          <p:cNvPr id="83" name="Google Shape;513;p3">
            <a:extLst>
              <a:ext uri="{FF2B5EF4-FFF2-40B4-BE49-F238E27FC236}">
                <a16:creationId xmlns:a16="http://schemas.microsoft.com/office/drawing/2014/main" id="{8BF03853-45D8-FADA-F7C7-C5618E190C49}"/>
              </a:ext>
            </a:extLst>
          </p:cNvPr>
          <p:cNvSpPr/>
          <p:nvPr/>
        </p:nvSpPr>
        <p:spPr>
          <a:xfrm>
            <a:off x="4242541" y="4705077"/>
            <a:ext cx="2215144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ts val="1600"/>
              <a:buFont typeface="Arial"/>
              <a:buNone/>
            </a:pPr>
            <a:r>
              <a:rPr lang="en-US" sz="1600" b="1" dirty="0">
                <a:solidFill>
                  <a:schemeClr val="bg1"/>
                </a:solidFill>
              </a:rPr>
              <a:t>Title</a:t>
            </a:r>
            <a:endParaRPr sz="1600" b="1" dirty="0">
              <a:solidFill>
                <a:schemeClr val="bg1"/>
              </a:solidFill>
            </a:endParaRPr>
          </a:p>
        </p:txBody>
      </p:sp>
      <p:sp>
        <p:nvSpPr>
          <p:cNvPr id="84" name="Freeform 843">
            <a:extLst>
              <a:ext uri="{FF2B5EF4-FFF2-40B4-BE49-F238E27FC236}">
                <a16:creationId xmlns:a16="http://schemas.microsoft.com/office/drawing/2014/main" id="{CC2F5BD2-F2F1-6425-B39B-57B8C91EE685}"/>
              </a:ext>
            </a:extLst>
          </p:cNvPr>
          <p:cNvSpPr>
            <a:spLocks noEditPoints="1"/>
          </p:cNvSpPr>
          <p:nvPr/>
        </p:nvSpPr>
        <p:spPr bwMode="auto">
          <a:xfrm>
            <a:off x="3929827" y="4651245"/>
            <a:ext cx="59938" cy="63315"/>
          </a:xfrm>
          <a:custGeom>
            <a:avLst/>
            <a:gdLst>
              <a:gd name="T0" fmla="*/ 39 w 78"/>
              <a:gd name="T1" fmla="*/ 79 h 79"/>
              <a:gd name="T2" fmla="*/ 0 w 78"/>
              <a:gd name="T3" fmla="*/ 40 h 79"/>
              <a:gd name="T4" fmla="*/ 39 w 78"/>
              <a:gd name="T5" fmla="*/ 0 h 79"/>
              <a:gd name="T6" fmla="*/ 78 w 78"/>
              <a:gd name="T7" fmla="*/ 40 h 79"/>
              <a:gd name="T8" fmla="*/ 39 w 78"/>
              <a:gd name="T9" fmla="*/ 79 h 79"/>
              <a:gd name="T10" fmla="*/ 39 w 78"/>
              <a:gd name="T11" fmla="*/ 13 h 79"/>
              <a:gd name="T12" fmla="*/ 12 w 78"/>
              <a:gd name="T13" fmla="*/ 40 h 79"/>
              <a:gd name="T14" fmla="*/ 39 w 78"/>
              <a:gd name="T15" fmla="*/ 66 h 79"/>
              <a:gd name="T16" fmla="*/ 66 w 78"/>
              <a:gd name="T17" fmla="*/ 40 h 79"/>
              <a:gd name="T18" fmla="*/ 39 w 78"/>
              <a:gd name="T19" fmla="*/ 13 h 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78" h="79">
                <a:moveTo>
                  <a:pt x="39" y="79"/>
                </a:moveTo>
                <a:cubicBezTo>
                  <a:pt x="17" y="79"/>
                  <a:pt x="0" y="61"/>
                  <a:pt x="0" y="40"/>
                </a:cubicBezTo>
                <a:cubicBezTo>
                  <a:pt x="0" y="18"/>
                  <a:pt x="17" y="0"/>
                  <a:pt x="39" y="0"/>
                </a:cubicBezTo>
                <a:cubicBezTo>
                  <a:pt x="60" y="0"/>
                  <a:pt x="78" y="18"/>
                  <a:pt x="78" y="40"/>
                </a:cubicBezTo>
                <a:cubicBezTo>
                  <a:pt x="78" y="61"/>
                  <a:pt x="60" y="79"/>
                  <a:pt x="39" y="79"/>
                </a:cubicBezTo>
                <a:close/>
                <a:moveTo>
                  <a:pt x="39" y="13"/>
                </a:moveTo>
                <a:cubicBezTo>
                  <a:pt x="24" y="13"/>
                  <a:pt x="12" y="25"/>
                  <a:pt x="12" y="40"/>
                </a:cubicBezTo>
                <a:cubicBezTo>
                  <a:pt x="12" y="54"/>
                  <a:pt x="24" y="66"/>
                  <a:pt x="39" y="66"/>
                </a:cubicBezTo>
                <a:cubicBezTo>
                  <a:pt x="54" y="66"/>
                  <a:pt x="66" y="54"/>
                  <a:pt x="66" y="40"/>
                </a:cubicBezTo>
                <a:cubicBezTo>
                  <a:pt x="66" y="25"/>
                  <a:pt x="54" y="13"/>
                  <a:pt x="39" y="13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800" dirty="0"/>
          </a:p>
        </p:txBody>
      </p:sp>
      <p:sp>
        <p:nvSpPr>
          <p:cNvPr id="85" name="Freeform 844">
            <a:extLst>
              <a:ext uri="{FF2B5EF4-FFF2-40B4-BE49-F238E27FC236}">
                <a16:creationId xmlns:a16="http://schemas.microsoft.com/office/drawing/2014/main" id="{5D2792CA-E03C-C4DA-99BF-16081FA03EAB}"/>
              </a:ext>
            </a:extLst>
          </p:cNvPr>
          <p:cNvSpPr>
            <a:spLocks noEditPoints="1"/>
          </p:cNvSpPr>
          <p:nvPr/>
        </p:nvSpPr>
        <p:spPr bwMode="auto">
          <a:xfrm>
            <a:off x="3787117" y="4746218"/>
            <a:ext cx="111313" cy="247503"/>
          </a:xfrm>
          <a:custGeom>
            <a:avLst/>
            <a:gdLst>
              <a:gd name="T0" fmla="*/ 110 w 139"/>
              <a:gd name="T1" fmla="*/ 311 h 311"/>
              <a:gd name="T2" fmla="*/ 87 w 139"/>
              <a:gd name="T3" fmla="*/ 300 h 311"/>
              <a:gd name="T4" fmla="*/ 65 w 139"/>
              <a:gd name="T5" fmla="*/ 311 h 311"/>
              <a:gd name="T6" fmla="*/ 36 w 139"/>
              <a:gd name="T7" fmla="*/ 282 h 311"/>
              <a:gd name="T8" fmla="*/ 36 w 139"/>
              <a:gd name="T9" fmla="*/ 158 h 311"/>
              <a:gd name="T10" fmla="*/ 26 w 139"/>
              <a:gd name="T11" fmla="*/ 161 h 311"/>
              <a:gd name="T12" fmla="*/ 8 w 139"/>
              <a:gd name="T13" fmla="*/ 155 h 311"/>
              <a:gd name="T14" fmla="*/ 0 w 139"/>
              <a:gd name="T15" fmla="*/ 137 h 311"/>
              <a:gd name="T16" fmla="*/ 0 w 139"/>
              <a:gd name="T17" fmla="*/ 42 h 311"/>
              <a:gd name="T18" fmla="*/ 42 w 139"/>
              <a:gd name="T19" fmla="*/ 0 h 311"/>
              <a:gd name="T20" fmla="*/ 132 w 139"/>
              <a:gd name="T21" fmla="*/ 0 h 311"/>
              <a:gd name="T22" fmla="*/ 137 w 139"/>
              <a:gd name="T23" fmla="*/ 3 h 311"/>
              <a:gd name="T24" fmla="*/ 138 w 139"/>
              <a:gd name="T25" fmla="*/ 8 h 311"/>
              <a:gd name="T26" fmla="*/ 136 w 139"/>
              <a:gd name="T27" fmla="*/ 19 h 311"/>
              <a:gd name="T28" fmla="*/ 136 w 139"/>
              <a:gd name="T29" fmla="*/ 123 h 311"/>
              <a:gd name="T30" fmla="*/ 138 w 139"/>
              <a:gd name="T31" fmla="*/ 130 h 311"/>
              <a:gd name="T32" fmla="*/ 139 w 139"/>
              <a:gd name="T33" fmla="*/ 133 h 311"/>
              <a:gd name="T34" fmla="*/ 139 w 139"/>
              <a:gd name="T35" fmla="*/ 136 h 311"/>
              <a:gd name="T36" fmla="*/ 139 w 139"/>
              <a:gd name="T37" fmla="*/ 137 h 311"/>
              <a:gd name="T38" fmla="*/ 139 w 139"/>
              <a:gd name="T39" fmla="*/ 137 h 311"/>
              <a:gd name="T40" fmla="*/ 139 w 139"/>
              <a:gd name="T41" fmla="*/ 140 h 311"/>
              <a:gd name="T42" fmla="*/ 139 w 139"/>
              <a:gd name="T43" fmla="*/ 140 h 311"/>
              <a:gd name="T44" fmla="*/ 139 w 139"/>
              <a:gd name="T45" fmla="*/ 282 h 311"/>
              <a:gd name="T46" fmla="*/ 110 w 139"/>
              <a:gd name="T47" fmla="*/ 311 h 311"/>
              <a:gd name="T48" fmla="*/ 93 w 139"/>
              <a:gd name="T49" fmla="*/ 282 h 311"/>
              <a:gd name="T50" fmla="*/ 110 w 139"/>
              <a:gd name="T51" fmla="*/ 298 h 311"/>
              <a:gd name="T52" fmla="*/ 126 w 139"/>
              <a:gd name="T53" fmla="*/ 282 h 311"/>
              <a:gd name="T54" fmla="*/ 126 w 139"/>
              <a:gd name="T55" fmla="*/ 137 h 311"/>
              <a:gd name="T56" fmla="*/ 126 w 139"/>
              <a:gd name="T57" fmla="*/ 136 h 311"/>
              <a:gd name="T58" fmla="*/ 126 w 139"/>
              <a:gd name="T59" fmla="*/ 135 h 311"/>
              <a:gd name="T60" fmla="*/ 123 w 139"/>
              <a:gd name="T61" fmla="*/ 123 h 311"/>
              <a:gd name="T62" fmla="*/ 123 w 139"/>
              <a:gd name="T63" fmla="*/ 19 h 311"/>
              <a:gd name="T64" fmla="*/ 124 w 139"/>
              <a:gd name="T65" fmla="*/ 12 h 311"/>
              <a:gd name="T66" fmla="*/ 42 w 139"/>
              <a:gd name="T67" fmla="*/ 12 h 311"/>
              <a:gd name="T68" fmla="*/ 12 w 139"/>
              <a:gd name="T69" fmla="*/ 42 h 311"/>
              <a:gd name="T70" fmla="*/ 12 w 139"/>
              <a:gd name="T71" fmla="*/ 137 h 311"/>
              <a:gd name="T72" fmla="*/ 16 w 139"/>
              <a:gd name="T73" fmla="*/ 146 h 311"/>
              <a:gd name="T74" fmla="*/ 25 w 139"/>
              <a:gd name="T75" fmla="*/ 149 h 311"/>
              <a:gd name="T76" fmla="*/ 36 w 139"/>
              <a:gd name="T77" fmla="*/ 137 h 311"/>
              <a:gd name="T78" fmla="*/ 36 w 139"/>
              <a:gd name="T79" fmla="*/ 71 h 311"/>
              <a:gd name="T80" fmla="*/ 42 w 139"/>
              <a:gd name="T81" fmla="*/ 65 h 311"/>
              <a:gd name="T82" fmla="*/ 48 w 139"/>
              <a:gd name="T83" fmla="*/ 71 h 311"/>
              <a:gd name="T84" fmla="*/ 48 w 139"/>
              <a:gd name="T85" fmla="*/ 282 h 311"/>
              <a:gd name="T86" fmla="*/ 65 w 139"/>
              <a:gd name="T87" fmla="*/ 298 h 311"/>
              <a:gd name="T88" fmla="*/ 81 w 139"/>
              <a:gd name="T89" fmla="*/ 282 h 311"/>
              <a:gd name="T90" fmla="*/ 81 w 139"/>
              <a:gd name="T91" fmla="*/ 172 h 311"/>
              <a:gd name="T92" fmla="*/ 87 w 139"/>
              <a:gd name="T93" fmla="*/ 166 h 311"/>
              <a:gd name="T94" fmla="*/ 93 w 139"/>
              <a:gd name="T95" fmla="*/ 172 h 311"/>
              <a:gd name="T96" fmla="*/ 93 w 139"/>
              <a:gd name="T97" fmla="*/ 282 h 3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9" h="311">
                <a:moveTo>
                  <a:pt x="110" y="311"/>
                </a:moveTo>
                <a:cubicBezTo>
                  <a:pt x="101" y="311"/>
                  <a:pt x="93" y="306"/>
                  <a:pt x="87" y="300"/>
                </a:cubicBezTo>
                <a:cubicBezTo>
                  <a:pt x="82" y="306"/>
                  <a:pt x="74" y="311"/>
                  <a:pt x="65" y="311"/>
                </a:cubicBezTo>
                <a:cubicBezTo>
                  <a:pt x="49" y="311"/>
                  <a:pt x="36" y="298"/>
                  <a:pt x="36" y="282"/>
                </a:cubicBezTo>
                <a:cubicBezTo>
                  <a:pt x="36" y="158"/>
                  <a:pt x="36" y="158"/>
                  <a:pt x="36" y="158"/>
                </a:cubicBezTo>
                <a:cubicBezTo>
                  <a:pt x="33" y="160"/>
                  <a:pt x="30" y="161"/>
                  <a:pt x="26" y="161"/>
                </a:cubicBezTo>
                <a:cubicBezTo>
                  <a:pt x="19" y="162"/>
                  <a:pt x="13" y="160"/>
                  <a:pt x="8" y="155"/>
                </a:cubicBezTo>
                <a:cubicBezTo>
                  <a:pt x="3" y="151"/>
                  <a:pt x="0" y="144"/>
                  <a:pt x="0" y="137"/>
                </a:cubicBezTo>
                <a:cubicBezTo>
                  <a:pt x="0" y="42"/>
                  <a:pt x="0" y="42"/>
                  <a:pt x="0" y="42"/>
                </a:cubicBezTo>
                <a:cubicBezTo>
                  <a:pt x="0" y="19"/>
                  <a:pt x="19" y="0"/>
                  <a:pt x="42" y="0"/>
                </a:cubicBezTo>
                <a:cubicBezTo>
                  <a:pt x="132" y="0"/>
                  <a:pt x="132" y="0"/>
                  <a:pt x="132" y="0"/>
                </a:cubicBezTo>
                <a:cubicBezTo>
                  <a:pt x="134" y="0"/>
                  <a:pt x="136" y="1"/>
                  <a:pt x="137" y="3"/>
                </a:cubicBezTo>
                <a:cubicBezTo>
                  <a:pt x="138" y="4"/>
                  <a:pt x="138" y="6"/>
                  <a:pt x="138" y="8"/>
                </a:cubicBezTo>
                <a:cubicBezTo>
                  <a:pt x="136" y="12"/>
                  <a:pt x="136" y="16"/>
                  <a:pt x="136" y="19"/>
                </a:cubicBezTo>
                <a:cubicBezTo>
                  <a:pt x="136" y="123"/>
                  <a:pt x="136" y="123"/>
                  <a:pt x="136" y="123"/>
                </a:cubicBezTo>
                <a:cubicBezTo>
                  <a:pt x="136" y="125"/>
                  <a:pt x="136" y="128"/>
                  <a:pt x="138" y="130"/>
                </a:cubicBezTo>
                <a:cubicBezTo>
                  <a:pt x="138" y="131"/>
                  <a:pt x="139" y="132"/>
                  <a:pt x="139" y="133"/>
                </a:cubicBezTo>
                <a:cubicBezTo>
                  <a:pt x="139" y="136"/>
                  <a:pt x="139" y="136"/>
                  <a:pt x="139" y="136"/>
                </a:cubicBezTo>
                <a:cubicBezTo>
                  <a:pt x="139" y="137"/>
                  <a:pt x="139" y="137"/>
                  <a:pt x="139" y="137"/>
                </a:cubicBezTo>
                <a:cubicBezTo>
                  <a:pt x="139" y="137"/>
                  <a:pt x="139" y="137"/>
                  <a:pt x="139" y="137"/>
                </a:cubicBezTo>
                <a:cubicBezTo>
                  <a:pt x="139" y="140"/>
                  <a:pt x="139" y="140"/>
                  <a:pt x="139" y="140"/>
                </a:cubicBezTo>
                <a:cubicBezTo>
                  <a:pt x="139" y="140"/>
                  <a:pt x="139" y="140"/>
                  <a:pt x="139" y="140"/>
                </a:cubicBezTo>
                <a:cubicBezTo>
                  <a:pt x="139" y="282"/>
                  <a:pt x="139" y="282"/>
                  <a:pt x="139" y="282"/>
                </a:cubicBezTo>
                <a:cubicBezTo>
                  <a:pt x="139" y="298"/>
                  <a:pt x="126" y="311"/>
                  <a:pt x="110" y="311"/>
                </a:cubicBezTo>
                <a:close/>
                <a:moveTo>
                  <a:pt x="93" y="282"/>
                </a:moveTo>
                <a:cubicBezTo>
                  <a:pt x="93" y="291"/>
                  <a:pt x="101" y="298"/>
                  <a:pt x="110" y="298"/>
                </a:cubicBezTo>
                <a:cubicBezTo>
                  <a:pt x="119" y="298"/>
                  <a:pt x="126" y="291"/>
                  <a:pt x="126" y="282"/>
                </a:cubicBezTo>
                <a:cubicBezTo>
                  <a:pt x="126" y="137"/>
                  <a:pt x="126" y="137"/>
                  <a:pt x="126" y="137"/>
                </a:cubicBezTo>
                <a:cubicBezTo>
                  <a:pt x="126" y="137"/>
                  <a:pt x="126" y="136"/>
                  <a:pt x="126" y="136"/>
                </a:cubicBezTo>
                <a:cubicBezTo>
                  <a:pt x="126" y="136"/>
                  <a:pt x="126" y="135"/>
                  <a:pt x="126" y="135"/>
                </a:cubicBezTo>
                <a:cubicBezTo>
                  <a:pt x="124" y="131"/>
                  <a:pt x="123" y="127"/>
                  <a:pt x="123" y="123"/>
                </a:cubicBezTo>
                <a:cubicBezTo>
                  <a:pt x="123" y="19"/>
                  <a:pt x="123" y="19"/>
                  <a:pt x="123" y="19"/>
                </a:cubicBezTo>
                <a:cubicBezTo>
                  <a:pt x="123" y="17"/>
                  <a:pt x="124" y="15"/>
                  <a:pt x="124" y="12"/>
                </a:cubicBezTo>
                <a:cubicBezTo>
                  <a:pt x="42" y="12"/>
                  <a:pt x="42" y="12"/>
                  <a:pt x="42" y="12"/>
                </a:cubicBezTo>
                <a:cubicBezTo>
                  <a:pt x="25" y="12"/>
                  <a:pt x="12" y="26"/>
                  <a:pt x="12" y="42"/>
                </a:cubicBezTo>
                <a:cubicBezTo>
                  <a:pt x="12" y="137"/>
                  <a:pt x="12" y="137"/>
                  <a:pt x="12" y="137"/>
                </a:cubicBezTo>
                <a:cubicBezTo>
                  <a:pt x="12" y="141"/>
                  <a:pt x="13" y="144"/>
                  <a:pt x="16" y="146"/>
                </a:cubicBezTo>
                <a:cubicBezTo>
                  <a:pt x="18" y="148"/>
                  <a:pt x="22" y="150"/>
                  <a:pt x="25" y="149"/>
                </a:cubicBezTo>
                <a:cubicBezTo>
                  <a:pt x="31" y="149"/>
                  <a:pt x="36" y="143"/>
                  <a:pt x="36" y="137"/>
                </a:cubicBezTo>
                <a:cubicBezTo>
                  <a:pt x="36" y="71"/>
                  <a:pt x="36" y="71"/>
                  <a:pt x="36" y="71"/>
                </a:cubicBezTo>
                <a:cubicBezTo>
                  <a:pt x="36" y="68"/>
                  <a:pt x="39" y="65"/>
                  <a:pt x="42" y="65"/>
                </a:cubicBezTo>
                <a:cubicBezTo>
                  <a:pt x="45" y="65"/>
                  <a:pt x="48" y="68"/>
                  <a:pt x="48" y="71"/>
                </a:cubicBezTo>
                <a:cubicBezTo>
                  <a:pt x="48" y="282"/>
                  <a:pt x="48" y="282"/>
                  <a:pt x="48" y="282"/>
                </a:cubicBezTo>
                <a:cubicBezTo>
                  <a:pt x="48" y="291"/>
                  <a:pt x="55" y="298"/>
                  <a:pt x="65" y="298"/>
                </a:cubicBezTo>
                <a:cubicBezTo>
                  <a:pt x="74" y="298"/>
                  <a:pt x="81" y="291"/>
                  <a:pt x="81" y="282"/>
                </a:cubicBezTo>
                <a:cubicBezTo>
                  <a:pt x="81" y="172"/>
                  <a:pt x="81" y="172"/>
                  <a:pt x="81" y="172"/>
                </a:cubicBezTo>
                <a:cubicBezTo>
                  <a:pt x="81" y="169"/>
                  <a:pt x="84" y="166"/>
                  <a:pt x="87" y="166"/>
                </a:cubicBezTo>
                <a:cubicBezTo>
                  <a:pt x="91" y="166"/>
                  <a:pt x="93" y="169"/>
                  <a:pt x="93" y="172"/>
                </a:cubicBezTo>
                <a:lnTo>
                  <a:pt x="93" y="28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800" dirty="0"/>
          </a:p>
        </p:txBody>
      </p:sp>
      <p:sp>
        <p:nvSpPr>
          <p:cNvPr id="86" name="Freeform 845">
            <a:extLst>
              <a:ext uri="{FF2B5EF4-FFF2-40B4-BE49-F238E27FC236}">
                <a16:creationId xmlns:a16="http://schemas.microsoft.com/office/drawing/2014/main" id="{FF2E1B39-8508-FE58-F22E-D37E473482AF}"/>
              </a:ext>
            </a:extLst>
          </p:cNvPr>
          <p:cNvSpPr>
            <a:spLocks noEditPoints="1"/>
          </p:cNvSpPr>
          <p:nvPr/>
        </p:nvSpPr>
        <p:spPr bwMode="auto">
          <a:xfrm>
            <a:off x="3827078" y="4680025"/>
            <a:ext cx="57083" cy="57559"/>
          </a:xfrm>
          <a:custGeom>
            <a:avLst/>
            <a:gdLst>
              <a:gd name="T0" fmla="*/ 36 w 73"/>
              <a:gd name="T1" fmla="*/ 73 h 73"/>
              <a:gd name="T2" fmla="*/ 0 w 73"/>
              <a:gd name="T3" fmla="*/ 36 h 73"/>
              <a:gd name="T4" fmla="*/ 36 w 73"/>
              <a:gd name="T5" fmla="*/ 0 h 73"/>
              <a:gd name="T6" fmla="*/ 73 w 73"/>
              <a:gd name="T7" fmla="*/ 36 h 73"/>
              <a:gd name="T8" fmla="*/ 36 w 73"/>
              <a:gd name="T9" fmla="*/ 73 h 73"/>
              <a:gd name="T10" fmla="*/ 36 w 73"/>
              <a:gd name="T11" fmla="*/ 12 h 73"/>
              <a:gd name="T12" fmla="*/ 12 w 73"/>
              <a:gd name="T13" fmla="*/ 36 h 73"/>
              <a:gd name="T14" fmla="*/ 36 w 73"/>
              <a:gd name="T15" fmla="*/ 61 h 73"/>
              <a:gd name="T16" fmla="*/ 61 w 73"/>
              <a:gd name="T17" fmla="*/ 36 h 73"/>
              <a:gd name="T18" fmla="*/ 36 w 73"/>
              <a:gd name="T19" fmla="*/ 12 h 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73" h="73">
                <a:moveTo>
                  <a:pt x="36" y="73"/>
                </a:moveTo>
                <a:cubicBezTo>
                  <a:pt x="16" y="73"/>
                  <a:pt x="0" y="56"/>
                  <a:pt x="0" y="36"/>
                </a:cubicBezTo>
                <a:cubicBezTo>
                  <a:pt x="0" y="16"/>
                  <a:pt x="16" y="0"/>
                  <a:pt x="36" y="0"/>
                </a:cubicBezTo>
                <a:cubicBezTo>
                  <a:pt x="56" y="0"/>
                  <a:pt x="73" y="16"/>
                  <a:pt x="73" y="36"/>
                </a:cubicBezTo>
                <a:cubicBezTo>
                  <a:pt x="73" y="56"/>
                  <a:pt x="56" y="73"/>
                  <a:pt x="36" y="73"/>
                </a:cubicBezTo>
                <a:close/>
                <a:moveTo>
                  <a:pt x="36" y="12"/>
                </a:moveTo>
                <a:cubicBezTo>
                  <a:pt x="23" y="12"/>
                  <a:pt x="12" y="23"/>
                  <a:pt x="12" y="36"/>
                </a:cubicBezTo>
                <a:cubicBezTo>
                  <a:pt x="12" y="50"/>
                  <a:pt x="23" y="61"/>
                  <a:pt x="36" y="61"/>
                </a:cubicBezTo>
                <a:cubicBezTo>
                  <a:pt x="50" y="61"/>
                  <a:pt x="61" y="50"/>
                  <a:pt x="61" y="36"/>
                </a:cubicBezTo>
                <a:cubicBezTo>
                  <a:pt x="61" y="23"/>
                  <a:pt x="50" y="12"/>
                  <a:pt x="36" y="1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800" dirty="0"/>
          </a:p>
        </p:txBody>
      </p:sp>
      <p:sp>
        <p:nvSpPr>
          <p:cNvPr id="87" name="Freeform 846">
            <a:extLst>
              <a:ext uri="{FF2B5EF4-FFF2-40B4-BE49-F238E27FC236}">
                <a16:creationId xmlns:a16="http://schemas.microsoft.com/office/drawing/2014/main" id="{7E79494E-1B05-45DF-AA4C-DD22CFF1D019}"/>
              </a:ext>
            </a:extLst>
          </p:cNvPr>
          <p:cNvSpPr>
            <a:spLocks noEditPoints="1"/>
          </p:cNvSpPr>
          <p:nvPr/>
        </p:nvSpPr>
        <p:spPr bwMode="auto">
          <a:xfrm>
            <a:off x="4021158" y="4746218"/>
            <a:ext cx="111313" cy="247503"/>
          </a:xfrm>
          <a:custGeom>
            <a:avLst/>
            <a:gdLst>
              <a:gd name="T0" fmla="*/ 74 w 139"/>
              <a:gd name="T1" fmla="*/ 311 h 311"/>
              <a:gd name="T2" fmla="*/ 51 w 139"/>
              <a:gd name="T3" fmla="*/ 300 h 311"/>
              <a:gd name="T4" fmla="*/ 29 w 139"/>
              <a:gd name="T5" fmla="*/ 311 h 311"/>
              <a:gd name="T6" fmla="*/ 0 w 139"/>
              <a:gd name="T7" fmla="*/ 282 h 311"/>
              <a:gd name="T8" fmla="*/ 0 w 139"/>
              <a:gd name="T9" fmla="*/ 137 h 311"/>
              <a:gd name="T10" fmla="*/ 0 w 139"/>
              <a:gd name="T11" fmla="*/ 135 h 311"/>
              <a:gd name="T12" fmla="*/ 3 w 139"/>
              <a:gd name="T13" fmla="*/ 123 h 311"/>
              <a:gd name="T14" fmla="*/ 3 w 139"/>
              <a:gd name="T15" fmla="*/ 19 h 311"/>
              <a:gd name="T16" fmla="*/ 1 w 139"/>
              <a:gd name="T17" fmla="*/ 8 h 311"/>
              <a:gd name="T18" fmla="*/ 2 w 139"/>
              <a:gd name="T19" fmla="*/ 3 h 311"/>
              <a:gd name="T20" fmla="*/ 7 w 139"/>
              <a:gd name="T21" fmla="*/ 0 h 311"/>
              <a:gd name="T22" fmla="*/ 97 w 139"/>
              <a:gd name="T23" fmla="*/ 0 h 311"/>
              <a:gd name="T24" fmla="*/ 139 w 139"/>
              <a:gd name="T25" fmla="*/ 42 h 311"/>
              <a:gd name="T26" fmla="*/ 139 w 139"/>
              <a:gd name="T27" fmla="*/ 137 h 311"/>
              <a:gd name="T28" fmla="*/ 131 w 139"/>
              <a:gd name="T29" fmla="*/ 155 h 311"/>
              <a:gd name="T30" fmla="*/ 112 w 139"/>
              <a:gd name="T31" fmla="*/ 161 h 311"/>
              <a:gd name="T32" fmla="*/ 103 w 139"/>
              <a:gd name="T33" fmla="*/ 158 h 311"/>
              <a:gd name="T34" fmla="*/ 103 w 139"/>
              <a:gd name="T35" fmla="*/ 282 h 311"/>
              <a:gd name="T36" fmla="*/ 74 w 139"/>
              <a:gd name="T37" fmla="*/ 311 h 311"/>
              <a:gd name="T38" fmla="*/ 58 w 139"/>
              <a:gd name="T39" fmla="*/ 282 h 311"/>
              <a:gd name="T40" fmla="*/ 74 w 139"/>
              <a:gd name="T41" fmla="*/ 298 h 311"/>
              <a:gd name="T42" fmla="*/ 91 w 139"/>
              <a:gd name="T43" fmla="*/ 282 h 311"/>
              <a:gd name="T44" fmla="*/ 91 w 139"/>
              <a:gd name="T45" fmla="*/ 137 h 311"/>
              <a:gd name="T46" fmla="*/ 91 w 139"/>
              <a:gd name="T47" fmla="*/ 137 h 311"/>
              <a:gd name="T48" fmla="*/ 91 w 139"/>
              <a:gd name="T49" fmla="*/ 71 h 311"/>
              <a:gd name="T50" fmla="*/ 97 w 139"/>
              <a:gd name="T51" fmla="*/ 65 h 311"/>
              <a:gd name="T52" fmla="*/ 103 w 139"/>
              <a:gd name="T53" fmla="*/ 71 h 311"/>
              <a:gd name="T54" fmla="*/ 103 w 139"/>
              <a:gd name="T55" fmla="*/ 136 h 311"/>
              <a:gd name="T56" fmla="*/ 103 w 139"/>
              <a:gd name="T57" fmla="*/ 137 h 311"/>
              <a:gd name="T58" fmla="*/ 114 w 139"/>
              <a:gd name="T59" fmla="*/ 149 h 311"/>
              <a:gd name="T60" fmla="*/ 123 w 139"/>
              <a:gd name="T61" fmla="*/ 146 h 311"/>
              <a:gd name="T62" fmla="*/ 127 w 139"/>
              <a:gd name="T63" fmla="*/ 137 h 311"/>
              <a:gd name="T64" fmla="*/ 127 w 139"/>
              <a:gd name="T65" fmla="*/ 42 h 311"/>
              <a:gd name="T66" fmla="*/ 97 w 139"/>
              <a:gd name="T67" fmla="*/ 12 h 311"/>
              <a:gd name="T68" fmla="*/ 15 w 139"/>
              <a:gd name="T69" fmla="*/ 12 h 311"/>
              <a:gd name="T70" fmla="*/ 15 w 139"/>
              <a:gd name="T71" fmla="*/ 19 h 311"/>
              <a:gd name="T72" fmla="*/ 15 w 139"/>
              <a:gd name="T73" fmla="*/ 123 h 311"/>
              <a:gd name="T74" fmla="*/ 12 w 139"/>
              <a:gd name="T75" fmla="*/ 137 h 311"/>
              <a:gd name="T76" fmla="*/ 12 w 139"/>
              <a:gd name="T77" fmla="*/ 282 h 311"/>
              <a:gd name="T78" fmla="*/ 29 w 139"/>
              <a:gd name="T79" fmla="*/ 298 h 311"/>
              <a:gd name="T80" fmla="*/ 45 w 139"/>
              <a:gd name="T81" fmla="*/ 282 h 311"/>
              <a:gd name="T82" fmla="*/ 45 w 139"/>
              <a:gd name="T83" fmla="*/ 172 h 311"/>
              <a:gd name="T84" fmla="*/ 51 w 139"/>
              <a:gd name="T85" fmla="*/ 166 h 311"/>
              <a:gd name="T86" fmla="*/ 58 w 139"/>
              <a:gd name="T87" fmla="*/ 172 h 311"/>
              <a:gd name="T88" fmla="*/ 58 w 139"/>
              <a:gd name="T89" fmla="*/ 282 h 3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139" h="311">
                <a:moveTo>
                  <a:pt x="74" y="311"/>
                </a:moveTo>
                <a:cubicBezTo>
                  <a:pt x="65" y="311"/>
                  <a:pt x="57" y="306"/>
                  <a:pt x="51" y="300"/>
                </a:cubicBezTo>
                <a:cubicBezTo>
                  <a:pt x="46" y="306"/>
                  <a:pt x="38" y="311"/>
                  <a:pt x="29" y="311"/>
                </a:cubicBezTo>
                <a:cubicBezTo>
                  <a:pt x="13" y="311"/>
                  <a:pt x="0" y="298"/>
                  <a:pt x="0" y="282"/>
                </a:cubicBezTo>
                <a:cubicBezTo>
                  <a:pt x="0" y="137"/>
                  <a:pt x="0" y="137"/>
                  <a:pt x="0" y="137"/>
                </a:cubicBezTo>
                <a:cubicBezTo>
                  <a:pt x="0" y="136"/>
                  <a:pt x="0" y="135"/>
                  <a:pt x="0" y="135"/>
                </a:cubicBezTo>
                <a:cubicBezTo>
                  <a:pt x="2" y="130"/>
                  <a:pt x="3" y="124"/>
                  <a:pt x="3" y="123"/>
                </a:cubicBezTo>
                <a:cubicBezTo>
                  <a:pt x="3" y="19"/>
                  <a:pt x="3" y="19"/>
                  <a:pt x="3" y="19"/>
                </a:cubicBezTo>
                <a:cubicBezTo>
                  <a:pt x="3" y="16"/>
                  <a:pt x="2" y="12"/>
                  <a:pt x="1" y="8"/>
                </a:cubicBezTo>
                <a:cubicBezTo>
                  <a:pt x="0" y="6"/>
                  <a:pt x="1" y="4"/>
                  <a:pt x="2" y="3"/>
                </a:cubicBezTo>
                <a:cubicBezTo>
                  <a:pt x="3" y="1"/>
                  <a:pt x="5" y="0"/>
                  <a:pt x="7" y="0"/>
                </a:cubicBezTo>
                <a:cubicBezTo>
                  <a:pt x="97" y="0"/>
                  <a:pt x="97" y="0"/>
                  <a:pt x="97" y="0"/>
                </a:cubicBezTo>
                <a:cubicBezTo>
                  <a:pt x="120" y="0"/>
                  <a:pt x="139" y="19"/>
                  <a:pt x="139" y="42"/>
                </a:cubicBezTo>
                <a:cubicBezTo>
                  <a:pt x="139" y="137"/>
                  <a:pt x="139" y="137"/>
                  <a:pt x="139" y="137"/>
                </a:cubicBezTo>
                <a:cubicBezTo>
                  <a:pt x="139" y="144"/>
                  <a:pt x="136" y="151"/>
                  <a:pt x="131" y="155"/>
                </a:cubicBezTo>
                <a:cubicBezTo>
                  <a:pt x="126" y="160"/>
                  <a:pt x="119" y="162"/>
                  <a:pt x="112" y="161"/>
                </a:cubicBezTo>
                <a:cubicBezTo>
                  <a:pt x="109" y="161"/>
                  <a:pt x="106" y="160"/>
                  <a:pt x="103" y="158"/>
                </a:cubicBezTo>
                <a:cubicBezTo>
                  <a:pt x="103" y="282"/>
                  <a:pt x="103" y="282"/>
                  <a:pt x="103" y="282"/>
                </a:cubicBezTo>
                <a:cubicBezTo>
                  <a:pt x="103" y="298"/>
                  <a:pt x="90" y="311"/>
                  <a:pt x="74" y="311"/>
                </a:cubicBezTo>
                <a:close/>
                <a:moveTo>
                  <a:pt x="58" y="282"/>
                </a:moveTo>
                <a:cubicBezTo>
                  <a:pt x="58" y="291"/>
                  <a:pt x="65" y="298"/>
                  <a:pt x="74" y="298"/>
                </a:cubicBezTo>
                <a:cubicBezTo>
                  <a:pt x="83" y="298"/>
                  <a:pt x="91" y="291"/>
                  <a:pt x="91" y="282"/>
                </a:cubicBezTo>
                <a:cubicBezTo>
                  <a:pt x="91" y="137"/>
                  <a:pt x="91" y="137"/>
                  <a:pt x="91" y="137"/>
                </a:cubicBezTo>
                <a:cubicBezTo>
                  <a:pt x="91" y="137"/>
                  <a:pt x="91" y="137"/>
                  <a:pt x="91" y="137"/>
                </a:cubicBezTo>
                <a:cubicBezTo>
                  <a:pt x="91" y="71"/>
                  <a:pt x="91" y="71"/>
                  <a:pt x="91" y="71"/>
                </a:cubicBezTo>
                <a:cubicBezTo>
                  <a:pt x="91" y="68"/>
                  <a:pt x="93" y="65"/>
                  <a:pt x="97" y="65"/>
                </a:cubicBezTo>
                <a:cubicBezTo>
                  <a:pt x="100" y="65"/>
                  <a:pt x="103" y="68"/>
                  <a:pt x="103" y="71"/>
                </a:cubicBezTo>
                <a:cubicBezTo>
                  <a:pt x="103" y="136"/>
                  <a:pt x="103" y="136"/>
                  <a:pt x="103" y="136"/>
                </a:cubicBezTo>
                <a:cubicBezTo>
                  <a:pt x="103" y="136"/>
                  <a:pt x="103" y="136"/>
                  <a:pt x="103" y="137"/>
                </a:cubicBezTo>
                <a:cubicBezTo>
                  <a:pt x="103" y="143"/>
                  <a:pt x="108" y="149"/>
                  <a:pt x="114" y="149"/>
                </a:cubicBezTo>
                <a:cubicBezTo>
                  <a:pt x="117" y="149"/>
                  <a:pt x="120" y="148"/>
                  <a:pt x="123" y="146"/>
                </a:cubicBezTo>
                <a:cubicBezTo>
                  <a:pt x="125" y="144"/>
                  <a:pt x="127" y="141"/>
                  <a:pt x="127" y="137"/>
                </a:cubicBezTo>
                <a:cubicBezTo>
                  <a:pt x="127" y="42"/>
                  <a:pt x="127" y="42"/>
                  <a:pt x="127" y="42"/>
                </a:cubicBezTo>
                <a:cubicBezTo>
                  <a:pt x="127" y="26"/>
                  <a:pt x="113" y="12"/>
                  <a:pt x="97" y="12"/>
                </a:cubicBezTo>
                <a:cubicBezTo>
                  <a:pt x="15" y="12"/>
                  <a:pt x="15" y="12"/>
                  <a:pt x="15" y="12"/>
                </a:cubicBezTo>
                <a:cubicBezTo>
                  <a:pt x="15" y="15"/>
                  <a:pt x="15" y="17"/>
                  <a:pt x="15" y="19"/>
                </a:cubicBezTo>
                <a:cubicBezTo>
                  <a:pt x="15" y="123"/>
                  <a:pt x="15" y="123"/>
                  <a:pt x="15" y="123"/>
                </a:cubicBezTo>
                <a:cubicBezTo>
                  <a:pt x="15" y="127"/>
                  <a:pt x="13" y="134"/>
                  <a:pt x="12" y="137"/>
                </a:cubicBezTo>
                <a:cubicBezTo>
                  <a:pt x="12" y="282"/>
                  <a:pt x="12" y="282"/>
                  <a:pt x="12" y="282"/>
                </a:cubicBezTo>
                <a:cubicBezTo>
                  <a:pt x="12" y="291"/>
                  <a:pt x="20" y="298"/>
                  <a:pt x="29" y="298"/>
                </a:cubicBezTo>
                <a:cubicBezTo>
                  <a:pt x="38" y="298"/>
                  <a:pt x="45" y="291"/>
                  <a:pt x="45" y="282"/>
                </a:cubicBezTo>
                <a:cubicBezTo>
                  <a:pt x="45" y="172"/>
                  <a:pt x="45" y="172"/>
                  <a:pt x="45" y="172"/>
                </a:cubicBezTo>
                <a:cubicBezTo>
                  <a:pt x="45" y="169"/>
                  <a:pt x="48" y="166"/>
                  <a:pt x="51" y="166"/>
                </a:cubicBezTo>
                <a:cubicBezTo>
                  <a:pt x="55" y="166"/>
                  <a:pt x="58" y="169"/>
                  <a:pt x="58" y="172"/>
                </a:cubicBezTo>
                <a:lnTo>
                  <a:pt x="58" y="28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800" dirty="0"/>
          </a:p>
        </p:txBody>
      </p:sp>
      <p:sp>
        <p:nvSpPr>
          <p:cNvPr id="88" name="Freeform 847">
            <a:extLst>
              <a:ext uri="{FF2B5EF4-FFF2-40B4-BE49-F238E27FC236}">
                <a16:creationId xmlns:a16="http://schemas.microsoft.com/office/drawing/2014/main" id="{56D1E04A-5AB4-4FBD-1A46-EBF3470849BC}"/>
              </a:ext>
            </a:extLst>
          </p:cNvPr>
          <p:cNvSpPr>
            <a:spLocks noEditPoints="1"/>
          </p:cNvSpPr>
          <p:nvPr/>
        </p:nvSpPr>
        <p:spPr bwMode="auto">
          <a:xfrm>
            <a:off x="3884160" y="4726072"/>
            <a:ext cx="148414" cy="267650"/>
          </a:xfrm>
          <a:custGeom>
            <a:avLst/>
            <a:gdLst>
              <a:gd name="T0" fmla="*/ 119 w 189"/>
              <a:gd name="T1" fmla="*/ 336 h 336"/>
              <a:gd name="T2" fmla="*/ 95 w 189"/>
              <a:gd name="T3" fmla="*/ 324 h 336"/>
              <a:gd name="T4" fmla="*/ 70 w 189"/>
              <a:gd name="T5" fmla="*/ 336 h 336"/>
              <a:gd name="T6" fmla="*/ 39 w 189"/>
              <a:gd name="T7" fmla="*/ 306 h 336"/>
              <a:gd name="T8" fmla="*/ 39 w 189"/>
              <a:gd name="T9" fmla="*/ 170 h 336"/>
              <a:gd name="T10" fmla="*/ 29 w 189"/>
              <a:gd name="T11" fmla="*/ 174 h 336"/>
              <a:gd name="T12" fmla="*/ 4 w 189"/>
              <a:gd name="T13" fmla="*/ 162 h 336"/>
              <a:gd name="T14" fmla="*/ 0 w 189"/>
              <a:gd name="T15" fmla="*/ 149 h 336"/>
              <a:gd name="T16" fmla="*/ 0 w 189"/>
              <a:gd name="T17" fmla="*/ 45 h 336"/>
              <a:gd name="T18" fmla="*/ 3 w 189"/>
              <a:gd name="T19" fmla="*/ 30 h 336"/>
              <a:gd name="T20" fmla="*/ 46 w 189"/>
              <a:gd name="T21" fmla="*/ 0 h 336"/>
              <a:gd name="T22" fmla="*/ 144 w 189"/>
              <a:gd name="T23" fmla="*/ 0 h 336"/>
              <a:gd name="T24" fmla="*/ 187 w 189"/>
              <a:gd name="T25" fmla="*/ 30 h 336"/>
              <a:gd name="T26" fmla="*/ 187 w 189"/>
              <a:gd name="T27" fmla="*/ 30 h 336"/>
              <a:gd name="T28" fmla="*/ 189 w 189"/>
              <a:gd name="T29" fmla="*/ 45 h 336"/>
              <a:gd name="T30" fmla="*/ 189 w 189"/>
              <a:gd name="T31" fmla="*/ 149 h 336"/>
              <a:gd name="T32" fmla="*/ 185 w 189"/>
              <a:gd name="T33" fmla="*/ 162 h 336"/>
              <a:gd name="T34" fmla="*/ 161 w 189"/>
              <a:gd name="T35" fmla="*/ 174 h 336"/>
              <a:gd name="T36" fmla="*/ 150 w 189"/>
              <a:gd name="T37" fmla="*/ 170 h 336"/>
              <a:gd name="T38" fmla="*/ 150 w 189"/>
              <a:gd name="T39" fmla="*/ 306 h 336"/>
              <a:gd name="T40" fmla="*/ 119 w 189"/>
              <a:gd name="T41" fmla="*/ 336 h 336"/>
              <a:gd name="T42" fmla="*/ 95 w 189"/>
              <a:gd name="T43" fmla="*/ 299 h 336"/>
              <a:gd name="T44" fmla="*/ 101 w 189"/>
              <a:gd name="T45" fmla="*/ 306 h 336"/>
              <a:gd name="T46" fmla="*/ 119 w 189"/>
              <a:gd name="T47" fmla="*/ 324 h 336"/>
              <a:gd name="T48" fmla="*/ 138 w 189"/>
              <a:gd name="T49" fmla="*/ 306 h 336"/>
              <a:gd name="T50" fmla="*/ 138 w 189"/>
              <a:gd name="T51" fmla="*/ 148 h 336"/>
              <a:gd name="T52" fmla="*/ 144 w 189"/>
              <a:gd name="T53" fmla="*/ 142 h 336"/>
              <a:gd name="T54" fmla="*/ 144 w 189"/>
              <a:gd name="T55" fmla="*/ 142 h 336"/>
              <a:gd name="T56" fmla="*/ 150 w 189"/>
              <a:gd name="T57" fmla="*/ 148 h 336"/>
              <a:gd name="T58" fmla="*/ 162 w 189"/>
              <a:gd name="T59" fmla="*/ 162 h 336"/>
              <a:gd name="T60" fmla="*/ 175 w 189"/>
              <a:gd name="T61" fmla="*/ 156 h 336"/>
              <a:gd name="T62" fmla="*/ 177 w 189"/>
              <a:gd name="T63" fmla="*/ 149 h 336"/>
              <a:gd name="T64" fmla="*/ 177 w 189"/>
              <a:gd name="T65" fmla="*/ 45 h 336"/>
              <a:gd name="T66" fmla="*/ 175 w 189"/>
              <a:gd name="T67" fmla="*/ 34 h 336"/>
              <a:gd name="T68" fmla="*/ 144 w 189"/>
              <a:gd name="T69" fmla="*/ 12 h 336"/>
              <a:gd name="T70" fmla="*/ 46 w 189"/>
              <a:gd name="T71" fmla="*/ 12 h 336"/>
              <a:gd name="T72" fmla="*/ 15 w 189"/>
              <a:gd name="T73" fmla="*/ 34 h 336"/>
              <a:gd name="T74" fmla="*/ 13 w 189"/>
              <a:gd name="T75" fmla="*/ 45 h 336"/>
              <a:gd name="T76" fmla="*/ 13 w 189"/>
              <a:gd name="T77" fmla="*/ 149 h 336"/>
              <a:gd name="T78" fmla="*/ 15 w 189"/>
              <a:gd name="T79" fmla="*/ 156 h 336"/>
              <a:gd name="T80" fmla="*/ 27 w 189"/>
              <a:gd name="T81" fmla="*/ 162 h 336"/>
              <a:gd name="T82" fmla="*/ 39 w 189"/>
              <a:gd name="T83" fmla="*/ 148 h 336"/>
              <a:gd name="T84" fmla="*/ 46 w 189"/>
              <a:gd name="T85" fmla="*/ 142 h 336"/>
              <a:gd name="T86" fmla="*/ 52 w 189"/>
              <a:gd name="T87" fmla="*/ 148 h 336"/>
              <a:gd name="T88" fmla="*/ 52 w 189"/>
              <a:gd name="T89" fmla="*/ 306 h 336"/>
              <a:gd name="T90" fmla="*/ 70 w 189"/>
              <a:gd name="T91" fmla="*/ 324 h 336"/>
              <a:gd name="T92" fmla="*/ 89 w 189"/>
              <a:gd name="T93" fmla="*/ 306 h 336"/>
              <a:gd name="T94" fmla="*/ 95 w 189"/>
              <a:gd name="T95" fmla="*/ 299 h 3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89" h="336">
                <a:moveTo>
                  <a:pt x="119" y="336"/>
                </a:moveTo>
                <a:cubicBezTo>
                  <a:pt x="109" y="336"/>
                  <a:pt x="100" y="331"/>
                  <a:pt x="95" y="324"/>
                </a:cubicBezTo>
                <a:cubicBezTo>
                  <a:pt x="89" y="331"/>
                  <a:pt x="80" y="336"/>
                  <a:pt x="70" y="336"/>
                </a:cubicBezTo>
                <a:cubicBezTo>
                  <a:pt x="53" y="336"/>
                  <a:pt x="39" y="323"/>
                  <a:pt x="39" y="306"/>
                </a:cubicBezTo>
                <a:cubicBezTo>
                  <a:pt x="39" y="170"/>
                  <a:pt x="39" y="170"/>
                  <a:pt x="39" y="170"/>
                </a:cubicBezTo>
                <a:cubicBezTo>
                  <a:pt x="36" y="173"/>
                  <a:pt x="33" y="174"/>
                  <a:pt x="29" y="174"/>
                </a:cubicBezTo>
                <a:cubicBezTo>
                  <a:pt x="19" y="175"/>
                  <a:pt x="10" y="171"/>
                  <a:pt x="4" y="162"/>
                </a:cubicBezTo>
                <a:cubicBezTo>
                  <a:pt x="2" y="158"/>
                  <a:pt x="0" y="153"/>
                  <a:pt x="0" y="149"/>
                </a:cubicBezTo>
                <a:cubicBezTo>
                  <a:pt x="0" y="45"/>
                  <a:pt x="0" y="45"/>
                  <a:pt x="0" y="45"/>
                </a:cubicBezTo>
                <a:cubicBezTo>
                  <a:pt x="0" y="40"/>
                  <a:pt x="1" y="35"/>
                  <a:pt x="3" y="30"/>
                </a:cubicBezTo>
                <a:cubicBezTo>
                  <a:pt x="9" y="12"/>
                  <a:pt x="27" y="0"/>
                  <a:pt x="46" y="0"/>
                </a:cubicBezTo>
                <a:cubicBezTo>
                  <a:pt x="144" y="0"/>
                  <a:pt x="144" y="0"/>
                  <a:pt x="144" y="0"/>
                </a:cubicBezTo>
                <a:cubicBezTo>
                  <a:pt x="163" y="0"/>
                  <a:pt x="180" y="12"/>
                  <a:pt x="187" y="30"/>
                </a:cubicBezTo>
                <a:cubicBezTo>
                  <a:pt x="187" y="30"/>
                  <a:pt x="187" y="30"/>
                  <a:pt x="187" y="30"/>
                </a:cubicBezTo>
                <a:cubicBezTo>
                  <a:pt x="188" y="35"/>
                  <a:pt x="189" y="40"/>
                  <a:pt x="189" y="45"/>
                </a:cubicBezTo>
                <a:cubicBezTo>
                  <a:pt x="189" y="149"/>
                  <a:pt x="189" y="149"/>
                  <a:pt x="189" y="149"/>
                </a:cubicBezTo>
                <a:cubicBezTo>
                  <a:pt x="189" y="153"/>
                  <a:pt x="188" y="158"/>
                  <a:pt x="185" y="162"/>
                </a:cubicBezTo>
                <a:cubicBezTo>
                  <a:pt x="180" y="171"/>
                  <a:pt x="171" y="175"/>
                  <a:pt x="161" y="174"/>
                </a:cubicBezTo>
                <a:cubicBezTo>
                  <a:pt x="157" y="174"/>
                  <a:pt x="153" y="173"/>
                  <a:pt x="150" y="170"/>
                </a:cubicBezTo>
                <a:cubicBezTo>
                  <a:pt x="150" y="306"/>
                  <a:pt x="150" y="306"/>
                  <a:pt x="150" y="306"/>
                </a:cubicBezTo>
                <a:cubicBezTo>
                  <a:pt x="150" y="323"/>
                  <a:pt x="136" y="336"/>
                  <a:pt x="119" y="336"/>
                </a:cubicBezTo>
                <a:close/>
                <a:moveTo>
                  <a:pt x="95" y="299"/>
                </a:moveTo>
                <a:cubicBezTo>
                  <a:pt x="98" y="299"/>
                  <a:pt x="101" y="302"/>
                  <a:pt x="101" y="306"/>
                </a:cubicBezTo>
                <a:cubicBezTo>
                  <a:pt x="101" y="316"/>
                  <a:pt x="109" y="324"/>
                  <a:pt x="119" y="324"/>
                </a:cubicBezTo>
                <a:cubicBezTo>
                  <a:pt x="130" y="324"/>
                  <a:pt x="138" y="316"/>
                  <a:pt x="138" y="306"/>
                </a:cubicBezTo>
                <a:cubicBezTo>
                  <a:pt x="138" y="148"/>
                  <a:pt x="138" y="148"/>
                  <a:pt x="138" y="148"/>
                </a:cubicBezTo>
                <a:cubicBezTo>
                  <a:pt x="138" y="145"/>
                  <a:pt x="141" y="142"/>
                  <a:pt x="144" y="142"/>
                </a:cubicBezTo>
                <a:cubicBezTo>
                  <a:pt x="144" y="142"/>
                  <a:pt x="144" y="142"/>
                  <a:pt x="144" y="142"/>
                </a:cubicBezTo>
                <a:cubicBezTo>
                  <a:pt x="147" y="142"/>
                  <a:pt x="150" y="144"/>
                  <a:pt x="150" y="148"/>
                </a:cubicBezTo>
                <a:cubicBezTo>
                  <a:pt x="150" y="155"/>
                  <a:pt x="156" y="161"/>
                  <a:pt x="162" y="162"/>
                </a:cubicBezTo>
                <a:cubicBezTo>
                  <a:pt x="167" y="163"/>
                  <a:pt x="172" y="160"/>
                  <a:pt x="175" y="156"/>
                </a:cubicBezTo>
                <a:cubicBezTo>
                  <a:pt x="176" y="154"/>
                  <a:pt x="177" y="151"/>
                  <a:pt x="177" y="149"/>
                </a:cubicBezTo>
                <a:cubicBezTo>
                  <a:pt x="177" y="45"/>
                  <a:pt x="177" y="45"/>
                  <a:pt x="177" y="45"/>
                </a:cubicBezTo>
                <a:cubicBezTo>
                  <a:pt x="177" y="42"/>
                  <a:pt x="176" y="38"/>
                  <a:pt x="175" y="34"/>
                </a:cubicBezTo>
                <a:cubicBezTo>
                  <a:pt x="170" y="21"/>
                  <a:pt x="158" y="12"/>
                  <a:pt x="144" y="12"/>
                </a:cubicBezTo>
                <a:cubicBezTo>
                  <a:pt x="46" y="12"/>
                  <a:pt x="46" y="12"/>
                  <a:pt x="46" y="12"/>
                </a:cubicBezTo>
                <a:cubicBezTo>
                  <a:pt x="32" y="12"/>
                  <a:pt x="19" y="21"/>
                  <a:pt x="15" y="34"/>
                </a:cubicBezTo>
                <a:cubicBezTo>
                  <a:pt x="13" y="38"/>
                  <a:pt x="13" y="42"/>
                  <a:pt x="13" y="45"/>
                </a:cubicBezTo>
                <a:cubicBezTo>
                  <a:pt x="13" y="149"/>
                  <a:pt x="13" y="149"/>
                  <a:pt x="13" y="149"/>
                </a:cubicBezTo>
                <a:cubicBezTo>
                  <a:pt x="13" y="151"/>
                  <a:pt x="13" y="154"/>
                  <a:pt x="15" y="156"/>
                </a:cubicBezTo>
                <a:cubicBezTo>
                  <a:pt x="17" y="160"/>
                  <a:pt x="22" y="163"/>
                  <a:pt x="27" y="162"/>
                </a:cubicBezTo>
                <a:cubicBezTo>
                  <a:pt x="34" y="161"/>
                  <a:pt x="39" y="155"/>
                  <a:pt x="39" y="148"/>
                </a:cubicBezTo>
                <a:cubicBezTo>
                  <a:pt x="39" y="144"/>
                  <a:pt x="42" y="142"/>
                  <a:pt x="46" y="142"/>
                </a:cubicBezTo>
                <a:cubicBezTo>
                  <a:pt x="49" y="142"/>
                  <a:pt x="52" y="144"/>
                  <a:pt x="52" y="148"/>
                </a:cubicBezTo>
                <a:cubicBezTo>
                  <a:pt x="52" y="306"/>
                  <a:pt x="52" y="306"/>
                  <a:pt x="52" y="306"/>
                </a:cubicBezTo>
                <a:cubicBezTo>
                  <a:pt x="52" y="316"/>
                  <a:pt x="60" y="324"/>
                  <a:pt x="70" y="324"/>
                </a:cubicBezTo>
                <a:cubicBezTo>
                  <a:pt x="80" y="324"/>
                  <a:pt x="89" y="316"/>
                  <a:pt x="89" y="306"/>
                </a:cubicBezTo>
                <a:cubicBezTo>
                  <a:pt x="89" y="302"/>
                  <a:pt x="91" y="299"/>
                  <a:pt x="95" y="29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800" dirty="0"/>
          </a:p>
        </p:txBody>
      </p:sp>
      <p:sp>
        <p:nvSpPr>
          <p:cNvPr id="89" name="Freeform 848">
            <a:extLst>
              <a:ext uri="{FF2B5EF4-FFF2-40B4-BE49-F238E27FC236}">
                <a16:creationId xmlns:a16="http://schemas.microsoft.com/office/drawing/2014/main" id="{EA078F5D-7BAA-6647-7B28-17F496CA9D11}"/>
              </a:ext>
            </a:extLst>
          </p:cNvPr>
          <p:cNvSpPr>
            <a:spLocks noEditPoints="1"/>
          </p:cNvSpPr>
          <p:nvPr/>
        </p:nvSpPr>
        <p:spPr bwMode="auto">
          <a:xfrm>
            <a:off x="4032577" y="4680025"/>
            <a:ext cx="57083" cy="57559"/>
          </a:xfrm>
          <a:custGeom>
            <a:avLst/>
            <a:gdLst>
              <a:gd name="T0" fmla="*/ 36 w 73"/>
              <a:gd name="T1" fmla="*/ 73 h 73"/>
              <a:gd name="T2" fmla="*/ 0 w 73"/>
              <a:gd name="T3" fmla="*/ 36 h 73"/>
              <a:gd name="T4" fmla="*/ 36 w 73"/>
              <a:gd name="T5" fmla="*/ 0 h 73"/>
              <a:gd name="T6" fmla="*/ 73 w 73"/>
              <a:gd name="T7" fmla="*/ 36 h 73"/>
              <a:gd name="T8" fmla="*/ 36 w 73"/>
              <a:gd name="T9" fmla="*/ 73 h 73"/>
              <a:gd name="T10" fmla="*/ 36 w 73"/>
              <a:gd name="T11" fmla="*/ 12 h 73"/>
              <a:gd name="T12" fmla="*/ 12 w 73"/>
              <a:gd name="T13" fmla="*/ 36 h 73"/>
              <a:gd name="T14" fmla="*/ 36 w 73"/>
              <a:gd name="T15" fmla="*/ 61 h 73"/>
              <a:gd name="T16" fmla="*/ 61 w 73"/>
              <a:gd name="T17" fmla="*/ 36 h 73"/>
              <a:gd name="T18" fmla="*/ 36 w 73"/>
              <a:gd name="T19" fmla="*/ 12 h 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73" h="73">
                <a:moveTo>
                  <a:pt x="36" y="73"/>
                </a:moveTo>
                <a:cubicBezTo>
                  <a:pt x="16" y="73"/>
                  <a:pt x="0" y="56"/>
                  <a:pt x="0" y="36"/>
                </a:cubicBezTo>
                <a:cubicBezTo>
                  <a:pt x="0" y="16"/>
                  <a:pt x="16" y="0"/>
                  <a:pt x="36" y="0"/>
                </a:cubicBezTo>
                <a:cubicBezTo>
                  <a:pt x="57" y="0"/>
                  <a:pt x="73" y="16"/>
                  <a:pt x="73" y="36"/>
                </a:cubicBezTo>
                <a:cubicBezTo>
                  <a:pt x="73" y="56"/>
                  <a:pt x="57" y="73"/>
                  <a:pt x="36" y="73"/>
                </a:cubicBezTo>
                <a:close/>
                <a:moveTo>
                  <a:pt x="36" y="12"/>
                </a:moveTo>
                <a:cubicBezTo>
                  <a:pt x="23" y="12"/>
                  <a:pt x="12" y="23"/>
                  <a:pt x="12" y="36"/>
                </a:cubicBezTo>
                <a:cubicBezTo>
                  <a:pt x="12" y="50"/>
                  <a:pt x="23" y="61"/>
                  <a:pt x="36" y="61"/>
                </a:cubicBezTo>
                <a:cubicBezTo>
                  <a:pt x="50" y="61"/>
                  <a:pt x="61" y="50"/>
                  <a:pt x="61" y="36"/>
                </a:cubicBezTo>
                <a:cubicBezTo>
                  <a:pt x="61" y="23"/>
                  <a:pt x="50" y="12"/>
                  <a:pt x="36" y="1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800" dirty="0"/>
          </a:p>
        </p:txBody>
      </p:sp>
      <p:sp>
        <p:nvSpPr>
          <p:cNvPr id="90" name="Freeform 849">
            <a:extLst>
              <a:ext uri="{FF2B5EF4-FFF2-40B4-BE49-F238E27FC236}">
                <a16:creationId xmlns:a16="http://schemas.microsoft.com/office/drawing/2014/main" id="{A7FCDD82-BAA5-79B4-74D0-519A3AEF93D5}"/>
              </a:ext>
            </a:extLst>
          </p:cNvPr>
          <p:cNvSpPr>
            <a:spLocks/>
          </p:cNvSpPr>
          <p:nvPr/>
        </p:nvSpPr>
        <p:spPr bwMode="auto">
          <a:xfrm>
            <a:off x="3955512" y="4869968"/>
            <a:ext cx="8565" cy="103606"/>
          </a:xfrm>
          <a:custGeom>
            <a:avLst/>
            <a:gdLst>
              <a:gd name="T0" fmla="*/ 6 w 12"/>
              <a:gd name="T1" fmla="*/ 131 h 131"/>
              <a:gd name="T2" fmla="*/ 0 w 12"/>
              <a:gd name="T3" fmla="*/ 125 h 131"/>
              <a:gd name="T4" fmla="*/ 0 w 12"/>
              <a:gd name="T5" fmla="*/ 6 h 131"/>
              <a:gd name="T6" fmla="*/ 6 w 12"/>
              <a:gd name="T7" fmla="*/ 0 h 131"/>
              <a:gd name="T8" fmla="*/ 12 w 12"/>
              <a:gd name="T9" fmla="*/ 6 h 131"/>
              <a:gd name="T10" fmla="*/ 12 w 12"/>
              <a:gd name="T11" fmla="*/ 125 h 131"/>
              <a:gd name="T12" fmla="*/ 6 w 12"/>
              <a:gd name="T13" fmla="*/ 131 h 1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2" h="131">
                <a:moveTo>
                  <a:pt x="6" y="131"/>
                </a:moveTo>
                <a:cubicBezTo>
                  <a:pt x="2" y="131"/>
                  <a:pt x="0" y="128"/>
                  <a:pt x="0" y="125"/>
                </a:cubicBezTo>
                <a:cubicBezTo>
                  <a:pt x="0" y="6"/>
                  <a:pt x="0" y="6"/>
                  <a:pt x="0" y="6"/>
                </a:cubicBezTo>
                <a:cubicBezTo>
                  <a:pt x="0" y="3"/>
                  <a:pt x="2" y="0"/>
                  <a:pt x="6" y="0"/>
                </a:cubicBezTo>
                <a:cubicBezTo>
                  <a:pt x="9" y="0"/>
                  <a:pt x="12" y="3"/>
                  <a:pt x="12" y="6"/>
                </a:cubicBezTo>
                <a:cubicBezTo>
                  <a:pt x="12" y="125"/>
                  <a:pt x="12" y="125"/>
                  <a:pt x="12" y="125"/>
                </a:cubicBezTo>
                <a:cubicBezTo>
                  <a:pt x="12" y="128"/>
                  <a:pt x="9" y="131"/>
                  <a:pt x="6" y="13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800" dirty="0"/>
          </a:p>
        </p:txBody>
      </p:sp>
      <p:sp>
        <p:nvSpPr>
          <p:cNvPr id="91" name="Freeform 850">
            <a:extLst>
              <a:ext uri="{FF2B5EF4-FFF2-40B4-BE49-F238E27FC236}">
                <a16:creationId xmlns:a16="http://schemas.microsoft.com/office/drawing/2014/main" id="{CF3C4BEA-E6AD-B7AB-3D7B-B8352E826E8A}"/>
              </a:ext>
            </a:extLst>
          </p:cNvPr>
          <p:cNvSpPr>
            <a:spLocks/>
          </p:cNvSpPr>
          <p:nvPr/>
        </p:nvSpPr>
        <p:spPr bwMode="auto">
          <a:xfrm>
            <a:off x="3915553" y="4774997"/>
            <a:ext cx="8565" cy="74828"/>
          </a:xfrm>
          <a:custGeom>
            <a:avLst/>
            <a:gdLst>
              <a:gd name="T0" fmla="*/ 7 w 13"/>
              <a:gd name="T1" fmla="*/ 93 h 93"/>
              <a:gd name="T2" fmla="*/ 0 w 13"/>
              <a:gd name="T3" fmla="*/ 87 h 93"/>
              <a:gd name="T4" fmla="*/ 0 w 13"/>
              <a:gd name="T5" fmla="*/ 6 h 93"/>
              <a:gd name="T6" fmla="*/ 7 w 13"/>
              <a:gd name="T7" fmla="*/ 0 h 93"/>
              <a:gd name="T8" fmla="*/ 13 w 13"/>
              <a:gd name="T9" fmla="*/ 6 h 93"/>
              <a:gd name="T10" fmla="*/ 13 w 13"/>
              <a:gd name="T11" fmla="*/ 87 h 93"/>
              <a:gd name="T12" fmla="*/ 7 w 13"/>
              <a:gd name="T13" fmla="*/ 93 h 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3" h="93">
                <a:moveTo>
                  <a:pt x="7" y="93"/>
                </a:moveTo>
                <a:cubicBezTo>
                  <a:pt x="3" y="93"/>
                  <a:pt x="0" y="90"/>
                  <a:pt x="0" y="87"/>
                </a:cubicBezTo>
                <a:cubicBezTo>
                  <a:pt x="0" y="6"/>
                  <a:pt x="0" y="6"/>
                  <a:pt x="0" y="6"/>
                </a:cubicBezTo>
                <a:cubicBezTo>
                  <a:pt x="0" y="3"/>
                  <a:pt x="3" y="0"/>
                  <a:pt x="7" y="0"/>
                </a:cubicBezTo>
                <a:cubicBezTo>
                  <a:pt x="10" y="0"/>
                  <a:pt x="13" y="3"/>
                  <a:pt x="13" y="6"/>
                </a:cubicBezTo>
                <a:cubicBezTo>
                  <a:pt x="13" y="87"/>
                  <a:pt x="13" y="87"/>
                  <a:pt x="13" y="87"/>
                </a:cubicBezTo>
                <a:cubicBezTo>
                  <a:pt x="13" y="90"/>
                  <a:pt x="10" y="93"/>
                  <a:pt x="7" y="93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800" dirty="0"/>
          </a:p>
        </p:txBody>
      </p:sp>
      <p:sp>
        <p:nvSpPr>
          <p:cNvPr id="92" name="Freeform 851">
            <a:extLst>
              <a:ext uri="{FF2B5EF4-FFF2-40B4-BE49-F238E27FC236}">
                <a16:creationId xmlns:a16="http://schemas.microsoft.com/office/drawing/2014/main" id="{E54A1648-BB6D-C8A9-7FA2-979F5B9D956E}"/>
              </a:ext>
            </a:extLst>
          </p:cNvPr>
          <p:cNvSpPr>
            <a:spLocks/>
          </p:cNvSpPr>
          <p:nvPr/>
        </p:nvSpPr>
        <p:spPr bwMode="auto">
          <a:xfrm>
            <a:off x="3992616" y="4774997"/>
            <a:ext cx="11416" cy="74828"/>
          </a:xfrm>
          <a:custGeom>
            <a:avLst/>
            <a:gdLst>
              <a:gd name="T0" fmla="*/ 6 w 12"/>
              <a:gd name="T1" fmla="*/ 93 h 93"/>
              <a:gd name="T2" fmla="*/ 0 w 12"/>
              <a:gd name="T3" fmla="*/ 87 h 93"/>
              <a:gd name="T4" fmla="*/ 0 w 12"/>
              <a:gd name="T5" fmla="*/ 6 h 93"/>
              <a:gd name="T6" fmla="*/ 6 w 12"/>
              <a:gd name="T7" fmla="*/ 0 h 93"/>
              <a:gd name="T8" fmla="*/ 12 w 12"/>
              <a:gd name="T9" fmla="*/ 6 h 93"/>
              <a:gd name="T10" fmla="*/ 12 w 12"/>
              <a:gd name="T11" fmla="*/ 87 h 93"/>
              <a:gd name="T12" fmla="*/ 6 w 12"/>
              <a:gd name="T13" fmla="*/ 93 h 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2" h="93">
                <a:moveTo>
                  <a:pt x="6" y="93"/>
                </a:moveTo>
                <a:cubicBezTo>
                  <a:pt x="3" y="93"/>
                  <a:pt x="0" y="90"/>
                  <a:pt x="0" y="87"/>
                </a:cubicBezTo>
                <a:cubicBezTo>
                  <a:pt x="0" y="6"/>
                  <a:pt x="0" y="6"/>
                  <a:pt x="0" y="6"/>
                </a:cubicBezTo>
                <a:cubicBezTo>
                  <a:pt x="0" y="3"/>
                  <a:pt x="3" y="0"/>
                  <a:pt x="6" y="0"/>
                </a:cubicBezTo>
                <a:cubicBezTo>
                  <a:pt x="9" y="0"/>
                  <a:pt x="12" y="3"/>
                  <a:pt x="12" y="6"/>
                </a:cubicBezTo>
                <a:cubicBezTo>
                  <a:pt x="12" y="87"/>
                  <a:pt x="12" y="87"/>
                  <a:pt x="12" y="87"/>
                </a:cubicBezTo>
                <a:cubicBezTo>
                  <a:pt x="12" y="90"/>
                  <a:pt x="9" y="93"/>
                  <a:pt x="6" y="93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800" dirty="0"/>
          </a:p>
        </p:txBody>
      </p:sp>
      <p:sp>
        <p:nvSpPr>
          <p:cNvPr id="93" name="Google Shape;497;p3">
            <a:extLst>
              <a:ext uri="{FF2B5EF4-FFF2-40B4-BE49-F238E27FC236}">
                <a16:creationId xmlns:a16="http://schemas.microsoft.com/office/drawing/2014/main" id="{D059D40D-EC2E-9797-C9F7-0D6C39692076}"/>
              </a:ext>
            </a:extLst>
          </p:cNvPr>
          <p:cNvSpPr txBox="1">
            <a:spLocks/>
          </p:cNvSpPr>
          <p:nvPr/>
        </p:nvSpPr>
        <p:spPr>
          <a:xfrm>
            <a:off x="714255" y="1919516"/>
            <a:ext cx="2415508" cy="19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600" dirty="0"/>
              <a:t>Insert text here</a:t>
            </a:r>
            <a:endParaRPr sz="1600" dirty="0"/>
          </a:p>
        </p:txBody>
      </p:sp>
      <p:cxnSp>
        <p:nvCxnSpPr>
          <p:cNvPr id="95" name="Google Shape;514;p3">
            <a:extLst>
              <a:ext uri="{FF2B5EF4-FFF2-40B4-BE49-F238E27FC236}">
                <a16:creationId xmlns:a16="http://schemas.microsoft.com/office/drawing/2014/main" id="{17786058-5070-4892-CC87-0B0D163EB497}"/>
              </a:ext>
            </a:extLst>
          </p:cNvPr>
          <p:cNvCxnSpPr>
            <a:cxnSpLocks/>
          </p:cNvCxnSpPr>
          <p:nvPr/>
        </p:nvCxnSpPr>
        <p:spPr>
          <a:xfrm>
            <a:off x="3392016" y="1565742"/>
            <a:ext cx="0" cy="4103453"/>
          </a:xfrm>
          <a:prstGeom prst="straightConnector1">
            <a:avLst/>
          </a:prstGeom>
          <a:noFill/>
          <a:ln w="6350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1888146423"/>
      </p:ext>
    </p:extLst>
  </p:cSld>
  <p:clrMapOvr>
    <a:masterClrMapping/>
  </p:clrMapOvr>
</p:sld>
</file>

<file path=ppt/slides/slide2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FEEF07-7861-62C9-D1A4-49E54B19BE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D21632A8-D742-9A32-7C47-975B4B337F6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21632A8-D742-9A32-7C47-975B4B337F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8F8F986-946E-5B63-AEC6-EFC8E0BB5C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ase Study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FB305078-BCF9-77B5-E7AF-AA1C7DCD2095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20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5" name="Google Shape;3129;p46">
            <a:extLst>
              <a:ext uri="{FF2B5EF4-FFF2-40B4-BE49-F238E27FC236}">
                <a16:creationId xmlns:a16="http://schemas.microsoft.com/office/drawing/2014/main" id="{F9BA584C-8AAE-3A2F-FFB5-089CBE97F17F}"/>
              </a:ext>
            </a:extLst>
          </p:cNvPr>
          <p:cNvSpPr/>
          <p:nvPr/>
        </p:nvSpPr>
        <p:spPr>
          <a:xfrm>
            <a:off x="3146981" y="1583526"/>
            <a:ext cx="4226613" cy="215045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>
              <a:buClr>
                <a:srgbClr val="FFFFFF"/>
              </a:buClr>
              <a:buSzPts val="1800"/>
              <a:defRPr/>
            </a:pPr>
            <a:endParaRPr sz="3200" dirty="0">
              <a:solidFill>
                <a:srgbClr val="FFFFFF"/>
              </a:solidFill>
            </a:endParaRPr>
          </a:p>
        </p:txBody>
      </p:sp>
      <p:sp>
        <p:nvSpPr>
          <p:cNvPr id="29" name="Google Shape;3132;p46">
            <a:extLst>
              <a:ext uri="{FF2B5EF4-FFF2-40B4-BE49-F238E27FC236}">
                <a16:creationId xmlns:a16="http://schemas.microsoft.com/office/drawing/2014/main" id="{491BF69F-FF80-8392-A1F0-5EA2CD02EBDE}"/>
              </a:ext>
            </a:extLst>
          </p:cNvPr>
          <p:cNvSpPr/>
          <p:nvPr/>
        </p:nvSpPr>
        <p:spPr>
          <a:xfrm>
            <a:off x="7357255" y="1583526"/>
            <a:ext cx="4226613" cy="215045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>
              <a:buClr>
                <a:srgbClr val="FFFFFF"/>
              </a:buClr>
              <a:buSzPts val="1800"/>
              <a:defRPr/>
            </a:pPr>
            <a:endParaRPr sz="3200" dirty="0">
              <a:solidFill>
                <a:srgbClr val="FFFFFF"/>
              </a:solidFill>
            </a:endParaRPr>
          </a:p>
        </p:txBody>
      </p:sp>
      <p:sp>
        <p:nvSpPr>
          <p:cNvPr id="30" name="Google Shape;3128;p46">
            <a:extLst>
              <a:ext uri="{FF2B5EF4-FFF2-40B4-BE49-F238E27FC236}">
                <a16:creationId xmlns:a16="http://schemas.microsoft.com/office/drawing/2014/main" id="{C42E3606-90D3-E7B0-E841-EDA37132EDAD}"/>
              </a:ext>
            </a:extLst>
          </p:cNvPr>
          <p:cNvSpPr/>
          <p:nvPr/>
        </p:nvSpPr>
        <p:spPr>
          <a:xfrm>
            <a:off x="630475" y="1583525"/>
            <a:ext cx="2516507" cy="397573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>
              <a:buClr>
                <a:srgbClr val="FFFFFF"/>
              </a:buClr>
              <a:buSzPts val="1800"/>
              <a:defRPr/>
            </a:pPr>
            <a:endParaRPr sz="3200" dirty="0">
              <a:solidFill>
                <a:srgbClr val="FFFFFF"/>
              </a:solidFill>
            </a:endParaRPr>
          </a:p>
        </p:txBody>
      </p:sp>
      <p:sp>
        <p:nvSpPr>
          <p:cNvPr id="31" name="Google Shape;3130;p46">
            <a:extLst>
              <a:ext uri="{FF2B5EF4-FFF2-40B4-BE49-F238E27FC236}">
                <a16:creationId xmlns:a16="http://schemas.microsoft.com/office/drawing/2014/main" id="{F86DFDE1-C278-6D17-7A75-3A3ADE7D80FC}"/>
              </a:ext>
            </a:extLst>
          </p:cNvPr>
          <p:cNvSpPr/>
          <p:nvPr/>
        </p:nvSpPr>
        <p:spPr>
          <a:xfrm>
            <a:off x="3146981" y="3566373"/>
            <a:ext cx="4226613" cy="199288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>
              <a:buClr>
                <a:srgbClr val="FFFFFF"/>
              </a:buClr>
              <a:buSzPts val="1800"/>
              <a:defRPr/>
            </a:pPr>
            <a:endParaRPr sz="3200" dirty="0">
              <a:solidFill>
                <a:srgbClr val="FFFFFF"/>
              </a:solidFill>
            </a:endParaRPr>
          </a:p>
        </p:txBody>
      </p:sp>
      <p:sp>
        <p:nvSpPr>
          <p:cNvPr id="32" name="Google Shape;3133;p46">
            <a:extLst>
              <a:ext uri="{FF2B5EF4-FFF2-40B4-BE49-F238E27FC236}">
                <a16:creationId xmlns:a16="http://schemas.microsoft.com/office/drawing/2014/main" id="{068BAE1F-06C0-CC40-326C-E8DC53622C42}"/>
              </a:ext>
            </a:extLst>
          </p:cNvPr>
          <p:cNvSpPr/>
          <p:nvPr/>
        </p:nvSpPr>
        <p:spPr>
          <a:xfrm>
            <a:off x="7357255" y="3566373"/>
            <a:ext cx="4226613" cy="199288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>
              <a:buClr>
                <a:srgbClr val="FFFFFF"/>
              </a:buClr>
              <a:buSzPts val="1800"/>
              <a:defRPr/>
            </a:pPr>
            <a:endParaRPr sz="3200" dirty="0">
              <a:solidFill>
                <a:srgbClr val="FFFFFF"/>
              </a:solidFill>
            </a:endParaRPr>
          </a:p>
        </p:txBody>
      </p:sp>
      <p:sp>
        <p:nvSpPr>
          <p:cNvPr id="33" name="Shape1_20220427_134847">
            <a:extLst>
              <a:ext uri="{FF2B5EF4-FFF2-40B4-BE49-F238E27FC236}">
                <a16:creationId xmlns:a16="http://schemas.microsoft.com/office/drawing/2014/main" id="{A0F9C7D3-254D-F370-121F-2EE3EBC6D75D}"/>
              </a:ext>
            </a:extLst>
          </p:cNvPr>
          <p:cNvSpPr txBox="1"/>
          <p:nvPr/>
        </p:nvSpPr>
        <p:spPr>
          <a:xfrm>
            <a:off x="858822" y="2856585"/>
            <a:ext cx="205981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ts val="3200"/>
              <a:defRPr/>
            </a:pPr>
            <a:r>
              <a:rPr lang="en-US" b="1" dirty="0">
                <a:solidFill>
                  <a:schemeClr val="bg1"/>
                </a:solidFill>
              </a:rPr>
              <a:t>Title 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34" name="Shape2_20220427_134847">
            <a:extLst>
              <a:ext uri="{FF2B5EF4-FFF2-40B4-BE49-F238E27FC236}">
                <a16:creationId xmlns:a16="http://schemas.microsoft.com/office/drawing/2014/main" id="{42A561C7-C6AC-AAC3-AB1E-F748DDA6A755}"/>
              </a:ext>
            </a:extLst>
          </p:cNvPr>
          <p:cNvSpPr txBox="1"/>
          <p:nvPr/>
        </p:nvSpPr>
        <p:spPr>
          <a:xfrm>
            <a:off x="861556" y="3131332"/>
            <a:ext cx="2054344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ts val="1800"/>
              <a:defRPr/>
            </a:pPr>
            <a:r>
              <a:rPr lang="en-US" dirty="0">
                <a:solidFill>
                  <a:schemeClr val="bg1"/>
                </a:solidFill>
              </a:rPr>
              <a:t>Insert Text Here </a:t>
            </a:r>
          </a:p>
        </p:txBody>
      </p:sp>
      <p:sp>
        <p:nvSpPr>
          <p:cNvPr id="35" name="Shape3_20220427_134847">
            <a:extLst>
              <a:ext uri="{FF2B5EF4-FFF2-40B4-BE49-F238E27FC236}">
                <a16:creationId xmlns:a16="http://schemas.microsoft.com/office/drawing/2014/main" id="{A47830DE-44AB-A88F-6AEB-1A44CBA6B894}"/>
              </a:ext>
            </a:extLst>
          </p:cNvPr>
          <p:cNvSpPr txBox="1"/>
          <p:nvPr/>
        </p:nvSpPr>
        <p:spPr>
          <a:xfrm>
            <a:off x="3317398" y="1847683"/>
            <a:ext cx="3885777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ts val="2000"/>
              <a:defRPr/>
            </a:pPr>
            <a:r>
              <a:rPr lang="en-US" b="1" dirty="0">
                <a:solidFill>
                  <a:schemeClr val="bg1"/>
                </a:solidFill>
              </a:rPr>
              <a:t>Title 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36" name="Shape4_20220427_134847">
            <a:extLst>
              <a:ext uri="{FF2B5EF4-FFF2-40B4-BE49-F238E27FC236}">
                <a16:creationId xmlns:a16="http://schemas.microsoft.com/office/drawing/2014/main" id="{0D628FAB-68B3-5CDF-DD64-83BBD41B6C73}"/>
              </a:ext>
            </a:extLst>
          </p:cNvPr>
          <p:cNvSpPr txBox="1"/>
          <p:nvPr/>
        </p:nvSpPr>
        <p:spPr>
          <a:xfrm>
            <a:off x="3322557" y="2122427"/>
            <a:ext cx="3875463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ts val="1200"/>
              <a:defRPr/>
            </a:pPr>
            <a:r>
              <a:rPr lang="en-US" dirty="0">
                <a:solidFill>
                  <a:schemeClr val="bg1"/>
                </a:solidFill>
              </a:rPr>
              <a:t>Insert Text Here </a:t>
            </a:r>
          </a:p>
        </p:txBody>
      </p:sp>
      <p:sp>
        <p:nvSpPr>
          <p:cNvPr id="37" name="Shape5_20220427_134847">
            <a:extLst>
              <a:ext uri="{FF2B5EF4-FFF2-40B4-BE49-F238E27FC236}">
                <a16:creationId xmlns:a16="http://schemas.microsoft.com/office/drawing/2014/main" id="{08A7989A-1E4A-A6B6-CDAC-4B4A421D2B19}"/>
              </a:ext>
            </a:extLst>
          </p:cNvPr>
          <p:cNvSpPr txBox="1"/>
          <p:nvPr/>
        </p:nvSpPr>
        <p:spPr>
          <a:xfrm>
            <a:off x="3317398" y="4110609"/>
            <a:ext cx="3885777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ts val="2000"/>
              <a:defRPr/>
            </a:pPr>
            <a:r>
              <a:rPr lang="en-US" b="1" dirty="0">
                <a:solidFill>
                  <a:schemeClr val="bg1"/>
                </a:solidFill>
              </a:rPr>
              <a:t>Title 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38" name="Shape6_20220427_134847">
            <a:extLst>
              <a:ext uri="{FF2B5EF4-FFF2-40B4-BE49-F238E27FC236}">
                <a16:creationId xmlns:a16="http://schemas.microsoft.com/office/drawing/2014/main" id="{06974D22-F56C-8A9B-E1A3-69EF5DBBC0D4}"/>
              </a:ext>
            </a:extLst>
          </p:cNvPr>
          <p:cNvSpPr txBox="1"/>
          <p:nvPr/>
        </p:nvSpPr>
        <p:spPr>
          <a:xfrm>
            <a:off x="3322557" y="4385353"/>
            <a:ext cx="3875463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ts val="1200"/>
              <a:defRPr/>
            </a:pPr>
            <a:r>
              <a:rPr lang="en-US" dirty="0">
                <a:solidFill>
                  <a:schemeClr val="bg1"/>
                </a:solidFill>
              </a:rPr>
              <a:t>Insert Text Here </a:t>
            </a:r>
          </a:p>
        </p:txBody>
      </p:sp>
      <p:sp>
        <p:nvSpPr>
          <p:cNvPr id="39" name="Google Shape;3143;p46">
            <a:extLst>
              <a:ext uri="{FF2B5EF4-FFF2-40B4-BE49-F238E27FC236}">
                <a16:creationId xmlns:a16="http://schemas.microsoft.com/office/drawing/2014/main" id="{69443810-6472-26AE-819A-FBF3590F6DB4}"/>
              </a:ext>
            </a:extLst>
          </p:cNvPr>
          <p:cNvSpPr txBox="1"/>
          <p:nvPr/>
        </p:nvSpPr>
        <p:spPr>
          <a:xfrm>
            <a:off x="7527670" y="1847683"/>
            <a:ext cx="3885777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2000"/>
              <a:defRPr/>
            </a:pPr>
            <a:r>
              <a:rPr lang="en-US" b="1" dirty="0">
                <a:solidFill>
                  <a:schemeClr val="bg1"/>
                </a:solidFill>
              </a:rPr>
              <a:t>Title 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40" name="Shape3_20210622_174643">
            <a:extLst>
              <a:ext uri="{FF2B5EF4-FFF2-40B4-BE49-F238E27FC236}">
                <a16:creationId xmlns:a16="http://schemas.microsoft.com/office/drawing/2014/main" id="{625F5217-A8B1-FC7E-E35E-A4CB8B8E14EE}"/>
              </a:ext>
            </a:extLst>
          </p:cNvPr>
          <p:cNvSpPr txBox="1"/>
          <p:nvPr/>
        </p:nvSpPr>
        <p:spPr>
          <a:xfrm>
            <a:off x="7532830" y="2122427"/>
            <a:ext cx="3875463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200"/>
              <a:defRPr/>
            </a:pPr>
            <a:r>
              <a:rPr lang="en-US" dirty="0">
                <a:solidFill>
                  <a:schemeClr val="bg1"/>
                </a:solidFill>
              </a:rPr>
              <a:t>Insert Text Here </a:t>
            </a:r>
          </a:p>
        </p:txBody>
      </p:sp>
      <p:sp>
        <p:nvSpPr>
          <p:cNvPr id="41" name="Shape0_20220427_134847">
            <a:extLst>
              <a:ext uri="{FF2B5EF4-FFF2-40B4-BE49-F238E27FC236}">
                <a16:creationId xmlns:a16="http://schemas.microsoft.com/office/drawing/2014/main" id="{BEF39793-F7A9-07F0-B655-EB001088BBA3}"/>
              </a:ext>
            </a:extLst>
          </p:cNvPr>
          <p:cNvSpPr txBox="1"/>
          <p:nvPr/>
        </p:nvSpPr>
        <p:spPr>
          <a:xfrm>
            <a:off x="7527670" y="4110609"/>
            <a:ext cx="3885777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2000"/>
              <a:defRPr/>
            </a:pPr>
            <a:r>
              <a:rPr lang="en-US" b="1" dirty="0">
                <a:solidFill>
                  <a:schemeClr val="bg1"/>
                </a:solidFill>
              </a:rPr>
              <a:t>Title 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42" name="Shape7_20220427_134847">
            <a:extLst>
              <a:ext uri="{FF2B5EF4-FFF2-40B4-BE49-F238E27FC236}">
                <a16:creationId xmlns:a16="http://schemas.microsoft.com/office/drawing/2014/main" id="{796E50B4-D229-DF64-AC85-1B5398AB5A12}"/>
              </a:ext>
            </a:extLst>
          </p:cNvPr>
          <p:cNvSpPr txBox="1"/>
          <p:nvPr/>
        </p:nvSpPr>
        <p:spPr>
          <a:xfrm>
            <a:off x="7532830" y="4385353"/>
            <a:ext cx="3875463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200"/>
              <a:defRPr/>
            </a:pPr>
            <a:r>
              <a:rPr lang="en-US" dirty="0">
                <a:solidFill>
                  <a:schemeClr val="bg1"/>
                </a:solidFill>
              </a:rPr>
              <a:t>Insert Text Here </a:t>
            </a:r>
          </a:p>
        </p:txBody>
      </p:sp>
      <p:sp>
        <p:nvSpPr>
          <p:cNvPr id="43" name="Freeform 1532">
            <a:extLst>
              <a:ext uri="{FF2B5EF4-FFF2-40B4-BE49-F238E27FC236}">
                <a16:creationId xmlns:a16="http://schemas.microsoft.com/office/drawing/2014/main" id="{7F6D0AAF-FE89-F366-36BF-3CD49CAC6D81}"/>
              </a:ext>
            </a:extLst>
          </p:cNvPr>
          <p:cNvSpPr>
            <a:spLocks noEditPoints="1"/>
          </p:cNvSpPr>
          <p:nvPr/>
        </p:nvSpPr>
        <p:spPr bwMode="auto">
          <a:xfrm>
            <a:off x="1299284" y="2190752"/>
            <a:ext cx="136822" cy="134544"/>
          </a:xfrm>
          <a:custGeom>
            <a:avLst/>
            <a:gdLst>
              <a:gd name="T0" fmla="*/ 16 w 41"/>
              <a:gd name="T1" fmla="*/ 41 h 41"/>
              <a:gd name="T2" fmla="*/ 13 w 41"/>
              <a:gd name="T3" fmla="*/ 40 h 41"/>
              <a:gd name="T4" fmla="*/ 1 w 41"/>
              <a:gd name="T5" fmla="*/ 28 h 41"/>
              <a:gd name="T6" fmla="*/ 0 w 41"/>
              <a:gd name="T7" fmla="*/ 24 h 41"/>
              <a:gd name="T8" fmla="*/ 5 w 41"/>
              <a:gd name="T9" fmla="*/ 7 h 41"/>
              <a:gd name="T10" fmla="*/ 7 w 41"/>
              <a:gd name="T11" fmla="*/ 5 h 41"/>
              <a:gd name="T12" fmla="*/ 24 w 41"/>
              <a:gd name="T13" fmla="*/ 0 h 41"/>
              <a:gd name="T14" fmla="*/ 28 w 41"/>
              <a:gd name="T15" fmla="*/ 1 h 41"/>
              <a:gd name="T16" fmla="*/ 40 w 41"/>
              <a:gd name="T17" fmla="*/ 14 h 41"/>
              <a:gd name="T18" fmla="*/ 40 w 41"/>
              <a:gd name="T19" fmla="*/ 14 h 41"/>
              <a:gd name="T20" fmla="*/ 41 w 41"/>
              <a:gd name="T21" fmla="*/ 17 h 41"/>
              <a:gd name="T22" fmla="*/ 36 w 41"/>
              <a:gd name="T23" fmla="*/ 34 h 41"/>
              <a:gd name="T24" fmla="*/ 34 w 41"/>
              <a:gd name="T25" fmla="*/ 37 h 41"/>
              <a:gd name="T26" fmla="*/ 17 w 41"/>
              <a:gd name="T27" fmla="*/ 41 h 41"/>
              <a:gd name="T28" fmla="*/ 16 w 41"/>
              <a:gd name="T29" fmla="*/ 41 h 41"/>
              <a:gd name="T30" fmla="*/ 5 w 41"/>
              <a:gd name="T31" fmla="*/ 25 h 41"/>
              <a:gd name="T32" fmla="*/ 16 w 41"/>
              <a:gd name="T33" fmla="*/ 36 h 41"/>
              <a:gd name="T34" fmla="*/ 32 w 41"/>
              <a:gd name="T35" fmla="*/ 32 h 41"/>
              <a:gd name="T36" fmla="*/ 36 w 41"/>
              <a:gd name="T37" fmla="*/ 17 h 41"/>
              <a:gd name="T38" fmla="*/ 25 w 41"/>
              <a:gd name="T39" fmla="*/ 5 h 41"/>
              <a:gd name="T40" fmla="*/ 9 w 41"/>
              <a:gd name="T41" fmla="*/ 9 h 41"/>
              <a:gd name="T42" fmla="*/ 5 w 41"/>
              <a:gd name="T43" fmla="*/ 25 h 41"/>
              <a:gd name="T44" fmla="*/ 32 w 41"/>
              <a:gd name="T45" fmla="*/ 33 h 41"/>
              <a:gd name="T46" fmla="*/ 32 w 41"/>
              <a:gd name="T47" fmla="*/ 33 h 41"/>
              <a:gd name="T48" fmla="*/ 5 w 41"/>
              <a:gd name="T49" fmla="*/ 26 h 41"/>
              <a:gd name="T50" fmla="*/ 5 w 41"/>
              <a:gd name="T51" fmla="*/ 26 h 41"/>
              <a:gd name="T52" fmla="*/ 5 w 41"/>
              <a:gd name="T53" fmla="*/ 26 h 41"/>
              <a:gd name="T54" fmla="*/ 36 w 41"/>
              <a:gd name="T55" fmla="*/ 16 h 41"/>
              <a:gd name="T56" fmla="*/ 36 w 41"/>
              <a:gd name="T57" fmla="*/ 16 h 41"/>
              <a:gd name="T58" fmla="*/ 9 w 41"/>
              <a:gd name="T59" fmla="*/ 9 h 41"/>
              <a:gd name="T60" fmla="*/ 9 w 41"/>
              <a:gd name="T61" fmla="*/ 9 h 41"/>
              <a:gd name="T62" fmla="*/ 9 w 41"/>
              <a:gd name="T63" fmla="*/ 9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41" h="41">
                <a:moveTo>
                  <a:pt x="16" y="41"/>
                </a:moveTo>
                <a:cubicBezTo>
                  <a:pt x="15" y="41"/>
                  <a:pt x="14" y="41"/>
                  <a:pt x="13" y="40"/>
                </a:cubicBezTo>
                <a:cubicBezTo>
                  <a:pt x="1" y="28"/>
                  <a:pt x="1" y="28"/>
                  <a:pt x="1" y="28"/>
                </a:cubicBezTo>
                <a:cubicBezTo>
                  <a:pt x="0" y="27"/>
                  <a:pt x="0" y="26"/>
                  <a:pt x="0" y="24"/>
                </a:cubicBezTo>
                <a:cubicBezTo>
                  <a:pt x="5" y="7"/>
                  <a:pt x="5" y="7"/>
                  <a:pt x="5" y="7"/>
                </a:cubicBezTo>
                <a:cubicBezTo>
                  <a:pt x="5" y="6"/>
                  <a:pt x="6" y="5"/>
                  <a:pt x="7" y="5"/>
                </a:cubicBezTo>
                <a:cubicBezTo>
                  <a:pt x="24" y="0"/>
                  <a:pt x="24" y="0"/>
                  <a:pt x="24" y="0"/>
                </a:cubicBezTo>
                <a:cubicBezTo>
                  <a:pt x="25" y="0"/>
                  <a:pt x="27" y="0"/>
                  <a:pt x="28" y="1"/>
                </a:cubicBezTo>
                <a:cubicBezTo>
                  <a:pt x="40" y="14"/>
                  <a:pt x="40" y="14"/>
                  <a:pt x="40" y="14"/>
                </a:cubicBezTo>
                <a:cubicBezTo>
                  <a:pt x="40" y="14"/>
                  <a:pt x="40" y="14"/>
                  <a:pt x="40" y="14"/>
                </a:cubicBezTo>
                <a:cubicBezTo>
                  <a:pt x="41" y="15"/>
                  <a:pt x="41" y="16"/>
                  <a:pt x="41" y="17"/>
                </a:cubicBezTo>
                <a:cubicBezTo>
                  <a:pt x="36" y="34"/>
                  <a:pt x="36" y="34"/>
                  <a:pt x="36" y="34"/>
                </a:cubicBezTo>
                <a:cubicBezTo>
                  <a:pt x="36" y="35"/>
                  <a:pt x="35" y="36"/>
                  <a:pt x="34" y="37"/>
                </a:cubicBezTo>
                <a:cubicBezTo>
                  <a:pt x="17" y="41"/>
                  <a:pt x="17" y="41"/>
                  <a:pt x="17" y="41"/>
                </a:cubicBezTo>
                <a:cubicBezTo>
                  <a:pt x="17" y="41"/>
                  <a:pt x="16" y="41"/>
                  <a:pt x="16" y="41"/>
                </a:cubicBezTo>
                <a:close/>
                <a:moveTo>
                  <a:pt x="5" y="25"/>
                </a:moveTo>
                <a:cubicBezTo>
                  <a:pt x="16" y="36"/>
                  <a:pt x="16" y="36"/>
                  <a:pt x="16" y="36"/>
                </a:cubicBezTo>
                <a:cubicBezTo>
                  <a:pt x="32" y="32"/>
                  <a:pt x="32" y="32"/>
                  <a:pt x="32" y="32"/>
                </a:cubicBezTo>
                <a:cubicBezTo>
                  <a:pt x="36" y="17"/>
                  <a:pt x="36" y="17"/>
                  <a:pt x="36" y="17"/>
                </a:cubicBezTo>
                <a:cubicBezTo>
                  <a:pt x="25" y="5"/>
                  <a:pt x="25" y="5"/>
                  <a:pt x="25" y="5"/>
                </a:cubicBezTo>
                <a:cubicBezTo>
                  <a:pt x="9" y="9"/>
                  <a:pt x="9" y="9"/>
                  <a:pt x="9" y="9"/>
                </a:cubicBezTo>
                <a:lnTo>
                  <a:pt x="5" y="25"/>
                </a:lnTo>
                <a:close/>
                <a:moveTo>
                  <a:pt x="32" y="33"/>
                </a:moveTo>
                <a:cubicBezTo>
                  <a:pt x="32" y="33"/>
                  <a:pt x="32" y="33"/>
                  <a:pt x="32" y="33"/>
                </a:cubicBezTo>
                <a:close/>
                <a:moveTo>
                  <a:pt x="5" y="26"/>
                </a:moveTo>
                <a:cubicBezTo>
                  <a:pt x="5" y="26"/>
                  <a:pt x="5" y="26"/>
                  <a:pt x="5" y="26"/>
                </a:cubicBezTo>
                <a:cubicBezTo>
                  <a:pt x="5" y="26"/>
                  <a:pt x="5" y="26"/>
                  <a:pt x="5" y="26"/>
                </a:cubicBezTo>
                <a:close/>
                <a:moveTo>
                  <a:pt x="36" y="16"/>
                </a:moveTo>
                <a:cubicBezTo>
                  <a:pt x="36" y="16"/>
                  <a:pt x="36" y="16"/>
                  <a:pt x="36" y="16"/>
                </a:cubicBezTo>
                <a:close/>
                <a:moveTo>
                  <a:pt x="9" y="9"/>
                </a:moveTo>
                <a:cubicBezTo>
                  <a:pt x="9" y="9"/>
                  <a:pt x="9" y="9"/>
                  <a:pt x="9" y="9"/>
                </a:cubicBezTo>
                <a:cubicBezTo>
                  <a:pt x="9" y="9"/>
                  <a:pt x="9" y="9"/>
                  <a:pt x="9" y="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44" name="Freeform 1533">
            <a:extLst>
              <a:ext uri="{FF2B5EF4-FFF2-40B4-BE49-F238E27FC236}">
                <a16:creationId xmlns:a16="http://schemas.microsoft.com/office/drawing/2014/main" id="{A2E1DDF9-F44D-EAC5-972B-C67730CD2AE1}"/>
              </a:ext>
            </a:extLst>
          </p:cNvPr>
          <p:cNvSpPr>
            <a:spLocks/>
          </p:cNvSpPr>
          <p:nvPr/>
        </p:nvSpPr>
        <p:spPr bwMode="auto">
          <a:xfrm>
            <a:off x="921842" y="1817281"/>
            <a:ext cx="153336" cy="150780"/>
          </a:xfrm>
          <a:custGeom>
            <a:avLst/>
            <a:gdLst>
              <a:gd name="T0" fmla="*/ 18 w 46"/>
              <a:gd name="T1" fmla="*/ 46 h 46"/>
              <a:gd name="T2" fmla="*/ 16 w 46"/>
              <a:gd name="T3" fmla="*/ 45 h 46"/>
              <a:gd name="T4" fmla="*/ 1 w 46"/>
              <a:gd name="T5" fmla="*/ 30 h 46"/>
              <a:gd name="T6" fmla="*/ 1 w 46"/>
              <a:gd name="T7" fmla="*/ 26 h 46"/>
              <a:gd name="T8" fmla="*/ 5 w 46"/>
              <a:gd name="T9" fmla="*/ 26 h 46"/>
              <a:gd name="T10" fmla="*/ 19 w 46"/>
              <a:gd name="T11" fmla="*/ 41 h 46"/>
              <a:gd name="T12" fmla="*/ 36 w 46"/>
              <a:gd name="T13" fmla="*/ 36 h 46"/>
              <a:gd name="T14" fmla="*/ 40 w 46"/>
              <a:gd name="T15" fmla="*/ 19 h 46"/>
              <a:gd name="T16" fmla="*/ 26 w 46"/>
              <a:gd name="T17" fmla="*/ 5 h 46"/>
              <a:gd name="T18" fmla="*/ 26 w 46"/>
              <a:gd name="T19" fmla="*/ 1 h 46"/>
              <a:gd name="T20" fmla="*/ 30 w 46"/>
              <a:gd name="T21" fmla="*/ 1 h 46"/>
              <a:gd name="T22" fmla="*/ 45 w 46"/>
              <a:gd name="T23" fmla="*/ 17 h 46"/>
              <a:gd name="T24" fmla="*/ 45 w 46"/>
              <a:gd name="T25" fmla="*/ 19 h 46"/>
              <a:gd name="T26" fmla="*/ 40 w 46"/>
              <a:gd name="T27" fmla="*/ 39 h 46"/>
              <a:gd name="T28" fmla="*/ 38 w 46"/>
              <a:gd name="T29" fmla="*/ 40 h 46"/>
              <a:gd name="T30" fmla="*/ 19 w 46"/>
              <a:gd name="T31" fmla="*/ 46 h 46"/>
              <a:gd name="T32" fmla="*/ 18 w 46"/>
              <a:gd name="T33" fmla="*/ 46 h 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46" h="46">
                <a:moveTo>
                  <a:pt x="18" y="46"/>
                </a:moveTo>
                <a:cubicBezTo>
                  <a:pt x="18" y="46"/>
                  <a:pt x="17" y="46"/>
                  <a:pt x="16" y="45"/>
                </a:cubicBezTo>
                <a:cubicBezTo>
                  <a:pt x="1" y="30"/>
                  <a:pt x="1" y="30"/>
                  <a:pt x="1" y="30"/>
                </a:cubicBezTo>
                <a:cubicBezTo>
                  <a:pt x="0" y="29"/>
                  <a:pt x="0" y="27"/>
                  <a:pt x="1" y="26"/>
                </a:cubicBezTo>
                <a:cubicBezTo>
                  <a:pt x="2" y="25"/>
                  <a:pt x="4" y="25"/>
                  <a:pt x="5" y="26"/>
                </a:cubicBezTo>
                <a:cubicBezTo>
                  <a:pt x="19" y="41"/>
                  <a:pt x="19" y="41"/>
                  <a:pt x="19" y="41"/>
                </a:cubicBezTo>
                <a:cubicBezTo>
                  <a:pt x="36" y="36"/>
                  <a:pt x="36" y="36"/>
                  <a:pt x="36" y="36"/>
                </a:cubicBezTo>
                <a:cubicBezTo>
                  <a:pt x="40" y="19"/>
                  <a:pt x="40" y="19"/>
                  <a:pt x="40" y="19"/>
                </a:cubicBezTo>
                <a:cubicBezTo>
                  <a:pt x="26" y="5"/>
                  <a:pt x="26" y="5"/>
                  <a:pt x="26" y="5"/>
                </a:cubicBezTo>
                <a:cubicBezTo>
                  <a:pt x="25" y="4"/>
                  <a:pt x="25" y="2"/>
                  <a:pt x="26" y="1"/>
                </a:cubicBezTo>
                <a:cubicBezTo>
                  <a:pt x="27" y="0"/>
                  <a:pt x="29" y="0"/>
                  <a:pt x="30" y="1"/>
                </a:cubicBezTo>
                <a:cubicBezTo>
                  <a:pt x="45" y="17"/>
                  <a:pt x="45" y="17"/>
                  <a:pt x="45" y="17"/>
                </a:cubicBezTo>
                <a:cubicBezTo>
                  <a:pt x="45" y="17"/>
                  <a:pt x="46" y="18"/>
                  <a:pt x="45" y="19"/>
                </a:cubicBezTo>
                <a:cubicBezTo>
                  <a:pt x="40" y="39"/>
                  <a:pt x="40" y="39"/>
                  <a:pt x="40" y="39"/>
                </a:cubicBezTo>
                <a:cubicBezTo>
                  <a:pt x="40" y="40"/>
                  <a:pt x="39" y="40"/>
                  <a:pt x="38" y="40"/>
                </a:cubicBezTo>
                <a:cubicBezTo>
                  <a:pt x="19" y="46"/>
                  <a:pt x="19" y="46"/>
                  <a:pt x="19" y="46"/>
                </a:cubicBezTo>
                <a:cubicBezTo>
                  <a:pt x="19" y="46"/>
                  <a:pt x="18" y="46"/>
                  <a:pt x="18" y="46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45" name="Freeform 1534">
            <a:extLst>
              <a:ext uri="{FF2B5EF4-FFF2-40B4-BE49-F238E27FC236}">
                <a16:creationId xmlns:a16="http://schemas.microsoft.com/office/drawing/2014/main" id="{F95DD9AD-5354-9EAA-CC04-360F570BD954}"/>
              </a:ext>
            </a:extLst>
          </p:cNvPr>
          <p:cNvSpPr>
            <a:spLocks/>
          </p:cNvSpPr>
          <p:nvPr/>
        </p:nvSpPr>
        <p:spPr bwMode="auto">
          <a:xfrm>
            <a:off x="917126" y="1898470"/>
            <a:ext cx="172208" cy="132224"/>
          </a:xfrm>
          <a:custGeom>
            <a:avLst/>
            <a:gdLst>
              <a:gd name="T0" fmla="*/ 33 w 51"/>
              <a:gd name="T1" fmla="*/ 40 h 40"/>
              <a:gd name="T2" fmla="*/ 11 w 51"/>
              <a:gd name="T3" fmla="*/ 30 h 40"/>
              <a:gd name="T4" fmla="*/ 1 w 51"/>
              <a:gd name="T5" fmla="*/ 3 h 40"/>
              <a:gd name="T6" fmla="*/ 4 w 51"/>
              <a:gd name="T7" fmla="*/ 1 h 40"/>
              <a:gd name="T8" fmla="*/ 6 w 51"/>
              <a:gd name="T9" fmla="*/ 3 h 40"/>
              <a:gd name="T10" fmla="*/ 14 w 51"/>
              <a:gd name="T11" fmla="*/ 27 h 40"/>
              <a:gd name="T12" fmla="*/ 47 w 51"/>
              <a:gd name="T13" fmla="*/ 31 h 40"/>
              <a:gd name="T14" fmla="*/ 50 w 51"/>
              <a:gd name="T15" fmla="*/ 32 h 40"/>
              <a:gd name="T16" fmla="*/ 50 w 51"/>
              <a:gd name="T17" fmla="*/ 35 h 40"/>
              <a:gd name="T18" fmla="*/ 33 w 51"/>
              <a:gd name="T19" fmla="*/ 40 h 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51" h="40">
                <a:moveTo>
                  <a:pt x="33" y="40"/>
                </a:moveTo>
                <a:cubicBezTo>
                  <a:pt x="25" y="40"/>
                  <a:pt x="17" y="36"/>
                  <a:pt x="11" y="30"/>
                </a:cubicBezTo>
                <a:cubicBezTo>
                  <a:pt x="3" y="23"/>
                  <a:pt x="0" y="13"/>
                  <a:pt x="1" y="3"/>
                </a:cubicBezTo>
                <a:cubicBezTo>
                  <a:pt x="2" y="1"/>
                  <a:pt x="3" y="0"/>
                  <a:pt x="4" y="1"/>
                </a:cubicBezTo>
                <a:cubicBezTo>
                  <a:pt x="6" y="1"/>
                  <a:pt x="7" y="2"/>
                  <a:pt x="6" y="3"/>
                </a:cubicBezTo>
                <a:cubicBezTo>
                  <a:pt x="5" y="12"/>
                  <a:pt x="8" y="21"/>
                  <a:pt x="14" y="27"/>
                </a:cubicBezTo>
                <a:cubicBezTo>
                  <a:pt x="23" y="36"/>
                  <a:pt x="36" y="37"/>
                  <a:pt x="47" y="31"/>
                </a:cubicBezTo>
                <a:cubicBezTo>
                  <a:pt x="48" y="30"/>
                  <a:pt x="50" y="31"/>
                  <a:pt x="50" y="32"/>
                </a:cubicBezTo>
                <a:cubicBezTo>
                  <a:pt x="51" y="33"/>
                  <a:pt x="51" y="34"/>
                  <a:pt x="50" y="35"/>
                </a:cubicBezTo>
                <a:cubicBezTo>
                  <a:pt x="45" y="38"/>
                  <a:pt x="39" y="40"/>
                  <a:pt x="33" y="4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46" name="Freeform 1535">
            <a:extLst>
              <a:ext uri="{FF2B5EF4-FFF2-40B4-BE49-F238E27FC236}">
                <a16:creationId xmlns:a16="http://schemas.microsoft.com/office/drawing/2014/main" id="{B2A348CF-83B7-6980-F530-DE986F89E2F8}"/>
              </a:ext>
            </a:extLst>
          </p:cNvPr>
          <p:cNvSpPr>
            <a:spLocks/>
          </p:cNvSpPr>
          <p:nvPr/>
        </p:nvSpPr>
        <p:spPr bwMode="auto">
          <a:xfrm>
            <a:off x="1004408" y="1812641"/>
            <a:ext cx="141540" cy="169339"/>
          </a:xfrm>
          <a:custGeom>
            <a:avLst/>
            <a:gdLst>
              <a:gd name="T0" fmla="*/ 33 w 42"/>
              <a:gd name="T1" fmla="*/ 51 h 51"/>
              <a:gd name="T2" fmla="*/ 31 w 42"/>
              <a:gd name="T3" fmla="*/ 51 h 51"/>
              <a:gd name="T4" fmla="*/ 31 w 42"/>
              <a:gd name="T5" fmla="*/ 47 h 51"/>
              <a:gd name="T6" fmla="*/ 26 w 42"/>
              <a:gd name="T7" fmla="*/ 14 h 51"/>
              <a:gd name="T8" fmla="*/ 3 w 42"/>
              <a:gd name="T9" fmla="*/ 7 h 51"/>
              <a:gd name="T10" fmla="*/ 0 w 42"/>
              <a:gd name="T11" fmla="*/ 5 h 51"/>
              <a:gd name="T12" fmla="*/ 2 w 42"/>
              <a:gd name="T13" fmla="*/ 2 h 51"/>
              <a:gd name="T14" fmla="*/ 30 w 42"/>
              <a:gd name="T15" fmla="*/ 11 h 51"/>
              <a:gd name="T16" fmla="*/ 35 w 42"/>
              <a:gd name="T17" fmla="*/ 50 h 51"/>
              <a:gd name="T18" fmla="*/ 33 w 42"/>
              <a:gd name="T19" fmla="*/ 51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2" h="51">
                <a:moveTo>
                  <a:pt x="33" y="51"/>
                </a:moveTo>
                <a:cubicBezTo>
                  <a:pt x="32" y="51"/>
                  <a:pt x="32" y="51"/>
                  <a:pt x="31" y="51"/>
                </a:cubicBezTo>
                <a:cubicBezTo>
                  <a:pt x="30" y="50"/>
                  <a:pt x="30" y="49"/>
                  <a:pt x="31" y="47"/>
                </a:cubicBezTo>
                <a:cubicBezTo>
                  <a:pt x="37" y="37"/>
                  <a:pt x="35" y="23"/>
                  <a:pt x="26" y="14"/>
                </a:cubicBezTo>
                <a:cubicBezTo>
                  <a:pt x="20" y="8"/>
                  <a:pt x="12" y="5"/>
                  <a:pt x="3" y="7"/>
                </a:cubicBezTo>
                <a:cubicBezTo>
                  <a:pt x="2" y="7"/>
                  <a:pt x="1" y="6"/>
                  <a:pt x="0" y="5"/>
                </a:cubicBezTo>
                <a:cubicBezTo>
                  <a:pt x="0" y="3"/>
                  <a:pt x="1" y="2"/>
                  <a:pt x="2" y="2"/>
                </a:cubicBezTo>
                <a:cubicBezTo>
                  <a:pt x="12" y="0"/>
                  <a:pt x="23" y="4"/>
                  <a:pt x="30" y="11"/>
                </a:cubicBezTo>
                <a:cubicBezTo>
                  <a:pt x="40" y="21"/>
                  <a:pt x="42" y="37"/>
                  <a:pt x="35" y="50"/>
                </a:cubicBezTo>
                <a:cubicBezTo>
                  <a:pt x="34" y="51"/>
                  <a:pt x="34" y="51"/>
                  <a:pt x="33" y="5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47" name="Freeform 1536">
            <a:extLst>
              <a:ext uri="{FF2B5EF4-FFF2-40B4-BE49-F238E27FC236}">
                <a16:creationId xmlns:a16="http://schemas.microsoft.com/office/drawing/2014/main" id="{1B787059-9E59-78C4-5ABB-0E7DBA0C8778}"/>
              </a:ext>
            </a:extLst>
          </p:cNvPr>
          <p:cNvSpPr>
            <a:spLocks/>
          </p:cNvSpPr>
          <p:nvPr/>
        </p:nvSpPr>
        <p:spPr bwMode="auto">
          <a:xfrm>
            <a:off x="1072818" y="2002858"/>
            <a:ext cx="87284" cy="81190"/>
          </a:xfrm>
          <a:custGeom>
            <a:avLst/>
            <a:gdLst>
              <a:gd name="T0" fmla="*/ 23 w 26"/>
              <a:gd name="T1" fmla="*/ 25 h 25"/>
              <a:gd name="T2" fmla="*/ 21 w 26"/>
              <a:gd name="T3" fmla="*/ 25 h 25"/>
              <a:gd name="T4" fmla="*/ 1 w 26"/>
              <a:gd name="T5" fmla="*/ 4 h 25"/>
              <a:gd name="T6" fmla="*/ 1 w 26"/>
              <a:gd name="T7" fmla="*/ 1 h 25"/>
              <a:gd name="T8" fmla="*/ 5 w 26"/>
              <a:gd name="T9" fmla="*/ 1 h 25"/>
              <a:gd name="T10" fmla="*/ 25 w 26"/>
              <a:gd name="T11" fmla="*/ 21 h 25"/>
              <a:gd name="T12" fmla="*/ 25 w 26"/>
              <a:gd name="T13" fmla="*/ 25 h 25"/>
              <a:gd name="T14" fmla="*/ 23 w 26"/>
              <a:gd name="T15" fmla="*/ 25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6" h="25">
                <a:moveTo>
                  <a:pt x="23" y="25"/>
                </a:moveTo>
                <a:cubicBezTo>
                  <a:pt x="23" y="25"/>
                  <a:pt x="22" y="25"/>
                  <a:pt x="21" y="25"/>
                </a:cubicBezTo>
                <a:cubicBezTo>
                  <a:pt x="1" y="4"/>
                  <a:pt x="1" y="4"/>
                  <a:pt x="1" y="4"/>
                </a:cubicBezTo>
                <a:cubicBezTo>
                  <a:pt x="0" y="3"/>
                  <a:pt x="0" y="2"/>
                  <a:pt x="1" y="1"/>
                </a:cubicBezTo>
                <a:cubicBezTo>
                  <a:pt x="2" y="0"/>
                  <a:pt x="4" y="0"/>
                  <a:pt x="5" y="1"/>
                </a:cubicBezTo>
                <a:cubicBezTo>
                  <a:pt x="25" y="21"/>
                  <a:pt x="25" y="21"/>
                  <a:pt x="25" y="21"/>
                </a:cubicBezTo>
                <a:cubicBezTo>
                  <a:pt x="26" y="22"/>
                  <a:pt x="26" y="24"/>
                  <a:pt x="25" y="25"/>
                </a:cubicBezTo>
                <a:cubicBezTo>
                  <a:pt x="24" y="25"/>
                  <a:pt x="24" y="25"/>
                  <a:pt x="23" y="2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48" name="Freeform 1537">
            <a:extLst>
              <a:ext uri="{FF2B5EF4-FFF2-40B4-BE49-F238E27FC236}">
                <a16:creationId xmlns:a16="http://schemas.microsoft.com/office/drawing/2014/main" id="{3DC887F3-3D2D-107F-F562-1A53A7DA072F}"/>
              </a:ext>
            </a:extLst>
          </p:cNvPr>
          <p:cNvSpPr>
            <a:spLocks/>
          </p:cNvSpPr>
          <p:nvPr/>
        </p:nvSpPr>
        <p:spPr bwMode="auto">
          <a:xfrm>
            <a:off x="1202567" y="2130441"/>
            <a:ext cx="89642" cy="85830"/>
          </a:xfrm>
          <a:custGeom>
            <a:avLst/>
            <a:gdLst>
              <a:gd name="T0" fmla="*/ 24 w 27"/>
              <a:gd name="T1" fmla="*/ 26 h 26"/>
              <a:gd name="T2" fmla="*/ 22 w 27"/>
              <a:gd name="T3" fmla="*/ 26 h 26"/>
              <a:gd name="T4" fmla="*/ 1 w 27"/>
              <a:gd name="T5" fmla="*/ 4 h 26"/>
              <a:gd name="T6" fmla="*/ 1 w 27"/>
              <a:gd name="T7" fmla="*/ 1 h 26"/>
              <a:gd name="T8" fmla="*/ 5 w 27"/>
              <a:gd name="T9" fmla="*/ 1 h 26"/>
              <a:gd name="T10" fmla="*/ 26 w 27"/>
              <a:gd name="T11" fmla="*/ 22 h 26"/>
              <a:gd name="T12" fmla="*/ 26 w 27"/>
              <a:gd name="T13" fmla="*/ 26 h 26"/>
              <a:gd name="T14" fmla="*/ 24 w 27"/>
              <a:gd name="T15" fmla="*/ 26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7" h="26">
                <a:moveTo>
                  <a:pt x="24" y="26"/>
                </a:moveTo>
                <a:cubicBezTo>
                  <a:pt x="24" y="26"/>
                  <a:pt x="23" y="26"/>
                  <a:pt x="22" y="26"/>
                </a:cubicBezTo>
                <a:cubicBezTo>
                  <a:pt x="1" y="4"/>
                  <a:pt x="1" y="4"/>
                  <a:pt x="1" y="4"/>
                </a:cubicBezTo>
                <a:cubicBezTo>
                  <a:pt x="0" y="3"/>
                  <a:pt x="0" y="2"/>
                  <a:pt x="1" y="1"/>
                </a:cubicBezTo>
                <a:cubicBezTo>
                  <a:pt x="2" y="0"/>
                  <a:pt x="4" y="0"/>
                  <a:pt x="5" y="1"/>
                </a:cubicBezTo>
                <a:cubicBezTo>
                  <a:pt x="26" y="22"/>
                  <a:pt x="26" y="22"/>
                  <a:pt x="26" y="22"/>
                </a:cubicBezTo>
                <a:cubicBezTo>
                  <a:pt x="27" y="23"/>
                  <a:pt x="27" y="25"/>
                  <a:pt x="26" y="26"/>
                </a:cubicBezTo>
                <a:cubicBezTo>
                  <a:pt x="25" y="26"/>
                  <a:pt x="25" y="26"/>
                  <a:pt x="24" y="26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49" name="Freeform 1538">
            <a:extLst>
              <a:ext uri="{FF2B5EF4-FFF2-40B4-BE49-F238E27FC236}">
                <a16:creationId xmlns:a16="http://schemas.microsoft.com/office/drawing/2014/main" id="{FBA08011-EF7D-71EF-0F4C-F9955091BEEE}"/>
              </a:ext>
            </a:extLst>
          </p:cNvPr>
          <p:cNvSpPr>
            <a:spLocks/>
          </p:cNvSpPr>
          <p:nvPr/>
        </p:nvSpPr>
        <p:spPr bwMode="auto">
          <a:xfrm>
            <a:off x="1108204" y="1968059"/>
            <a:ext cx="219389" cy="215734"/>
          </a:xfrm>
          <a:custGeom>
            <a:avLst/>
            <a:gdLst>
              <a:gd name="T0" fmla="*/ 63 w 65"/>
              <a:gd name="T1" fmla="*/ 65 h 65"/>
              <a:gd name="T2" fmla="*/ 61 w 65"/>
              <a:gd name="T3" fmla="*/ 64 h 65"/>
              <a:gd name="T4" fmla="*/ 1 w 65"/>
              <a:gd name="T5" fmla="*/ 4 h 65"/>
              <a:gd name="T6" fmla="*/ 1 w 65"/>
              <a:gd name="T7" fmla="*/ 1 h 65"/>
              <a:gd name="T8" fmla="*/ 4 w 65"/>
              <a:gd name="T9" fmla="*/ 1 h 65"/>
              <a:gd name="T10" fmla="*/ 64 w 65"/>
              <a:gd name="T11" fmla="*/ 61 h 65"/>
              <a:gd name="T12" fmla="*/ 64 w 65"/>
              <a:gd name="T13" fmla="*/ 64 h 65"/>
              <a:gd name="T14" fmla="*/ 63 w 65"/>
              <a:gd name="T15" fmla="*/ 65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65" h="65">
                <a:moveTo>
                  <a:pt x="63" y="65"/>
                </a:moveTo>
                <a:cubicBezTo>
                  <a:pt x="62" y="65"/>
                  <a:pt x="61" y="65"/>
                  <a:pt x="61" y="64"/>
                </a:cubicBezTo>
                <a:cubicBezTo>
                  <a:pt x="1" y="4"/>
                  <a:pt x="1" y="4"/>
                  <a:pt x="1" y="4"/>
                </a:cubicBezTo>
                <a:cubicBezTo>
                  <a:pt x="0" y="3"/>
                  <a:pt x="0" y="2"/>
                  <a:pt x="1" y="1"/>
                </a:cubicBezTo>
                <a:cubicBezTo>
                  <a:pt x="2" y="0"/>
                  <a:pt x="3" y="0"/>
                  <a:pt x="4" y="1"/>
                </a:cubicBezTo>
                <a:cubicBezTo>
                  <a:pt x="64" y="61"/>
                  <a:pt x="64" y="61"/>
                  <a:pt x="64" y="61"/>
                </a:cubicBezTo>
                <a:cubicBezTo>
                  <a:pt x="65" y="62"/>
                  <a:pt x="65" y="63"/>
                  <a:pt x="64" y="64"/>
                </a:cubicBezTo>
                <a:cubicBezTo>
                  <a:pt x="64" y="65"/>
                  <a:pt x="63" y="65"/>
                  <a:pt x="63" y="6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50" name="Freeform 1539">
            <a:extLst>
              <a:ext uri="{FF2B5EF4-FFF2-40B4-BE49-F238E27FC236}">
                <a16:creationId xmlns:a16="http://schemas.microsoft.com/office/drawing/2014/main" id="{222A085A-651A-67C1-90EF-6CA7DB0B6028}"/>
              </a:ext>
            </a:extLst>
          </p:cNvPr>
          <p:cNvSpPr>
            <a:spLocks/>
          </p:cNvSpPr>
          <p:nvPr/>
        </p:nvSpPr>
        <p:spPr bwMode="auto">
          <a:xfrm>
            <a:off x="1252104" y="2144360"/>
            <a:ext cx="221748" cy="220371"/>
          </a:xfrm>
          <a:custGeom>
            <a:avLst/>
            <a:gdLst>
              <a:gd name="T0" fmla="*/ 34 w 66"/>
              <a:gd name="T1" fmla="*/ 67 h 67"/>
              <a:gd name="T2" fmla="*/ 12 w 66"/>
              <a:gd name="T3" fmla="*/ 57 h 67"/>
              <a:gd name="T4" fmla="*/ 7 w 66"/>
              <a:gd name="T5" fmla="*/ 19 h 67"/>
              <a:gd name="T6" fmla="*/ 10 w 66"/>
              <a:gd name="T7" fmla="*/ 18 h 67"/>
              <a:gd name="T8" fmla="*/ 11 w 66"/>
              <a:gd name="T9" fmla="*/ 21 h 67"/>
              <a:gd name="T10" fmla="*/ 16 w 66"/>
              <a:gd name="T11" fmla="*/ 54 h 67"/>
              <a:gd name="T12" fmla="*/ 34 w 66"/>
              <a:gd name="T13" fmla="*/ 62 h 67"/>
              <a:gd name="T14" fmla="*/ 53 w 66"/>
              <a:gd name="T15" fmla="*/ 54 h 67"/>
              <a:gd name="T16" fmla="*/ 61 w 66"/>
              <a:gd name="T17" fmla="*/ 35 h 67"/>
              <a:gd name="T18" fmla="*/ 53 w 66"/>
              <a:gd name="T19" fmla="*/ 16 h 67"/>
              <a:gd name="T20" fmla="*/ 21 w 66"/>
              <a:gd name="T21" fmla="*/ 12 h 67"/>
              <a:gd name="T22" fmla="*/ 18 w 66"/>
              <a:gd name="T23" fmla="*/ 11 h 67"/>
              <a:gd name="T24" fmla="*/ 18 w 66"/>
              <a:gd name="T25" fmla="*/ 7 h 67"/>
              <a:gd name="T26" fmla="*/ 57 w 66"/>
              <a:gd name="T27" fmla="*/ 12 h 67"/>
              <a:gd name="T28" fmla="*/ 66 w 66"/>
              <a:gd name="T29" fmla="*/ 35 h 67"/>
              <a:gd name="T30" fmla="*/ 57 w 66"/>
              <a:gd name="T31" fmla="*/ 57 h 67"/>
              <a:gd name="T32" fmla="*/ 34 w 66"/>
              <a:gd name="T33" fmla="*/ 67 h 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66" h="67">
                <a:moveTo>
                  <a:pt x="34" y="67"/>
                </a:moveTo>
                <a:cubicBezTo>
                  <a:pt x="26" y="67"/>
                  <a:pt x="18" y="63"/>
                  <a:pt x="12" y="57"/>
                </a:cubicBezTo>
                <a:cubicBezTo>
                  <a:pt x="2" y="47"/>
                  <a:pt x="0" y="31"/>
                  <a:pt x="7" y="19"/>
                </a:cubicBezTo>
                <a:cubicBezTo>
                  <a:pt x="8" y="18"/>
                  <a:pt x="9" y="17"/>
                  <a:pt x="10" y="18"/>
                </a:cubicBezTo>
                <a:cubicBezTo>
                  <a:pt x="12" y="19"/>
                  <a:pt x="12" y="20"/>
                  <a:pt x="11" y="21"/>
                </a:cubicBezTo>
                <a:cubicBezTo>
                  <a:pt x="5" y="32"/>
                  <a:pt x="7" y="45"/>
                  <a:pt x="16" y="54"/>
                </a:cubicBezTo>
                <a:cubicBezTo>
                  <a:pt x="21" y="59"/>
                  <a:pt x="27" y="62"/>
                  <a:pt x="34" y="62"/>
                </a:cubicBezTo>
                <a:cubicBezTo>
                  <a:pt x="42" y="62"/>
                  <a:pt x="48" y="59"/>
                  <a:pt x="53" y="54"/>
                </a:cubicBezTo>
                <a:cubicBezTo>
                  <a:pt x="59" y="49"/>
                  <a:pt x="61" y="42"/>
                  <a:pt x="61" y="35"/>
                </a:cubicBezTo>
                <a:cubicBezTo>
                  <a:pt x="61" y="28"/>
                  <a:pt x="59" y="21"/>
                  <a:pt x="53" y="16"/>
                </a:cubicBezTo>
                <a:cubicBezTo>
                  <a:pt x="45" y="7"/>
                  <a:pt x="31" y="5"/>
                  <a:pt x="21" y="12"/>
                </a:cubicBezTo>
                <a:cubicBezTo>
                  <a:pt x="20" y="12"/>
                  <a:pt x="18" y="12"/>
                  <a:pt x="18" y="11"/>
                </a:cubicBezTo>
                <a:cubicBezTo>
                  <a:pt x="17" y="10"/>
                  <a:pt x="17" y="8"/>
                  <a:pt x="18" y="7"/>
                </a:cubicBezTo>
                <a:cubicBezTo>
                  <a:pt x="31" y="0"/>
                  <a:pt x="47" y="2"/>
                  <a:pt x="57" y="12"/>
                </a:cubicBezTo>
                <a:cubicBezTo>
                  <a:pt x="63" y="18"/>
                  <a:pt x="66" y="26"/>
                  <a:pt x="66" y="35"/>
                </a:cubicBezTo>
                <a:cubicBezTo>
                  <a:pt x="66" y="43"/>
                  <a:pt x="63" y="51"/>
                  <a:pt x="57" y="57"/>
                </a:cubicBezTo>
                <a:cubicBezTo>
                  <a:pt x="51" y="63"/>
                  <a:pt x="43" y="67"/>
                  <a:pt x="34" y="6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51" name="Freeform 1540">
            <a:extLst>
              <a:ext uri="{FF2B5EF4-FFF2-40B4-BE49-F238E27FC236}">
                <a16:creationId xmlns:a16="http://schemas.microsoft.com/office/drawing/2014/main" id="{77EFF592-0B48-F443-92D0-4B7B9EAD42B7}"/>
              </a:ext>
            </a:extLst>
          </p:cNvPr>
          <p:cNvSpPr>
            <a:spLocks/>
          </p:cNvSpPr>
          <p:nvPr/>
        </p:nvSpPr>
        <p:spPr bwMode="auto">
          <a:xfrm>
            <a:off x="1178975" y="1835839"/>
            <a:ext cx="276004" cy="276046"/>
          </a:xfrm>
          <a:custGeom>
            <a:avLst/>
            <a:gdLst>
              <a:gd name="T0" fmla="*/ 2 w 82"/>
              <a:gd name="T1" fmla="*/ 83 h 83"/>
              <a:gd name="T2" fmla="*/ 1 w 82"/>
              <a:gd name="T3" fmla="*/ 82 h 83"/>
              <a:gd name="T4" fmla="*/ 1 w 82"/>
              <a:gd name="T5" fmla="*/ 78 h 83"/>
              <a:gd name="T6" fmla="*/ 78 w 82"/>
              <a:gd name="T7" fmla="*/ 1 h 83"/>
              <a:gd name="T8" fmla="*/ 81 w 82"/>
              <a:gd name="T9" fmla="*/ 1 h 83"/>
              <a:gd name="T10" fmla="*/ 81 w 82"/>
              <a:gd name="T11" fmla="*/ 5 h 83"/>
              <a:gd name="T12" fmla="*/ 4 w 82"/>
              <a:gd name="T13" fmla="*/ 82 h 83"/>
              <a:gd name="T14" fmla="*/ 2 w 82"/>
              <a:gd name="T15" fmla="*/ 83 h 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82" h="83">
                <a:moveTo>
                  <a:pt x="2" y="83"/>
                </a:moveTo>
                <a:cubicBezTo>
                  <a:pt x="2" y="83"/>
                  <a:pt x="1" y="82"/>
                  <a:pt x="1" y="82"/>
                </a:cubicBezTo>
                <a:cubicBezTo>
                  <a:pt x="0" y="81"/>
                  <a:pt x="0" y="79"/>
                  <a:pt x="1" y="78"/>
                </a:cubicBezTo>
                <a:cubicBezTo>
                  <a:pt x="78" y="1"/>
                  <a:pt x="78" y="1"/>
                  <a:pt x="78" y="1"/>
                </a:cubicBezTo>
                <a:cubicBezTo>
                  <a:pt x="79" y="0"/>
                  <a:pt x="80" y="0"/>
                  <a:pt x="81" y="1"/>
                </a:cubicBezTo>
                <a:cubicBezTo>
                  <a:pt x="82" y="2"/>
                  <a:pt x="82" y="4"/>
                  <a:pt x="81" y="5"/>
                </a:cubicBezTo>
                <a:cubicBezTo>
                  <a:pt x="4" y="82"/>
                  <a:pt x="4" y="82"/>
                  <a:pt x="4" y="82"/>
                </a:cubicBezTo>
                <a:cubicBezTo>
                  <a:pt x="4" y="82"/>
                  <a:pt x="3" y="83"/>
                  <a:pt x="2" y="83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52" name="Freeform 1541">
            <a:extLst>
              <a:ext uri="{FF2B5EF4-FFF2-40B4-BE49-F238E27FC236}">
                <a16:creationId xmlns:a16="http://schemas.microsoft.com/office/drawing/2014/main" id="{7ECAD614-992B-A56D-BD46-DDCAD8AAF3C0}"/>
              </a:ext>
            </a:extLst>
          </p:cNvPr>
          <p:cNvSpPr>
            <a:spLocks noEditPoints="1"/>
          </p:cNvSpPr>
          <p:nvPr/>
        </p:nvSpPr>
        <p:spPr bwMode="auto">
          <a:xfrm>
            <a:off x="924201" y="2097966"/>
            <a:ext cx="268926" cy="257486"/>
          </a:xfrm>
          <a:custGeom>
            <a:avLst/>
            <a:gdLst>
              <a:gd name="T0" fmla="*/ 26 w 80"/>
              <a:gd name="T1" fmla="*/ 78 h 78"/>
              <a:gd name="T2" fmla="*/ 20 w 80"/>
              <a:gd name="T3" fmla="*/ 76 h 78"/>
              <a:gd name="T4" fmla="*/ 4 w 80"/>
              <a:gd name="T5" fmla="*/ 60 h 78"/>
              <a:gd name="T6" fmla="*/ 4 w 80"/>
              <a:gd name="T7" fmla="*/ 48 h 78"/>
              <a:gd name="T8" fmla="*/ 49 w 80"/>
              <a:gd name="T9" fmla="*/ 3 h 78"/>
              <a:gd name="T10" fmla="*/ 55 w 80"/>
              <a:gd name="T11" fmla="*/ 0 h 78"/>
              <a:gd name="T12" fmla="*/ 61 w 80"/>
              <a:gd name="T13" fmla="*/ 3 h 78"/>
              <a:gd name="T14" fmla="*/ 77 w 80"/>
              <a:gd name="T15" fmla="*/ 19 h 78"/>
              <a:gd name="T16" fmla="*/ 77 w 80"/>
              <a:gd name="T17" fmla="*/ 31 h 78"/>
              <a:gd name="T18" fmla="*/ 32 w 80"/>
              <a:gd name="T19" fmla="*/ 76 h 78"/>
              <a:gd name="T20" fmla="*/ 26 w 80"/>
              <a:gd name="T21" fmla="*/ 78 h 78"/>
              <a:gd name="T22" fmla="*/ 55 w 80"/>
              <a:gd name="T23" fmla="*/ 5 h 78"/>
              <a:gd name="T24" fmla="*/ 52 w 80"/>
              <a:gd name="T25" fmla="*/ 7 h 78"/>
              <a:gd name="T26" fmla="*/ 7 w 80"/>
              <a:gd name="T27" fmla="*/ 51 h 78"/>
              <a:gd name="T28" fmla="*/ 7 w 80"/>
              <a:gd name="T29" fmla="*/ 57 h 78"/>
              <a:gd name="T30" fmla="*/ 23 w 80"/>
              <a:gd name="T31" fmla="*/ 72 h 78"/>
              <a:gd name="T32" fmla="*/ 28 w 80"/>
              <a:gd name="T33" fmla="*/ 72 h 78"/>
              <a:gd name="T34" fmla="*/ 73 w 80"/>
              <a:gd name="T35" fmla="*/ 28 h 78"/>
              <a:gd name="T36" fmla="*/ 73 w 80"/>
              <a:gd name="T37" fmla="*/ 22 h 78"/>
              <a:gd name="T38" fmla="*/ 58 w 80"/>
              <a:gd name="T39" fmla="*/ 7 h 78"/>
              <a:gd name="T40" fmla="*/ 55 w 80"/>
              <a:gd name="T41" fmla="*/ 5 h 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80" h="78">
                <a:moveTo>
                  <a:pt x="26" y="78"/>
                </a:moveTo>
                <a:cubicBezTo>
                  <a:pt x="23" y="78"/>
                  <a:pt x="21" y="77"/>
                  <a:pt x="20" y="76"/>
                </a:cubicBezTo>
                <a:cubicBezTo>
                  <a:pt x="4" y="60"/>
                  <a:pt x="4" y="60"/>
                  <a:pt x="4" y="60"/>
                </a:cubicBezTo>
                <a:cubicBezTo>
                  <a:pt x="0" y="57"/>
                  <a:pt x="0" y="51"/>
                  <a:pt x="4" y="48"/>
                </a:cubicBezTo>
                <a:cubicBezTo>
                  <a:pt x="49" y="3"/>
                  <a:pt x="49" y="3"/>
                  <a:pt x="49" y="3"/>
                </a:cubicBezTo>
                <a:cubicBezTo>
                  <a:pt x="50" y="1"/>
                  <a:pt x="52" y="0"/>
                  <a:pt x="55" y="0"/>
                </a:cubicBezTo>
                <a:cubicBezTo>
                  <a:pt x="57" y="0"/>
                  <a:pt x="59" y="1"/>
                  <a:pt x="61" y="3"/>
                </a:cubicBezTo>
                <a:cubicBezTo>
                  <a:pt x="77" y="19"/>
                  <a:pt x="77" y="19"/>
                  <a:pt x="77" y="19"/>
                </a:cubicBezTo>
                <a:cubicBezTo>
                  <a:pt x="80" y="22"/>
                  <a:pt x="80" y="28"/>
                  <a:pt x="77" y="31"/>
                </a:cubicBezTo>
                <a:cubicBezTo>
                  <a:pt x="32" y="76"/>
                  <a:pt x="32" y="76"/>
                  <a:pt x="32" y="76"/>
                </a:cubicBezTo>
                <a:cubicBezTo>
                  <a:pt x="30" y="77"/>
                  <a:pt x="28" y="78"/>
                  <a:pt x="26" y="78"/>
                </a:cubicBezTo>
                <a:close/>
                <a:moveTo>
                  <a:pt x="55" y="5"/>
                </a:moveTo>
                <a:cubicBezTo>
                  <a:pt x="54" y="5"/>
                  <a:pt x="53" y="6"/>
                  <a:pt x="52" y="7"/>
                </a:cubicBezTo>
                <a:cubicBezTo>
                  <a:pt x="7" y="51"/>
                  <a:pt x="7" y="51"/>
                  <a:pt x="7" y="51"/>
                </a:cubicBezTo>
                <a:cubicBezTo>
                  <a:pt x="6" y="53"/>
                  <a:pt x="6" y="55"/>
                  <a:pt x="7" y="57"/>
                </a:cubicBezTo>
                <a:cubicBezTo>
                  <a:pt x="23" y="72"/>
                  <a:pt x="23" y="72"/>
                  <a:pt x="23" y="72"/>
                </a:cubicBezTo>
                <a:cubicBezTo>
                  <a:pt x="24" y="74"/>
                  <a:pt x="27" y="74"/>
                  <a:pt x="28" y="72"/>
                </a:cubicBezTo>
                <a:cubicBezTo>
                  <a:pt x="73" y="28"/>
                  <a:pt x="73" y="28"/>
                  <a:pt x="73" y="28"/>
                </a:cubicBezTo>
                <a:cubicBezTo>
                  <a:pt x="75" y="26"/>
                  <a:pt x="75" y="24"/>
                  <a:pt x="73" y="22"/>
                </a:cubicBezTo>
                <a:cubicBezTo>
                  <a:pt x="58" y="7"/>
                  <a:pt x="58" y="7"/>
                  <a:pt x="58" y="7"/>
                </a:cubicBezTo>
                <a:cubicBezTo>
                  <a:pt x="57" y="6"/>
                  <a:pt x="56" y="5"/>
                  <a:pt x="55" y="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53" name="Freeform 1542">
            <a:extLst>
              <a:ext uri="{FF2B5EF4-FFF2-40B4-BE49-F238E27FC236}">
                <a16:creationId xmlns:a16="http://schemas.microsoft.com/office/drawing/2014/main" id="{CD738547-F804-772C-D2DA-4DF0349F310E}"/>
              </a:ext>
            </a:extLst>
          </p:cNvPr>
          <p:cNvSpPr>
            <a:spLocks noEditPoints="1"/>
          </p:cNvSpPr>
          <p:nvPr/>
        </p:nvSpPr>
        <p:spPr bwMode="auto">
          <a:xfrm>
            <a:off x="1115280" y="2067808"/>
            <a:ext cx="108516" cy="102068"/>
          </a:xfrm>
          <a:custGeom>
            <a:avLst/>
            <a:gdLst>
              <a:gd name="T0" fmla="*/ 19 w 32"/>
              <a:gd name="T1" fmla="*/ 31 h 31"/>
              <a:gd name="T2" fmla="*/ 14 w 32"/>
              <a:gd name="T3" fmla="*/ 29 h 31"/>
              <a:gd name="T4" fmla="*/ 2 w 32"/>
              <a:gd name="T5" fmla="*/ 17 h 31"/>
              <a:gd name="T6" fmla="*/ 0 w 32"/>
              <a:gd name="T7" fmla="*/ 12 h 31"/>
              <a:gd name="T8" fmla="*/ 2 w 32"/>
              <a:gd name="T9" fmla="*/ 7 h 31"/>
              <a:gd name="T10" fmla="*/ 7 w 32"/>
              <a:gd name="T11" fmla="*/ 3 h 31"/>
              <a:gd name="T12" fmla="*/ 12 w 32"/>
              <a:gd name="T13" fmla="*/ 0 h 31"/>
              <a:gd name="T14" fmla="*/ 17 w 32"/>
              <a:gd name="T15" fmla="*/ 3 h 31"/>
              <a:gd name="T16" fmla="*/ 29 w 32"/>
              <a:gd name="T17" fmla="*/ 14 h 31"/>
              <a:gd name="T18" fmla="*/ 29 w 32"/>
              <a:gd name="T19" fmla="*/ 24 h 31"/>
              <a:gd name="T20" fmla="*/ 24 w 32"/>
              <a:gd name="T21" fmla="*/ 29 h 31"/>
              <a:gd name="T22" fmla="*/ 19 w 32"/>
              <a:gd name="T23" fmla="*/ 31 h 31"/>
              <a:gd name="T24" fmla="*/ 12 w 32"/>
              <a:gd name="T25" fmla="*/ 5 h 31"/>
              <a:gd name="T26" fmla="*/ 11 w 32"/>
              <a:gd name="T27" fmla="*/ 6 h 31"/>
              <a:gd name="T28" fmla="*/ 6 w 32"/>
              <a:gd name="T29" fmla="*/ 11 h 31"/>
              <a:gd name="T30" fmla="*/ 5 w 32"/>
              <a:gd name="T31" fmla="*/ 12 h 31"/>
              <a:gd name="T32" fmla="*/ 6 w 32"/>
              <a:gd name="T33" fmla="*/ 14 h 31"/>
              <a:gd name="T34" fmla="*/ 18 w 32"/>
              <a:gd name="T35" fmla="*/ 26 h 31"/>
              <a:gd name="T36" fmla="*/ 21 w 32"/>
              <a:gd name="T37" fmla="*/ 26 h 31"/>
              <a:gd name="T38" fmla="*/ 24 w 32"/>
              <a:gd name="T39" fmla="*/ 23 h 31"/>
              <a:gd name="T40" fmla="*/ 24 w 32"/>
              <a:gd name="T41" fmla="*/ 23 h 31"/>
              <a:gd name="T42" fmla="*/ 26 w 32"/>
              <a:gd name="T43" fmla="*/ 21 h 31"/>
              <a:gd name="T44" fmla="*/ 26 w 32"/>
              <a:gd name="T45" fmla="*/ 18 h 31"/>
              <a:gd name="T46" fmla="*/ 14 w 32"/>
              <a:gd name="T47" fmla="*/ 6 h 31"/>
              <a:gd name="T48" fmla="*/ 12 w 32"/>
              <a:gd name="T49" fmla="*/ 5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32" h="31">
                <a:moveTo>
                  <a:pt x="19" y="31"/>
                </a:moveTo>
                <a:cubicBezTo>
                  <a:pt x="17" y="31"/>
                  <a:pt x="16" y="31"/>
                  <a:pt x="14" y="29"/>
                </a:cubicBezTo>
                <a:cubicBezTo>
                  <a:pt x="2" y="17"/>
                  <a:pt x="2" y="17"/>
                  <a:pt x="2" y="17"/>
                </a:cubicBezTo>
                <a:cubicBezTo>
                  <a:pt x="1" y="16"/>
                  <a:pt x="0" y="14"/>
                  <a:pt x="0" y="12"/>
                </a:cubicBezTo>
                <a:cubicBezTo>
                  <a:pt x="0" y="10"/>
                  <a:pt x="1" y="9"/>
                  <a:pt x="2" y="7"/>
                </a:cubicBezTo>
                <a:cubicBezTo>
                  <a:pt x="7" y="3"/>
                  <a:pt x="7" y="3"/>
                  <a:pt x="7" y="3"/>
                </a:cubicBezTo>
                <a:cubicBezTo>
                  <a:pt x="8" y="1"/>
                  <a:pt x="10" y="0"/>
                  <a:pt x="12" y="0"/>
                </a:cubicBezTo>
                <a:cubicBezTo>
                  <a:pt x="14" y="0"/>
                  <a:pt x="16" y="1"/>
                  <a:pt x="17" y="3"/>
                </a:cubicBezTo>
                <a:cubicBezTo>
                  <a:pt x="29" y="14"/>
                  <a:pt x="29" y="14"/>
                  <a:pt x="29" y="14"/>
                </a:cubicBezTo>
                <a:cubicBezTo>
                  <a:pt x="32" y="17"/>
                  <a:pt x="32" y="22"/>
                  <a:pt x="29" y="24"/>
                </a:cubicBezTo>
                <a:cubicBezTo>
                  <a:pt x="24" y="29"/>
                  <a:pt x="24" y="29"/>
                  <a:pt x="24" y="29"/>
                </a:cubicBezTo>
                <a:cubicBezTo>
                  <a:pt x="23" y="31"/>
                  <a:pt x="21" y="31"/>
                  <a:pt x="19" y="31"/>
                </a:cubicBezTo>
                <a:close/>
                <a:moveTo>
                  <a:pt x="12" y="5"/>
                </a:moveTo>
                <a:cubicBezTo>
                  <a:pt x="12" y="5"/>
                  <a:pt x="11" y="6"/>
                  <a:pt x="11" y="6"/>
                </a:cubicBezTo>
                <a:cubicBezTo>
                  <a:pt x="6" y="11"/>
                  <a:pt x="6" y="11"/>
                  <a:pt x="6" y="11"/>
                </a:cubicBezTo>
                <a:cubicBezTo>
                  <a:pt x="5" y="11"/>
                  <a:pt x="5" y="12"/>
                  <a:pt x="5" y="12"/>
                </a:cubicBezTo>
                <a:cubicBezTo>
                  <a:pt x="5" y="13"/>
                  <a:pt x="5" y="13"/>
                  <a:pt x="6" y="14"/>
                </a:cubicBezTo>
                <a:cubicBezTo>
                  <a:pt x="18" y="26"/>
                  <a:pt x="18" y="26"/>
                  <a:pt x="18" y="26"/>
                </a:cubicBezTo>
                <a:cubicBezTo>
                  <a:pt x="19" y="27"/>
                  <a:pt x="20" y="27"/>
                  <a:pt x="21" y="26"/>
                </a:cubicBezTo>
                <a:cubicBezTo>
                  <a:pt x="24" y="23"/>
                  <a:pt x="24" y="23"/>
                  <a:pt x="24" y="23"/>
                </a:cubicBezTo>
                <a:cubicBezTo>
                  <a:pt x="24" y="23"/>
                  <a:pt x="24" y="23"/>
                  <a:pt x="24" y="23"/>
                </a:cubicBezTo>
                <a:cubicBezTo>
                  <a:pt x="26" y="21"/>
                  <a:pt x="26" y="21"/>
                  <a:pt x="26" y="21"/>
                </a:cubicBezTo>
                <a:cubicBezTo>
                  <a:pt x="27" y="20"/>
                  <a:pt x="27" y="19"/>
                  <a:pt x="26" y="18"/>
                </a:cubicBezTo>
                <a:cubicBezTo>
                  <a:pt x="14" y="6"/>
                  <a:pt x="14" y="6"/>
                  <a:pt x="14" y="6"/>
                </a:cubicBezTo>
                <a:cubicBezTo>
                  <a:pt x="13" y="6"/>
                  <a:pt x="13" y="5"/>
                  <a:pt x="12" y="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54" name="Freeform 1543">
            <a:extLst>
              <a:ext uri="{FF2B5EF4-FFF2-40B4-BE49-F238E27FC236}">
                <a16:creationId xmlns:a16="http://schemas.microsoft.com/office/drawing/2014/main" id="{84369332-D4E2-7C08-DEA2-CCE645F9F7D6}"/>
              </a:ext>
            </a:extLst>
          </p:cNvPr>
          <p:cNvSpPr>
            <a:spLocks/>
          </p:cNvSpPr>
          <p:nvPr/>
        </p:nvSpPr>
        <p:spPr bwMode="auto">
          <a:xfrm>
            <a:off x="1410157" y="1835838"/>
            <a:ext cx="47179" cy="46393"/>
          </a:xfrm>
          <a:custGeom>
            <a:avLst/>
            <a:gdLst>
              <a:gd name="T0" fmla="*/ 4 w 14"/>
              <a:gd name="T1" fmla="*/ 14 h 14"/>
              <a:gd name="T2" fmla="*/ 1 w 14"/>
              <a:gd name="T3" fmla="*/ 13 h 14"/>
              <a:gd name="T4" fmla="*/ 1 w 14"/>
              <a:gd name="T5" fmla="*/ 13 h 14"/>
              <a:gd name="T6" fmla="*/ 1 w 14"/>
              <a:gd name="T7" fmla="*/ 8 h 14"/>
              <a:gd name="T8" fmla="*/ 8 w 14"/>
              <a:gd name="T9" fmla="*/ 1 h 14"/>
              <a:gd name="T10" fmla="*/ 13 w 14"/>
              <a:gd name="T11" fmla="*/ 1 h 14"/>
              <a:gd name="T12" fmla="*/ 14 w 14"/>
              <a:gd name="T13" fmla="*/ 3 h 14"/>
              <a:gd name="T14" fmla="*/ 13 w 14"/>
              <a:gd name="T15" fmla="*/ 6 h 14"/>
              <a:gd name="T16" fmla="*/ 6 w 14"/>
              <a:gd name="T17" fmla="*/ 13 h 14"/>
              <a:gd name="T18" fmla="*/ 4 w 14"/>
              <a:gd name="T19" fmla="*/ 14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4" h="14">
                <a:moveTo>
                  <a:pt x="4" y="14"/>
                </a:moveTo>
                <a:cubicBezTo>
                  <a:pt x="3" y="14"/>
                  <a:pt x="2" y="13"/>
                  <a:pt x="1" y="13"/>
                </a:cubicBezTo>
                <a:cubicBezTo>
                  <a:pt x="1" y="13"/>
                  <a:pt x="1" y="13"/>
                  <a:pt x="1" y="13"/>
                </a:cubicBezTo>
                <a:cubicBezTo>
                  <a:pt x="0" y="11"/>
                  <a:pt x="0" y="9"/>
                  <a:pt x="1" y="8"/>
                </a:cubicBezTo>
                <a:cubicBezTo>
                  <a:pt x="8" y="1"/>
                  <a:pt x="8" y="1"/>
                  <a:pt x="8" y="1"/>
                </a:cubicBezTo>
                <a:cubicBezTo>
                  <a:pt x="9" y="0"/>
                  <a:pt x="11" y="0"/>
                  <a:pt x="13" y="1"/>
                </a:cubicBezTo>
                <a:cubicBezTo>
                  <a:pt x="13" y="2"/>
                  <a:pt x="14" y="3"/>
                  <a:pt x="14" y="3"/>
                </a:cubicBezTo>
                <a:cubicBezTo>
                  <a:pt x="14" y="4"/>
                  <a:pt x="13" y="5"/>
                  <a:pt x="13" y="6"/>
                </a:cubicBezTo>
                <a:cubicBezTo>
                  <a:pt x="6" y="13"/>
                  <a:pt x="6" y="13"/>
                  <a:pt x="6" y="13"/>
                </a:cubicBezTo>
                <a:cubicBezTo>
                  <a:pt x="5" y="13"/>
                  <a:pt x="4" y="14"/>
                  <a:pt x="4" y="1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56" name="Freeform 44">
            <a:extLst>
              <a:ext uri="{FF2B5EF4-FFF2-40B4-BE49-F238E27FC236}">
                <a16:creationId xmlns:a16="http://schemas.microsoft.com/office/drawing/2014/main" id="{D3D6147C-12F0-898A-154C-2ED73E0AF265}"/>
              </a:ext>
            </a:extLst>
          </p:cNvPr>
          <p:cNvSpPr>
            <a:spLocks noEditPoints="1"/>
          </p:cNvSpPr>
          <p:nvPr/>
        </p:nvSpPr>
        <p:spPr bwMode="auto">
          <a:xfrm>
            <a:off x="6834947" y="4005950"/>
            <a:ext cx="236266" cy="236269"/>
          </a:xfrm>
          <a:custGeom>
            <a:avLst/>
            <a:gdLst>
              <a:gd name="T0" fmla="*/ 114 w 228"/>
              <a:gd name="T1" fmla="*/ 228 h 228"/>
              <a:gd name="T2" fmla="*/ 0 w 228"/>
              <a:gd name="T3" fmla="*/ 114 h 228"/>
              <a:gd name="T4" fmla="*/ 114 w 228"/>
              <a:gd name="T5" fmla="*/ 0 h 228"/>
              <a:gd name="T6" fmla="*/ 228 w 228"/>
              <a:gd name="T7" fmla="*/ 114 h 228"/>
              <a:gd name="T8" fmla="*/ 114 w 228"/>
              <a:gd name="T9" fmla="*/ 228 h 228"/>
              <a:gd name="T10" fmla="*/ 114 w 228"/>
              <a:gd name="T11" fmla="*/ 12 h 228"/>
              <a:gd name="T12" fmla="*/ 12 w 228"/>
              <a:gd name="T13" fmla="*/ 114 h 228"/>
              <a:gd name="T14" fmla="*/ 114 w 228"/>
              <a:gd name="T15" fmla="*/ 216 h 228"/>
              <a:gd name="T16" fmla="*/ 216 w 228"/>
              <a:gd name="T17" fmla="*/ 114 h 228"/>
              <a:gd name="T18" fmla="*/ 114 w 228"/>
              <a:gd name="T19" fmla="*/ 12 h 2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28" h="228">
                <a:moveTo>
                  <a:pt x="114" y="228"/>
                </a:moveTo>
                <a:cubicBezTo>
                  <a:pt x="51" y="228"/>
                  <a:pt x="0" y="177"/>
                  <a:pt x="0" y="114"/>
                </a:cubicBezTo>
                <a:cubicBezTo>
                  <a:pt x="0" y="51"/>
                  <a:pt x="51" y="0"/>
                  <a:pt x="114" y="0"/>
                </a:cubicBezTo>
                <a:cubicBezTo>
                  <a:pt x="177" y="0"/>
                  <a:pt x="228" y="51"/>
                  <a:pt x="228" y="114"/>
                </a:cubicBezTo>
                <a:cubicBezTo>
                  <a:pt x="228" y="177"/>
                  <a:pt x="177" y="228"/>
                  <a:pt x="114" y="228"/>
                </a:cubicBezTo>
                <a:close/>
                <a:moveTo>
                  <a:pt x="114" y="12"/>
                </a:moveTo>
                <a:cubicBezTo>
                  <a:pt x="58" y="12"/>
                  <a:pt x="12" y="58"/>
                  <a:pt x="12" y="114"/>
                </a:cubicBezTo>
                <a:cubicBezTo>
                  <a:pt x="12" y="170"/>
                  <a:pt x="58" y="216"/>
                  <a:pt x="114" y="216"/>
                </a:cubicBezTo>
                <a:cubicBezTo>
                  <a:pt x="170" y="216"/>
                  <a:pt x="216" y="170"/>
                  <a:pt x="216" y="114"/>
                </a:cubicBezTo>
                <a:cubicBezTo>
                  <a:pt x="216" y="58"/>
                  <a:pt x="170" y="12"/>
                  <a:pt x="114" y="1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57" name="Freeform 45">
            <a:extLst>
              <a:ext uri="{FF2B5EF4-FFF2-40B4-BE49-F238E27FC236}">
                <a16:creationId xmlns:a16="http://schemas.microsoft.com/office/drawing/2014/main" id="{2364B643-5FCB-5CC3-E91F-4FFA088917A2}"/>
              </a:ext>
            </a:extLst>
          </p:cNvPr>
          <p:cNvSpPr>
            <a:spLocks noEditPoints="1"/>
          </p:cNvSpPr>
          <p:nvPr/>
        </p:nvSpPr>
        <p:spPr bwMode="auto">
          <a:xfrm>
            <a:off x="6729941" y="3900943"/>
            <a:ext cx="450025" cy="446279"/>
          </a:xfrm>
          <a:custGeom>
            <a:avLst/>
            <a:gdLst>
              <a:gd name="T0" fmla="*/ 204 w 432"/>
              <a:gd name="T1" fmla="*/ 432 h 432"/>
              <a:gd name="T2" fmla="*/ 172 w 432"/>
              <a:gd name="T3" fmla="*/ 379 h 432"/>
              <a:gd name="T4" fmla="*/ 116 w 432"/>
              <a:gd name="T5" fmla="*/ 378 h 432"/>
              <a:gd name="T6" fmla="*/ 54 w 432"/>
              <a:gd name="T7" fmla="*/ 360 h 432"/>
              <a:gd name="T8" fmla="*/ 54 w 432"/>
              <a:gd name="T9" fmla="*/ 316 h 432"/>
              <a:gd name="T10" fmla="*/ 53 w 432"/>
              <a:gd name="T11" fmla="*/ 260 h 432"/>
              <a:gd name="T12" fmla="*/ 0 w 432"/>
              <a:gd name="T13" fmla="*/ 228 h 432"/>
              <a:gd name="T14" fmla="*/ 31 w 432"/>
              <a:gd name="T15" fmla="*/ 172 h 432"/>
              <a:gd name="T16" fmla="*/ 70 w 432"/>
              <a:gd name="T17" fmla="*/ 132 h 432"/>
              <a:gd name="T18" fmla="*/ 45 w 432"/>
              <a:gd name="T19" fmla="*/ 94 h 432"/>
              <a:gd name="T20" fmla="*/ 72 w 432"/>
              <a:gd name="T21" fmla="*/ 54 h 432"/>
              <a:gd name="T22" fmla="*/ 132 w 432"/>
              <a:gd name="T23" fmla="*/ 70 h 432"/>
              <a:gd name="T24" fmla="*/ 172 w 432"/>
              <a:gd name="T25" fmla="*/ 31 h 432"/>
              <a:gd name="T26" fmla="*/ 229 w 432"/>
              <a:gd name="T27" fmla="*/ 0 h 432"/>
              <a:gd name="T28" fmla="*/ 260 w 432"/>
              <a:gd name="T29" fmla="*/ 53 h 432"/>
              <a:gd name="T30" fmla="*/ 316 w 432"/>
              <a:gd name="T31" fmla="*/ 54 h 432"/>
              <a:gd name="T32" fmla="*/ 378 w 432"/>
              <a:gd name="T33" fmla="*/ 72 h 432"/>
              <a:gd name="T34" fmla="*/ 378 w 432"/>
              <a:gd name="T35" fmla="*/ 116 h 432"/>
              <a:gd name="T36" fmla="*/ 379 w 432"/>
              <a:gd name="T37" fmla="*/ 172 h 432"/>
              <a:gd name="T38" fmla="*/ 432 w 432"/>
              <a:gd name="T39" fmla="*/ 203 h 432"/>
              <a:gd name="T40" fmla="*/ 401 w 432"/>
              <a:gd name="T41" fmla="*/ 260 h 432"/>
              <a:gd name="T42" fmla="*/ 362 w 432"/>
              <a:gd name="T43" fmla="*/ 300 h 432"/>
              <a:gd name="T44" fmla="*/ 387 w 432"/>
              <a:gd name="T45" fmla="*/ 338 h 432"/>
              <a:gd name="T46" fmla="*/ 360 w 432"/>
              <a:gd name="T47" fmla="*/ 378 h 432"/>
              <a:gd name="T48" fmla="*/ 300 w 432"/>
              <a:gd name="T49" fmla="*/ 362 h 432"/>
              <a:gd name="T50" fmla="*/ 260 w 432"/>
              <a:gd name="T51" fmla="*/ 401 h 432"/>
              <a:gd name="T52" fmla="*/ 131 w 432"/>
              <a:gd name="T53" fmla="*/ 348 h 432"/>
              <a:gd name="T54" fmla="*/ 180 w 432"/>
              <a:gd name="T55" fmla="*/ 368 h 432"/>
              <a:gd name="T56" fmla="*/ 185 w 432"/>
              <a:gd name="T57" fmla="*/ 401 h 432"/>
              <a:gd name="T58" fmla="*/ 229 w 432"/>
              <a:gd name="T59" fmla="*/ 420 h 432"/>
              <a:gd name="T60" fmla="*/ 248 w 432"/>
              <a:gd name="T61" fmla="*/ 374 h 432"/>
              <a:gd name="T62" fmla="*/ 298 w 432"/>
              <a:gd name="T63" fmla="*/ 349 h 432"/>
              <a:gd name="T64" fmla="*/ 325 w 432"/>
              <a:gd name="T65" fmla="*/ 369 h 432"/>
              <a:gd name="T66" fmla="*/ 369 w 432"/>
              <a:gd name="T67" fmla="*/ 351 h 432"/>
              <a:gd name="T68" fmla="*/ 351 w 432"/>
              <a:gd name="T69" fmla="*/ 306 h 432"/>
              <a:gd name="T70" fmla="*/ 349 w 432"/>
              <a:gd name="T71" fmla="*/ 298 h 432"/>
              <a:gd name="T72" fmla="*/ 374 w 432"/>
              <a:gd name="T73" fmla="*/ 247 h 432"/>
              <a:gd name="T74" fmla="*/ 420 w 432"/>
              <a:gd name="T75" fmla="*/ 228 h 432"/>
              <a:gd name="T76" fmla="*/ 401 w 432"/>
              <a:gd name="T77" fmla="*/ 184 h 432"/>
              <a:gd name="T78" fmla="*/ 368 w 432"/>
              <a:gd name="T79" fmla="*/ 180 h 432"/>
              <a:gd name="T80" fmla="*/ 350 w 432"/>
              <a:gd name="T81" fmla="*/ 126 h 432"/>
              <a:gd name="T82" fmla="*/ 369 w 432"/>
              <a:gd name="T83" fmla="*/ 80 h 432"/>
              <a:gd name="T84" fmla="*/ 325 w 432"/>
              <a:gd name="T85" fmla="*/ 63 h 432"/>
              <a:gd name="T86" fmla="*/ 298 w 432"/>
              <a:gd name="T87" fmla="*/ 83 h 432"/>
              <a:gd name="T88" fmla="*/ 248 w 432"/>
              <a:gd name="T89" fmla="*/ 58 h 432"/>
              <a:gd name="T90" fmla="*/ 229 w 432"/>
              <a:gd name="T91" fmla="*/ 12 h 432"/>
              <a:gd name="T92" fmla="*/ 185 w 432"/>
              <a:gd name="T93" fmla="*/ 31 h 432"/>
              <a:gd name="T94" fmla="*/ 180 w 432"/>
              <a:gd name="T95" fmla="*/ 64 h 432"/>
              <a:gd name="T96" fmla="*/ 127 w 432"/>
              <a:gd name="T97" fmla="*/ 82 h 432"/>
              <a:gd name="T98" fmla="*/ 81 w 432"/>
              <a:gd name="T99" fmla="*/ 63 h 432"/>
              <a:gd name="T100" fmla="*/ 57 w 432"/>
              <a:gd name="T101" fmla="*/ 94 h 432"/>
              <a:gd name="T102" fmla="*/ 82 w 432"/>
              <a:gd name="T103" fmla="*/ 126 h 432"/>
              <a:gd name="T104" fmla="*/ 64 w 432"/>
              <a:gd name="T105" fmla="*/ 180 h 432"/>
              <a:gd name="T106" fmla="*/ 31 w 432"/>
              <a:gd name="T107" fmla="*/ 184 h 432"/>
              <a:gd name="T108" fmla="*/ 12 w 432"/>
              <a:gd name="T109" fmla="*/ 228 h 432"/>
              <a:gd name="T110" fmla="*/ 58 w 432"/>
              <a:gd name="T111" fmla="*/ 247 h 432"/>
              <a:gd name="T112" fmla="*/ 83 w 432"/>
              <a:gd name="T113" fmla="*/ 298 h 432"/>
              <a:gd name="T114" fmla="*/ 82 w 432"/>
              <a:gd name="T115" fmla="*/ 306 h 432"/>
              <a:gd name="T116" fmla="*/ 57 w 432"/>
              <a:gd name="T117" fmla="*/ 338 h 432"/>
              <a:gd name="T118" fmla="*/ 81 w 432"/>
              <a:gd name="T119" fmla="*/ 369 h 432"/>
              <a:gd name="T120" fmla="*/ 126 w 432"/>
              <a:gd name="T121" fmla="*/ 350 h 4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432" h="432">
                <a:moveTo>
                  <a:pt x="229" y="432"/>
                </a:moveTo>
                <a:cubicBezTo>
                  <a:pt x="204" y="432"/>
                  <a:pt x="204" y="432"/>
                  <a:pt x="204" y="432"/>
                </a:cubicBezTo>
                <a:cubicBezTo>
                  <a:pt x="186" y="432"/>
                  <a:pt x="172" y="418"/>
                  <a:pt x="172" y="401"/>
                </a:cubicBezTo>
                <a:cubicBezTo>
                  <a:pt x="172" y="379"/>
                  <a:pt x="172" y="379"/>
                  <a:pt x="172" y="379"/>
                </a:cubicBezTo>
                <a:cubicBezTo>
                  <a:pt x="158" y="375"/>
                  <a:pt x="145" y="369"/>
                  <a:pt x="132" y="362"/>
                </a:cubicBezTo>
                <a:cubicBezTo>
                  <a:pt x="116" y="378"/>
                  <a:pt x="116" y="378"/>
                  <a:pt x="116" y="378"/>
                </a:cubicBezTo>
                <a:cubicBezTo>
                  <a:pt x="104" y="390"/>
                  <a:pt x="84" y="390"/>
                  <a:pt x="72" y="378"/>
                </a:cubicBezTo>
                <a:cubicBezTo>
                  <a:pt x="54" y="360"/>
                  <a:pt x="54" y="360"/>
                  <a:pt x="54" y="360"/>
                </a:cubicBezTo>
                <a:cubicBezTo>
                  <a:pt x="48" y="354"/>
                  <a:pt x="45" y="346"/>
                  <a:pt x="45" y="338"/>
                </a:cubicBezTo>
                <a:cubicBezTo>
                  <a:pt x="45" y="329"/>
                  <a:pt x="48" y="322"/>
                  <a:pt x="54" y="316"/>
                </a:cubicBezTo>
                <a:cubicBezTo>
                  <a:pt x="70" y="300"/>
                  <a:pt x="70" y="300"/>
                  <a:pt x="70" y="300"/>
                </a:cubicBezTo>
                <a:cubicBezTo>
                  <a:pt x="63" y="287"/>
                  <a:pt x="57" y="274"/>
                  <a:pt x="53" y="260"/>
                </a:cubicBezTo>
                <a:cubicBezTo>
                  <a:pt x="31" y="260"/>
                  <a:pt x="31" y="260"/>
                  <a:pt x="31" y="260"/>
                </a:cubicBezTo>
                <a:cubicBezTo>
                  <a:pt x="14" y="260"/>
                  <a:pt x="0" y="246"/>
                  <a:pt x="0" y="228"/>
                </a:cubicBezTo>
                <a:cubicBezTo>
                  <a:pt x="0" y="203"/>
                  <a:pt x="0" y="203"/>
                  <a:pt x="0" y="203"/>
                </a:cubicBezTo>
                <a:cubicBezTo>
                  <a:pt x="0" y="186"/>
                  <a:pt x="14" y="172"/>
                  <a:pt x="31" y="172"/>
                </a:cubicBezTo>
                <a:cubicBezTo>
                  <a:pt x="53" y="172"/>
                  <a:pt x="53" y="172"/>
                  <a:pt x="53" y="172"/>
                </a:cubicBezTo>
                <a:cubicBezTo>
                  <a:pt x="57" y="158"/>
                  <a:pt x="63" y="144"/>
                  <a:pt x="70" y="132"/>
                </a:cubicBezTo>
                <a:cubicBezTo>
                  <a:pt x="54" y="116"/>
                  <a:pt x="54" y="116"/>
                  <a:pt x="54" y="116"/>
                </a:cubicBezTo>
                <a:cubicBezTo>
                  <a:pt x="48" y="110"/>
                  <a:pt x="45" y="102"/>
                  <a:pt x="45" y="94"/>
                </a:cubicBezTo>
                <a:cubicBezTo>
                  <a:pt x="45" y="85"/>
                  <a:pt x="48" y="78"/>
                  <a:pt x="54" y="72"/>
                </a:cubicBezTo>
                <a:cubicBezTo>
                  <a:pt x="72" y="54"/>
                  <a:pt x="72" y="54"/>
                  <a:pt x="72" y="54"/>
                </a:cubicBezTo>
                <a:cubicBezTo>
                  <a:pt x="84" y="42"/>
                  <a:pt x="104" y="42"/>
                  <a:pt x="116" y="54"/>
                </a:cubicBezTo>
                <a:cubicBezTo>
                  <a:pt x="132" y="70"/>
                  <a:pt x="132" y="70"/>
                  <a:pt x="132" y="70"/>
                </a:cubicBezTo>
                <a:cubicBezTo>
                  <a:pt x="145" y="62"/>
                  <a:pt x="158" y="57"/>
                  <a:pt x="172" y="53"/>
                </a:cubicBezTo>
                <a:cubicBezTo>
                  <a:pt x="172" y="31"/>
                  <a:pt x="172" y="31"/>
                  <a:pt x="172" y="31"/>
                </a:cubicBezTo>
                <a:cubicBezTo>
                  <a:pt x="172" y="14"/>
                  <a:pt x="186" y="0"/>
                  <a:pt x="204" y="0"/>
                </a:cubicBezTo>
                <a:cubicBezTo>
                  <a:pt x="229" y="0"/>
                  <a:pt x="229" y="0"/>
                  <a:pt x="229" y="0"/>
                </a:cubicBezTo>
                <a:cubicBezTo>
                  <a:pt x="246" y="0"/>
                  <a:pt x="260" y="14"/>
                  <a:pt x="260" y="31"/>
                </a:cubicBezTo>
                <a:cubicBezTo>
                  <a:pt x="260" y="53"/>
                  <a:pt x="260" y="53"/>
                  <a:pt x="260" y="53"/>
                </a:cubicBezTo>
                <a:cubicBezTo>
                  <a:pt x="274" y="57"/>
                  <a:pt x="288" y="62"/>
                  <a:pt x="300" y="70"/>
                </a:cubicBezTo>
                <a:cubicBezTo>
                  <a:pt x="316" y="54"/>
                  <a:pt x="316" y="54"/>
                  <a:pt x="316" y="54"/>
                </a:cubicBezTo>
                <a:cubicBezTo>
                  <a:pt x="328" y="42"/>
                  <a:pt x="348" y="42"/>
                  <a:pt x="360" y="54"/>
                </a:cubicBezTo>
                <a:cubicBezTo>
                  <a:pt x="378" y="72"/>
                  <a:pt x="378" y="72"/>
                  <a:pt x="378" y="72"/>
                </a:cubicBezTo>
                <a:cubicBezTo>
                  <a:pt x="384" y="78"/>
                  <a:pt x="387" y="85"/>
                  <a:pt x="387" y="94"/>
                </a:cubicBezTo>
                <a:cubicBezTo>
                  <a:pt x="387" y="102"/>
                  <a:pt x="384" y="110"/>
                  <a:pt x="378" y="116"/>
                </a:cubicBezTo>
                <a:cubicBezTo>
                  <a:pt x="362" y="132"/>
                  <a:pt x="362" y="132"/>
                  <a:pt x="362" y="132"/>
                </a:cubicBezTo>
                <a:cubicBezTo>
                  <a:pt x="370" y="144"/>
                  <a:pt x="375" y="158"/>
                  <a:pt x="379" y="172"/>
                </a:cubicBezTo>
                <a:cubicBezTo>
                  <a:pt x="401" y="172"/>
                  <a:pt x="401" y="172"/>
                  <a:pt x="401" y="172"/>
                </a:cubicBezTo>
                <a:cubicBezTo>
                  <a:pt x="418" y="172"/>
                  <a:pt x="432" y="186"/>
                  <a:pt x="432" y="203"/>
                </a:cubicBezTo>
                <a:cubicBezTo>
                  <a:pt x="432" y="228"/>
                  <a:pt x="432" y="228"/>
                  <a:pt x="432" y="228"/>
                </a:cubicBezTo>
                <a:cubicBezTo>
                  <a:pt x="432" y="246"/>
                  <a:pt x="418" y="260"/>
                  <a:pt x="401" y="260"/>
                </a:cubicBezTo>
                <a:cubicBezTo>
                  <a:pt x="379" y="260"/>
                  <a:pt x="379" y="260"/>
                  <a:pt x="379" y="260"/>
                </a:cubicBezTo>
                <a:cubicBezTo>
                  <a:pt x="375" y="274"/>
                  <a:pt x="370" y="287"/>
                  <a:pt x="362" y="300"/>
                </a:cubicBezTo>
                <a:cubicBezTo>
                  <a:pt x="378" y="316"/>
                  <a:pt x="378" y="316"/>
                  <a:pt x="378" y="316"/>
                </a:cubicBezTo>
                <a:cubicBezTo>
                  <a:pt x="384" y="322"/>
                  <a:pt x="387" y="329"/>
                  <a:pt x="387" y="338"/>
                </a:cubicBezTo>
                <a:cubicBezTo>
                  <a:pt x="387" y="346"/>
                  <a:pt x="384" y="354"/>
                  <a:pt x="378" y="360"/>
                </a:cubicBezTo>
                <a:cubicBezTo>
                  <a:pt x="360" y="378"/>
                  <a:pt x="360" y="378"/>
                  <a:pt x="360" y="378"/>
                </a:cubicBezTo>
                <a:cubicBezTo>
                  <a:pt x="348" y="390"/>
                  <a:pt x="328" y="390"/>
                  <a:pt x="316" y="378"/>
                </a:cubicBezTo>
                <a:cubicBezTo>
                  <a:pt x="300" y="362"/>
                  <a:pt x="300" y="362"/>
                  <a:pt x="300" y="362"/>
                </a:cubicBezTo>
                <a:cubicBezTo>
                  <a:pt x="288" y="369"/>
                  <a:pt x="274" y="375"/>
                  <a:pt x="260" y="379"/>
                </a:cubicBezTo>
                <a:cubicBezTo>
                  <a:pt x="260" y="401"/>
                  <a:pt x="260" y="401"/>
                  <a:pt x="260" y="401"/>
                </a:cubicBezTo>
                <a:cubicBezTo>
                  <a:pt x="260" y="418"/>
                  <a:pt x="246" y="432"/>
                  <a:pt x="229" y="432"/>
                </a:cubicBezTo>
                <a:close/>
                <a:moveTo>
                  <a:pt x="131" y="348"/>
                </a:moveTo>
                <a:cubicBezTo>
                  <a:pt x="132" y="348"/>
                  <a:pt x="133" y="349"/>
                  <a:pt x="134" y="349"/>
                </a:cubicBezTo>
                <a:cubicBezTo>
                  <a:pt x="148" y="358"/>
                  <a:pt x="164" y="364"/>
                  <a:pt x="180" y="368"/>
                </a:cubicBezTo>
                <a:cubicBezTo>
                  <a:pt x="183" y="369"/>
                  <a:pt x="185" y="371"/>
                  <a:pt x="185" y="374"/>
                </a:cubicBezTo>
                <a:cubicBezTo>
                  <a:pt x="185" y="401"/>
                  <a:pt x="185" y="401"/>
                  <a:pt x="185" y="401"/>
                </a:cubicBezTo>
                <a:cubicBezTo>
                  <a:pt x="185" y="411"/>
                  <a:pt x="193" y="420"/>
                  <a:pt x="204" y="420"/>
                </a:cubicBezTo>
                <a:cubicBezTo>
                  <a:pt x="229" y="420"/>
                  <a:pt x="229" y="420"/>
                  <a:pt x="229" y="420"/>
                </a:cubicBezTo>
                <a:cubicBezTo>
                  <a:pt x="239" y="420"/>
                  <a:pt x="248" y="411"/>
                  <a:pt x="248" y="401"/>
                </a:cubicBezTo>
                <a:cubicBezTo>
                  <a:pt x="248" y="374"/>
                  <a:pt x="248" y="374"/>
                  <a:pt x="248" y="374"/>
                </a:cubicBezTo>
                <a:cubicBezTo>
                  <a:pt x="248" y="371"/>
                  <a:pt x="250" y="369"/>
                  <a:pt x="252" y="368"/>
                </a:cubicBezTo>
                <a:cubicBezTo>
                  <a:pt x="269" y="364"/>
                  <a:pt x="284" y="358"/>
                  <a:pt x="298" y="349"/>
                </a:cubicBezTo>
                <a:cubicBezTo>
                  <a:pt x="301" y="348"/>
                  <a:pt x="304" y="348"/>
                  <a:pt x="306" y="350"/>
                </a:cubicBezTo>
                <a:cubicBezTo>
                  <a:pt x="325" y="369"/>
                  <a:pt x="325" y="369"/>
                  <a:pt x="325" y="369"/>
                </a:cubicBezTo>
                <a:cubicBezTo>
                  <a:pt x="332" y="376"/>
                  <a:pt x="344" y="376"/>
                  <a:pt x="352" y="369"/>
                </a:cubicBezTo>
                <a:cubicBezTo>
                  <a:pt x="369" y="351"/>
                  <a:pt x="369" y="351"/>
                  <a:pt x="369" y="351"/>
                </a:cubicBezTo>
                <a:cubicBezTo>
                  <a:pt x="377" y="344"/>
                  <a:pt x="377" y="332"/>
                  <a:pt x="369" y="324"/>
                </a:cubicBezTo>
                <a:cubicBezTo>
                  <a:pt x="351" y="306"/>
                  <a:pt x="351" y="306"/>
                  <a:pt x="351" y="306"/>
                </a:cubicBezTo>
                <a:cubicBezTo>
                  <a:pt x="349" y="304"/>
                  <a:pt x="348" y="302"/>
                  <a:pt x="349" y="299"/>
                </a:cubicBezTo>
                <a:cubicBezTo>
                  <a:pt x="349" y="299"/>
                  <a:pt x="349" y="298"/>
                  <a:pt x="349" y="298"/>
                </a:cubicBezTo>
                <a:cubicBezTo>
                  <a:pt x="358" y="284"/>
                  <a:pt x="364" y="268"/>
                  <a:pt x="368" y="252"/>
                </a:cubicBezTo>
                <a:cubicBezTo>
                  <a:pt x="369" y="249"/>
                  <a:pt x="371" y="247"/>
                  <a:pt x="374" y="247"/>
                </a:cubicBezTo>
                <a:cubicBezTo>
                  <a:pt x="401" y="247"/>
                  <a:pt x="401" y="247"/>
                  <a:pt x="401" y="247"/>
                </a:cubicBezTo>
                <a:cubicBezTo>
                  <a:pt x="412" y="247"/>
                  <a:pt x="420" y="239"/>
                  <a:pt x="420" y="228"/>
                </a:cubicBezTo>
                <a:cubicBezTo>
                  <a:pt x="420" y="203"/>
                  <a:pt x="420" y="203"/>
                  <a:pt x="420" y="203"/>
                </a:cubicBezTo>
                <a:cubicBezTo>
                  <a:pt x="420" y="193"/>
                  <a:pt x="412" y="184"/>
                  <a:pt x="401" y="184"/>
                </a:cubicBezTo>
                <a:cubicBezTo>
                  <a:pt x="374" y="184"/>
                  <a:pt x="374" y="184"/>
                  <a:pt x="374" y="184"/>
                </a:cubicBezTo>
                <a:cubicBezTo>
                  <a:pt x="371" y="184"/>
                  <a:pt x="369" y="182"/>
                  <a:pt x="368" y="180"/>
                </a:cubicBezTo>
                <a:cubicBezTo>
                  <a:pt x="364" y="163"/>
                  <a:pt x="358" y="148"/>
                  <a:pt x="349" y="134"/>
                </a:cubicBezTo>
                <a:cubicBezTo>
                  <a:pt x="348" y="131"/>
                  <a:pt x="348" y="128"/>
                  <a:pt x="350" y="126"/>
                </a:cubicBezTo>
                <a:cubicBezTo>
                  <a:pt x="369" y="107"/>
                  <a:pt x="369" y="107"/>
                  <a:pt x="369" y="107"/>
                </a:cubicBezTo>
                <a:cubicBezTo>
                  <a:pt x="377" y="100"/>
                  <a:pt x="377" y="88"/>
                  <a:pt x="369" y="80"/>
                </a:cubicBezTo>
                <a:cubicBezTo>
                  <a:pt x="352" y="63"/>
                  <a:pt x="352" y="63"/>
                  <a:pt x="352" y="63"/>
                </a:cubicBezTo>
                <a:cubicBezTo>
                  <a:pt x="344" y="55"/>
                  <a:pt x="332" y="55"/>
                  <a:pt x="325" y="63"/>
                </a:cubicBezTo>
                <a:cubicBezTo>
                  <a:pt x="306" y="82"/>
                  <a:pt x="306" y="82"/>
                  <a:pt x="306" y="82"/>
                </a:cubicBezTo>
                <a:cubicBezTo>
                  <a:pt x="304" y="84"/>
                  <a:pt x="300" y="84"/>
                  <a:pt x="298" y="83"/>
                </a:cubicBezTo>
                <a:cubicBezTo>
                  <a:pt x="284" y="74"/>
                  <a:pt x="269" y="68"/>
                  <a:pt x="252" y="64"/>
                </a:cubicBezTo>
                <a:cubicBezTo>
                  <a:pt x="250" y="63"/>
                  <a:pt x="248" y="61"/>
                  <a:pt x="248" y="58"/>
                </a:cubicBezTo>
                <a:cubicBezTo>
                  <a:pt x="248" y="31"/>
                  <a:pt x="248" y="31"/>
                  <a:pt x="248" y="31"/>
                </a:cubicBezTo>
                <a:cubicBezTo>
                  <a:pt x="248" y="20"/>
                  <a:pt x="239" y="12"/>
                  <a:pt x="229" y="12"/>
                </a:cubicBezTo>
                <a:cubicBezTo>
                  <a:pt x="204" y="12"/>
                  <a:pt x="204" y="12"/>
                  <a:pt x="204" y="12"/>
                </a:cubicBezTo>
                <a:cubicBezTo>
                  <a:pt x="193" y="12"/>
                  <a:pt x="185" y="20"/>
                  <a:pt x="185" y="31"/>
                </a:cubicBezTo>
                <a:cubicBezTo>
                  <a:pt x="185" y="58"/>
                  <a:pt x="185" y="58"/>
                  <a:pt x="185" y="58"/>
                </a:cubicBezTo>
                <a:cubicBezTo>
                  <a:pt x="185" y="61"/>
                  <a:pt x="183" y="63"/>
                  <a:pt x="180" y="64"/>
                </a:cubicBezTo>
                <a:cubicBezTo>
                  <a:pt x="164" y="68"/>
                  <a:pt x="148" y="74"/>
                  <a:pt x="134" y="83"/>
                </a:cubicBezTo>
                <a:cubicBezTo>
                  <a:pt x="132" y="84"/>
                  <a:pt x="129" y="84"/>
                  <a:pt x="127" y="82"/>
                </a:cubicBezTo>
                <a:cubicBezTo>
                  <a:pt x="108" y="63"/>
                  <a:pt x="108" y="63"/>
                  <a:pt x="108" y="63"/>
                </a:cubicBezTo>
                <a:cubicBezTo>
                  <a:pt x="100" y="55"/>
                  <a:pt x="88" y="55"/>
                  <a:pt x="81" y="63"/>
                </a:cubicBezTo>
                <a:cubicBezTo>
                  <a:pt x="63" y="80"/>
                  <a:pt x="63" y="80"/>
                  <a:pt x="63" y="80"/>
                </a:cubicBezTo>
                <a:cubicBezTo>
                  <a:pt x="59" y="84"/>
                  <a:pt x="57" y="89"/>
                  <a:pt x="57" y="94"/>
                </a:cubicBezTo>
                <a:cubicBezTo>
                  <a:pt x="57" y="99"/>
                  <a:pt x="59" y="104"/>
                  <a:pt x="63" y="107"/>
                </a:cubicBezTo>
                <a:cubicBezTo>
                  <a:pt x="82" y="126"/>
                  <a:pt x="82" y="126"/>
                  <a:pt x="82" y="126"/>
                </a:cubicBezTo>
                <a:cubicBezTo>
                  <a:pt x="84" y="128"/>
                  <a:pt x="84" y="131"/>
                  <a:pt x="83" y="134"/>
                </a:cubicBezTo>
                <a:cubicBezTo>
                  <a:pt x="74" y="148"/>
                  <a:pt x="68" y="163"/>
                  <a:pt x="64" y="180"/>
                </a:cubicBezTo>
                <a:cubicBezTo>
                  <a:pt x="63" y="182"/>
                  <a:pt x="61" y="184"/>
                  <a:pt x="58" y="184"/>
                </a:cubicBezTo>
                <a:cubicBezTo>
                  <a:pt x="31" y="184"/>
                  <a:pt x="31" y="184"/>
                  <a:pt x="31" y="184"/>
                </a:cubicBezTo>
                <a:cubicBezTo>
                  <a:pt x="21" y="184"/>
                  <a:pt x="12" y="193"/>
                  <a:pt x="12" y="203"/>
                </a:cubicBezTo>
                <a:cubicBezTo>
                  <a:pt x="12" y="228"/>
                  <a:pt x="12" y="228"/>
                  <a:pt x="12" y="228"/>
                </a:cubicBezTo>
                <a:cubicBezTo>
                  <a:pt x="12" y="239"/>
                  <a:pt x="21" y="247"/>
                  <a:pt x="31" y="247"/>
                </a:cubicBezTo>
                <a:cubicBezTo>
                  <a:pt x="58" y="247"/>
                  <a:pt x="58" y="247"/>
                  <a:pt x="58" y="247"/>
                </a:cubicBezTo>
                <a:cubicBezTo>
                  <a:pt x="61" y="247"/>
                  <a:pt x="63" y="249"/>
                  <a:pt x="64" y="252"/>
                </a:cubicBezTo>
                <a:cubicBezTo>
                  <a:pt x="68" y="268"/>
                  <a:pt x="74" y="284"/>
                  <a:pt x="83" y="298"/>
                </a:cubicBezTo>
                <a:cubicBezTo>
                  <a:pt x="83" y="298"/>
                  <a:pt x="83" y="299"/>
                  <a:pt x="83" y="299"/>
                </a:cubicBezTo>
                <a:cubicBezTo>
                  <a:pt x="84" y="302"/>
                  <a:pt x="83" y="304"/>
                  <a:pt x="82" y="306"/>
                </a:cubicBezTo>
                <a:cubicBezTo>
                  <a:pt x="63" y="324"/>
                  <a:pt x="63" y="324"/>
                  <a:pt x="63" y="324"/>
                </a:cubicBezTo>
                <a:cubicBezTo>
                  <a:pt x="59" y="328"/>
                  <a:pt x="57" y="333"/>
                  <a:pt x="57" y="338"/>
                </a:cubicBezTo>
                <a:cubicBezTo>
                  <a:pt x="57" y="343"/>
                  <a:pt x="59" y="348"/>
                  <a:pt x="63" y="351"/>
                </a:cubicBezTo>
                <a:cubicBezTo>
                  <a:pt x="81" y="369"/>
                  <a:pt x="81" y="369"/>
                  <a:pt x="81" y="369"/>
                </a:cubicBezTo>
                <a:cubicBezTo>
                  <a:pt x="88" y="376"/>
                  <a:pt x="100" y="376"/>
                  <a:pt x="108" y="369"/>
                </a:cubicBezTo>
                <a:cubicBezTo>
                  <a:pt x="126" y="350"/>
                  <a:pt x="126" y="350"/>
                  <a:pt x="126" y="350"/>
                </a:cubicBezTo>
                <a:cubicBezTo>
                  <a:pt x="127" y="349"/>
                  <a:pt x="129" y="348"/>
                  <a:pt x="131" y="34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58" name="Freeform 933">
            <a:extLst>
              <a:ext uri="{FF2B5EF4-FFF2-40B4-BE49-F238E27FC236}">
                <a16:creationId xmlns:a16="http://schemas.microsoft.com/office/drawing/2014/main" id="{E83B779A-234F-058F-55DF-2BBF9B9F5DCB}"/>
              </a:ext>
            </a:extLst>
          </p:cNvPr>
          <p:cNvSpPr>
            <a:spLocks/>
          </p:cNvSpPr>
          <p:nvPr/>
        </p:nvSpPr>
        <p:spPr bwMode="auto">
          <a:xfrm>
            <a:off x="10996231" y="4207482"/>
            <a:ext cx="18534" cy="120466"/>
          </a:xfrm>
          <a:custGeom>
            <a:avLst/>
            <a:gdLst>
              <a:gd name="T0" fmla="*/ 6 w 15"/>
              <a:gd name="T1" fmla="*/ 99 h 99"/>
              <a:gd name="T2" fmla="*/ 5 w 15"/>
              <a:gd name="T3" fmla="*/ 99 h 99"/>
              <a:gd name="T4" fmla="*/ 0 w 15"/>
              <a:gd name="T5" fmla="*/ 93 h 99"/>
              <a:gd name="T6" fmla="*/ 4 w 15"/>
              <a:gd name="T7" fmla="*/ 6 h 99"/>
              <a:gd name="T8" fmla="*/ 9 w 15"/>
              <a:gd name="T9" fmla="*/ 0 h 99"/>
              <a:gd name="T10" fmla="*/ 15 w 15"/>
              <a:gd name="T11" fmla="*/ 6 h 99"/>
              <a:gd name="T12" fmla="*/ 11 w 15"/>
              <a:gd name="T13" fmla="*/ 94 h 99"/>
              <a:gd name="T14" fmla="*/ 6 w 15"/>
              <a:gd name="T15" fmla="*/ 99 h 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5" h="99">
                <a:moveTo>
                  <a:pt x="6" y="99"/>
                </a:moveTo>
                <a:cubicBezTo>
                  <a:pt x="6" y="99"/>
                  <a:pt x="6" y="99"/>
                  <a:pt x="5" y="99"/>
                </a:cubicBezTo>
                <a:cubicBezTo>
                  <a:pt x="2" y="99"/>
                  <a:pt x="0" y="96"/>
                  <a:pt x="0" y="93"/>
                </a:cubicBezTo>
                <a:cubicBezTo>
                  <a:pt x="4" y="6"/>
                  <a:pt x="4" y="6"/>
                  <a:pt x="4" y="6"/>
                </a:cubicBezTo>
                <a:cubicBezTo>
                  <a:pt x="4" y="3"/>
                  <a:pt x="6" y="0"/>
                  <a:pt x="9" y="0"/>
                </a:cubicBezTo>
                <a:cubicBezTo>
                  <a:pt x="13" y="1"/>
                  <a:pt x="15" y="3"/>
                  <a:pt x="15" y="6"/>
                </a:cubicBezTo>
                <a:cubicBezTo>
                  <a:pt x="11" y="94"/>
                  <a:pt x="11" y="94"/>
                  <a:pt x="11" y="94"/>
                </a:cubicBezTo>
                <a:cubicBezTo>
                  <a:pt x="11" y="97"/>
                  <a:pt x="9" y="99"/>
                  <a:pt x="6" y="9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59" name="Freeform 934">
            <a:extLst>
              <a:ext uri="{FF2B5EF4-FFF2-40B4-BE49-F238E27FC236}">
                <a16:creationId xmlns:a16="http://schemas.microsoft.com/office/drawing/2014/main" id="{69356D9F-B5A0-FB24-9B3B-1340D705C83A}"/>
              </a:ext>
            </a:extLst>
          </p:cNvPr>
          <p:cNvSpPr>
            <a:spLocks/>
          </p:cNvSpPr>
          <p:nvPr/>
        </p:nvSpPr>
        <p:spPr bwMode="auto">
          <a:xfrm>
            <a:off x="11240870" y="4207482"/>
            <a:ext cx="16681" cy="120466"/>
          </a:xfrm>
          <a:custGeom>
            <a:avLst/>
            <a:gdLst>
              <a:gd name="T0" fmla="*/ 9 w 15"/>
              <a:gd name="T1" fmla="*/ 99 h 99"/>
              <a:gd name="T2" fmla="*/ 4 w 15"/>
              <a:gd name="T3" fmla="*/ 94 h 99"/>
              <a:gd name="T4" fmla="*/ 0 w 15"/>
              <a:gd name="T5" fmla="*/ 6 h 99"/>
              <a:gd name="T6" fmla="*/ 5 w 15"/>
              <a:gd name="T7" fmla="*/ 0 h 99"/>
              <a:gd name="T8" fmla="*/ 11 w 15"/>
              <a:gd name="T9" fmla="*/ 6 h 99"/>
              <a:gd name="T10" fmla="*/ 15 w 15"/>
              <a:gd name="T11" fmla="*/ 93 h 99"/>
              <a:gd name="T12" fmla="*/ 9 w 15"/>
              <a:gd name="T13" fmla="*/ 99 h 99"/>
              <a:gd name="T14" fmla="*/ 9 w 15"/>
              <a:gd name="T15" fmla="*/ 99 h 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5" h="99">
                <a:moveTo>
                  <a:pt x="9" y="99"/>
                </a:moveTo>
                <a:cubicBezTo>
                  <a:pt x="6" y="99"/>
                  <a:pt x="4" y="97"/>
                  <a:pt x="4" y="94"/>
                </a:cubicBezTo>
                <a:cubicBezTo>
                  <a:pt x="0" y="6"/>
                  <a:pt x="0" y="6"/>
                  <a:pt x="0" y="6"/>
                </a:cubicBezTo>
                <a:cubicBezTo>
                  <a:pt x="0" y="3"/>
                  <a:pt x="2" y="1"/>
                  <a:pt x="5" y="0"/>
                </a:cubicBezTo>
                <a:cubicBezTo>
                  <a:pt x="8" y="0"/>
                  <a:pt x="11" y="3"/>
                  <a:pt x="11" y="6"/>
                </a:cubicBezTo>
                <a:cubicBezTo>
                  <a:pt x="15" y="93"/>
                  <a:pt x="15" y="93"/>
                  <a:pt x="15" y="93"/>
                </a:cubicBezTo>
                <a:cubicBezTo>
                  <a:pt x="15" y="96"/>
                  <a:pt x="12" y="99"/>
                  <a:pt x="9" y="99"/>
                </a:cubicBezTo>
                <a:cubicBezTo>
                  <a:pt x="9" y="99"/>
                  <a:pt x="9" y="99"/>
                  <a:pt x="9" y="9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60" name="Freeform 935">
            <a:extLst>
              <a:ext uri="{FF2B5EF4-FFF2-40B4-BE49-F238E27FC236}">
                <a16:creationId xmlns:a16="http://schemas.microsoft.com/office/drawing/2014/main" id="{4C48230B-B6BF-8ABC-03C0-9B62DFC9908D}"/>
              </a:ext>
            </a:extLst>
          </p:cNvPr>
          <p:cNvSpPr>
            <a:spLocks noEditPoints="1"/>
          </p:cNvSpPr>
          <p:nvPr/>
        </p:nvSpPr>
        <p:spPr bwMode="auto">
          <a:xfrm>
            <a:off x="10922098" y="4116670"/>
            <a:ext cx="411438" cy="211277"/>
          </a:xfrm>
          <a:custGeom>
            <a:avLst/>
            <a:gdLst>
              <a:gd name="T0" fmla="*/ 307 w 340"/>
              <a:gd name="T1" fmla="*/ 174 h 174"/>
              <a:gd name="T2" fmla="*/ 33 w 340"/>
              <a:gd name="T3" fmla="*/ 174 h 174"/>
              <a:gd name="T4" fmla="*/ 9 w 340"/>
              <a:gd name="T5" fmla="*/ 163 h 174"/>
              <a:gd name="T6" fmla="*/ 1 w 340"/>
              <a:gd name="T7" fmla="*/ 138 h 174"/>
              <a:gd name="T8" fmla="*/ 11 w 340"/>
              <a:gd name="T9" fmla="*/ 43 h 174"/>
              <a:gd name="T10" fmla="*/ 62 w 340"/>
              <a:gd name="T11" fmla="*/ 0 h 174"/>
              <a:gd name="T12" fmla="*/ 143 w 340"/>
              <a:gd name="T13" fmla="*/ 0 h 174"/>
              <a:gd name="T14" fmla="*/ 147 w 340"/>
              <a:gd name="T15" fmla="*/ 1 h 174"/>
              <a:gd name="T16" fmla="*/ 149 w 340"/>
              <a:gd name="T17" fmla="*/ 6 h 174"/>
              <a:gd name="T18" fmla="*/ 148 w 340"/>
              <a:gd name="T19" fmla="*/ 12 h 174"/>
              <a:gd name="T20" fmla="*/ 153 w 340"/>
              <a:gd name="T21" fmla="*/ 30 h 174"/>
              <a:gd name="T22" fmla="*/ 170 w 340"/>
              <a:gd name="T23" fmla="*/ 38 h 174"/>
              <a:gd name="T24" fmla="*/ 187 w 340"/>
              <a:gd name="T25" fmla="*/ 30 h 174"/>
              <a:gd name="T26" fmla="*/ 192 w 340"/>
              <a:gd name="T27" fmla="*/ 12 h 174"/>
              <a:gd name="T28" fmla="*/ 191 w 340"/>
              <a:gd name="T29" fmla="*/ 6 h 174"/>
              <a:gd name="T30" fmla="*/ 192 w 340"/>
              <a:gd name="T31" fmla="*/ 1 h 174"/>
              <a:gd name="T32" fmla="*/ 197 w 340"/>
              <a:gd name="T33" fmla="*/ 0 h 174"/>
              <a:gd name="T34" fmla="*/ 278 w 340"/>
              <a:gd name="T35" fmla="*/ 0 h 174"/>
              <a:gd name="T36" fmla="*/ 328 w 340"/>
              <a:gd name="T37" fmla="*/ 43 h 174"/>
              <a:gd name="T38" fmla="*/ 339 w 340"/>
              <a:gd name="T39" fmla="*/ 138 h 174"/>
              <a:gd name="T40" fmla="*/ 331 w 340"/>
              <a:gd name="T41" fmla="*/ 163 h 174"/>
              <a:gd name="T42" fmla="*/ 307 w 340"/>
              <a:gd name="T43" fmla="*/ 174 h 174"/>
              <a:gd name="T44" fmla="*/ 62 w 340"/>
              <a:gd name="T45" fmla="*/ 11 h 174"/>
              <a:gd name="T46" fmla="*/ 22 w 340"/>
              <a:gd name="T47" fmla="*/ 45 h 174"/>
              <a:gd name="T48" fmla="*/ 12 w 340"/>
              <a:gd name="T49" fmla="*/ 140 h 174"/>
              <a:gd name="T50" fmla="*/ 17 w 340"/>
              <a:gd name="T51" fmla="*/ 156 h 174"/>
              <a:gd name="T52" fmla="*/ 33 w 340"/>
              <a:gd name="T53" fmla="*/ 163 h 174"/>
              <a:gd name="T54" fmla="*/ 307 w 340"/>
              <a:gd name="T55" fmla="*/ 163 h 174"/>
              <a:gd name="T56" fmla="*/ 323 w 340"/>
              <a:gd name="T57" fmla="*/ 156 h 174"/>
              <a:gd name="T58" fmla="*/ 328 w 340"/>
              <a:gd name="T59" fmla="*/ 140 h 174"/>
              <a:gd name="T60" fmla="*/ 318 w 340"/>
              <a:gd name="T61" fmla="*/ 44 h 174"/>
              <a:gd name="T62" fmla="*/ 278 w 340"/>
              <a:gd name="T63" fmla="*/ 11 h 174"/>
              <a:gd name="T64" fmla="*/ 203 w 340"/>
              <a:gd name="T65" fmla="*/ 11 h 174"/>
              <a:gd name="T66" fmla="*/ 203 w 340"/>
              <a:gd name="T67" fmla="*/ 11 h 174"/>
              <a:gd name="T68" fmla="*/ 195 w 340"/>
              <a:gd name="T69" fmla="*/ 37 h 174"/>
              <a:gd name="T70" fmla="*/ 170 w 340"/>
              <a:gd name="T71" fmla="*/ 49 h 174"/>
              <a:gd name="T72" fmla="*/ 170 w 340"/>
              <a:gd name="T73" fmla="*/ 49 h 174"/>
              <a:gd name="T74" fmla="*/ 144 w 340"/>
              <a:gd name="T75" fmla="*/ 37 h 174"/>
              <a:gd name="T76" fmla="*/ 137 w 340"/>
              <a:gd name="T77" fmla="*/ 11 h 174"/>
              <a:gd name="T78" fmla="*/ 137 w 340"/>
              <a:gd name="T79" fmla="*/ 11 h 174"/>
              <a:gd name="T80" fmla="*/ 62 w 340"/>
              <a:gd name="T81" fmla="*/ 11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40" h="174">
                <a:moveTo>
                  <a:pt x="307" y="174"/>
                </a:moveTo>
                <a:cubicBezTo>
                  <a:pt x="33" y="174"/>
                  <a:pt x="33" y="174"/>
                  <a:pt x="33" y="174"/>
                </a:cubicBezTo>
                <a:cubicBezTo>
                  <a:pt x="24" y="174"/>
                  <a:pt x="15" y="170"/>
                  <a:pt x="9" y="163"/>
                </a:cubicBezTo>
                <a:cubicBezTo>
                  <a:pt x="3" y="156"/>
                  <a:pt x="0" y="147"/>
                  <a:pt x="1" y="138"/>
                </a:cubicBezTo>
                <a:cubicBezTo>
                  <a:pt x="11" y="43"/>
                  <a:pt x="11" y="43"/>
                  <a:pt x="11" y="43"/>
                </a:cubicBezTo>
                <a:cubicBezTo>
                  <a:pt x="15" y="18"/>
                  <a:pt x="36" y="0"/>
                  <a:pt x="62" y="0"/>
                </a:cubicBezTo>
                <a:cubicBezTo>
                  <a:pt x="143" y="0"/>
                  <a:pt x="143" y="0"/>
                  <a:pt x="143" y="0"/>
                </a:cubicBezTo>
                <a:cubicBezTo>
                  <a:pt x="145" y="0"/>
                  <a:pt x="146" y="0"/>
                  <a:pt x="147" y="1"/>
                </a:cubicBezTo>
                <a:cubicBezTo>
                  <a:pt x="148" y="3"/>
                  <a:pt x="149" y="4"/>
                  <a:pt x="149" y="6"/>
                </a:cubicBezTo>
                <a:cubicBezTo>
                  <a:pt x="148" y="12"/>
                  <a:pt x="148" y="12"/>
                  <a:pt x="148" y="12"/>
                </a:cubicBezTo>
                <a:cubicBezTo>
                  <a:pt x="147" y="18"/>
                  <a:pt x="150" y="27"/>
                  <a:pt x="153" y="30"/>
                </a:cubicBezTo>
                <a:cubicBezTo>
                  <a:pt x="157" y="35"/>
                  <a:pt x="163" y="38"/>
                  <a:pt x="170" y="38"/>
                </a:cubicBezTo>
                <a:cubicBezTo>
                  <a:pt x="176" y="38"/>
                  <a:pt x="183" y="35"/>
                  <a:pt x="187" y="30"/>
                </a:cubicBezTo>
                <a:cubicBezTo>
                  <a:pt x="190" y="27"/>
                  <a:pt x="192" y="18"/>
                  <a:pt x="192" y="12"/>
                </a:cubicBezTo>
                <a:cubicBezTo>
                  <a:pt x="191" y="6"/>
                  <a:pt x="191" y="6"/>
                  <a:pt x="191" y="6"/>
                </a:cubicBezTo>
                <a:cubicBezTo>
                  <a:pt x="191" y="4"/>
                  <a:pt x="191" y="3"/>
                  <a:pt x="192" y="1"/>
                </a:cubicBezTo>
                <a:cubicBezTo>
                  <a:pt x="193" y="0"/>
                  <a:pt x="195" y="0"/>
                  <a:pt x="197" y="0"/>
                </a:cubicBezTo>
                <a:cubicBezTo>
                  <a:pt x="278" y="0"/>
                  <a:pt x="278" y="0"/>
                  <a:pt x="278" y="0"/>
                </a:cubicBezTo>
                <a:cubicBezTo>
                  <a:pt x="303" y="0"/>
                  <a:pt x="325" y="18"/>
                  <a:pt x="328" y="43"/>
                </a:cubicBezTo>
                <a:cubicBezTo>
                  <a:pt x="339" y="138"/>
                  <a:pt x="339" y="138"/>
                  <a:pt x="339" y="138"/>
                </a:cubicBezTo>
                <a:cubicBezTo>
                  <a:pt x="340" y="147"/>
                  <a:pt x="337" y="156"/>
                  <a:pt x="331" y="163"/>
                </a:cubicBezTo>
                <a:cubicBezTo>
                  <a:pt x="325" y="170"/>
                  <a:pt x="316" y="174"/>
                  <a:pt x="307" y="174"/>
                </a:cubicBezTo>
                <a:close/>
                <a:moveTo>
                  <a:pt x="62" y="11"/>
                </a:moveTo>
                <a:cubicBezTo>
                  <a:pt x="42" y="11"/>
                  <a:pt x="25" y="25"/>
                  <a:pt x="22" y="45"/>
                </a:cubicBezTo>
                <a:cubicBezTo>
                  <a:pt x="12" y="140"/>
                  <a:pt x="12" y="140"/>
                  <a:pt x="12" y="140"/>
                </a:cubicBezTo>
                <a:cubicBezTo>
                  <a:pt x="11" y="145"/>
                  <a:pt x="13" y="151"/>
                  <a:pt x="17" y="156"/>
                </a:cubicBezTo>
                <a:cubicBezTo>
                  <a:pt x="21" y="160"/>
                  <a:pt x="27" y="163"/>
                  <a:pt x="33" y="163"/>
                </a:cubicBezTo>
                <a:cubicBezTo>
                  <a:pt x="307" y="163"/>
                  <a:pt x="307" y="163"/>
                  <a:pt x="307" y="163"/>
                </a:cubicBezTo>
                <a:cubicBezTo>
                  <a:pt x="313" y="163"/>
                  <a:pt x="319" y="160"/>
                  <a:pt x="323" y="156"/>
                </a:cubicBezTo>
                <a:cubicBezTo>
                  <a:pt x="327" y="151"/>
                  <a:pt x="328" y="145"/>
                  <a:pt x="328" y="140"/>
                </a:cubicBezTo>
                <a:cubicBezTo>
                  <a:pt x="318" y="44"/>
                  <a:pt x="318" y="44"/>
                  <a:pt x="318" y="44"/>
                </a:cubicBezTo>
                <a:cubicBezTo>
                  <a:pt x="315" y="25"/>
                  <a:pt x="298" y="11"/>
                  <a:pt x="278" y="11"/>
                </a:cubicBezTo>
                <a:cubicBezTo>
                  <a:pt x="203" y="11"/>
                  <a:pt x="203" y="11"/>
                  <a:pt x="203" y="11"/>
                </a:cubicBezTo>
                <a:cubicBezTo>
                  <a:pt x="203" y="11"/>
                  <a:pt x="203" y="11"/>
                  <a:pt x="203" y="11"/>
                </a:cubicBezTo>
                <a:cubicBezTo>
                  <a:pt x="204" y="20"/>
                  <a:pt x="200" y="31"/>
                  <a:pt x="195" y="37"/>
                </a:cubicBezTo>
                <a:cubicBezTo>
                  <a:pt x="189" y="45"/>
                  <a:pt x="180" y="49"/>
                  <a:pt x="170" y="49"/>
                </a:cubicBezTo>
                <a:cubicBezTo>
                  <a:pt x="170" y="49"/>
                  <a:pt x="170" y="49"/>
                  <a:pt x="170" y="49"/>
                </a:cubicBezTo>
                <a:cubicBezTo>
                  <a:pt x="160" y="49"/>
                  <a:pt x="151" y="45"/>
                  <a:pt x="144" y="37"/>
                </a:cubicBezTo>
                <a:cubicBezTo>
                  <a:pt x="139" y="31"/>
                  <a:pt x="136" y="20"/>
                  <a:pt x="137" y="11"/>
                </a:cubicBezTo>
                <a:cubicBezTo>
                  <a:pt x="137" y="11"/>
                  <a:pt x="137" y="11"/>
                  <a:pt x="137" y="11"/>
                </a:cubicBezTo>
                <a:lnTo>
                  <a:pt x="62" y="1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61" name="Freeform 936">
            <a:extLst>
              <a:ext uri="{FF2B5EF4-FFF2-40B4-BE49-F238E27FC236}">
                <a16:creationId xmlns:a16="http://schemas.microsoft.com/office/drawing/2014/main" id="{B5E8A211-0905-996C-F1C1-D09D6B979480}"/>
              </a:ext>
            </a:extLst>
          </p:cNvPr>
          <p:cNvSpPr>
            <a:spLocks noEditPoints="1"/>
          </p:cNvSpPr>
          <p:nvPr/>
        </p:nvSpPr>
        <p:spPr bwMode="auto">
          <a:xfrm>
            <a:off x="11087045" y="4085164"/>
            <a:ext cx="81544" cy="90813"/>
          </a:xfrm>
          <a:custGeom>
            <a:avLst/>
            <a:gdLst>
              <a:gd name="T0" fmla="*/ 34 w 68"/>
              <a:gd name="T1" fmla="*/ 76 h 76"/>
              <a:gd name="T2" fmla="*/ 10 w 68"/>
              <a:gd name="T3" fmla="*/ 67 h 76"/>
              <a:gd name="T4" fmla="*/ 1 w 68"/>
              <a:gd name="T5" fmla="*/ 39 h 76"/>
              <a:gd name="T6" fmla="*/ 5 w 68"/>
              <a:gd name="T7" fmla="*/ 5 h 76"/>
              <a:gd name="T8" fmla="*/ 7 w 68"/>
              <a:gd name="T9" fmla="*/ 1 h 76"/>
              <a:gd name="T10" fmla="*/ 12 w 68"/>
              <a:gd name="T11" fmla="*/ 0 h 76"/>
              <a:gd name="T12" fmla="*/ 27 w 68"/>
              <a:gd name="T13" fmla="*/ 2 h 76"/>
              <a:gd name="T14" fmla="*/ 40 w 68"/>
              <a:gd name="T15" fmla="*/ 2 h 76"/>
              <a:gd name="T16" fmla="*/ 56 w 68"/>
              <a:gd name="T17" fmla="*/ 0 h 76"/>
              <a:gd name="T18" fmla="*/ 61 w 68"/>
              <a:gd name="T19" fmla="*/ 1 h 76"/>
              <a:gd name="T20" fmla="*/ 63 w 68"/>
              <a:gd name="T21" fmla="*/ 5 h 76"/>
              <a:gd name="T22" fmla="*/ 67 w 68"/>
              <a:gd name="T23" fmla="*/ 39 h 76"/>
              <a:gd name="T24" fmla="*/ 67 w 68"/>
              <a:gd name="T25" fmla="*/ 39 h 76"/>
              <a:gd name="T26" fmla="*/ 57 w 68"/>
              <a:gd name="T27" fmla="*/ 67 h 76"/>
              <a:gd name="T28" fmla="*/ 34 w 68"/>
              <a:gd name="T29" fmla="*/ 76 h 76"/>
              <a:gd name="T30" fmla="*/ 15 w 68"/>
              <a:gd name="T31" fmla="*/ 12 h 76"/>
              <a:gd name="T32" fmla="*/ 12 w 68"/>
              <a:gd name="T33" fmla="*/ 41 h 76"/>
              <a:gd name="T34" fmla="*/ 18 w 68"/>
              <a:gd name="T35" fmla="*/ 59 h 76"/>
              <a:gd name="T36" fmla="*/ 50 w 68"/>
              <a:gd name="T37" fmla="*/ 59 h 76"/>
              <a:gd name="T38" fmla="*/ 56 w 68"/>
              <a:gd name="T39" fmla="*/ 41 h 76"/>
              <a:gd name="T40" fmla="*/ 56 w 68"/>
              <a:gd name="T41" fmla="*/ 41 h 76"/>
              <a:gd name="T42" fmla="*/ 53 w 68"/>
              <a:gd name="T43" fmla="*/ 12 h 76"/>
              <a:gd name="T44" fmla="*/ 40 w 68"/>
              <a:gd name="T45" fmla="*/ 13 h 76"/>
              <a:gd name="T46" fmla="*/ 27 w 68"/>
              <a:gd name="T47" fmla="*/ 13 h 76"/>
              <a:gd name="T48" fmla="*/ 15 w 68"/>
              <a:gd name="T49" fmla="*/ 12 h 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68" h="76">
                <a:moveTo>
                  <a:pt x="34" y="76"/>
                </a:moveTo>
                <a:cubicBezTo>
                  <a:pt x="25" y="76"/>
                  <a:pt x="17" y="73"/>
                  <a:pt x="10" y="67"/>
                </a:cubicBezTo>
                <a:cubicBezTo>
                  <a:pt x="3" y="59"/>
                  <a:pt x="0" y="49"/>
                  <a:pt x="1" y="39"/>
                </a:cubicBezTo>
                <a:cubicBezTo>
                  <a:pt x="5" y="5"/>
                  <a:pt x="5" y="5"/>
                  <a:pt x="5" y="5"/>
                </a:cubicBezTo>
                <a:cubicBezTo>
                  <a:pt x="5" y="3"/>
                  <a:pt x="6" y="2"/>
                  <a:pt x="7" y="1"/>
                </a:cubicBezTo>
                <a:cubicBezTo>
                  <a:pt x="8" y="0"/>
                  <a:pt x="10" y="0"/>
                  <a:pt x="12" y="0"/>
                </a:cubicBezTo>
                <a:cubicBezTo>
                  <a:pt x="17" y="2"/>
                  <a:pt x="22" y="2"/>
                  <a:pt x="27" y="2"/>
                </a:cubicBezTo>
                <a:cubicBezTo>
                  <a:pt x="40" y="2"/>
                  <a:pt x="40" y="2"/>
                  <a:pt x="40" y="2"/>
                </a:cubicBezTo>
                <a:cubicBezTo>
                  <a:pt x="46" y="2"/>
                  <a:pt x="51" y="2"/>
                  <a:pt x="56" y="0"/>
                </a:cubicBezTo>
                <a:cubicBezTo>
                  <a:pt x="58" y="0"/>
                  <a:pt x="59" y="0"/>
                  <a:pt x="61" y="1"/>
                </a:cubicBezTo>
                <a:cubicBezTo>
                  <a:pt x="62" y="2"/>
                  <a:pt x="63" y="3"/>
                  <a:pt x="63" y="5"/>
                </a:cubicBezTo>
                <a:cubicBezTo>
                  <a:pt x="67" y="39"/>
                  <a:pt x="67" y="39"/>
                  <a:pt x="67" y="39"/>
                </a:cubicBezTo>
                <a:cubicBezTo>
                  <a:pt x="67" y="39"/>
                  <a:pt x="67" y="39"/>
                  <a:pt x="67" y="39"/>
                </a:cubicBezTo>
                <a:cubicBezTo>
                  <a:pt x="68" y="49"/>
                  <a:pt x="65" y="59"/>
                  <a:pt x="57" y="67"/>
                </a:cubicBezTo>
                <a:cubicBezTo>
                  <a:pt x="51" y="73"/>
                  <a:pt x="42" y="76"/>
                  <a:pt x="34" y="76"/>
                </a:cubicBezTo>
                <a:close/>
                <a:moveTo>
                  <a:pt x="15" y="12"/>
                </a:moveTo>
                <a:cubicBezTo>
                  <a:pt x="12" y="41"/>
                  <a:pt x="12" y="41"/>
                  <a:pt x="12" y="41"/>
                </a:cubicBezTo>
                <a:cubicBezTo>
                  <a:pt x="11" y="47"/>
                  <a:pt x="13" y="54"/>
                  <a:pt x="18" y="59"/>
                </a:cubicBezTo>
                <a:cubicBezTo>
                  <a:pt x="27" y="67"/>
                  <a:pt x="41" y="67"/>
                  <a:pt x="50" y="59"/>
                </a:cubicBezTo>
                <a:cubicBezTo>
                  <a:pt x="54" y="54"/>
                  <a:pt x="57" y="47"/>
                  <a:pt x="56" y="41"/>
                </a:cubicBezTo>
                <a:cubicBezTo>
                  <a:pt x="56" y="41"/>
                  <a:pt x="56" y="41"/>
                  <a:pt x="56" y="41"/>
                </a:cubicBezTo>
                <a:cubicBezTo>
                  <a:pt x="53" y="12"/>
                  <a:pt x="53" y="12"/>
                  <a:pt x="53" y="12"/>
                </a:cubicBezTo>
                <a:cubicBezTo>
                  <a:pt x="49" y="13"/>
                  <a:pt x="44" y="13"/>
                  <a:pt x="40" y="13"/>
                </a:cubicBezTo>
                <a:cubicBezTo>
                  <a:pt x="27" y="13"/>
                  <a:pt x="27" y="13"/>
                  <a:pt x="27" y="13"/>
                </a:cubicBezTo>
                <a:cubicBezTo>
                  <a:pt x="23" y="13"/>
                  <a:pt x="19" y="13"/>
                  <a:pt x="15" y="1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62" name="Freeform 937">
            <a:extLst>
              <a:ext uri="{FF2B5EF4-FFF2-40B4-BE49-F238E27FC236}">
                <a16:creationId xmlns:a16="http://schemas.microsoft.com/office/drawing/2014/main" id="{2DF82CD2-826E-ACAD-6E81-F800FD2EE6B2}"/>
              </a:ext>
            </a:extLst>
          </p:cNvPr>
          <p:cNvSpPr>
            <a:spLocks noEditPoints="1"/>
          </p:cNvSpPr>
          <p:nvPr/>
        </p:nvSpPr>
        <p:spPr bwMode="auto">
          <a:xfrm>
            <a:off x="11037005" y="3920220"/>
            <a:ext cx="179772" cy="179772"/>
          </a:xfrm>
          <a:custGeom>
            <a:avLst/>
            <a:gdLst>
              <a:gd name="T0" fmla="*/ 81 w 149"/>
              <a:gd name="T1" fmla="*/ 149 h 149"/>
              <a:gd name="T2" fmla="*/ 68 w 149"/>
              <a:gd name="T3" fmla="*/ 149 h 149"/>
              <a:gd name="T4" fmla="*/ 50 w 149"/>
              <a:gd name="T5" fmla="*/ 147 h 149"/>
              <a:gd name="T6" fmla="*/ 0 w 149"/>
              <a:gd name="T7" fmla="*/ 81 h 149"/>
              <a:gd name="T8" fmla="*/ 0 w 149"/>
              <a:gd name="T9" fmla="*/ 58 h 149"/>
              <a:gd name="T10" fmla="*/ 58 w 149"/>
              <a:gd name="T11" fmla="*/ 0 h 149"/>
              <a:gd name="T12" fmla="*/ 92 w 149"/>
              <a:gd name="T13" fmla="*/ 0 h 149"/>
              <a:gd name="T14" fmla="*/ 149 w 149"/>
              <a:gd name="T15" fmla="*/ 58 h 149"/>
              <a:gd name="T16" fmla="*/ 149 w 149"/>
              <a:gd name="T17" fmla="*/ 81 h 149"/>
              <a:gd name="T18" fmla="*/ 100 w 149"/>
              <a:gd name="T19" fmla="*/ 147 h 149"/>
              <a:gd name="T20" fmla="*/ 81 w 149"/>
              <a:gd name="T21" fmla="*/ 149 h 149"/>
              <a:gd name="T22" fmla="*/ 58 w 149"/>
              <a:gd name="T23" fmla="*/ 11 h 149"/>
              <a:gd name="T24" fmla="*/ 11 w 149"/>
              <a:gd name="T25" fmla="*/ 58 h 149"/>
              <a:gd name="T26" fmla="*/ 11 w 149"/>
              <a:gd name="T27" fmla="*/ 81 h 149"/>
              <a:gd name="T28" fmla="*/ 53 w 149"/>
              <a:gd name="T29" fmla="*/ 136 h 149"/>
              <a:gd name="T30" fmla="*/ 68 w 149"/>
              <a:gd name="T31" fmla="*/ 138 h 149"/>
              <a:gd name="T32" fmla="*/ 81 w 149"/>
              <a:gd name="T33" fmla="*/ 138 h 149"/>
              <a:gd name="T34" fmla="*/ 97 w 149"/>
              <a:gd name="T35" fmla="*/ 136 h 149"/>
              <a:gd name="T36" fmla="*/ 138 w 149"/>
              <a:gd name="T37" fmla="*/ 81 h 149"/>
              <a:gd name="T38" fmla="*/ 138 w 149"/>
              <a:gd name="T39" fmla="*/ 58 h 149"/>
              <a:gd name="T40" fmla="*/ 92 w 149"/>
              <a:gd name="T41" fmla="*/ 11 h 149"/>
              <a:gd name="T42" fmla="*/ 58 w 149"/>
              <a:gd name="T43" fmla="*/ 11 h 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149" h="149">
                <a:moveTo>
                  <a:pt x="81" y="149"/>
                </a:moveTo>
                <a:cubicBezTo>
                  <a:pt x="68" y="149"/>
                  <a:pt x="68" y="149"/>
                  <a:pt x="68" y="149"/>
                </a:cubicBezTo>
                <a:cubicBezTo>
                  <a:pt x="62" y="149"/>
                  <a:pt x="56" y="148"/>
                  <a:pt x="50" y="147"/>
                </a:cubicBezTo>
                <a:cubicBezTo>
                  <a:pt x="21" y="138"/>
                  <a:pt x="0" y="111"/>
                  <a:pt x="0" y="81"/>
                </a:cubicBezTo>
                <a:cubicBezTo>
                  <a:pt x="0" y="58"/>
                  <a:pt x="0" y="58"/>
                  <a:pt x="0" y="58"/>
                </a:cubicBezTo>
                <a:cubicBezTo>
                  <a:pt x="0" y="26"/>
                  <a:pt x="26" y="0"/>
                  <a:pt x="58" y="0"/>
                </a:cubicBezTo>
                <a:cubicBezTo>
                  <a:pt x="92" y="0"/>
                  <a:pt x="92" y="0"/>
                  <a:pt x="92" y="0"/>
                </a:cubicBezTo>
                <a:cubicBezTo>
                  <a:pt x="124" y="0"/>
                  <a:pt x="149" y="26"/>
                  <a:pt x="149" y="58"/>
                </a:cubicBezTo>
                <a:cubicBezTo>
                  <a:pt x="149" y="81"/>
                  <a:pt x="149" y="81"/>
                  <a:pt x="149" y="81"/>
                </a:cubicBezTo>
                <a:cubicBezTo>
                  <a:pt x="149" y="111"/>
                  <a:pt x="129" y="138"/>
                  <a:pt x="100" y="147"/>
                </a:cubicBezTo>
                <a:cubicBezTo>
                  <a:pt x="94" y="148"/>
                  <a:pt x="88" y="149"/>
                  <a:pt x="81" y="149"/>
                </a:cubicBezTo>
                <a:close/>
                <a:moveTo>
                  <a:pt x="58" y="11"/>
                </a:moveTo>
                <a:cubicBezTo>
                  <a:pt x="32" y="11"/>
                  <a:pt x="11" y="32"/>
                  <a:pt x="11" y="58"/>
                </a:cubicBezTo>
                <a:cubicBezTo>
                  <a:pt x="11" y="81"/>
                  <a:pt x="11" y="81"/>
                  <a:pt x="11" y="81"/>
                </a:cubicBezTo>
                <a:cubicBezTo>
                  <a:pt x="11" y="107"/>
                  <a:pt x="28" y="129"/>
                  <a:pt x="53" y="136"/>
                </a:cubicBezTo>
                <a:cubicBezTo>
                  <a:pt x="58" y="138"/>
                  <a:pt x="63" y="138"/>
                  <a:pt x="68" y="138"/>
                </a:cubicBezTo>
                <a:cubicBezTo>
                  <a:pt x="81" y="138"/>
                  <a:pt x="81" y="138"/>
                  <a:pt x="81" y="138"/>
                </a:cubicBezTo>
                <a:cubicBezTo>
                  <a:pt x="87" y="138"/>
                  <a:pt x="92" y="138"/>
                  <a:pt x="97" y="136"/>
                </a:cubicBezTo>
                <a:cubicBezTo>
                  <a:pt x="121" y="129"/>
                  <a:pt x="138" y="107"/>
                  <a:pt x="138" y="81"/>
                </a:cubicBezTo>
                <a:cubicBezTo>
                  <a:pt x="138" y="58"/>
                  <a:pt x="138" y="58"/>
                  <a:pt x="138" y="58"/>
                </a:cubicBezTo>
                <a:cubicBezTo>
                  <a:pt x="138" y="32"/>
                  <a:pt x="118" y="11"/>
                  <a:pt x="92" y="11"/>
                </a:cubicBezTo>
                <a:lnTo>
                  <a:pt x="58" y="1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63" name="Freeform 156">
            <a:extLst>
              <a:ext uri="{FF2B5EF4-FFF2-40B4-BE49-F238E27FC236}">
                <a16:creationId xmlns:a16="http://schemas.microsoft.com/office/drawing/2014/main" id="{FA270829-DA0E-CDCD-CAF0-56BC373C7B46}"/>
              </a:ext>
            </a:extLst>
          </p:cNvPr>
          <p:cNvSpPr>
            <a:spLocks noEditPoints="1"/>
          </p:cNvSpPr>
          <p:nvPr/>
        </p:nvSpPr>
        <p:spPr bwMode="auto">
          <a:xfrm>
            <a:off x="6844828" y="1896023"/>
            <a:ext cx="220243" cy="163806"/>
          </a:xfrm>
          <a:custGeom>
            <a:avLst/>
            <a:gdLst>
              <a:gd name="T0" fmla="*/ 90 w 218"/>
              <a:gd name="T1" fmla="*/ 163 h 163"/>
              <a:gd name="T2" fmla="*/ 86 w 218"/>
              <a:gd name="T3" fmla="*/ 161 h 163"/>
              <a:gd name="T4" fmla="*/ 2 w 218"/>
              <a:gd name="T5" fmla="*/ 77 h 163"/>
              <a:gd name="T6" fmla="*/ 2 w 218"/>
              <a:gd name="T7" fmla="*/ 68 h 163"/>
              <a:gd name="T8" fmla="*/ 31 w 218"/>
              <a:gd name="T9" fmla="*/ 39 h 163"/>
              <a:gd name="T10" fmla="*/ 40 w 218"/>
              <a:gd name="T11" fmla="*/ 39 h 163"/>
              <a:gd name="T12" fmla="*/ 90 w 218"/>
              <a:gd name="T13" fmla="*/ 90 h 163"/>
              <a:gd name="T14" fmla="*/ 177 w 218"/>
              <a:gd name="T15" fmla="*/ 2 h 163"/>
              <a:gd name="T16" fmla="*/ 186 w 218"/>
              <a:gd name="T17" fmla="*/ 2 h 163"/>
              <a:gd name="T18" fmla="*/ 215 w 218"/>
              <a:gd name="T19" fmla="*/ 32 h 163"/>
              <a:gd name="T20" fmla="*/ 215 w 218"/>
              <a:gd name="T21" fmla="*/ 40 h 163"/>
              <a:gd name="T22" fmla="*/ 95 w 218"/>
              <a:gd name="T23" fmla="*/ 161 h 163"/>
              <a:gd name="T24" fmla="*/ 90 w 218"/>
              <a:gd name="T25" fmla="*/ 163 h 163"/>
              <a:gd name="T26" fmla="*/ 15 w 218"/>
              <a:gd name="T27" fmla="*/ 73 h 163"/>
              <a:gd name="T28" fmla="*/ 90 w 218"/>
              <a:gd name="T29" fmla="*/ 148 h 163"/>
              <a:gd name="T30" fmla="*/ 202 w 218"/>
              <a:gd name="T31" fmla="*/ 36 h 163"/>
              <a:gd name="T32" fmla="*/ 182 w 218"/>
              <a:gd name="T33" fmla="*/ 15 h 163"/>
              <a:gd name="T34" fmla="*/ 95 w 218"/>
              <a:gd name="T35" fmla="*/ 103 h 163"/>
              <a:gd name="T36" fmla="*/ 86 w 218"/>
              <a:gd name="T37" fmla="*/ 103 h 163"/>
              <a:gd name="T38" fmla="*/ 35 w 218"/>
              <a:gd name="T39" fmla="*/ 52 h 163"/>
              <a:gd name="T40" fmla="*/ 15 w 218"/>
              <a:gd name="T41" fmla="*/ 73 h 1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18" h="163">
                <a:moveTo>
                  <a:pt x="90" y="163"/>
                </a:moveTo>
                <a:cubicBezTo>
                  <a:pt x="89" y="163"/>
                  <a:pt x="87" y="162"/>
                  <a:pt x="86" y="161"/>
                </a:cubicBezTo>
                <a:cubicBezTo>
                  <a:pt x="2" y="77"/>
                  <a:pt x="2" y="77"/>
                  <a:pt x="2" y="77"/>
                </a:cubicBezTo>
                <a:cubicBezTo>
                  <a:pt x="0" y="75"/>
                  <a:pt x="0" y="71"/>
                  <a:pt x="2" y="68"/>
                </a:cubicBezTo>
                <a:cubicBezTo>
                  <a:pt x="31" y="39"/>
                  <a:pt x="31" y="39"/>
                  <a:pt x="31" y="39"/>
                </a:cubicBezTo>
                <a:cubicBezTo>
                  <a:pt x="33" y="37"/>
                  <a:pt x="38" y="37"/>
                  <a:pt x="40" y="39"/>
                </a:cubicBezTo>
                <a:cubicBezTo>
                  <a:pt x="90" y="90"/>
                  <a:pt x="90" y="90"/>
                  <a:pt x="90" y="90"/>
                </a:cubicBezTo>
                <a:cubicBezTo>
                  <a:pt x="177" y="2"/>
                  <a:pt x="177" y="2"/>
                  <a:pt x="177" y="2"/>
                </a:cubicBezTo>
                <a:cubicBezTo>
                  <a:pt x="180" y="0"/>
                  <a:pt x="184" y="0"/>
                  <a:pt x="186" y="2"/>
                </a:cubicBezTo>
                <a:cubicBezTo>
                  <a:pt x="215" y="32"/>
                  <a:pt x="215" y="32"/>
                  <a:pt x="215" y="32"/>
                </a:cubicBezTo>
                <a:cubicBezTo>
                  <a:pt x="218" y="34"/>
                  <a:pt x="218" y="38"/>
                  <a:pt x="215" y="40"/>
                </a:cubicBezTo>
                <a:cubicBezTo>
                  <a:pt x="95" y="161"/>
                  <a:pt x="95" y="161"/>
                  <a:pt x="95" y="161"/>
                </a:cubicBezTo>
                <a:cubicBezTo>
                  <a:pt x="93" y="162"/>
                  <a:pt x="92" y="163"/>
                  <a:pt x="90" y="163"/>
                </a:cubicBezTo>
                <a:close/>
                <a:moveTo>
                  <a:pt x="15" y="73"/>
                </a:moveTo>
                <a:cubicBezTo>
                  <a:pt x="90" y="148"/>
                  <a:pt x="90" y="148"/>
                  <a:pt x="90" y="148"/>
                </a:cubicBezTo>
                <a:cubicBezTo>
                  <a:pt x="202" y="36"/>
                  <a:pt x="202" y="36"/>
                  <a:pt x="202" y="36"/>
                </a:cubicBezTo>
                <a:cubicBezTo>
                  <a:pt x="182" y="15"/>
                  <a:pt x="182" y="15"/>
                  <a:pt x="182" y="15"/>
                </a:cubicBezTo>
                <a:cubicBezTo>
                  <a:pt x="95" y="103"/>
                  <a:pt x="95" y="103"/>
                  <a:pt x="95" y="103"/>
                </a:cubicBezTo>
                <a:cubicBezTo>
                  <a:pt x="92" y="105"/>
                  <a:pt x="88" y="105"/>
                  <a:pt x="86" y="103"/>
                </a:cubicBezTo>
                <a:cubicBezTo>
                  <a:pt x="35" y="52"/>
                  <a:pt x="35" y="52"/>
                  <a:pt x="35" y="52"/>
                </a:cubicBezTo>
                <a:lnTo>
                  <a:pt x="15" y="7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64" name="Freeform 157">
            <a:extLst>
              <a:ext uri="{FF2B5EF4-FFF2-40B4-BE49-F238E27FC236}">
                <a16:creationId xmlns:a16="http://schemas.microsoft.com/office/drawing/2014/main" id="{5E5D14BB-7E67-7F1C-99ED-F7B744CD4D56}"/>
              </a:ext>
            </a:extLst>
          </p:cNvPr>
          <p:cNvSpPr>
            <a:spLocks noEditPoints="1"/>
          </p:cNvSpPr>
          <p:nvPr/>
        </p:nvSpPr>
        <p:spPr bwMode="auto">
          <a:xfrm>
            <a:off x="6734708" y="1750418"/>
            <a:ext cx="440483" cy="436817"/>
          </a:xfrm>
          <a:custGeom>
            <a:avLst/>
            <a:gdLst>
              <a:gd name="T0" fmla="*/ 191 w 436"/>
              <a:gd name="T1" fmla="*/ 422 h 433"/>
              <a:gd name="T2" fmla="*/ 116 w 436"/>
              <a:gd name="T3" fmla="*/ 397 h 433"/>
              <a:gd name="T4" fmla="*/ 93 w 436"/>
              <a:gd name="T5" fmla="*/ 381 h 433"/>
              <a:gd name="T6" fmla="*/ 55 w 436"/>
              <a:gd name="T7" fmla="*/ 344 h 433"/>
              <a:gd name="T8" fmla="*/ 20 w 436"/>
              <a:gd name="T9" fmla="*/ 301 h 433"/>
              <a:gd name="T10" fmla="*/ 20 w 436"/>
              <a:gd name="T11" fmla="*/ 272 h 433"/>
              <a:gd name="T12" fmla="*/ 14 w 436"/>
              <a:gd name="T13" fmla="*/ 244 h 433"/>
              <a:gd name="T14" fmla="*/ 19 w 436"/>
              <a:gd name="T15" fmla="*/ 165 h 433"/>
              <a:gd name="T16" fmla="*/ 40 w 436"/>
              <a:gd name="T17" fmla="*/ 116 h 433"/>
              <a:gd name="T18" fmla="*/ 55 w 436"/>
              <a:gd name="T19" fmla="*/ 93 h 433"/>
              <a:gd name="T20" fmla="*/ 115 w 436"/>
              <a:gd name="T21" fmla="*/ 40 h 433"/>
              <a:gd name="T22" fmla="*/ 164 w 436"/>
              <a:gd name="T23" fmla="*/ 21 h 433"/>
              <a:gd name="T24" fmla="*/ 191 w 436"/>
              <a:gd name="T25" fmla="*/ 15 h 433"/>
              <a:gd name="T26" fmla="*/ 271 w 436"/>
              <a:gd name="T27" fmla="*/ 20 h 433"/>
              <a:gd name="T28" fmla="*/ 319 w 436"/>
              <a:gd name="T29" fmla="*/ 41 h 433"/>
              <a:gd name="T30" fmla="*/ 343 w 436"/>
              <a:gd name="T31" fmla="*/ 56 h 433"/>
              <a:gd name="T32" fmla="*/ 395 w 436"/>
              <a:gd name="T33" fmla="*/ 116 h 433"/>
              <a:gd name="T34" fmla="*/ 415 w 436"/>
              <a:gd name="T35" fmla="*/ 164 h 433"/>
              <a:gd name="T36" fmla="*/ 420 w 436"/>
              <a:gd name="T37" fmla="*/ 191 h 433"/>
              <a:gd name="T38" fmla="*/ 421 w 436"/>
              <a:gd name="T39" fmla="*/ 244 h 433"/>
              <a:gd name="T40" fmla="*/ 416 w 436"/>
              <a:gd name="T41" fmla="*/ 271 h 433"/>
              <a:gd name="T42" fmla="*/ 395 w 436"/>
              <a:gd name="T43" fmla="*/ 320 h 433"/>
              <a:gd name="T44" fmla="*/ 380 w 436"/>
              <a:gd name="T45" fmla="*/ 344 h 433"/>
              <a:gd name="T46" fmla="*/ 320 w 436"/>
              <a:gd name="T47" fmla="*/ 396 h 433"/>
              <a:gd name="T48" fmla="*/ 272 w 436"/>
              <a:gd name="T49" fmla="*/ 416 h 433"/>
              <a:gd name="T50" fmla="*/ 244 w 436"/>
              <a:gd name="T51" fmla="*/ 421 h 433"/>
              <a:gd name="T52" fmla="*/ 218 w 436"/>
              <a:gd name="T53" fmla="*/ 433 h 433"/>
              <a:gd name="T54" fmla="*/ 200 w 436"/>
              <a:gd name="T55" fmla="*/ 413 h 433"/>
              <a:gd name="T56" fmla="*/ 236 w 436"/>
              <a:gd name="T57" fmla="*/ 412 h 433"/>
              <a:gd name="T58" fmla="*/ 277 w 436"/>
              <a:gd name="T59" fmla="*/ 405 h 433"/>
              <a:gd name="T60" fmla="*/ 309 w 436"/>
              <a:gd name="T61" fmla="*/ 391 h 433"/>
              <a:gd name="T62" fmla="*/ 368 w 436"/>
              <a:gd name="T63" fmla="*/ 344 h 433"/>
              <a:gd name="T64" fmla="*/ 390 w 436"/>
              <a:gd name="T65" fmla="*/ 309 h 433"/>
              <a:gd name="T66" fmla="*/ 404 w 436"/>
              <a:gd name="T67" fmla="*/ 276 h 433"/>
              <a:gd name="T68" fmla="*/ 412 w 436"/>
              <a:gd name="T69" fmla="*/ 201 h 433"/>
              <a:gd name="T70" fmla="*/ 404 w 436"/>
              <a:gd name="T71" fmla="*/ 160 h 433"/>
              <a:gd name="T72" fmla="*/ 404 w 436"/>
              <a:gd name="T73" fmla="*/ 140 h 433"/>
              <a:gd name="T74" fmla="*/ 368 w 436"/>
              <a:gd name="T75" fmla="*/ 93 h 433"/>
              <a:gd name="T76" fmla="*/ 342 w 436"/>
              <a:gd name="T77" fmla="*/ 68 h 433"/>
              <a:gd name="T78" fmla="*/ 308 w 436"/>
              <a:gd name="T79" fmla="*/ 45 h 433"/>
              <a:gd name="T80" fmla="*/ 235 w 436"/>
              <a:gd name="T81" fmla="*/ 23 h 433"/>
              <a:gd name="T82" fmla="*/ 199 w 436"/>
              <a:gd name="T83" fmla="*/ 24 h 433"/>
              <a:gd name="T84" fmla="*/ 159 w 436"/>
              <a:gd name="T85" fmla="*/ 32 h 433"/>
              <a:gd name="T86" fmla="*/ 92 w 436"/>
              <a:gd name="T87" fmla="*/ 68 h 433"/>
              <a:gd name="T88" fmla="*/ 67 w 436"/>
              <a:gd name="T89" fmla="*/ 94 h 433"/>
              <a:gd name="T90" fmla="*/ 44 w 436"/>
              <a:gd name="T91" fmla="*/ 128 h 433"/>
              <a:gd name="T92" fmla="*/ 23 w 436"/>
              <a:gd name="T93" fmla="*/ 201 h 433"/>
              <a:gd name="T94" fmla="*/ 23 w 436"/>
              <a:gd name="T95" fmla="*/ 236 h 433"/>
              <a:gd name="T96" fmla="*/ 31 w 436"/>
              <a:gd name="T97" fmla="*/ 277 h 433"/>
              <a:gd name="T98" fmla="*/ 44 w 436"/>
              <a:gd name="T99" fmla="*/ 309 h 433"/>
              <a:gd name="T100" fmla="*/ 92 w 436"/>
              <a:gd name="T101" fmla="*/ 368 h 433"/>
              <a:gd name="T102" fmla="*/ 127 w 436"/>
              <a:gd name="T103" fmla="*/ 391 h 433"/>
              <a:gd name="T104" fmla="*/ 160 w 436"/>
              <a:gd name="T105" fmla="*/ 405 h 433"/>
              <a:gd name="T106" fmla="*/ 417 w 436"/>
              <a:gd name="T107" fmla="*/ 240 h 4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436" h="433">
                <a:moveTo>
                  <a:pt x="218" y="433"/>
                </a:moveTo>
                <a:cubicBezTo>
                  <a:pt x="208" y="433"/>
                  <a:pt x="199" y="429"/>
                  <a:pt x="191" y="422"/>
                </a:cubicBezTo>
                <a:cubicBezTo>
                  <a:pt x="184" y="415"/>
                  <a:pt x="174" y="413"/>
                  <a:pt x="164" y="416"/>
                </a:cubicBezTo>
                <a:cubicBezTo>
                  <a:pt x="146" y="424"/>
                  <a:pt x="124" y="415"/>
                  <a:pt x="116" y="397"/>
                </a:cubicBezTo>
                <a:cubicBezTo>
                  <a:pt x="116" y="396"/>
                  <a:pt x="116" y="396"/>
                  <a:pt x="116" y="396"/>
                </a:cubicBezTo>
                <a:cubicBezTo>
                  <a:pt x="112" y="387"/>
                  <a:pt x="103" y="381"/>
                  <a:pt x="93" y="381"/>
                </a:cubicBezTo>
                <a:cubicBezTo>
                  <a:pt x="92" y="381"/>
                  <a:pt x="92" y="381"/>
                  <a:pt x="92" y="381"/>
                </a:cubicBezTo>
                <a:cubicBezTo>
                  <a:pt x="72" y="381"/>
                  <a:pt x="55" y="364"/>
                  <a:pt x="55" y="344"/>
                </a:cubicBezTo>
                <a:cubicBezTo>
                  <a:pt x="55" y="334"/>
                  <a:pt x="49" y="325"/>
                  <a:pt x="40" y="321"/>
                </a:cubicBezTo>
                <a:cubicBezTo>
                  <a:pt x="31" y="317"/>
                  <a:pt x="24" y="310"/>
                  <a:pt x="20" y="301"/>
                </a:cubicBezTo>
                <a:cubicBezTo>
                  <a:pt x="16" y="292"/>
                  <a:pt x="16" y="282"/>
                  <a:pt x="20" y="273"/>
                </a:cubicBezTo>
                <a:cubicBezTo>
                  <a:pt x="20" y="272"/>
                  <a:pt x="20" y="272"/>
                  <a:pt x="20" y="272"/>
                </a:cubicBezTo>
                <a:cubicBezTo>
                  <a:pt x="24" y="263"/>
                  <a:pt x="22" y="252"/>
                  <a:pt x="15" y="245"/>
                </a:cubicBezTo>
                <a:cubicBezTo>
                  <a:pt x="14" y="244"/>
                  <a:pt x="14" y="244"/>
                  <a:pt x="14" y="244"/>
                </a:cubicBezTo>
                <a:cubicBezTo>
                  <a:pt x="0" y="230"/>
                  <a:pt x="0" y="206"/>
                  <a:pt x="14" y="192"/>
                </a:cubicBezTo>
                <a:cubicBezTo>
                  <a:pt x="21" y="185"/>
                  <a:pt x="23" y="174"/>
                  <a:pt x="19" y="165"/>
                </a:cubicBezTo>
                <a:cubicBezTo>
                  <a:pt x="11" y="146"/>
                  <a:pt x="20" y="125"/>
                  <a:pt x="39" y="117"/>
                </a:cubicBezTo>
                <a:cubicBezTo>
                  <a:pt x="40" y="116"/>
                  <a:pt x="40" y="116"/>
                  <a:pt x="40" y="116"/>
                </a:cubicBezTo>
                <a:cubicBezTo>
                  <a:pt x="49" y="113"/>
                  <a:pt x="55" y="104"/>
                  <a:pt x="55" y="94"/>
                </a:cubicBezTo>
                <a:cubicBezTo>
                  <a:pt x="55" y="93"/>
                  <a:pt x="55" y="93"/>
                  <a:pt x="55" y="93"/>
                </a:cubicBezTo>
                <a:cubicBezTo>
                  <a:pt x="55" y="72"/>
                  <a:pt x="72" y="56"/>
                  <a:pt x="92" y="56"/>
                </a:cubicBezTo>
                <a:cubicBezTo>
                  <a:pt x="102" y="56"/>
                  <a:pt x="111" y="50"/>
                  <a:pt x="115" y="40"/>
                </a:cubicBezTo>
                <a:cubicBezTo>
                  <a:pt x="123" y="22"/>
                  <a:pt x="144" y="13"/>
                  <a:pt x="163" y="20"/>
                </a:cubicBezTo>
                <a:cubicBezTo>
                  <a:pt x="164" y="21"/>
                  <a:pt x="164" y="21"/>
                  <a:pt x="164" y="21"/>
                </a:cubicBezTo>
                <a:cubicBezTo>
                  <a:pt x="173" y="24"/>
                  <a:pt x="184" y="22"/>
                  <a:pt x="191" y="15"/>
                </a:cubicBezTo>
                <a:cubicBezTo>
                  <a:pt x="191" y="15"/>
                  <a:pt x="191" y="15"/>
                  <a:pt x="191" y="15"/>
                </a:cubicBezTo>
                <a:cubicBezTo>
                  <a:pt x="206" y="0"/>
                  <a:pt x="229" y="0"/>
                  <a:pt x="244" y="15"/>
                </a:cubicBezTo>
                <a:cubicBezTo>
                  <a:pt x="251" y="22"/>
                  <a:pt x="261" y="24"/>
                  <a:pt x="271" y="20"/>
                </a:cubicBezTo>
                <a:cubicBezTo>
                  <a:pt x="289" y="12"/>
                  <a:pt x="311" y="21"/>
                  <a:pt x="319" y="40"/>
                </a:cubicBezTo>
                <a:cubicBezTo>
                  <a:pt x="319" y="41"/>
                  <a:pt x="319" y="41"/>
                  <a:pt x="319" y="41"/>
                </a:cubicBezTo>
                <a:cubicBezTo>
                  <a:pt x="323" y="50"/>
                  <a:pt x="332" y="56"/>
                  <a:pt x="342" y="56"/>
                </a:cubicBezTo>
                <a:cubicBezTo>
                  <a:pt x="343" y="56"/>
                  <a:pt x="343" y="56"/>
                  <a:pt x="343" y="56"/>
                </a:cubicBezTo>
                <a:cubicBezTo>
                  <a:pt x="363" y="56"/>
                  <a:pt x="380" y="72"/>
                  <a:pt x="380" y="93"/>
                </a:cubicBezTo>
                <a:cubicBezTo>
                  <a:pt x="380" y="103"/>
                  <a:pt x="386" y="112"/>
                  <a:pt x="395" y="116"/>
                </a:cubicBezTo>
                <a:cubicBezTo>
                  <a:pt x="404" y="119"/>
                  <a:pt x="412" y="126"/>
                  <a:pt x="415" y="136"/>
                </a:cubicBezTo>
                <a:cubicBezTo>
                  <a:pt x="419" y="145"/>
                  <a:pt x="419" y="155"/>
                  <a:pt x="415" y="164"/>
                </a:cubicBezTo>
                <a:cubicBezTo>
                  <a:pt x="415" y="165"/>
                  <a:pt x="415" y="165"/>
                  <a:pt x="415" y="165"/>
                </a:cubicBezTo>
                <a:cubicBezTo>
                  <a:pt x="411" y="174"/>
                  <a:pt x="413" y="184"/>
                  <a:pt x="420" y="191"/>
                </a:cubicBezTo>
                <a:cubicBezTo>
                  <a:pt x="421" y="192"/>
                  <a:pt x="421" y="192"/>
                  <a:pt x="421" y="192"/>
                </a:cubicBezTo>
                <a:cubicBezTo>
                  <a:pt x="436" y="206"/>
                  <a:pt x="436" y="230"/>
                  <a:pt x="421" y="244"/>
                </a:cubicBezTo>
                <a:cubicBezTo>
                  <a:pt x="421" y="244"/>
                  <a:pt x="421" y="244"/>
                  <a:pt x="421" y="244"/>
                </a:cubicBezTo>
                <a:cubicBezTo>
                  <a:pt x="414" y="251"/>
                  <a:pt x="412" y="262"/>
                  <a:pt x="416" y="271"/>
                </a:cubicBezTo>
                <a:cubicBezTo>
                  <a:pt x="424" y="290"/>
                  <a:pt x="415" y="312"/>
                  <a:pt x="396" y="320"/>
                </a:cubicBezTo>
                <a:cubicBezTo>
                  <a:pt x="395" y="320"/>
                  <a:pt x="395" y="320"/>
                  <a:pt x="395" y="320"/>
                </a:cubicBezTo>
                <a:cubicBezTo>
                  <a:pt x="386" y="324"/>
                  <a:pt x="380" y="333"/>
                  <a:pt x="380" y="343"/>
                </a:cubicBezTo>
                <a:cubicBezTo>
                  <a:pt x="380" y="344"/>
                  <a:pt x="380" y="344"/>
                  <a:pt x="380" y="344"/>
                </a:cubicBezTo>
                <a:cubicBezTo>
                  <a:pt x="380" y="364"/>
                  <a:pt x="363" y="381"/>
                  <a:pt x="343" y="381"/>
                </a:cubicBezTo>
                <a:cubicBezTo>
                  <a:pt x="333" y="381"/>
                  <a:pt x="324" y="387"/>
                  <a:pt x="320" y="396"/>
                </a:cubicBezTo>
                <a:cubicBezTo>
                  <a:pt x="316" y="405"/>
                  <a:pt x="309" y="412"/>
                  <a:pt x="300" y="416"/>
                </a:cubicBezTo>
                <a:cubicBezTo>
                  <a:pt x="291" y="420"/>
                  <a:pt x="281" y="420"/>
                  <a:pt x="272" y="416"/>
                </a:cubicBezTo>
                <a:cubicBezTo>
                  <a:pt x="271" y="416"/>
                  <a:pt x="271" y="416"/>
                  <a:pt x="271" y="416"/>
                </a:cubicBezTo>
                <a:cubicBezTo>
                  <a:pt x="262" y="412"/>
                  <a:pt x="251" y="414"/>
                  <a:pt x="244" y="421"/>
                </a:cubicBezTo>
                <a:cubicBezTo>
                  <a:pt x="244" y="422"/>
                  <a:pt x="244" y="422"/>
                  <a:pt x="244" y="422"/>
                </a:cubicBezTo>
                <a:cubicBezTo>
                  <a:pt x="236" y="429"/>
                  <a:pt x="227" y="433"/>
                  <a:pt x="218" y="433"/>
                </a:cubicBezTo>
                <a:close/>
                <a:moveTo>
                  <a:pt x="174" y="402"/>
                </a:moveTo>
                <a:cubicBezTo>
                  <a:pt x="184" y="402"/>
                  <a:pt x="193" y="406"/>
                  <a:pt x="200" y="413"/>
                </a:cubicBezTo>
                <a:cubicBezTo>
                  <a:pt x="210" y="423"/>
                  <a:pt x="225" y="423"/>
                  <a:pt x="235" y="413"/>
                </a:cubicBezTo>
                <a:cubicBezTo>
                  <a:pt x="236" y="412"/>
                  <a:pt x="236" y="412"/>
                  <a:pt x="236" y="412"/>
                </a:cubicBezTo>
                <a:cubicBezTo>
                  <a:pt x="246" y="402"/>
                  <a:pt x="262" y="399"/>
                  <a:pt x="276" y="404"/>
                </a:cubicBezTo>
                <a:cubicBezTo>
                  <a:pt x="277" y="405"/>
                  <a:pt x="277" y="405"/>
                  <a:pt x="277" y="405"/>
                </a:cubicBezTo>
                <a:cubicBezTo>
                  <a:pt x="283" y="407"/>
                  <a:pt x="289" y="407"/>
                  <a:pt x="295" y="405"/>
                </a:cubicBezTo>
                <a:cubicBezTo>
                  <a:pt x="302" y="402"/>
                  <a:pt x="306" y="397"/>
                  <a:pt x="309" y="391"/>
                </a:cubicBezTo>
                <a:cubicBezTo>
                  <a:pt x="315" y="377"/>
                  <a:pt x="328" y="368"/>
                  <a:pt x="343" y="368"/>
                </a:cubicBezTo>
                <a:cubicBezTo>
                  <a:pt x="357" y="368"/>
                  <a:pt x="368" y="357"/>
                  <a:pt x="368" y="344"/>
                </a:cubicBezTo>
                <a:cubicBezTo>
                  <a:pt x="368" y="343"/>
                  <a:pt x="368" y="343"/>
                  <a:pt x="368" y="343"/>
                </a:cubicBezTo>
                <a:cubicBezTo>
                  <a:pt x="368" y="328"/>
                  <a:pt x="377" y="314"/>
                  <a:pt x="390" y="309"/>
                </a:cubicBezTo>
                <a:cubicBezTo>
                  <a:pt x="391" y="308"/>
                  <a:pt x="391" y="308"/>
                  <a:pt x="391" y="308"/>
                </a:cubicBezTo>
                <a:cubicBezTo>
                  <a:pt x="404" y="303"/>
                  <a:pt x="410" y="289"/>
                  <a:pt x="404" y="276"/>
                </a:cubicBezTo>
                <a:cubicBezTo>
                  <a:pt x="399" y="262"/>
                  <a:pt x="402" y="246"/>
                  <a:pt x="412" y="236"/>
                </a:cubicBezTo>
                <a:cubicBezTo>
                  <a:pt x="422" y="226"/>
                  <a:pt x="422" y="210"/>
                  <a:pt x="412" y="201"/>
                </a:cubicBezTo>
                <a:cubicBezTo>
                  <a:pt x="412" y="200"/>
                  <a:pt x="412" y="200"/>
                  <a:pt x="412" y="200"/>
                </a:cubicBezTo>
                <a:cubicBezTo>
                  <a:pt x="401" y="190"/>
                  <a:pt x="398" y="174"/>
                  <a:pt x="404" y="160"/>
                </a:cubicBezTo>
                <a:cubicBezTo>
                  <a:pt x="404" y="159"/>
                  <a:pt x="404" y="159"/>
                  <a:pt x="404" y="159"/>
                </a:cubicBezTo>
                <a:cubicBezTo>
                  <a:pt x="407" y="153"/>
                  <a:pt x="407" y="146"/>
                  <a:pt x="404" y="140"/>
                </a:cubicBezTo>
                <a:cubicBezTo>
                  <a:pt x="401" y="134"/>
                  <a:pt x="397" y="129"/>
                  <a:pt x="391" y="127"/>
                </a:cubicBezTo>
                <a:cubicBezTo>
                  <a:pt x="377" y="121"/>
                  <a:pt x="368" y="108"/>
                  <a:pt x="368" y="93"/>
                </a:cubicBezTo>
                <a:cubicBezTo>
                  <a:pt x="368" y="79"/>
                  <a:pt x="357" y="68"/>
                  <a:pt x="343" y="68"/>
                </a:cubicBezTo>
                <a:cubicBezTo>
                  <a:pt x="342" y="68"/>
                  <a:pt x="342" y="68"/>
                  <a:pt x="342" y="68"/>
                </a:cubicBezTo>
                <a:cubicBezTo>
                  <a:pt x="327" y="68"/>
                  <a:pt x="314" y="59"/>
                  <a:pt x="308" y="45"/>
                </a:cubicBezTo>
                <a:cubicBezTo>
                  <a:pt x="308" y="45"/>
                  <a:pt x="308" y="45"/>
                  <a:pt x="308" y="45"/>
                </a:cubicBezTo>
                <a:cubicBezTo>
                  <a:pt x="302" y="32"/>
                  <a:pt x="288" y="26"/>
                  <a:pt x="275" y="31"/>
                </a:cubicBezTo>
                <a:cubicBezTo>
                  <a:pt x="262" y="37"/>
                  <a:pt x="246" y="34"/>
                  <a:pt x="235" y="23"/>
                </a:cubicBezTo>
                <a:cubicBezTo>
                  <a:pt x="225" y="14"/>
                  <a:pt x="210" y="14"/>
                  <a:pt x="200" y="23"/>
                </a:cubicBezTo>
                <a:cubicBezTo>
                  <a:pt x="199" y="24"/>
                  <a:pt x="199" y="24"/>
                  <a:pt x="199" y="24"/>
                </a:cubicBezTo>
                <a:cubicBezTo>
                  <a:pt x="189" y="35"/>
                  <a:pt x="173" y="38"/>
                  <a:pt x="159" y="32"/>
                </a:cubicBezTo>
                <a:cubicBezTo>
                  <a:pt x="159" y="32"/>
                  <a:pt x="159" y="32"/>
                  <a:pt x="159" y="32"/>
                </a:cubicBezTo>
                <a:cubicBezTo>
                  <a:pt x="146" y="27"/>
                  <a:pt x="131" y="33"/>
                  <a:pt x="126" y="45"/>
                </a:cubicBezTo>
                <a:cubicBezTo>
                  <a:pt x="121" y="59"/>
                  <a:pt x="107" y="68"/>
                  <a:pt x="92" y="68"/>
                </a:cubicBezTo>
                <a:cubicBezTo>
                  <a:pt x="78" y="68"/>
                  <a:pt x="67" y="79"/>
                  <a:pt x="67" y="93"/>
                </a:cubicBezTo>
                <a:cubicBezTo>
                  <a:pt x="67" y="94"/>
                  <a:pt x="67" y="94"/>
                  <a:pt x="67" y="94"/>
                </a:cubicBezTo>
                <a:cubicBezTo>
                  <a:pt x="67" y="109"/>
                  <a:pt x="58" y="122"/>
                  <a:pt x="45" y="128"/>
                </a:cubicBezTo>
                <a:cubicBezTo>
                  <a:pt x="44" y="128"/>
                  <a:pt x="44" y="128"/>
                  <a:pt x="44" y="128"/>
                </a:cubicBezTo>
                <a:cubicBezTo>
                  <a:pt x="31" y="133"/>
                  <a:pt x="25" y="148"/>
                  <a:pt x="31" y="160"/>
                </a:cubicBezTo>
                <a:cubicBezTo>
                  <a:pt x="36" y="174"/>
                  <a:pt x="33" y="190"/>
                  <a:pt x="23" y="201"/>
                </a:cubicBezTo>
                <a:cubicBezTo>
                  <a:pt x="13" y="210"/>
                  <a:pt x="13" y="226"/>
                  <a:pt x="23" y="236"/>
                </a:cubicBezTo>
                <a:cubicBezTo>
                  <a:pt x="23" y="236"/>
                  <a:pt x="23" y="236"/>
                  <a:pt x="23" y="236"/>
                </a:cubicBezTo>
                <a:cubicBezTo>
                  <a:pt x="34" y="247"/>
                  <a:pt x="37" y="263"/>
                  <a:pt x="31" y="276"/>
                </a:cubicBezTo>
                <a:cubicBezTo>
                  <a:pt x="31" y="277"/>
                  <a:pt x="31" y="277"/>
                  <a:pt x="31" y="277"/>
                </a:cubicBezTo>
                <a:cubicBezTo>
                  <a:pt x="28" y="283"/>
                  <a:pt x="29" y="290"/>
                  <a:pt x="31" y="296"/>
                </a:cubicBezTo>
                <a:cubicBezTo>
                  <a:pt x="34" y="302"/>
                  <a:pt x="38" y="307"/>
                  <a:pt x="44" y="309"/>
                </a:cubicBezTo>
                <a:cubicBezTo>
                  <a:pt x="58" y="315"/>
                  <a:pt x="67" y="329"/>
                  <a:pt x="67" y="344"/>
                </a:cubicBezTo>
                <a:cubicBezTo>
                  <a:pt x="67" y="357"/>
                  <a:pt x="78" y="368"/>
                  <a:pt x="92" y="368"/>
                </a:cubicBezTo>
                <a:cubicBezTo>
                  <a:pt x="93" y="368"/>
                  <a:pt x="93" y="368"/>
                  <a:pt x="93" y="368"/>
                </a:cubicBezTo>
                <a:cubicBezTo>
                  <a:pt x="108" y="368"/>
                  <a:pt x="121" y="377"/>
                  <a:pt x="127" y="391"/>
                </a:cubicBezTo>
                <a:cubicBezTo>
                  <a:pt x="127" y="392"/>
                  <a:pt x="127" y="392"/>
                  <a:pt x="127" y="392"/>
                </a:cubicBezTo>
                <a:cubicBezTo>
                  <a:pt x="133" y="404"/>
                  <a:pt x="147" y="410"/>
                  <a:pt x="160" y="405"/>
                </a:cubicBezTo>
                <a:cubicBezTo>
                  <a:pt x="164" y="403"/>
                  <a:pt x="169" y="402"/>
                  <a:pt x="174" y="402"/>
                </a:cubicBezTo>
                <a:close/>
                <a:moveTo>
                  <a:pt x="417" y="240"/>
                </a:moveTo>
                <a:cubicBezTo>
                  <a:pt x="417" y="240"/>
                  <a:pt x="417" y="240"/>
                  <a:pt x="417" y="24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65" name="Freeform 1030">
            <a:extLst>
              <a:ext uri="{FF2B5EF4-FFF2-40B4-BE49-F238E27FC236}">
                <a16:creationId xmlns:a16="http://schemas.microsoft.com/office/drawing/2014/main" id="{BD680BC0-F09F-21F2-527B-D85A4991E144}"/>
              </a:ext>
            </a:extLst>
          </p:cNvPr>
          <p:cNvSpPr>
            <a:spLocks noEditPoints="1"/>
          </p:cNvSpPr>
          <p:nvPr/>
        </p:nvSpPr>
        <p:spPr bwMode="auto">
          <a:xfrm>
            <a:off x="10922098" y="1750417"/>
            <a:ext cx="411438" cy="411437"/>
          </a:xfrm>
          <a:custGeom>
            <a:avLst/>
            <a:gdLst>
              <a:gd name="T0" fmla="*/ 165 w 331"/>
              <a:gd name="T1" fmla="*/ 331 h 331"/>
              <a:gd name="T2" fmla="*/ 0 w 331"/>
              <a:gd name="T3" fmla="*/ 165 h 331"/>
              <a:gd name="T4" fmla="*/ 165 w 331"/>
              <a:gd name="T5" fmla="*/ 0 h 331"/>
              <a:gd name="T6" fmla="*/ 331 w 331"/>
              <a:gd name="T7" fmla="*/ 165 h 331"/>
              <a:gd name="T8" fmla="*/ 165 w 331"/>
              <a:gd name="T9" fmla="*/ 331 h 331"/>
              <a:gd name="T10" fmla="*/ 165 w 331"/>
              <a:gd name="T11" fmla="*/ 11 h 331"/>
              <a:gd name="T12" fmla="*/ 11 w 331"/>
              <a:gd name="T13" fmla="*/ 165 h 331"/>
              <a:gd name="T14" fmla="*/ 165 w 331"/>
              <a:gd name="T15" fmla="*/ 320 h 331"/>
              <a:gd name="T16" fmla="*/ 320 w 331"/>
              <a:gd name="T17" fmla="*/ 165 h 331"/>
              <a:gd name="T18" fmla="*/ 165 w 331"/>
              <a:gd name="T19" fmla="*/ 11 h 3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31" h="331">
                <a:moveTo>
                  <a:pt x="165" y="331"/>
                </a:moveTo>
                <a:cubicBezTo>
                  <a:pt x="74" y="331"/>
                  <a:pt x="0" y="257"/>
                  <a:pt x="0" y="165"/>
                </a:cubicBezTo>
                <a:cubicBezTo>
                  <a:pt x="0" y="74"/>
                  <a:pt x="74" y="0"/>
                  <a:pt x="165" y="0"/>
                </a:cubicBezTo>
                <a:cubicBezTo>
                  <a:pt x="257" y="0"/>
                  <a:pt x="331" y="74"/>
                  <a:pt x="331" y="165"/>
                </a:cubicBezTo>
                <a:cubicBezTo>
                  <a:pt x="331" y="257"/>
                  <a:pt x="257" y="331"/>
                  <a:pt x="165" y="331"/>
                </a:cubicBezTo>
                <a:close/>
                <a:moveTo>
                  <a:pt x="165" y="11"/>
                </a:moveTo>
                <a:cubicBezTo>
                  <a:pt x="80" y="11"/>
                  <a:pt x="11" y="80"/>
                  <a:pt x="11" y="165"/>
                </a:cubicBezTo>
                <a:cubicBezTo>
                  <a:pt x="11" y="250"/>
                  <a:pt x="80" y="320"/>
                  <a:pt x="165" y="320"/>
                </a:cubicBezTo>
                <a:cubicBezTo>
                  <a:pt x="251" y="320"/>
                  <a:pt x="320" y="250"/>
                  <a:pt x="320" y="165"/>
                </a:cubicBezTo>
                <a:cubicBezTo>
                  <a:pt x="320" y="80"/>
                  <a:pt x="251" y="11"/>
                  <a:pt x="165" y="1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66" name="Freeform 1031">
            <a:extLst>
              <a:ext uri="{FF2B5EF4-FFF2-40B4-BE49-F238E27FC236}">
                <a16:creationId xmlns:a16="http://schemas.microsoft.com/office/drawing/2014/main" id="{6D5795F5-04AA-4208-667B-1147C8974F72}"/>
              </a:ext>
            </a:extLst>
          </p:cNvPr>
          <p:cNvSpPr>
            <a:spLocks/>
          </p:cNvSpPr>
          <p:nvPr/>
        </p:nvSpPr>
        <p:spPr bwMode="auto">
          <a:xfrm>
            <a:off x="10984667" y="1805403"/>
            <a:ext cx="288196" cy="68256"/>
          </a:xfrm>
          <a:custGeom>
            <a:avLst/>
            <a:gdLst>
              <a:gd name="T0" fmla="*/ 115 w 232"/>
              <a:gd name="T1" fmla="*/ 55 h 55"/>
              <a:gd name="T2" fmla="*/ 2 w 232"/>
              <a:gd name="T3" fmla="*/ 11 h 55"/>
              <a:gd name="T4" fmla="*/ 2 w 232"/>
              <a:gd name="T5" fmla="*/ 3 h 55"/>
              <a:gd name="T6" fmla="*/ 10 w 232"/>
              <a:gd name="T7" fmla="*/ 3 h 55"/>
              <a:gd name="T8" fmla="*/ 115 w 232"/>
              <a:gd name="T9" fmla="*/ 45 h 55"/>
              <a:gd name="T10" fmla="*/ 222 w 232"/>
              <a:gd name="T11" fmla="*/ 2 h 55"/>
              <a:gd name="T12" fmla="*/ 230 w 232"/>
              <a:gd name="T13" fmla="*/ 2 h 55"/>
              <a:gd name="T14" fmla="*/ 229 w 232"/>
              <a:gd name="T15" fmla="*/ 10 h 55"/>
              <a:gd name="T16" fmla="*/ 115 w 232"/>
              <a:gd name="T17" fmla="*/ 55 h 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32" h="55">
                <a:moveTo>
                  <a:pt x="115" y="55"/>
                </a:moveTo>
                <a:cubicBezTo>
                  <a:pt x="73" y="55"/>
                  <a:pt x="33" y="40"/>
                  <a:pt x="2" y="11"/>
                </a:cubicBezTo>
                <a:cubicBezTo>
                  <a:pt x="0" y="9"/>
                  <a:pt x="0" y="5"/>
                  <a:pt x="2" y="3"/>
                </a:cubicBezTo>
                <a:cubicBezTo>
                  <a:pt x="4" y="1"/>
                  <a:pt x="8" y="1"/>
                  <a:pt x="10" y="3"/>
                </a:cubicBezTo>
                <a:cubicBezTo>
                  <a:pt x="39" y="30"/>
                  <a:pt x="76" y="45"/>
                  <a:pt x="115" y="45"/>
                </a:cubicBezTo>
                <a:cubicBezTo>
                  <a:pt x="155" y="45"/>
                  <a:pt x="193" y="29"/>
                  <a:pt x="222" y="2"/>
                </a:cubicBezTo>
                <a:cubicBezTo>
                  <a:pt x="224" y="0"/>
                  <a:pt x="228" y="0"/>
                  <a:pt x="230" y="2"/>
                </a:cubicBezTo>
                <a:cubicBezTo>
                  <a:pt x="232" y="4"/>
                  <a:pt x="232" y="8"/>
                  <a:pt x="229" y="10"/>
                </a:cubicBezTo>
                <a:cubicBezTo>
                  <a:pt x="199" y="39"/>
                  <a:pt x="158" y="55"/>
                  <a:pt x="115" y="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67" name="Freeform 1032">
            <a:extLst>
              <a:ext uri="{FF2B5EF4-FFF2-40B4-BE49-F238E27FC236}">
                <a16:creationId xmlns:a16="http://schemas.microsoft.com/office/drawing/2014/main" id="{A345ED21-ED0E-4346-3F7C-31DE1278B847}"/>
              </a:ext>
            </a:extLst>
          </p:cNvPr>
          <p:cNvSpPr>
            <a:spLocks/>
          </p:cNvSpPr>
          <p:nvPr/>
        </p:nvSpPr>
        <p:spPr bwMode="auto">
          <a:xfrm>
            <a:off x="10986565" y="2036720"/>
            <a:ext cx="284404" cy="66362"/>
          </a:xfrm>
          <a:custGeom>
            <a:avLst/>
            <a:gdLst>
              <a:gd name="T0" fmla="*/ 6 w 229"/>
              <a:gd name="T1" fmla="*/ 54 h 54"/>
              <a:gd name="T2" fmla="*/ 2 w 229"/>
              <a:gd name="T3" fmla="*/ 53 h 54"/>
              <a:gd name="T4" fmla="*/ 2 w 229"/>
              <a:gd name="T5" fmla="*/ 45 h 54"/>
              <a:gd name="T6" fmla="*/ 114 w 229"/>
              <a:gd name="T7" fmla="*/ 0 h 54"/>
              <a:gd name="T8" fmla="*/ 226 w 229"/>
              <a:gd name="T9" fmla="*/ 44 h 54"/>
              <a:gd name="T10" fmla="*/ 227 w 229"/>
              <a:gd name="T11" fmla="*/ 52 h 54"/>
              <a:gd name="T12" fmla="*/ 219 w 229"/>
              <a:gd name="T13" fmla="*/ 52 h 54"/>
              <a:gd name="T14" fmla="*/ 114 w 229"/>
              <a:gd name="T15" fmla="*/ 11 h 54"/>
              <a:gd name="T16" fmla="*/ 9 w 229"/>
              <a:gd name="T17" fmla="*/ 53 h 54"/>
              <a:gd name="T18" fmla="*/ 6 w 229"/>
              <a:gd name="T19" fmla="*/ 54 h 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29" h="54">
                <a:moveTo>
                  <a:pt x="6" y="54"/>
                </a:moveTo>
                <a:cubicBezTo>
                  <a:pt x="4" y="54"/>
                  <a:pt x="3" y="54"/>
                  <a:pt x="2" y="53"/>
                </a:cubicBezTo>
                <a:cubicBezTo>
                  <a:pt x="0" y="50"/>
                  <a:pt x="0" y="47"/>
                  <a:pt x="2" y="45"/>
                </a:cubicBezTo>
                <a:cubicBezTo>
                  <a:pt x="33" y="16"/>
                  <a:pt x="73" y="0"/>
                  <a:pt x="114" y="0"/>
                </a:cubicBezTo>
                <a:cubicBezTo>
                  <a:pt x="156" y="0"/>
                  <a:pt x="196" y="16"/>
                  <a:pt x="226" y="44"/>
                </a:cubicBezTo>
                <a:cubicBezTo>
                  <a:pt x="228" y="46"/>
                  <a:pt x="229" y="49"/>
                  <a:pt x="227" y="52"/>
                </a:cubicBezTo>
                <a:cubicBezTo>
                  <a:pt x="224" y="54"/>
                  <a:pt x="221" y="54"/>
                  <a:pt x="219" y="52"/>
                </a:cubicBezTo>
                <a:cubicBezTo>
                  <a:pt x="190" y="26"/>
                  <a:pt x="153" y="11"/>
                  <a:pt x="114" y="11"/>
                </a:cubicBezTo>
                <a:cubicBezTo>
                  <a:pt x="75" y="11"/>
                  <a:pt x="38" y="26"/>
                  <a:pt x="9" y="53"/>
                </a:cubicBezTo>
                <a:cubicBezTo>
                  <a:pt x="8" y="54"/>
                  <a:pt x="7" y="54"/>
                  <a:pt x="6" y="5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68" name="Freeform 1033">
            <a:extLst>
              <a:ext uri="{FF2B5EF4-FFF2-40B4-BE49-F238E27FC236}">
                <a16:creationId xmlns:a16="http://schemas.microsoft.com/office/drawing/2014/main" id="{19DB9C91-207C-99ED-9E02-72010B5AFF83}"/>
              </a:ext>
            </a:extLst>
          </p:cNvPr>
          <p:cNvSpPr>
            <a:spLocks noEditPoints="1"/>
          </p:cNvSpPr>
          <p:nvPr/>
        </p:nvSpPr>
        <p:spPr bwMode="auto">
          <a:xfrm>
            <a:off x="11016902" y="1750417"/>
            <a:ext cx="221835" cy="411437"/>
          </a:xfrm>
          <a:custGeom>
            <a:avLst/>
            <a:gdLst>
              <a:gd name="T0" fmla="*/ 89 w 179"/>
              <a:gd name="T1" fmla="*/ 331 h 331"/>
              <a:gd name="T2" fmla="*/ 0 w 179"/>
              <a:gd name="T3" fmla="*/ 165 h 331"/>
              <a:gd name="T4" fmla="*/ 89 w 179"/>
              <a:gd name="T5" fmla="*/ 0 h 331"/>
              <a:gd name="T6" fmla="*/ 179 w 179"/>
              <a:gd name="T7" fmla="*/ 165 h 331"/>
              <a:gd name="T8" fmla="*/ 89 w 179"/>
              <a:gd name="T9" fmla="*/ 331 h 331"/>
              <a:gd name="T10" fmla="*/ 89 w 179"/>
              <a:gd name="T11" fmla="*/ 11 h 331"/>
              <a:gd name="T12" fmla="*/ 11 w 179"/>
              <a:gd name="T13" fmla="*/ 165 h 331"/>
              <a:gd name="T14" fmla="*/ 89 w 179"/>
              <a:gd name="T15" fmla="*/ 320 h 331"/>
              <a:gd name="T16" fmla="*/ 168 w 179"/>
              <a:gd name="T17" fmla="*/ 165 h 331"/>
              <a:gd name="T18" fmla="*/ 89 w 179"/>
              <a:gd name="T19" fmla="*/ 11 h 3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79" h="331">
                <a:moveTo>
                  <a:pt x="89" y="331"/>
                </a:moveTo>
                <a:cubicBezTo>
                  <a:pt x="39" y="331"/>
                  <a:pt x="0" y="258"/>
                  <a:pt x="0" y="165"/>
                </a:cubicBezTo>
                <a:cubicBezTo>
                  <a:pt x="0" y="73"/>
                  <a:pt x="39" y="0"/>
                  <a:pt x="89" y="0"/>
                </a:cubicBezTo>
                <a:cubicBezTo>
                  <a:pt x="140" y="0"/>
                  <a:pt x="179" y="73"/>
                  <a:pt x="179" y="165"/>
                </a:cubicBezTo>
                <a:cubicBezTo>
                  <a:pt x="179" y="258"/>
                  <a:pt x="140" y="331"/>
                  <a:pt x="89" y="331"/>
                </a:cubicBezTo>
                <a:close/>
                <a:moveTo>
                  <a:pt x="89" y="11"/>
                </a:moveTo>
                <a:cubicBezTo>
                  <a:pt x="46" y="11"/>
                  <a:pt x="11" y="80"/>
                  <a:pt x="11" y="165"/>
                </a:cubicBezTo>
                <a:cubicBezTo>
                  <a:pt x="11" y="250"/>
                  <a:pt x="46" y="320"/>
                  <a:pt x="89" y="320"/>
                </a:cubicBezTo>
                <a:cubicBezTo>
                  <a:pt x="133" y="320"/>
                  <a:pt x="168" y="250"/>
                  <a:pt x="168" y="165"/>
                </a:cubicBezTo>
                <a:cubicBezTo>
                  <a:pt x="168" y="80"/>
                  <a:pt x="133" y="11"/>
                  <a:pt x="89" y="1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69" name="Freeform 1034">
            <a:extLst>
              <a:ext uri="{FF2B5EF4-FFF2-40B4-BE49-F238E27FC236}">
                <a16:creationId xmlns:a16="http://schemas.microsoft.com/office/drawing/2014/main" id="{BD0D7843-98EE-9093-66E1-ED72CF8CF18C}"/>
              </a:ext>
            </a:extLst>
          </p:cNvPr>
          <p:cNvSpPr>
            <a:spLocks/>
          </p:cNvSpPr>
          <p:nvPr/>
        </p:nvSpPr>
        <p:spPr bwMode="auto">
          <a:xfrm>
            <a:off x="10922098" y="1949501"/>
            <a:ext cx="411438" cy="13274"/>
          </a:xfrm>
          <a:custGeom>
            <a:avLst/>
            <a:gdLst>
              <a:gd name="T0" fmla="*/ 325 w 331"/>
              <a:gd name="T1" fmla="*/ 11 h 11"/>
              <a:gd name="T2" fmla="*/ 6 w 331"/>
              <a:gd name="T3" fmla="*/ 11 h 11"/>
              <a:gd name="T4" fmla="*/ 0 w 331"/>
              <a:gd name="T5" fmla="*/ 5 h 11"/>
              <a:gd name="T6" fmla="*/ 6 w 331"/>
              <a:gd name="T7" fmla="*/ 0 h 11"/>
              <a:gd name="T8" fmla="*/ 325 w 331"/>
              <a:gd name="T9" fmla="*/ 0 h 11"/>
              <a:gd name="T10" fmla="*/ 331 w 331"/>
              <a:gd name="T11" fmla="*/ 5 h 11"/>
              <a:gd name="T12" fmla="*/ 325 w 331"/>
              <a:gd name="T13" fmla="*/ 11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31" h="11">
                <a:moveTo>
                  <a:pt x="325" y="11"/>
                </a:moveTo>
                <a:cubicBezTo>
                  <a:pt x="6" y="11"/>
                  <a:pt x="6" y="11"/>
                  <a:pt x="6" y="11"/>
                </a:cubicBezTo>
                <a:cubicBezTo>
                  <a:pt x="3" y="11"/>
                  <a:pt x="0" y="9"/>
                  <a:pt x="0" y="5"/>
                </a:cubicBezTo>
                <a:cubicBezTo>
                  <a:pt x="0" y="2"/>
                  <a:pt x="3" y="0"/>
                  <a:pt x="6" y="0"/>
                </a:cubicBezTo>
                <a:cubicBezTo>
                  <a:pt x="325" y="0"/>
                  <a:pt x="325" y="0"/>
                  <a:pt x="325" y="0"/>
                </a:cubicBezTo>
                <a:cubicBezTo>
                  <a:pt x="328" y="0"/>
                  <a:pt x="331" y="2"/>
                  <a:pt x="331" y="5"/>
                </a:cubicBezTo>
                <a:cubicBezTo>
                  <a:pt x="331" y="9"/>
                  <a:pt x="328" y="11"/>
                  <a:pt x="325" y="1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70" name="Freeform 1035">
            <a:extLst>
              <a:ext uri="{FF2B5EF4-FFF2-40B4-BE49-F238E27FC236}">
                <a16:creationId xmlns:a16="http://schemas.microsoft.com/office/drawing/2014/main" id="{0A5F168C-73E0-8798-3701-141DEF15A76C}"/>
              </a:ext>
            </a:extLst>
          </p:cNvPr>
          <p:cNvSpPr>
            <a:spLocks/>
          </p:cNvSpPr>
          <p:nvPr/>
        </p:nvSpPr>
        <p:spPr bwMode="auto">
          <a:xfrm>
            <a:off x="11121182" y="1750417"/>
            <a:ext cx="13274" cy="411437"/>
          </a:xfrm>
          <a:custGeom>
            <a:avLst/>
            <a:gdLst>
              <a:gd name="T0" fmla="*/ 5 w 11"/>
              <a:gd name="T1" fmla="*/ 331 h 331"/>
              <a:gd name="T2" fmla="*/ 0 w 11"/>
              <a:gd name="T3" fmla="*/ 325 h 331"/>
              <a:gd name="T4" fmla="*/ 0 w 11"/>
              <a:gd name="T5" fmla="*/ 6 h 331"/>
              <a:gd name="T6" fmla="*/ 5 w 11"/>
              <a:gd name="T7" fmla="*/ 0 h 331"/>
              <a:gd name="T8" fmla="*/ 11 w 11"/>
              <a:gd name="T9" fmla="*/ 6 h 331"/>
              <a:gd name="T10" fmla="*/ 11 w 11"/>
              <a:gd name="T11" fmla="*/ 325 h 331"/>
              <a:gd name="T12" fmla="*/ 5 w 11"/>
              <a:gd name="T13" fmla="*/ 331 h 3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" h="331">
                <a:moveTo>
                  <a:pt x="5" y="331"/>
                </a:moveTo>
                <a:cubicBezTo>
                  <a:pt x="2" y="331"/>
                  <a:pt x="0" y="328"/>
                  <a:pt x="0" y="325"/>
                </a:cubicBezTo>
                <a:cubicBezTo>
                  <a:pt x="0" y="6"/>
                  <a:pt x="0" y="6"/>
                  <a:pt x="0" y="6"/>
                </a:cubicBezTo>
                <a:cubicBezTo>
                  <a:pt x="0" y="3"/>
                  <a:pt x="2" y="0"/>
                  <a:pt x="5" y="0"/>
                </a:cubicBezTo>
                <a:cubicBezTo>
                  <a:pt x="9" y="0"/>
                  <a:pt x="11" y="3"/>
                  <a:pt x="11" y="6"/>
                </a:cubicBezTo>
                <a:cubicBezTo>
                  <a:pt x="11" y="325"/>
                  <a:pt x="11" y="325"/>
                  <a:pt x="11" y="325"/>
                </a:cubicBezTo>
                <a:cubicBezTo>
                  <a:pt x="11" y="328"/>
                  <a:pt x="9" y="331"/>
                  <a:pt x="5" y="33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</p:spTree>
    <p:extLst>
      <p:ext uri="{BB962C8B-B14F-4D97-AF65-F5344CB8AC3E}">
        <p14:creationId xmlns:p14="http://schemas.microsoft.com/office/powerpoint/2010/main" val="1795513073"/>
      </p:ext>
    </p:extLst>
  </p:cSld>
  <p:clrMapOvr>
    <a:masterClrMapping/>
  </p:clrMapOvr>
</p:sld>
</file>

<file path=ppt/slides/slide2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38D785-9F37-E5EB-5820-66DB2855A6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1A398427-0847-A3EC-D65D-A0161EE7389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398427-0847-A3EC-D65D-A0161EE738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E3A4435-2986-AFA2-A2A3-1757005B2D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ase Study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6A23A35E-7847-F14D-684F-B795932B803C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202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6" name="Shape1_20220427_135811">
            <a:extLst>
              <a:ext uri="{FF2B5EF4-FFF2-40B4-BE49-F238E27FC236}">
                <a16:creationId xmlns:a16="http://schemas.microsoft.com/office/drawing/2014/main" id="{E7F58F31-A5E0-103C-9876-A73AD37C16FA}"/>
              </a:ext>
            </a:extLst>
          </p:cNvPr>
          <p:cNvSpPr txBox="1">
            <a:spLocks/>
          </p:cNvSpPr>
          <p:nvPr/>
        </p:nvSpPr>
        <p:spPr>
          <a:xfrm>
            <a:off x="6276489" y="4010675"/>
            <a:ext cx="1843875" cy="215444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501427">
              <a:spcBef>
                <a:spcPct val="0"/>
              </a:spcBef>
              <a:defRPr/>
            </a:pPr>
            <a:r>
              <a:rPr lang="en-US" sz="1400" dirty="0">
                <a:solidFill>
                  <a:schemeClr val="tx1">
                    <a:lumMod val="100000"/>
                  </a:schemeClr>
                </a:solidFill>
              </a:rPr>
              <a:t>Title</a:t>
            </a:r>
          </a:p>
        </p:txBody>
      </p:sp>
      <p:sp>
        <p:nvSpPr>
          <p:cNvPr id="7" name="Shape2_20220427_135811">
            <a:extLst>
              <a:ext uri="{FF2B5EF4-FFF2-40B4-BE49-F238E27FC236}">
                <a16:creationId xmlns:a16="http://schemas.microsoft.com/office/drawing/2014/main" id="{AABC44EB-E0AD-7C03-1486-7A1759C74DD2}"/>
              </a:ext>
            </a:extLst>
          </p:cNvPr>
          <p:cNvSpPr txBox="1">
            <a:spLocks/>
          </p:cNvSpPr>
          <p:nvPr/>
        </p:nvSpPr>
        <p:spPr>
          <a:xfrm>
            <a:off x="6276489" y="4240597"/>
            <a:ext cx="1843875" cy="21544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501427">
              <a:spcBef>
                <a:spcPct val="0"/>
              </a:spcBef>
              <a:defRPr/>
            </a:pPr>
            <a:r>
              <a:rPr lang="en-US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8" name="Shape1_20221012_144847">
            <a:extLst>
              <a:ext uri="{FF2B5EF4-FFF2-40B4-BE49-F238E27FC236}">
                <a16:creationId xmlns:a16="http://schemas.microsoft.com/office/drawing/2014/main" id="{BB72C708-6F43-6ED6-33B7-070E6A61F342}"/>
              </a:ext>
            </a:extLst>
          </p:cNvPr>
          <p:cNvSpPr/>
          <p:nvPr/>
        </p:nvSpPr>
        <p:spPr>
          <a:xfrm>
            <a:off x="5168003" y="3789394"/>
            <a:ext cx="855949" cy="855949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IN" sz="2400" dirty="0">
              <a:solidFill>
                <a:prstClr val="white"/>
              </a:solidFill>
            </a:endParaRPr>
          </a:p>
        </p:txBody>
      </p:sp>
      <p:sp>
        <p:nvSpPr>
          <p:cNvPr id="9" name="Shape3_20220427_135811">
            <a:extLst>
              <a:ext uri="{FF2B5EF4-FFF2-40B4-BE49-F238E27FC236}">
                <a16:creationId xmlns:a16="http://schemas.microsoft.com/office/drawing/2014/main" id="{6FD1FA43-6DD2-48E6-96E1-2ADFB5A64E77}"/>
              </a:ext>
            </a:extLst>
          </p:cNvPr>
          <p:cNvSpPr txBox="1">
            <a:spLocks/>
          </p:cNvSpPr>
          <p:nvPr/>
        </p:nvSpPr>
        <p:spPr>
          <a:xfrm>
            <a:off x="9936937" y="4010675"/>
            <a:ext cx="1843875" cy="215444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501427">
              <a:spcBef>
                <a:spcPct val="0"/>
              </a:spcBef>
              <a:defRPr/>
            </a:pPr>
            <a:r>
              <a:rPr lang="en-US" sz="1400" dirty="0">
                <a:solidFill>
                  <a:schemeClr val="tx1">
                    <a:lumMod val="100000"/>
                  </a:schemeClr>
                </a:solidFill>
              </a:rPr>
              <a:t>Title</a:t>
            </a:r>
          </a:p>
        </p:txBody>
      </p:sp>
      <p:sp>
        <p:nvSpPr>
          <p:cNvPr id="10" name="Shape4_20220427_135811">
            <a:extLst>
              <a:ext uri="{FF2B5EF4-FFF2-40B4-BE49-F238E27FC236}">
                <a16:creationId xmlns:a16="http://schemas.microsoft.com/office/drawing/2014/main" id="{CA0A3597-4220-C352-C523-A8AD49637CB5}"/>
              </a:ext>
            </a:extLst>
          </p:cNvPr>
          <p:cNvSpPr txBox="1">
            <a:spLocks/>
          </p:cNvSpPr>
          <p:nvPr/>
        </p:nvSpPr>
        <p:spPr>
          <a:xfrm>
            <a:off x="9936937" y="4240597"/>
            <a:ext cx="1843875" cy="21544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501427">
              <a:spcBef>
                <a:spcPct val="0"/>
              </a:spcBef>
              <a:defRPr/>
            </a:pPr>
            <a:r>
              <a:rPr lang="en-US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11" name="Shape2_20221012_144847">
            <a:extLst>
              <a:ext uri="{FF2B5EF4-FFF2-40B4-BE49-F238E27FC236}">
                <a16:creationId xmlns:a16="http://schemas.microsoft.com/office/drawing/2014/main" id="{F115F3BF-966A-45E8-E27D-B32FF083EBC7}"/>
              </a:ext>
            </a:extLst>
          </p:cNvPr>
          <p:cNvSpPr/>
          <p:nvPr/>
        </p:nvSpPr>
        <p:spPr>
          <a:xfrm>
            <a:off x="8828446" y="3789394"/>
            <a:ext cx="855949" cy="855949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IN" sz="2400" dirty="0">
              <a:solidFill>
                <a:prstClr val="white"/>
              </a:solidFill>
            </a:endParaRPr>
          </a:p>
        </p:txBody>
      </p:sp>
      <p:sp>
        <p:nvSpPr>
          <p:cNvPr id="12" name="Freeform 380">
            <a:extLst>
              <a:ext uri="{FF2B5EF4-FFF2-40B4-BE49-F238E27FC236}">
                <a16:creationId xmlns:a16="http://schemas.microsoft.com/office/drawing/2014/main" id="{51C3F7FE-CE6A-E300-E968-EB233C881EB9}"/>
              </a:ext>
            </a:extLst>
          </p:cNvPr>
          <p:cNvSpPr>
            <a:spLocks noEditPoints="1"/>
          </p:cNvSpPr>
          <p:nvPr/>
        </p:nvSpPr>
        <p:spPr bwMode="auto">
          <a:xfrm>
            <a:off x="5358642" y="3977659"/>
            <a:ext cx="370244" cy="374992"/>
          </a:xfrm>
          <a:custGeom>
            <a:avLst/>
            <a:gdLst>
              <a:gd name="T0" fmla="*/ 142 w 285"/>
              <a:gd name="T1" fmla="*/ 285 h 285"/>
              <a:gd name="T2" fmla="*/ 0 w 285"/>
              <a:gd name="T3" fmla="*/ 143 h 285"/>
              <a:gd name="T4" fmla="*/ 142 w 285"/>
              <a:gd name="T5" fmla="*/ 0 h 285"/>
              <a:gd name="T6" fmla="*/ 285 w 285"/>
              <a:gd name="T7" fmla="*/ 143 h 285"/>
              <a:gd name="T8" fmla="*/ 142 w 285"/>
              <a:gd name="T9" fmla="*/ 285 h 285"/>
              <a:gd name="T10" fmla="*/ 142 w 285"/>
              <a:gd name="T11" fmla="*/ 12 h 285"/>
              <a:gd name="T12" fmla="*/ 12 w 285"/>
              <a:gd name="T13" fmla="*/ 143 h 285"/>
              <a:gd name="T14" fmla="*/ 142 w 285"/>
              <a:gd name="T15" fmla="*/ 273 h 285"/>
              <a:gd name="T16" fmla="*/ 273 w 285"/>
              <a:gd name="T17" fmla="*/ 143 h 285"/>
              <a:gd name="T18" fmla="*/ 142 w 285"/>
              <a:gd name="T19" fmla="*/ 12 h 2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85" h="285">
                <a:moveTo>
                  <a:pt x="142" y="285"/>
                </a:moveTo>
                <a:cubicBezTo>
                  <a:pt x="64" y="285"/>
                  <a:pt x="0" y="221"/>
                  <a:pt x="0" y="143"/>
                </a:cubicBezTo>
                <a:cubicBezTo>
                  <a:pt x="0" y="64"/>
                  <a:pt x="64" y="0"/>
                  <a:pt x="142" y="0"/>
                </a:cubicBezTo>
                <a:cubicBezTo>
                  <a:pt x="221" y="0"/>
                  <a:pt x="285" y="64"/>
                  <a:pt x="285" y="143"/>
                </a:cubicBezTo>
                <a:cubicBezTo>
                  <a:pt x="285" y="221"/>
                  <a:pt x="221" y="285"/>
                  <a:pt x="142" y="285"/>
                </a:cubicBezTo>
                <a:close/>
                <a:moveTo>
                  <a:pt x="142" y="12"/>
                </a:moveTo>
                <a:cubicBezTo>
                  <a:pt x="70" y="12"/>
                  <a:pt x="12" y="71"/>
                  <a:pt x="12" y="143"/>
                </a:cubicBezTo>
                <a:cubicBezTo>
                  <a:pt x="12" y="214"/>
                  <a:pt x="70" y="273"/>
                  <a:pt x="142" y="273"/>
                </a:cubicBezTo>
                <a:cubicBezTo>
                  <a:pt x="214" y="273"/>
                  <a:pt x="273" y="214"/>
                  <a:pt x="273" y="143"/>
                </a:cubicBezTo>
                <a:cubicBezTo>
                  <a:pt x="273" y="71"/>
                  <a:pt x="214" y="12"/>
                  <a:pt x="142" y="1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400" dirty="0"/>
          </a:p>
        </p:txBody>
      </p:sp>
      <p:sp>
        <p:nvSpPr>
          <p:cNvPr id="13" name="Freeform 381">
            <a:extLst>
              <a:ext uri="{FF2B5EF4-FFF2-40B4-BE49-F238E27FC236}">
                <a16:creationId xmlns:a16="http://schemas.microsoft.com/office/drawing/2014/main" id="{E8901291-AA24-5992-9FEA-63253DA6A7F4}"/>
              </a:ext>
            </a:extLst>
          </p:cNvPr>
          <p:cNvSpPr>
            <a:spLocks noEditPoints="1"/>
          </p:cNvSpPr>
          <p:nvPr/>
        </p:nvSpPr>
        <p:spPr bwMode="auto">
          <a:xfrm>
            <a:off x="5643444" y="4262459"/>
            <a:ext cx="189869" cy="194618"/>
          </a:xfrm>
          <a:custGeom>
            <a:avLst/>
            <a:gdLst>
              <a:gd name="T0" fmla="*/ 119 w 145"/>
              <a:gd name="T1" fmla="*/ 146 h 146"/>
              <a:gd name="T2" fmla="*/ 100 w 145"/>
              <a:gd name="T3" fmla="*/ 138 h 146"/>
              <a:gd name="T4" fmla="*/ 2 w 145"/>
              <a:gd name="T5" fmla="*/ 40 h 146"/>
              <a:gd name="T6" fmla="*/ 2 w 145"/>
              <a:gd name="T7" fmla="*/ 32 h 146"/>
              <a:gd name="T8" fmla="*/ 31 w 145"/>
              <a:gd name="T9" fmla="*/ 3 h 146"/>
              <a:gd name="T10" fmla="*/ 40 w 145"/>
              <a:gd name="T11" fmla="*/ 3 h 146"/>
              <a:gd name="T12" fmla="*/ 138 w 145"/>
              <a:gd name="T13" fmla="*/ 100 h 146"/>
              <a:gd name="T14" fmla="*/ 145 w 145"/>
              <a:gd name="T15" fmla="*/ 119 h 146"/>
              <a:gd name="T16" fmla="*/ 138 w 145"/>
              <a:gd name="T17" fmla="*/ 138 h 146"/>
              <a:gd name="T18" fmla="*/ 119 w 145"/>
              <a:gd name="T19" fmla="*/ 146 h 146"/>
              <a:gd name="T20" fmla="*/ 15 w 145"/>
              <a:gd name="T21" fmla="*/ 36 h 146"/>
              <a:gd name="T22" fmla="*/ 109 w 145"/>
              <a:gd name="T23" fmla="*/ 129 h 146"/>
              <a:gd name="T24" fmla="*/ 109 w 145"/>
              <a:gd name="T25" fmla="*/ 129 h 146"/>
              <a:gd name="T26" fmla="*/ 129 w 145"/>
              <a:gd name="T27" fmla="*/ 129 h 146"/>
              <a:gd name="T28" fmla="*/ 133 w 145"/>
              <a:gd name="T29" fmla="*/ 119 h 146"/>
              <a:gd name="T30" fmla="*/ 129 w 145"/>
              <a:gd name="T31" fmla="*/ 109 h 146"/>
              <a:gd name="T32" fmla="*/ 36 w 145"/>
              <a:gd name="T33" fmla="*/ 16 h 146"/>
              <a:gd name="T34" fmla="*/ 15 w 145"/>
              <a:gd name="T35" fmla="*/ 36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45" h="146">
                <a:moveTo>
                  <a:pt x="119" y="146"/>
                </a:moveTo>
                <a:cubicBezTo>
                  <a:pt x="112" y="146"/>
                  <a:pt x="105" y="143"/>
                  <a:pt x="100" y="138"/>
                </a:cubicBezTo>
                <a:cubicBezTo>
                  <a:pt x="2" y="40"/>
                  <a:pt x="2" y="40"/>
                  <a:pt x="2" y="40"/>
                </a:cubicBezTo>
                <a:cubicBezTo>
                  <a:pt x="0" y="38"/>
                  <a:pt x="0" y="34"/>
                  <a:pt x="2" y="32"/>
                </a:cubicBezTo>
                <a:cubicBezTo>
                  <a:pt x="31" y="3"/>
                  <a:pt x="31" y="3"/>
                  <a:pt x="31" y="3"/>
                </a:cubicBezTo>
                <a:cubicBezTo>
                  <a:pt x="34" y="0"/>
                  <a:pt x="38" y="0"/>
                  <a:pt x="40" y="3"/>
                </a:cubicBezTo>
                <a:cubicBezTo>
                  <a:pt x="138" y="100"/>
                  <a:pt x="138" y="100"/>
                  <a:pt x="138" y="100"/>
                </a:cubicBezTo>
                <a:cubicBezTo>
                  <a:pt x="143" y="105"/>
                  <a:pt x="145" y="112"/>
                  <a:pt x="145" y="119"/>
                </a:cubicBezTo>
                <a:cubicBezTo>
                  <a:pt x="145" y="126"/>
                  <a:pt x="143" y="133"/>
                  <a:pt x="138" y="138"/>
                </a:cubicBezTo>
                <a:cubicBezTo>
                  <a:pt x="132" y="143"/>
                  <a:pt x="126" y="146"/>
                  <a:pt x="119" y="146"/>
                </a:cubicBezTo>
                <a:close/>
                <a:moveTo>
                  <a:pt x="15" y="36"/>
                </a:moveTo>
                <a:cubicBezTo>
                  <a:pt x="109" y="129"/>
                  <a:pt x="109" y="129"/>
                  <a:pt x="109" y="129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14" y="135"/>
                  <a:pt x="123" y="135"/>
                  <a:pt x="129" y="129"/>
                </a:cubicBezTo>
                <a:cubicBezTo>
                  <a:pt x="132" y="126"/>
                  <a:pt x="133" y="123"/>
                  <a:pt x="133" y="119"/>
                </a:cubicBezTo>
                <a:cubicBezTo>
                  <a:pt x="133" y="115"/>
                  <a:pt x="132" y="112"/>
                  <a:pt x="129" y="109"/>
                </a:cubicBezTo>
                <a:cubicBezTo>
                  <a:pt x="36" y="16"/>
                  <a:pt x="36" y="16"/>
                  <a:pt x="36" y="16"/>
                </a:cubicBezTo>
                <a:lnTo>
                  <a:pt x="15" y="3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400" dirty="0"/>
          </a:p>
        </p:txBody>
      </p:sp>
      <p:sp>
        <p:nvSpPr>
          <p:cNvPr id="14" name="Freeform 382">
            <a:extLst>
              <a:ext uri="{FF2B5EF4-FFF2-40B4-BE49-F238E27FC236}">
                <a16:creationId xmlns:a16="http://schemas.microsoft.com/office/drawing/2014/main" id="{A3710D74-C09C-12FD-FD7D-DDFEDE849D16}"/>
              </a:ext>
            </a:extLst>
          </p:cNvPr>
          <p:cNvSpPr>
            <a:spLocks/>
          </p:cNvSpPr>
          <p:nvPr/>
        </p:nvSpPr>
        <p:spPr bwMode="auto">
          <a:xfrm>
            <a:off x="5420350" y="4039366"/>
            <a:ext cx="132907" cy="132907"/>
          </a:xfrm>
          <a:custGeom>
            <a:avLst/>
            <a:gdLst>
              <a:gd name="T0" fmla="*/ 6 w 99"/>
              <a:gd name="T1" fmla="*/ 100 h 100"/>
              <a:gd name="T2" fmla="*/ 0 w 99"/>
              <a:gd name="T3" fmla="*/ 94 h 100"/>
              <a:gd name="T4" fmla="*/ 93 w 99"/>
              <a:gd name="T5" fmla="*/ 0 h 100"/>
              <a:gd name="T6" fmla="*/ 99 w 99"/>
              <a:gd name="T7" fmla="*/ 6 h 100"/>
              <a:gd name="T8" fmla="*/ 93 w 99"/>
              <a:gd name="T9" fmla="*/ 12 h 100"/>
              <a:gd name="T10" fmla="*/ 12 w 99"/>
              <a:gd name="T11" fmla="*/ 94 h 100"/>
              <a:gd name="T12" fmla="*/ 6 w 99"/>
              <a:gd name="T13" fmla="*/ 100 h 1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99" h="100">
                <a:moveTo>
                  <a:pt x="6" y="100"/>
                </a:moveTo>
                <a:cubicBezTo>
                  <a:pt x="3" y="100"/>
                  <a:pt x="0" y="97"/>
                  <a:pt x="0" y="94"/>
                </a:cubicBezTo>
                <a:cubicBezTo>
                  <a:pt x="0" y="42"/>
                  <a:pt x="42" y="0"/>
                  <a:pt x="93" y="0"/>
                </a:cubicBezTo>
                <a:cubicBezTo>
                  <a:pt x="97" y="0"/>
                  <a:pt x="99" y="3"/>
                  <a:pt x="99" y="6"/>
                </a:cubicBezTo>
                <a:cubicBezTo>
                  <a:pt x="99" y="10"/>
                  <a:pt x="97" y="12"/>
                  <a:pt x="93" y="12"/>
                </a:cubicBezTo>
                <a:cubicBezTo>
                  <a:pt x="48" y="12"/>
                  <a:pt x="12" y="49"/>
                  <a:pt x="12" y="94"/>
                </a:cubicBezTo>
                <a:cubicBezTo>
                  <a:pt x="12" y="97"/>
                  <a:pt x="9" y="100"/>
                  <a:pt x="6" y="10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400" dirty="0"/>
          </a:p>
        </p:txBody>
      </p:sp>
      <p:sp>
        <p:nvSpPr>
          <p:cNvPr id="15" name="Freeform 156">
            <a:extLst>
              <a:ext uri="{FF2B5EF4-FFF2-40B4-BE49-F238E27FC236}">
                <a16:creationId xmlns:a16="http://schemas.microsoft.com/office/drawing/2014/main" id="{7BAE3415-CE64-0DC5-CDE0-58EFF9662FD3}"/>
              </a:ext>
            </a:extLst>
          </p:cNvPr>
          <p:cNvSpPr>
            <a:spLocks noEditPoints="1"/>
          </p:cNvSpPr>
          <p:nvPr/>
        </p:nvSpPr>
        <p:spPr bwMode="auto">
          <a:xfrm>
            <a:off x="9128811" y="4133002"/>
            <a:ext cx="255219" cy="189822"/>
          </a:xfrm>
          <a:custGeom>
            <a:avLst/>
            <a:gdLst>
              <a:gd name="T0" fmla="*/ 90 w 218"/>
              <a:gd name="T1" fmla="*/ 163 h 163"/>
              <a:gd name="T2" fmla="*/ 86 w 218"/>
              <a:gd name="T3" fmla="*/ 161 h 163"/>
              <a:gd name="T4" fmla="*/ 2 w 218"/>
              <a:gd name="T5" fmla="*/ 77 h 163"/>
              <a:gd name="T6" fmla="*/ 2 w 218"/>
              <a:gd name="T7" fmla="*/ 68 h 163"/>
              <a:gd name="T8" fmla="*/ 31 w 218"/>
              <a:gd name="T9" fmla="*/ 39 h 163"/>
              <a:gd name="T10" fmla="*/ 40 w 218"/>
              <a:gd name="T11" fmla="*/ 39 h 163"/>
              <a:gd name="T12" fmla="*/ 90 w 218"/>
              <a:gd name="T13" fmla="*/ 90 h 163"/>
              <a:gd name="T14" fmla="*/ 177 w 218"/>
              <a:gd name="T15" fmla="*/ 2 h 163"/>
              <a:gd name="T16" fmla="*/ 186 w 218"/>
              <a:gd name="T17" fmla="*/ 2 h 163"/>
              <a:gd name="T18" fmla="*/ 215 w 218"/>
              <a:gd name="T19" fmla="*/ 32 h 163"/>
              <a:gd name="T20" fmla="*/ 215 w 218"/>
              <a:gd name="T21" fmla="*/ 40 h 163"/>
              <a:gd name="T22" fmla="*/ 95 w 218"/>
              <a:gd name="T23" fmla="*/ 161 h 163"/>
              <a:gd name="T24" fmla="*/ 90 w 218"/>
              <a:gd name="T25" fmla="*/ 163 h 163"/>
              <a:gd name="T26" fmla="*/ 15 w 218"/>
              <a:gd name="T27" fmla="*/ 73 h 163"/>
              <a:gd name="T28" fmla="*/ 90 w 218"/>
              <a:gd name="T29" fmla="*/ 148 h 163"/>
              <a:gd name="T30" fmla="*/ 202 w 218"/>
              <a:gd name="T31" fmla="*/ 36 h 163"/>
              <a:gd name="T32" fmla="*/ 182 w 218"/>
              <a:gd name="T33" fmla="*/ 15 h 163"/>
              <a:gd name="T34" fmla="*/ 95 w 218"/>
              <a:gd name="T35" fmla="*/ 103 h 163"/>
              <a:gd name="T36" fmla="*/ 86 w 218"/>
              <a:gd name="T37" fmla="*/ 103 h 163"/>
              <a:gd name="T38" fmla="*/ 35 w 218"/>
              <a:gd name="T39" fmla="*/ 52 h 163"/>
              <a:gd name="T40" fmla="*/ 15 w 218"/>
              <a:gd name="T41" fmla="*/ 73 h 1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18" h="163">
                <a:moveTo>
                  <a:pt x="90" y="163"/>
                </a:moveTo>
                <a:cubicBezTo>
                  <a:pt x="89" y="163"/>
                  <a:pt x="87" y="162"/>
                  <a:pt x="86" y="161"/>
                </a:cubicBezTo>
                <a:cubicBezTo>
                  <a:pt x="2" y="77"/>
                  <a:pt x="2" y="77"/>
                  <a:pt x="2" y="77"/>
                </a:cubicBezTo>
                <a:cubicBezTo>
                  <a:pt x="0" y="75"/>
                  <a:pt x="0" y="71"/>
                  <a:pt x="2" y="68"/>
                </a:cubicBezTo>
                <a:cubicBezTo>
                  <a:pt x="31" y="39"/>
                  <a:pt x="31" y="39"/>
                  <a:pt x="31" y="39"/>
                </a:cubicBezTo>
                <a:cubicBezTo>
                  <a:pt x="33" y="37"/>
                  <a:pt x="38" y="37"/>
                  <a:pt x="40" y="39"/>
                </a:cubicBezTo>
                <a:cubicBezTo>
                  <a:pt x="90" y="90"/>
                  <a:pt x="90" y="90"/>
                  <a:pt x="90" y="90"/>
                </a:cubicBezTo>
                <a:cubicBezTo>
                  <a:pt x="177" y="2"/>
                  <a:pt x="177" y="2"/>
                  <a:pt x="177" y="2"/>
                </a:cubicBezTo>
                <a:cubicBezTo>
                  <a:pt x="180" y="0"/>
                  <a:pt x="184" y="0"/>
                  <a:pt x="186" y="2"/>
                </a:cubicBezTo>
                <a:cubicBezTo>
                  <a:pt x="215" y="32"/>
                  <a:pt x="215" y="32"/>
                  <a:pt x="215" y="32"/>
                </a:cubicBezTo>
                <a:cubicBezTo>
                  <a:pt x="218" y="34"/>
                  <a:pt x="218" y="38"/>
                  <a:pt x="215" y="40"/>
                </a:cubicBezTo>
                <a:cubicBezTo>
                  <a:pt x="95" y="161"/>
                  <a:pt x="95" y="161"/>
                  <a:pt x="95" y="161"/>
                </a:cubicBezTo>
                <a:cubicBezTo>
                  <a:pt x="93" y="162"/>
                  <a:pt x="92" y="163"/>
                  <a:pt x="90" y="163"/>
                </a:cubicBezTo>
                <a:close/>
                <a:moveTo>
                  <a:pt x="15" y="73"/>
                </a:moveTo>
                <a:cubicBezTo>
                  <a:pt x="90" y="148"/>
                  <a:pt x="90" y="148"/>
                  <a:pt x="90" y="148"/>
                </a:cubicBezTo>
                <a:cubicBezTo>
                  <a:pt x="202" y="36"/>
                  <a:pt x="202" y="36"/>
                  <a:pt x="202" y="36"/>
                </a:cubicBezTo>
                <a:cubicBezTo>
                  <a:pt x="182" y="15"/>
                  <a:pt x="182" y="15"/>
                  <a:pt x="182" y="15"/>
                </a:cubicBezTo>
                <a:cubicBezTo>
                  <a:pt x="95" y="103"/>
                  <a:pt x="95" y="103"/>
                  <a:pt x="95" y="103"/>
                </a:cubicBezTo>
                <a:cubicBezTo>
                  <a:pt x="92" y="105"/>
                  <a:pt x="88" y="105"/>
                  <a:pt x="86" y="103"/>
                </a:cubicBezTo>
                <a:cubicBezTo>
                  <a:pt x="35" y="52"/>
                  <a:pt x="35" y="52"/>
                  <a:pt x="35" y="52"/>
                </a:cubicBezTo>
                <a:lnTo>
                  <a:pt x="15" y="7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400" dirty="0"/>
          </a:p>
        </p:txBody>
      </p:sp>
      <p:sp>
        <p:nvSpPr>
          <p:cNvPr id="16" name="Freeform 157">
            <a:extLst>
              <a:ext uri="{FF2B5EF4-FFF2-40B4-BE49-F238E27FC236}">
                <a16:creationId xmlns:a16="http://schemas.microsoft.com/office/drawing/2014/main" id="{DF90AB1B-DF0C-39E8-D134-FD3114FEDB27}"/>
              </a:ext>
            </a:extLst>
          </p:cNvPr>
          <p:cNvSpPr>
            <a:spLocks noEditPoints="1"/>
          </p:cNvSpPr>
          <p:nvPr/>
        </p:nvSpPr>
        <p:spPr bwMode="auto">
          <a:xfrm>
            <a:off x="9001200" y="3964274"/>
            <a:ext cx="510438" cy="506186"/>
          </a:xfrm>
          <a:custGeom>
            <a:avLst/>
            <a:gdLst>
              <a:gd name="T0" fmla="*/ 191 w 436"/>
              <a:gd name="T1" fmla="*/ 422 h 433"/>
              <a:gd name="T2" fmla="*/ 116 w 436"/>
              <a:gd name="T3" fmla="*/ 397 h 433"/>
              <a:gd name="T4" fmla="*/ 93 w 436"/>
              <a:gd name="T5" fmla="*/ 381 h 433"/>
              <a:gd name="T6" fmla="*/ 55 w 436"/>
              <a:gd name="T7" fmla="*/ 344 h 433"/>
              <a:gd name="T8" fmla="*/ 20 w 436"/>
              <a:gd name="T9" fmla="*/ 301 h 433"/>
              <a:gd name="T10" fmla="*/ 20 w 436"/>
              <a:gd name="T11" fmla="*/ 272 h 433"/>
              <a:gd name="T12" fmla="*/ 14 w 436"/>
              <a:gd name="T13" fmla="*/ 244 h 433"/>
              <a:gd name="T14" fmla="*/ 19 w 436"/>
              <a:gd name="T15" fmla="*/ 165 h 433"/>
              <a:gd name="T16" fmla="*/ 40 w 436"/>
              <a:gd name="T17" fmla="*/ 116 h 433"/>
              <a:gd name="T18" fmla="*/ 55 w 436"/>
              <a:gd name="T19" fmla="*/ 93 h 433"/>
              <a:gd name="T20" fmla="*/ 115 w 436"/>
              <a:gd name="T21" fmla="*/ 40 h 433"/>
              <a:gd name="T22" fmla="*/ 164 w 436"/>
              <a:gd name="T23" fmla="*/ 21 h 433"/>
              <a:gd name="T24" fmla="*/ 191 w 436"/>
              <a:gd name="T25" fmla="*/ 15 h 433"/>
              <a:gd name="T26" fmla="*/ 271 w 436"/>
              <a:gd name="T27" fmla="*/ 20 h 433"/>
              <a:gd name="T28" fmla="*/ 319 w 436"/>
              <a:gd name="T29" fmla="*/ 41 h 433"/>
              <a:gd name="T30" fmla="*/ 343 w 436"/>
              <a:gd name="T31" fmla="*/ 56 h 433"/>
              <a:gd name="T32" fmla="*/ 395 w 436"/>
              <a:gd name="T33" fmla="*/ 116 h 433"/>
              <a:gd name="T34" fmla="*/ 415 w 436"/>
              <a:gd name="T35" fmla="*/ 164 h 433"/>
              <a:gd name="T36" fmla="*/ 420 w 436"/>
              <a:gd name="T37" fmla="*/ 191 h 433"/>
              <a:gd name="T38" fmla="*/ 421 w 436"/>
              <a:gd name="T39" fmla="*/ 244 h 433"/>
              <a:gd name="T40" fmla="*/ 416 w 436"/>
              <a:gd name="T41" fmla="*/ 271 h 433"/>
              <a:gd name="T42" fmla="*/ 395 w 436"/>
              <a:gd name="T43" fmla="*/ 320 h 433"/>
              <a:gd name="T44" fmla="*/ 380 w 436"/>
              <a:gd name="T45" fmla="*/ 344 h 433"/>
              <a:gd name="T46" fmla="*/ 320 w 436"/>
              <a:gd name="T47" fmla="*/ 396 h 433"/>
              <a:gd name="T48" fmla="*/ 272 w 436"/>
              <a:gd name="T49" fmla="*/ 416 h 433"/>
              <a:gd name="T50" fmla="*/ 244 w 436"/>
              <a:gd name="T51" fmla="*/ 421 h 433"/>
              <a:gd name="T52" fmla="*/ 218 w 436"/>
              <a:gd name="T53" fmla="*/ 433 h 433"/>
              <a:gd name="T54" fmla="*/ 200 w 436"/>
              <a:gd name="T55" fmla="*/ 413 h 433"/>
              <a:gd name="T56" fmla="*/ 236 w 436"/>
              <a:gd name="T57" fmla="*/ 412 h 433"/>
              <a:gd name="T58" fmla="*/ 277 w 436"/>
              <a:gd name="T59" fmla="*/ 405 h 433"/>
              <a:gd name="T60" fmla="*/ 309 w 436"/>
              <a:gd name="T61" fmla="*/ 391 h 433"/>
              <a:gd name="T62" fmla="*/ 368 w 436"/>
              <a:gd name="T63" fmla="*/ 344 h 433"/>
              <a:gd name="T64" fmla="*/ 390 w 436"/>
              <a:gd name="T65" fmla="*/ 309 h 433"/>
              <a:gd name="T66" fmla="*/ 404 w 436"/>
              <a:gd name="T67" fmla="*/ 276 h 433"/>
              <a:gd name="T68" fmla="*/ 412 w 436"/>
              <a:gd name="T69" fmla="*/ 201 h 433"/>
              <a:gd name="T70" fmla="*/ 404 w 436"/>
              <a:gd name="T71" fmla="*/ 160 h 433"/>
              <a:gd name="T72" fmla="*/ 404 w 436"/>
              <a:gd name="T73" fmla="*/ 140 h 433"/>
              <a:gd name="T74" fmla="*/ 368 w 436"/>
              <a:gd name="T75" fmla="*/ 93 h 433"/>
              <a:gd name="T76" fmla="*/ 342 w 436"/>
              <a:gd name="T77" fmla="*/ 68 h 433"/>
              <a:gd name="T78" fmla="*/ 308 w 436"/>
              <a:gd name="T79" fmla="*/ 45 h 433"/>
              <a:gd name="T80" fmla="*/ 235 w 436"/>
              <a:gd name="T81" fmla="*/ 23 h 433"/>
              <a:gd name="T82" fmla="*/ 199 w 436"/>
              <a:gd name="T83" fmla="*/ 24 h 433"/>
              <a:gd name="T84" fmla="*/ 159 w 436"/>
              <a:gd name="T85" fmla="*/ 32 h 433"/>
              <a:gd name="T86" fmla="*/ 92 w 436"/>
              <a:gd name="T87" fmla="*/ 68 h 433"/>
              <a:gd name="T88" fmla="*/ 67 w 436"/>
              <a:gd name="T89" fmla="*/ 94 h 433"/>
              <a:gd name="T90" fmla="*/ 44 w 436"/>
              <a:gd name="T91" fmla="*/ 128 h 433"/>
              <a:gd name="T92" fmla="*/ 23 w 436"/>
              <a:gd name="T93" fmla="*/ 201 h 433"/>
              <a:gd name="T94" fmla="*/ 23 w 436"/>
              <a:gd name="T95" fmla="*/ 236 h 433"/>
              <a:gd name="T96" fmla="*/ 31 w 436"/>
              <a:gd name="T97" fmla="*/ 277 h 433"/>
              <a:gd name="T98" fmla="*/ 44 w 436"/>
              <a:gd name="T99" fmla="*/ 309 h 433"/>
              <a:gd name="T100" fmla="*/ 92 w 436"/>
              <a:gd name="T101" fmla="*/ 368 h 433"/>
              <a:gd name="T102" fmla="*/ 127 w 436"/>
              <a:gd name="T103" fmla="*/ 391 h 433"/>
              <a:gd name="T104" fmla="*/ 160 w 436"/>
              <a:gd name="T105" fmla="*/ 405 h 433"/>
              <a:gd name="T106" fmla="*/ 417 w 436"/>
              <a:gd name="T107" fmla="*/ 240 h 4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436" h="433">
                <a:moveTo>
                  <a:pt x="218" y="433"/>
                </a:moveTo>
                <a:cubicBezTo>
                  <a:pt x="208" y="433"/>
                  <a:pt x="199" y="429"/>
                  <a:pt x="191" y="422"/>
                </a:cubicBezTo>
                <a:cubicBezTo>
                  <a:pt x="184" y="415"/>
                  <a:pt x="174" y="413"/>
                  <a:pt x="164" y="416"/>
                </a:cubicBezTo>
                <a:cubicBezTo>
                  <a:pt x="146" y="424"/>
                  <a:pt x="124" y="415"/>
                  <a:pt x="116" y="397"/>
                </a:cubicBezTo>
                <a:cubicBezTo>
                  <a:pt x="116" y="396"/>
                  <a:pt x="116" y="396"/>
                  <a:pt x="116" y="396"/>
                </a:cubicBezTo>
                <a:cubicBezTo>
                  <a:pt x="112" y="387"/>
                  <a:pt x="103" y="381"/>
                  <a:pt x="93" y="381"/>
                </a:cubicBezTo>
                <a:cubicBezTo>
                  <a:pt x="92" y="381"/>
                  <a:pt x="92" y="381"/>
                  <a:pt x="92" y="381"/>
                </a:cubicBezTo>
                <a:cubicBezTo>
                  <a:pt x="72" y="381"/>
                  <a:pt x="55" y="364"/>
                  <a:pt x="55" y="344"/>
                </a:cubicBezTo>
                <a:cubicBezTo>
                  <a:pt x="55" y="334"/>
                  <a:pt x="49" y="325"/>
                  <a:pt x="40" y="321"/>
                </a:cubicBezTo>
                <a:cubicBezTo>
                  <a:pt x="31" y="317"/>
                  <a:pt x="24" y="310"/>
                  <a:pt x="20" y="301"/>
                </a:cubicBezTo>
                <a:cubicBezTo>
                  <a:pt x="16" y="292"/>
                  <a:pt x="16" y="282"/>
                  <a:pt x="20" y="273"/>
                </a:cubicBezTo>
                <a:cubicBezTo>
                  <a:pt x="20" y="272"/>
                  <a:pt x="20" y="272"/>
                  <a:pt x="20" y="272"/>
                </a:cubicBezTo>
                <a:cubicBezTo>
                  <a:pt x="24" y="263"/>
                  <a:pt x="22" y="252"/>
                  <a:pt x="15" y="245"/>
                </a:cubicBezTo>
                <a:cubicBezTo>
                  <a:pt x="14" y="244"/>
                  <a:pt x="14" y="244"/>
                  <a:pt x="14" y="244"/>
                </a:cubicBezTo>
                <a:cubicBezTo>
                  <a:pt x="0" y="230"/>
                  <a:pt x="0" y="206"/>
                  <a:pt x="14" y="192"/>
                </a:cubicBezTo>
                <a:cubicBezTo>
                  <a:pt x="21" y="185"/>
                  <a:pt x="23" y="174"/>
                  <a:pt x="19" y="165"/>
                </a:cubicBezTo>
                <a:cubicBezTo>
                  <a:pt x="11" y="146"/>
                  <a:pt x="20" y="125"/>
                  <a:pt x="39" y="117"/>
                </a:cubicBezTo>
                <a:cubicBezTo>
                  <a:pt x="40" y="116"/>
                  <a:pt x="40" y="116"/>
                  <a:pt x="40" y="116"/>
                </a:cubicBezTo>
                <a:cubicBezTo>
                  <a:pt x="49" y="113"/>
                  <a:pt x="55" y="104"/>
                  <a:pt x="55" y="94"/>
                </a:cubicBezTo>
                <a:cubicBezTo>
                  <a:pt x="55" y="93"/>
                  <a:pt x="55" y="93"/>
                  <a:pt x="55" y="93"/>
                </a:cubicBezTo>
                <a:cubicBezTo>
                  <a:pt x="55" y="72"/>
                  <a:pt x="72" y="56"/>
                  <a:pt x="92" y="56"/>
                </a:cubicBezTo>
                <a:cubicBezTo>
                  <a:pt x="102" y="56"/>
                  <a:pt x="111" y="50"/>
                  <a:pt x="115" y="40"/>
                </a:cubicBezTo>
                <a:cubicBezTo>
                  <a:pt x="123" y="22"/>
                  <a:pt x="144" y="13"/>
                  <a:pt x="163" y="20"/>
                </a:cubicBezTo>
                <a:cubicBezTo>
                  <a:pt x="164" y="21"/>
                  <a:pt x="164" y="21"/>
                  <a:pt x="164" y="21"/>
                </a:cubicBezTo>
                <a:cubicBezTo>
                  <a:pt x="173" y="24"/>
                  <a:pt x="184" y="22"/>
                  <a:pt x="191" y="15"/>
                </a:cubicBezTo>
                <a:cubicBezTo>
                  <a:pt x="191" y="15"/>
                  <a:pt x="191" y="15"/>
                  <a:pt x="191" y="15"/>
                </a:cubicBezTo>
                <a:cubicBezTo>
                  <a:pt x="206" y="0"/>
                  <a:pt x="229" y="0"/>
                  <a:pt x="244" y="15"/>
                </a:cubicBezTo>
                <a:cubicBezTo>
                  <a:pt x="251" y="22"/>
                  <a:pt x="261" y="24"/>
                  <a:pt x="271" y="20"/>
                </a:cubicBezTo>
                <a:cubicBezTo>
                  <a:pt x="289" y="12"/>
                  <a:pt x="311" y="21"/>
                  <a:pt x="319" y="40"/>
                </a:cubicBezTo>
                <a:cubicBezTo>
                  <a:pt x="319" y="41"/>
                  <a:pt x="319" y="41"/>
                  <a:pt x="319" y="41"/>
                </a:cubicBezTo>
                <a:cubicBezTo>
                  <a:pt x="323" y="50"/>
                  <a:pt x="332" y="56"/>
                  <a:pt x="342" y="56"/>
                </a:cubicBezTo>
                <a:cubicBezTo>
                  <a:pt x="343" y="56"/>
                  <a:pt x="343" y="56"/>
                  <a:pt x="343" y="56"/>
                </a:cubicBezTo>
                <a:cubicBezTo>
                  <a:pt x="363" y="56"/>
                  <a:pt x="380" y="72"/>
                  <a:pt x="380" y="93"/>
                </a:cubicBezTo>
                <a:cubicBezTo>
                  <a:pt x="380" y="103"/>
                  <a:pt x="386" y="112"/>
                  <a:pt x="395" y="116"/>
                </a:cubicBezTo>
                <a:cubicBezTo>
                  <a:pt x="404" y="119"/>
                  <a:pt x="412" y="126"/>
                  <a:pt x="415" y="136"/>
                </a:cubicBezTo>
                <a:cubicBezTo>
                  <a:pt x="419" y="145"/>
                  <a:pt x="419" y="155"/>
                  <a:pt x="415" y="164"/>
                </a:cubicBezTo>
                <a:cubicBezTo>
                  <a:pt x="415" y="165"/>
                  <a:pt x="415" y="165"/>
                  <a:pt x="415" y="165"/>
                </a:cubicBezTo>
                <a:cubicBezTo>
                  <a:pt x="411" y="174"/>
                  <a:pt x="413" y="184"/>
                  <a:pt x="420" y="191"/>
                </a:cubicBezTo>
                <a:cubicBezTo>
                  <a:pt x="421" y="192"/>
                  <a:pt x="421" y="192"/>
                  <a:pt x="421" y="192"/>
                </a:cubicBezTo>
                <a:cubicBezTo>
                  <a:pt x="436" y="206"/>
                  <a:pt x="436" y="230"/>
                  <a:pt x="421" y="244"/>
                </a:cubicBezTo>
                <a:cubicBezTo>
                  <a:pt x="421" y="244"/>
                  <a:pt x="421" y="244"/>
                  <a:pt x="421" y="244"/>
                </a:cubicBezTo>
                <a:cubicBezTo>
                  <a:pt x="414" y="251"/>
                  <a:pt x="412" y="262"/>
                  <a:pt x="416" y="271"/>
                </a:cubicBezTo>
                <a:cubicBezTo>
                  <a:pt x="424" y="290"/>
                  <a:pt x="415" y="312"/>
                  <a:pt x="396" y="320"/>
                </a:cubicBezTo>
                <a:cubicBezTo>
                  <a:pt x="395" y="320"/>
                  <a:pt x="395" y="320"/>
                  <a:pt x="395" y="320"/>
                </a:cubicBezTo>
                <a:cubicBezTo>
                  <a:pt x="386" y="324"/>
                  <a:pt x="380" y="333"/>
                  <a:pt x="380" y="343"/>
                </a:cubicBezTo>
                <a:cubicBezTo>
                  <a:pt x="380" y="344"/>
                  <a:pt x="380" y="344"/>
                  <a:pt x="380" y="344"/>
                </a:cubicBezTo>
                <a:cubicBezTo>
                  <a:pt x="380" y="364"/>
                  <a:pt x="363" y="381"/>
                  <a:pt x="343" y="381"/>
                </a:cubicBezTo>
                <a:cubicBezTo>
                  <a:pt x="333" y="381"/>
                  <a:pt x="324" y="387"/>
                  <a:pt x="320" y="396"/>
                </a:cubicBezTo>
                <a:cubicBezTo>
                  <a:pt x="316" y="405"/>
                  <a:pt x="309" y="412"/>
                  <a:pt x="300" y="416"/>
                </a:cubicBezTo>
                <a:cubicBezTo>
                  <a:pt x="291" y="420"/>
                  <a:pt x="281" y="420"/>
                  <a:pt x="272" y="416"/>
                </a:cubicBezTo>
                <a:cubicBezTo>
                  <a:pt x="271" y="416"/>
                  <a:pt x="271" y="416"/>
                  <a:pt x="271" y="416"/>
                </a:cubicBezTo>
                <a:cubicBezTo>
                  <a:pt x="262" y="412"/>
                  <a:pt x="251" y="414"/>
                  <a:pt x="244" y="421"/>
                </a:cubicBezTo>
                <a:cubicBezTo>
                  <a:pt x="244" y="422"/>
                  <a:pt x="244" y="422"/>
                  <a:pt x="244" y="422"/>
                </a:cubicBezTo>
                <a:cubicBezTo>
                  <a:pt x="236" y="429"/>
                  <a:pt x="227" y="433"/>
                  <a:pt x="218" y="433"/>
                </a:cubicBezTo>
                <a:close/>
                <a:moveTo>
                  <a:pt x="174" y="402"/>
                </a:moveTo>
                <a:cubicBezTo>
                  <a:pt x="184" y="402"/>
                  <a:pt x="193" y="406"/>
                  <a:pt x="200" y="413"/>
                </a:cubicBezTo>
                <a:cubicBezTo>
                  <a:pt x="210" y="423"/>
                  <a:pt x="225" y="423"/>
                  <a:pt x="235" y="413"/>
                </a:cubicBezTo>
                <a:cubicBezTo>
                  <a:pt x="236" y="412"/>
                  <a:pt x="236" y="412"/>
                  <a:pt x="236" y="412"/>
                </a:cubicBezTo>
                <a:cubicBezTo>
                  <a:pt x="246" y="402"/>
                  <a:pt x="262" y="399"/>
                  <a:pt x="276" y="404"/>
                </a:cubicBezTo>
                <a:cubicBezTo>
                  <a:pt x="277" y="405"/>
                  <a:pt x="277" y="405"/>
                  <a:pt x="277" y="405"/>
                </a:cubicBezTo>
                <a:cubicBezTo>
                  <a:pt x="283" y="407"/>
                  <a:pt x="289" y="407"/>
                  <a:pt x="295" y="405"/>
                </a:cubicBezTo>
                <a:cubicBezTo>
                  <a:pt x="302" y="402"/>
                  <a:pt x="306" y="397"/>
                  <a:pt x="309" y="391"/>
                </a:cubicBezTo>
                <a:cubicBezTo>
                  <a:pt x="315" y="377"/>
                  <a:pt x="328" y="368"/>
                  <a:pt x="343" y="368"/>
                </a:cubicBezTo>
                <a:cubicBezTo>
                  <a:pt x="357" y="368"/>
                  <a:pt x="368" y="357"/>
                  <a:pt x="368" y="344"/>
                </a:cubicBezTo>
                <a:cubicBezTo>
                  <a:pt x="368" y="343"/>
                  <a:pt x="368" y="343"/>
                  <a:pt x="368" y="343"/>
                </a:cubicBezTo>
                <a:cubicBezTo>
                  <a:pt x="368" y="328"/>
                  <a:pt x="377" y="314"/>
                  <a:pt x="390" y="309"/>
                </a:cubicBezTo>
                <a:cubicBezTo>
                  <a:pt x="391" y="308"/>
                  <a:pt x="391" y="308"/>
                  <a:pt x="391" y="308"/>
                </a:cubicBezTo>
                <a:cubicBezTo>
                  <a:pt x="404" y="303"/>
                  <a:pt x="410" y="289"/>
                  <a:pt x="404" y="276"/>
                </a:cubicBezTo>
                <a:cubicBezTo>
                  <a:pt x="399" y="262"/>
                  <a:pt x="402" y="246"/>
                  <a:pt x="412" y="236"/>
                </a:cubicBezTo>
                <a:cubicBezTo>
                  <a:pt x="422" y="226"/>
                  <a:pt x="422" y="210"/>
                  <a:pt x="412" y="201"/>
                </a:cubicBezTo>
                <a:cubicBezTo>
                  <a:pt x="412" y="200"/>
                  <a:pt x="412" y="200"/>
                  <a:pt x="412" y="200"/>
                </a:cubicBezTo>
                <a:cubicBezTo>
                  <a:pt x="401" y="190"/>
                  <a:pt x="398" y="174"/>
                  <a:pt x="404" y="160"/>
                </a:cubicBezTo>
                <a:cubicBezTo>
                  <a:pt x="404" y="159"/>
                  <a:pt x="404" y="159"/>
                  <a:pt x="404" y="159"/>
                </a:cubicBezTo>
                <a:cubicBezTo>
                  <a:pt x="407" y="153"/>
                  <a:pt x="407" y="146"/>
                  <a:pt x="404" y="140"/>
                </a:cubicBezTo>
                <a:cubicBezTo>
                  <a:pt x="401" y="134"/>
                  <a:pt x="397" y="129"/>
                  <a:pt x="391" y="127"/>
                </a:cubicBezTo>
                <a:cubicBezTo>
                  <a:pt x="377" y="121"/>
                  <a:pt x="368" y="108"/>
                  <a:pt x="368" y="93"/>
                </a:cubicBezTo>
                <a:cubicBezTo>
                  <a:pt x="368" y="79"/>
                  <a:pt x="357" y="68"/>
                  <a:pt x="343" y="68"/>
                </a:cubicBezTo>
                <a:cubicBezTo>
                  <a:pt x="342" y="68"/>
                  <a:pt x="342" y="68"/>
                  <a:pt x="342" y="68"/>
                </a:cubicBezTo>
                <a:cubicBezTo>
                  <a:pt x="327" y="68"/>
                  <a:pt x="314" y="59"/>
                  <a:pt x="308" y="45"/>
                </a:cubicBezTo>
                <a:cubicBezTo>
                  <a:pt x="308" y="45"/>
                  <a:pt x="308" y="45"/>
                  <a:pt x="308" y="45"/>
                </a:cubicBezTo>
                <a:cubicBezTo>
                  <a:pt x="302" y="32"/>
                  <a:pt x="288" y="26"/>
                  <a:pt x="275" y="31"/>
                </a:cubicBezTo>
                <a:cubicBezTo>
                  <a:pt x="262" y="37"/>
                  <a:pt x="246" y="34"/>
                  <a:pt x="235" y="23"/>
                </a:cubicBezTo>
                <a:cubicBezTo>
                  <a:pt x="225" y="14"/>
                  <a:pt x="210" y="14"/>
                  <a:pt x="200" y="23"/>
                </a:cubicBezTo>
                <a:cubicBezTo>
                  <a:pt x="199" y="24"/>
                  <a:pt x="199" y="24"/>
                  <a:pt x="199" y="24"/>
                </a:cubicBezTo>
                <a:cubicBezTo>
                  <a:pt x="189" y="35"/>
                  <a:pt x="173" y="38"/>
                  <a:pt x="159" y="32"/>
                </a:cubicBezTo>
                <a:cubicBezTo>
                  <a:pt x="159" y="32"/>
                  <a:pt x="159" y="32"/>
                  <a:pt x="159" y="32"/>
                </a:cubicBezTo>
                <a:cubicBezTo>
                  <a:pt x="146" y="27"/>
                  <a:pt x="131" y="33"/>
                  <a:pt x="126" y="45"/>
                </a:cubicBezTo>
                <a:cubicBezTo>
                  <a:pt x="121" y="59"/>
                  <a:pt x="107" y="68"/>
                  <a:pt x="92" y="68"/>
                </a:cubicBezTo>
                <a:cubicBezTo>
                  <a:pt x="78" y="68"/>
                  <a:pt x="67" y="79"/>
                  <a:pt x="67" y="93"/>
                </a:cubicBezTo>
                <a:cubicBezTo>
                  <a:pt x="67" y="94"/>
                  <a:pt x="67" y="94"/>
                  <a:pt x="67" y="94"/>
                </a:cubicBezTo>
                <a:cubicBezTo>
                  <a:pt x="67" y="109"/>
                  <a:pt x="58" y="122"/>
                  <a:pt x="45" y="128"/>
                </a:cubicBezTo>
                <a:cubicBezTo>
                  <a:pt x="44" y="128"/>
                  <a:pt x="44" y="128"/>
                  <a:pt x="44" y="128"/>
                </a:cubicBezTo>
                <a:cubicBezTo>
                  <a:pt x="31" y="133"/>
                  <a:pt x="25" y="148"/>
                  <a:pt x="31" y="160"/>
                </a:cubicBezTo>
                <a:cubicBezTo>
                  <a:pt x="36" y="174"/>
                  <a:pt x="33" y="190"/>
                  <a:pt x="23" y="201"/>
                </a:cubicBezTo>
                <a:cubicBezTo>
                  <a:pt x="13" y="210"/>
                  <a:pt x="13" y="226"/>
                  <a:pt x="23" y="236"/>
                </a:cubicBezTo>
                <a:cubicBezTo>
                  <a:pt x="23" y="236"/>
                  <a:pt x="23" y="236"/>
                  <a:pt x="23" y="236"/>
                </a:cubicBezTo>
                <a:cubicBezTo>
                  <a:pt x="34" y="247"/>
                  <a:pt x="37" y="263"/>
                  <a:pt x="31" y="276"/>
                </a:cubicBezTo>
                <a:cubicBezTo>
                  <a:pt x="31" y="277"/>
                  <a:pt x="31" y="277"/>
                  <a:pt x="31" y="277"/>
                </a:cubicBezTo>
                <a:cubicBezTo>
                  <a:pt x="28" y="283"/>
                  <a:pt x="29" y="290"/>
                  <a:pt x="31" y="296"/>
                </a:cubicBezTo>
                <a:cubicBezTo>
                  <a:pt x="34" y="302"/>
                  <a:pt x="38" y="307"/>
                  <a:pt x="44" y="309"/>
                </a:cubicBezTo>
                <a:cubicBezTo>
                  <a:pt x="58" y="315"/>
                  <a:pt x="67" y="329"/>
                  <a:pt x="67" y="344"/>
                </a:cubicBezTo>
                <a:cubicBezTo>
                  <a:pt x="67" y="357"/>
                  <a:pt x="78" y="368"/>
                  <a:pt x="92" y="368"/>
                </a:cubicBezTo>
                <a:cubicBezTo>
                  <a:pt x="93" y="368"/>
                  <a:pt x="93" y="368"/>
                  <a:pt x="93" y="368"/>
                </a:cubicBezTo>
                <a:cubicBezTo>
                  <a:pt x="108" y="368"/>
                  <a:pt x="121" y="377"/>
                  <a:pt x="127" y="391"/>
                </a:cubicBezTo>
                <a:cubicBezTo>
                  <a:pt x="127" y="392"/>
                  <a:pt x="127" y="392"/>
                  <a:pt x="127" y="392"/>
                </a:cubicBezTo>
                <a:cubicBezTo>
                  <a:pt x="133" y="404"/>
                  <a:pt x="147" y="410"/>
                  <a:pt x="160" y="405"/>
                </a:cubicBezTo>
                <a:cubicBezTo>
                  <a:pt x="164" y="403"/>
                  <a:pt x="169" y="402"/>
                  <a:pt x="174" y="402"/>
                </a:cubicBezTo>
                <a:close/>
                <a:moveTo>
                  <a:pt x="417" y="240"/>
                </a:moveTo>
                <a:cubicBezTo>
                  <a:pt x="417" y="240"/>
                  <a:pt x="417" y="240"/>
                  <a:pt x="417" y="24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400" dirty="0"/>
          </a:p>
        </p:txBody>
      </p:sp>
      <p:sp>
        <p:nvSpPr>
          <p:cNvPr id="17" name="Shape5_20220427_135811">
            <a:extLst>
              <a:ext uri="{FF2B5EF4-FFF2-40B4-BE49-F238E27FC236}">
                <a16:creationId xmlns:a16="http://schemas.microsoft.com/office/drawing/2014/main" id="{B8BF5284-2203-D3C6-FF69-DBF8BAE36844}"/>
              </a:ext>
            </a:extLst>
          </p:cNvPr>
          <p:cNvSpPr txBox="1">
            <a:spLocks/>
          </p:cNvSpPr>
          <p:nvPr/>
        </p:nvSpPr>
        <p:spPr>
          <a:xfrm>
            <a:off x="6276489" y="2841227"/>
            <a:ext cx="1843875" cy="215444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501427">
              <a:spcBef>
                <a:spcPct val="0"/>
              </a:spcBef>
              <a:defRPr/>
            </a:pPr>
            <a:r>
              <a:rPr lang="en-US" sz="1400" dirty="0">
                <a:solidFill>
                  <a:schemeClr val="tx1">
                    <a:lumMod val="100000"/>
                  </a:schemeClr>
                </a:solidFill>
              </a:rPr>
              <a:t>Title</a:t>
            </a:r>
          </a:p>
        </p:txBody>
      </p:sp>
      <p:sp>
        <p:nvSpPr>
          <p:cNvPr id="18" name="Shape6_20220427_135811">
            <a:extLst>
              <a:ext uri="{FF2B5EF4-FFF2-40B4-BE49-F238E27FC236}">
                <a16:creationId xmlns:a16="http://schemas.microsoft.com/office/drawing/2014/main" id="{60E13F27-B455-0BA9-10BB-0E4DB0319C03}"/>
              </a:ext>
            </a:extLst>
          </p:cNvPr>
          <p:cNvSpPr txBox="1">
            <a:spLocks/>
          </p:cNvSpPr>
          <p:nvPr/>
        </p:nvSpPr>
        <p:spPr>
          <a:xfrm>
            <a:off x="6276489" y="3071147"/>
            <a:ext cx="1843875" cy="21544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501427">
              <a:spcBef>
                <a:spcPct val="0"/>
              </a:spcBef>
              <a:defRPr/>
            </a:pPr>
            <a:r>
              <a:rPr lang="en-US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19" name="Shape3_20221012_144847">
            <a:extLst>
              <a:ext uri="{FF2B5EF4-FFF2-40B4-BE49-F238E27FC236}">
                <a16:creationId xmlns:a16="http://schemas.microsoft.com/office/drawing/2014/main" id="{9CE0A1A0-C025-33BA-BCF1-A217FDA9A0B0}"/>
              </a:ext>
            </a:extLst>
          </p:cNvPr>
          <p:cNvSpPr/>
          <p:nvPr/>
        </p:nvSpPr>
        <p:spPr>
          <a:xfrm>
            <a:off x="5168003" y="2619946"/>
            <a:ext cx="855949" cy="85594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IN" sz="2400" dirty="0">
              <a:solidFill>
                <a:srgbClr val="FFFFFF"/>
              </a:solidFill>
            </a:endParaRPr>
          </a:p>
        </p:txBody>
      </p:sp>
      <p:sp>
        <p:nvSpPr>
          <p:cNvPr id="20" name="Shape7_20220427_135811">
            <a:extLst>
              <a:ext uri="{FF2B5EF4-FFF2-40B4-BE49-F238E27FC236}">
                <a16:creationId xmlns:a16="http://schemas.microsoft.com/office/drawing/2014/main" id="{413C3A8B-89B2-1837-1F63-CC4E1677D8FB}"/>
              </a:ext>
            </a:extLst>
          </p:cNvPr>
          <p:cNvSpPr txBox="1">
            <a:spLocks/>
          </p:cNvSpPr>
          <p:nvPr/>
        </p:nvSpPr>
        <p:spPr>
          <a:xfrm>
            <a:off x="9936937" y="2841227"/>
            <a:ext cx="1843875" cy="215444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501427">
              <a:spcBef>
                <a:spcPct val="0"/>
              </a:spcBef>
              <a:defRPr/>
            </a:pPr>
            <a:r>
              <a:rPr lang="en-US" sz="1400" dirty="0">
                <a:solidFill>
                  <a:schemeClr val="tx1">
                    <a:lumMod val="100000"/>
                  </a:schemeClr>
                </a:solidFill>
              </a:rPr>
              <a:t>Title</a:t>
            </a:r>
          </a:p>
        </p:txBody>
      </p:sp>
      <p:sp>
        <p:nvSpPr>
          <p:cNvPr id="21" name="Shape0_20220427_135811">
            <a:extLst>
              <a:ext uri="{FF2B5EF4-FFF2-40B4-BE49-F238E27FC236}">
                <a16:creationId xmlns:a16="http://schemas.microsoft.com/office/drawing/2014/main" id="{ED1FEC6F-6F94-591B-5C8B-409C16C7627C}"/>
              </a:ext>
            </a:extLst>
          </p:cNvPr>
          <p:cNvSpPr txBox="1">
            <a:spLocks/>
          </p:cNvSpPr>
          <p:nvPr/>
        </p:nvSpPr>
        <p:spPr>
          <a:xfrm>
            <a:off x="9936937" y="3071147"/>
            <a:ext cx="1843875" cy="21544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501427">
              <a:spcBef>
                <a:spcPct val="0"/>
              </a:spcBef>
              <a:defRPr/>
            </a:pPr>
            <a:r>
              <a:rPr lang="en-US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22" name="Shape4_20221012_144847">
            <a:extLst>
              <a:ext uri="{FF2B5EF4-FFF2-40B4-BE49-F238E27FC236}">
                <a16:creationId xmlns:a16="http://schemas.microsoft.com/office/drawing/2014/main" id="{A92F9083-5F7D-6229-EEC7-7EAE4B3D341D}"/>
              </a:ext>
            </a:extLst>
          </p:cNvPr>
          <p:cNvSpPr/>
          <p:nvPr/>
        </p:nvSpPr>
        <p:spPr>
          <a:xfrm>
            <a:off x="8828446" y="2619946"/>
            <a:ext cx="855949" cy="855949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IN" sz="2400" dirty="0">
              <a:solidFill>
                <a:prstClr val="white"/>
              </a:solidFill>
            </a:endParaRPr>
          </a:p>
        </p:txBody>
      </p:sp>
      <p:sp>
        <p:nvSpPr>
          <p:cNvPr id="23" name="Freeform 1532">
            <a:extLst>
              <a:ext uri="{FF2B5EF4-FFF2-40B4-BE49-F238E27FC236}">
                <a16:creationId xmlns:a16="http://schemas.microsoft.com/office/drawing/2014/main" id="{4E6FBBE1-E859-8F3B-68C7-F10B346FA144}"/>
              </a:ext>
            </a:extLst>
          </p:cNvPr>
          <p:cNvSpPr>
            <a:spLocks noEditPoints="1"/>
          </p:cNvSpPr>
          <p:nvPr/>
        </p:nvSpPr>
        <p:spPr bwMode="auto">
          <a:xfrm>
            <a:off x="5691394" y="3141750"/>
            <a:ext cx="125778" cy="123682"/>
          </a:xfrm>
          <a:custGeom>
            <a:avLst/>
            <a:gdLst>
              <a:gd name="T0" fmla="*/ 16 w 41"/>
              <a:gd name="T1" fmla="*/ 41 h 41"/>
              <a:gd name="T2" fmla="*/ 13 w 41"/>
              <a:gd name="T3" fmla="*/ 40 h 41"/>
              <a:gd name="T4" fmla="*/ 1 w 41"/>
              <a:gd name="T5" fmla="*/ 28 h 41"/>
              <a:gd name="T6" fmla="*/ 0 w 41"/>
              <a:gd name="T7" fmla="*/ 24 h 41"/>
              <a:gd name="T8" fmla="*/ 5 w 41"/>
              <a:gd name="T9" fmla="*/ 7 h 41"/>
              <a:gd name="T10" fmla="*/ 7 w 41"/>
              <a:gd name="T11" fmla="*/ 5 h 41"/>
              <a:gd name="T12" fmla="*/ 24 w 41"/>
              <a:gd name="T13" fmla="*/ 0 h 41"/>
              <a:gd name="T14" fmla="*/ 28 w 41"/>
              <a:gd name="T15" fmla="*/ 1 h 41"/>
              <a:gd name="T16" fmla="*/ 40 w 41"/>
              <a:gd name="T17" fmla="*/ 14 h 41"/>
              <a:gd name="T18" fmla="*/ 40 w 41"/>
              <a:gd name="T19" fmla="*/ 14 h 41"/>
              <a:gd name="T20" fmla="*/ 41 w 41"/>
              <a:gd name="T21" fmla="*/ 17 h 41"/>
              <a:gd name="T22" fmla="*/ 36 w 41"/>
              <a:gd name="T23" fmla="*/ 34 h 41"/>
              <a:gd name="T24" fmla="*/ 34 w 41"/>
              <a:gd name="T25" fmla="*/ 37 h 41"/>
              <a:gd name="T26" fmla="*/ 17 w 41"/>
              <a:gd name="T27" fmla="*/ 41 h 41"/>
              <a:gd name="T28" fmla="*/ 16 w 41"/>
              <a:gd name="T29" fmla="*/ 41 h 41"/>
              <a:gd name="T30" fmla="*/ 5 w 41"/>
              <a:gd name="T31" fmla="*/ 25 h 41"/>
              <a:gd name="T32" fmla="*/ 16 w 41"/>
              <a:gd name="T33" fmla="*/ 36 h 41"/>
              <a:gd name="T34" fmla="*/ 32 w 41"/>
              <a:gd name="T35" fmla="*/ 32 h 41"/>
              <a:gd name="T36" fmla="*/ 36 w 41"/>
              <a:gd name="T37" fmla="*/ 17 h 41"/>
              <a:gd name="T38" fmla="*/ 25 w 41"/>
              <a:gd name="T39" fmla="*/ 5 h 41"/>
              <a:gd name="T40" fmla="*/ 9 w 41"/>
              <a:gd name="T41" fmla="*/ 9 h 41"/>
              <a:gd name="T42" fmla="*/ 5 w 41"/>
              <a:gd name="T43" fmla="*/ 25 h 41"/>
              <a:gd name="T44" fmla="*/ 32 w 41"/>
              <a:gd name="T45" fmla="*/ 33 h 41"/>
              <a:gd name="T46" fmla="*/ 32 w 41"/>
              <a:gd name="T47" fmla="*/ 33 h 41"/>
              <a:gd name="T48" fmla="*/ 5 w 41"/>
              <a:gd name="T49" fmla="*/ 26 h 41"/>
              <a:gd name="T50" fmla="*/ 5 w 41"/>
              <a:gd name="T51" fmla="*/ 26 h 41"/>
              <a:gd name="T52" fmla="*/ 5 w 41"/>
              <a:gd name="T53" fmla="*/ 26 h 41"/>
              <a:gd name="T54" fmla="*/ 36 w 41"/>
              <a:gd name="T55" fmla="*/ 16 h 41"/>
              <a:gd name="T56" fmla="*/ 36 w 41"/>
              <a:gd name="T57" fmla="*/ 16 h 41"/>
              <a:gd name="T58" fmla="*/ 9 w 41"/>
              <a:gd name="T59" fmla="*/ 9 h 41"/>
              <a:gd name="T60" fmla="*/ 9 w 41"/>
              <a:gd name="T61" fmla="*/ 9 h 41"/>
              <a:gd name="T62" fmla="*/ 9 w 41"/>
              <a:gd name="T63" fmla="*/ 9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41" h="41">
                <a:moveTo>
                  <a:pt x="16" y="41"/>
                </a:moveTo>
                <a:cubicBezTo>
                  <a:pt x="15" y="41"/>
                  <a:pt x="14" y="41"/>
                  <a:pt x="13" y="40"/>
                </a:cubicBezTo>
                <a:cubicBezTo>
                  <a:pt x="1" y="28"/>
                  <a:pt x="1" y="28"/>
                  <a:pt x="1" y="28"/>
                </a:cubicBezTo>
                <a:cubicBezTo>
                  <a:pt x="0" y="27"/>
                  <a:pt x="0" y="26"/>
                  <a:pt x="0" y="24"/>
                </a:cubicBezTo>
                <a:cubicBezTo>
                  <a:pt x="5" y="7"/>
                  <a:pt x="5" y="7"/>
                  <a:pt x="5" y="7"/>
                </a:cubicBezTo>
                <a:cubicBezTo>
                  <a:pt x="5" y="6"/>
                  <a:pt x="6" y="5"/>
                  <a:pt x="7" y="5"/>
                </a:cubicBezTo>
                <a:cubicBezTo>
                  <a:pt x="24" y="0"/>
                  <a:pt x="24" y="0"/>
                  <a:pt x="24" y="0"/>
                </a:cubicBezTo>
                <a:cubicBezTo>
                  <a:pt x="25" y="0"/>
                  <a:pt x="27" y="0"/>
                  <a:pt x="28" y="1"/>
                </a:cubicBezTo>
                <a:cubicBezTo>
                  <a:pt x="40" y="14"/>
                  <a:pt x="40" y="14"/>
                  <a:pt x="40" y="14"/>
                </a:cubicBezTo>
                <a:cubicBezTo>
                  <a:pt x="40" y="14"/>
                  <a:pt x="40" y="14"/>
                  <a:pt x="40" y="14"/>
                </a:cubicBezTo>
                <a:cubicBezTo>
                  <a:pt x="41" y="15"/>
                  <a:pt x="41" y="16"/>
                  <a:pt x="41" y="17"/>
                </a:cubicBezTo>
                <a:cubicBezTo>
                  <a:pt x="36" y="34"/>
                  <a:pt x="36" y="34"/>
                  <a:pt x="36" y="34"/>
                </a:cubicBezTo>
                <a:cubicBezTo>
                  <a:pt x="36" y="35"/>
                  <a:pt x="35" y="36"/>
                  <a:pt x="34" y="37"/>
                </a:cubicBezTo>
                <a:cubicBezTo>
                  <a:pt x="17" y="41"/>
                  <a:pt x="17" y="41"/>
                  <a:pt x="17" y="41"/>
                </a:cubicBezTo>
                <a:cubicBezTo>
                  <a:pt x="17" y="41"/>
                  <a:pt x="16" y="41"/>
                  <a:pt x="16" y="41"/>
                </a:cubicBezTo>
                <a:close/>
                <a:moveTo>
                  <a:pt x="5" y="25"/>
                </a:moveTo>
                <a:cubicBezTo>
                  <a:pt x="16" y="36"/>
                  <a:pt x="16" y="36"/>
                  <a:pt x="16" y="36"/>
                </a:cubicBezTo>
                <a:cubicBezTo>
                  <a:pt x="32" y="32"/>
                  <a:pt x="32" y="32"/>
                  <a:pt x="32" y="32"/>
                </a:cubicBezTo>
                <a:cubicBezTo>
                  <a:pt x="36" y="17"/>
                  <a:pt x="36" y="17"/>
                  <a:pt x="36" y="17"/>
                </a:cubicBezTo>
                <a:cubicBezTo>
                  <a:pt x="25" y="5"/>
                  <a:pt x="25" y="5"/>
                  <a:pt x="25" y="5"/>
                </a:cubicBezTo>
                <a:cubicBezTo>
                  <a:pt x="9" y="9"/>
                  <a:pt x="9" y="9"/>
                  <a:pt x="9" y="9"/>
                </a:cubicBezTo>
                <a:lnTo>
                  <a:pt x="5" y="25"/>
                </a:lnTo>
                <a:close/>
                <a:moveTo>
                  <a:pt x="32" y="33"/>
                </a:moveTo>
                <a:cubicBezTo>
                  <a:pt x="32" y="33"/>
                  <a:pt x="32" y="33"/>
                  <a:pt x="32" y="33"/>
                </a:cubicBezTo>
                <a:close/>
                <a:moveTo>
                  <a:pt x="5" y="26"/>
                </a:moveTo>
                <a:cubicBezTo>
                  <a:pt x="5" y="26"/>
                  <a:pt x="5" y="26"/>
                  <a:pt x="5" y="26"/>
                </a:cubicBezTo>
                <a:cubicBezTo>
                  <a:pt x="5" y="26"/>
                  <a:pt x="5" y="26"/>
                  <a:pt x="5" y="26"/>
                </a:cubicBezTo>
                <a:close/>
                <a:moveTo>
                  <a:pt x="36" y="16"/>
                </a:moveTo>
                <a:cubicBezTo>
                  <a:pt x="36" y="16"/>
                  <a:pt x="36" y="16"/>
                  <a:pt x="36" y="16"/>
                </a:cubicBezTo>
                <a:close/>
                <a:moveTo>
                  <a:pt x="9" y="9"/>
                </a:moveTo>
                <a:cubicBezTo>
                  <a:pt x="9" y="9"/>
                  <a:pt x="9" y="9"/>
                  <a:pt x="9" y="9"/>
                </a:cubicBezTo>
                <a:cubicBezTo>
                  <a:pt x="9" y="9"/>
                  <a:pt x="9" y="9"/>
                  <a:pt x="9" y="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400" dirty="0"/>
          </a:p>
        </p:txBody>
      </p:sp>
      <p:sp>
        <p:nvSpPr>
          <p:cNvPr id="24" name="Freeform 1533">
            <a:extLst>
              <a:ext uri="{FF2B5EF4-FFF2-40B4-BE49-F238E27FC236}">
                <a16:creationId xmlns:a16="http://schemas.microsoft.com/office/drawing/2014/main" id="{771C004E-70AB-FF83-EA67-512A9A4CA514}"/>
              </a:ext>
            </a:extLst>
          </p:cNvPr>
          <p:cNvSpPr>
            <a:spLocks/>
          </p:cNvSpPr>
          <p:nvPr/>
        </p:nvSpPr>
        <p:spPr bwMode="auto">
          <a:xfrm>
            <a:off x="5344423" y="2798425"/>
            <a:ext cx="140959" cy="138609"/>
          </a:xfrm>
          <a:custGeom>
            <a:avLst/>
            <a:gdLst>
              <a:gd name="T0" fmla="*/ 18 w 46"/>
              <a:gd name="T1" fmla="*/ 46 h 46"/>
              <a:gd name="T2" fmla="*/ 16 w 46"/>
              <a:gd name="T3" fmla="*/ 45 h 46"/>
              <a:gd name="T4" fmla="*/ 1 w 46"/>
              <a:gd name="T5" fmla="*/ 30 h 46"/>
              <a:gd name="T6" fmla="*/ 1 w 46"/>
              <a:gd name="T7" fmla="*/ 26 h 46"/>
              <a:gd name="T8" fmla="*/ 5 w 46"/>
              <a:gd name="T9" fmla="*/ 26 h 46"/>
              <a:gd name="T10" fmla="*/ 19 w 46"/>
              <a:gd name="T11" fmla="*/ 41 h 46"/>
              <a:gd name="T12" fmla="*/ 36 w 46"/>
              <a:gd name="T13" fmla="*/ 36 h 46"/>
              <a:gd name="T14" fmla="*/ 40 w 46"/>
              <a:gd name="T15" fmla="*/ 19 h 46"/>
              <a:gd name="T16" fmla="*/ 26 w 46"/>
              <a:gd name="T17" fmla="*/ 5 h 46"/>
              <a:gd name="T18" fmla="*/ 26 w 46"/>
              <a:gd name="T19" fmla="*/ 1 h 46"/>
              <a:gd name="T20" fmla="*/ 30 w 46"/>
              <a:gd name="T21" fmla="*/ 1 h 46"/>
              <a:gd name="T22" fmla="*/ 45 w 46"/>
              <a:gd name="T23" fmla="*/ 17 h 46"/>
              <a:gd name="T24" fmla="*/ 45 w 46"/>
              <a:gd name="T25" fmla="*/ 19 h 46"/>
              <a:gd name="T26" fmla="*/ 40 w 46"/>
              <a:gd name="T27" fmla="*/ 39 h 46"/>
              <a:gd name="T28" fmla="*/ 38 w 46"/>
              <a:gd name="T29" fmla="*/ 40 h 46"/>
              <a:gd name="T30" fmla="*/ 19 w 46"/>
              <a:gd name="T31" fmla="*/ 46 h 46"/>
              <a:gd name="T32" fmla="*/ 18 w 46"/>
              <a:gd name="T33" fmla="*/ 46 h 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46" h="46">
                <a:moveTo>
                  <a:pt x="18" y="46"/>
                </a:moveTo>
                <a:cubicBezTo>
                  <a:pt x="18" y="46"/>
                  <a:pt x="17" y="46"/>
                  <a:pt x="16" y="45"/>
                </a:cubicBezTo>
                <a:cubicBezTo>
                  <a:pt x="1" y="30"/>
                  <a:pt x="1" y="30"/>
                  <a:pt x="1" y="30"/>
                </a:cubicBezTo>
                <a:cubicBezTo>
                  <a:pt x="0" y="29"/>
                  <a:pt x="0" y="27"/>
                  <a:pt x="1" y="26"/>
                </a:cubicBezTo>
                <a:cubicBezTo>
                  <a:pt x="2" y="25"/>
                  <a:pt x="4" y="25"/>
                  <a:pt x="5" y="26"/>
                </a:cubicBezTo>
                <a:cubicBezTo>
                  <a:pt x="19" y="41"/>
                  <a:pt x="19" y="41"/>
                  <a:pt x="19" y="41"/>
                </a:cubicBezTo>
                <a:cubicBezTo>
                  <a:pt x="36" y="36"/>
                  <a:pt x="36" y="36"/>
                  <a:pt x="36" y="36"/>
                </a:cubicBezTo>
                <a:cubicBezTo>
                  <a:pt x="40" y="19"/>
                  <a:pt x="40" y="19"/>
                  <a:pt x="40" y="19"/>
                </a:cubicBezTo>
                <a:cubicBezTo>
                  <a:pt x="26" y="5"/>
                  <a:pt x="26" y="5"/>
                  <a:pt x="26" y="5"/>
                </a:cubicBezTo>
                <a:cubicBezTo>
                  <a:pt x="25" y="4"/>
                  <a:pt x="25" y="2"/>
                  <a:pt x="26" y="1"/>
                </a:cubicBezTo>
                <a:cubicBezTo>
                  <a:pt x="27" y="0"/>
                  <a:pt x="29" y="0"/>
                  <a:pt x="30" y="1"/>
                </a:cubicBezTo>
                <a:cubicBezTo>
                  <a:pt x="45" y="17"/>
                  <a:pt x="45" y="17"/>
                  <a:pt x="45" y="17"/>
                </a:cubicBezTo>
                <a:cubicBezTo>
                  <a:pt x="45" y="17"/>
                  <a:pt x="46" y="18"/>
                  <a:pt x="45" y="19"/>
                </a:cubicBezTo>
                <a:cubicBezTo>
                  <a:pt x="40" y="39"/>
                  <a:pt x="40" y="39"/>
                  <a:pt x="40" y="39"/>
                </a:cubicBezTo>
                <a:cubicBezTo>
                  <a:pt x="40" y="40"/>
                  <a:pt x="39" y="40"/>
                  <a:pt x="38" y="40"/>
                </a:cubicBezTo>
                <a:cubicBezTo>
                  <a:pt x="19" y="46"/>
                  <a:pt x="19" y="46"/>
                  <a:pt x="19" y="46"/>
                </a:cubicBezTo>
                <a:cubicBezTo>
                  <a:pt x="19" y="46"/>
                  <a:pt x="18" y="46"/>
                  <a:pt x="18" y="46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400" dirty="0"/>
          </a:p>
        </p:txBody>
      </p:sp>
      <p:sp>
        <p:nvSpPr>
          <p:cNvPr id="25" name="Freeform 1534">
            <a:extLst>
              <a:ext uri="{FF2B5EF4-FFF2-40B4-BE49-F238E27FC236}">
                <a16:creationId xmlns:a16="http://schemas.microsoft.com/office/drawing/2014/main" id="{6AE5FF4D-FCD4-5434-C3D1-23189A9FA069}"/>
              </a:ext>
            </a:extLst>
          </p:cNvPr>
          <p:cNvSpPr>
            <a:spLocks/>
          </p:cNvSpPr>
          <p:nvPr/>
        </p:nvSpPr>
        <p:spPr bwMode="auto">
          <a:xfrm>
            <a:off x="5340089" y="2873063"/>
            <a:ext cx="158307" cy="121550"/>
          </a:xfrm>
          <a:custGeom>
            <a:avLst/>
            <a:gdLst>
              <a:gd name="T0" fmla="*/ 33 w 51"/>
              <a:gd name="T1" fmla="*/ 40 h 40"/>
              <a:gd name="T2" fmla="*/ 11 w 51"/>
              <a:gd name="T3" fmla="*/ 30 h 40"/>
              <a:gd name="T4" fmla="*/ 1 w 51"/>
              <a:gd name="T5" fmla="*/ 3 h 40"/>
              <a:gd name="T6" fmla="*/ 4 w 51"/>
              <a:gd name="T7" fmla="*/ 1 h 40"/>
              <a:gd name="T8" fmla="*/ 6 w 51"/>
              <a:gd name="T9" fmla="*/ 3 h 40"/>
              <a:gd name="T10" fmla="*/ 14 w 51"/>
              <a:gd name="T11" fmla="*/ 27 h 40"/>
              <a:gd name="T12" fmla="*/ 47 w 51"/>
              <a:gd name="T13" fmla="*/ 31 h 40"/>
              <a:gd name="T14" fmla="*/ 50 w 51"/>
              <a:gd name="T15" fmla="*/ 32 h 40"/>
              <a:gd name="T16" fmla="*/ 50 w 51"/>
              <a:gd name="T17" fmla="*/ 35 h 40"/>
              <a:gd name="T18" fmla="*/ 33 w 51"/>
              <a:gd name="T19" fmla="*/ 40 h 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51" h="40">
                <a:moveTo>
                  <a:pt x="33" y="40"/>
                </a:moveTo>
                <a:cubicBezTo>
                  <a:pt x="25" y="40"/>
                  <a:pt x="17" y="36"/>
                  <a:pt x="11" y="30"/>
                </a:cubicBezTo>
                <a:cubicBezTo>
                  <a:pt x="3" y="23"/>
                  <a:pt x="0" y="13"/>
                  <a:pt x="1" y="3"/>
                </a:cubicBezTo>
                <a:cubicBezTo>
                  <a:pt x="2" y="1"/>
                  <a:pt x="3" y="0"/>
                  <a:pt x="4" y="1"/>
                </a:cubicBezTo>
                <a:cubicBezTo>
                  <a:pt x="6" y="1"/>
                  <a:pt x="7" y="2"/>
                  <a:pt x="6" y="3"/>
                </a:cubicBezTo>
                <a:cubicBezTo>
                  <a:pt x="5" y="12"/>
                  <a:pt x="8" y="21"/>
                  <a:pt x="14" y="27"/>
                </a:cubicBezTo>
                <a:cubicBezTo>
                  <a:pt x="23" y="36"/>
                  <a:pt x="36" y="37"/>
                  <a:pt x="47" y="31"/>
                </a:cubicBezTo>
                <a:cubicBezTo>
                  <a:pt x="48" y="30"/>
                  <a:pt x="50" y="31"/>
                  <a:pt x="50" y="32"/>
                </a:cubicBezTo>
                <a:cubicBezTo>
                  <a:pt x="51" y="33"/>
                  <a:pt x="51" y="34"/>
                  <a:pt x="50" y="35"/>
                </a:cubicBezTo>
                <a:cubicBezTo>
                  <a:pt x="45" y="38"/>
                  <a:pt x="39" y="40"/>
                  <a:pt x="33" y="4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400" dirty="0"/>
          </a:p>
        </p:txBody>
      </p:sp>
      <p:sp>
        <p:nvSpPr>
          <p:cNvPr id="26" name="Freeform 1535">
            <a:extLst>
              <a:ext uri="{FF2B5EF4-FFF2-40B4-BE49-F238E27FC236}">
                <a16:creationId xmlns:a16="http://schemas.microsoft.com/office/drawing/2014/main" id="{E72EE69F-7984-C580-63FF-F188EA3318A6}"/>
              </a:ext>
            </a:extLst>
          </p:cNvPr>
          <p:cNvSpPr>
            <a:spLocks/>
          </p:cNvSpPr>
          <p:nvPr/>
        </p:nvSpPr>
        <p:spPr bwMode="auto">
          <a:xfrm>
            <a:off x="5420326" y="2794161"/>
            <a:ext cx="130113" cy="155668"/>
          </a:xfrm>
          <a:custGeom>
            <a:avLst/>
            <a:gdLst>
              <a:gd name="T0" fmla="*/ 33 w 42"/>
              <a:gd name="T1" fmla="*/ 51 h 51"/>
              <a:gd name="T2" fmla="*/ 31 w 42"/>
              <a:gd name="T3" fmla="*/ 51 h 51"/>
              <a:gd name="T4" fmla="*/ 31 w 42"/>
              <a:gd name="T5" fmla="*/ 47 h 51"/>
              <a:gd name="T6" fmla="*/ 26 w 42"/>
              <a:gd name="T7" fmla="*/ 14 h 51"/>
              <a:gd name="T8" fmla="*/ 3 w 42"/>
              <a:gd name="T9" fmla="*/ 7 h 51"/>
              <a:gd name="T10" fmla="*/ 0 w 42"/>
              <a:gd name="T11" fmla="*/ 5 h 51"/>
              <a:gd name="T12" fmla="*/ 2 w 42"/>
              <a:gd name="T13" fmla="*/ 2 h 51"/>
              <a:gd name="T14" fmla="*/ 30 w 42"/>
              <a:gd name="T15" fmla="*/ 11 h 51"/>
              <a:gd name="T16" fmla="*/ 35 w 42"/>
              <a:gd name="T17" fmla="*/ 50 h 51"/>
              <a:gd name="T18" fmla="*/ 33 w 42"/>
              <a:gd name="T19" fmla="*/ 51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2" h="51">
                <a:moveTo>
                  <a:pt x="33" y="51"/>
                </a:moveTo>
                <a:cubicBezTo>
                  <a:pt x="32" y="51"/>
                  <a:pt x="32" y="51"/>
                  <a:pt x="31" y="51"/>
                </a:cubicBezTo>
                <a:cubicBezTo>
                  <a:pt x="30" y="50"/>
                  <a:pt x="30" y="49"/>
                  <a:pt x="31" y="47"/>
                </a:cubicBezTo>
                <a:cubicBezTo>
                  <a:pt x="37" y="37"/>
                  <a:pt x="35" y="23"/>
                  <a:pt x="26" y="14"/>
                </a:cubicBezTo>
                <a:cubicBezTo>
                  <a:pt x="20" y="8"/>
                  <a:pt x="12" y="5"/>
                  <a:pt x="3" y="7"/>
                </a:cubicBezTo>
                <a:cubicBezTo>
                  <a:pt x="2" y="7"/>
                  <a:pt x="1" y="6"/>
                  <a:pt x="0" y="5"/>
                </a:cubicBezTo>
                <a:cubicBezTo>
                  <a:pt x="0" y="3"/>
                  <a:pt x="1" y="2"/>
                  <a:pt x="2" y="2"/>
                </a:cubicBezTo>
                <a:cubicBezTo>
                  <a:pt x="12" y="0"/>
                  <a:pt x="23" y="4"/>
                  <a:pt x="30" y="11"/>
                </a:cubicBezTo>
                <a:cubicBezTo>
                  <a:pt x="40" y="21"/>
                  <a:pt x="42" y="37"/>
                  <a:pt x="35" y="50"/>
                </a:cubicBezTo>
                <a:cubicBezTo>
                  <a:pt x="34" y="51"/>
                  <a:pt x="34" y="51"/>
                  <a:pt x="33" y="5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400" dirty="0"/>
          </a:p>
        </p:txBody>
      </p:sp>
      <p:sp>
        <p:nvSpPr>
          <p:cNvPr id="27" name="Freeform 1536">
            <a:extLst>
              <a:ext uri="{FF2B5EF4-FFF2-40B4-BE49-F238E27FC236}">
                <a16:creationId xmlns:a16="http://schemas.microsoft.com/office/drawing/2014/main" id="{9B148B12-D0ED-244D-AD52-BCE94FFC1992}"/>
              </a:ext>
            </a:extLst>
          </p:cNvPr>
          <p:cNvSpPr>
            <a:spLocks/>
          </p:cNvSpPr>
          <p:nvPr/>
        </p:nvSpPr>
        <p:spPr bwMode="auto">
          <a:xfrm>
            <a:off x="5483212" y="2969021"/>
            <a:ext cx="80239" cy="74636"/>
          </a:xfrm>
          <a:custGeom>
            <a:avLst/>
            <a:gdLst>
              <a:gd name="T0" fmla="*/ 23 w 26"/>
              <a:gd name="T1" fmla="*/ 25 h 25"/>
              <a:gd name="T2" fmla="*/ 21 w 26"/>
              <a:gd name="T3" fmla="*/ 25 h 25"/>
              <a:gd name="T4" fmla="*/ 1 w 26"/>
              <a:gd name="T5" fmla="*/ 4 h 25"/>
              <a:gd name="T6" fmla="*/ 1 w 26"/>
              <a:gd name="T7" fmla="*/ 1 h 25"/>
              <a:gd name="T8" fmla="*/ 5 w 26"/>
              <a:gd name="T9" fmla="*/ 1 h 25"/>
              <a:gd name="T10" fmla="*/ 25 w 26"/>
              <a:gd name="T11" fmla="*/ 21 h 25"/>
              <a:gd name="T12" fmla="*/ 25 w 26"/>
              <a:gd name="T13" fmla="*/ 25 h 25"/>
              <a:gd name="T14" fmla="*/ 23 w 26"/>
              <a:gd name="T15" fmla="*/ 25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6" h="25">
                <a:moveTo>
                  <a:pt x="23" y="25"/>
                </a:moveTo>
                <a:cubicBezTo>
                  <a:pt x="23" y="25"/>
                  <a:pt x="22" y="25"/>
                  <a:pt x="21" y="25"/>
                </a:cubicBezTo>
                <a:cubicBezTo>
                  <a:pt x="1" y="4"/>
                  <a:pt x="1" y="4"/>
                  <a:pt x="1" y="4"/>
                </a:cubicBezTo>
                <a:cubicBezTo>
                  <a:pt x="0" y="3"/>
                  <a:pt x="0" y="2"/>
                  <a:pt x="1" y="1"/>
                </a:cubicBezTo>
                <a:cubicBezTo>
                  <a:pt x="2" y="0"/>
                  <a:pt x="4" y="0"/>
                  <a:pt x="5" y="1"/>
                </a:cubicBezTo>
                <a:cubicBezTo>
                  <a:pt x="25" y="21"/>
                  <a:pt x="25" y="21"/>
                  <a:pt x="25" y="21"/>
                </a:cubicBezTo>
                <a:cubicBezTo>
                  <a:pt x="26" y="22"/>
                  <a:pt x="26" y="24"/>
                  <a:pt x="25" y="25"/>
                </a:cubicBezTo>
                <a:cubicBezTo>
                  <a:pt x="24" y="25"/>
                  <a:pt x="24" y="25"/>
                  <a:pt x="23" y="2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400" dirty="0"/>
          </a:p>
        </p:txBody>
      </p:sp>
      <p:sp>
        <p:nvSpPr>
          <p:cNvPr id="28" name="Freeform 1537">
            <a:extLst>
              <a:ext uri="{FF2B5EF4-FFF2-40B4-BE49-F238E27FC236}">
                <a16:creationId xmlns:a16="http://schemas.microsoft.com/office/drawing/2014/main" id="{48A0E296-D90B-3499-FAD0-AC6AEAE29B94}"/>
              </a:ext>
            </a:extLst>
          </p:cNvPr>
          <p:cNvSpPr>
            <a:spLocks/>
          </p:cNvSpPr>
          <p:nvPr/>
        </p:nvSpPr>
        <p:spPr bwMode="auto">
          <a:xfrm>
            <a:off x="5602484" y="3086305"/>
            <a:ext cx="82406" cy="78901"/>
          </a:xfrm>
          <a:custGeom>
            <a:avLst/>
            <a:gdLst>
              <a:gd name="T0" fmla="*/ 24 w 27"/>
              <a:gd name="T1" fmla="*/ 26 h 26"/>
              <a:gd name="T2" fmla="*/ 22 w 27"/>
              <a:gd name="T3" fmla="*/ 26 h 26"/>
              <a:gd name="T4" fmla="*/ 1 w 27"/>
              <a:gd name="T5" fmla="*/ 4 h 26"/>
              <a:gd name="T6" fmla="*/ 1 w 27"/>
              <a:gd name="T7" fmla="*/ 1 h 26"/>
              <a:gd name="T8" fmla="*/ 5 w 27"/>
              <a:gd name="T9" fmla="*/ 1 h 26"/>
              <a:gd name="T10" fmla="*/ 26 w 27"/>
              <a:gd name="T11" fmla="*/ 22 h 26"/>
              <a:gd name="T12" fmla="*/ 26 w 27"/>
              <a:gd name="T13" fmla="*/ 26 h 26"/>
              <a:gd name="T14" fmla="*/ 24 w 27"/>
              <a:gd name="T15" fmla="*/ 26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7" h="26">
                <a:moveTo>
                  <a:pt x="24" y="26"/>
                </a:moveTo>
                <a:cubicBezTo>
                  <a:pt x="24" y="26"/>
                  <a:pt x="23" y="26"/>
                  <a:pt x="22" y="26"/>
                </a:cubicBezTo>
                <a:cubicBezTo>
                  <a:pt x="1" y="4"/>
                  <a:pt x="1" y="4"/>
                  <a:pt x="1" y="4"/>
                </a:cubicBezTo>
                <a:cubicBezTo>
                  <a:pt x="0" y="3"/>
                  <a:pt x="0" y="2"/>
                  <a:pt x="1" y="1"/>
                </a:cubicBezTo>
                <a:cubicBezTo>
                  <a:pt x="2" y="0"/>
                  <a:pt x="4" y="0"/>
                  <a:pt x="5" y="1"/>
                </a:cubicBezTo>
                <a:cubicBezTo>
                  <a:pt x="26" y="22"/>
                  <a:pt x="26" y="22"/>
                  <a:pt x="26" y="22"/>
                </a:cubicBezTo>
                <a:cubicBezTo>
                  <a:pt x="27" y="23"/>
                  <a:pt x="27" y="25"/>
                  <a:pt x="26" y="26"/>
                </a:cubicBezTo>
                <a:cubicBezTo>
                  <a:pt x="25" y="26"/>
                  <a:pt x="25" y="26"/>
                  <a:pt x="24" y="26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400" dirty="0"/>
          </a:p>
        </p:txBody>
      </p:sp>
      <p:sp>
        <p:nvSpPr>
          <p:cNvPr id="71" name="Freeform 1538">
            <a:extLst>
              <a:ext uri="{FF2B5EF4-FFF2-40B4-BE49-F238E27FC236}">
                <a16:creationId xmlns:a16="http://schemas.microsoft.com/office/drawing/2014/main" id="{7FA2C422-050E-385E-D91A-5964A5CCC937}"/>
              </a:ext>
            </a:extLst>
          </p:cNvPr>
          <p:cNvSpPr>
            <a:spLocks/>
          </p:cNvSpPr>
          <p:nvPr/>
        </p:nvSpPr>
        <p:spPr bwMode="auto">
          <a:xfrm>
            <a:off x="5515743" y="2937035"/>
            <a:ext cx="201677" cy="198317"/>
          </a:xfrm>
          <a:custGeom>
            <a:avLst/>
            <a:gdLst>
              <a:gd name="T0" fmla="*/ 63 w 65"/>
              <a:gd name="T1" fmla="*/ 65 h 65"/>
              <a:gd name="T2" fmla="*/ 61 w 65"/>
              <a:gd name="T3" fmla="*/ 64 h 65"/>
              <a:gd name="T4" fmla="*/ 1 w 65"/>
              <a:gd name="T5" fmla="*/ 4 h 65"/>
              <a:gd name="T6" fmla="*/ 1 w 65"/>
              <a:gd name="T7" fmla="*/ 1 h 65"/>
              <a:gd name="T8" fmla="*/ 4 w 65"/>
              <a:gd name="T9" fmla="*/ 1 h 65"/>
              <a:gd name="T10" fmla="*/ 64 w 65"/>
              <a:gd name="T11" fmla="*/ 61 h 65"/>
              <a:gd name="T12" fmla="*/ 64 w 65"/>
              <a:gd name="T13" fmla="*/ 64 h 65"/>
              <a:gd name="T14" fmla="*/ 63 w 65"/>
              <a:gd name="T15" fmla="*/ 65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65" h="65">
                <a:moveTo>
                  <a:pt x="63" y="65"/>
                </a:moveTo>
                <a:cubicBezTo>
                  <a:pt x="62" y="65"/>
                  <a:pt x="61" y="65"/>
                  <a:pt x="61" y="64"/>
                </a:cubicBezTo>
                <a:cubicBezTo>
                  <a:pt x="1" y="4"/>
                  <a:pt x="1" y="4"/>
                  <a:pt x="1" y="4"/>
                </a:cubicBezTo>
                <a:cubicBezTo>
                  <a:pt x="0" y="3"/>
                  <a:pt x="0" y="2"/>
                  <a:pt x="1" y="1"/>
                </a:cubicBezTo>
                <a:cubicBezTo>
                  <a:pt x="2" y="0"/>
                  <a:pt x="3" y="0"/>
                  <a:pt x="4" y="1"/>
                </a:cubicBezTo>
                <a:cubicBezTo>
                  <a:pt x="64" y="61"/>
                  <a:pt x="64" y="61"/>
                  <a:pt x="64" y="61"/>
                </a:cubicBezTo>
                <a:cubicBezTo>
                  <a:pt x="65" y="62"/>
                  <a:pt x="65" y="63"/>
                  <a:pt x="64" y="64"/>
                </a:cubicBezTo>
                <a:cubicBezTo>
                  <a:pt x="64" y="65"/>
                  <a:pt x="63" y="65"/>
                  <a:pt x="63" y="6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400" dirty="0"/>
          </a:p>
        </p:txBody>
      </p:sp>
      <p:sp>
        <p:nvSpPr>
          <p:cNvPr id="72" name="Freeform 1539">
            <a:extLst>
              <a:ext uri="{FF2B5EF4-FFF2-40B4-BE49-F238E27FC236}">
                <a16:creationId xmlns:a16="http://schemas.microsoft.com/office/drawing/2014/main" id="{AFF35DDC-C34E-5065-4CEE-4780379394AA}"/>
              </a:ext>
            </a:extLst>
          </p:cNvPr>
          <p:cNvSpPr>
            <a:spLocks/>
          </p:cNvSpPr>
          <p:nvPr/>
        </p:nvSpPr>
        <p:spPr bwMode="auto">
          <a:xfrm>
            <a:off x="5648022" y="3099102"/>
            <a:ext cx="203847" cy="202583"/>
          </a:xfrm>
          <a:custGeom>
            <a:avLst/>
            <a:gdLst>
              <a:gd name="T0" fmla="*/ 34 w 66"/>
              <a:gd name="T1" fmla="*/ 67 h 67"/>
              <a:gd name="T2" fmla="*/ 12 w 66"/>
              <a:gd name="T3" fmla="*/ 57 h 67"/>
              <a:gd name="T4" fmla="*/ 7 w 66"/>
              <a:gd name="T5" fmla="*/ 19 h 67"/>
              <a:gd name="T6" fmla="*/ 10 w 66"/>
              <a:gd name="T7" fmla="*/ 18 h 67"/>
              <a:gd name="T8" fmla="*/ 11 w 66"/>
              <a:gd name="T9" fmla="*/ 21 h 67"/>
              <a:gd name="T10" fmla="*/ 16 w 66"/>
              <a:gd name="T11" fmla="*/ 54 h 67"/>
              <a:gd name="T12" fmla="*/ 34 w 66"/>
              <a:gd name="T13" fmla="*/ 62 h 67"/>
              <a:gd name="T14" fmla="*/ 53 w 66"/>
              <a:gd name="T15" fmla="*/ 54 h 67"/>
              <a:gd name="T16" fmla="*/ 61 w 66"/>
              <a:gd name="T17" fmla="*/ 35 h 67"/>
              <a:gd name="T18" fmla="*/ 53 w 66"/>
              <a:gd name="T19" fmla="*/ 16 h 67"/>
              <a:gd name="T20" fmla="*/ 21 w 66"/>
              <a:gd name="T21" fmla="*/ 12 h 67"/>
              <a:gd name="T22" fmla="*/ 18 w 66"/>
              <a:gd name="T23" fmla="*/ 11 h 67"/>
              <a:gd name="T24" fmla="*/ 18 w 66"/>
              <a:gd name="T25" fmla="*/ 7 h 67"/>
              <a:gd name="T26" fmla="*/ 57 w 66"/>
              <a:gd name="T27" fmla="*/ 12 h 67"/>
              <a:gd name="T28" fmla="*/ 66 w 66"/>
              <a:gd name="T29" fmla="*/ 35 h 67"/>
              <a:gd name="T30" fmla="*/ 57 w 66"/>
              <a:gd name="T31" fmla="*/ 57 h 67"/>
              <a:gd name="T32" fmla="*/ 34 w 66"/>
              <a:gd name="T33" fmla="*/ 67 h 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66" h="67">
                <a:moveTo>
                  <a:pt x="34" y="67"/>
                </a:moveTo>
                <a:cubicBezTo>
                  <a:pt x="26" y="67"/>
                  <a:pt x="18" y="63"/>
                  <a:pt x="12" y="57"/>
                </a:cubicBezTo>
                <a:cubicBezTo>
                  <a:pt x="2" y="47"/>
                  <a:pt x="0" y="31"/>
                  <a:pt x="7" y="19"/>
                </a:cubicBezTo>
                <a:cubicBezTo>
                  <a:pt x="8" y="18"/>
                  <a:pt x="9" y="17"/>
                  <a:pt x="10" y="18"/>
                </a:cubicBezTo>
                <a:cubicBezTo>
                  <a:pt x="12" y="19"/>
                  <a:pt x="12" y="20"/>
                  <a:pt x="11" y="21"/>
                </a:cubicBezTo>
                <a:cubicBezTo>
                  <a:pt x="5" y="32"/>
                  <a:pt x="7" y="45"/>
                  <a:pt x="16" y="54"/>
                </a:cubicBezTo>
                <a:cubicBezTo>
                  <a:pt x="21" y="59"/>
                  <a:pt x="27" y="62"/>
                  <a:pt x="34" y="62"/>
                </a:cubicBezTo>
                <a:cubicBezTo>
                  <a:pt x="42" y="62"/>
                  <a:pt x="48" y="59"/>
                  <a:pt x="53" y="54"/>
                </a:cubicBezTo>
                <a:cubicBezTo>
                  <a:pt x="59" y="49"/>
                  <a:pt x="61" y="42"/>
                  <a:pt x="61" y="35"/>
                </a:cubicBezTo>
                <a:cubicBezTo>
                  <a:pt x="61" y="28"/>
                  <a:pt x="59" y="21"/>
                  <a:pt x="53" y="16"/>
                </a:cubicBezTo>
                <a:cubicBezTo>
                  <a:pt x="45" y="7"/>
                  <a:pt x="31" y="5"/>
                  <a:pt x="21" y="12"/>
                </a:cubicBezTo>
                <a:cubicBezTo>
                  <a:pt x="20" y="12"/>
                  <a:pt x="18" y="12"/>
                  <a:pt x="18" y="11"/>
                </a:cubicBezTo>
                <a:cubicBezTo>
                  <a:pt x="17" y="10"/>
                  <a:pt x="17" y="8"/>
                  <a:pt x="18" y="7"/>
                </a:cubicBezTo>
                <a:cubicBezTo>
                  <a:pt x="31" y="0"/>
                  <a:pt x="47" y="2"/>
                  <a:pt x="57" y="12"/>
                </a:cubicBezTo>
                <a:cubicBezTo>
                  <a:pt x="63" y="18"/>
                  <a:pt x="66" y="26"/>
                  <a:pt x="66" y="35"/>
                </a:cubicBezTo>
                <a:cubicBezTo>
                  <a:pt x="66" y="43"/>
                  <a:pt x="63" y="51"/>
                  <a:pt x="57" y="57"/>
                </a:cubicBezTo>
                <a:cubicBezTo>
                  <a:pt x="51" y="63"/>
                  <a:pt x="43" y="67"/>
                  <a:pt x="34" y="6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400" dirty="0"/>
          </a:p>
        </p:txBody>
      </p:sp>
      <p:sp>
        <p:nvSpPr>
          <p:cNvPr id="73" name="Freeform 1540">
            <a:extLst>
              <a:ext uri="{FF2B5EF4-FFF2-40B4-BE49-F238E27FC236}">
                <a16:creationId xmlns:a16="http://schemas.microsoft.com/office/drawing/2014/main" id="{D7CA6D42-E992-AB0E-ADB2-B26FB1F0E40B}"/>
              </a:ext>
            </a:extLst>
          </p:cNvPr>
          <p:cNvSpPr>
            <a:spLocks/>
          </p:cNvSpPr>
          <p:nvPr/>
        </p:nvSpPr>
        <p:spPr bwMode="auto">
          <a:xfrm>
            <a:off x="5580800" y="2815485"/>
            <a:ext cx="253724" cy="253763"/>
          </a:xfrm>
          <a:custGeom>
            <a:avLst/>
            <a:gdLst>
              <a:gd name="T0" fmla="*/ 2 w 82"/>
              <a:gd name="T1" fmla="*/ 83 h 83"/>
              <a:gd name="T2" fmla="*/ 1 w 82"/>
              <a:gd name="T3" fmla="*/ 82 h 83"/>
              <a:gd name="T4" fmla="*/ 1 w 82"/>
              <a:gd name="T5" fmla="*/ 78 h 83"/>
              <a:gd name="T6" fmla="*/ 78 w 82"/>
              <a:gd name="T7" fmla="*/ 1 h 83"/>
              <a:gd name="T8" fmla="*/ 81 w 82"/>
              <a:gd name="T9" fmla="*/ 1 h 83"/>
              <a:gd name="T10" fmla="*/ 81 w 82"/>
              <a:gd name="T11" fmla="*/ 5 h 83"/>
              <a:gd name="T12" fmla="*/ 4 w 82"/>
              <a:gd name="T13" fmla="*/ 82 h 83"/>
              <a:gd name="T14" fmla="*/ 2 w 82"/>
              <a:gd name="T15" fmla="*/ 83 h 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82" h="83">
                <a:moveTo>
                  <a:pt x="2" y="83"/>
                </a:moveTo>
                <a:cubicBezTo>
                  <a:pt x="2" y="83"/>
                  <a:pt x="1" y="82"/>
                  <a:pt x="1" y="82"/>
                </a:cubicBezTo>
                <a:cubicBezTo>
                  <a:pt x="0" y="81"/>
                  <a:pt x="0" y="79"/>
                  <a:pt x="1" y="78"/>
                </a:cubicBezTo>
                <a:cubicBezTo>
                  <a:pt x="78" y="1"/>
                  <a:pt x="78" y="1"/>
                  <a:pt x="78" y="1"/>
                </a:cubicBezTo>
                <a:cubicBezTo>
                  <a:pt x="79" y="0"/>
                  <a:pt x="80" y="0"/>
                  <a:pt x="81" y="1"/>
                </a:cubicBezTo>
                <a:cubicBezTo>
                  <a:pt x="82" y="2"/>
                  <a:pt x="82" y="4"/>
                  <a:pt x="81" y="5"/>
                </a:cubicBezTo>
                <a:cubicBezTo>
                  <a:pt x="4" y="82"/>
                  <a:pt x="4" y="82"/>
                  <a:pt x="4" y="82"/>
                </a:cubicBezTo>
                <a:cubicBezTo>
                  <a:pt x="4" y="82"/>
                  <a:pt x="3" y="83"/>
                  <a:pt x="2" y="83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400" dirty="0"/>
          </a:p>
        </p:txBody>
      </p:sp>
      <p:sp>
        <p:nvSpPr>
          <p:cNvPr id="74" name="Freeform 1541">
            <a:extLst>
              <a:ext uri="{FF2B5EF4-FFF2-40B4-BE49-F238E27FC236}">
                <a16:creationId xmlns:a16="http://schemas.microsoft.com/office/drawing/2014/main" id="{052F921B-BE3E-A2AD-8648-D0F20189A40B}"/>
              </a:ext>
            </a:extLst>
          </p:cNvPr>
          <p:cNvSpPr>
            <a:spLocks noEditPoints="1"/>
          </p:cNvSpPr>
          <p:nvPr/>
        </p:nvSpPr>
        <p:spPr bwMode="auto">
          <a:xfrm>
            <a:off x="5346595" y="3056452"/>
            <a:ext cx="247216" cy="236702"/>
          </a:xfrm>
          <a:custGeom>
            <a:avLst/>
            <a:gdLst>
              <a:gd name="T0" fmla="*/ 26 w 80"/>
              <a:gd name="T1" fmla="*/ 78 h 78"/>
              <a:gd name="T2" fmla="*/ 20 w 80"/>
              <a:gd name="T3" fmla="*/ 76 h 78"/>
              <a:gd name="T4" fmla="*/ 4 w 80"/>
              <a:gd name="T5" fmla="*/ 60 h 78"/>
              <a:gd name="T6" fmla="*/ 4 w 80"/>
              <a:gd name="T7" fmla="*/ 48 h 78"/>
              <a:gd name="T8" fmla="*/ 49 w 80"/>
              <a:gd name="T9" fmla="*/ 3 h 78"/>
              <a:gd name="T10" fmla="*/ 55 w 80"/>
              <a:gd name="T11" fmla="*/ 0 h 78"/>
              <a:gd name="T12" fmla="*/ 61 w 80"/>
              <a:gd name="T13" fmla="*/ 3 h 78"/>
              <a:gd name="T14" fmla="*/ 77 w 80"/>
              <a:gd name="T15" fmla="*/ 19 h 78"/>
              <a:gd name="T16" fmla="*/ 77 w 80"/>
              <a:gd name="T17" fmla="*/ 31 h 78"/>
              <a:gd name="T18" fmla="*/ 32 w 80"/>
              <a:gd name="T19" fmla="*/ 76 h 78"/>
              <a:gd name="T20" fmla="*/ 26 w 80"/>
              <a:gd name="T21" fmla="*/ 78 h 78"/>
              <a:gd name="T22" fmla="*/ 55 w 80"/>
              <a:gd name="T23" fmla="*/ 5 h 78"/>
              <a:gd name="T24" fmla="*/ 52 w 80"/>
              <a:gd name="T25" fmla="*/ 7 h 78"/>
              <a:gd name="T26" fmla="*/ 7 w 80"/>
              <a:gd name="T27" fmla="*/ 51 h 78"/>
              <a:gd name="T28" fmla="*/ 7 w 80"/>
              <a:gd name="T29" fmla="*/ 57 h 78"/>
              <a:gd name="T30" fmla="*/ 23 w 80"/>
              <a:gd name="T31" fmla="*/ 72 h 78"/>
              <a:gd name="T32" fmla="*/ 28 w 80"/>
              <a:gd name="T33" fmla="*/ 72 h 78"/>
              <a:gd name="T34" fmla="*/ 73 w 80"/>
              <a:gd name="T35" fmla="*/ 28 h 78"/>
              <a:gd name="T36" fmla="*/ 73 w 80"/>
              <a:gd name="T37" fmla="*/ 22 h 78"/>
              <a:gd name="T38" fmla="*/ 58 w 80"/>
              <a:gd name="T39" fmla="*/ 7 h 78"/>
              <a:gd name="T40" fmla="*/ 55 w 80"/>
              <a:gd name="T41" fmla="*/ 5 h 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80" h="78">
                <a:moveTo>
                  <a:pt x="26" y="78"/>
                </a:moveTo>
                <a:cubicBezTo>
                  <a:pt x="23" y="78"/>
                  <a:pt x="21" y="77"/>
                  <a:pt x="20" y="76"/>
                </a:cubicBezTo>
                <a:cubicBezTo>
                  <a:pt x="4" y="60"/>
                  <a:pt x="4" y="60"/>
                  <a:pt x="4" y="60"/>
                </a:cubicBezTo>
                <a:cubicBezTo>
                  <a:pt x="0" y="57"/>
                  <a:pt x="0" y="51"/>
                  <a:pt x="4" y="48"/>
                </a:cubicBezTo>
                <a:cubicBezTo>
                  <a:pt x="49" y="3"/>
                  <a:pt x="49" y="3"/>
                  <a:pt x="49" y="3"/>
                </a:cubicBezTo>
                <a:cubicBezTo>
                  <a:pt x="50" y="1"/>
                  <a:pt x="52" y="0"/>
                  <a:pt x="55" y="0"/>
                </a:cubicBezTo>
                <a:cubicBezTo>
                  <a:pt x="57" y="0"/>
                  <a:pt x="59" y="1"/>
                  <a:pt x="61" y="3"/>
                </a:cubicBezTo>
                <a:cubicBezTo>
                  <a:pt x="77" y="19"/>
                  <a:pt x="77" y="19"/>
                  <a:pt x="77" y="19"/>
                </a:cubicBezTo>
                <a:cubicBezTo>
                  <a:pt x="80" y="22"/>
                  <a:pt x="80" y="28"/>
                  <a:pt x="77" y="31"/>
                </a:cubicBezTo>
                <a:cubicBezTo>
                  <a:pt x="32" y="76"/>
                  <a:pt x="32" y="76"/>
                  <a:pt x="32" y="76"/>
                </a:cubicBezTo>
                <a:cubicBezTo>
                  <a:pt x="30" y="77"/>
                  <a:pt x="28" y="78"/>
                  <a:pt x="26" y="78"/>
                </a:cubicBezTo>
                <a:close/>
                <a:moveTo>
                  <a:pt x="55" y="5"/>
                </a:moveTo>
                <a:cubicBezTo>
                  <a:pt x="54" y="5"/>
                  <a:pt x="53" y="6"/>
                  <a:pt x="52" y="7"/>
                </a:cubicBezTo>
                <a:cubicBezTo>
                  <a:pt x="7" y="51"/>
                  <a:pt x="7" y="51"/>
                  <a:pt x="7" y="51"/>
                </a:cubicBezTo>
                <a:cubicBezTo>
                  <a:pt x="6" y="53"/>
                  <a:pt x="6" y="55"/>
                  <a:pt x="7" y="57"/>
                </a:cubicBezTo>
                <a:cubicBezTo>
                  <a:pt x="23" y="72"/>
                  <a:pt x="23" y="72"/>
                  <a:pt x="23" y="72"/>
                </a:cubicBezTo>
                <a:cubicBezTo>
                  <a:pt x="24" y="74"/>
                  <a:pt x="27" y="74"/>
                  <a:pt x="28" y="72"/>
                </a:cubicBezTo>
                <a:cubicBezTo>
                  <a:pt x="73" y="28"/>
                  <a:pt x="73" y="28"/>
                  <a:pt x="73" y="28"/>
                </a:cubicBezTo>
                <a:cubicBezTo>
                  <a:pt x="75" y="26"/>
                  <a:pt x="75" y="24"/>
                  <a:pt x="73" y="22"/>
                </a:cubicBezTo>
                <a:cubicBezTo>
                  <a:pt x="58" y="7"/>
                  <a:pt x="58" y="7"/>
                  <a:pt x="58" y="7"/>
                </a:cubicBezTo>
                <a:cubicBezTo>
                  <a:pt x="57" y="6"/>
                  <a:pt x="56" y="5"/>
                  <a:pt x="55" y="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400" dirty="0"/>
          </a:p>
        </p:txBody>
      </p:sp>
      <p:sp>
        <p:nvSpPr>
          <p:cNvPr id="75" name="Freeform 1542">
            <a:extLst>
              <a:ext uri="{FF2B5EF4-FFF2-40B4-BE49-F238E27FC236}">
                <a16:creationId xmlns:a16="http://schemas.microsoft.com/office/drawing/2014/main" id="{5697E6C2-292F-C67C-051B-8314F686B97A}"/>
              </a:ext>
            </a:extLst>
          </p:cNvPr>
          <p:cNvSpPr>
            <a:spLocks noEditPoints="1"/>
          </p:cNvSpPr>
          <p:nvPr/>
        </p:nvSpPr>
        <p:spPr bwMode="auto">
          <a:xfrm>
            <a:off x="5522246" y="3028730"/>
            <a:ext cx="99753" cy="93827"/>
          </a:xfrm>
          <a:custGeom>
            <a:avLst/>
            <a:gdLst>
              <a:gd name="T0" fmla="*/ 19 w 32"/>
              <a:gd name="T1" fmla="*/ 31 h 31"/>
              <a:gd name="T2" fmla="*/ 14 w 32"/>
              <a:gd name="T3" fmla="*/ 29 h 31"/>
              <a:gd name="T4" fmla="*/ 2 w 32"/>
              <a:gd name="T5" fmla="*/ 17 h 31"/>
              <a:gd name="T6" fmla="*/ 0 w 32"/>
              <a:gd name="T7" fmla="*/ 12 h 31"/>
              <a:gd name="T8" fmla="*/ 2 w 32"/>
              <a:gd name="T9" fmla="*/ 7 h 31"/>
              <a:gd name="T10" fmla="*/ 7 w 32"/>
              <a:gd name="T11" fmla="*/ 3 h 31"/>
              <a:gd name="T12" fmla="*/ 12 w 32"/>
              <a:gd name="T13" fmla="*/ 0 h 31"/>
              <a:gd name="T14" fmla="*/ 17 w 32"/>
              <a:gd name="T15" fmla="*/ 3 h 31"/>
              <a:gd name="T16" fmla="*/ 29 w 32"/>
              <a:gd name="T17" fmla="*/ 14 h 31"/>
              <a:gd name="T18" fmla="*/ 29 w 32"/>
              <a:gd name="T19" fmla="*/ 24 h 31"/>
              <a:gd name="T20" fmla="*/ 24 w 32"/>
              <a:gd name="T21" fmla="*/ 29 h 31"/>
              <a:gd name="T22" fmla="*/ 19 w 32"/>
              <a:gd name="T23" fmla="*/ 31 h 31"/>
              <a:gd name="T24" fmla="*/ 12 w 32"/>
              <a:gd name="T25" fmla="*/ 5 h 31"/>
              <a:gd name="T26" fmla="*/ 11 w 32"/>
              <a:gd name="T27" fmla="*/ 6 h 31"/>
              <a:gd name="T28" fmla="*/ 6 w 32"/>
              <a:gd name="T29" fmla="*/ 11 h 31"/>
              <a:gd name="T30" fmla="*/ 5 w 32"/>
              <a:gd name="T31" fmla="*/ 12 h 31"/>
              <a:gd name="T32" fmla="*/ 6 w 32"/>
              <a:gd name="T33" fmla="*/ 14 h 31"/>
              <a:gd name="T34" fmla="*/ 18 w 32"/>
              <a:gd name="T35" fmla="*/ 26 h 31"/>
              <a:gd name="T36" fmla="*/ 21 w 32"/>
              <a:gd name="T37" fmla="*/ 26 h 31"/>
              <a:gd name="T38" fmla="*/ 24 w 32"/>
              <a:gd name="T39" fmla="*/ 23 h 31"/>
              <a:gd name="T40" fmla="*/ 24 w 32"/>
              <a:gd name="T41" fmla="*/ 23 h 31"/>
              <a:gd name="T42" fmla="*/ 26 w 32"/>
              <a:gd name="T43" fmla="*/ 21 h 31"/>
              <a:gd name="T44" fmla="*/ 26 w 32"/>
              <a:gd name="T45" fmla="*/ 18 h 31"/>
              <a:gd name="T46" fmla="*/ 14 w 32"/>
              <a:gd name="T47" fmla="*/ 6 h 31"/>
              <a:gd name="T48" fmla="*/ 12 w 32"/>
              <a:gd name="T49" fmla="*/ 5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32" h="31">
                <a:moveTo>
                  <a:pt x="19" y="31"/>
                </a:moveTo>
                <a:cubicBezTo>
                  <a:pt x="17" y="31"/>
                  <a:pt x="16" y="31"/>
                  <a:pt x="14" y="29"/>
                </a:cubicBezTo>
                <a:cubicBezTo>
                  <a:pt x="2" y="17"/>
                  <a:pt x="2" y="17"/>
                  <a:pt x="2" y="17"/>
                </a:cubicBezTo>
                <a:cubicBezTo>
                  <a:pt x="1" y="16"/>
                  <a:pt x="0" y="14"/>
                  <a:pt x="0" y="12"/>
                </a:cubicBezTo>
                <a:cubicBezTo>
                  <a:pt x="0" y="10"/>
                  <a:pt x="1" y="9"/>
                  <a:pt x="2" y="7"/>
                </a:cubicBezTo>
                <a:cubicBezTo>
                  <a:pt x="7" y="3"/>
                  <a:pt x="7" y="3"/>
                  <a:pt x="7" y="3"/>
                </a:cubicBezTo>
                <a:cubicBezTo>
                  <a:pt x="8" y="1"/>
                  <a:pt x="10" y="0"/>
                  <a:pt x="12" y="0"/>
                </a:cubicBezTo>
                <a:cubicBezTo>
                  <a:pt x="14" y="0"/>
                  <a:pt x="16" y="1"/>
                  <a:pt x="17" y="3"/>
                </a:cubicBezTo>
                <a:cubicBezTo>
                  <a:pt x="29" y="14"/>
                  <a:pt x="29" y="14"/>
                  <a:pt x="29" y="14"/>
                </a:cubicBezTo>
                <a:cubicBezTo>
                  <a:pt x="32" y="17"/>
                  <a:pt x="32" y="22"/>
                  <a:pt x="29" y="24"/>
                </a:cubicBezTo>
                <a:cubicBezTo>
                  <a:pt x="24" y="29"/>
                  <a:pt x="24" y="29"/>
                  <a:pt x="24" y="29"/>
                </a:cubicBezTo>
                <a:cubicBezTo>
                  <a:pt x="23" y="31"/>
                  <a:pt x="21" y="31"/>
                  <a:pt x="19" y="31"/>
                </a:cubicBezTo>
                <a:close/>
                <a:moveTo>
                  <a:pt x="12" y="5"/>
                </a:moveTo>
                <a:cubicBezTo>
                  <a:pt x="12" y="5"/>
                  <a:pt x="11" y="6"/>
                  <a:pt x="11" y="6"/>
                </a:cubicBezTo>
                <a:cubicBezTo>
                  <a:pt x="6" y="11"/>
                  <a:pt x="6" y="11"/>
                  <a:pt x="6" y="11"/>
                </a:cubicBezTo>
                <a:cubicBezTo>
                  <a:pt x="5" y="11"/>
                  <a:pt x="5" y="12"/>
                  <a:pt x="5" y="12"/>
                </a:cubicBezTo>
                <a:cubicBezTo>
                  <a:pt x="5" y="13"/>
                  <a:pt x="5" y="13"/>
                  <a:pt x="6" y="14"/>
                </a:cubicBezTo>
                <a:cubicBezTo>
                  <a:pt x="18" y="26"/>
                  <a:pt x="18" y="26"/>
                  <a:pt x="18" y="26"/>
                </a:cubicBezTo>
                <a:cubicBezTo>
                  <a:pt x="19" y="27"/>
                  <a:pt x="20" y="27"/>
                  <a:pt x="21" y="26"/>
                </a:cubicBezTo>
                <a:cubicBezTo>
                  <a:pt x="24" y="23"/>
                  <a:pt x="24" y="23"/>
                  <a:pt x="24" y="23"/>
                </a:cubicBezTo>
                <a:cubicBezTo>
                  <a:pt x="24" y="23"/>
                  <a:pt x="24" y="23"/>
                  <a:pt x="24" y="23"/>
                </a:cubicBezTo>
                <a:cubicBezTo>
                  <a:pt x="26" y="21"/>
                  <a:pt x="26" y="21"/>
                  <a:pt x="26" y="21"/>
                </a:cubicBezTo>
                <a:cubicBezTo>
                  <a:pt x="27" y="20"/>
                  <a:pt x="27" y="19"/>
                  <a:pt x="26" y="18"/>
                </a:cubicBezTo>
                <a:cubicBezTo>
                  <a:pt x="14" y="6"/>
                  <a:pt x="14" y="6"/>
                  <a:pt x="14" y="6"/>
                </a:cubicBezTo>
                <a:cubicBezTo>
                  <a:pt x="13" y="6"/>
                  <a:pt x="13" y="5"/>
                  <a:pt x="12" y="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400" dirty="0"/>
          </a:p>
        </p:txBody>
      </p:sp>
      <p:sp>
        <p:nvSpPr>
          <p:cNvPr id="76" name="Freeform 1543">
            <a:extLst>
              <a:ext uri="{FF2B5EF4-FFF2-40B4-BE49-F238E27FC236}">
                <a16:creationId xmlns:a16="http://schemas.microsoft.com/office/drawing/2014/main" id="{1B718900-EDD7-5B8F-6574-1FDCB18E6F3B}"/>
              </a:ext>
            </a:extLst>
          </p:cNvPr>
          <p:cNvSpPr>
            <a:spLocks/>
          </p:cNvSpPr>
          <p:nvPr/>
        </p:nvSpPr>
        <p:spPr bwMode="auto">
          <a:xfrm>
            <a:off x="5793316" y="2815485"/>
            <a:ext cx="43372" cy="42649"/>
          </a:xfrm>
          <a:custGeom>
            <a:avLst/>
            <a:gdLst>
              <a:gd name="T0" fmla="*/ 4 w 14"/>
              <a:gd name="T1" fmla="*/ 14 h 14"/>
              <a:gd name="T2" fmla="*/ 1 w 14"/>
              <a:gd name="T3" fmla="*/ 13 h 14"/>
              <a:gd name="T4" fmla="*/ 1 w 14"/>
              <a:gd name="T5" fmla="*/ 13 h 14"/>
              <a:gd name="T6" fmla="*/ 1 w 14"/>
              <a:gd name="T7" fmla="*/ 8 h 14"/>
              <a:gd name="T8" fmla="*/ 8 w 14"/>
              <a:gd name="T9" fmla="*/ 1 h 14"/>
              <a:gd name="T10" fmla="*/ 13 w 14"/>
              <a:gd name="T11" fmla="*/ 1 h 14"/>
              <a:gd name="T12" fmla="*/ 14 w 14"/>
              <a:gd name="T13" fmla="*/ 3 h 14"/>
              <a:gd name="T14" fmla="*/ 13 w 14"/>
              <a:gd name="T15" fmla="*/ 6 h 14"/>
              <a:gd name="T16" fmla="*/ 6 w 14"/>
              <a:gd name="T17" fmla="*/ 13 h 14"/>
              <a:gd name="T18" fmla="*/ 4 w 14"/>
              <a:gd name="T19" fmla="*/ 14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4" h="14">
                <a:moveTo>
                  <a:pt x="4" y="14"/>
                </a:moveTo>
                <a:cubicBezTo>
                  <a:pt x="3" y="14"/>
                  <a:pt x="2" y="13"/>
                  <a:pt x="1" y="13"/>
                </a:cubicBezTo>
                <a:cubicBezTo>
                  <a:pt x="1" y="13"/>
                  <a:pt x="1" y="13"/>
                  <a:pt x="1" y="13"/>
                </a:cubicBezTo>
                <a:cubicBezTo>
                  <a:pt x="0" y="11"/>
                  <a:pt x="0" y="9"/>
                  <a:pt x="1" y="8"/>
                </a:cubicBezTo>
                <a:cubicBezTo>
                  <a:pt x="8" y="1"/>
                  <a:pt x="8" y="1"/>
                  <a:pt x="8" y="1"/>
                </a:cubicBezTo>
                <a:cubicBezTo>
                  <a:pt x="9" y="0"/>
                  <a:pt x="11" y="0"/>
                  <a:pt x="13" y="1"/>
                </a:cubicBezTo>
                <a:cubicBezTo>
                  <a:pt x="13" y="2"/>
                  <a:pt x="14" y="3"/>
                  <a:pt x="14" y="3"/>
                </a:cubicBezTo>
                <a:cubicBezTo>
                  <a:pt x="14" y="4"/>
                  <a:pt x="13" y="5"/>
                  <a:pt x="13" y="6"/>
                </a:cubicBezTo>
                <a:cubicBezTo>
                  <a:pt x="6" y="13"/>
                  <a:pt x="6" y="13"/>
                  <a:pt x="6" y="13"/>
                </a:cubicBezTo>
                <a:cubicBezTo>
                  <a:pt x="5" y="13"/>
                  <a:pt x="4" y="14"/>
                  <a:pt x="4" y="1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400" dirty="0"/>
          </a:p>
        </p:txBody>
      </p:sp>
      <p:sp>
        <p:nvSpPr>
          <p:cNvPr id="77" name="Freeform 843">
            <a:extLst>
              <a:ext uri="{FF2B5EF4-FFF2-40B4-BE49-F238E27FC236}">
                <a16:creationId xmlns:a16="http://schemas.microsoft.com/office/drawing/2014/main" id="{1B37A7DD-2088-A685-6BFF-31F0868E2FB8}"/>
              </a:ext>
            </a:extLst>
          </p:cNvPr>
          <p:cNvSpPr>
            <a:spLocks noEditPoints="1"/>
          </p:cNvSpPr>
          <p:nvPr/>
        </p:nvSpPr>
        <p:spPr bwMode="auto">
          <a:xfrm>
            <a:off x="9216275" y="2818526"/>
            <a:ext cx="80293" cy="84817"/>
          </a:xfrm>
          <a:custGeom>
            <a:avLst/>
            <a:gdLst>
              <a:gd name="T0" fmla="*/ 39 w 78"/>
              <a:gd name="T1" fmla="*/ 79 h 79"/>
              <a:gd name="T2" fmla="*/ 0 w 78"/>
              <a:gd name="T3" fmla="*/ 40 h 79"/>
              <a:gd name="T4" fmla="*/ 39 w 78"/>
              <a:gd name="T5" fmla="*/ 0 h 79"/>
              <a:gd name="T6" fmla="*/ 78 w 78"/>
              <a:gd name="T7" fmla="*/ 40 h 79"/>
              <a:gd name="T8" fmla="*/ 39 w 78"/>
              <a:gd name="T9" fmla="*/ 79 h 79"/>
              <a:gd name="T10" fmla="*/ 39 w 78"/>
              <a:gd name="T11" fmla="*/ 13 h 79"/>
              <a:gd name="T12" fmla="*/ 12 w 78"/>
              <a:gd name="T13" fmla="*/ 40 h 79"/>
              <a:gd name="T14" fmla="*/ 39 w 78"/>
              <a:gd name="T15" fmla="*/ 66 h 79"/>
              <a:gd name="T16" fmla="*/ 66 w 78"/>
              <a:gd name="T17" fmla="*/ 40 h 79"/>
              <a:gd name="T18" fmla="*/ 39 w 78"/>
              <a:gd name="T19" fmla="*/ 13 h 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78" h="79">
                <a:moveTo>
                  <a:pt x="39" y="79"/>
                </a:moveTo>
                <a:cubicBezTo>
                  <a:pt x="17" y="79"/>
                  <a:pt x="0" y="61"/>
                  <a:pt x="0" y="40"/>
                </a:cubicBezTo>
                <a:cubicBezTo>
                  <a:pt x="0" y="18"/>
                  <a:pt x="17" y="0"/>
                  <a:pt x="39" y="0"/>
                </a:cubicBezTo>
                <a:cubicBezTo>
                  <a:pt x="60" y="0"/>
                  <a:pt x="78" y="18"/>
                  <a:pt x="78" y="40"/>
                </a:cubicBezTo>
                <a:cubicBezTo>
                  <a:pt x="78" y="61"/>
                  <a:pt x="60" y="79"/>
                  <a:pt x="39" y="79"/>
                </a:cubicBezTo>
                <a:close/>
                <a:moveTo>
                  <a:pt x="39" y="13"/>
                </a:moveTo>
                <a:cubicBezTo>
                  <a:pt x="24" y="13"/>
                  <a:pt x="12" y="25"/>
                  <a:pt x="12" y="40"/>
                </a:cubicBezTo>
                <a:cubicBezTo>
                  <a:pt x="12" y="54"/>
                  <a:pt x="24" y="66"/>
                  <a:pt x="39" y="66"/>
                </a:cubicBezTo>
                <a:cubicBezTo>
                  <a:pt x="54" y="66"/>
                  <a:pt x="66" y="54"/>
                  <a:pt x="66" y="40"/>
                </a:cubicBezTo>
                <a:cubicBezTo>
                  <a:pt x="66" y="25"/>
                  <a:pt x="54" y="13"/>
                  <a:pt x="39" y="1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400" dirty="0"/>
          </a:p>
        </p:txBody>
      </p:sp>
      <p:sp>
        <p:nvSpPr>
          <p:cNvPr id="78" name="Freeform 844">
            <a:extLst>
              <a:ext uri="{FF2B5EF4-FFF2-40B4-BE49-F238E27FC236}">
                <a16:creationId xmlns:a16="http://schemas.microsoft.com/office/drawing/2014/main" id="{1D961CC4-29D4-7F2D-1861-B36DD2D3826C}"/>
              </a:ext>
            </a:extLst>
          </p:cNvPr>
          <p:cNvSpPr>
            <a:spLocks noEditPoints="1"/>
          </p:cNvSpPr>
          <p:nvPr/>
        </p:nvSpPr>
        <p:spPr bwMode="auto">
          <a:xfrm>
            <a:off x="9025104" y="2945752"/>
            <a:ext cx="149116" cy="331559"/>
          </a:xfrm>
          <a:custGeom>
            <a:avLst/>
            <a:gdLst>
              <a:gd name="T0" fmla="*/ 110 w 139"/>
              <a:gd name="T1" fmla="*/ 311 h 311"/>
              <a:gd name="T2" fmla="*/ 87 w 139"/>
              <a:gd name="T3" fmla="*/ 300 h 311"/>
              <a:gd name="T4" fmla="*/ 65 w 139"/>
              <a:gd name="T5" fmla="*/ 311 h 311"/>
              <a:gd name="T6" fmla="*/ 36 w 139"/>
              <a:gd name="T7" fmla="*/ 282 h 311"/>
              <a:gd name="T8" fmla="*/ 36 w 139"/>
              <a:gd name="T9" fmla="*/ 158 h 311"/>
              <a:gd name="T10" fmla="*/ 26 w 139"/>
              <a:gd name="T11" fmla="*/ 161 h 311"/>
              <a:gd name="T12" fmla="*/ 8 w 139"/>
              <a:gd name="T13" fmla="*/ 155 h 311"/>
              <a:gd name="T14" fmla="*/ 0 w 139"/>
              <a:gd name="T15" fmla="*/ 137 h 311"/>
              <a:gd name="T16" fmla="*/ 0 w 139"/>
              <a:gd name="T17" fmla="*/ 42 h 311"/>
              <a:gd name="T18" fmla="*/ 42 w 139"/>
              <a:gd name="T19" fmla="*/ 0 h 311"/>
              <a:gd name="T20" fmla="*/ 132 w 139"/>
              <a:gd name="T21" fmla="*/ 0 h 311"/>
              <a:gd name="T22" fmla="*/ 137 w 139"/>
              <a:gd name="T23" fmla="*/ 3 h 311"/>
              <a:gd name="T24" fmla="*/ 138 w 139"/>
              <a:gd name="T25" fmla="*/ 8 h 311"/>
              <a:gd name="T26" fmla="*/ 136 w 139"/>
              <a:gd name="T27" fmla="*/ 19 h 311"/>
              <a:gd name="T28" fmla="*/ 136 w 139"/>
              <a:gd name="T29" fmla="*/ 123 h 311"/>
              <a:gd name="T30" fmla="*/ 138 w 139"/>
              <a:gd name="T31" fmla="*/ 130 h 311"/>
              <a:gd name="T32" fmla="*/ 139 w 139"/>
              <a:gd name="T33" fmla="*/ 133 h 311"/>
              <a:gd name="T34" fmla="*/ 139 w 139"/>
              <a:gd name="T35" fmla="*/ 136 h 311"/>
              <a:gd name="T36" fmla="*/ 139 w 139"/>
              <a:gd name="T37" fmla="*/ 137 h 311"/>
              <a:gd name="T38" fmla="*/ 139 w 139"/>
              <a:gd name="T39" fmla="*/ 137 h 311"/>
              <a:gd name="T40" fmla="*/ 139 w 139"/>
              <a:gd name="T41" fmla="*/ 140 h 311"/>
              <a:gd name="T42" fmla="*/ 139 w 139"/>
              <a:gd name="T43" fmla="*/ 140 h 311"/>
              <a:gd name="T44" fmla="*/ 139 w 139"/>
              <a:gd name="T45" fmla="*/ 282 h 311"/>
              <a:gd name="T46" fmla="*/ 110 w 139"/>
              <a:gd name="T47" fmla="*/ 311 h 311"/>
              <a:gd name="T48" fmla="*/ 93 w 139"/>
              <a:gd name="T49" fmla="*/ 282 h 311"/>
              <a:gd name="T50" fmla="*/ 110 w 139"/>
              <a:gd name="T51" fmla="*/ 298 h 311"/>
              <a:gd name="T52" fmla="*/ 126 w 139"/>
              <a:gd name="T53" fmla="*/ 282 h 311"/>
              <a:gd name="T54" fmla="*/ 126 w 139"/>
              <a:gd name="T55" fmla="*/ 137 h 311"/>
              <a:gd name="T56" fmla="*/ 126 w 139"/>
              <a:gd name="T57" fmla="*/ 136 h 311"/>
              <a:gd name="T58" fmla="*/ 126 w 139"/>
              <a:gd name="T59" fmla="*/ 135 h 311"/>
              <a:gd name="T60" fmla="*/ 123 w 139"/>
              <a:gd name="T61" fmla="*/ 123 h 311"/>
              <a:gd name="T62" fmla="*/ 123 w 139"/>
              <a:gd name="T63" fmla="*/ 19 h 311"/>
              <a:gd name="T64" fmla="*/ 124 w 139"/>
              <a:gd name="T65" fmla="*/ 12 h 311"/>
              <a:gd name="T66" fmla="*/ 42 w 139"/>
              <a:gd name="T67" fmla="*/ 12 h 311"/>
              <a:gd name="T68" fmla="*/ 12 w 139"/>
              <a:gd name="T69" fmla="*/ 42 h 311"/>
              <a:gd name="T70" fmla="*/ 12 w 139"/>
              <a:gd name="T71" fmla="*/ 137 h 311"/>
              <a:gd name="T72" fmla="*/ 16 w 139"/>
              <a:gd name="T73" fmla="*/ 146 h 311"/>
              <a:gd name="T74" fmla="*/ 25 w 139"/>
              <a:gd name="T75" fmla="*/ 149 h 311"/>
              <a:gd name="T76" fmla="*/ 36 w 139"/>
              <a:gd name="T77" fmla="*/ 137 h 311"/>
              <a:gd name="T78" fmla="*/ 36 w 139"/>
              <a:gd name="T79" fmla="*/ 71 h 311"/>
              <a:gd name="T80" fmla="*/ 42 w 139"/>
              <a:gd name="T81" fmla="*/ 65 h 311"/>
              <a:gd name="T82" fmla="*/ 48 w 139"/>
              <a:gd name="T83" fmla="*/ 71 h 311"/>
              <a:gd name="T84" fmla="*/ 48 w 139"/>
              <a:gd name="T85" fmla="*/ 282 h 311"/>
              <a:gd name="T86" fmla="*/ 65 w 139"/>
              <a:gd name="T87" fmla="*/ 298 h 311"/>
              <a:gd name="T88" fmla="*/ 81 w 139"/>
              <a:gd name="T89" fmla="*/ 282 h 311"/>
              <a:gd name="T90" fmla="*/ 81 w 139"/>
              <a:gd name="T91" fmla="*/ 172 h 311"/>
              <a:gd name="T92" fmla="*/ 87 w 139"/>
              <a:gd name="T93" fmla="*/ 166 h 311"/>
              <a:gd name="T94" fmla="*/ 93 w 139"/>
              <a:gd name="T95" fmla="*/ 172 h 311"/>
              <a:gd name="T96" fmla="*/ 93 w 139"/>
              <a:gd name="T97" fmla="*/ 282 h 3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9" h="311">
                <a:moveTo>
                  <a:pt x="110" y="311"/>
                </a:moveTo>
                <a:cubicBezTo>
                  <a:pt x="101" y="311"/>
                  <a:pt x="93" y="306"/>
                  <a:pt x="87" y="300"/>
                </a:cubicBezTo>
                <a:cubicBezTo>
                  <a:pt x="82" y="306"/>
                  <a:pt x="74" y="311"/>
                  <a:pt x="65" y="311"/>
                </a:cubicBezTo>
                <a:cubicBezTo>
                  <a:pt x="49" y="311"/>
                  <a:pt x="36" y="298"/>
                  <a:pt x="36" y="282"/>
                </a:cubicBezTo>
                <a:cubicBezTo>
                  <a:pt x="36" y="158"/>
                  <a:pt x="36" y="158"/>
                  <a:pt x="36" y="158"/>
                </a:cubicBezTo>
                <a:cubicBezTo>
                  <a:pt x="33" y="160"/>
                  <a:pt x="30" y="161"/>
                  <a:pt x="26" y="161"/>
                </a:cubicBezTo>
                <a:cubicBezTo>
                  <a:pt x="19" y="162"/>
                  <a:pt x="13" y="160"/>
                  <a:pt x="8" y="155"/>
                </a:cubicBezTo>
                <a:cubicBezTo>
                  <a:pt x="3" y="151"/>
                  <a:pt x="0" y="144"/>
                  <a:pt x="0" y="137"/>
                </a:cubicBezTo>
                <a:cubicBezTo>
                  <a:pt x="0" y="42"/>
                  <a:pt x="0" y="42"/>
                  <a:pt x="0" y="42"/>
                </a:cubicBezTo>
                <a:cubicBezTo>
                  <a:pt x="0" y="19"/>
                  <a:pt x="19" y="0"/>
                  <a:pt x="42" y="0"/>
                </a:cubicBezTo>
                <a:cubicBezTo>
                  <a:pt x="132" y="0"/>
                  <a:pt x="132" y="0"/>
                  <a:pt x="132" y="0"/>
                </a:cubicBezTo>
                <a:cubicBezTo>
                  <a:pt x="134" y="0"/>
                  <a:pt x="136" y="1"/>
                  <a:pt x="137" y="3"/>
                </a:cubicBezTo>
                <a:cubicBezTo>
                  <a:pt x="138" y="4"/>
                  <a:pt x="138" y="6"/>
                  <a:pt x="138" y="8"/>
                </a:cubicBezTo>
                <a:cubicBezTo>
                  <a:pt x="136" y="12"/>
                  <a:pt x="136" y="16"/>
                  <a:pt x="136" y="19"/>
                </a:cubicBezTo>
                <a:cubicBezTo>
                  <a:pt x="136" y="123"/>
                  <a:pt x="136" y="123"/>
                  <a:pt x="136" y="123"/>
                </a:cubicBezTo>
                <a:cubicBezTo>
                  <a:pt x="136" y="125"/>
                  <a:pt x="136" y="128"/>
                  <a:pt x="138" y="130"/>
                </a:cubicBezTo>
                <a:cubicBezTo>
                  <a:pt x="138" y="131"/>
                  <a:pt x="139" y="132"/>
                  <a:pt x="139" y="133"/>
                </a:cubicBezTo>
                <a:cubicBezTo>
                  <a:pt x="139" y="136"/>
                  <a:pt x="139" y="136"/>
                  <a:pt x="139" y="136"/>
                </a:cubicBezTo>
                <a:cubicBezTo>
                  <a:pt x="139" y="137"/>
                  <a:pt x="139" y="137"/>
                  <a:pt x="139" y="137"/>
                </a:cubicBezTo>
                <a:cubicBezTo>
                  <a:pt x="139" y="137"/>
                  <a:pt x="139" y="137"/>
                  <a:pt x="139" y="137"/>
                </a:cubicBezTo>
                <a:cubicBezTo>
                  <a:pt x="139" y="140"/>
                  <a:pt x="139" y="140"/>
                  <a:pt x="139" y="140"/>
                </a:cubicBezTo>
                <a:cubicBezTo>
                  <a:pt x="139" y="140"/>
                  <a:pt x="139" y="140"/>
                  <a:pt x="139" y="140"/>
                </a:cubicBezTo>
                <a:cubicBezTo>
                  <a:pt x="139" y="282"/>
                  <a:pt x="139" y="282"/>
                  <a:pt x="139" y="282"/>
                </a:cubicBezTo>
                <a:cubicBezTo>
                  <a:pt x="139" y="298"/>
                  <a:pt x="126" y="311"/>
                  <a:pt x="110" y="311"/>
                </a:cubicBezTo>
                <a:close/>
                <a:moveTo>
                  <a:pt x="93" y="282"/>
                </a:moveTo>
                <a:cubicBezTo>
                  <a:pt x="93" y="291"/>
                  <a:pt x="101" y="298"/>
                  <a:pt x="110" y="298"/>
                </a:cubicBezTo>
                <a:cubicBezTo>
                  <a:pt x="119" y="298"/>
                  <a:pt x="126" y="291"/>
                  <a:pt x="126" y="282"/>
                </a:cubicBezTo>
                <a:cubicBezTo>
                  <a:pt x="126" y="137"/>
                  <a:pt x="126" y="137"/>
                  <a:pt x="126" y="137"/>
                </a:cubicBezTo>
                <a:cubicBezTo>
                  <a:pt x="126" y="137"/>
                  <a:pt x="126" y="136"/>
                  <a:pt x="126" y="136"/>
                </a:cubicBezTo>
                <a:cubicBezTo>
                  <a:pt x="126" y="136"/>
                  <a:pt x="126" y="135"/>
                  <a:pt x="126" y="135"/>
                </a:cubicBezTo>
                <a:cubicBezTo>
                  <a:pt x="124" y="131"/>
                  <a:pt x="123" y="127"/>
                  <a:pt x="123" y="123"/>
                </a:cubicBezTo>
                <a:cubicBezTo>
                  <a:pt x="123" y="19"/>
                  <a:pt x="123" y="19"/>
                  <a:pt x="123" y="19"/>
                </a:cubicBezTo>
                <a:cubicBezTo>
                  <a:pt x="123" y="17"/>
                  <a:pt x="124" y="15"/>
                  <a:pt x="124" y="12"/>
                </a:cubicBezTo>
                <a:cubicBezTo>
                  <a:pt x="42" y="12"/>
                  <a:pt x="42" y="12"/>
                  <a:pt x="42" y="12"/>
                </a:cubicBezTo>
                <a:cubicBezTo>
                  <a:pt x="25" y="12"/>
                  <a:pt x="12" y="26"/>
                  <a:pt x="12" y="42"/>
                </a:cubicBezTo>
                <a:cubicBezTo>
                  <a:pt x="12" y="137"/>
                  <a:pt x="12" y="137"/>
                  <a:pt x="12" y="137"/>
                </a:cubicBezTo>
                <a:cubicBezTo>
                  <a:pt x="12" y="141"/>
                  <a:pt x="13" y="144"/>
                  <a:pt x="16" y="146"/>
                </a:cubicBezTo>
                <a:cubicBezTo>
                  <a:pt x="18" y="148"/>
                  <a:pt x="22" y="150"/>
                  <a:pt x="25" y="149"/>
                </a:cubicBezTo>
                <a:cubicBezTo>
                  <a:pt x="31" y="149"/>
                  <a:pt x="36" y="143"/>
                  <a:pt x="36" y="137"/>
                </a:cubicBezTo>
                <a:cubicBezTo>
                  <a:pt x="36" y="71"/>
                  <a:pt x="36" y="71"/>
                  <a:pt x="36" y="71"/>
                </a:cubicBezTo>
                <a:cubicBezTo>
                  <a:pt x="36" y="68"/>
                  <a:pt x="39" y="65"/>
                  <a:pt x="42" y="65"/>
                </a:cubicBezTo>
                <a:cubicBezTo>
                  <a:pt x="45" y="65"/>
                  <a:pt x="48" y="68"/>
                  <a:pt x="48" y="71"/>
                </a:cubicBezTo>
                <a:cubicBezTo>
                  <a:pt x="48" y="282"/>
                  <a:pt x="48" y="282"/>
                  <a:pt x="48" y="282"/>
                </a:cubicBezTo>
                <a:cubicBezTo>
                  <a:pt x="48" y="291"/>
                  <a:pt x="55" y="298"/>
                  <a:pt x="65" y="298"/>
                </a:cubicBezTo>
                <a:cubicBezTo>
                  <a:pt x="74" y="298"/>
                  <a:pt x="81" y="291"/>
                  <a:pt x="81" y="282"/>
                </a:cubicBezTo>
                <a:cubicBezTo>
                  <a:pt x="81" y="172"/>
                  <a:pt x="81" y="172"/>
                  <a:pt x="81" y="172"/>
                </a:cubicBezTo>
                <a:cubicBezTo>
                  <a:pt x="81" y="169"/>
                  <a:pt x="84" y="166"/>
                  <a:pt x="87" y="166"/>
                </a:cubicBezTo>
                <a:cubicBezTo>
                  <a:pt x="91" y="166"/>
                  <a:pt x="93" y="169"/>
                  <a:pt x="93" y="172"/>
                </a:cubicBezTo>
                <a:lnTo>
                  <a:pt x="93" y="28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400" dirty="0"/>
          </a:p>
        </p:txBody>
      </p:sp>
      <p:sp>
        <p:nvSpPr>
          <p:cNvPr id="79" name="Freeform 845">
            <a:extLst>
              <a:ext uri="{FF2B5EF4-FFF2-40B4-BE49-F238E27FC236}">
                <a16:creationId xmlns:a16="http://schemas.microsoft.com/office/drawing/2014/main" id="{AFA452C7-F0D5-4A35-8C9F-98C2D05BA2B0}"/>
              </a:ext>
            </a:extLst>
          </p:cNvPr>
          <p:cNvSpPr>
            <a:spLocks noEditPoints="1"/>
          </p:cNvSpPr>
          <p:nvPr/>
        </p:nvSpPr>
        <p:spPr bwMode="auto">
          <a:xfrm>
            <a:off x="9078632" y="2857077"/>
            <a:ext cx="76468" cy="77108"/>
          </a:xfrm>
          <a:custGeom>
            <a:avLst/>
            <a:gdLst>
              <a:gd name="T0" fmla="*/ 36 w 73"/>
              <a:gd name="T1" fmla="*/ 73 h 73"/>
              <a:gd name="T2" fmla="*/ 0 w 73"/>
              <a:gd name="T3" fmla="*/ 36 h 73"/>
              <a:gd name="T4" fmla="*/ 36 w 73"/>
              <a:gd name="T5" fmla="*/ 0 h 73"/>
              <a:gd name="T6" fmla="*/ 73 w 73"/>
              <a:gd name="T7" fmla="*/ 36 h 73"/>
              <a:gd name="T8" fmla="*/ 36 w 73"/>
              <a:gd name="T9" fmla="*/ 73 h 73"/>
              <a:gd name="T10" fmla="*/ 36 w 73"/>
              <a:gd name="T11" fmla="*/ 12 h 73"/>
              <a:gd name="T12" fmla="*/ 12 w 73"/>
              <a:gd name="T13" fmla="*/ 36 h 73"/>
              <a:gd name="T14" fmla="*/ 36 w 73"/>
              <a:gd name="T15" fmla="*/ 61 h 73"/>
              <a:gd name="T16" fmla="*/ 61 w 73"/>
              <a:gd name="T17" fmla="*/ 36 h 73"/>
              <a:gd name="T18" fmla="*/ 36 w 73"/>
              <a:gd name="T19" fmla="*/ 12 h 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73" h="73">
                <a:moveTo>
                  <a:pt x="36" y="73"/>
                </a:moveTo>
                <a:cubicBezTo>
                  <a:pt x="16" y="73"/>
                  <a:pt x="0" y="56"/>
                  <a:pt x="0" y="36"/>
                </a:cubicBezTo>
                <a:cubicBezTo>
                  <a:pt x="0" y="16"/>
                  <a:pt x="16" y="0"/>
                  <a:pt x="36" y="0"/>
                </a:cubicBezTo>
                <a:cubicBezTo>
                  <a:pt x="56" y="0"/>
                  <a:pt x="73" y="16"/>
                  <a:pt x="73" y="36"/>
                </a:cubicBezTo>
                <a:cubicBezTo>
                  <a:pt x="73" y="56"/>
                  <a:pt x="56" y="73"/>
                  <a:pt x="36" y="73"/>
                </a:cubicBezTo>
                <a:close/>
                <a:moveTo>
                  <a:pt x="36" y="12"/>
                </a:moveTo>
                <a:cubicBezTo>
                  <a:pt x="23" y="12"/>
                  <a:pt x="12" y="23"/>
                  <a:pt x="12" y="36"/>
                </a:cubicBezTo>
                <a:cubicBezTo>
                  <a:pt x="12" y="50"/>
                  <a:pt x="23" y="61"/>
                  <a:pt x="36" y="61"/>
                </a:cubicBezTo>
                <a:cubicBezTo>
                  <a:pt x="50" y="61"/>
                  <a:pt x="61" y="50"/>
                  <a:pt x="61" y="36"/>
                </a:cubicBezTo>
                <a:cubicBezTo>
                  <a:pt x="61" y="23"/>
                  <a:pt x="50" y="12"/>
                  <a:pt x="36" y="1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400" dirty="0"/>
          </a:p>
        </p:txBody>
      </p:sp>
      <p:sp>
        <p:nvSpPr>
          <p:cNvPr id="80" name="Freeform 846">
            <a:extLst>
              <a:ext uri="{FF2B5EF4-FFF2-40B4-BE49-F238E27FC236}">
                <a16:creationId xmlns:a16="http://schemas.microsoft.com/office/drawing/2014/main" id="{742DB49E-6181-AC4D-1E20-48F8B3BD88E0}"/>
              </a:ext>
            </a:extLst>
          </p:cNvPr>
          <p:cNvSpPr>
            <a:spLocks noEditPoints="1"/>
          </p:cNvSpPr>
          <p:nvPr/>
        </p:nvSpPr>
        <p:spPr bwMode="auto">
          <a:xfrm>
            <a:off x="9338625" y="2945752"/>
            <a:ext cx="149116" cy="331559"/>
          </a:xfrm>
          <a:custGeom>
            <a:avLst/>
            <a:gdLst>
              <a:gd name="T0" fmla="*/ 74 w 139"/>
              <a:gd name="T1" fmla="*/ 311 h 311"/>
              <a:gd name="T2" fmla="*/ 51 w 139"/>
              <a:gd name="T3" fmla="*/ 300 h 311"/>
              <a:gd name="T4" fmla="*/ 29 w 139"/>
              <a:gd name="T5" fmla="*/ 311 h 311"/>
              <a:gd name="T6" fmla="*/ 0 w 139"/>
              <a:gd name="T7" fmla="*/ 282 h 311"/>
              <a:gd name="T8" fmla="*/ 0 w 139"/>
              <a:gd name="T9" fmla="*/ 137 h 311"/>
              <a:gd name="T10" fmla="*/ 0 w 139"/>
              <a:gd name="T11" fmla="*/ 135 h 311"/>
              <a:gd name="T12" fmla="*/ 3 w 139"/>
              <a:gd name="T13" fmla="*/ 123 h 311"/>
              <a:gd name="T14" fmla="*/ 3 w 139"/>
              <a:gd name="T15" fmla="*/ 19 h 311"/>
              <a:gd name="T16" fmla="*/ 1 w 139"/>
              <a:gd name="T17" fmla="*/ 8 h 311"/>
              <a:gd name="T18" fmla="*/ 2 w 139"/>
              <a:gd name="T19" fmla="*/ 3 h 311"/>
              <a:gd name="T20" fmla="*/ 7 w 139"/>
              <a:gd name="T21" fmla="*/ 0 h 311"/>
              <a:gd name="T22" fmla="*/ 97 w 139"/>
              <a:gd name="T23" fmla="*/ 0 h 311"/>
              <a:gd name="T24" fmla="*/ 139 w 139"/>
              <a:gd name="T25" fmla="*/ 42 h 311"/>
              <a:gd name="T26" fmla="*/ 139 w 139"/>
              <a:gd name="T27" fmla="*/ 137 h 311"/>
              <a:gd name="T28" fmla="*/ 131 w 139"/>
              <a:gd name="T29" fmla="*/ 155 h 311"/>
              <a:gd name="T30" fmla="*/ 112 w 139"/>
              <a:gd name="T31" fmla="*/ 161 h 311"/>
              <a:gd name="T32" fmla="*/ 103 w 139"/>
              <a:gd name="T33" fmla="*/ 158 h 311"/>
              <a:gd name="T34" fmla="*/ 103 w 139"/>
              <a:gd name="T35" fmla="*/ 282 h 311"/>
              <a:gd name="T36" fmla="*/ 74 w 139"/>
              <a:gd name="T37" fmla="*/ 311 h 311"/>
              <a:gd name="T38" fmla="*/ 58 w 139"/>
              <a:gd name="T39" fmla="*/ 282 h 311"/>
              <a:gd name="T40" fmla="*/ 74 w 139"/>
              <a:gd name="T41" fmla="*/ 298 h 311"/>
              <a:gd name="T42" fmla="*/ 91 w 139"/>
              <a:gd name="T43" fmla="*/ 282 h 311"/>
              <a:gd name="T44" fmla="*/ 91 w 139"/>
              <a:gd name="T45" fmla="*/ 137 h 311"/>
              <a:gd name="T46" fmla="*/ 91 w 139"/>
              <a:gd name="T47" fmla="*/ 137 h 311"/>
              <a:gd name="T48" fmla="*/ 91 w 139"/>
              <a:gd name="T49" fmla="*/ 71 h 311"/>
              <a:gd name="T50" fmla="*/ 97 w 139"/>
              <a:gd name="T51" fmla="*/ 65 h 311"/>
              <a:gd name="T52" fmla="*/ 103 w 139"/>
              <a:gd name="T53" fmla="*/ 71 h 311"/>
              <a:gd name="T54" fmla="*/ 103 w 139"/>
              <a:gd name="T55" fmla="*/ 136 h 311"/>
              <a:gd name="T56" fmla="*/ 103 w 139"/>
              <a:gd name="T57" fmla="*/ 137 h 311"/>
              <a:gd name="T58" fmla="*/ 114 w 139"/>
              <a:gd name="T59" fmla="*/ 149 h 311"/>
              <a:gd name="T60" fmla="*/ 123 w 139"/>
              <a:gd name="T61" fmla="*/ 146 h 311"/>
              <a:gd name="T62" fmla="*/ 127 w 139"/>
              <a:gd name="T63" fmla="*/ 137 h 311"/>
              <a:gd name="T64" fmla="*/ 127 w 139"/>
              <a:gd name="T65" fmla="*/ 42 h 311"/>
              <a:gd name="T66" fmla="*/ 97 w 139"/>
              <a:gd name="T67" fmla="*/ 12 h 311"/>
              <a:gd name="T68" fmla="*/ 15 w 139"/>
              <a:gd name="T69" fmla="*/ 12 h 311"/>
              <a:gd name="T70" fmla="*/ 15 w 139"/>
              <a:gd name="T71" fmla="*/ 19 h 311"/>
              <a:gd name="T72" fmla="*/ 15 w 139"/>
              <a:gd name="T73" fmla="*/ 123 h 311"/>
              <a:gd name="T74" fmla="*/ 12 w 139"/>
              <a:gd name="T75" fmla="*/ 137 h 311"/>
              <a:gd name="T76" fmla="*/ 12 w 139"/>
              <a:gd name="T77" fmla="*/ 282 h 311"/>
              <a:gd name="T78" fmla="*/ 29 w 139"/>
              <a:gd name="T79" fmla="*/ 298 h 311"/>
              <a:gd name="T80" fmla="*/ 45 w 139"/>
              <a:gd name="T81" fmla="*/ 282 h 311"/>
              <a:gd name="T82" fmla="*/ 45 w 139"/>
              <a:gd name="T83" fmla="*/ 172 h 311"/>
              <a:gd name="T84" fmla="*/ 51 w 139"/>
              <a:gd name="T85" fmla="*/ 166 h 311"/>
              <a:gd name="T86" fmla="*/ 58 w 139"/>
              <a:gd name="T87" fmla="*/ 172 h 311"/>
              <a:gd name="T88" fmla="*/ 58 w 139"/>
              <a:gd name="T89" fmla="*/ 282 h 3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139" h="311">
                <a:moveTo>
                  <a:pt x="74" y="311"/>
                </a:moveTo>
                <a:cubicBezTo>
                  <a:pt x="65" y="311"/>
                  <a:pt x="57" y="306"/>
                  <a:pt x="51" y="300"/>
                </a:cubicBezTo>
                <a:cubicBezTo>
                  <a:pt x="46" y="306"/>
                  <a:pt x="38" y="311"/>
                  <a:pt x="29" y="311"/>
                </a:cubicBezTo>
                <a:cubicBezTo>
                  <a:pt x="13" y="311"/>
                  <a:pt x="0" y="298"/>
                  <a:pt x="0" y="282"/>
                </a:cubicBezTo>
                <a:cubicBezTo>
                  <a:pt x="0" y="137"/>
                  <a:pt x="0" y="137"/>
                  <a:pt x="0" y="137"/>
                </a:cubicBezTo>
                <a:cubicBezTo>
                  <a:pt x="0" y="136"/>
                  <a:pt x="0" y="135"/>
                  <a:pt x="0" y="135"/>
                </a:cubicBezTo>
                <a:cubicBezTo>
                  <a:pt x="2" y="130"/>
                  <a:pt x="3" y="124"/>
                  <a:pt x="3" y="123"/>
                </a:cubicBezTo>
                <a:cubicBezTo>
                  <a:pt x="3" y="19"/>
                  <a:pt x="3" y="19"/>
                  <a:pt x="3" y="19"/>
                </a:cubicBezTo>
                <a:cubicBezTo>
                  <a:pt x="3" y="16"/>
                  <a:pt x="2" y="12"/>
                  <a:pt x="1" y="8"/>
                </a:cubicBezTo>
                <a:cubicBezTo>
                  <a:pt x="0" y="6"/>
                  <a:pt x="1" y="4"/>
                  <a:pt x="2" y="3"/>
                </a:cubicBezTo>
                <a:cubicBezTo>
                  <a:pt x="3" y="1"/>
                  <a:pt x="5" y="0"/>
                  <a:pt x="7" y="0"/>
                </a:cubicBezTo>
                <a:cubicBezTo>
                  <a:pt x="97" y="0"/>
                  <a:pt x="97" y="0"/>
                  <a:pt x="97" y="0"/>
                </a:cubicBezTo>
                <a:cubicBezTo>
                  <a:pt x="120" y="0"/>
                  <a:pt x="139" y="19"/>
                  <a:pt x="139" y="42"/>
                </a:cubicBezTo>
                <a:cubicBezTo>
                  <a:pt x="139" y="137"/>
                  <a:pt x="139" y="137"/>
                  <a:pt x="139" y="137"/>
                </a:cubicBezTo>
                <a:cubicBezTo>
                  <a:pt x="139" y="144"/>
                  <a:pt x="136" y="151"/>
                  <a:pt x="131" y="155"/>
                </a:cubicBezTo>
                <a:cubicBezTo>
                  <a:pt x="126" y="160"/>
                  <a:pt x="119" y="162"/>
                  <a:pt x="112" y="161"/>
                </a:cubicBezTo>
                <a:cubicBezTo>
                  <a:pt x="109" y="161"/>
                  <a:pt x="106" y="160"/>
                  <a:pt x="103" y="158"/>
                </a:cubicBezTo>
                <a:cubicBezTo>
                  <a:pt x="103" y="282"/>
                  <a:pt x="103" y="282"/>
                  <a:pt x="103" y="282"/>
                </a:cubicBezTo>
                <a:cubicBezTo>
                  <a:pt x="103" y="298"/>
                  <a:pt x="90" y="311"/>
                  <a:pt x="74" y="311"/>
                </a:cubicBezTo>
                <a:close/>
                <a:moveTo>
                  <a:pt x="58" y="282"/>
                </a:moveTo>
                <a:cubicBezTo>
                  <a:pt x="58" y="291"/>
                  <a:pt x="65" y="298"/>
                  <a:pt x="74" y="298"/>
                </a:cubicBezTo>
                <a:cubicBezTo>
                  <a:pt x="83" y="298"/>
                  <a:pt x="91" y="291"/>
                  <a:pt x="91" y="282"/>
                </a:cubicBezTo>
                <a:cubicBezTo>
                  <a:pt x="91" y="137"/>
                  <a:pt x="91" y="137"/>
                  <a:pt x="91" y="137"/>
                </a:cubicBezTo>
                <a:cubicBezTo>
                  <a:pt x="91" y="137"/>
                  <a:pt x="91" y="137"/>
                  <a:pt x="91" y="137"/>
                </a:cubicBezTo>
                <a:cubicBezTo>
                  <a:pt x="91" y="71"/>
                  <a:pt x="91" y="71"/>
                  <a:pt x="91" y="71"/>
                </a:cubicBezTo>
                <a:cubicBezTo>
                  <a:pt x="91" y="68"/>
                  <a:pt x="93" y="65"/>
                  <a:pt x="97" y="65"/>
                </a:cubicBezTo>
                <a:cubicBezTo>
                  <a:pt x="100" y="65"/>
                  <a:pt x="103" y="68"/>
                  <a:pt x="103" y="71"/>
                </a:cubicBezTo>
                <a:cubicBezTo>
                  <a:pt x="103" y="136"/>
                  <a:pt x="103" y="136"/>
                  <a:pt x="103" y="136"/>
                </a:cubicBezTo>
                <a:cubicBezTo>
                  <a:pt x="103" y="136"/>
                  <a:pt x="103" y="136"/>
                  <a:pt x="103" y="137"/>
                </a:cubicBezTo>
                <a:cubicBezTo>
                  <a:pt x="103" y="143"/>
                  <a:pt x="108" y="149"/>
                  <a:pt x="114" y="149"/>
                </a:cubicBezTo>
                <a:cubicBezTo>
                  <a:pt x="117" y="149"/>
                  <a:pt x="120" y="148"/>
                  <a:pt x="123" y="146"/>
                </a:cubicBezTo>
                <a:cubicBezTo>
                  <a:pt x="125" y="144"/>
                  <a:pt x="127" y="141"/>
                  <a:pt x="127" y="137"/>
                </a:cubicBezTo>
                <a:cubicBezTo>
                  <a:pt x="127" y="42"/>
                  <a:pt x="127" y="42"/>
                  <a:pt x="127" y="42"/>
                </a:cubicBezTo>
                <a:cubicBezTo>
                  <a:pt x="127" y="26"/>
                  <a:pt x="113" y="12"/>
                  <a:pt x="97" y="12"/>
                </a:cubicBezTo>
                <a:cubicBezTo>
                  <a:pt x="15" y="12"/>
                  <a:pt x="15" y="12"/>
                  <a:pt x="15" y="12"/>
                </a:cubicBezTo>
                <a:cubicBezTo>
                  <a:pt x="15" y="15"/>
                  <a:pt x="15" y="17"/>
                  <a:pt x="15" y="19"/>
                </a:cubicBezTo>
                <a:cubicBezTo>
                  <a:pt x="15" y="123"/>
                  <a:pt x="15" y="123"/>
                  <a:pt x="15" y="123"/>
                </a:cubicBezTo>
                <a:cubicBezTo>
                  <a:pt x="15" y="127"/>
                  <a:pt x="13" y="134"/>
                  <a:pt x="12" y="137"/>
                </a:cubicBezTo>
                <a:cubicBezTo>
                  <a:pt x="12" y="282"/>
                  <a:pt x="12" y="282"/>
                  <a:pt x="12" y="282"/>
                </a:cubicBezTo>
                <a:cubicBezTo>
                  <a:pt x="12" y="291"/>
                  <a:pt x="20" y="298"/>
                  <a:pt x="29" y="298"/>
                </a:cubicBezTo>
                <a:cubicBezTo>
                  <a:pt x="38" y="298"/>
                  <a:pt x="45" y="291"/>
                  <a:pt x="45" y="282"/>
                </a:cubicBezTo>
                <a:cubicBezTo>
                  <a:pt x="45" y="172"/>
                  <a:pt x="45" y="172"/>
                  <a:pt x="45" y="172"/>
                </a:cubicBezTo>
                <a:cubicBezTo>
                  <a:pt x="45" y="169"/>
                  <a:pt x="48" y="166"/>
                  <a:pt x="51" y="166"/>
                </a:cubicBezTo>
                <a:cubicBezTo>
                  <a:pt x="55" y="166"/>
                  <a:pt x="58" y="169"/>
                  <a:pt x="58" y="172"/>
                </a:cubicBezTo>
                <a:lnTo>
                  <a:pt x="58" y="28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400" dirty="0"/>
          </a:p>
        </p:txBody>
      </p:sp>
      <p:sp>
        <p:nvSpPr>
          <p:cNvPr id="81" name="Freeform 847">
            <a:extLst>
              <a:ext uri="{FF2B5EF4-FFF2-40B4-BE49-F238E27FC236}">
                <a16:creationId xmlns:a16="http://schemas.microsoft.com/office/drawing/2014/main" id="{6161E375-CC57-361D-7501-324C77011EF5}"/>
              </a:ext>
            </a:extLst>
          </p:cNvPr>
          <p:cNvSpPr>
            <a:spLocks noEditPoints="1"/>
          </p:cNvSpPr>
          <p:nvPr/>
        </p:nvSpPr>
        <p:spPr bwMode="auto">
          <a:xfrm>
            <a:off x="9155098" y="2918762"/>
            <a:ext cx="198817" cy="358547"/>
          </a:xfrm>
          <a:custGeom>
            <a:avLst/>
            <a:gdLst>
              <a:gd name="T0" fmla="*/ 119 w 189"/>
              <a:gd name="T1" fmla="*/ 336 h 336"/>
              <a:gd name="T2" fmla="*/ 95 w 189"/>
              <a:gd name="T3" fmla="*/ 324 h 336"/>
              <a:gd name="T4" fmla="*/ 70 w 189"/>
              <a:gd name="T5" fmla="*/ 336 h 336"/>
              <a:gd name="T6" fmla="*/ 39 w 189"/>
              <a:gd name="T7" fmla="*/ 306 h 336"/>
              <a:gd name="T8" fmla="*/ 39 w 189"/>
              <a:gd name="T9" fmla="*/ 170 h 336"/>
              <a:gd name="T10" fmla="*/ 29 w 189"/>
              <a:gd name="T11" fmla="*/ 174 h 336"/>
              <a:gd name="T12" fmla="*/ 4 w 189"/>
              <a:gd name="T13" fmla="*/ 162 h 336"/>
              <a:gd name="T14" fmla="*/ 0 w 189"/>
              <a:gd name="T15" fmla="*/ 149 h 336"/>
              <a:gd name="T16" fmla="*/ 0 w 189"/>
              <a:gd name="T17" fmla="*/ 45 h 336"/>
              <a:gd name="T18" fmla="*/ 3 w 189"/>
              <a:gd name="T19" fmla="*/ 30 h 336"/>
              <a:gd name="T20" fmla="*/ 46 w 189"/>
              <a:gd name="T21" fmla="*/ 0 h 336"/>
              <a:gd name="T22" fmla="*/ 144 w 189"/>
              <a:gd name="T23" fmla="*/ 0 h 336"/>
              <a:gd name="T24" fmla="*/ 187 w 189"/>
              <a:gd name="T25" fmla="*/ 30 h 336"/>
              <a:gd name="T26" fmla="*/ 187 w 189"/>
              <a:gd name="T27" fmla="*/ 30 h 336"/>
              <a:gd name="T28" fmla="*/ 189 w 189"/>
              <a:gd name="T29" fmla="*/ 45 h 336"/>
              <a:gd name="T30" fmla="*/ 189 w 189"/>
              <a:gd name="T31" fmla="*/ 149 h 336"/>
              <a:gd name="T32" fmla="*/ 185 w 189"/>
              <a:gd name="T33" fmla="*/ 162 h 336"/>
              <a:gd name="T34" fmla="*/ 161 w 189"/>
              <a:gd name="T35" fmla="*/ 174 h 336"/>
              <a:gd name="T36" fmla="*/ 150 w 189"/>
              <a:gd name="T37" fmla="*/ 170 h 336"/>
              <a:gd name="T38" fmla="*/ 150 w 189"/>
              <a:gd name="T39" fmla="*/ 306 h 336"/>
              <a:gd name="T40" fmla="*/ 119 w 189"/>
              <a:gd name="T41" fmla="*/ 336 h 336"/>
              <a:gd name="T42" fmla="*/ 95 w 189"/>
              <a:gd name="T43" fmla="*/ 299 h 336"/>
              <a:gd name="T44" fmla="*/ 101 w 189"/>
              <a:gd name="T45" fmla="*/ 306 h 336"/>
              <a:gd name="T46" fmla="*/ 119 w 189"/>
              <a:gd name="T47" fmla="*/ 324 h 336"/>
              <a:gd name="T48" fmla="*/ 138 w 189"/>
              <a:gd name="T49" fmla="*/ 306 h 336"/>
              <a:gd name="T50" fmla="*/ 138 w 189"/>
              <a:gd name="T51" fmla="*/ 148 h 336"/>
              <a:gd name="T52" fmla="*/ 144 w 189"/>
              <a:gd name="T53" fmla="*/ 142 h 336"/>
              <a:gd name="T54" fmla="*/ 144 w 189"/>
              <a:gd name="T55" fmla="*/ 142 h 336"/>
              <a:gd name="T56" fmla="*/ 150 w 189"/>
              <a:gd name="T57" fmla="*/ 148 h 336"/>
              <a:gd name="T58" fmla="*/ 162 w 189"/>
              <a:gd name="T59" fmla="*/ 162 h 336"/>
              <a:gd name="T60" fmla="*/ 175 w 189"/>
              <a:gd name="T61" fmla="*/ 156 h 336"/>
              <a:gd name="T62" fmla="*/ 177 w 189"/>
              <a:gd name="T63" fmla="*/ 149 h 336"/>
              <a:gd name="T64" fmla="*/ 177 w 189"/>
              <a:gd name="T65" fmla="*/ 45 h 336"/>
              <a:gd name="T66" fmla="*/ 175 w 189"/>
              <a:gd name="T67" fmla="*/ 34 h 336"/>
              <a:gd name="T68" fmla="*/ 144 w 189"/>
              <a:gd name="T69" fmla="*/ 12 h 336"/>
              <a:gd name="T70" fmla="*/ 46 w 189"/>
              <a:gd name="T71" fmla="*/ 12 h 336"/>
              <a:gd name="T72" fmla="*/ 15 w 189"/>
              <a:gd name="T73" fmla="*/ 34 h 336"/>
              <a:gd name="T74" fmla="*/ 13 w 189"/>
              <a:gd name="T75" fmla="*/ 45 h 336"/>
              <a:gd name="T76" fmla="*/ 13 w 189"/>
              <a:gd name="T77" fmla="*/ 149 h 336"/>
              <a:gd name="T78" fmla="*/ 15 w 189"/>
              <a:gd name="T79" fmla="*/ 156 h 336"/>
              <a:gd name="T80" fmla="*/ 27 w 189"/>
              <a:gd name="T81" fmla="*/ 162 h 336"/>
              <a:gd name="T82" fmla="*/ 39 w 189"/>
              <a:gd name="T83" fmla="*/ 148 h 336"/>
              <a:gd name="T84" fmla="*/ 46 w 189"/>
              <a:gd name="T85" fmla="*/ 142 h 336"/>
              <a:gd name="T86" fmla="*/ 52 w 189"/>
              <a:gd name="T87" fmla="*/ 148 h 336"/>
              <a:gd name="T88" fmla="*/ 52 w 189"/>
              <a:gd name="T89" fmla="*/ 306 h 336"/>
              <a:gd name="T90" fmla="*/ 70 w 189"/>
              <a:gd name="T91" fmla="*/ 324 h 336"/>
              <a:gd name="T92" fmla="*/ 89 w 189"/>
              <a:gd name="T93" fmla="*/ 306 h 336"/>
              <a:gd name="T94" fmla="*/ 95 w 189"/>
              <a:gd name="T95" fmla="*/ 299 h 3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89" h="336">
                <a:moveTo>
                  <a:pt x="119" y="336"/>
                </a:moveTo>
                <a:cubicBezTo>
                  <a:pt x="109" y="336"/>
                  <a:pt x="100" y="331"/>
                  <a:pt x="95" y="324"/>
                </a:cubicBezTo>
                <a:cubicBezTo>
                  <a:pt x="89" y="331"/>
                  <a:pt x="80" y="336"/>
                  <a:pt x="70" y="336"/>
                </a:cubicBezTo>
                <a:cubicBezTo>
                  <a:pt x="53" y="336"/>
                  <a:pt x="39" y="323"/>
                  <a:pt x="39" y="306"/>
                </a:cubicBezTo>
                <a:cubicBezTo>
                  <a:pt x="39" y="170"/>
                  <a:pt x="39" y="170"/>
                  <a:pt x="39" y="170"/>
                </a:cubicBezTo>
                <a:cubicBezTo>
                  <a:pt x="36" y="173"/>
                  <a:pt x="33" y="174"/>
                  <a:pt x="29" y="174"/>
                </a:cubicBezTo>
                <a:cubicBezTo>
                  <a:pt x="19" y="175"/>
                  <a:pt x="10" y="171"/>
                  <a:pt x="4" y="162"/>
                </a:cubicBezTo>
                <a:cubicBezTo>
                  <a:pt x="2" y="158"/>
                  <a:pt x="0" y="153"/>
                  <a:pt x="0" y="149"/>
                </a:cubicBezTo>
                <a:cubicBezTo>
                  <a:pt x="0" y="45"/>
                  <a:pt x="0" y="45"/>
                  <a:pt x="0" y="45"/>
                </a:cubicBezTo>
                <a:cubicBezTo>
                  <a:pt x="0" y="40"/>
                  <a:pt x="1" y="35"/>
                  <a:pt x="3" y="30"/>
                </a:cubicBezTo>
                <a:cubicBezTo>
                  <a:pt x="9" y="12"/>
                  <a:pt x="27" y="0"/>
                  <a:pt x="46" y="0"/>
                </a:cubicBezTo>
                <a:cubicBezTo>
                  <a:pt x="144" y="0"/>
                  <a:pt x="144" y="0"/>
                  <a:pt x="144" y="0"/>
                </a:cubicBezTo>
                <a:cubicBezTo>
                  <a:pt x="163" y="0"/>
                  <a:pt x="180" y="12"/>
                  <a:pt x="187" y="30"/>
                </a:cubicBezTo>
                <a:cubicBezTo>
                  <a:pt x="187" y="30"/>
                  <a:pt x="187" y="30"/>
                  <a:pt x="187" y="30"/>
                </a:cubicBezTo>
                <a:cubicBezTo>
                  <a:pt x="188" y="35"/>
                  <a:pt x="189" y="40"/>
                  <a:pt x="189" y="45"/>
                </a:cubicBezTo>
                <a:cubicBezTo>
                  <a:pt x="189" y="149"/>
                  <a:pt x="189" y="149"/>
                  <a:pt x="189" y="149"/>
                </a:cubicBezTo>
                <a:cubicBezTo>
                  <a:pt x="189" y="153"/>
                  <a:pt x="188" y="158"/>
                  <a:pt x="185" y="162"/>
                </a:cubicBezTo>
                <a:cubicBezTo>
                  <a:pt x="180" y="171"/>
                  <a:pt x="171" y="175"/>
                  <a:pt x="161" y="174"/>
                </a:cubicBezTo>
                <a:cubicBezTo>
                  <a:pt x="157" y="174"/>
                  <a:pt x="153" y="173"/>
                  <a:pt x="150" y="170"/>
                </a:cubicBezTo>
                <a:cubicBezTo>
                  <a:pt x="150" y="306"/>
                  <a:pt x="150" y="306"/>
                  <a:pt x="150" y="306"/>
                </a:cubicBezTo>
                <a:cubicBezTo>
                  <a:pt x="150" y="323"/>
                  <a:pt x="136" y="336"/>
                  <a:pt x="119" y="336"/>
                </a:cubicBezTo>
                <a:close/>
                <a:moveTo>
                  <a:pt x="95" y="299"/>
                </a:moveTo>
                <a:cubicBezTo>
                  <a:pt x="98" y="299"/>
                  <a:pt x="101" y="302"/>
                  <a:pt x="101" y="306"/>
                </a:cubicBezTo>
                <a:cubicBezTo>
                  <a:pt x="101" y="316"/>
                  <a:pt x="109" y="324"/>
                  <a:pt x="119" y="324"/>
                </a:cubicBezTo>
                <a:cubicBezTo>
                  <a:pt x="130" y="324"/>
                  <a:pt x="138" y="316"/>
                  <a:pt x="138" y="306"/>
                </a:cubicBezTo>
                <a:cubicBezTo>
                  <a:pt x="138" y="148"/>
                  <a:pt x="138" y="148"/>
                  <a:pt x="138" y="148"/>
                </a:cubicBezTo>
                <a:cubicBezTo>
                  <a:pt x="138" y="145"/>
                  <a:pt x="141" y="142"/>
                  <a:pt x="144" y="142"/>
                </a:cubicBezTo>
                <a:cubicBezTo>
                  <a:pt x="144" y="142"/>
                  <a:pt x="144" y="142"/>
                  <a:pt x="144" y="142"/>
                </a:cubicBezTo>
                <a:cubicBezTo>
                  <a:pt x="147" y="142"/>
                  <a:pt x="150" y="144"/>
                  <a:pt x="150" y="148"/>
                </a:cubicBezTo>
                <a:cubicBezTo>
                  <a:pt x="150" y="155"/>
                  <a:pt x="156" y="161"/>
                  <a:pt x="162" y="162"/>
                </a:cubicBezTo>
                <a:cubicBezTo>
                  <a:pt x="167" y="163"/>
                  <a:pt x="172" y="160"/>
                  <a:pt x="175" y="156"/>
                </a:cubicBezTo>
                <a:cubicBezTo>
                  <a:pt x="176" y="154"/>
                  <a:pt x="177" y="151"/>
                  <a:pt x="177" y="149"/>
                </a:cubicBezTo>
                <a:cubicBezTo>
                  <a:pt x="177" y="45"/>
                  <a:pt x="177" y="45"/>
                  <a:pt x="177" y="45"/>
                </a:cubicBezTo>
                <a:cubicBezTo>
                  <a:pt x="177" y="42"/>
                  <a:pt x="176" y="38"/>
                  <a:pt x="175" y="34"/>
                </a:cubicBezTo>
                <a:cubicBezTo>
                  <a:pt x="170" y="21"/>
                  <a:pt x="158" y="12"/>
                  <a:pt x="144" y="12"/>
                </a:cubicBezTo>
                <a:cubicBezTo>
                  <a:pt x="46" y="12"/>
                  <a:pt x="46" y="12"/>
                  <a:pt x="46" y="12"/>
                </a:cubicBezTo>
                <a:cubicBezTo>
                  <a:pt x="32" y="12"/>
                  <a:pt x="19" y="21"/>
                  <a:pt x="15" y="34"/>
                </a:cubicBezTo>
                <a:cubicBezTo>
                  <a:pt x="13" y="38"/>
                  <a:pt x="13" y="42"/>
                  <a:pt x="13" y="45"/>
                </a:cubicBezTo>
                <a:cubicBezTo>
                  <a:pt x="13" y="149"/>
                  <a:pt x="13" y="149"/>
                  <a:pt x="13" y="149"/>
                </a:cubicBezTo>
                <a:cubicBezTo>
                  <a:pt x="13" y="151"/>
                  <a:pt x="13" y="154"/>
                  <a:pt x="15" y="156"/>
                </a:cubicBezTo>
                <a:cubicBezTo>
                  <a:pt x="17" y="160"/>
                  <a:pt x="22" y="163"/>
                  <a:pt x="27" y="162"/>
                </a:cubicBezTo>
                <a:cubicBezTo>
                  <a:pt x="34" y="161"/>
                  <a:pt x="39" y="155"/>
                  <a:pt x="39" y="148"/>
                </a:cubicBezTo>
                <a:cubicBezTo>
                  <a:pt x="39" y="144"/>
                  <a:pt x="42" y="142"/>
                  <a:pt x="46" y="142"/>
                </a:cubicBezTo>
                <a:cubicBezTo>
                  <a:pt x="49" y="142"/>
                  <a:pt x="52" y="144"/>
                  <a:pt x="52" y="148"/>
                </a:cubicBezTo>
                <a:cubicBezTo>
                  <a:pt x="52" y="306"/>
                  <a:pt x="52" y="306"/>
                  <a:pt x="52" y="306"/>
                </a:cubicBezTo>
                <a:cubicBezTo>
                  <a:pt x="52" y="316"/>
                  <a:pt x="60" y="324"/>
                  <a:pt x="70" y="324"/>
                </a:cubicBezTo>
                <a:cubicBezTo>
                  <a:pt x="80" y="324"/>
                  <a:pt x="89" y="316"/>
                  <a:pt x="89" y="306"/>
                </a:cubicBezTo>
                <a:cubicBezTo>
                  <a:pt x="89" y="302"/>
                  <a:pt x="91" y="299"/>
                  <a:pt x="95" y="299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400" dirty="0"/>
          </a:p>
        </p:txBody>
      </p:sp>
      <p:sp>
        <p:nvSpPr>
          <p:cNvPr id="82" name="Freeform 848">
            <a:extLst>
              <a:ext uri="{FF2B5EF4-FFF2-40B4-BE49-F238E27FC236}">
                <a16:creationId xmlns:a16="http://schemas.microsoft.com/office/drawing/2014/main" id="{DED54FFA-40DC-CA0C-58C5-118D9E650D55}"/>
              </a:ext>
            </a:extLst>
          </p:cNvPr>
          <p:cNvSpPr>
            <a:spLocks noEditPoints="1"/>
          </p:cNvSpPr>
          <p:nvPr/>
        </p:nvSpPr>
        <p:spPr bwMode="auto">
          <a:xfrm>
            <a:off x="9353918" y="2857077"/>
            <a:ext cx="76468" cy="77108"/>
          </a:xfrm>
          <a:custGeom>
            <a:avLst/>
            <a:gdLst>
              <a:gd name="T0" fmla="*/ 36 w 73"/>
              <a:gd name="T1" fmla="*/ 73 h 73"/>
              <a:gd name="T2" fmla="*/ 0 w 73"/>
              <a:gd name="T3" fmla="*/ 36 h 73"/>
              <a:gd name="T4" fmla="*/ 36 w 73"/>
              <a:gd name="T5" fmla="*/ 0 h 73"/>
              <a:gd name="T6" fmla="*/ 73 w 73"/>
              <a:gd name="T7" fmla="*/ 36 h 73"/>
              <a:gd name="T8" fmla="*/ 36 w 73"/>
              <a:gd name="T9" fmla="*/ 73 h 73"/>
              <a:gd name="T10" fmla="*/ 36 w 73"/>
              <a:gd name="T11" fmla="*/ 12 h 73"/>
              <a:gd name="T12" fmla="*/ 12 w 73"/>
              <a:gd name="T13" fmla="*/ 36 h 73"/>
              <a:gd name="T14" fmla="*/ 36 w 73"/>
              <a:gd name="T15" fmla="*/ 61 h 73"/>
              <a:gd name="T16" fmla="*/ 61 w 73"/>
              <a:gd name="T17" fmla="*/ 36 h 73"/>
              <a:gd name="T18" fmla="*/ 36 w 73"/>
              <a:gd name="T19" fmla="*/ 12 h 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73" h="73">
                <a:moveTo>
                  <a:pt x="36" y="73"/>
                </a:moveTo>
                <a:cubicBezTo>
                  <a:pt x="16" y="73"/>
                  <a:pt x="0" y="56"/>
                  <a:pt x="0" y="36"/>
                </a:cubicBezTo>
                <a:cubicBezTo>
                  <a:pt x="0" y="16"/>
                  <a:pt x="16" y="0"/>
                  <a:pt x="36" y="0"/>
                </a:cubicBezTo>
                <a:cubicBezTo>
                  <a:pt x="57" y="0"/>
                  <a:pt x="73" y="16"/>
                  <a:pt x="73" y="36"/>
                </a:cubicBezTo>
                <a:cubicBezTo>
                  <a:pt x="73" y="56"/>
                  <a:pt x="57" y="73"/>
                  <a:pt x="36" y="73"/>
                </a:cubicBezTo>
                <a:close/>
                <a:moveTo>
                  <a:pt x="36" y="12"/>
                </a:moveTo>
                <a:cubicBezTo>
                  <a:pt x="23" y="12"/>
                  <a:pt x="12" y="23"/>
                  <a:pt x="12" y="36"/>
                </a:cubicBezTo>
                <a:cubicBezTo>
                  <a:pt x="12" y="50"/>
                  <a:pt x="23" y="61"/>
                  <a:pt x="36" y="61"/>
                </a:cubicBezTo>
                <a:cubicBezTo>
                  <a:pt x="50" y="61"/>
                  <a:pt x="61" y="50"/>
                  <a:pt x="61" y="36"/>
                </a:cubicBezTo>
                <a:cubicBezTo>
                  <a:pt x="61" y="23"/>
                  <a:pt x="50" y="12"/>
                  <a:pt x="36" y="1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400" dirty="0"/>
          </a:p>
        </p:txBody>
      </p:sp>
      <p:sp>
        <p:nvSpPr>
          <p:cNvPr id="83" name="Freeform 849">
            <a:extLst>
              <a:ext uri="{FF2B5EF4-FFF2-40B4-BE49-F238E27FC236}">
                <a16:creationId xmlns:a16="http://schemas.microsoft.com/office/drawing/2014/main" id="{43D2F25E-A12A-3658-2D7C-F8043F928A61}"/>
              </a:ext>
            </a:extLst>
          </p:cNvPr>
          <p:cNvSpPr>
            <a:spLocks/>
          </p:cNvSpPr>
          <p:nvPr/>
        </p:nvSpPr>
        <p:spPr bwMode="auto">
          <a:xfrm>
            <a:off x="9250685" y="3111531"/>
            <a:ext cx="11470" cy="138792"/>
          </a:xfrm>
          <a:custGeom>
            <a:avLst/>
            <a:gdLst>
              <a:gd name="T0" fmla="*/ 6 w 12"/>
              <a:gd name="T1" fmla="*/ 131 h 131"/>
              <a:gd name="T2" fmla="*/ 0 w 12"/>
              <a:gd name="T3" fmla="*/ 125 h 131"/>
              <a:gd name="T4" fmla="*/ 0 w 12"/>
              <a:gd name="T5" fmla="*/ 6 h 131"/>
              <a:gd name="T6" fmla="*/ 6 w 12"/>
              <a:gd name="T7" fmla="*/ 0 h 131"/>
              <a:gd name="T8" fmla="*/ 12 w 12"/>
              <a:gd name="T9" fmla="*/ 6 h 131"/>
              <a:gd name="T10" fmla="*/ 12 w 12"/>
              <a:gd name="T11" fmla="*/ 125 h 131"/>
              <a:gd name="T12" fmla="*/ 6 w 12"/>
              <a:gd name="T13" fmla="*/ 131 h 1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2" h="131">
                <a:moveTo>
                  <a:pt x="6" y="131"/>
                </a:moveTo>
                <a:cubicBezTo>
                  <a:pt x="2" y="131"/>
                  <a:pt x="0" y="128"/>
                  <a:pt x="0" y="125"/>
                </a:cubicBezTo>
                <a:cubicBezTo>
                  <a:pt x="0" y="6"/>
                  <a:pt x="0" y="6"/>
                  <a:pt x="0" y="6"/>
                </a:cubicBezTo>
                <a:cubicBezTo>
                  <a:pt x="0" y="3"/>
                  <a:pt x="2" y="0"/>
                  <a:pt x="6" y="0"/>
                </a:cubicBezTo>
                <a:cubicBezTo>
                  <a:pt x="9" y="0"/>
                  <a:pt x="12" y="3"/>
                  <a:pt x="12" y="6"/>
                </a:cubicBezTo>
                <a:cubicBezTo>
                  <a:pt x="12" y="125"/>
                  <a:pt x="12" y="125"/>
                  <a:pt x="12" y="125"/>
                </a:cubicBezTo>
                <a:cubicBezTo>
                  <a:pt x="12" y="128"/>
                  <a:pt x="9" y="131"/>
                  <a:pt x="6" y="13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400" dirty="0"/>
          </a:p>
        </p:txBody>
      </p:sp>
      <p:sp>
        <p:nvSpPr>
          <p:cNvPr id="84" name="Freeform 850">
            <a:extLst>
              <a:ext uri="{FF2B5EF4-FFF2-40B4-BE49-F238E27FC236}">
                <a16:creationId xmlns:a16="http://schemas.microsoft.com/office/drawing/2014/main" id="{146C9B74-C802-C0DB-9207-3463E61D70EC}"/>
              </a:ext>
            </a:extLst>
          </p:cNvPr>
          <p:cNvSpPr>
            <a:spLocks/>
          </p:cNvSpPr>
          <p:nvPr/>
        </p:nvSpPr>
        <p:spPr bwMode="auto">
          <a:xfrm>
            <a:off x="9197157" y="2984306"/>
            <a:ext cx="11470" cy="100238"/>
          </a:xfrm>
          <a:custGeom>
            <a:avLst/>
            <a:gdLst>
              <a:gd name="T0" fmla="*/ 7 w 13"/>
              <a:gd name="T1" fmla="*/ 93 h 93"/>
              <a:gd name="T2" fmla="*/ 0 w 13"/>
              <a:gd name="T3" fmla="*/ 87 h 93"/>
              <a:gd name="T4" fmla="*/ 0 w 13"/>
              <a:gd name="T5" fmla="*/ 6 h 93"/>
              <a:gd name="T6" fmla="*/ 7 w 13"/>
              <a:gd name="T7" fmla="*/ 0 h 93"/>
              <a:gd name="T8" fmla="*/ 13 w 13"/>
              <a:gd name="T9" fmla="*/ 6 h 93"/>
              <a:gd name="T10" fmla="*/ 13 w 13"/>
              <a:gd name="T11" fmla="*/ 87 h 93"/>
              <a:gd name="T12" fmla="*/ 7 w 13"/>
              <a:gd name="T13" fmla="*/ 93 h 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3" h="93">
                <a:moveTo>
                  <a:pt x="7" y="93"/>
                </a:moveTo>
                <a:cubicBezTo>
                  <a:pt x="3" y="93"/>
                  <a:pt x="0" y="90"/>
                  <a:pt x="0" y="87"/>
                </a:cubicBezTo>
                <a:cubicBezTo>
                  <a:pt x="0" y="6"/>
                  <a:pt x="0" y="6"/>
                  <a:pt x="0" y="6"/>
                </a:cubicBezTo>
                <a:cubicBezTo>
                  <a:pt x="0" y="3"/>
                  <a:pt x="3" y="0"/>
                  <a:pt x="7" y="0"/>
                </a:cubicBezTo>
                <a:cubicBezTo>
                  <a:pt x="10" y="0"/>
                  <a:pt x="13" y="3"/>
                  <a:pt x="13" y="6"/>
                </a:cubicBezTo>
                <a:cubicBezTo>
                  <a:pt x="13" y="87"/>
                  <a:pt x="13" y="87"/>
                  <a:pt x="13" y="87"/>
                </a:cubicBezTo>
                <a:cubicBezTo>
                  <a:pt x="13" y="90"/>
                  <a:pt x="10" y="93"/>
                  <a:pt x="7" y="9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400" dirty="0"/>
          </a:p>
        </p:txBody>
      </p:sp>
      <p:sp>
        <p:nvSpPr>
          <p:cNvPr id="85" name="Freeform 851">
            <a:extLst>
              <a:ext uri="{FF2B5EF4-FFF2-40B4-BE49-F238E27FC236}">
                <a16:creationId xmlns:a16="http://schemas.microsoft.com/office/drawing/2014/main" id="{7983F722-30FA-AF1D-070B-72ED044D8A79}"/>
              </a:ext>
            </a:extLst>
          </p:cNvPr>
          <p:cNvSpPr>
            <a:spLocks/>
          </p:cNvSpPr>
          <p:nvPr/>
        </p:nvSpPr>
        <p:spPr bwMode="auto">
          <a:xfrm>
            <a:off x="9300390" y="2984306"/>
            <a:ext cx="15294" cy="100238"/>
          </a:xfrm>
          <a:custGeom>
            <a:avLst/>
            <a:gdLst>
              <a:gd name="T0" fmla="*/ 6 w 12"/>
              <a:gd name="T1" fmla="*/ 93 h 93"/>
              <a:gd name="T2" fmla="*/ 0 w 12"/>
              <a:gd name="T3" fmla="*/ 87 h 93"/>
              <a:gd name="T4" fmla="*/ 0 w 12"/>
              <a:gd name="T5" fmla="*/ 6 h 93"/>
              <a:gd name="T6" fmla="*/ 6 w 12"/>
              <a:gd name="T7" fmla="*/ 0 h 93"/>
              <a:gd name="T8" fmla="*/ 12 w 12"/>
              <a:gd name="T9" fmla="*/ 6 h 93"/>
              <a:gd name="T10" fmla="*/ 12 w 12"/>
              <a:gd name="T11" fmla="*/ 87 h 93"/>
              <a:gd name="T12" fmla="*/ 6 w 12"/>
              <a:gd name="T13" fmla="*/ 93 h 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2" h="93">
                <a:moveTo>
                  <a:pt x="6" y="93"/>
                </a:moveTo>
                <a:cubicBezTo>
                  <a:pt x="3" y="93"/>
                  <a:pt x="0" y="90"/>
                  <a:pt x="0" y="87"/>
                </a:cubicBezTo>
                <a:cubicBezTo>
                  <a:pt x="0" y="6"/>
                  <a:pt x="0" y="6"/>
                  <a:pt x="0" y="6"/>
                </a:cubicBezTo>
                <a:cubicBezTo>
                  <a:pt x="0" y="3"/>
                  <a:pt x="3" y="0"/>
                  <a:pt x="6" y="0"/>
                </a:cubicBezTo>
                <a:cubicBezTo>
                  <a:pt x="9" y="0"/>
                  <a:pt x="12" y="3"/>
                  <a:pt x="12" y="6"/>
                </a:cubicBezTo>
                <a:cubicBezTo>
                  <a:pt x="12" y="87"/>
                  <a:pt x="12" y="87"/>
                  <a:pt x="12" y="87"/>
                </a:cubicBezTo>
                <a:cubicBezTo>
                  <a:pt x="12" y="90"/>
                  <a:pt x="9" y="93"/>
                  <a:pt x="6" y="9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400" dirty="0"/>
          </a:p>
        </p:txBody>
      </p:sp>
      <p:sp>
        <p:nvSpPr>
          <p:cNvPr id="86" name="Shape8_20220427_135811">
            <a:extLst>
              <a:ext uri="{FF2B5EF4-FFF2-40B4-BE49-F238E27FC236}">
                <a16:creationId xmlns:a16="http://schemas.microsoft.com/office/drawing/2014/main" id="{95EFC815-10EF-AD5F-8464-120624105028}"/>
              </a:ext>
            </a:extLst>
          </p:cNvPr>
          <p:cNvSpPr txBox="1">
            <a:spLocks/>
          </p:cNvSpPr>
          <p:nvPr/>
        </p:nvSpPr>
        <p:spPr>
          <a:xfrm>
            <a:off x="6276489" y="5180127"/>
            <a:ext cx="1843875" cy="215444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501427">
              <a:spcBef>
                <a:spcPct val="0"/>
              </a:spcBef>
              <a:defRPr/>
            </a:pPr>
            <a:r>
              <a:rPr lang="en-US" sz="1400" dirty="0">
                <a:solidFill>
                  <a:schemeClr val="tx1">
                    <a:lumMod val="100000"/>
                  </a:schemeClr>
                </a:solidFill>
              </a:rPr>
              <a:t>Title</a:t>
            </a:r>
          </a:p>
        </p:txBody>
      </p:sp>
      <p:sp>
        <p:nvSpPr>
          <p:cNvPr id="87" name="Shape9_20220427_135811">
            <a:extLst>
              <a:ext uri="{FF2B5EF4-FFF2-40B4-BE49-F238E27FC236}">
                <a16:creationId xmlns:a16="http://schemas.microsoft.com/office/drawing/2014/main" id="{A11C684A-8148-5299-4980-1EC544B80BCA}"/>
              </a:ext>
            </a:extLst>
          </p:cNvPr>
          <p:cNvSpPr txBox="1">
            <a:spLocks/>
          </p:cNvSpPr>
          <p:nvPr/>
        </p:nvSpPr>
        <p:spPr>
          <a:xfrm>
            <a:off x="6276489" y="5410048"/>
            <a:ext cx="1843875" cy="21544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501427">
              <a:spcBef>
                <a:spcPct val="0"/>
              </a:spcBef>
              <a:defRPr/>
            </a:pPr>
            <a:r>
              <a:rPr lang="en-US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88" name="Shape0_20221012_144847">
            <a:extLst>
              <a:ext uri="{FF2B5EF4-FFF2-40B4-BE49-F238E27FC236}">
                <a16:creationId xmlns:a16="http://schemas.microsoft.com/office/drawing/2014/main" id="{798E7FBC-31B6-22C5-6E7D-9AE4C270C581}"/>
              </a:ext>
            </a:extLst>
          </p:cNvPr>
          <p:cNvSpPr/>
          <p:nvPr/>
        </p:nvSpPr>
        <p:spPr>
          <a:xfrm>
            <a:off x="5168003" y="4958847"/>
            <a:ext cx="855949" cy="855949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IN" sz="2400" dirty="0">
              <a:solidFill>
                <a:prstClr val="white"/>
              </a:solidFill>
            </a:endParaRPr>
          </a:p>
        </p:txBody>
      </p:sp>
      <p:sp>
        <p:nvSpPr>
          <p:cNvPr id="89" name="Shape10_20220427_135811">
            <a:extLst>
              <a:ext uri="{FF2B5EF4-FFF2-40B4-BE49-F238E27FC236}">
                <a16:creationId xmlns:a16="http://schemas.microsoft.com/office/drawing/2014/main" id="{C19AA1E2-9A71-677C-36FC-68FDCADFBA4C}"/>
              </a:ext>
            </a:extLst>
          </p:cNvPr>
          <p:cNvSpPr txBox="1">
            <a:spLocks/>
          </p:cNvSpPr>
          <p:nvPr/>
        </p:nvSpPr>
        <p:spPr>
          <a:xfrm>
            <a:off x="9936937" y="5180127"/>
            <a:ext cx="1843875" cy="215444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501427">
              <a:spcBef>
                <a:spcPct val="0"/>
              </a:spcBef>
              <a:defRPr/>
            </a:pPr>
            <a:r>
              <a:rPr lang="en-US" sz="1400" dirty="0">
                <a:solidFill>
                  <a:schemeClr val="tx1">
                    <a:lumMod val="100000"/>
                  </a:schemeClr>
                </a:solidFill>
              </a:rPr>
              <a:t>Title</a:t>
            </a:r>
          </a:p>
        </p:txBody>
      </p:sp>
      <p:sp>
        <p:nvSpPr>
          <p:cNvPr id="90" name="Shape11_20220427_135811">
            <a:extLst>
              <a:ext uri="{FF2B5EF4-FFF2-40B4-BE49-F238E27FC236}">
                <a16:creationId xmlns:a16="http://schemas.microsoft.com/office/drawing/2014/main" id="{D88680BF-D6C1-729E-3104-1C08468496B2}"/>
              </a:ext>
            </a:extLst>
          </p:cNvPr>
          <p:cNvSpPr txBox="1">
            <a:spLocks/>
          </p:cNvSpPr>
          <p:nvPr/>
        </p:nvSpPr>
        <p:spPr>
          <a:xfrm>
            <a:off x="9936937" y="5410048"/>
            <a:ext cx="1843875" cy="21544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501427">
              <a:spcBef>
                <a:spcPct val="0"/>
              </a:spcBef>
              <a:defRPr/>
            </a:pPr>
            <a:r>
              <a:rPr lang="en-US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91" name="Shape5_20221012_144847">
            <a:extLst>
              <a:ext uri="{FF2B5EF4-FFF2-40B4-BE49-F238E27FC236}">
                <a16:creationId xmlns:a16="http://schemas.microsoft.com/office/drawing/2014/main" id="{C5C5C959-A293-1A00-B779-B365EC652715}"/>
              </a:ext>
            </a:extLst>
          </p:cNvPr>
          <p:cNvSpPr/>
          <p:nvPr/>
        </p:nvSpPr>
        <p:spPr>
          <a:xfrm>
            <a:off x="8828446" y="4958847"/>
            <a:ext cx="855949" cy="855949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000000"/>
                </a:solidFill>
              </a:rPr>
              <a:t> </a:t>
            </a:r>
            <a:endParaRPr lang="en-IN" sz="1400" dirty="0">
              <a:solidFill>
                <a:srgbClr val="000000"/>
              </a:solidFill>
            </a:endParaRPr>
          </a:p>
        </p:txBody>
      </p:sp>
      <p:sp>
        <p:nvSpPr>
          <p:cNvPr id="92" name="Freeform 44">
            <a:extLst>
              <a:ext uri="{FF2B5EF4-FFF2-40B4-BE49-F238E27FC236}">
                <a16:creationId xmlns:a16="http://schemas.microsoft.com/office/drawing/2014/main" id="{F753F9FE-8C80-3745-DA68-113743AB9C35}"/>
              </a:ext>
            </a:extLst>
          </p:cNvPr>
          <p:cNvSpPr>
            <a:spLocks noEditPoints="1"/>
          </p:cNvSpPr>
          <p:nvPr/>
        </p:nvSpPr>
        <p:spPr bwMode="auto">
          <a:xfrm>
            <a:off x="5477106" y="5269807"/>
            <a:ext cx="234029" cy="234032"/>
          </a:xfrm>
          <a:custGeom>
            <a:avLst/>
            <a:gdLst>
              <a:gd name="T0" fmla="*/ 114 w 228"/>
              <a:gd name="T1" fmla="*/ 228 h 228"/>
              <a:gd name="T2" fmla="*/ 0 w 228"/>
              <a:gd name="T3" fmla="*/ 114 h 228"/>
              <a:gd name="T4" fmla="*/ 114 w 228"/>
              <a:gd name="T5" fmla="*/ 0 h 228"/>
              <a:gd name="T6" fmla="*/ 228 w 228"/>
              <a:gd name="T7" fmla="*/ 114 h 228"/>
              <a:gd name="T8" fmla="*/ 114 w 228"/>
              <a:gd name="T9" fmla="*/ 228 h 228"/>
              <a:gd name="T10" fmla="*/ 114 w 228"/>
              <a:gd name="T11" fmla="*/ 12 h 228"/>
              <a:gd name="T12" fmla="*/ 12 w 228"/>
              <a:gd name="T13" fmla="*/ 114 h 228"/>
              <a:gd name="T14" fmla="*/ 114 w 228"/>
              <a:gd name="T15" fmla="*/ 216 h 228"/>
              <a:gd name="T16" fmla="*/ 216 w 228"/>
              <a:gd name="T17" fmla="*/ 114 h 228"/>
              <a:gd name="T18" fmla="*/ 114 w 228"/>
              <a:gd name="T19" fmla="*/ 12 h 2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28" h="228">
                <a:moveTo>
                  <a:pt x="114" y="228"/>
                </a:moveTo>
                <a:cubicBezTo>
                  <a:pt x="51" y="228"/>
                  <a:pt x="0" y="177"/>
                  <a:pt x="0" y="114"/>
                </a:cubicBezTo>
                <a:cubicBezTo>
                  <a:pt x="0" y="51"/>
                  <a:pt x="51" y="0"/>
                  <a:pt x="114" y="0"/>
                </a:cubicBezTo>
                <a:cubicBezTo>
                  <a:pt x="177" y="0"/>
                  <a:pt x="228" y="51"/>
                  <a:pt x="228" y="114"/>
                </a:cubicBezTo>
                <a:cubicBezTo>
                  <a:pt x="228" y="177"/>
                  <a:pt x="177" y="228"/>
                  <a:pt x="114" y="228"/>
                </a:cubicBezTo>
                <a:close/>
                <a:moveTo>
                  <a:pt x="114" y="12"/>
                </a:moveTo>
                <a:cubicBezTo>
                  <a:pt x="58" y="12"/>
                  <a:pt x="12" y="58"/>
                  <a:pt x="12" y="114"/>
                </a:cubicBezTo>
                <a:cubicBezTo>
                  <a:pt x="12" y="170"/>
                  <a:pt x="58" y="216"/>
                  <a:pt x="114" y="216"/>
                </a:cubicBezTo>
                <a:cubicBezTo>
                  <a:pt x="170" y="216"/>
                  <a:pt x="216" y="170"/>
                  <a:pt x="216" y="114"/>
                </a:cubicBezTo>
                <a:cubicBezTo>
                  <a:pt x="216" y="58"/>
                  <a:pt x="170" y="12"/>
                  <a:pt x="114" y="1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400" dirty="0"/>
          </a:p>
        </p:txBody>
      </p:sp>
      <p:sp>
        <p:nvSpPr>
          <p:cNvPr id="93" name="Freeform 45">
            <a:extLst>
              <a:ext uri="{FF2B5EF4-FFF2-40B4-BE49-F238E27FC236}">
                <a16:creationId xmlns:a16="http://schemas.microsoft.com/office/drawing/2014/main" id="{5255CBD9-5DB4-8D4B-DE9E-0A734A515921}"/>
              </a:ext>
            </a:extLst>
          </p:cNvPr>
          <p:cNvSpPr>
            <a:spLocks noEditPoints="1"/>
          </p:cNvSpPr>
          <p:nvPr/>
        </p:nvSpPr>
        <p:spPr bwMode="auto">
          <a:xfrm>
            <a:off x="5373091" y="5165792"/>
            <a:ext cx="445770" cy="442059"/>
          </a:xfrm>
          <a:custGeom>
            <a:avLst/>
            <a:gdLst>
              <a:gd name="T0" fmla="*/ 204 w 432"/>
              <a:gd name="T1" fmla="*/ 432 h 432"/>
              <a:gd name="T2" fmla="*/ 172 w 432"/>
              <a:gd name="T3" fmla="*/ 379 h 432"/>
              <a:gd name="T4" fmla="*/ 116 w 432"/>
              <a:gd name="T5" fmla="*/ 378 h 432"/>
              <a:gd name="T6" fmla="*/ 54 w 432"/>
              <a:gd name="T7" fmla="*/ 360 h 432"/>
              <a:gd name="T8" fmla="*/ 54 w 432"/>
              <a:gd name="T9" fmla="*/ 316 h 432"/>
              <a:gd name="T10" fmla="*/ 53 w 432"/>
              <a:gd name="T11" fmla="*/ 260 h 432"/>
              <a:gd name="T12" fmla="*/ 0 w 432"/>
              <a:gd name="T13" fmla="*/ 228 h 432"/>
              <a:gd name="T14" fmla="*/ 31 w 432"/>
              <a:gd name="T15" fmla="*/ 172 h 432"/>
              <a:gd name="T16" fmla="*/ 70 w 432"/>
              <a:gd name="T17" fmla="*/ 132 h 432"/>
              <a:gd name="T18" fmla="*/ 45 w 432"/>
              <a:gd name="T19" fmla="*/ 94 h 432"/>
              <a:gd name="T20" fmla="*/ 72 w 432"/>
              <a:gd name="T21" fmla="*/ 54 h 432"/>
              <a:gd name="T22" fmla="*/ 132 w 432"/>
              <a:gd name="T23" fmla="*/ 70 h 432"/>
              <a:gd name="T24" fmla="*/ 172 w 432"/>
              <a:gd name="T25" fmla="*/ 31 h 432"/>
              <a:gd name="T26" fmla="*/ 229 w 432"/>
              <a:gd name="T27" fmla="*/ 0 h 432"/>
              <a:gd name="T28" fmla="*/ 260 w 432"/>
              <a:gd name="T29" fmla="*/ 53 h 432"/>
              <a:gd name="T30" fmla="*/ 316 w 432"/>
              <a:gd name="T31" fmla="*/ 54 h 432"/>
              <a:gd name="T32" fmla="*/ 378 w 432"/>
              <a:gd name="T33" fmla="*/ 72 h 432"/>
              <a:gd name="T34" fmla="*/ 378 w 432"/>
              <a:gd name="T35" fmla="*/ 116 h 432"/>
              <a:gd name="T36" fmla="*/ 379 w 432"/>
              <a:gd name="T37" fmla="*/ 172 h 432"/>
              <a:gd name="T38" fmla="*/ 432 w 432"/>
              <a:gd name="T39" fmla="*/ 203 h 432"/>
              <a:gd name="T40" fmla="*/ 401 w 432"/>
              <a:gd name="T41" fmla="*/ 260 h 432"/>
              <a:gd name="T42" fmla="*/ 362 w 432"/>
              <a:gd name="T43" fmla="*/ 300 h 432"/>
              <a:gd name="T44" fmla="*/ 387 w 432"/>
              <a:gd name="T45" fmla="*/ 338 h 432"/>
              <a:gd name="T46" fmla="*/ 360 w 432"/>
              <a:gd name="T47" fmla="*/ 378 h 432"/>
              <a:gd name="T48" fmla="*/ 300 w 432"/>
              <a:gd name="T49" fmla="*/ 362 h 432"/>
              <a:gd name="T50" fmla="*/ 260 w 432"/>
              <a:gd name="T51" fmla="*/ 401 h 432"/>
              <a:gd name="T52" fmla="*/ 131 w 432"/>
              <a:gd name="T53" fmla="*/ 348 h 432"/>
              <a:gd name="T54" fmla="*/ 180 w 432"/>
              <a:gd name="T55" fmla="*/ 368 h 432"/>
              <a:gd name="T56" fmla="*/ 185 w 432"/>
              <a:gd name="T57" fmla="*/ 401 h 432"/>
              <a:gd name="T58" fmla="*/ 229 w 432"/>
              <a:gd name="T59" fmla="*/ 420 h 432"/>
              <a:gd name="T60" fmla="*/ 248 w 432"/>
              <a:gd name="T61" fmla="*/ 374 h 432"/>
              <a:gd name="T62" fmla="*/ 298 w 432"/>
              <a:gd name="T63" fmla="*/ 349 h 432"/>
              <a:gd name="T64" fmla="*/ 325 w 432"/>
              <a:gd name="T65" fmla="*/ 369 h 432"/>
              <a:gd name="T66" fmla="*/ 369 w 432"/>
              <a:gd name="T67" fmla="*/ 351 h 432"/>
              <a:gd name="T68" fmla="*/ 351 w 432"/>
              <a:gd name="T69" fmla="*/ 306 h 432"/>
              <a:gd name="T70" fmla="*/ 349 w 432"/>
              <a:gd name="T71" fmla="*/ 298 h 432"/>
              <a:gd name="T72" fmla="*/ 374 w 432"/>
              <a:gd name="T73" fmla="*/ 247 h 432"/>
              <a:gd name="T74" fmla="*/ 420 w 432"/>
              <a:gd name="T75" fmla="*/ 228 h 432"/>
              <a:gd name="T76" fmla="*/ 401 w 432"/>
              <a:gd name="T77" fmla="*/ 184 h 432"/>
              <a:gd name="T78" fmla="*/ 368 w 432"/>
              <a:gd name="T79" fmla="*/ 180 h 432"/>
              <a:gd name="T80" fmla="*/ 350 w 432"/>
              <a:gd name="T81" fmla="*/ 126 h 432"/>
              <a:gd name="T82" fmla="*/ 369 w 432"/>
              <a:gd name="T83" fmla="*/ 80 h 432"/>
              <a:gd name="T84" fmla="*/ 325 w 432"/>
              <a:gd name="T85" fmla="*/ 63 h 432"/>
              <a:gd name="T86" fmla="*/ 298 w 432"/>
              <a:gd name="T87" fmla="*/ 83 h 432"/>
              <a:gd name="T88" fmla="*/ 248 w 432"/>
              <a:gd name="T89" fmla="*/ 58 h 432"/>
              <a:gd name="T90" fmla="*/ 229 w 432"/>
              <a:gd name="T91" fmla="*/ 12 h 432"/>
              <a:gd name="T92" fmla="*/ 185 w 432"/>
              <a:gd name="T93" fmla="*/ 31 h 432"/>
              <a:gd name="T94" fmla="*/ 180 w 432"/>
              <a:gd name="T95" fmla="*/ 64 h 432"/>
              <a:gd name="T96" fmla="*/ 127 w 432"/>
              <a:gd name="T97" fmla="*/ 82 h 432"/>
              <a:gd name="T98" fmla="*/ 81 w 432"/>
              <a:gd name="T99" fmla="*/ 63 h 432"/>
              <a:gd name="T100" fmla="*/ 57 w 432"/>
              <a:gd name="T101" fmla="*/ 94 h 432"/>
              <a:gd name="T102" fmla="*/ 82 w 432"/>
              <a:gd name="T103" fmla="*/ 126 h 432"/>
              <a:gd name="T104" fmla="*/ 64 w 432"/>
              <a:gd name="T105" fmla="*/ 180 h 432"/>
              <a:gd name="T106" fmla="*/ 31 w 432"/>
              <a:gd name="T107" fmla="*/ 184 h 432"/>
              <a:gd name="T108" fmla="*/ 12 w 432"/>
              <a:gd name="T109" fmla="*/ 228 h 432"/>
              <a:gd name="T110" fmla="*/ 58 w 432"/>
              <a:gd name="T111" fmla="*/ 247 h 432"/>
              <a:gd name="T112" fmla="*/ 83 w 432"/>
              <a:gd name="T113" fmla="*/ 298 h 432"/>
              <a:gd name="T114" fmla="*/ 82 w 432"/>
              <a:gd name="T115" fmla="*/ 306 h 432"/>
              <a:gd name="T116" fmla="*/ 57 w 432"/>
              <a:gd name="T117" fmla="*/ 338 h 432"/>
              <a:gd name="T118" fmla="*/ 81 w 432"/>
              <a:gd name="T119" fmla="*/ 369 h 432"/>
              <a:gd name="T120" fmla="*/ 126 w 432"/>
              <a:gd name="T121" fmla="*/ 350 h 4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432" h="432">
                <a:moveTo>
                  <a:pt x="229" y="432"/>
                </a:moveTo>
                <a:cubicBezTo>
                  <a:pt x="204" y="432"/>
                  <a:pt x="204" y="432"/>
                  <a:pt x="204" y="432"/>
                </a:cubicBezTo>
                <a:cubicBezTo>
                  <a:pt x="186" y="432"/>
                  <a:pt x="172" y="418"/>
                  <a:pt x="172" y="401"/>
                </a:cubicBezTo>
                <a:cubicBezTo>
                  <a:pt x="172" y="379"/>
                  <a:pt x="172" y="379"/>
                  <a:pt x="172" y="379"/>
                </a:cubicBezTo>
                <a:cubicBezTo>
                  <a:pt x="158" y="375"/>
                  <a:pt x="145" y="369"/>
                  <a:pt x="132" y="362"/>
                </a:cubicBezTo>
                <a:cubicBezTo>
                  <a:pt x="116" y="378"/>
                  <a:pt x="116" y="378"/>
                  <a:pt x="116" y="378"/>
                </a:cubicBezTo>
                <a:cubicBezTo>
                  <a:pt x="104" y="390"/>
                  <a:pt x="84" y="390"/>
                  <a:pt x="72" y="378"/>
                </a:cubicBezTo>
                <a:cubicBezTo>
                  <a:pt x="54" y="360"/>
                  <a:pt x="54" y="360"/>
                  <a:pt x="54" y="360"/>
                </a:cubicBezTo>
                <a:cubicBezTo>
                  <a:pt x="48" y="354"/>
                  <a:pt x="45" y="346"/>
                  <a:pt x="45" y="338"/>
                </a:cubicBezTo>
                <a:cubicBezTo>
                  <a:pt x="45" y="329"/>
                  <a:pt x="48" y="322"/>
                  <a:pt x="54" y="316"/>
                </a:cubicBezTo>
                <a:cubicBezTo>
                  <a:pt x="70" y="300"/>
                  <a:pt x="70" y="300"/>
                  <a:pt x="70" y="300"/>
                </a:cubicBezTo>
                <a:cubicBezTo>
                  <a:pt x="63" y="287"/>
                  <a:pt x="57" y="274"/>
                  <a:pt x="53" y="260"/>
                </a:cubicBezTo>
                <a:cubicBezTo>
                  <a:pt x="31" y="260"/>
                  <a:pt x="31" y="260"/>
                  <a:pt x="31" y="260"/>
                </a:cubicBezTo>
                <a:cubicBezTo>
                  <a:pt x="14" y="260"/>
                  <a:pt x="0" y="246"/>
                  <a:pt x="0" y="228"/>
                </a:cubicBezTo>
                <a:cubicBezTo>
                  <a:pt x="0" y="203"/>
                  <a:pt x="0" y="203"/>
                  <a:pt x="0" y="203"/>
                </a:cubicBezTo>
                <a:cubicBezTo>
                  <a:pt x="0" y="186"/>
                  <a:pt x="14" y="172"/>
                  <a:pt x="31" y="172"/>
                </a:cubicBezTo>
                <a:cubicBezTo>
                  <a:pt x="53" y="172"/>
                  <a:pt x="53" y="172"/>
                  <a:pt x="53" y="172"/>
                </a:cubicBezTo>
                <a:cubicBezTo>
                  <a:pt x="57" y="158"/>
                  <a:pt x="63" y="144"/>
                  <a:pt x="70" y="132"/>
                </a:cubicBezTo>
                <a:cubicBezTo>
                  <a:pt x="54" y="116"/>
                  <a:pt x="54" y="116"/>
                  <a:pt x="54" y="116"/>
                </a:cubicBezTo>
                <a:cubicBezTo>
                  <a:pt x="48" y="110"/>
                  <a:pt x="45" y="102"/>
                  <a:pt x="45" y="94"/>
                </a:cubicBezTo>
                <a:cubicBezTo>
                  <a:pt x="45" y="85"/>
                  <a:pt x="48" y="78"/>
                  <a:pt x="54" y="72"/>
                </a:cubicBezTo>
                <a:cubicBezTo>
                  <a:pt x="72" y="54"/>
                  <a:pt x="72" y="54"/>
                  <a:pt x="72" y="54"/>
                </a:cubicBezTo>
                <a:cubicBezTo>
                  <a:pt x="84" y="42"/>
                  <a:pt x="104" y="42"/>
                  <a:pt x="116" y="54"/>
                </a:cubicBezTo>
                <a:cubicBezTo>
                  <a:pt x="132" y="70"/>
                  <a:pt x="132" y="70"/>
                  <a:pt x="132" y="70"/>
                </a:cubicBezTo>
                <a:cubicBezTo>
                  <a:pt x="145" y="62"/>
                  <a:pt x="158" y="57"/>
                  <a:pt x="172" y="53"/>
                </a:cubicBezTo>
                <a:cubicBezTo>
                  <a:pt x="172" y="31"/>
                  <a:pt x="172" y="31"/>
                  <a:pt x="172" y="31"/>
                </a:cubicBezTo>
                <a:cubicBezTo>
                  <a:pt x="172" y="14"/>
                  <a:pt x="186" y="0"/>
                  <a:pt x="204" y="0"/>
                </a:cubicBezTo>
                <a:cubicBezTo>
                  <a:pt x="229" y="0"/>
                  <a:pt x="229" y="0"/>
                  <a:pt x="229" y="0"/>
                </a:cubicBezTo>
                <a:cubicBezTo>
                  <a:pt x="246" y="0"/>
                  <a:pt x="260" y="14"/>
                  <a:pt x="260" y="31"/>
                </a:cubicBezTo>
                <a:cubicBezTo>
                  <a:pt x="260" y="53"/>
                  <a:pt x="260" y="53"/>
                  <a:pt x="260" y="53"/>
                </a:cubicBezTo>
                <a:cubicBezTo>
                  <a:pt x="274" y="57"/>
                  <a:pt x="288" y="62"/>
                  <a:pt x="300" y="70"/>
                </a:cubicBezTo>
                <a:cubicBezTo>
                  <a:pt x="316" y="54"/>
                  <a:pt x="316" y="54"/>
                  <a:pt x="316" y="54"/>
                </a:cubicBezTo>
                <a:cubicBezTo>
                  <a:pt x="328" y="42"/>
                  <a:pt x="348" y="42"/>
                  <a:pt x="360" y="54"/>
                </a:cubicBezTo>
                <a:cubicBezTo>
                  <a:pt x="378" y="72"/>
                  <a:pt x="378" y="72"/>
                  <a:pt x="378" y="72"/>
                </a:cubicBezTo>
                <a:cubicBezTo>
                  <a:pt x="384" y="78"/>
                  <a:pt x="387" y="85"/>
                  <a:pt x="387" y="94"/>
                </a:cubicBezTo>
                <a:cubicBezTo>
                  <a:pt x="387" y="102"/>
                  <a:pt x="384" y="110"/>
                  <a:pt x="378" y="116"/>
                </a:cubicBezTo>
                <a:cubicBezTo>
                  <a:pt x="362" y="132"/>
                  <a:pt x="362" y="132"/>
                  <a:pt x="362" y="132"/>
                </a:cubicBezTo>
                <a:cubicBezTo>
                  <a:pt x="370" y="144"/>
                  <a:pt x="375" y="158"/>
                  <a:pt x="379" y="172"/>
                </a:cubicBezTo>
                <a:cubicBezTo>
                  <a:pt x="401" y="172"/>
                  <a:pt x="401" y="172"/>
                  <a:pt x="401" y="172"/>
                </a:cubicBezTo>
                <a:cubicBezTo>
                  <a:pt x="418" y="172"/>
                  <a:pt x="432" y="186"/>
                  <a:pt x="432" y="203"/>
                </a:cubicBezTo>
                <a:cubicBezTo>
                  <a:pt x="432" y="228"/>
                  <a:pt x="432" y="228"/>
                  <a:pt x="432" y="228"/>
                </a:cubicBezTo>
                <a:cubicBezTo>
                  <a:pt x="432" y="246"/>
                  <a:pt x="418" y="260"/>
                  <a:pt x="401" y="260"/>
                </a:cubicBezTo>
                <a:cubicBezTo>
                  <a:pt x="379" y="260"/>
                  <a:pt x="379" y="260"/>
                  <a:pt x="379" y="260"/>
                </a:cubicBezTo>
                <a:cubicBezTo>
                  <a:pt x="375" y="274"/>
                  <a:pt x="370" y="287"/>
                  <a:pt x="362" y="300"/>
                </a:cubicBezTo>
                <a:cubicBezTo>
                  <a:pt x="378" y="316"/>
                  <a:pt x="378" y="316"/>
                  <a:pt x="378" y="316"/>
                </a:cubicBezTo>
                <a:cubicBezTo>
                  <a:pt x="384" y="322"/>
                  <a:pt x="387" y="329"/>
                  <a:pt x="387" y="338"/>
                </a:cubicBezTo>
                <a:cubicBezTo>
                  <a:pt x="387" y="346"/>
                  <a:pt x="384" y="354"/>
                  <a:pt x="378" y="360"/>
                </a:cubicBezTo>
                <a:cubicBezTo>
                  <a:pt x="360" y="378"/>
                  <a:pt x="360" y="378"/>
                  <a:pt x="360" y="378"/>
                </a:cubicBezTo>
                <a:cubicBezTo>
                  <a:pt x="348" y="390"/>
                  <a:pt x="328" y="390"/>
                  <a:pt x="316" y="378"/>
                </a:cubicBezTo>
                <a:cubicBezTo>
                  <a:pt x="300" y="362"/>
                  <a:pt x="300" y="362"/>
                  <a:pt x="300" y="362"/>
                </a:cubicBezTo>
                <a:cubicBezTo>
                  <a:pt x="288" y="369"/>
                  <a:pt x="274" y="375"/>
                  <a:pt x="260" y="379"/>
                </a:cubicBezTo>
                <a:cubicBezTo>
                  <a:pt x="260" y="401"/>
                  <a:pt x="260" y="401"/>
                  <a:pt x="260" y="401"/>
                </a:cubicBezTo>
                <a:cubicBezTo>
                  <a:pt x="260" y="418"/>
                  <a:pt x="246" y="432"/>
                  <a:pt x="229" y="432"/>
                </a:cubicBezTo>
                <a:close/>
                <a:moveTo>
                  <a:pt x="131" y="348"/>
                </a:moveTo>
                <a:cubicBezTo>
                  <a:pt x="132" y="348"/>
                  <a:pt x="133" y="349"/>
                  <a:pt x="134" y="349"/>
                </a:cubicBezTo>
                <a:cubicBezTo>
                  <a:pt x="148" y="358"/>
                  <a:pt x="164" y="364"/>
                  <a:pt x="180" y="368"/>
                </a:cubicBezTo>
                <a:cubicBezTo>
                  <a:pt x="183" y="369"/>
                  <a:pt x="185" y="371"/>
                  <a:pt x="185" y="374"/>
                </a:cubicBezTo>
                <a:cubicBezTo>
                  <a:pt x="185" y="401"/>
                  <a:pt x="185" y="401"/>
                  <a:pt x="185" y="401"/>
                </a:cubicBezTo>
                <a:cubicBezTo>
                  <a:pt x="185" y="411"/>
                  <a:pt x="193" y="420"/>
                  <a:pt x="204" y="420"/>
                </a:cubicBezTo>
                <a:cubicBezTo>
                  <a:pt x="229" y="420"/>
                  <a:pt x="229" y="420"/>
                  <a:pt x="229" y="420"/>
                </a:cubicBezTo>
                <a:cubicBezTo>
                  <a:pt x="239" y="420"/>
                  <a:pt x="248" y="411"/>
                  <a:pt x="248" y="401"/>
                </a:cubicBezTo>
                <a:cubicBezTo>
                  <a:pt x="248" y="374"/>
                  <a:pt x="248" y="374"/>
                  <a:pt x="248" y="374"/>
                </a:cubicBezTo>
                <a:cubicBezTo>
                  <a:pt x="248" y="371"/>
                  <a:pt x="250" y="369"/>
                  <a:pt x="252" y="368"/>
                </a:cubicBezTo>
                <a:cubicBezTo>
                  <a:pt x="269" y="364"/>
                  <a:pt x="284" y="358"/>
                  <a:pt x="298" y="349"/>
                </a:cubicBezTo>
                <a:cubicBezTo>
                  <a:pt x="301" y="348"/>
                  <a:pt x="304" y="348"/>
                  <a:pt x="306" y="350"/>
                </a:cubicBezTo>
                <a:cubicBezTo>
                  <a:pt x="325" y="369"/>
                  <a:pt x="325" y="369"/>
                  <a:pt x="325" y="369"/>
                </a:cubicBezTo>
                <a:cubicBezTo>
                  <a:pt x="332" y="376"/>
                  <a:pt x="344" y="376"/>
                  <a:pt x="352" y="369"/>
                </a:cubicBezTo>
                <a:cubicBezTo>
                  <a:pt x="369" y="351"/>
                  <a:pt x="369" y="351"/>
                  <a:pt x="369" y="351"/>
                </a:cubicBezTo>
                <a:cubicBezTo>
                  <a:pt x="377" y="344"/>
                  <a:pt x="377" y="332"/>
                  <a:pt x="369" y="324"/>
                </a:cubicBezTo>
                <a:cubicBezTo>
                  <a:pt x="351" y="306"/>
                  <a:pt x="351" y="306"/>
                  <a:pt x="351" y="306"/>
                </a:cubicBezTo>
                <a:cubicBezTo>
                  <a:pt x="349" y="304"/>
                  <a:pt x="348" y="302"/>
                  <a:pt x="349" y="299"/>
                </a:cubicBezTo>
                <a:cubicBezTo>
                  <a:pt x="349" y="299"/>
                  <a:pt x="349" y="298"/>
                  <a:pt x="349" y="298"/>
                </a:cubicBezTo>
                <a:cubicBezTo>
                  <a:pt x="358" y="284"/>
                  <a:pt x="364" y="268"/>
                  <a:pt x="368" y="252"/>
                </a:cubicBezTo>
                <a:cubicBezTo>
                  <a:pt x="369" y="249"/>
                  <a:pt x="371" y="247"/>
                  <a:pt x="374" y="247"/>
                </a:cubicBezTo>
                <a:cubicBezTo>
                  <a:pt x="401" y="247"/>
                  <a:pt x="401" y="247"/>
                  <a:pt x="401" y="247"/>
                </a:cubicBezTo>
                <a:cubicBezTo>
                  <a:pt x="412" y="247"/>
                  <a:pt x="420" y="239"/>
                  <a:pt x="420" y="228"/>
                </a:cubicBezTo>
                <a:cubicBezTo>
                  <a:pt x="420" y="203"/>
                  <a:pt x="420" y="203"/>
                  <a:pt x="420" y="203"/>
                </a:cubicBezTo>
                <a:cubicBezTo>
                  <a:pt x="420" y="193"/>
                  <a:pt x="412" y="184"/>
                  <a:pt x="401" y="184"/>
                </a:cubicBezTo>
                <a:cubicBezTo>
                  <a:pt x="374" y="184"/>
                  <a:pt x="374" y="184"/>
                  <a:pt x="374" y="184"/>
                </a:cubicBezTo>
                <a:cubicBezTo>
                  <a:pt x="371" y="184"/>
                  <a:pt x="369" y="182"/>
                  <a:pt x="368" y="180"/>
                </a:cubicBezTo>
                <a:cubicBezTo>
                  <a:pt x="364" y="163"/>
                  <a:pt x="358" y="148"/>
                  <a:pt x="349" y="134"/>
                </a:cubicBezTo>
                <a:cubicBezTo>
                  <a:pt x="348" y="131"/>
                  <a:pt x="348" y="128"/>
                  <a:pt x="350" y="126"/>
                </a:cubicBezTo>
                <a:cubicBezTo>
                  <a:pt x="369" y="107"/>
                  <a:pt x="369" y="107"/>
                  <a:pt x="369" y="107"/>
                </a:cubicBezTo>
                <a:cubicBezTo>
                  <a:pt x="377" y="100"/>
                  <a:pt x="377" y="88"/>
                  <a:pt x="369" y="80"/>
                </a:cubicBezTo>
                <a:cubicBezTo>
                  <a:pt x="352" y="63"/>
                  <a:pt x="352" y="63"/>
                  <a:pt x="352" y="63"/>
                </a:cubicBezTo>
                <a:cubicBezTo>
                  <a:pt x="344" y="55"/>
                  <a:pt x="332" y="55"/>
                  <a:pt x="325" y="63"/>
                </a:cubicBezTo>
                <a:cubicBezTo>
                  <a:pt x="306" y="82"/>
                  <a:pt x="306" y="82"/>
                  <a:pt x="306" y="82"/>
                </a:cubicBezTo>
                <a:cubicBezTo>
                  <a:pt x="304" y="84"/>
                  <a:pt x="300" y="84"/>
                  <a:pt x="298" y="83"/>
                </a:cubicBezTo>
                <a:cubicBezTo>
                  <a:pt x="284" y="74"/>
                  <a:pt x="269" y="68"/>
                  <a:pt x="252" y="64"/>
                </a:cubicBezTo>
                <a:cubicBezTo>
                  <a:pt x="250" y="63"/>
                  <a:pt x="248" y="61"/>
                  <a:pt x="248" y="58"/>
                </a:cubicBezTo>
                <a:cubicBezTo>
                  <a:pt x="248" y="31"/>
                  <a:pt x="248" y="31"/>
                  <a:pt x="248" y="31"/>
                </a:cubicBezTo>
                <a:cubicBezTo>
                  <a:pt x="248" y="20"/>
                  <a:pt x="239" y="12"/>
                  <a:pt x="229" y="12"/>
                </a:cubicBezTo>
                <a:cubicBezTo>
                  <a:pt x="204" y="12"/>
                  <a:pt x="204" y="12"/>
                  <a:pt x="204" y="12"/>
                </a:cubicBezTo>
                <a:cubicBezTo>
                  <a:pt x="193" y="12"/>
                  <a:pt x="185" y="20"/>
                  <a:pt x="185" y="31"/>
                </a:cubicBezTo>
                <a:cubicBezTo>
                  <a:pt x="185" y="58"/>
                  <a:pt x="185" y="58"/>
                  <a:pt x="185" y="58"/>
                </a:cubicBezTo>
                <a:cubicBezTo>
                  <a:pt x="185" y="61"/>
                  <a:pt x="183" y="63"/>
                  <a:pt x="180" y="64"/>
                </a:cubicBezTo>
                <a:cubicBezTo>
                  <a:pt x="164" y="68"/>
                  <a:pt x="148" y="74"/>
                  <a:pt x="134" y="83"/>
                </a:cubicBezTo>
                <a:cubicBezTo>
                  <a:pt x="132" y="84"/>
                  <a:pt x="129" y="84"/>
                  <a:pt x="127" y="82"/>
                </a:cubicBezTo>
                <a:cubicBezTo>
                  <a:pt x="108" y="63"/>
                  <a:pt x="108" y="63"/>
                  <a:pt x="108" y="63"/>
                </a:cubicBezTo>
                <a:cubicBezTo>
                  <a:pt x="100" y="55"/>
                  <a:pt x="88" y="55"/>
                  <a:pt x="81" y="63"/>
                </a:cubicBezTo>
                <a:cubicBezTo>
                  <a:pt x="63" y="80"/>
                  <a:pt x="63" y="80"/>
                  <a:pt x="63" y="80"/>
                </a:cubicBezTo>
                <a:cubicBezTo>
                  <a:pt x="59" y="84"/>
                  <a:pt x="57" y="89"/>
                  <a:pt x="57" y="94"/>
                </a:cubicBezTo>
                <a:cubicBezTo>
                  <a:pt x="57" y="99"/>
                  <a:pt x="59" y="104"/>
                  <a:pt x="63" y="107"/>
                </a:cubicBezTo>
                <a:cubicBezTo>
                  <a:pt x="82" y="126"/>
                  <a:pt x="82" y="126"/>
                  <a:pt x="82" y="126"/>
                </a:cubicBezTo>
                <a:cubicBezTo>
                  <a:pt x="84" y="128"/>
                  <a:pt x="84" y="131"/>
                  <a:pt x="83" y="134"/>
                </a:cubicBezTo>
                <a:cubicBezTo>
                  <a:pt x="74" y="148"/>
                  <a:pt x="68" y="163"/>
                  <a:pt x="64" y="180"/>
                </a:cubicBezTo>
                <a:cubicBezTo>
                  <a:pt x="63" y="182"/>
                  <a:pt x="61" y="184"/>
                  <a:pt x="58" y="184"/>
                </a:cubicBezTo>
                <a:cubicBezTo>
                  <a:pt x="31" y="184"/>
                  <a:pt x="31" y="184"/>
                  <a:pt x="31" y="184"/>
                </a:cubicBezTo>
                <a:cubicBezTo>
                  <a:pt x="21" y="184"/>
                  <a:pt x="12" y="193"/>
                  <a:pt x="12" y="203"/>
                </a:cubicBezTo>
                <a:cubicBezTo>
                  <a:pt x="12" y="228"/>
                  <a:pt x="12" y="228"/>
                  <a:pt x="12" y="228"/>
                </a:cubicBezTo>
                <a:cubicBezTo>
                  <a:pt x="12" y="239"/>
                  <a:pt x="21" y="247"/>
                  <a:pt x="31" y="247"/>
                </a:cubicBezTo>
                <a:cubicBezTo>
                  <a:pt x="58" y="247"/>
                  <a:pt x="58" y="247"/>
                  <a:pt x="58" y="247"/>
                </a:cubicBezTo>
                <a:cubicBezTo>
                  <a:pt x="61" y="247"/>
                  <a:pt x="63" y="249"/>
                  <a:pt x="64" y="252"/>
                </a:cubicBezTo>
                <a:cubicBezTo>
                  <a:pt x="68" y="268"/>
                  <a:pt x="74" y="284"/>
                  <a:pt x="83" y="298"/>
                </a:cubicBezTo>
                <a:cubicBezTo>
                  <a:pt x="83" y="298"/>
                  <a:pt x="83" y="299"/>
                  <a:pt x="83" y="299"/>
                </a:cubicBezTo>
                <a:cubicBezTo>
                  <a:pt x="84" y="302"/>
                  <a:pt x="83" y="304"/>
                  <a:pt x="82" y="306"/>
                </a:cubicBezTo>
                <a:cubicBezTo>
                  <a:pt x="63" y="324"/>
                  <a:pt x="63" y="324"/>
                  <a:pt x="63" y="324"/>
                </a:cubicBezTo>
                <a:cubicBezTo>
                  <a:pt x="59" y="328"/>
                  <a:pt x="57" y="333"/>
                  <a:pt x="57" y="338"/>
                </a:cubicBezTo>
                <a:cubicBezTo>
                  <a:pt x="57" y="343"/>
                  <a:pt x="59" y="348"/>
                  <a:pt x="63" y="351"/>
                </a:cubicBezTo>
                <a:cubicBezTo>
                  <a:pt x="81" y="369"/>
                  <a:pt x="81" y="369"/>
                  <a:pt x="81" y="369"/>
                </a:cubicBezTo>
                <a:cubicBezTo>
                  <a:pt x="88" y="376"/>
                  <a:pt x="100" y="376"/>
                  <a:pt x="108" y="369"/>
                </a:cubicBezTo>
                <a:cubicBezTo>
                  <a:pt x="126" y="350"/>
                  <a:pt x="126" y="350"/>
                  <a:pt x="126" y="350"/>
                </a:cubicBezTo>
                <a:cubicBezTo>
                  <a:pt x="127" y="349"/>
                  <a:pt x="129" y="348"/>
                  <a:pt x="131" y="34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400" dirty="0"/>
          </a:p>
        </p:txBody>
      </p:sp>
      <p:sp>
        <p:nvSpPr>
          <p:cNvPr id="94" name="Freeform 933">
            <a:extLst>
              <a:ext uri="{FF2B5EF4-FFF2-40B4-BE49-F238E27FC236}">
                <a16:creationId xmlns:a16="http://schemas.microsoft.com/office/drawing/2014/main" id="{8ED14F67-D867-96CC-1AC1-4C2CD7D1BF14}"/>
              </a:ext>
            </a:extLst>
          </p:cNvPr>
          <p:cNvSpPr>
            <a:spLocks/>
          </p:cNvSpPr>
          <p:nvPr/>
        </p:nvSpPr>
        <p:spPr bwMode="auto">
          <a:xfrm>
            <a:off x="9128338" y="5467999"/>
            <a:ext cx="18041" cy="117262"/>
          </a:xfrm>
          <a:custGeom>
            <a:avLst/>
            <a:gdLst>
              <a:gd name="T0" fmla="*/ 6 w 15"/>
              <a:gd name="T1" fmla="*/ 99 h 99"/>
              <a:gd name="T2" fmla="*/ 5 w 15"/>
              <a:gd name="T3" fmla="*/ 99 h 99"/>
              <a:gd name="T4" fmla="*/ 0 w 15"/>
              <a:gd name="T5" fmla="*/ 93 h 99"/>
              <a:gd name="T6" fmla="*/ 4 w 15"/>
              <a:gd name="T7" fmla="*/ 6 h 99"/>
              <a:gd name="T8" fmla="*/ 9 w 15"/>
              <a:gd name="T9" fmla="*/ 0 h 99"/>
              <a:gd name="T10" fmla="*/ 15 w 15"/>
              <a:gd name="T11" fmla="*/ 6 h 99"/>
              <a:gd name="T12" fmla="*/ 11 w 15"/>
              <a:gd name="T13" fmla="*/ 94 h 99"/>
              <a:gd name="T14" fmla="*/ 6 w 15"/>
              <a:gd name="T15" fmla="*/ 99 h 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5" h="99">
                <a:moveTo>
                  <a:pt x="6" y="99"/>
                </a:moveTo>
                <a:cubicBezTo>
                  <a:pt x="6" y="99"/>
                  <a:pt x="6" y="99"/>
                  <a:pt x="5" y="99"/>
                </a:cubicBezTo>
                <a:cubicBezTo>
                  <a:pt x="2" y="99"/>
                  <a:pt x="0" y="96"/>
                  <a:pt x="0" y="93"/>
                </a:cubicBezTo>
                <a:cubicBezTo>
                  <a:pt x="4" y="6"/>
                  <a:pt x="4" y="6"/>
                  <a:pt x="4" y="6"/>
                </a:cubicBezTo>
                <a:cubicBezTo>
                  <a:pt x="4" y="3"/>
                  <a:pt x="6" y="0"/>
                  <a:pt x="9" y="0"/>
                </a:cubicBezTo>
                <a:cubicBezTo>
                  <a:pt x="13" y="1"/>
                  <a:pt x="15" y="3"/>
                  <a:pt x="15" y="6"/>
                </a:cubicBezTo>
                <a:cubicBezTo>
                  <a:pt x="11" y="94"/>
                  <a:pt x="11" y="94"/>
                  <a:pt x="11" y="94"/>
                </a:cubicBezTo>
                <a:cubicBezTo>
                  <a:pt x="11" y="97"/>
                  <a:pt x="9" y="99"/>
                  <a:pt x="6" y="9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400" dirty="0"/>
          </a:p>
        </p:txBody>
      </p:sp>
      <p:sp>
        <p:nvSpPr>
          <p:cNvPr id="95" name="Freeform 934">
            <a:extLst>
              <a:ext uri="{FF2B5EF4-FFF2-40B4-BE49-F238E27FC236}">
                <a16:creationId xmlns:a16="http://schemas.microsoft.com/office/drawing/2014/main" id="{2167CC87-1F31-9CD1-90F1-A8C142733451}"/>
              </a:ext>
            </a:extLst>
          </p:cNvPr>
          <p:cNvSpPr>
            <a:spLocks/>
          </p:cNvSpPr>
          <p:nvPr/>
        </p:nvSpPr>
        <p:spPr bwMode="auto">
          <a:xfrm>
            <a:off x="9366468" y="5467999"/>
            <a:ext cx="16235" cy="117262"/>
          </a:xfrm>
          <a:custGeom>
            <a:avLst/>
            <a:gdLst>
              <a:gd name="T0" fmla="*/ 9 w 15"/>
              <a:gd name="T1" fmla="*/ 99 h 99"/>
              <a:gd name="T2" fmla="*/ 4 w 15"/>
              <a:gd name="T3" fmla="*/ 94 h 99"/>
              <a:gd name="T4" fmla="*/ 0 w 15"/>
              <a:gd name="T5" fmla="*/ 6 h 99"/>
              <a:gd name="T6" fmla="*/ 5 w 15"/>
              <a:gd name="T7" fmla="*/ 0 h 99"/>
              <a:gd name="T8" fmla="*/ 11 w 15"/>
              <a:gd name="T9" fmla="*/ 6 h 99"/>
              <a:gd name="T10" fmla="*/ 15 w 15"/>
              <a:gd name="T11" fmla="*/ 93 h 99"/>
              <a:gd name="T12" fmla="*/ 9 w 15"/>
              <a:gd name="T13" fmla="*/ 99 h 99"/>
              <a:gd name="T14" fmla="*/ 9 w 15"/>
              <a:gd name="T15" fmla="*/ 99 h 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5" h="99">
                <a:moveTo>
                  <a:pt x="9" y="99"/>
                </a:moveTo>
                <a:cubicBezTo>
                  <a:pt x="6" y="99"/>
                  <a:pt x="4" y="97"/>
                  <a:pt x="4" y="94"/>
                </a:cubicBezTo>
                <a:cubicBezTo>
                  <a:pt x="0" y="6"/>
                  <a:pt x="0" y="6"/>
                  <a:pt x="0" y="6"/>
                </a:cubicBezTo>
                <a:cubicBezTo>
                  <a:pt x="0" y="3"/>
                  <a:pt x="2" y="1"/>
                  <a:pt x="5" y="0"/>
                </a:cubicBezTo>
                <a:cubicBezTo>
                  <a:pt x="8" y="0"/>
                  <a:pt x="11" y="3"/>
                  <a:pt x="11" y="6"/>
                </a:cubicBezTo>
                <a:cubicBezTo>
                  <a:pt x="15" y="93"/>
                  <a:pt x="15" y="93"/>
                  <a:pt x="15" y="93"/>
                </a:cubicBezTo>
                <a:cubicBezTo>
                  <a:pt x="15" y="96"/>
                  <a:pt x="12" y="99"/>
                  <a:pt x="9" y="99"/>
                </a:cubicBezTo>
                <a:cubicBezTo>
                  <a:pt x="9" y="99"/>
                  <a:pt x="9" y="99"/>
                  <a:pt x="9" y="9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400" dirty="0"/>
          </a:p>
        </p:txBody>
      </p:sp>
      <p:sp>
        <p:nvSpPr>
          <p:cNvPr id="96" name="Freeform 935">
            <a:extLst>
              <a:ext uri="{FF2B5EF4-FFF2-40B4-BE49-F238E27FC236}">
                <a16:creationId xmlns:a16="http://schemas.microsoft.com/office/drawing/2014/main" id="{BD25A80F-E26B-B9C5-13C5-21FA9E312CE2}"/>
              </a:ext>
            </a:extLst>
          </p:cNvPr>
          <p:cNvSpPr>
            <a:spLocks noEditPoints="1"/>
          </p:cNvSpPr>
          <p:nvPr/>
        </p:nvSpPr>
        <p:spPr bwMode="auto">
          <a:xfrm>
            <a:off x="9056178" y="5379601"/>
            <a:ext cx="400491" cy="205655"/>
          </a:xfrm>
          <a:custGeom>
            <a:avLst/>
            <a:gdLst>
              <a:gd name="T0" fmla="*/ 307 w 340"/>
              <a:gd name="T1" fmla="*/ 174 h 174"/>
              <a:gd name="T2" fmla="*/ 33 w 340"/>
              <a:gd name="T3" fmla="*/ 174 h 174"/>
              <a:gd name="T4" fmla="*/ 9 w 340"/>
              <a:gd name="T5" fmla="*/ 163 h 174"/>
              <a:gd name="T6" fmla="*/ 1 w 340"/>
              <a:gd name="T7" fmla="*/ 138 h 174"/>
              <a:gd name="T8" fmla="*/ 11 w 340"/>
              <a:gd name="T9" fmla="*/ 43 h 174"/>
              <a:gd name="T10" fmla="*/ 62 w 340"/>
              <a:gd name="T11" fmla="*/ 0 h 174"/>
              <a:gd name="T12" fmla="*/ 143 w 340"/>
              <a:gd name="T13" fmla="*/ 0 h 174"/>
              <a:gd name="T14" fmla="*/ 147 w 340"/>
              <a:gd name="T15" fmla="*/ 1 h 174"/>
              <a:gd name="T16" fmla="*/ 149 w 340"/>
              <a:gd name="T17" fmla="*/ 6 h 174"/>
              <a:gd name="T18" fmla="*/ 148 w 340"/>
              <a:gd name="T19" fmla="*/ 12 h 174"/>
              <a:gd name="T20" fmla="*/ 153 w 340"/>
              <a:gd name="T21" fmla="*/ 30 h 174"/>
              <a:gd name="T22" fmla="*/ 170 w 340"/>
              <a:gd name="T23" fmla="*/ 38 h 174"/>
              <a:gd name="T24" fmla="*/ 187 w 340"/>
              <a:gd name="T25" fmla="*/ 30 h 174"/>
              <a:gd name="T26" fmla="*/ 192 w 340"/>
              <a:gd name="T27" fmla="*/ 12 h 174"/>
              <a:gd name="T28" fmla="*/ 191 w 340"/>
              <a:gd name="T29" fmla="*/ 6 h 174"/>
              <a:gd name="T30" fmla="*/ 192 w 340"/>
              <a:gd name="T31" fmla="*/ 1 h 174"/>
              <a:gd name="T32" fmla="*/ 197 w 340"/>
              <a:gd name="T33" fmla="*/ 0 h 174"/>
              <a:gd name="T34" fmla="*/ 278 w 340"/>
              <a:gd name="T35" fmla="*/ 0 h 174"/>
              <a:gd name="T36" fmla="*/ 328 w 340"/>
              <a:gd name="T37" fmla="*/ 43 h 174"/>
              <a:gd name="T38" fmla="*/ 339 w 340"/>
              <a:gd name="T39" fmla="*/ 138 h 174"/>
              <a:gd name="T40" fmla="*/ 331 w 340"/>
              <a:gd name="T41" fmla="*/ 163 h 174"/>
              <a:gd name="T42" fmla="*/ 307 w 340"/>
              <a:gd name="T43" fmla="*/ 174 h 174"/>
              <a:gd name="T44" fmla="*/ 62 w 340"/>
              <a:gd name="T45" fmla="*/ 11 h 174"/>
              <a:gd name="T46" fmla="*/ 22 w 340"/>
              <a:gd name="T47" fmla="*/ 45 h 174"/>
              <a:gd name="T48" fmla="*/ 12 w 340"/>
              <a:gd name="T49" fmla="*/ 140 h 174"/>
              <a:gd name="T50" fmla="*/ 17 w 340"/>
              <a:gd name="T51" fmla="*/ 156 h 174"/>
              <a:gd name="T52" fmla="*/ 33 w 340"/>
              <a:gd name="T53" fmla="*/ 163 h 174"/>
              <a:gd name="T54" fmla="*/ 307 w 340"/>
              <a:gd name="T55" fmla="*/ 163 h 174"/>
              <a:gd name="T56" fmla="*/ 323 w 340"/>
              <a:gd name="T57" fmla="*/ 156 h 174"/>
              <a:gd name="T58" fmla="*/ 328 w 340"/>
              <a:gd name="T59" fmla="*/ 140 h 174"/>
              <a:gd name="T60" fmla="*/ 318 w 340"/>
              <a:gd name="T61" fmla="*/ 44 h 174"/>
              <a:gd name="T62" fmla="*/ 278 w 340"/>
              <a:gd name="T63" fmla="*/ 11 h 174"/>
              <a:gd name="T64" fmla="*/ 203 w 340"/>
              <a:gd name="T65" fmla="*/ 11 h 174"/>
              <a:gd name="T66" fmla="*/ 203 w 340"/>
              <a:gd name="T67" fmla="*/ 11 h 174"/>
              <a:gd name="T68" fmla="*/ 195 w 340"/>
              <a:gd name="T69" fmla="*/ 37 h 174"/>
              <a:gd name="T70" fmla="*/ 170 w 340"/>
              <a:gd name="T71" fmla="*/ 49 h 174"/>
              <a:gd name="T72" fmla="*/ 170 w 340"/>
              <a:gd name="T73" fmla="*/ 49 h 174"/>
              <a:gd name="T74" fmla="*/ 144 w 340"/>
              <a:gd name="T75" fmla="*/ 37 h 174"/>
              <a:gd name="T76" fmla="*/ 137 w 340"/>
              <a:gd name="T77" fmla="*/ 11 h 174"/>
              <a:gd name="T78" fmla="*/ 137 w 340"/>
              <a:gd name="T79" fmla="*/ 11 h 174"/>
              <a:gd name="T80" fmla="*/ 62 w 340"/>
              <a:gd name="T81" fmla="*/ 11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40" h="174">
                <a:moveTo>
                  <a:pt x="307" y="174"/>
                </a:moveTo>
                <a:cubicBezTo>
                  <a:pt x="33" y="174"/>
                  <a:pt x="33" y="174"/>
                  <a:pt x="33" y="174"/>
                </a:cubicBezTo>
                <a:cubicBezTo>
                  <a:pt x="24" y="174"/>
                  <a:pt x="15" y="170"/>
                  <a:pt x="9" y="163"/>
                </a:cubicBezTo>
                <a:cubicBezTo>
                  <a:pt x="3" y="156"/>
                  <a:pt x="0" y="147"/>
                  <a:pt x="1" y="138"/>
                </a:cubicBezTo>
                <a:cubicBezTo>
                  <a:pt x="11" y="43"/>
                  <a:pt x="11" y="43"/>
                  <a:pt x="11" y="43"/>
                </a:cubicBezTo>
                <a:cubicBezTo>
                  <a:pt x="15" y="18"/>
                  <a:pt x="36" y="0"/>
                  <a:pt x="62" y="0"/>
                </a:cubicBezTo>
                <a:cubicBezTo>
                  <a:pt x="143" y="0"/>
                  <a:pt x="143" y="0"/>
                  <a:pt x="143" y="0"/>
                </a:cubicBezTo>
                <a:cubicBezTo>
                  <a:pt x="145" y="0"/>
                  <a:pt x="146" y="0"/>
                  <a:pt x="147" y="1"/>
                </a:cubicBezTo>
                <a:cubicBezTo>
                  <a:pt x="148" y="3"/>
                  <a:pt x="149" y="4"/>
                  <a:pt x="149" y="6"/>
                </a:cubicBezTo>
                <a:cubicBezTo>
                  <a:pt x="148" y="12"/>
                  <a:pt x="148" y="12"/>
                  <a:pt x="148" y="12"/>
                </a:cubicBezTo>
                <a:cubicBezTo>
                  <a:pt x="147" y="18"/>
                  <a:pt x="150" y="27"/>
                  <a:pt x="153" y="30"/>
                </a:cubicBezTo>
                <a:cubicBezTo>
                  <a:pt x="157" y="35"/>
                  <a:pt x="163" y="38"/>
                  <a:pt x="170" y="38"/>
                </a:cubicBezTo>
                <a:cubicBezTo>
                  <a:pt x="176" y="38"/>
                  <a:pt x="183" y="35"/>
                  <a:pt x="187" y="30"/>
                </a:cubicBezTo>
                <a:cubicBezTo>
                  <a:pt x="190" y="27"/>
                  <a:pt x="192" y="18"/>
                  <a:pt x="192" y="12"/>
                </a:cubicBezTo>
                <a:cubicBezTo>
                  <a:pt x="191" y="6"/>
                  <a:pt x="191" y="6"/>
                  <a:pt x="191" y="6"/>
                </a:cubicBezTo>
                <a:cubicBezTo>
                  <a:pt x="191" y="4"/>
                  <a:pt x="191" y="3"/>
                  <a:pt x="192" y="1"/>
                </a:cubicBezTo>
                <a:cubicBezTo>
                  <a:pt x="193" y="0"/>
                  <a:pt x="195" y="0"/>
                  <a:pt x="197" y="0"/>
                </a:cubicBezTo>
                <a:cubicBezTo>
                  <a:pt x="278" y="0"/>
                  <a:pt x="278" y="0"/>
                  <a:pt x="278" y="0"/>
                </a:cubicBezTo>
                <a:cubicBezTo>
                  <a:pt x="303" y="0"/>
                  <a:pt x="325" y="18"/>
                  <a:pt x="328" y="43"/>
                </a:cubicBezTo>
                <a:cubicBezTo>
                  <a:pt x="339" y="138"/>
                  <a:pt x="339" y="138"/>
                  <a:pt x="339" y="138"/>
                </a:cubicBezTo>
                <a:cubicBezTo>
                  <a:pt x="340" y="147"/>
                  <a:pt x="337" y="156"/>
                  <a:pt x="331" y="163"/>
                </a:cubicBezTo>
                <a:cubicBezTo>
                  <a:pt x="325" y="170"/>
                  <a:pt x="316" y="174"/>
                  <a:pt x="307" y="174"/>
                </a:cubicBezTo>
                <a:close/>
                <a:moveTo>
                  <a:pt x="62" y="11"/>
                </a:moveTo>
                <a:cubicBezTo>
                  <a:pt x="42" y="11"/>
                  <a:pt x="25" y="25"/>
                  <a:pt x="22" y="45"/>
                </a:cubicBezTo>
                <a:cubicBezTo>
                  <a:pt x="12" y="140"/>
                  <a:pt x="12" y="140"/>
                  <a:pt x="12" y="140"/>
                </a:cubicBezTo>
                <a:cubicBezTo>
                  <a:pt x="11" y="145"/>
                  <a:pt x="13" y="151"/>
                  <a:pt x="17" y="156"/>
                </a:cubicBezTo>
                <a:cubicBezTo>
                  <a:pt x="21" y="160"/>
                  <a:pt x="27" y="163"/>
                  <a:pt x="33" y="163"/>
                </a:cubicBezTo>
                <a:cubicBezTo>
                  <a:pt x="307" y="163"/>
                  <a:pt x="307" y="163"/>
                  <a:pt x="307" y="163"/>
                </a:cubicBezTo>
                <a:cubicBezTo>
                  <a:pt x="313" y="163"/>
                  <a:pt x="319" y="160"/>
                  <a:pt x="323" y="156"/>
                </a:cubicBezTo>
                <a:cubicBezTo>
                  <a:pt x="327" y="151"/>
                  <a:pt x="328" y="145"/>
                  <a:pt x="328" y="140"/>
                </a:cubicBezTo>
                <a:cubicBezTo>
                  <a:pt x="318" y="44"/>
                  <a:pt x="318" y="44"/>
                  <a:pt x="318" y="44"/>
                </a:cubicBezTo>
                <a:cubicBezTo>
                  <a:pt x="315" y="25"/>
                  <a:pt x="298" y="11"/>
                  <a:pt x="278" y="11"/>
                </a:cubicBezTo>
                <a:cubicBezTo>
                  <a:pt x="203" y="11"/>
                  <a:pt x="203" y="11"/>
                  <a:pt x="203" y="11"/>
                </a:cubicBezTo>
                <a:cubicBezTo>
                  <a:pt x="203" y="11"/>
                  <a:pt x="203" y="11"/>
                  <a:pt x="203" y="11"/>
                </a:cubicBezTo>
                <a:cubicBezTo>
                  <a:pt x="204" y="20"/>
                  <a:pt x="200" y="31"/>
                  <a:pt x="195" y="37"/>
                </a:cubicBezTo>
                <a:cubicBezTo>
                  <a:pt x="189" y="45"/>
                  <a:pt x="180" y="49"/>
                  <a:pt x="170" y="49"/>
                </a:cubicBezTo>
                <a:cubicBezTo>
                  <a:pt x="170" y="49"/>
                  <a:pt x="170" y="49"/>
                  <a:pt x="170" y="49"/>
                </a:cubicBezTo>
                <a:cubicBezTo>
                  <a:pt x="160" y="49"/>
                  <a:pt x="151" y="45"/>
                  <a:pt x="144" y="37"/>
                </a:cubicBezTo>
                <a:cubicBezTo>
                  <a:pt x="139" y="31"/>
                  <a:pt x="136" y="20"/>
                  <a:pt x="137" y="11"/>
                </a:cubicBezTo>
                <a:cubicBezTo>
                  <a:pt x="137" y="11"/>
                  <a:pt x="137" y="11"/>
                  <a:pt x="137" y="11"/>
                </a:cubicBezTo>
                <a:lnTo>
                  <a:pt x="62" y="1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400" dirty="0"/>
          </a:p>
        </p:txBody>
      </p:sp>
      <p:sp>
        <p:nvSpPr>
          <p:cNvPr id="97" name="Freeform 936">
            <a:extLst>
              <a:ext uri="{FF2B5EF4-FFF2-40B4-BE49-F238E27FC236}">
                <a16:creationId xmlns:a16="http://schemas.microsoft.com/office/drawing/2014/main" id="{22321714-85C7-BF85-156F-CB07BEDF29E6}"/>
              </a:ext>
            </a:extLst>
          </p:cNvPr>
          <p:cNvSpPr>
            <a:spLocks noEditPoints="1"/>
          </p:cNvSpPr>
          <p:nvPr/>
        </p:nvSpPr>
        <p:spPr bwMode="auto">
          <a:xfrm>
            <a:off x="9216735" y="5348933"/>
            <a:ext cx="79377" cy="88396"/>
          </a:xfrm>
          <a:custGeom>
            <a:avLst/>
            <a:gdLst>
              <a:gd name="T0" fmla="*/ 34 w 68"/>
              <a:gd name="T1" fmla="*/ 76 h 76"/>
              <a:gd name="T2" fmla="*/ 10 w 68"/>
              <a:gd name="T3" fmla="*/ 67 h 76"/>
              <a:gd name="T4" fmla="*/ 1 w 68"/>
              <a:gd name="T5" fmla="*/ 39 h 76"/>
              <a:gd name="T6" fmla="*/ 5 w 68"/>
              <a:gd name="T7" fmla="*/ 5 h 76"/>
              <a:gd name="T8" fmla="*/ 7 w 68"/>
              <a:gd name="T9" fmla="*/ 1 h 76"/>
              <a:gd name="T10" fmla="*/ 12 w 68"/>
              <a:gd name="T11" fmla="*/ 0 h 76"/>
              <a:gd name="T12" fmla="*/ 27 w 68"/>
              <a:gd name="T13" fmla="*/ 2 h 76"/>
              <a:gd name="T14" fmla="*/ 40 w 68"/>
              <a:gd name="T15" fmla="*/ 2 h 76"/>
              <a:gd name="T16" fmla="*/ 56 w 68"/>
              <a:gd name="T17" fmla="*/ 0 h 76"/>
              <a:gd name="T18" fmla="*/ 61 w 68"/>
              <a:gd name="T19" fmla="*/ 1 h 76"/>
              <a:gd name="T20" fmla="*/ 63 w 68"/>
              <a:gd name="T21" fmla="*/ 5 h 76"/>
              <a:gd name="T22" fmla="*/ 67 w 68"/>
              <a:gd name="T23" fmla="*/ 39 h 76"/>
              <a:gd name="T24" fmla="*/ 67 w 68"/>
              <a:gd name="T25" fmla="*/ 39 h 76"/>
              <a:gd name="T26" fmla="*/ 57 w 68"/>
              <a:gd name="T27" fmla="*/ 67 h 76"/>
              <a:gd name="T28" fmla="*/ 34 w 68"/>
              <a:gd name="T29" fmla="*/ 76 h 76"/>
              <a:gd name="T30" fmla="*/ 15 w 68"/>
              <a:gd name="T31" fmla="*/ 12 h 76"/>
              <a:gd name="T32" fmla="*/ 12 w 68"/>
              <a:gd name="T33" fmla="*/ 41 h 76"/>
              <a:gd name="T34" fmla="*/ 18 w 68"/>
              <a:gd name="T35" fmla="*/ 59 h 76"/>
              <a:gd name="T36" fmla="*/ 50 w 68"/>
              <a:gd name="T37" fmla="*/ 59 h 76"/>
              <a:gd name="T38" fmla="*/ 56 w 68"/>
              <a:gd name="T39" fmla="*/ 41 h 76"/>
              <a:gd name="T40" fmla="*/ 56 w 68"/>
              <a:gd name="T41" fmla="*/ 41 h 76"/>
              <a:gd name="T42" fmla="*/ 53 w 68"/>
              <a:gd name="T43" fmla="*/ 12 h 76"/>
              <a:gd name="T44" fmla="*/ 40 w 68"/>
              <a:gd name="T45" fmla="*/ 13 h 76"/>
              <a:gd name="T46" fmla="*/ 27 w 68"/>
              <a:gd name="T47" fmla="*/ 13 h 76"/>
              <a:gd name="T48" fmla="*/ 15 w 68"/>
              <a:gd name="T49" fmla="*/ 12 h 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68" h="76">
                <a:moveTo>
                  <a:pt x="34" y="76"/>
                </a:moveTo>
                <a:cubicBezTo>
                  <a:pt x="25" y="76"/>
                  <a:pt x="17" y="73"/>
                  <a:pt x="10" y="67"/>
                </a:cubicBezTo>
                <a:cubicBezTo>
                  <a:pt x="3" y="59"/>
                  <a:pt x="0" y="49"/>
                  <a:pt x="1" y="39"/>
                </a:cubicBezTo>
                <a:cubicBezTo>
                  <a:pt x="5" y="5"/>
                  <a:pt x="5" y="5"/>
                  <a:pt x="5" y="5"/>
                </a:cubicBezTo>
                <a:cubicBezTo>
                  <a:pt x="5" y="3"/>
                  <a:pt x="6" y="2"/>
                  <a:pt x="7" y="1"/>
                </a:cubicBezTo>
                <a:cubicBezTo>
                  <a:pt x="8" y="0"/>
                  <a:pt x="10" y="0"/>
                  <a:pt x="12" y="0"/>
                </a:cubicBezTo>
                <a:cubicBezTo>
                  <a:pt x="17" y="2"/>
                  <a:pt x="22" y="2"/>
                  <a:pt x="27" y="2"/>
                </a:cubicBezTo>
                <a:cubicBezTo>
                  <a:pt x="40" y="2"/>
                  <a:pt x="40" y="2"/>
                  <a:pt x="40" y="2"/>
                </a:cubicBezTo>
                <a:cubicBezTo>
                  <a:pt x="46" y="2"/>
                  <a:pt x="51" y="2"/>
                  <a:pt x="56" y="0"/>
                </a:cubicBezTo>
                <a:cubicBezTo>
                  <a:pt x="58" y="0"/>
                  <a:pt x="59" y="0"/>
                  <a:pt x="61" y="1"/>
                </a:cubicBezTo>
                <a:cubicBezTo>
                  <a:pt x="62" y="2"/>
                  <a:pt x="63" y="3"/>
                  <a:pt x="63" y="5"/>
                </a:cubicBezTo>
                <a:cubicBezTo>
                  <a:pt x="67" y="39"/>
                  <a:pt x="67" y="39"/>
                  <a:pt x="67" y="39"/>
                </a:cubicBezTo>
                <a:cubicBezTo>
                  <a:pt x="67" y="39"/>
                  <a:pt x="67" y="39"/>
                  <a:pt x="67" y="39"/>
                </a:cubicBezTo>
                <a:cubicBezTo>
                  <a:pt x="68" y="49"/>
                  <a:pt x="65" y="59"/>
                  <a:pt x="57" y="67"/>
                </a:cubicBezTo>
                <a:cubicBezTo>
                  <a:pt x="51" y="73"/>
                  <a:pt x="42" y="76"/>
                  <a:pt x="34" y="76"/>
                </a:cubicBezTo>
                <a:close/>
                <a:moveTo>
                  <a:pt x="15" y="12"/>
                </a:moveTo>
                <a:cubicBezTo>
                  <a:pt x="12" y="41"/>
                  <a:pt x="12" y="41"/>
                  <a:pt x="12" y="41"/>
                </a:cubicBezTo>
                <a:cubicBezTo>
                  <a:pt x="11" y="47"/>
                  <a:pt x="13" y="54"/>
                  <a:pt x="18" y="59"/>
                </a:cubicBezTo>
                <a:cubicBezTo>
                  <a:pt x="27" y="67"/>
                  <a:pt x="41" y="67"/>
                  <a:pt x="50" y="59"/>
                </a:cubicBezTo>
                <a:cubicBezTo>
                  <a:pt x="54" y="54"/>
                  <a:pt x="57" y="47"/>
                  <a:pt x="56" y="41"/>
                </a:cubicBezTo>
                <a:cubicBezTo>
                  <a:pt x="56" y="41"/>
                  <a:pt x="56" y="41"/>
                  <a:pt x="56" y="41"/>
                </a:cubicBezTo>
                <a:cubicBezTo>
                  <a:pt x="53" y="12"/>
                  <a:pt x="53" y="12"/>
                  <a:pt x="53" y="12"/>
                </a:cubicBezTo>
                <a:cubicBezTo>
                  <a:pt x="49" y="13"/>
                  <a:pt x="44" y="13"/>
                  <a:pt x="40" y="13"/>
                </a:cubicBezTo>
                <a:cubicBezTo>
                  <a:pt x="27" y="13"/>
                  <a:pt x="27" y="13"/>
                  <a:pt x="27" y="13"/>
                </a:cubicBezTo>
                <a:cubicBezTo>
                  <a:pt x="23" y="13"/>
                  <a:pt x="19" y="13"/>
                  <a:pt x="15" y="1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400" dirty="0"/>
          </a:p>
        </p:txBody>
      </p:sp>
      <p:sp>
        <p:nvSpPr>
          <p:cNvPr id="98" name="Freeform 937">
            <a:extLst>
              <a:ext uri="{FF2B5EF4-FFF2-40B4-BE49-F238E27FC236}">
                <a16:creationId xmlns:a16="http://schemas.microsoft.com/office/drawing/2014/main" id="{61247B13-5B3D-3B6E-590B-E6ACF8911A77}"/>
              </a:ext>
            </a:extLst>
          </p:cNvPr>
          <p:cNvSpPr>
            <a:spLocks noEditPoints="1"/>
          </p:cNvSpPr>
          <p:nvPr/>
        </p:nvSpPr>
        <p:spPr bwMode="auto">
          <a:xfrm>
            <a:off x="9168026" y="5188377"/>
            <a:ext cx="174991" cy="174991"/>
          </a:xfrm>
          <a:custGeom>
            <a:avLst/>
            <a:gdLst>
              <a:gd name="T0" fmla="*/ 81 w 149"/>
              <a:gd name="T1" fmla="*/ 149 h 149"/>
              <a:gd name="T2" fmla="*/ 68 w 149"/>
              <a:gd name="T3" fmla="*/ 149 h 149"/>
              <a:gd name="T4" fmla="*/ 50 w 149"/>
              <a:gd name="T5" fmla="*/ 147 h 149"/>
              <a:gd name="T6" fmla="*/ 0 w 149"/>
              <a:gd name="T7" fmla="*/ 81 h 149"/>
              <a:gd name="T8" fmla="*/ 0 w 149"/>
              <a:gd name="T9" fmla="*/ 58 h 149"/>
              <a:gd name="T10" fmla="*/ 58 w 149"/>
              <a:gd name="T11" fmla="*/ 0 h 149"/>
              <a:gd name="T12" fmla="*/ 92 w 149"/>
              <a:gd name="T13" fmla="*/ 0 h 149"/>
              <a:gd name="T14" fmla="*/ 149 w 149"/>
              <a:gd name="T15" fmla="*/ 58 h 149"/>
              <a:gd name="T16" fmla="*/ 149 w 149"/>
              <a:gd name="T17" fmla="*/ 81 h 149"/>
              <a:gd name="T18" fmla="*/ 100 w 149"/>
              <a:gd name="T19" fmla="*/ 147 h 149"/>
              <a:gd name="T20" fmla="*/ 81 w 149"/>
              <a:gd name="T21" fmla="*/ 149 h 149"/>
              <a:gd name="T22" fmla="*/ 58 w 149"/>
              <a:gd name="T23" fmla="*/ 11 h 149"/>
              <a:gd name="T24" fmla="*/ 11 w 149"/>
              <a:gd name="T25" fmla="*/ 58 h 149"/>
              <a:gd name="T26" fmla="*/ 11 w 149"/>
              <a:gd name="T27" fmla="*/ 81 h 149"/>
              <a:gd name="T28" fmla="*/ 53 w 149"/>
              <a:gd name="T29" fmla="*/ 136 h 149"/>
              <a:gd name="T30" fmla="*/ 68 w 149"/>
              <a:gd name="T31" fmla="*/ 138 h 149"/>
              <a:gd name="T32" fmla="*/ 81 w 149"/>
              <a:gd name="T33" fmla="*/ 138 h 149"/>
              <a:gd name="T34" fmla="*/ 97 w 149"/>
              <a:gd name="T35" fmla="*/ 136 h 149"/>
              <a:gd name="T36" fmla="*/ 138 w 149"/>
              <a:gd name="T37" fmla="*/ 81 h 149"/>
              <a:gd name="T38" fmla="*/ 138 w 149"/>
              <a:gd name="T39" fmla="*/ 58 h 149"/>
              <a:gd name="T40" fmla="*/ 92 w 149"/>
              <a:gd name="T41" fmla="*/ 11 h 149"/>
              <a:gd name="T42" fmla="*/ 58 w 149"/>
              <a:gd name="T43" fmla="*/ 11 h 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149" h="149">
                <a:moveTo>
                  <a:pt x="81" y="149"/>
                </a:moveTo>
                <a:cubicBezTo>
                  <a:pt x="68" y="149"/>
                  <a:pt x="68" y="149"/>
                  <a:pt x="68" y="149"/>
                </a:cubicBezTo>
                <a:cubicBezTo>
                  <a:pt x="62" y="149"/>
                  <a:pt x="56" y="148"/>
                  <a:pt x="50" y="147"/>
                </a:cubicBezTo>
                <a:cubicBezTo>
                  <a:pt x="21" y="138"/>
                  <a:pt x="0" y="111"/>
                  <a:pt x="0" y="81"/>
                </a:cubicBezTo>
                <a:cubicBezTo>
                  <a:pt x="0" y="58"/>
                  <a:pt x="0" y="58"/>
                  <a:pt x="0" y="58"/>
                </a:cubicBezTo>
                <a:cubicBezTo>
                  <a:pt x="0" y="26"/>
                  <a:pt x="26" y="0"/>
                  <a:pt x="58" y="0"/>
                </a:cubicBezTo>
                <a:cubicBezTo>
                  <a:pt x="92" y="0"/>
                  <a:pt x="92" y="0"/>
                  <a:pt x="92" y="0"/>
                </a:cubicBezTo>
                <a:cubicBezTo>
                  <a:pt x="124" y="0"/>
                  <a:pt x="149" y="26"/>
                  <a:pt x="149" y="58"/>
                </a:cubicBezTo>
                <a:cubicBezTo>
                  <a:pt x="149" y="81"/>
                  <a:pt x="149" y="81"/>
                  <a:pt x="149" y="81"/>
                </a:cubicBezTo>
                <a:cubicBezTo>
                  <a:pt x="149" y="111"/>
                  <a:pt x="129" y="138"/>
                  <a:pt x="100" y="147"/>
                </a:cubicBezTo>
                <a:cubicBezTo>
                  <a:pt x="94" y="148"/>
                  <a:pt x="88" y="149"/>
                  <a:pt x="81" y="149"/>
                </a:cubicBezTo>
                <a:close/>
                <a:moveTo>
                  <a:pt x="58" y="11"/>
                </a:moveTo>
                <a:cubicBezTo>
                  <a:pt x="32" y="11"/>
                  <a:pt x="11" y="32"/>
                  <a:pt x="11" y="58"/>
                </a:cubicBezTo>
                <a:cubicBezTo>
                  <a:pt x="11" y="81"/>
                  <a:pt x="11" y="81"/>
                  <a:pt x="11" y="81"/>
                </a:cubicBezTo>
                <a:cubicBezTo>
                  <a:pt x="11" y="107"/>
                  <a:pt x="28" y="129"/>
                  <a:pt x="53" y="136"/>
                </a:cubicBezTo>
                <a:cubicBezTo>
                  <a:pt x="58" y="138"/>
                  <a:pt x="63" y="138"/>
                  <a:pt x="68" y="138"/>
                </a:cubicBezTo>
                <a:cubicBezTo>
                  <a:pt x="81" y="138"/>
                  <a:pt x="81" y="138"/>
                  <a:pt x="81" y="138"/>
                </a:cubicBezTo>
                <a:cubicBezTo>
                  <a:pt x="87" y="138"/>
                  <a:pt x="92" y="138"/>
                  <a:pt x="97" y="136"/>
                </a:cubicBezTo>
                <a:cubicBezTo>
                  <a:pt x="121" y="129"/>
                  <a:pt x="138" y="107"/>
                  <a:pt x="138" y="81"/>
                </a:cubicBezTo>
                <a:cubicBezTo>
                  <a:pt x="138" y="58"/>
                  <a:pt x="138" y="58"/>
                  <a:pt x="138" y="58"/>
                </a:cubicBezTo>
                <a:cubicBezTo>
                  <a:pt x="138" y="32"/>
                  <a:pt x="118" y="11"/>
                  <a:pt x="92" y="11"/>
                </a:cubicBezTo>
                <a:lnTo>
                  <a:pt x="58" y="1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400" dirty="0"/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8B25AE62-9F91-598D-4A26-829B0B88B4A3}"/>
              </a:ext>
            </a:extLst>
          </p:cNvPr>
          <p:cNvSpPr txBox="1">
            <a:spLocks/>
          </p:cNvSpPr>
          <p:nvPr/>
        </p:nvSpPr>
        <p:spPr>
          <a:xfrm>
            <a:off x="419099" y="1468935"/>
            <a:ext cx="4448630" cy="717245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3200">
                <a:solidFill>
                  <a:schemeClr val="lt1"/>
                </a:solidFill>
                <a:latin typeface="+mj-lt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cs typeface="+mn-cs"/>
              </a:defRPr>
            </a:lvl9pPr>
          </a:lstStyle>
          <a:p>
            <a:endParaRPr lang="en-US" sz="2400" dirty="0">
              <a:latin typeface="+mn-lt"/>
            </a:endParaRP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4DC3EA08-A71A-A1B3-4D54-8CB2153BF549}"/>
              </a:ext>
            </a:extLst>
          </p:cNvPr>
          <p:cNvSpPr/>
          <p:nvPr/>
        </p:nvSpPr>
        <p:spPr>
          <a:xfrm>
            <a:off x="419099" y="2187127"/>
            <a:ext cx="4448630" cy="366492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IN" sz="2400" dirty="0">
              <a:solidFill>
                <a:schemeClr val="tx1"/>
              </a:solidFill>
            </a:endParaRPr>
          </a:p>
        </p:txBody>
      </p:sp>
      <p:sp>
        <p:nvSpPr>
          <p:cNvPr id="101" name="Isosceles Triangle 100">
            <a:extLst>
              <a:ext uri="{FF2B5EF4-FFF2-40B4-BE49-F238E27FC236}">
                <a16:creationId xmlns:a16="http://schemas.microsoft.com/office/drawing/2014/main" id="{1841E2F3-3C5E-F6B4-D02D-ED6215E31820}"/>
              </a:ext>
            </a:extLst>
          </p:cNvPr>
          <p:cNvSpPr/>
          <p:nvPr/>
        </p:nvSpPr>
        <p:spPr>
          <a:xfrm rot="5400000">
            <a:off x="541870" y="2559475"/>
            <a:ext cx="321083" cy="201237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IN" sz="2400" dirty="0">
              <a:solidFill>
                <a:srgbClr val="FFFFFF"/>
              </a:solidFill>
            </a:endParaRPr>
          </a:p>
        </p:txBody>
      </p:sp>
      <p:sp>
        <p:nvSpPr>
          <p:cNvPr id="102" name="Shape12_20220427_135811">
            <a:extLst>
              <a:ext uri="{FF2B5EF4-FFF2-40B4-BE49-F238E27FC236}">
                <a16:creationId xmlns:a16="http://schemas.microsoft.com/office/drawing/2014/main" id="{95ACCDB2-8366-0017-BF09-B58FCAC9597E}"/>
              </a:ext>
            </a:extLst>
          </p:cNvPr>
          <p:cNvSpPr txBox="1"/>
          <p:nvPr/>
        </p:nvSpPr>
        <p:spPr>
          <a:xfrm>
            <a:off x="985719" y="2542030"/>
            <a:ext cx="3615664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>
                <a:cs typeface="Arial" panose="020B0604020202020204" pitchFamily="34" charset="0"/>
              </a:rPr>
              <a:t>Title</a:t>
            </a:r>
            <a:endParaRPr lang="en-IN" sz="1600" b="1" dirty="0">
              <a:cs typeface="Arial" panose="020B0604020202020204" pitchFamily="34" charset="0"/>
            </a:endParaRPr>
          </a:p>
        </p:txBody>
      </p:sp>
      <p:sp>
        <p:nvSpPr>
          <p:cNvPr id="103" name="Shape13_20220427_135811">
            <a:extLst>
              <a:ext uri="{FF2B5EF4-FFF2-40B4-BE49-F238E27FC236}">
                <a16:creationId xmlns:a16="http://schemas.microsoft.com/office/drawing/2014/main" id="{F1630B1F-CB4F-2D42-417A-41EF6125E82D}"/>
              </a:ext>
            </a:extLst>
          </p:cNvPr>
          <p:cNvSpPr txBox="1"/>
          <p:nvPr/>
        </p:nvSpPr>
        <p:spPr>
          <a:xfrm>
            <a:off x="985719" y="2916939"/>
            <a:ext cx="3615664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cs typeface="Arial" panose="020B0604020202020204" pitchFamily="34" charset="0"/>
              </a:rPr>
              <a:t>Insert Text Here</a:t>
            </a:r>
            <a:endParaRPr lang="en-IN" sz="1400" dirty="0">
              <a:cs typeface="Arial" panose="020B0604020202020204" pitchFamily="34" charset="0"/>
            </a:endParaRPr>
          </a:p>
        </p:txBody>
      </p:sp>
      <p:sp>
        <p:nvSpPr>
          <p:cNvPr id="104" name="Isosceles Triangle 103">
            <a:extLst>
              <a:ext uri="{FF2B5EF4-FFF2-40B4-BE49-F238E27FC236}">
                <a16:creationId xmlns:a16="http://schemas.microsoft.com/office/drawing/2014/main" id="{2FFE2F4C-ED30-F544-05FD-CFDFA55386C6}"/>
              </a:ext>
            </a:extLst>
          </p:cNvPr>
          <p:cNvSpPr/>
          <p:nvPr/>
        </p:nvSpPr>
        <p:spPr>
          <a:xfrm rot="5400000">
            <a:off x="541870" y="3842062"/>
            <a:ext cx="321083" cy="201237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IN" sz="2400" dirty="0">
              <a:solidFill>
                <a:srgbClr val="FFFFFF"/>
              </a:solidFill>
            </a:endParaRPr>
          </a:p>
        </p:txBody>
      </p:sp>
      <p:sp>
        <p:nvSpPr>
          <p:cNvPr id="105" name="Shape14_20220427_135811">
            <a:extLst>
              <a:ext uri="{FF2B5EF4-FFF2-40B4-BE49-F238E27FC236}">
                <a16:creationId xmlns:a16="http://schemas.microsoft.com/office/drawing/2014/main" id="{54FDA9C1-545E-7CEF-7A64-8A81AEB4D73E}"/>
              </a:ext>
            </a:extLst>
          </p:cNvPr>
          <p:cNvSpPr txBox="1"/>
          <p:nvPr/>
        </p:nvSpPr>
        <p:spPr>
          <a:xfrm>
            <a:off x="985719" y="3824616"/>
            <a:ext cx="3615664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>
                <a:cs typeface="Arial" panose="020B0604020202020204" pitchFamily="34" charset="0"/>
              </a:rPr>
              <a:t>Title</a:t>
            </a:r>
            <a:endParaRPr lang="en-IN" sz="1600" b="1" dirty="0">
              <a:cs typeface="Arial" panose="020B0604020202020204" pitchFamily="34" charset="0"/>
            </a:endParaRPr>
          </a:p>
        </p:txBody>
      </p:sp>
      <p:sp>
        <p:nvSpPr>
          <p:cNvPr id="106" name="Shape15_20220427_135811">
            <a:extLst>
              <a:ext uri="{FF2B5EF4-FFF2-40B4-BE49-F238E27FC236}">
                <a16:creationId xmlns:a16="http://schemas.microsoft.com/office/drawing/2014/main" id="{321A6192-BB6B-CDED-649F-3A2DCDF9E5AD}"/>
              </a:ext>
            </a:extLst>
          </p:cNvPr>
          <p:cNvSpPr txBox="1"/>
          <p:nvPr/>
        </p:nvSpPr>
        <p:spPr>
          <a:xfrm>
            <a:off x="985719" y="4199526"/>
            <a:ext cx="3615664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cs typeface="Arial" panose="020B0604020202020204" pitchFamily="34" charset="0"/>
              </a:rPr>
              <a:t>Insert Text Here</a:t>
            </a:r>
            <a:endParaRPr lang="en-IN" sz="1400" dirty="0">
              <a:cs typeface="Arial" panose="020B0604020202020204" pitchFamily="34" charset="0"/>
            </a:endParaRPr>
          </a:p>
        </p:txBody>
      </p:sp>
      <p:sp>
        <p:nvSpPr>
          <p:cNvPr id="107" name="Isosceles Triangle 106">
            <a:extLst>
              <a:ext uri="{FF2B5EF4-FFF2-40B4-BE49-F238E27FC236}">
                <a16:creationId xmlns:a16="http://schemas.microsoft.com/office/drawing/2014/main" id="{117EE99E-BB37-9AE1-3B22-229A2F4BB5DC}"/>
              </a:ext>
            </a:extLst>
          </p:cNvPr>
          <p:cNvSpPr/>
          <p:nvPr/>
        </p:nvSpPr>
        <p:spPr>
          <a:xfrm rot="5400000">
            <a:off x="541870" y="5124651"/>
            <a:ext cx="321083" cy="201237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IN" sz="2400" dirty="0">
              <a:solidFill>
                <a:srgbClr val="FFFFFF"/>
              </a:solidFill>
            </a:endParaRPr>
          </a:p>
        </p:txBody>
      </p:sp>
      <p:sp>
        <p:nvSpPr>
          <p:cNvPr id="108" name="Shape16_20220427_135811">
            <a:extLst>
              <a:ext uri="{FF2B5EF4-FFF2-40B4-BE49-F238E27FC236}">
                <a16:creationId xmlns:a16="http://schemas.microsoft.com/office/drawing/2014/main" id="{FF52CB7B-89B6-2345-A2A6-B3B47C71E55D}"/>
              </a:ext>
            </a:extLst>
          </p:cNvPr>
          <p:cNvSpPr txBox="1"/>
          <p:nvPr/>
        </p:nvSpPr>
        <p:spPr>
          <a:xfrm>
            <a:off x="985719" y="5107205"/>
            <a:ext cx="3615664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>
                <a:cs typeface="Arial" panose="020B0604020202020204" pitchFamily="34" charset="0"/>
              </a:rPr>
              <a:t>Title</a:t>
            </a:r>
          </a:p>
        </p:txBody>
      </p:sp>
      <p:sp>
        <p:nvSpPr>
          <p:cNvPr id="109" name="Shape17_20220427_135811">
            <a:extLst>
              <a:ext uri="{FF2B5EF4-FFF2-40B4-BE49-F238E27FC236}">
                <a16:creationId xmlns:a16="http://schemas.microsoft.com/office/drawing/2014/main" id="{D12452BB-4A45-D8A2-6E51-463FA9894992}"/>
              </a:ext>
            </a:extLst>
          </p:cNvPr>
          <p:cNvSpPr txBox="1"/>
          <p:nvPr/>
        </p:nvSpPr>
        <p:spPr>
          <a:xfrm>
            <a:off x="985719" y="5482110"/>
            <a:ext cx="3615664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cs typeface="Arial" panose="020B0604020202020204" pitchFamily="34" charset="0"/>
              </a:rPr>
              <a:t>Insert Text Here</a:t>
            </a:r>
            <a:endParaRPr lang="en-IN" sz="1400" dirty="0">
              <a:cs typeface="Arial" panose="020B0604020202020204" pitchFamily="34" charset="0"/>
            </a:endParaRPr>
          </a:p>
        </p:txBody>
      </p: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8295F125-F528-5413-9CAE-5B70F2C229B3}"/>
              </a:ext>
            </a:extLst>
          </p:cNvPr>
          <p:cNvCxnSpPr/>
          <p:nvPr/>
        </p:nvCxnSpPr>
        <p:spPr>
          <a:xfrm>
            <a:off x="985719" y="3469710"/>
            <a:ext cx="3615664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C721B838-562B-7524-B2C9-7D44C06B0D65}"/>
              </a:ext>
            </a:extLst>
          </p:cNvPr>
          <p:cNvCxnSpPr/>
          <p:nvPr/>
        </p:nvCxnSpPr>
        <p:spPr>
          <a:xfrm>
            <a:off x="985719" y="4752299"/>
            <a:ext cx="3615664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Rectangle 111">
            <a:extLst>
              <a:ext uri="{FF2B5EF4-FFF2-40B4-BE49-F238E27FC236}">
                <a16:creationId xmlns:a16="http://schemas.microsoft.com/office/drawing/2014/main" id="{136F5888-C476-45B7-0E08-33CD18A5D083}"/>
              </a:ext>
            </a:extLst>
          </p:cNvPr>
          <p:cNvSpPr/>
          <p:nvPr/>
        </p:nvSpPr>
        <p:spPr>
          <a:xfrm>
            <a:off x="1805044" y="1642892"/>
            <a:ext cx="1676741" cy="369332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400" b="1" dirty="0">
                <a:solidFill>
                  <a:schemeClr val="bg1"/>
                </a:solidFill>
                <a:ea typeface="ＭＳ Ｐゴシック" pitchFamily="-108" charset="-128"/>
              </a:rPr>
              <a:t>Case Study</a:t>
            </a:r>
            <a:endParaRPr lang="en-IN" sz="2400" b="1" dirty="0">
              <a:solidFill>
                <a:schemeClr val="bg1"/>
              </a:solidFill>
              <a:ea typeface="ＭＳ Ｐゴシック" pitchFamily="-108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618392293"/>
      </p:ext>
    </p:extLst>
  </p:cSld>
  <p:clrMapOvr>
    <a:masterClrMapping/>
  </p:clrMapOvr>
</p:sld>
</file>

<file path=ppt/slides/slide2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B45B4A9-BE1E-14E1-50E7-6C2CEA939D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AF81B69A-9090-5767-EC81-022EE14CC26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F81B69A-9090-5767-EC81-022EE14CC2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F8AEDC2-3942-DC9D-9928-633637A9D6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ase Study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0072146A-1F0F-AA46-2F8A-3D79253EDE24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203</a:t>
            </a:fld>
            <a:endParaRPr lang="en-US" sz="1200" dirty="0">
              <a:solidFill>
                <a:schemeClr val="bg1"/>
              </a:solidFill>
            </a:endParaRP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507F576B-20FA-C7C4-C39C-4D455CEAFB3E}"/>
              </a:ext>
            </a:extLst>
          </p:cNvPr>
          <p:cNvGrpSpPr/>
          <p:nvPr/>
        </p:nvGrpSpPr>
        <p:grpSpPr>
          <a:xfrm>
            <a:off x="4176717" y="1372038"/>
            <a:ext cx="3853073" cy="4619790"/>
            <a:chOff x="4176717" y="1476210"/>
            <a:chExt cx="3853073" cy="3453855"/>
          </a:xfrm>
        </p:grpSpPr>
        <p:cxnSp>
          <p:nvCxnSpPr>
            <p:cNvPr id="3" name="Shape1_20210621_181029">
              <a:extLst>
                <a:ext uri="{FF2B5EF4-FFF2-40B4-BE49-F238E27FC236}">
                  <a16:creationId xmlns:a16="http://schemas.microsoft.com/office/drawing/2014/main" id="{6E4ECB48-F0CC-67AA-CD5C-AC650F2DA86E}"/>
                </a:ext>
              </a:extLst>
            </p:cNvPr>
            <p:cNvCxnSpPr>
              <a:cxnSpLocks/>
            </p:cNvCxnSpPr>
            <p:nvPr/>
          </p:nvCxnSpPr>
          <p:spPr>
            <a:xfrm>
              <a:off x="8029790" y="1476210"/>
              <a:ext cx="0" cy="3453855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Shape0_20210621_181029">
              <a:extLst>
                <a:ext uri="{FF2B5EF4-FFF2-40B4-BE49-F238E27FC236}">
                  <a16:creationId xmlns:a16="http://schemas.microsoft.com/office/drawing/2014/main" id="{BD82938D-CDB1-FAE3-7630-888DDC100CAF}"/>
                </a:ext>
              </a:extLst>
            </p:cNvPr>
            <p:cNvCxnSpPr>
              <a:cxnSpLocks/>
            </p:cNvCxnSpPr>
            <p:nvPr/>
          </p:nvCxnSpPr>
          <p:spPr>
            <a:xfrm>
              <a:off x="4176717" y="1476210"/>
              <a:ext cx="0" cy="3453855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Shape1_20220518_131534">
            <a:extLst>
              <a:ext uri="{FF2B5EF4-FFF2-40B4-BE49-F238E27FC236}">
                <a16:creationId xmlns:a16="http://schemas.microsoft.com/office/drawing/2014/main" id="{A3B8AE86-4C9E-8791-E672-C9EB24F818E7}"/>
              </a:ext>
            </a:extLst>
          </p:cNvPr>
          <p:cNvSpPr/>
          <p:nvPr/>
        </p:nvSpPr>
        <p:spPr>
          <a:xfrm>
            <a:off x="4297133" y="1372038"/>
            <a:ext cx="3608583" cy="44058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>
                <a:solidFill>
                  <a:schemeClr val="bg1"/>
                </a:solidFill>
              </a:rPr>
              <a:t>Title</a:t>
            </a:r>
          </a:p>
        </p:txBody>
      </p:sp>
      <p:sp>
        <p:nvSpPr>
          <p:cNvPr id="30" name="Shape0_20210621_180903">
            <a:extLst>
              <a:ext uri="{FF2B5EF4-FFF2-40B4-BE49-F238E27FC236}">
                <a16:creationId xmlns:a16="http://schemas.microsoft.com/office/drawing/2014/main" id="{3AFE7046-EED6-CFD3-8B84-CD313D0E7868}"/>
              </a:ext>
            </a:extLst>
          </p:cNvPr>
          <p:cNvSpPr>
            <a:spLocks/>
          </p:cNvSpPr>
          <p:nvPr/>
        </p:nvSpPr>
        <p:spPr>
          <a:xfrm>
            <a:off x="8153879" y="1372038"/>
            <a:ext cx="3608583" cy="44058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>
                <a:solidFill>
                  <a:schemeClr val="bg1"/>
                </a:solidFill>
              </a:rPr>
              <a:t>Title</a:t>
            </a:r>
          </a:p>
        </p:txBody>
      </p:sp>
      <p:sp>
        <p:nvSpPr>
          <p:cNvPr id="31" name="Shape0_20210621_180936">
            <a:extLst>
              <a:ext uri="{FF2B5EF4-FFF2-40B4-BE49-F238E27FC236}">
                <a16:creationId xmlns:a16="http://schemas.microsoft.com/office/drawing/2014/main" id="{8FE9CE1B-23F3-9D38-1181-ECCE36ACDFA3}"/>
              </a:ext>
            </a:extLst>
          </p:cNvPr>
          <p:cNvSpPr txBox="1">
            <a:spLocks/>
          </p:cNvSpPr>
          <p:nvPr/>
        </p:nvSpPr>
        <p:spPr>
          <a:xfrm>
            <a:off x="8340539" y="1935362"/>
            <a:ext cx="3235258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>
                <a:latin typeface="+mn-lt"/>
              </a:rPr>
              <a:t>Insert Text Here</a:t>
            </a:r>
            <a:endParaRPr lang="en-IN" dirty="0">
              <a:latin typeface="+mn-lt"/>
            </a:endParaRPr>
          </a:p>
        </p:txBody>
      </p:sp>
      <p:sp>
        <p:nvSpPr>
          <p:cNvPr id="32" name="Shape2_20210621_180903">
            <a:extLst>
              <a:ext uri="{FF2B5EF4-FFF2-40B4-BE49-F238E27FC236}">
                <a16:creationId xmlns:a16="http://schemas.microsoft.com/office/drawing/2014/main" id="{C2DAC14B-861B-5E2D-0872-3D331A9A393E}"/>
              </a:ext>
            </a:extLst>
          </p:cNvPr>
          <p:cNvSpPr/>
          <p:nvPr/>
        </p:nvSpPr>
        <p:spPr>
          <a:xfrm>
            <a:off x="447728" y="1372038"/>
            <a:ext cx="3608583" cy="44058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>
                <a:solidFill>
                  <a:schemeClr val="bg1"/>
                </a:solidFill>
              </a:rPr>
              <a:t>Title</a:t>
            </a:r>
          </a:p>
        </p:txBody>
      </p:sp>
      <p:sp>
        <p:nvSpPr>
          <p:cNvPr id="33" name="Shape2_20210621_180936">
            <a:extLst>
              <a:ext uri="{FF2B5EF4-FFF2-40B4-BE49-F238E27FC236}">
                <a16:creationId xmlns:a16="http://schemas.microsoft.com/office/drawing/2014/main" id="{74A60087-067D-E2C3-8320-D467C0810E70}"/>
              </a:ext>
            </a:extLst>
          </p:cNvPr>
          <p:cNvSpPr txBox="1"/>
          <p:nvPr/>
        </p:nvSpPr>
        <p:spPr>
          <a:xfrm>
            <a:off x="1226278" y="2143127"/>
            <a:ext cx="283003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35" name="Shape0_20220518_131534">
            <a:extLst>
              <a:ext uri="{FF2B5EF4-FFF2-40B4-BE49-F238E27FC236}">
                <a16:creationId xmlns:a16="http://schemas.microsoft.com/office/drawing/2014/main" id="{8F3BB3F0-91FB-7B32-F4D5-1EF42F32B93E}"/>
              </a:ext>
            </a:extLst>
          </p:cNvPr>
          <p:cNvSpPr>
            <a:spLocks noEditPoints="1"/>
          </p:cNvSpPr>
          <p:nvPr/>
        </p:nvSpPr>
        <p:spPr bwMode="auto">
          <a:xfrm>
            <a:off x="475561" y="1947018"/>
            <a:ext cx="643073" cy="638433"/>
          </a:xfrm>
          <a:custGeom>
            <a:avLst/>
            <a:gdLst>
              <a:gd name="T0" fmla="*/ 1532 w 3740"/>
              <a:gd name="T1" fmla="*/ 158 h 3713"/>
              <a:gd name="T2" fmla="*/ 1117 w 3740"/>
              <a:gd name="T3" fmla="*/ 296 h 3713"/>
              <a:gd name="T4" fmla="*/ 756 w 3740"/>
              <a:gd name="T5" fmla="*/ 525 h 3713"/>
              <a:gd name="T6" fmla="*/ 463 w 3740"/>
              <a:gd name="T7" fmla="*/ 835 h 3713"/>
              <a:gd name="T8" fmla="*/ 254 w 3740"/>
              <a:gd name="T9" fmla="*/ 1209 h 3713"/>
              <a:gd name="T10" fmla="*/ 141 w 3740"/>
              <a:gd name="T11" fmla="*/ 1631 h 3713"/>
              <a:gd name="T12" fmla="*/ 141 w 3740"/>
              <a:gd name="T13" fmla="*/ 2082 h 3713"/>
              <a:gd name="T14" fmla="*/ 254 w 3740"/>
              <a:gd name="T15" fmla="*/ 2505 h 3713"/>
              <a:gd name="T16" fmla="*/ 463 w 3740"/>
              <a:gd name="T17" fmla="*/ 2878 h 3713"/>
              <a:gd name="T18" fmla="*/ 756 w 3740"/>
              <a:gd name="T19" fmla="*/ 3187 h 3713"/>
              <a:gd name="T20" fmla="*/ 1117 w 3740"/>
              <a:gd name="T21" fmla="*/ 3418 h 3713"/>
              <a:gd name="T22" fmla="*/ 1532 w 3740"/>
              <a:gd name="T23" fmla="*/ 3554 h 3713"/>
              <a:gd name="T24" fmla="*/ 1984 w 3740"/>
              <a:gd name="T25" fmla="*/ 3584 h 3713"/>
              <a:gd name="T26" fmla="*/ 2420 w 3740"/>
              <a:gd name="T27" fmla="*/ 3499 h 3713"/>
              <a:gd name="T28" fmla="*/ 2810 w 3740"/>
              <a:gd name="T29" fmla="*/ 3313 h 3713"/>
              <a:gd name="T30" fmla="*/ 3139 w 3740"/>
              <a:gd name="T31" fmla="*/ 3042 h 3713"/>
              <a:gd name="T32" fmla="*/ 3393 w 3740"/>
              <a:gd name="T33" fmla="*/ 2698 h 3713"/>
              <a:gd name="T34" fmla="*/ 3555 w 3740"/>
              <a:gd name="T35" fmla="*/ 2298 h 3713"/>
              <a:gd name="T36" fmla="*/ 3613 w 3740"/>
              <a:gd name="T37" fmla="*/ 1857 h 3713"/>
              <a:gd name="T38" fmla="*/ 3555 w 3740"/>
              <a:gd name="T39" fmla="*/ 1415 h 3713"/>
              <a:gd name="T40" fmla="*/ 3393 w 3740"/>
              <a:gd name="T41" fmla="*/ 1015 h 3713"/>
              <a:gd name="T42" fmla="*/ 3139 w 3740"/>
              <a:gd name="T43" fmla="*/ 671 h 3713"/>
              <a:gd name="T44" fmla="*/ 2810 w 3740"/>
              <a:gd name="T45" fmla="*/ 399 h 3713"/>
              <a:gd name="T46" fmla="*/ 2420 w 3740"/>
              <a:gd name="T47" fmla="*/ 215 h 3713"/>
              <a:gd name="T48" fmla="*/ 1984 w 3740"/>
              <a:gd name="T49" fmla="*/ 130 h 3713"/>
              <a:gd name="T50" fmla="*/ 1987 w 3740"/>
              <a:gd name="T51" fmla="*/ 4 h 3713"/>
              <a:gd name="T52" fmla="*/ 2439 w 3740"/>
              <a:gd name="T53" fmla="*/ 88 h 3713"/>
              <a:gd name="T54" fmla="*/ 2845 w 3740"/>
              <a:gd name="T55" fmla="*/ 272 h 3713"/>
              <a:gd name="T56" fmla="*/ 3191 w 3740"/>
              <a:gd name="T57" fmla="*/ 544 h 3713"/>
              <a:gd name="T58" fmla="*/ 3465 w 3740"/>
              <a:gd name="T59" fmla="*/ 889 h 3713"/>
              <a:gd name="T60" fmla="*/ 3651 w 3740"/>
              <a:gd name="T61" fmla="*/ 1291 h 3713"/>
              <a:gd name="T62" fmla="*/ 3736 w 3740"/>
              <a:gd name="T63" fmla="*/ 1739 h 3713"/>
              <a:gd name="T64" fmla="*/ 3708 w 3740"/>
              <a:gd name="T65" fmla="*/ 2203 h 3713"/>
              <a:gd name="T66" fmla="*/ 3571 w 3740"/>
              <a:gd name="T67" fmla="*/ 2630 h 3713"/>
              <a:gd name="T68" fmla="*/ 3338 w 3740"/>
              <a:gd name="T69" fmla="*/ 3005 h 3713"/>
              <a:gd name="T70" fmla="*/ 3027 w 3740"/>
              <a:gd name="T71" fmla="*/ 3315 h 3713"/>
              <a:gd name="T72" fmla="*/ 2649 w 3740"/>
              <a:gd name="T73" fmla="*/ 3545 h 3713"/>
              <a:gd name="T74" fmla="*/ 2218 w 3740"/>
              <a:gd name="T75" fmla="*/ 3680 h 3713"/>
              <a:gd name="T76" fmla="*/ 1751 w 3740"/>
              <a:gd name="T77" fmla="*/ 3710 h 3713"/>
              <a:gd name="T78" fmla="*/ 1301 w 3740"/>
              <a:gd name="T79" fmla="*/ 3625 h 3713"/>
              <a:gd name="T80" fmla="*/ 895 w 3740"/>
              <a:gd name="T81" fmla="*/ 3440 h 3713"/>
              <a:gd name="T82" fmla="*/ 547 w 3740"/>
              <a:gd name="T83" fmla="*/ 3169 h 3713"/>
              <a:gd name="T84" fmla="*/ 274 w 3740"/>
              <a:gd name="T85" fmla="*/ 2824 h 3713"/>
              <a:gd name="T86" fmla="*/ 88 w 3740"/>
              <a:gd name="T87" fmla="*/ 2422 h 3713"/>
              <a:gd name="T88" fmla="*/ 4 w 3740"/>
              <a:gd name="T89" fmla="*/ 1973 h 3713"/>
              <a:gd name="T90" fmla="*/ 32 w 3740"/>
              <a:gd name="T91" fmla="*/ 1511 h 3713"/>
              <a:gd name="T92" fmla="*/ 169 w 3740"/>
              <a:gd name="T93" fmla="*/ 1084 h 3713"/>
              <a:gd name="T94" fmla="*/ 401 w 3740"/>
              <a:gd name="T95" fmla="*/ 709 h 3713"/>
              <a:gd name="T96" fmla="*/ 713 w 3740"/>
              <a:gd name="T97" fmla="*/ 398 h 3713"/>
              <a:gd name="T98" fmla="*/ 1091 w 3740"/>
              <a:gd name="T99" fmla="*/ 169 h 3713"/>
              <a:gd name="T100" fmla="*/ 1522 w 3740"/>
              <a:gd name="T101" fmla="*/ 32 h 37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3740" h="3713">
                <a:moveTo>
                  <a:pt x="1870" y="125"/>
                </a:moveTo>
                <a:lnTo>
                  <a:pt x="1755" y="130"/>
                </a:lnTo>
                <a:lnTo>
                  <a:pt x="1642" y="141"/>
                </a:lnTo>
                <a:lnTo>
                  <a:pt x="1532" y="158"/>
                </a:lnTo>
                <a:lnTo>
                  <a:pt x="1424" y="183"/>
                </a:lnTo>
                <a:lnTo>
                  <a:pt x="1319" y="215"/>
                </a:lnTo>
                <a:lnTo>
                  <a:pt x="1217" y="251"/>
                </a:lnTo>
                <a:lnTo>
                  <a:pt x="1117" y="296"/>
                </a:lnTo>
                <a:lnTo>
                  <a:pt x="1022" y="345"/>
                </a:lnTo>
                <a:lnTo>
                  <a:pt x="929" y="399"/>
                </a:lnTo>
                <a:lnTo>
                  <a:pt x="840" y="461"/>
                </a:lnTo>
                <a:lnTo>
                  <a:pt x="756" y="525"/>
                </a:lnTo>
                <a:lnTo>
                  <a:pt x="675" y="596"/>
                </a:lnTo>
                <a:lnTo>
                  <a:pt x="600" y="671"/>
                </a:lnTo>
                <a:lnTo>
                  <a:pt x="529" y="751"/>
                </a:lnTo>
                <a:lnTo>
                  <a:pt x="463" y="835"/>
                </a:lnTo>
                <a:lnTo>
                  <a:pt x="402" y="923"/>
                </a:lnTo>
                <a:lnTo>
                  <a:pt x="347" y="1015"/>
                </a:lnTo>
                <a:lnTo>
                  <a:pt x="297" y="1110"/>
                </a:lnTo>
                <a:lnTo>
                  <a:pt x="254" y="1209"/>
                </a:lnTo>
                <a:lnTo>
                  <a:pt x="216" y="1310"/>
                </a:lnTo>
                <a:lnTo>
                  <a:pt x="184" y="1415"/>
                </a:lnTo>
                <a:lnTo>
                  <a:pt x="159" y="1522"/>
                </a:lnTo>
                <a:lnTo>
                  <a:pt x="141" y="1631"/>
                </a:lnTo>
                <a:lnTo>
                  <a:pt x="130" y="1743"/>
                </a:lnTo>
                <a:lnTo>
                  <a:pt x="127" y="1857"/>
                </a:lnTo>
                <a:lnTo>
                  <a:pt x="130" y="1970"/>
                </a:lnTo>
                <a:lnTo>
                  <a:pt x="141" y="2082"/>
                </a:lnTo>
                <a:lnTo>
                  <a:pt x="159" y="2191"/>
                </a:lnTo>
                <a:lnTo>
                  <a:pt x="184" y="2298"/>
                </a:lnTo>
                <a:lnTo>
                  <a:pt x="216" y="2403"/>
                </a:lnTo>
                <a:lnTo>
                  <a:pt x="254" y="2505"/>
                </a:lnTo>
                <a:lnTo>
                  <a:pt x="297" y="2603"/>
                </a:lnTo>
                <a:lnTo>
                  <a:pt x="347" y="2698"/>
                </a:lnTo>
                <a:lnTo>
                  <a:pt x="402" y="2790"/>
                </a:lnTo>
                <a:lnTo>
                  <a:pt x="463" y="2878"/>
                </a:lnTo>
                <a:lnTo>
                  <a:pt x="529" y="2962"/>
                </a:lnTo>
                <a:lnTo>
                  <a:pt x="600" y="3042"/>
                </a:lnTo>
                <a:lnTo>
                  <a:pt x="675" y="3117"/>
                </a:lnTo>
                <a:lnTo>
                  <a:pt x="756" y="3187"/>
                </a:lnTo>
                <a:lnTo>
                  <a:pt x="840" y="3253"/>
                </a:lnTo>
                <a:lnTo>
                  <a:pt x="929" y="3313"/>
                </a:lnTo>
                <a:lnTo>
                  <a:pt x="1022" y="3369"/>
                </a:lnTo>
                <a:lnTo>
                  <a:pt x="1117" y="3418"/>
                </a:lnTo>
                <a:lnTo>
                  <a:pt x="1217" y="3462"/>
                </a:lnTo>
                <a:lnTo>
                  <a:pt x="1319" y="3499"/>
                </a:lnTo>
                <a:lnTo>
                  <a:pt x="1424" y="3530"/>
                </a:lnTo>
                <a:lnTo>
                  <a:pt x="1532" y="3554"/>
                </a:lnTo>
                <a:lnTo>
                  <a:pt x="1642" y="3573"/>
                </a:lnTo>
                <a:lnTo>
                  <a:pt x="1755" y="3584"/>
                </a:lnTo>
                <a:lnTo>
                  <a:pt x="1870" y="3587"/>
                </a:lnTo>
                <a:lnTo>
                  <a:pt x="1984" y="3584"/>
                </a:lnTo>
                <a:lnTo>
                  <a:pt x="2096" y="3573"/>
                </a:lnTo>
                <a:lnTo>
                  <a:pt x="2207" y="3554"/>
                </a:lnTo>
                <a:lnTo>
                  <a:pt x="2314" y="3530"/>
                </a:lnTo>
                <a:lnTo>
                  <a:pt x="2420" y="3499"/>
                </a:lnTo>
                <a:lnTo>
                  <a:pt x="2523" y="3462"/>
                </a:lnTo>
                <a:lnTo>
                  <a:pt x="2621" y="3418"/>
                </a:lnTo>
                <a:lnTo>
                  <a:pt x="2717" y="3369"/>
                </a:lnTo>
                <a:lnTo>
                  <a:pt x="2810" y="3313"/>
                </a:lnTo>
                <a:lnTo>
                  <a:pt x="2899" y="3253"/>
                </a:lnTo>
                <a:lnTo>
                  <a:pt x="2983" y="3187"/>
                </a:lnTo>
                <a:lnTo>
                  <a:pt x="3063" y="3117"/>
                </a:lnTo>
                <a:lnTo>
                  <a:pt x="3139" y="3042"/>
                </a:lnTo>
                <a:lnTo>
                  <a:pt x="3210" y="2962"/>
                </a:lnTo>
                <a:lnTo>
                  <a:pt x="3277" y="2878"/>
                </a:lnTo>
                <a:lnTo>
                  <a:pt x="3337" y="2790"/>
                </a:lnTo>
                <a:lnTo>
                  <a:pt x="3393" y="2698"/>
                </a:lnTo>
                <a:lnTo>
                  <a:pt x="3443" y="2603"/>
                </a:lnTo>
                <a:lnTo>
                  <a:pt x="3486" y="2505"/>
                </a:lnTo>
                <a:lnTo>
                  <a:pt x="3524" y="2403"/>
                </a:lnTo>
                <a:lnTo>
                  <a:pt x="3555" y="2298"/>
                </a:lnTo>
                <a:lnTo>
                  <a:pt x="3580" y="2191"/>
                </a:lnTo>
                <a:lnTo>
                  <a:pt x="3598" y="2082"/>
                </a:lnTo>
                <a:lnTo>
                  <a:pt x="3610" y="1970"/>
                </a:lnTo>
                <a:lnTo>
                  <a:pt x="3613" y="1857"/>
                </a:lnTo>
                <a:lnTo>
                  <a:pt x="3610" y="1743"/>
                </a:lnTo>
                <a:lnTo>
                  <a:pt x="3598" y="1631"/>
                </a:lnTo>
                <a:lnTo>
                  <a:pt x="3580" y="1522"/>
                </a:lnTo>
                <a:lnTo>
                  <a:pt x="3555" y="1415"/>
                </a:lnTo>
                <a:lnTo>
                  <a:pt x="3524" y="1310"/>
                </a:lnTo>
                <a:lnTo>
                  <a:pt x="3486" y="1209"/>
                </a:lnTo>
                <a:lnTo>
                  <a:pt x="3443" y="1110"/>
                </a:lnTo>
                <a:lnTo>
                  <a:pt x="3393" y="1015"/>
                </a:lnTo>
                <a:lnTo>
                  <a:pt x="3337" y="923"/>
                </a:lnTo>
                <a:lnTo>
                  <a:pt x="3277" y="835"/>
                </a:lnTo>
                <a:lnTo>
                  <a:pt x="3210" y="751"/>
                </a:lnTo>
                <a:lnTo>
                  <a:pt x="3139" y="671"/>
                </a:lnTo>
                <a:lnTo>
                  <a:pt x="3063" y="596"/>
                </a:lnTo>
                <a:lnTo>
                  <a:pt x="2983" y="525"/>
                </a:lnTo>
                <a:lnTo>
                  <a:pt x="2899" y="461"/>
                </a:lnTo>
                <a:lnTo>
                  <a:pt x="2810" y="399"/>
                </a:lnTo>
                <a:lnTo>
                  <a:pt x="2717" y="345"/>
                </a:lnTo>
                <a:lnTo>
                  <a:pt x="2621" y="296"/>
                </a:lnTo>
                <a:lnTo>
                  <a:pt x="2523" y="251"/>
                </a:lnTo>
                <a:lnTo>
                  <a:pt x="2420" y="215"/>
                </a:lnTo>
                <a:lnTo>
                  <a:pt x="2314" y="183"/>
                </a:lnTo>
                <a:lnTo>
                  <a:pt x="2207" y="158"/>
                </a:lnTo>
                <a:lnTo>
                  <a:pt x="2096" y="141"/>
                </a:lnTo>
                <a:lnTo>
                  <a:pt x="1984" y="130"/>
                </a:lnTo>
                <a:lnTo>
                  <a:pt x="1870" y="125"/>
                </a:lnTo>
                <a:close/>
                <a:moveTo>
                  <a:pt x="1870" y="0"/>
                </a:moveTo>
                <a:lnTo>
                  <a:pt x="1870" y="0"/>
                </a:lnTo>
                <a:lnTo>
                  <a:pt x="1987" y="4"/>
                </a:lnTo>
                <a:lnTo>
                  <a:pt x="2105" y="15"/>
                </a:lnTo>
                <a:lnTo>
                  <a:pt x="2218" y="32"/>
                </a:lnTo>
                <a:lnTo>
                  <a:pt x="2330" y="57"/>
                </a:lnTo>
                <a:lnTo>
                  <a:pt x="2439" y="88"/>
                </a:lnTo>
                <a:lnTo>
                  <a:pt x="2545" y="125"/>
                </a:lnTo>
                <a:lnTo>
                  <a:pt x="2649" y="169"/>
                </a:lnTo>
                <a:lnTo>
                  <a:pt x="2748" y="218"/>
                </a:lnTo>
                <a:lnTo>
                  <a:pt x="2845" y="272"/>
                </a:lnTo>
                <a:lnTo>
                  <a:pt x="2938" y="334"/>
                </a:lnTo>
                <a:lnTo>
                  <a:pt x="3027" y="398"/>
                </a:lnTo>
                <a:lnTo>
                  <a:pt x="3111" y="469"/>
                </a:lnTo>
                <a:lnTo>
                  <a:pt x="3191" y="544"/>
                </a:lnTo>
                <a:lnTo>
                  <a:pt x="3267" y="624"/>
                </a:lnTo>
                <a:lnTo>
                  <a:pt x="3338" y="709"/>
                </a:lnTo>
                <a:lnTo>
                  <a:pt x="3405" y="797"/>
                </a:lnTo>
                <a:lnTo>
                  <a:pt x="3465" y="889"/>
                </a:lnTo>
                <a:lnTo>
                  <a:pt x="3521" y="984"/>
                </a:lnTo>
                <a:lnTo>
                  <a:pt x="3571" y="1084"/>
                </a:lnTo>
                <a:lnTo>
                  <a:pt x="3614" y="1186"/>
                </a:lnTo>
                <a:lnTo>
                  <a:pt x="3651" y="1291"/>
                </a:lnTo>
                <a:lnTo>
                  <a:pt x="3683" y="1401"/>
                </a:lnTo>
                <a:lnTo>
                  <a:pt x="3708" y="1511"/>
                </a:lnTo>
                <a:lnTo>
                  <a:pt x="3726" y="1624"/>
                </a:lnTo>
                <a:lnTo>
                  <a:pt x="3736" y="1739"/>
                </a:lnTo>
                <a:lnTo>
                  <a:pt x="3740" y="1857"/>
                </a:lnTo>
                <a:lnTo>
                  <a:pt x="3736" y="1973"/>
                </a:lnTo>
                <a:lnTo>
                  <a:pt x="3726" y="2089"/>
                </a:lnTo>
                <a:lnTo>
                  <a:pt x="3708" y="2203"/>
                </a:lnTo>
                <a:lnTo>
                  <a:pt x="3683" y="2313"/>
                </a:lnTo>
                <a:lnTo>
                  <a:pt x="3651" y="2422"/>
                </a:lnTo>
                <a:lnTo>
                  <a:pt x="3614" y="2528"/>
                </a:lnTo>
                <a:lnTo>
                  <a:pt x="3571" y="2630"/>
                </a:lnTo>
                <a:lnTo>
                  <a:pt x="3521" y="2729"/>
                </a:lnTo>
                <a:lnTo>
                  <a:pt x="3465" y="2824"/>
                </a:lnTo>
                <a:lnTo>
                  <a:pt x="3405" y="2917"/>
                </a:lnTo>
                <a:lnTo>
                  <a:pt x="3338" y="3005"/>
                </a:lnTo>
                <a:lnTo>
                  <a:pt x="3267" y="3089"/>
                </a:lnTo>
                <a:lnTo>
                  <a:pt x="3191" y="3169"/>
                </a:lnTo>
                <a:lnTo>
                  <a:pt x="3111" y="3244"/>
                </a:lnTo>
                <a:lnTo>
                  <a:pt x="3027" y="3315"/>
                </a:lnTo>
                <a:lnTo>
                  <a:pt x="2938" y="3380"/>
                </a:lnTo>
                <a:lnTo>
                  <a:pt x="2845" y="3440"/>
                </a:lnTo>
                <a:lnTo>
                  <a:pt x="2748" y="3496"/>
                </a:lnTo>
                <a:lnTo>
                  <a:pt x="2649" y="3545"/>
                </a:lnTo>
                <a:lnTo>
                  <a:pt x="2545" y="3589"/>
                </a:lnTo>
                <a:lnTo>
                  <a:pt x="2439" y="3625"/>
                </a:lnTo>
                <a:lnTo>
                  <a:pt x="2330" y="3657"/>
                </a:lnTo>
                <a:lnTo>
                  <a:pt x="2218" y="3680"/>
                </a:lnTo>
                <a:lnTo>
                  <a:pt x="2105" y="3699"/>
                </a:lnTo>
                <a:lnTo>
                  <a:pt x="1987" y="3710"/>
                </a:lnTo>
                <a:lnTo>
                  <a:pt x="1870" y="3713"/>
                </a:lnTo>
                <a:lnTo>
                  <a:pt x="1751" y="3710"/>
                </a:lnTo>
                <a:lnTo>
                  <a:pt x="1635" y="3699"/>
                </a:lnTo>
                <a:lnTo>
                  <a:pt x="1522" y="3680"/>
                </a:lnTo>
                <a:lnTo>
                  <a:pt x="1410" y="3657"/>
                </a:lnTo>
                <a:lnTo>
                  <a:pt x="1301" y="3625"/>
                </a:lnTo>
                <a:lnTo>
                  <a:pt x="1195" y="3589"/>
                </a:lnTo>
                <a:lnTo>
                  <a:pt x="1091" y="3545"/>
                </a:lnTo>
                <a:lnTo>
                  <a:pt x="991" y="3496"/>
                </a:lnTo>
                <a:lnTo>
                  <a:pt x="895" y="3440"/>
                </a:lnTo>
                <a:lnTo>
                  <a:pt x="802" y="3380"/>
                </a:lnTo>
                <a:lnTo>
                  <a:pt x="713" y="3315"/>
                </a:lnTo>
                <a:lnTo>
                  <a:pt x="628" y="3244"/>
                </a:lnTo>
                <a:lnTo>
                  <a:pt x="547" y="3169"/>
                </a:lnTo>
                <a:lnTo>
                  <a:pt x="472" y="3089"/>
                </a:lnTo>
                <a:lnTo>
                  <a:pt x="401" y="3005"/>
                </a:lnTo>
                <a:lnTo>
                  <a:pt x="335" y="2917"/>
                </a:lnTo>
                <a:lnTo>
                  <a:pt x="274" y="2824"/>
                </a:lnTo>
                <a:lnTo>
                  <a:pt x="219" y="2729"/>
                </a:lnTo>
                <a:lnTo>
                  <a:pt x="169" y="2630"/>
                </a:lnTo>
                <a:lnTo>
                  <a:pt x="126" y="2528"/>
                </a:lnTo>
                <a:lnTo>
                  <a:pt x="88" y="2422"/>
                </a:lnTo>
                <a:lnTo>
                  <a:pt x="57" y="2313"/>
                </a:lnTo>
                <a:lnTo>
                  <a:pt x="32" y="2203"/>
                </a:lnTo>
                <a:lnTo>
                  <a:pt x="14" y="2089"/>
                </a:lnTo>
                <a:lnTo>
                  <a:pt x="4" y="1973"/>
                </a:lnTo>
                <a:lnTo>
                  <a:pt x="0" y="1857"/>
                </a:lnTo>
                <a:lnTo>
                  <a:pt x="4" y="1739"/>
                </a:lnTo>
                <a:lnTo>
                  <a:pt x="14" y="1624"/>
                </a:lnTo>
                <a:lnTo>
                  <a:pt x="32" y="1511"/>
                </a:lnTo>
                <a:lnTo>
                  <a:pt x="57" y="1401"/>
                </a:lnTo>
                <a:lnTo>
                  <a:pt x="88" y="1291"/>
                </a:lnTo>
                <a:lnTo>
                  <a:pt x="126" y="1186"/>
                </a:lnTo>
                <a:lnTo>
                  <a:pt x="169" y="1084"/>
                </a:lnTo>
                <a:lnTo>
                  <a:pt x="219" y="984"/>
                </a:lnTo>
                <a:lnTo>
                  <a:pt x="274" y="889"/>
                </a:lnTo>
                <a:lnTo>
                  <a:pt x="335" y="797"/>
                </a:lnTo>
                <a:lnTo>
                  <a:pt x="401" y="709"/>
                </a:lnTo>
                <a:lnTo>
                  <a:pt x="472" y="624"/>
                </a:lnTo>
                <a:lnTo>
                  <a:pt x="547" y="544"/>
                </a:lnTo>
                <a:lnTo>
                  <a:pt x="628" y="469"/>
                </a:lnTo>
                <a:lnTo>
                  <a:pt x="713" y="398"/>
                </a:lnTo>
                <a:lnTo>
                  <a:pt x="802" y="334"/>
                </a:lnTo>
                <a:lnTo>
                  <a:pt x="895" y="272"/>
                </a:lnTo>
                <a:lnTo>
                  <a:pt x="991" y="218"/>
                </a:lnTo>
                <a:lnTo>
                  <a:pt x="1091" y="169"/>
                </a:lnTo>
                <a:lnTo>
                  <a:pt x="1195" y="125"/>
                </a:lnTo>
                <a:lnTo>
                  <a:pt x="1301" y="88"/>
                </a:lnTo>
                <a:lnTo>
                  <a:pt x="1410" y="57"/>
                </a:lnTo>
                <a:lnTo>
                  <a:pt x="1522" y="32"/>
                </a:lnTo>
                <a:lnTo>
                  <a:pt x="1635" y="15"/>
                </a:lnTo>
                <a:lnTo>
                  <a:pt x="1751" y="4"/>
                </a:lnTo>
                <a:lnTo>
                  <a:pt x="1870" y="0"/>
                </a:lnTo>
                <a:close/>
              </a:path>
            </a:pathLst>
          </a:custGeom>
          <a:solidFill>
            <a:schemeClr val="tx2"/>
          </a:solidFill>
          <a:ln w="19050">
            <a:solidFill>
              <a:schemeClr val="tx2"/>
            </a:solidFill>
            <a:prstDash val="solid"/>
            <a:round/>
            <a:headEnd/>
            <a:tailEnd/>
          </a:ln>
        </p:spPr>
        <p:txBody>
          <a:bodyPr vert="horz" wrap="square" lIns="150148" tIns="75075" rIns="150148" bIns="75075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dirty="0">
              <a:solidFill>
                <a:prstClr val="black"/>
              </a:solidFill>
            </a:endParaRP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BDF39E3B-FD53-673E-28A0-125B27006313}"/>
              </a:ext>
            </a:extLst>
          </p:cNvPr>
          <p:cNvGrpSpPr/>
          <p:nvPr/>
        </p:nvGrpSpPr>
        <p:grpSpPr>
          <a:xfrm>
            <a:off x="624173" y="2094750"/>
            <a:ext cx="345852" cy="342973"/>
            <a:chOff x="624173" y="2198922"/>
            <a:chExt cx="345852" cy="342973"/>
          </a:xfrm>
          <a:solidFill>
            <a:schemeClr val="accent1"/>
          </a:solidFill>
        </p:grpSpPr>
        <p:sp>
          <p:nvSpPr>
            <p:cNvPr id="37" name="Freeform 1532">
              <a:extLst>
                <a:ext uri="{FF2B5EF4-FFF2-40B4-BE49-F238E27FC236}">
                  <a16:creationId xmlns:a16="http://schemas.microsoft.com/office/drawing/2014/main" id="{4C283051-14FC-A535-EE15-D45EA71091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1577" y="2433816"/>
              <a:ext cx="84998" cy="83582"/>
            </a:xfrm>
            <a:custGeom>
              <a:avLst/>
              <a:gdLst>
                <a:gd name="T0" fmla="*/ 16 w 41"/>
                <a:gd name="T1" fmla="*/ 41 h 41"/>
                <a:gd name="T2" fmla="*/ 13 w 41"/>
                <a:gd name="T3" fmla="*/ 40 h 41"/>
                <a:gd name="T4" fmla="*/ 1 w 41"/>
                <a:gd name="T5" fmla="*/ 28 h 41"/>
                <a:gd name="T6" fmla="*/ 0 w 41"/>
                <a:gd name="T7" fmla="*/ 24 h 41"/>
                <a:gd name="T8" fmla="*/ 5 w 41"/>
                <a:gd name="T9" fmla="*/ 7 h 41"/>
                <a:gd name="T10" fmla="*/ 7 w 41"/>
                <a:gd name="T11" fmla="*/ 5 h 41"/>
                <a:gd name="T12" fmla="*/ 24 w 41"/>
                <a:gd name="T13" fmla="*/ 0 h 41"/>
                <a:gd name="T14" fmla="*/ 28 w 41"/>
                <a:gd name="T15" fmla="*/ 1 h 41"/>
                <a:gd name="T16" fmla="*/ 40 w 41"/>
                <a:gd name="T17" fmla="*/ 14 h 41"/>
                <a:gd name="T18" fmla="*/ 40 w 41"/>
                <a:gd name="T19" fmla="*/ 14 h 41"/>
                <a:gd name="T20" fmla="*/ 41 w 41"/>
                <a:gd name="T21" fmla="*/ 17 h 41"/>
                <a:gd name="T22" fmla="*/ 36 w 41"/>
                <a:gd name="T23" fmla="*/ 34 h 41"/>
                <a:gd name="T24" fmla="*/ 34 w 41"/>
                <a:gd name="T25" fmla="*/ 37 h 41"/>
                <a:gd name="T26" fmla="*/ 17 w 41"/>
                <a:gd name="T27" fmla="*/ 41 h 41"/>
                <a:gd name="T28" fmla="*/ 16 w 41"/>
                <a:gd name="T29" fmla="*/ 41 h 41"/>
                <a:gd name="T30" fmla="*/ 5 w 41"/>
                <a:gd name="T31" fmla="*/ 25 h 41"/>
                <a:gd name="T32" fmla="*/ 16 w 41"/>
                <a:gd name="T33" fmla="*/ 36 h 41"/>
                <a:gd name="T34" fmla="*/ 32 w 41"/>
                <a:gd name="T35" fmla="*/ 32 h 41"/>
                <a:gd name="T36" fmla="*/ 36 w 41"/>
                <a:gd name="T37" fmla="*/ 17 h 41"/>
                <a:gd name="T38" fmla="*/ 25 w 41"/>
                <a:gd name="T39" fmla="*/ 5 h 41"/>
                <a:gd name="T40" fmla="*/ 9 w 41"/>
                <a:gd name="T41" fmla="*/ 9 h 41"/>
                <a:gd name="T42" fmla="*/ 5 w 41"/>
                <a:gd name="T43" fmla="*/ 25 h 41"/>
                <a:gd name="T44" fmla="*/ 32 w 41"/>
                <a:gd name="T45" fmla="*/ 33 h 41"/>
                <a:gd name="T46" fmla="*/ 32 w 41"/>
                <a:gd name="T47" fmla="*/ 33 h 41"/>
                <a:gd name="T48" fmla="*/ 5 w 41"/>
                <a:gd name="T49" fmla="*/ 26 h 41"/>
                <a:gd name="T50" fmla="*/ 5 w 41"/>
                <a:gd name="T51" fmla="*/ 26 h 41"/>
                <a:gd name="T52" fmla="*/ 5 w 41"/>
                <a:gd name="T53" fmla="*/ 26 h 41"/>
                <a:gd name="T54" fmla="*/ 36 w 41"/>
                <a:gd name="T55" fmla="*/ 16 h 41"/>
                <a:gd name="T56" fmla="*/ 36 w 41"/>
                <a:gd name="T57" fmla="*/ 16 h 41"/>
                <a:gd name="T58" fmla="*/ 9 w 41"/>
                <a:gd name="T59" fmla="*/ 9 h 41"/>
                <a:gd name="T60" fmla="*/ 9 w 41"/>
                <a:gd name="T61" fmla="*/ 9 h 41"/>
                <a:gd name="T62" fmla="*/ 9 w 41"/>
                <a:gd name="T63" fmla="*/ 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" h="41">
                  <a:moveTo>
                    <a:pt x="16" y="41"/>
                  </a:moveTo>
                  <a:cubicBezTo>
                    <a:pt x="15" y="41"/>
                    <a:pt x="14" y="41"/>
                    <a:pt x="13" y="40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0" y="27"/>
                    <a:pt x="0" y="26"/>
                    <a:pt x="0" y="24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6" y="5"/>
                    <a:pt x="7" y="5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5" y="0"/>
                    <a:pt x="27" y="0"/>
                    <a:pt x="28" y="1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41" y="15"/>
                    <a:pt x="41" y="16"/>
                    <a:pt x="41" y="17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36" y="35"/>
                    <a:pt x="35" y="36"/>
                    <a:pt x="34" y="37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1"/>
                    <a:pt x="16" y="41"/>
                    <a:pt x="16" y="41"/>
                  </a:cubicBezTo>
                  <a:close/>
                  <a:moveTo>
                    <a:pt x="5" y="25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9" y="9"/>
                    <a:pt x="9" y="9"/>
                    <a:pt x="9" y="9"/>
                  </a:cubicBezTo>
                  <a:lnTo>
                    <a:pt x="5" y="25"/>
                  </a:lnTo>
                  <a:close/>
                  <a:moveTo>
                    <a:pt x="32" y="33"/>
                  </a:moveTo>
                  <a:cubicBezTo>
                    <a:pt x="32" y="33"/>
                    <a:pt x="32" y="33"/>
                    <a:pt x="32" y="33"/>
                  </a:cubicBezTo>
                  <a:close/>
                  <a:moveTo>
                    <a:pt x="5" y="26"/>
                  </a:move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lose/>
                  <a:moveTo>
                    <a:pt x="36" y="16"/>
                  </a:moveTo>
                  <a:cubicBezTo>
                    <a:pt x="36" y="16"/>
                    <a:pt x="36" y="16"/>
                    <a:pt x="36" y="16"/>
                  </a:cubicBezTo>
                  <a:close/>
                  <a:moveTo>
                    <a:pt x="9" y="9"/>
                  </a:move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38" name="Freeform 1533">
              <a:extLst>
                <a:ext uri="{FF2B5EF4-FFF2-40B4-BE49-F238E27FC236}">
                  <a16:creationId xmlns:a16="http://schemas.microsoft.com/office/drawing/2014/main" id="{E4DEBCDD-EF57-A57E-0F30-B2C0E90B4FD4}"/>
                </a:ext>
              </a:extLst>
            </p:cNvPr>
            <p:cNvSpPr>
              <a:spLocks/>
            </p:cNvSpPr>
            <p:nvPr/>
          </p:nvSpPr>
          <p:spPr bwMode="auto">
            <a:xfrm>
              <a:off x="627104" y="2201803"/>
              <a:ext cx="95258" cy="93669"/>
            </a:xfrm>
            <a:custGeom>
              <a:avLst/>
              <a:gdLst>
                <a:gd name="T0" fmla="*/ 18 w 46"/>
                <a:gd name="T1" fmla="*/ 46 h 46"/>
                <a:gd name="T2" fmla="*/ 16 w 46"/>
                <a:gd name="T3" fmla="*/ 45 h 46"/>
                <a:gd name="T4" fmla="*/ 1 w 46"/>
                <a:gd name="T5" fmla="*/ 30 h 46"/>
                <a:gd name="T6" fmla="*/ 1 w 46"/>
                <a:gd name="T7" fmla="*/ 26 h 46"/>
                <a:gd name="T8" fmla="*/ 5 w 46"/>
                <a:gd name="T9" fmla="*/ 26 h 46"/>
                <a:gd name="T10" fmla="*/ 19 w 46"/>
                <a:gd name="T11" fmla="*/ 41 h 46"/>
                <a:gd name="T12" fmla="*/ 36 w 46"/>
                <a:gd name="T13" fmla="*/ 36 h 46"/>
                <a:gd name="T14" fmla="*/ 40 w 46"/>
                <a:gd name="T15" fmla="*/ 19 h 46"/>
                <a:gd name="T16" fmla="*/ 26 w 46"/>
                <a:gd name="T17" fmla="*/ 5 h 46"/>
                <a:gd name="T18" fmla="*/ 26 w 46"/>
                <a:gd name="T19" fmla="*/ 1 h 46"/>
                <a:gd name="T20" fmla="*/ 30 w 46"/>
                <a:gd name="T21" fmla="*/ 1 h 46"/>
                <a:gd name="T22" fmla="*/ 45 w 46"/>
                <a:gd name="T23" fmla="*/ 17 h 46"/>
                <a:gd name="T24" fmla="*/ 45 w 46"/>
                <a:gd name="T25" fmla="*/ 19 h 46"/>
                <a:gd name="T26" fmla="*/ 40 w 46"/>
                <a:gd name="T27" fmla="*/ 39 h 46"/>
                <a:gd name="T28" fmla="*/ 38 w 46"/>
                <a:gd name="T29" fmla="*/ 40 h 46"/>
                <a:gd name="T30" fmla="*/ 19 w 46"/>
                <a:gd name="T31" fmla="*/ 46 h 46"/>
                <a:gd name="T32" fmla="*/ 18 w 46"/>
                <a:gd name="T33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" h="46">
                  <a:moveTo>
                    <a:pt x="18" y="46"/>
                  </a:moveTo>
                  <a:cubicBezTo>
                    <a:pt x="18" y="46"/>
                    <a:pt x="17" y="46"/>
                    <a:pt x="16" y="45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0" y="29"/>
                    <a:pt x="0" y="27"/>
                    <a:pt x="1" y="26"/>
                  </a:cubicBezTo>
                  <a:cubicBezTo>
                    <a:pt x="2" y="25"/>
                    <a:pt x="4" y="25"/>
                    <a:pt x="5" y="26"/>
                  </a:cubicBezTo>
                  <a:cubicBezTo>
                    <a:pt x="19" y="41"/>
                    <a:pt x="19" y="41"/>
                    <a:pt x="19" y="41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5" y="4"/>
                    <a:pt x="25" y="2"/>
                    <a:pt x="26" y="1"/>
                  </a:cubicBezTo>
                  <a:cubicBezTo>
                    <a:pt x="27" y="0"/>
                    <a:pt x="29" y="0"/>
                    <a:pt x="30" y="1"/>
                  </a:cubicBezTo>
                  <a:cubicBezTo>
                    <a:pt x="45" y="17"/>
                    <a:pt x="45" y="17"/>
                    <a:pt x="45" y="17"/>
                  </a:cubicBezTo>
                  <a:cubicBezTo>
                    <a:pt x="45" y="17"/>
                    <a:pt x="46" y="18"/>
                    <a:pt x="45" y="19"/>
                  </a:cubicBezTo>
                  <a:cubicBezTo>
                    <a:pt x="40" y="39"/>
                    <a:pt x="40" y="39"/>
                    <a:pt x="40" y="39"/>
                  </a:cubicBezTo>
                  <a:cubicBezTo>
                    <a:pt x="40" y="40"/>
                    <a:pt x="39" y="40"/>
                    <a:pt x="38" y="40"/>
                  </a:cubicBezTo>
                  <a:cubicBezTo>
                    <a:pt x="19" y="46"/>
                    <a:pt x="19" y="46"/>
                    <a:pt x="19" y="46"/>
                  </a:cubicBezTo>
                  <a:cubicBezTo>
                    <a:pt x="19" y="46"/>
                    <a:pt x="18" y="46"/>
                    <a:pt x="18" y="4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39" name="Freeform 1534">
              <a:extLst>
                <a:ext uri="{FF2B5EF4-FFF2-40B4-BE49-F238E27FC236}">
                  <a16:creationId xmlns:a16="http://schemas.microsoft.com/office/drawing/2014/main" id="{7F62F088-615F-81BA-AD65-BFB2EAE02711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173" y="2252239"/>
              <a:ext cx="106981" cy="82142"/>
            </a:xfrm>
            <a:custGeom>
              <a:avLst/>
              <a:gdLst>
                <a:gd name="T0" fmla="*/ 33 w 51"/>
                <a:gd name="T1" fmla="*/ 40 h 40"/>
                <a:gd name="T2" fmla="*/ 11 w 51"/>
                <a:gd name="T3" fmla="*/ 30 h 40"/>
                <a:gd name="T4" fmla="*/ 1 w 51"/>
                <a:gd name="T5" fmla="*/ 3 h 40"/>
                <a:gd name="T6" fmla="*/ 4 w 51"/>
                <a:gd name="T7" fmla="*/ 1 h 40"/>
                <a:gd name="T8" fmla="*/ 6 w 51"/>
                <a:gd name="T9" fmla="*/ 3 h 40"/>
                <a:gd name="T10" fmla="*/ 14 w 51"/>
                <a:gd name="T11" fmla="*/ 27 h 40"/>
                <a:gd name="T12" fmla="*/ 47 w 51"/>
                <a:gd name="T13" fmla="*/ 31 h 40"/>
                <a:gd name="T14" fmla="*/ 50 w 51"/>
                <a:gd name="T15" fmla="*/ 32 h 40"/>
                <a:gd name="T16" fmla="*/ 50 w 51"/>
                <a:gd name="T17" fmla="*/ 35 h 40"/>
                <a:gd name="T18" fmla="*/ 33 w 51"/>
                <a:gd name="T19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" h="40">
                  <a:moveTo>
                    <a:pt x="33" y="40"/>
                  </a:moveTo>
                  <a:cubicBezTo>
                    <a:pt x="25" y="40"/>
                    <a:pt x="17" y="36"/>
                    <a:pt x="11" y="30"/>
                  </a:cubicBezTo>
                  <a:cubicBezTo>
                    <a:pt x="3" y="23"/>
                    <a:pt x="0" y="13"/>
                    <a:pt x="1" y="3"/>
                  </a:cubicBezTo>
                  <a:cubicBezTo>
                    <a:pt x="2" y="1"/>
                    <a:pt x="3" y="0"/>
                    <a:pt x="4" y="1"/>
                  </a:cubicBezTo>
                  <a:cubicBezTo>
                    <a:pt x="6" y="1"/>
                    <a:pt x="7" y="2"/>
                    <a:pt x="6" y="3"/>
                  </a:cubicBezTo>
                  <a:cubicBezTo>
                    <a:pt x="5" y="12"/>
                    <a:pt x="8" y="21"/>
                    <a:pt x="14" y="27"/>
                  </a:cubicBezTo>
                  <a:cubicBezTo>
                    <a:pt x="23" y="36"/>
                    <a:pt x="36" y="37"/>
                    <a:pt x="47" y="31"/>
                  </a:cubicBezTo>
                  <a:cubicBezTo>
                    <a:pt x="48" y="30"/>
                    <a:pt x="50" y="31"/>
                    <a:pt x="50" y="32"/>
                  </a:cubicBezTo>
                  <a:cubicBezTo>
                    <a:pt x="51" y="33"/>
                    <a:pt x="51" y="34"/>
                    <a:pt x="50" y="35"/>
                  </a:cubicBezTo>
                  <a:cubicBezTo>
                    <a:pt x="45" y="38"/>
                    <a:pt x="39" y="40"/>
                    <a:pt x="33" y="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40" name="Freeform 1535">
              <a:extLst>
                <a:ext uri="{FF2B5EF4-FFF2-40B4-BE49-F238E27FC236}">
                  <a16:creationId xmlns:a16="http://schemas.microsoft.com/office/drawing/2014/main" id="{C829F525-14C1-BC7B-9240-735ED0D96397}"/>
                </a:ext>
              </a:extLst>
            </p:cNvPr>
            <p:cNvSpPr>
              <a:spLocks/>
            </p:cNvSpPr>
            <p:nvPr/>
          </p:nvSpPr>
          <p:spPr bwMode="auto">
            <a:xfrm>
              <a:off x="678398" y="2198922"/>
              <a:ext cx="87929" cy="105197"/>
            </a:xfrm>
            <a:custGeom>
              <a:avLst/>
              <a:gdLst>
                <a:gd name="T0" fmla="*/ 33 w 42"/>
                <a:gd name="T1" fmla="*/ 51 h 51"/>
                <a:gd name="T2" fmla="*/ 31 w 42"/>
                <a:gd name="T3" fmla="*/ 51 h 51"/>
                <a:gd name="T4" fmla="*/ 31 w 42"/>
                <a:gd name="T5" fmla="*/ 47 h 51"/>
                <a:gd name="T6" fmla="*/ 26 w 42"/>
                <a:gd name="T7" fmla="*/ 14 h 51"/>
                <a:gd name="T8" fmla="*/ 3 w 42"/>
                <a:gd name="T9" fmla="*/ 7 h 51"/>
                <a:gd name="T10" fmla="*/ 0 w 42"/>
                <a:gd name="T11" fmla="*/ 5 h 51"/>
                <a:gd name="T12" fmla="*/ 2 w 42"/>
                <a:gd name="T13" fmla="*/ 2 h 51"/>
                <a:gd name="T14" fmla="*/ 30 w 42"/>
                <a:gd name="T15" fmla="*/ 11 h 51"/>
                <a:gd name="T16" fmla="*/ 35 w 42"/>
                <a:gd name="T17" fmla="*/ 50 h 51"/>
                <a:gd name="T18" fmla="*/ 33 w 42"/>
                <a:gd name="T19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51">
                  <a:moveTo>
                    <a:pt x="33" y="51"/>
                  </a:moveTo>
                  <a:cubicBezTo>
                    <a:pt x="32" y="51"/>
                    <a:pt x="32" y="51"/>
                    <a:pt x="31" y="51"/>
                  </a:cubicBezTo>
                  <a:cubicBezTo>
                    <a:pt x="30" y="50"/>
                    <a:pt x="30" y="49"/>
                    <a:pt x="31" y="47"/>
                  </a:cubicBezTo>
                  <a:cubicBezTo>
                    <a:pt x="37" y="37"/>
                    <a:pt x="35" y="23"/>
                    <a:pt x="26" y="14"/>
                  </a:cubicBezTo>
                  <a:cubicBezTo>
                    <a:pt x="20" y="8"/>
                    <a:pt x="12" y="5"/>
                    <a:pt x="3" y="7"/>
                  </a:cubicBezTo>
                  <a:cubicBezTo>
                    <a:pt x="2" y="7"/>
                    <a:pt x="1" y="6"/>
                    <a:pt x="0" y="5"/>
                  </a:cubicBezTo>
                  <a:cubicBezTo>
                    <a:pt x="0" y="3"/>
                    <a:pt x="1" y="2"/>
                    <a:pt x="2" y="2"/>
                  </a:cubicBezTo>
                  <a:cubicBezTo>
                    <a:pt x="12" y="0"/>
                    <a:pt x="23" y="4"/>
                    <a:pt x="30" y="11"/>
                  </a:cubicBezTo>
                  <a:cubicBezTo>
                    <a:pt x="40" y="21"/>
                    <a:pt x="42" y="37"/>
                    <a:pt x="35" y="50"/>
                  </a:cubicBezTo>
                  <a:cubicBezTo>
                    <a:pt x="34" y="51"/>
                    <a:pt x="34" y="51"/>
                    <a:pt x="33" y="5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41" name="Freeform 1536">
              <a:extLst>
                <a:ext uri="{FF2B5EF4-FFF2-40B4-BE49-F238E27FC236}">
                  <a16:creationId xmlns:a16="http://schemas.microsoft.com/office/drawing/2014/main" id="{25831EE0-549A-181F-79D8-F11EA67B353D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893" y="2317089"/>
              <a:ext cx="54223" cy="50437"/>
            </a:xfrm>
            <a:custGeom>
              <a:avLst/>
              <a:gdLst>
                <a:gd name="T0" fmla="*/ 23 w 26"/>
                <a:gd name="T1" fmla="*/ 25 h 25"/>
                <a:gd name="T2" fmla="*/ 21 w 26"/>
                <a:gd name="T3" fmla="*/ 25 h 25"/>
                <a:gd name="T4" fmla="*/ 1 w 26"/>
                <a:gd name="T5" fmla="*/ 4 h 25"/>
                <a:gd name="T6" fmla="*/ 1 w 26"/>
                <a:gd name="T7" fmla="*/ 1 h 25"/>
                <a:gd name="T8" fmla="*/ 5 w 26"/>
                <a:gd name="T9" fmla="*/ 1 h 25"/>
                <a:gd name="T10" fmla="*/ 25 w 26"/>
                <a:gd name="T11" fmla="*/ 21 h 25"/>
                <a:gd name="T12" fmla="*/ 25 w 26"/>
                <a:gd name="T13" fmla="*/ 25 h 25"/>
                <a:gd name="T14" fmla="*/ 23 w 26"/>
                <a:gd name="T1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5">
                  <a:moveTo>
                    <a:pt x="23" y="25"/>
                  </a:moveTo>
                  <a:cubicBezTo>
                    <a:pt x="23" y="25"/>
                    <a:pt x="22" y="25"/>
                    <a:pt x="21" y="25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5" y="1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26" y="22"/>
                    <a:pt x="26" y="24"/>
                    <a:pt x="25" y="25"/>
                  </a:cubicBezTo>
                  <a:cubicBezTo>
                    <a:pt x="24" y="25"/>
                    <a:pt x="24" y="25"/>
                    <a:pt x="23" y="2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42" name="Freeform 1537">
              <a:extLst>
                <a:ext uri="{FF2B5EF4-FFF2-40B4-BE49-F238E27FC236}">
                  <a16:creationId xmlns:a16="http://schemas.microsoft.com/office/drawing/2014/main" id="{5862D877-C5E4-D1A3-3781-37C454632CE6}"/>
                </a:ext>
              </a:extLst>
            </p:cNvPr>
            <p:cNvSpPr>
              <a:spLocks/>
            </p:cNvSpPr>
            <p:nvPr/>
          </p:nvSpPr>
          <p:spPr bwMode="auto">
            <a:xfrm>
              <a:off x="801496" y="2396347"/>
              <a:ext cx="55689" cy="53320"/>
            </a:xfrm>
            <a:custGeom>
              <a:avLst/>
              <a:gdLst>
                <a:gd name="T0" fmla="*/ 24 w 27"/>
                <a:gd name="T1" fmla="*/ 26 h 26"/>
                <a:gd name="T2" fmla="*/ 22 w 27"/>
                <a:gd name="T3" fmla="*/ 26 h 26"/>
                <a:gd name="T4" fmla="*/ 1 w 27"/>
                <a:gd name="T5" fmla="*/ 4 h 26"/>
                <a:gd name="T6" fmla="*/ 1 w 27"/>
                <a:gd name="T7" fmla="*/ 1 h 26"/>
                <a:gd name="T8" fmla="*/ 5 w 27"/>
                <a:gd name="T9" fmla="*/ 1 h 26"/>
                <a:gd name="T10" fmla="*/ 26 w 27"/>
                <a:gd name="T11" fmla="*/ 22 h 26"/>
                <a:gd name="T12" fmla="*/ 26 w 27"/>
                <a:gd name="T13" fmla="*/ 26 h 26"/>
                <a:gd name="T14" fmla="*/ 24 w 27"/>
                <a:gd name="T1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" h="26">
                  <a:moveTo>
                    <a:pt x="24" y="26"/>
                  </a:moveTo>
                  <a:cubicBezTo>
                    <a:pt x="24" y="26"/>
                    <a:pt x="23" y="26"/>
                    <a:pt x="22" y="26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5" y="1"/>
                  </a:cubicBezTo>
                  <a:cubicBezTo>
                    <a:pt x="26" y="22"/>
                    <a:pt x="26" y="22"/>
                    <a:pt x="26" y="22"/>
                  </a:cubicBezTo>
                  <a:cubicBezTo>
                    <a:pt x="27" y="23"/>
                    <a:pt x="27" y="25"/>
                    <a:pt x="26" y="26"/>
                  </a:cubicBezTo>
                  <a:cubicBezTo>
                    <a:pt x="25" y="26"/>
                    <a:pt x="25" y="26"/>
                    <a:pt x="24" y="2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43" name="Freeform 1538">
              <a:extLst>
                <a:ext uri="{FF2B5EF4-FFF2-40B4-BE49-F238E27FC236}">
                  <a16:creationId xmlns:a16="http://schemas.microsoft.com/office/drawing/2014/main" id="{B472B2C7-2D53-4D89-4C37-5953CF348460}"/>
                </a:ext>
              </a:extLst>
            </p:cNvPr>
            <p:cNvSpPr>
              <a:spLocks/>
            </p:cNvSpPr>
            <p:nvPr/>
          </p:nvSpPr>
          <p:spPr bwMode="auto">
            <a:xfrm>
              <a:off x="742878" y="2295472"/>
              <a:ext cx="136291" cy="134018"/>
            </a:xfrm>
            <a:custGeom>
              <a:avLst/>
              <a:gdLst>
                <a:gd name="T0" fmla="*/ 63 w 65"/>
                <a:gd name="T1" fmla="*/ 65 h 65"/>
                <a:gd name="T2" fmla="*/ 61 w 65"/>
                <a:gd name="T3" fmla="*/ 64 h 65"/>
                <a:gd name="T4" fmla="*/ 1 w 65"/>
                <a:gd name="T5" fmla="*/ 4 h 65"/>
                <a:gd name="T6" fmla="*/ 1 w 65"/>
                <a:gd name="T7" fmla="*/ 1 h 65"/>
                <a:gd name="T8" fmla="*/ 4 w 65"/>
                <a:gd name="T9" fmla="*/ 1 h 65"/>
                <a:gd name="T10" fmla="*/ 64 w 65"/>
                <a:gd name="T11" fmla="*/ 61 h 65"/>
                <a:gd name="T12" fmla="*/ 64 w 65"/>
                <a:gd name="T13" fmla="*/ 64 h 65"/>
                <a:gd name="T14" fmla="*/ 63 w 65"/>
                <a:gd name="T15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65">
                  <a:moveTo>
                    <a:pt x="63" y="65"/>
                  </a:moveTo>
                  <a:cubicBezTo>
                    <a:pt x="62" y="65"/>
                    <a:pt x="61" y="65"/>
                    <a:pt x="61" y="6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1"/>
                  </a:cubicBezTo>
                  <a:cubicBezTo>
                    <a:pt x="64" y="61"/>
                    <a:pt x="64" y="61"/>
                    <a:pt x="64" y="61"/>
                  </a:cubicBezTo>
                  <a:cubicBezTo>
                    <a:pt x="65" y="62"/>
                    <a:pt x="65" y="63"/>
                    <a:pt x="64" y="64"/>
                  </a:cubicBezTo>
                  <a:cubicBezTo>
                    <a:pt x="64" y="65"/>
                    <a:pt x="63" y="65"/>
                    <a:pt x="63" y="6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44" name="Freeform 1539">
              <a:extLst>
                <a:ext uri="{FF2B5EF4-FFF2-40B4-BE49-F238E27FC236}">
                  <a16:creationId xmlns:a16="http://schemas.microsoft.com/office/drawing/2014/main" id="{7F062247-F782-2FA6-387B-E11F1E5B9B5F}"/>
                </a:ext>
              </a:extLst>
            </p:cNvPr>
            <p:cNvSpPr>
              <a:spLocks/>
            </p:cNvSpPr>
            <p:nvPr/>
          </p:nvSpPr>
          <p:spPr bwMode="auto">
            <a:xfrm>
              <a:off x="832269" y="2404994"/>
              <a:ext cx="137756" cy="136901"/>
            </a:xfrm>
            <a:custGeom>
              <a:avLst/>
              <a:gdLst>
                <a:gd name="T0" fmla="*/ 34 w 66"/>
                <a:gd name="T1" fmla="*/ 67 h 67"/>
                <a:gd name="T2" fmla="*/ 12 w 66"/>
                <a:gd name="T3" fmla="*/ 57 h 67"/>
                <a:gd name="T4" fmla="*/ 7 w 66"/>
                <a:gd name="T5" fmla="*/ 19 h 67"/>
                <a:gd name="T6" fmla="*/ 10 w 66"/>
                <a:gd name="T7" fmla="*/ 18 h 67"/>
                <a:gd name="T8" fmla="*/ 11 w 66"/>
                <a:gd name="T9" fmla="*/ 21 h 67"/>
                <a:gd name="T10" fmla="*/ 16 w 66"/>
                <a:gd name="T11" fmla="*/ 54 h 67"/>
                <a:gd name="T12" fmla="*/ 34 w 66"/>
                <a:gd name="T13" fmla="*/ 62 h 67"/>
                <a:gd name="T14" fmla="*/ 53 w 66"/>
                <a:gd name="T15" fmla="*/ 54 h 67"/>
                <a:gd name="T16" fmla="*/ 61 w 66"/>
                <a:gd name="T17" fmla="*/ 35 h 67"/>
                <a:gd name="T18" fmla="*/ 53 w 66"/>
                <a:gd name="T19" fmla="*/ 16 h 67"/>
                <a:gd name="T20" fmla="*/ 21 w 66"/>
                <a:gd name="T21" fmla="*/ 12 h 67"/>
                <a:gd name="T22" fmla="*/ 18 w 66"/>
                <a:gd name="T23" fmla="*/ 11 h 67"/>
                <a:gd name="T24" fmla="*/ 18 w 66"/>
                <a:gd name="T25" fmla="*/ 7 h 67"/>
                <a:gd name="T26" fmla="*/ 57 w 66"/>
                <a:gd name="T27" fmla="*/ 12 h 67"/>
                <a:gd name="T28" fmla="*/ 66 w 66"/>
                <a:gd name="T29" fmla="*/ 35 h 67"/>
                <a:gd name="T30" fmla="*/ 57 w 66"/>
                <a:gd name="T31" fmla="*/ 57 h 67"/>
                <a:gd name="T32" fmla="*/ 34 w 66"/>
                <a:gd name="T33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6" h="67">
                  <a:moveTo>
                    <a:pt x="34" y="67"/>
                  </a:moveTo>
                  <a:cubicBezTo>
                    <a:pt x="26" y="67"/>
                    <a:pt x="18" y="63"/>
                    <a:pt x="12" y="57"/>
                  </a:cubicBezTo>
                  <a:cubicBezTo>
                    <a:pt x="2" y="47"/>
                    <a:pt x="0" y="31"/>
                    <a:pt x="7" y="19"/>
                  </a:cubicBezTo>
                  <a:cubicBezTo>
                    <a:pt x="8" y="18"/>
                    <a:pt x="9" y="17"/>
                    <a:pt x="10" y="18"/>
                  </a:cubicBezTo>
                  <a:cubicBezTo>
                    <a:pt x="12" y="19"/>
                    <a:pt x="12" y="20"/>
                    <a:pt x="11" y="21"/>
                  </a:cubicBezTo>
                  <a:cubicBezTo>
                    <a:pt x="5" y="32"/>
                    <a:pt x="7" y="45"/>
                    <a:pt x="16" y="54"/>
                  </a:cubicBezTo>
                  <a:cubicBezTo>
                    <a:pt x="21" y="59"/>
                    <a:pt x="27" y="62"/>
                    <a:pt x="34" y="62"/>
                  </a:cubicBezTo>
                  <a:cubicBezTo>
                    <a:pt x="42" y="62"/>
                    <a:pt x="48" y="59"/>
                    <a:pt x="53" y="54"/>
                  </a:cubicBezTo>
                  <a:cubicBezTo>
                    <a:pt x="59" y="49"/>
                    <a:pt x="61" y="42"/>
                    <a:pt x="61" y="35"/>
                  </a:cubicBezTo>
                  <a:cubicBezTo>
                    <a:pt x="61" y="28"/>
                    <a:pt x="59" y="21"/>
                    <a:pt x="53" y="16"/>
                  </a:cubicBezTo>
                  <a:cubicBezTo>
                    <a:pt x="45" y="7"/>
                    <a:pt x="31" y="5"/>
                    <a:pt x="21" y="12"/>
                  </a:cubicBezTo>
                  <a:cubicBezTo>
                    <a:pt x="20" y="12"/>
                    <a:pt x="18" y="12"/>
                    <a:pt x="18" y="11"/>
                  </a:cubicBezTo>
                  <a:cubicBezTo>
                    <a:pt x="17" y="10"/>
                    <a:pt x="17" y="8"/>
                    <a:pt x="18" y="7"/>
                  </a:cubicBezTo>
                  <a:cubicBezTo>
                    <a:pt x="31" y="0"/>
                    <a:pt x="47" y="2"/>
                    <a:pt x="57" y="12"/>
                  </a:cubicBezTo>
                  <a:cubicBezTo>
                    <a:pt x="63" y="18"/>
                    <a:pt x="66" y="26"/>
                    <a:pt x="66" y="35"/>
                  </a:cubicBezTo>
                  <a:cubicBezTo>
                    <a:pt x="66" y="43"/>
                    <a:pt x="63" y="51"/>
                    <a:pt x="57" y="57"/>
                  </a:cubicBezTo>
                  <a:cubicBezTo>
                    <a:pt x="51" y="63"/>
                    <a:pt x="43" y="67"/>
                    <a:pt x="34" y="6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45" name="Freeform 1540">
              <a:extLst>
                <a:ext uri="{FF2B5EF4-FFF2-40B4-BE49-F238E27FC236}">
                  <a16:creationId xmlns:a16="http://schemas.microsoft.com/office/drawing/2014/main" id="{DFC480F9-24FA-7437-1BDB-2E941D9FB304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840" y="2213333"/>
              <a:ext cx="171461" cy="171489"/>
            </a:xfrm>
            <a:custGeom>
              <a:avLst/>
              <a:gdLst>
                <a:gd name="T0" fmla="*/ 2 w 82"/>
                <a:gd name="T1" fmla="*/ 83 h 83"/>
                <a:gd name="T2" fmla="*/ 1 w 82"/>
                <a:gd name="T3" fmla="*/ 82 h 83"/>
                <a:gd name="T4" fmla="*/ 1 w 82"/>
                <a:gd name="T5" fmla="*/ 78 h 83"/>
                <a:gd name="T6" fmla="*/ 78 w 82"/>
                <a:gd name="T7" fmla="*/ 1 h 83"/>
                <a:gd name="T8" fmla="*/ 81 w 82"/>
                <a:gd name="T9" fmla="*/ 1 h 83"/>
                <a:gd name="T10" fmla="*/ 81 w 82"/>
                <a:gd name="T11" fmla="*/ 5 h 83"/>
                <a:gd name="T12" fmla="*/ 4 w 82"/>
                <a:gd name="T13" fmla="*/ 82 h 83"/>
                <a:gd name="T14" fmla="*/ 2 w 82"/>
                <a:gd name="T15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83">
                  <a:moveTo>
                    <a:pt x="2" y="83"/>
                  </a:moveTo>
                  <a:cubicBezTo>
                    <a:pt x="2" y="83"/>
                    <a:pt x="1" y="82"/>
                    <a:pt x="1" y="82"/>
                  </a:cubicBezTo>
                  <a:cubicBezTo>
                    <a:pt x="0" y="81"/>
                    <a:pt x="0" y="79"/>
                    <a:pt x="1" y="78"/>
                  </a:cubicBezTo>
                  <a:cubicBezTo>
                    <a:pt x="78" y="1"/>
                    <a:pt x="78" y="1"/>
                    <a:pt x="78" y="1"/>
                  </a:cubicBezTo>
                  <a:cubicBezTo>
                    <a:pt x="79" y="0"/>
                    <a:pt x="80" y="0"/>
                    <a:pt x="81" y="1"/>
                  </a:cubicBezTo>
                  <a:cubicBezTo>
                    <a:pt x="82" y="2"/>
                    <a:pt x="82" y="4"/>
                    <a:pt x="81" y="5"/>
                  </a:cubicBezTo>
                  <a:cubicBezTo>
                    <a:pt x="4" y="82"/>
                    <a:pt x="4" y="82"/>
                    <a:pt x="4" y="82"/>
                  </a:cubicBezTo>
                  <a:cubicBezTo>
                    <a:pt x="4" y="82"/>
                    <a:pt x="3" y="83"/>
                    <a:pt x="2" y="8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46" name="Freeform 1541">
              <a:extLst>
                <a:ext uri="{FF2B5EF4-FFF2-40B4-BE49-F238E27FC236}">
                  <a16:creationId xmlns:a16="http://schemas.microsoft.com/office/drawing/2014/main" id="{89EBCCD3-2317-DF3F-B1ED-06B293A55D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8568" y="2376174"/>
              <a:ext cx="167066" cy="159960"/>
            </a:xfrm>
            <a:custGeom>
              <a:avLst/>
              <a:gdLst>
                <a:gd name="T0" fmla="*/ 26 w 80"/>
                <a:gd name="T1" fmla="*/ 78 h 78"/>
                <a:gd name="T2" fmla="*/ 20 w 80"/>
                <a:gd name="T3" fmla="*/ 76 h 78"/>
                <a:gd name="T4" fmla="*/ 4 w 80"/>
                <a:gd name="T5" fmla="*/ 60 h 78"/>
                <a:gd name="T6" fmla="*/ 4 w 80"/>
                <a:gd name="T7" fmla="*/ 48 h 78"/>
                <a:gd name="T8" fmla="*/ 49 w 80"/>
                <a:gd name="T9" fmla="*/ 3 h 78"/>
                <a:gd name="T10" fmla="*/ 55 w 80"/>
                <a:gd name="T11" fmla="*/ 0 h 78"/>
                <a:gd name="T12" fmla="*/ 61 w 80"/>
                <a:gd name="T13" fmla="*/ 3 h 78"/>
                <a:gd name="T14" fmla="*/ 77 w 80"/>
                <a:gd name="T15" fmla="*/ 19 h 78"/>
                <a:gd name="T16" fmla="*/ 77 w 80"/>
                <a:gd name="T17" fmla="*/ 31 h 78"/>
                <a:gd name="T18" fmla="*/ 32 w 80"/>
                <a:gd name="T19" fmla="*/ 76 h 78"/>
                <a:gd name="T20" fmla="*/ 26 w 80"/>
                <a:gd name="T21" fmla="*/ 78 h 78"/>
                <a:gd name="T22" fmla="*/ 55 w 80"/>
                <a:gd name="T23" fmla="*/ 5 h 78"/>
                <a:gd name="T24" fmla="*/ 52 w 80"/>
                <a:gd name="T25" fmla="*/ 7 h 78"/>
                <a:gd name="T26" fmla="*/ 7 w 80"/>
                <a:gd name="T27" fmla="*/ 51 h 78"/>
                <a:gd name="T28" fmla="*/ 7 w 80"/>
                <a:gd name="T29" fmla="*/ 57 h 78"/>
                <a:gd name="T30" fmla="*/ 23 w 80"/>
                <a:gd name="T31" fmla="*/ 72 h 78"/>
                <a:gd name="T32" fmla="*/ 28 w 80"/>
                <a:gd name="T33" fmla="*/ 72 h 78"/>
                <a:gd name="T34" fmla="*/ 73 w 80"/>
                <a:gd name="T35" fmla="*/ 28 h 78"/>
                <a:gd name="T36" fmla="*/ 73 w 80"/>
                <a:gd name="T37" fmla="*/ 22 h 78"/>
                <a:gd name="T38" fmla="*/ 58 w 80"/>
                <a:gd name="T39" fmla="*/ 7 h 78"/>
                <a:gd name="T40" fmla="*/ 55 w 80"/>
                <a:gd name="T41" fmla="*/ 5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0" h="78">
                  <a:moveTo>
                    <a:pt x="26" y="78"/>
                  </a:moveTo>
                  <a:cubicBezTo>
                    <a:pt x="23" y="78"/>
                    <a:pt x="21" y="77"/>
                    <a:pt x="20" y="76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0" y="57"/>
                    <a:pt x="0" y="51"/>
                    <a:pt x="4" y="48"/>
                  </a:cubicBezTo>
                  <a:cubicBezTo>
                    <a:pt x="49" y="3"/>
                    <a:pt x="49" y="3"/>
                    <a:pt x="49" y="3"/>
                  </a:cubicBezTo>
                  <a:cubicBezTo>
                    <a:pt x="50" y="1"/>
                    <a:pt x="52" y="0"/>
                    <a:pt x="55" y="0"/>
                  </a:cubicBezTo>
                  <a:cubicBezTo>
                    <a:pt x="57" y="0"/>
                    <a:pt x="59" y="1"/>
                    <a:pt x="61" y="3"/>
                  </a:cubicBezTo>
                  <a:cubicBezTo>
                    <a:pt x="77" y="19"/>
                    <a:pt x="77" y="19"/>
                    <a:pt x="77" y="19"/>
                  </a:cubicBezTo>
                  <a:cubicBezTo>
                    <a:pt x="80" y="22"/>
                    <a:pt x="80" y="28"/>
                    <a:pt x="77" y="31"/>
                  </a:cubicBezTo>
                  <a:cubicBezTo>
                    <a:pt x="32" y="76"/>
                    <a:pt x="32" y="76"/>
                    <a:pt x="32" y="76"/>
                  </a:cubicBezTo>
                  <a:cubicBezTo>
                    <a:pt x="30" y="77"/>
                    <a:pt x="28" y="78"/>
                    <a:pt x="26" y="78"/>
                  </a:cubicBezTo>
                  <a:close/>
                  <a:moveTo>
                    <a:pt x="55" y="5"/>
                  </a:moveTo>
                  <a:cubicBezTo>
                    <a:pt x="54" y="5"/>
                    <a:pt x="53" y="6"/>
                    <a:pt x="52" y="7"/>
                  </a:cubicBezTo>
                  <a:cubicBezTo>
                    <a:pt x="7" y="51"/>
                    <a:pt x="7" y="51"/>
                    <a:pt x="7" y="51"/>
                  </a:cubicBezTo>
                  <a:cubicBezTo>
                    <a:pt x="6" y="53"/>
                    <a:pt x="6" y="55"/>
                    <a:pt x="7" y="57"/>
                  </a:cubicBezTo>
                  <a:cubicBezTo>
                    <a:pt x="23" y="72"/>
                    <a:pt x="23" y="72"/>
                    <a:pt x="23" y="72"/>
                  </a:cubicBezTo>
                  <a:cubicBezTo>
                    <a:pt x="24" y="74"/>
                    <a:pt x="27" y="74"/>
                    <a:pt x="28" y="72"/>
                  </a:cubicBezTo>
                  <a:cubicBezTo>
                    <a:pt x="73" y="28"/>
                    <a:pt x="73" y="28"/>
                    <a:pt x="73" y="28"/>
                  </a:cubicBezTo>
                  <a:cubicBezTo>
                    <a:pt x="75" y="26"/>
                    <a:pt x="75" y="24"/>
                    <a:pt x="73" y="22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7" y="6"/>
                    <a:pt x="56" y="5"/>
                    <a:pt x="55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47" name="Freeform 1542">
              <a:extLst>
                <a:ext uri="{FF2B5EF4-FFF2-40B4-BE49-F238E27FC236}">
                  <a16:creationId xmlns:a16="http://schemas.microsoft.com/office/drawing/2014/main" id="{8E0E55E7-E0F0-650D-90C6-9D77AAD452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7275" y="2357439"/>
              <a:ext cx="67410" cy="63406"/>
            </a:xfrm>
            <a:custGeom>
              <a:avLst/>
              <a:gdLst>
                <a:gd name="T0" fmla="*/ 19 w 32"/>
                <a:gd name="T1" fmla="*/ 31 h 31"/>
                <a:gd name="T2" fmla="*/ 14 w 32"/>
                <a:gd name="T3" fmla="*/ 29 h 31"/>
                <a:gd name="T4" fmla="*/ 2 w 32"/>
                <a:gd name="T5" fmla="*/ 17 h 31"/>
                <a:gd name="T6" fmla="*/ 0 w 32"/>
                <a:gd name="T7" fmla="*/ 12 h 31"/>
                <a:gd name="T8" fmla="*/ 2 w 32"/>
                <a:gd name="T9" fmla="*/ 7 h 31"/>
                <a:gd name="T10" fmla="*/ 7 w 32"/>
                <a:gd name="T11" fmla="*/ 3 h 31"/>
                <a:gd name="T12" fmla="*/ 12 w 32"/>
                <a:gd name="T13" fmla="*/ 0 h 31"/>
                <a:gd name="T14" fmla="*/ 17 w 32"/>
                <a:gd name="T15" fmla="*/ 3 h 31"/>
                <a:gd name="T16" fmla="*/ 29 w 32"/>
                <a:gd name="T17" fmla="*/ 14 h 31"/>
                <a:gd name="T18" fmla="*/ 29 w 32"/>
                <a:gd name="T19" fmla="*/ 24 h 31"/>
                <a:gd name="T20" fmla="*/ 24 w 32"/>
                <a:gd name="T21" fmla="*/ 29 h 31"/>
                <a:gd name="T22" fmla="*/ 19 w 32"/>
                <a:gd name="T23" fmla="*/ 31 h 31"/>
                <a:gd name="T24" fmla="*/ 12 w 32"/>
                <a:gd name="T25" fmla="*/ 5 h 31"/>
                <a:gd name="T26" fmla="*/ 11 w 32"/>
                <a:gd name="T27" fmla="*/ 6 h 31"/>
                <a:gd name="T28" fmla="*/ 6 w 32"/>
                <a:gd name="T29" fmla="*/ 11 h 31"/>
                <a:gd name="T30" fmla="*/ 5 w 32"/>
                <a:gd name="T31" fmla="*/ 12 h 31"/>
                <a:gd name="T32" fmla="*/ 6 w 32"/>
                <a:gd name="T33" fmla="*/ 14 h 31"/>
                <a:gd name="T34" fmla="*/ 18 w 32"/>
                <a:gd name="T35" fmla="*/ 26 h 31"/>
                <a:gd name="T36" fmla="*/ 21 w 32"/>
                <a:gd name="T37" fmla="*/ 26 h 31"/>
                <a:gd name="T38" fmla="*/ 24 w 32"/>
                <a:gd name="T39" fmla="*/ 23 h 31"/>
                <a:gd name="T40" fmla="*/ 24 w 32"/>
                <a:gd name="T41" fmla="*/ 23 h 31"/>
                <a:gd name="T42" fmla="*/ 26 w 32"/>
                <a:gd name="T43" fmla="*/ 21 h 31"/>
                <a:gd name="T44" fmla="*/ 26 w 32"/>
                <a:gd name="T45" fmla="*/ 18 h 31"/>
                <a:gd name="T46" fmla="*/ 14 w 32"/>
                <a:gd name="T47" fmla="*/ 6 h 31"/>
                <a:gd name="T48" fmla="*/ 12 w 32"/>
                <a:gd name="T49" fmla="*/ 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2" h="31">
                  <a:moveTo>
                    <a:pt x="19" y="31"/>
                  </a:moveTo>
                  <a:cubicBezTo>
                    <a:pt x="17" y="31"/>
                    <a:pt x="16" y="31"/>
                    <a:pt x="14" y="29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1" y="16"/>
                    <a:pt x="0" y="14"/>
                    <a:pt x="0" y="12"/>
                  </a:cubicBezTo>
                  <a:cubicBezTo>
                    <a:pt x="0" y="10"/>
                    <a:pt x="1" y="9"/>
                    <a:pt x="2" y="7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8" y="1"/>
                    <a:pt x="10" y="0"/>
                    <a:pt x="12" y="0"/>
                  </a:cubicBezTo>
                  <a:cubicBezTo>
                    <a:pt x="14" y="0"/>
                    <a:pt x="16" y="1"/>
                    <a:pt x="17" y="3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32" y="17"/>
                    <a:pt x="32" y="22"/>
                    <a:pt x="29" y="24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23" y="31"/>
                    <a:pt x="21" y="31"/>
                    <a:pt x="19" y="31"/>
                  </a:cubicBezTo>
                  <a:close/>
                  <a:moveTo>
                    <a:pt x="12" y="5"/>
                  </a:moveTo>
                  <a:cubicBezTo>
                    <a:pt x="12" y="5"/>
                    <a:pt x="11" y="6"/>
                    <a:pt x="11" y="6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5" y="11"/>
                    <a:pt x="5" y="12"/>
                    <a:pt x="5" y="12"/>
                  </a:cubicBezTo>
                  <a:cubicBezTo>
                    <a:pt x="5" y="13"/>
                    <a:pt x="5" y="13"/>
                    <a:pt x="6" y="14"/>
                  </a:cubicBezTo>
                  <a:cubicBezTo>
                    <a:pt x="18" y="26"/>
                    <a:pt x="18" y="26"/>
                    <a:pt x="18" y="26"/>
                  </a:cubicBezTo>
                  <a:cubicBezTo>
                    <a:pt x="19" y="27"/>
                    <a:pt x="20" y="27"/>
                    <a:pt x="21" y="26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6" y="21"/>
                    <a:pt x="26" y="21"/>
                    <a:pt x="26" y="21"/>
                  </a:cubicBezTo>
                  <a:cubicBezTo>
                    <a:pt x="27" y="20"/>
                    <a:pt x="27" y="19"/>
                    <a:pt x="26" y="18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3" y="6"/>
                    <a:pt x="13" y="5"/>
                    <a:pt x="12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48" name="Freeform 1543">
              <a:extLst>
                <a:ext uri="{FF2B5EF4-FFF2-40B4-BE49-F238E27FC236}">
                  <a16:creationId xmlns:a16="http://schemas.microsoft.com/office/drawing/2014/main" id="{49B11B3A-A382-142A-BF92-433AF6B1CE0D}"/>
                </a:ext>
              </a:extLst>
            </p:cNvPr>
            <p:cNvSpPr>
              <a:spLocks/>
            </p:cNvSpPr>
            <p:nvPr/>
          </p:nvSpPr>
          <p:spPr bwMode="auto">
            <a:xfrm>
              <a:off x="930458" y="2213333"/>
              <a:ext cx="29310" cy="28820"/>
            </a:xfrm>
            <a:custGeom>
              <a:avLst/>
              <a:gdLst>
                <a:gd name="T0" fmla="*/ 4 w 14"/>
                <a:gd name="T1" fmla="*/ 14 h 14"/>
                <a:gd name="T2" fmla="*/ 1 w 14"/>
                <a:gd name="T3" fmla="*/ 13 h 14"/>
                <a:gd name="T4" fmla="*/ 1 w 14"/>
                <a:gd name="T5" fmla="*/ 13 h 14"/>
                <a:gd name="T6" fmla="*/ 1 w 14"/>
                <a:gd name="T7" fmla="*/ 8 h 14"/>
                <a:gd name="T8" fmla="*/ 8 w 14"/>
                <a:gd name="T9" fmla="*/ 1 h 14"/>
                <a:gd name="T10" fmla="*/ 13 w 14"/>
                <a:gd name="T11" fmla="*/ 1 h 14"/>
                <a:gd name="T12" fmla="*/ 14 w 14"/>
                <a:gd name="T13" fmla="*/ 3 h 14"/>
                <a:gd name="T14" fmla="*/ 13 w 14"/>
                <a:gd name="T15" fmla="*/ 6 h 14"/>
                <a:gd name="T16" fmla="*/ 6 w 14"/>
                <a:gd name="T17" fmla="*/ 13 h 14"/>
                <a:gd name="T18" fmla="*/ 4 w 14"/>
                <a:gd name="T1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14">
                  <a:moveTo>
                    <a:pt x="4" y="14"/>
                  </a:moveTo>
                  <a:cubicBezTo>
                    <a:pt x="3" y="14"/>
                    <a:pt x="2" y="13"/>
                    <a:pt x="1" y="1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0" y="11"/>
                    <a:pt x="0" y="9"/>
                    <a:pt x="1" y="8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9" y="0"/>
                    <a:pt x="11" y="0"/>
                    <a:pt x="13" y="1"/>
                  </a:cubicBezTo>
                  <a:cubicBezTo>
                    <a:pt x="13" y="2"/>
                    <a:pt x="14" y="3"/>
                    <a:pt x="14" y="3"/>
                  </a:cubicBezTo>
                  <a:cubicBezTo>
                    <a:pt x="14" y="4"/>
                    <a:pt x="13" y="5"/>
                    <a:pt x="13" y="6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5" y="13"/>
                    <a:pt x="4" y="14"/>
                    <a:pt x="4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</p:grpSp>
      <p:graphicFrame>
        <p:nvGraphicFramePr>
          <p:cNvPr id="52" name="Chart 51">
            <a:extLst>
              <a:ext uri="{FF2B5EF4-FFF2-40B4-BE49-F238E27FC236}">
                <a16:creationId xmlns:a16="http://schemas.microsoft.com/office/drawing/2014/main" id="{9EAF0014-8590-D28B-02A3-4AF0DFEA4D3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50618900"/>
              </p:ext>
            </p:extLst>
          </p:nvPr>
        </p:nvGraphicFramePr>
        <p:xfrm>
          <a:off x="4304473" y="1961080"/>
          <a:ext cx="3608583" cy="39393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58" name="Shape2_20210621_180936">
            <a:extLst>
              <a:ext uri="{FF2B5EF4-FFF2-40B4-BE49-F238E27FC236}">
                <a16:creationId xmlns:a16="http://schemas.microsoft.com/office/drawing/2014/main" id="{89D61B12-EE9F-014B-2128-9102C4A89472}"/>
              </a:ext>
            </a:extLst>
          </p:cNvPr>
          <p:cNvSpPr txBox="1"/>
          <p:nvPr/>
        </p:nvSpPr>
        <p:spPr>
          <a:xfrm>
            <a:off x="1226278" y="3112062"/>
            <a:ext cx="283003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59" name="Shape0_20220518_131534">
            <a:extLst>
              <a:ext uri="{FF2B5EF4-FFF2-40B4-BE49-F238E27FC236}">
                <a16:creationId xmlns:a16="http://schemas.microsoft.com/office/drawing/2014/main" id="{F0CFC672-137E-C60B-EEB7-8BC979F9CA49}"/>
              </a:ext>
            </a:extLst>
          </p:cNvPr>
          <p:cNvSpPr>
            <a:spLocks noEditPoints="1"/>
          </p:cNvSpPr>
          <p:nvPr/>
        </p:nvSpPr>
        <p:spPr bwMode="auto">
          <a:xfrm>
            <a:off x="475561" y="2915953"/>
            <a:ext cx="643073" cy="638433"/>
          </a:xfrm>
          <a:custGeom>
            <a:avLst/>
            <a:gdLst>
              <a:gd name="T0" fmla="*/ 1532 w 3740"/>
              <a:gd name="T1" fmla="*/ 158 h 3713"/>
              <a:gd name="T2" fmla="*/ 1117 w 3740"/>
              <a:gd name="T3" fmla="*/ 296 h 3713"/>
              <a:gd name="T4" fmla="*/ 756 w 3740"/>
              <a:gd name="T5" fmla="*/ 525 h 3713"/>
              <a:gd name="T6" fmla="*/ 463 w 3740"/>
              <a:gd name="T7" fmla="*/ 835 h 3713"/>
              <a:gd name="T8" fmla="*/ 254 w 3740"/>
              <a:gd name="T9" fmla="*/ 1209 h 3713"/>
              <a:gd name="T10" fmla="*/ 141 w 3740"/>
              <a:gd name="T11" fmla="*/ 1631 h 3713"/>
              <a:gd name="T12" fmla="*/ 141 w 3740"/>
              <a:gd name="T13" fmla="*/ 2082 h 3713"/>
              <a:gd name="T14" fmla="*/ 254 w 3740"/>
              <a:gd name="T15" fmla="*/ 2505 h 3713"/>
              <a:gd name="T16" fmla="*/ 463 w 3740"/>
              <a:gd name="T17" fmla="*/ 2878 h 3713"/>
              <a:gd name="T18" fmla="*/ 756 w 3740"/>
              <a:gd name="T19" fmla="*/ 3187 h 3713"/>
              <a:gd name="T20" fmla="*/ 1117 w 3740"/>
              <a:gd name="T21" fmla="*/ 3418 h 3713"/>
              <a:gd name="T22" fmla="*/ 1532 w 3740"/>
              <a:gd name="T23" fmla="*/ 3554 h 3713"/>
              <a:gd name="T24" fmla="*/ 1984 w 3740"/>
              <a:gd name="T25" fmla="*/ 3584 h 3713"/>
              <a:gd name="T26" fmla="*/ 2420 w 3740"/>
              <a:gd name="T27" fmla="*/ 3499 h 3713"/>
              <a:gd name="T28" fmla="*/ 2810 w 3740"/>
              <a:gd name="T29" fmla="*/ 3313 h 3713"/>
              <a:gd name="T30" fmla="*/ 3139 w 3740"/>
              <a:gd name="T31" fmla="*/ 3042 h 3713"/>
              <a:gd name="T32" fmla="*/ 3393 w 3740"/>
              <a:gd name="T33" fmla="*/ 2698 h 3713"/>
              <a:gd name="T34" fmla="*/ 3555 w 3740"/>
              <a:gd name="T35" fmla="*/ 2298 h 3713"/>
              <a:gd name="T36" fmla="*/ 3613 w 3740"/>
              <a:gd name="T37" fmla="*/ 1857 h 3713"/>
              <a:gd name="T38" fmla="*/ 3555 w 3740"/>
              <a:gd name="T39" fmla="*/ 1415 h 3713"/>
              <a:gd name="T40" fmla="*/ 3393 w 3740"/>
              <a:gd name="T41" fmla="*/ 1015 h 3713"/>
              <a:gd name="T42" fmla="*/ 3139 w 3740"/>
              <a:gd name="T43" fmla="*/ 671 h 3713"/>
              <a:gd name="T44" fmla="*/ 2810 w 3740"/>
              <a:gd name="T45" fmla="*/ 399 h 3713"/>
              <a:gd name="T46" fmla="*/ 2420 w 3740"/>
              <a:gd name="T47" fmla="*/ 215 h 3713"/>
              <a:gd name="T48" fmla="*/ 1984 w 3740"/>
              <a:gd name="T49" fmla="*/ 130 h 3713"/>
              <a:gd name="T50" fmla="*/ 1987 w 3740"/>
              <a:gd name="T51" fmla="*/ 4 h 3713"/>
              <a:gd name="T52" fmla="*/ 2439 w 3740"/>
              <a:gd name="T53" fmla="*/ 88 h 3713"/>
              <a:gd name="T54" fmla="*/ 2845 w 3740"/>
              <a:gd name="T55" fmla="*/ 272 h 3713"/>
              <a:gd name="T56" fmla="*/ 3191 w 3740"/>
              <a:gd name="T57" fmla="*/ 544 h 3713"/>
              <a:gd name="T58" fmla="*/ 3465 w 3740"/>
              <a:gd name="T59" fmla="*/ 889 h 3713"/>
              <a:gd name="T60" fmla="*/ 3651 w 3740"/>
              <a:gd name="T61" fmla="*/ 1291 h 3713"/>
              <a:gd name="T62" fmla="*/ 3736 w 3740"/>
              <a:gd name="T63" fmla="*/ 1739 h 3713"/>
              <a:gd name="T64" fmla="*/ 3708 w 3740"/>
              <a:gd name="T65" fmla="*/ 2203 h 3713"/>
              <a:gd name="T66" fmla="*/ 3571 w 3740"/>
              <a:gd name="T67" fmla="*/ 2630 h 3713"/>
              <a:gd name="T68" fmla="*/ 3338 w 3740"/>
              <a:gd name="T69" fmla="*/ 3005 h 3713"/>
              <a:gd name="T70" fmla="*/ 3027 w 3740"/>
              <a:gd name="T71" fmla="*/ 3315 h 3713"/>
              <a:gd name="T72" fmla="*/ 2649 w 3740"/>
              <a:gd name="T73" fmla="*/ 3545 h 3713"/>
              <a:gd name="T74" fmla="*/ 2218 w 3740"/>
              <a:gd name="T75" fmla="*/ 3680 h 3713"/>
              <a:gd name="T76" fmla="*/ 1751 w 3740"/>
              <a:gd name="T77" fmla="*/ 3710 h 3713"/>
              <a:gd name="T78" fmla="*/ 1301 w 3740"/>
              <a:gd name="T79" fmla="*/ 3625 h 3713"/>
              <a:gd name="T80" fmla="*/ 895 w 3740"/>
              <a:gd name="T81" fmla="*/ 3440 h 3713"/>
              <a:gd name="T82" fmla="*/ 547 w 3740"/>
              <a:gd name="T83" fmla="*/ 3169 h 3713"/>
              <a:gd name="T84" fmla="*/ 274 w 3740"/>
              <a:gd name="T85" fmla="*/ 2824 h 3713"/>
              <a:gd name="T86" fmla="*/ 88 w 3740"/>
              <a:gd name="T87" fmla="*/ 2422 h 3713"/>
              <a:gd name="T88" fmla="*/ 4 w 3740"/>
              <a:gd name="T89" fmla="*/ 1973 h 3713"/>
              <a:gd name="T90" fmla="*/ 32 w 3740"/>
              <a:gd name="T91" fmla="*/ 1511 h 3713"/>
              <a:gd name="T92" fmla="*/ 169 w 3740"/>
              <a:gd name="T93" fmla="*/ 1084 h 3713"/>
              <a:gd name="T94" fmla="*/ 401 w 3740"/>
              <a:gd name="T95" fmla="*/ 709 h 3713"/>
              <a:gd name="T96" fmla="*/ 713 w 3740"/>
              <a:gd name="T97" fmla="*/ 398 h 3713"/>
              <a:gd name="T98" fmla="*/ 1091 w 3740"/>
              <a:gd name="T99" fmla="*/ 169 h 3713"/>
              <a:gd name="T100" fmla="*/ 1522 w 3740"/>
              <a:gd name="T101" fmla="*/ 32 h 37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3740" h="3713">
                <a:moveTo>
                  <a:pt x="1870" y="125"/>
                </a:moveTo>
                <a:lnTo>
                  <a:pt x="1755" y="130"/>
                </a:lnTo>
                <a:lnTo>
                  <a:pt x="1642" y="141"/>
                </a:lnTo>
                <a:lnTo>
                  <a:pt x="1532" y="158"/>
                </a:lnTo>
                <a:lnTo>
                  <a:pt x="1424" y="183"/>
                </a:lnTo>
                <a:lnTo>
                  <a:pt x="1319" y="215"/>
                </a:lnTo>
                <a:lnTo>
                  <a:pt x="1217" y="251"/>
                </a:lnTo>
                <a:lnTo>
                  <a:pt x="1117" y="296"/>
                </a:lnTo>
                <a:lnTo>
                  <a:pt x="1022" y="345"/>
                </a:lnTo>
                <a:lnTo>
                  <a:pt x="929" y="399"/>
                </a:lnTo>
                <a:lnTo>
                  <a:pt x="840" y="461"/>
                </a:lnTo>
                <a:lnTo>
                  <a:pt x="756" y="525"/>
                </a:lnTo>
                <a:lnTo>
                  <a:pt x="675" y="596"/>
                </a:lnTo>
                <a:lnTo>
                  <a:pt x="600" y="671"/>
                </a:lnTo>
                <a:lnTo>
                  <a:pt x="529" y="751"/>
                </a:lnTo>
                <a:lnTo>
                  <a:pt x="463" y="835"/>
                </a:lnTo>
                <a:lnTo>
                  <a:pt x="402" y="923"/>
                </a:lnTo>
                <a:lnTo>
                  <a:pt x="347" y="1015"/>
                </a:lnTo>
                <a:lnTo>
                  <a:pt x="297" y="1110"/>
                </a:lnTo>
                <a:lnTo>
                  <a:pt x="254" y="1209"/>
                </a:lnTo>
                <a:lnTo>
                  <a:pt x="216" y="1310"/>
                </a:lnTo>
                <a:lnTo>
                  <a:pt x="184" y="1415"/>
                </a:lnTo>
                <a:lnTo>
                  <a:pt x="159" y="1522"/>
                </a:lnTo>
                <a:lnTo>
                  <a:pt x="141" y="1631"/>
                </a:lnTo>
                <a:lnTo>
                  <a:pt x="130" y="1743"/>
                </a:lnTo>
                <a:lnTo>
                  <a:pt x="127" y="1857"/>
                </a:lnTo>
                <a:lnTo>
                  <a:pt x="130" y="1970"/>
                </a:lnTo>
                <a:lnTo>
                  <a:pt x="141" y="2082"/>
                </a:lnTo>
                <a:lnTo>
                  <a:pt x="159" y="2191"/>
                </a:lnTo>
                <a:lnTo>
                  <a:pt x="184" y="2298"/>
                </a:lnTo>
                <a:lnTo>
                  <a:pt x="216" y="2403"/>
                </a:lnTo>
                <a:lnTo>
                  <a:pt x="254" y="2505"/>
                </a:lnTo>
                <a:lnTo>
                  <a:pt x="297" y="2603"/>
                </a:lnTo>
                <a:lnTo>
                  <a:pt x="347" y="2698"/>
                </a:lnTo>
                <a:lnTo>
                  <a:pt x="402" y="2790"/>
                </a:lnTo>
                <a:lnTo>
                  <a:pt x="463" y="2878"/>
                </a:lnTo>
                <a:lnTo>
                  <a:pt x="529" y="2962"/>
                </a:lnTo>
                <a:lnTo>
                  <a:pt x="600" y="3042"/>
                </a:lnTo>
                <a:lnTo>
                  <a:pt x="675" y="3117"/>
                </a:lnTo>
                <a:lnTo>
                  <a:pt x="756" y="3187"/>
                </a:lnTo>
                <a:lnTo>
                  <a:pt x="840" y="3253"/>
                </a:lnTo>
                <a:lnTo>
                  <a:pt x="929" y="3313"/>
                </a:lnTo>
                <a:lnTo>
                  <a:pt x="1022" y="3369"/>
                </a:lnTo>
                <a:lnTo>
                  <a:pt x="1117" y="3418"/>
                </a:lnTo>
                <a:lnTo>
                  <a:pt x="1217" y="3462"/>
                </a:lnTo>
                <a:lnTo>
                  <a:pt x="1319" y="3499"/>
                </a:lnTo>
                <a:lnTo>
                  <a:pt x="1424" y="3530"/>
                </a:lnTo>
                <a:lnTo>
                  <a:pt x="1532" y="3554"/>
                </a:lnTo>
                <a:lnTo>
                  <a:pt x="1642" y="3573"/>
                </a:lnTo>
                <a:lnTo>
                  <a:pt x="1755" y="3584"/>
                </a:lnTo>
                <a:lnTo>
                  <a:pt x="1870" y="3587"/>
                </a:lnTo>
                <a:lnTo>
                  <a:pt x="1984" y="3584"/>
                </a:lnTo>
                <a:lnTo>
                  <a:pt x="2096" y="3573"/>
                </a:lnTo>
                <a:lnTo>
                  <a:pt x="2207" y="3554"/>
                </a:lnTo>
                <a:lnTo>
                  <a:pt x="2314" y="3530"/>
                </a:lnTo>
                <a:lnTo>
                  <a:pt x="2420" y="3499"/>
                </a:lnTo>
                <a:lnTo>
                  <a:pt x="2523" y="3462"/>
                </a:lnTo>
                <a:lnTo>
                  <a:pt x="2621" y="3418"/>
                </a:lnTo>
                <a:lnTo>
                  <a:pt x="2717" y="3369"/>
                </a:lnTo>
                <a:lnTo>
                  <a:pt x="2810" y="3313"/>
                </a:lnTo>
                <a:lnTo>
                  <a:pt x="2899" y="3253"/>
                </a:lnTo>
                <a:lnTo>
                  <a:pt x="2983" y="3187"/>
                </a:lnTo>
                <a:lnTo>
                  <a:pt x="3063" y="3117"/>
                </a:lnTo>
                <a:lnTo>
                  <a:pt x="3139" y="3042"/>
                </a:lnTo>
                <a:lnTo>
                  <a:pt x="3210" y="2962"/>
                </a:lnTo>
                <a:lnTo>
                  <a:pt x="3277" y="2878"/>
                </a:lnTo>
                <a:lnTo>
                  <a:pt x="3337" y="2790"/>
                </a:lnTo>
                <a:lnTo>
                  <a:pt x="3393" y="2698"/>
                </a:lnTo>
                <a:lnTo>
                  <a:pt x="3443" y="2603"/>
                </a:lnTo>
                <a:lnTo>
                  <a:pt x="3486" y="2505"/>
                </a:lnTo>
                <a:lnTo>
                  <a:pt x="3524" y="2403"/>
                </a:lnTo>
                <a:lnTo>
                  <a:pt x="3555" y="2298"/>
                </a:lnTo>
                <a:lnTo>
                  <a:pt x="3580" y="2191"/>
                </a:lnTo>
                <a:lnTo>
                  <a:pt x="3598" y="2082"/>
                </a:lnTo>
                <a:lnTo>
                  <a:pt x="3610" y="1970"/>
                </a:lnTo>
                <a:lnTo>
                  <a:pt x="3613" y="1857"/>
                </a:lnTo>
                <a:lnTo>
                  <a:pt x="3610" y="1743"/>
                </a:lnTo>
                <a:lnTo>
                  <a:pt x="3598" y="1631"/>
                </a:lnTo>
                <a:lnTo>
                  <a:pt x="3580" y="1522"/>
                </a:lnTo>
                <a:lnTo>
                  <a:pt x="3555" y="1415"/>
                </a:lnTo>
                <a:lnTo>
                  <a:pt x="3524" y="1310"/>
                </a:lnTo>
                <a:lnTo>
                  <a:pt x="3486" y="1209"/>
                </a:lnTo>
                <a:lnTo>
                  <a:pt x="3443" y="1110"/>
                </a:lnTo>
                <a:lnTo>
                  <a:pt x="3393" y="1015"/>
                </a:lnTo>
                <a:lnTo>
                  <a:pt x="3337" y="923"/>
                </a:lnTo>
                <a:lnTo>
                  <a:pt x="3277" y="835"/>
                </a:lnTo>
                <a:lnTo>
                  <a:pt x="3210" y="751"/>
                </a:lnTo>
                <a:lnTo>
                  <a:pt x="3139" y="671"/>
                </a:lnTo>
                <a:lnTo>
                  <a:pt x="3063" y="596"/>
                </a:lnTo>
                <a:lnTo>
                  <a:pt x="2983" y="525"/>
                </a:lnTo>
                <a:lnTo>
                  <a:pt x="2899" y="461"/>
                </a:lnTo>
                <a:lnTo>
                  <a:pt x="2810" y="399"/>
                </a:lnTo>
                <a:lnTo>
                  <a:pt x="2717" y="345"/>
                </a:lnTo>
                <a:lnTo>
                  <a:pt x="2621" y="296"/>
                </a:lnTo>
                <a:lnTo>
                  <a:pt x="2523" y="251"/>
                </a:lnTo>
                <a:lnTo>
                  <a:pt x="2420" y="215"/>
                </a:lnTo>
                <a:lnTo>
                  <a:pt x="2314" y="183"/>
                </a:lnTo>
                <a:lnTo>
                  <a:pt x="2207" y="158"/>
                </a:lnTo>
                <a:lnTo>
                  <a:pt x="2096" y="141"/>
                </a:lnTo>
                <a:lnTo>
                  <a:pt x="1984" y="130"/>
                </a:lnTo>
                <a:lnTo>
                  <a:pt x="1870" y="125"/>
                </a:lnTo>
                <a:close/>
                <a:moveTo>
                  <a:pt x="1870" y="0"/>
                </a:moveTo>
                <a:lnTo>
                  <a:pt x="1870" y="0"/>
                </a:lnTo>
                <a:lnTo>
                  <a:pt x="1987" y="4"/>
                </a:lnTo>
                <a:lnTo>
                  <a:pt x="2105" y="15"/>
                </a:lnTo>
                <a:lnTo>
                  <a:pt x="2218" y="32"/>
                </a:lnTo>
                <a:lnTo>
                  <a:pt x="2330" y="57"/>
                </a:lnTo>
                <a:lnTo>
                  <a:pt x="2439" y="88"/>
                </a:lnTo>
                <a:lnTo>
                  <a:pt x="2545" y="125"/>
                </a:lnTo>
                <a:lnTo>
                  <a:pt x="2649" y="169"/>
                </a:lnTo>
                <a:lnTo>
                  <a:pt x="2748" y="218"/>
                </a:lnTo>
                <a:lnTo>
                  <a:pt x="2845" y="272"/>
                </a:lnTo>
                <a:lnTo>
                  <a:pt x="2938" y="334"/>
                </a:lnTo>
                <a:lnTo>
                  <a:pt x="3027" y="398"/>
                </a:lnTo>
                <a:lnTo>
                  <a:pt x="3111" y="469"/>
                </a:lnTo>
                <a:lnTo>
                  <a:pt x="3191" y="544"/>
                </a:lnTo>
                <a:lnTo>
                  <a:pt x="3267" y="624"/>
                </a:lnTo>
                <a:lnTo>
                  <a:pt x="3338" y="709"/>
                </a:lnTo>
                <a:lnTo>
                  <a:pt x="3405" y="797"/>
                </a:lnTo>
                <a:lnTo>
                  <a:pt x="3465" y="889"/>
                </a:lnTo>
                <a:lnTo>
                  <a:pt x="3521" y="984"/>
                </a:lnTo>
                <a:lnTo>
                  <a:pt x="3571" y="1084"/>
                </a:lnTo>
                <a:lnTo>
                  <a:pt x="3614" y="1186"/>
                </a:lnTo>
                <a:lnTo>
                  <a:pt x="3651" y="1291"/>
                </a:lnTo>
                <a:lnTo>
                  <a:pt x="3683" y="1401"/>
                </a:lnTo>
                <a:lnTo>
                  <a:pt x="3708" y="1511"/>
                </a:lnTo>
                <a:lnTo>
                  <a:pt x="3726" y="1624"/>
                </a:lnTo>
                <a:lnTo>
                  <a:pt x="3736" y="1739"/>
                </a:lnTo>
                <a:lnTo>
                  <a:pt x="3740" y="1857"/>
                </a:lnTo>
                <a:lnTo>
                  <a:pt x="3736" y="1973"/>
                </a:lnTo>
                <a:lnTo>
                  <a:pt x="3726" y="2089"/>
                </a:lnTo>
                <a:lnTo>
                  <a:pt x="3708" y="2203"/>
                </a:lnTo>
                <a:lnTo>
                  <a:pt x="3683" y="2313"/>
                </a:lnTo>
                <a:lnTo>
                  <a:pt x="3651" y="2422"/>
                </a:lnTo>
                <a:lnTo>
                  <a:pt x="3614" y="2528"/>
                </a:lnTo>
                <a:lnTo>
                  <a:pt x="3571" y="2630"/>
                </a:lnTo>
                <a:lnTo>
                  <a:pt x="3521" y="2729"/>
                </a:lnTo>
                <a:lnTo>
                  <a:pt x="3465" y="2824"/>
                </a:lnTo>
                <a:lnTo>
                  <a:pt x="3405" y="2917"/>
                </a:lnTo>
                <a:lnTo>
                  <a:pt x="3338" y="3005"/>
                </a:lnTo>
                <a:lnTo>
                  <a:pt x="3267" y="3089"/>
                </a:lnTo>
                <a:lnTo>
                  <a:pt x="3191" y="3169"/>
                </a:lnTo>
                <a:lnTo>
                  <a:pt x="3111" y="3244"/>
                </a:lnTo>
                <a:lnTo>
                  <a:pt x="3027" y="3315"/>
                </a:lnTo>
                <a:lnTo>
                  <a:pt x="2938" y="3380"/>
                </a:lnTo>
                <a:lnTo>
                  <a:pt x="2845" y="3440"/>
                </a:lnTo>
                <a:lnTo>
                  <a:pt x="2748" y="3496"/>
                </a:lnTo>
                <a:lnTo>
                  <a:pt x="2649" y="3545"/>
                </a:lnTo>
                <a:lnTo>
                  <a:pt x="2545" y="3589"/>
                </a:lnTo>
                <a:lnTo>
                  <a:pt x="2439" y="3625"/>
                </a:lnTo>
                <a:lnTo>
                  <a:pt x="2330" y="3657"/>
                </a:lnTo>
                <a:lnTo>
                  <a:pt x="2218" y="3680"/>
                </a:lnTo>
                <a:lnTo>
                  <a:pt x="2105" y="3699"/>
                </a:lnTo>
                <a:lnTo>
                  <a:pt x="1987" y="3710"/>
                </a:lnTo>
                <a:lnTo>
                  <a:pt x="1870" y="3713"/>
                </a:lnTo>
                <a:lnTo>
                  <a:pt x="1751" y="3710"/>
                </a:lnTo>
                <a:lnTo>
                  <a:pt x="1635" y="3699"/>
                </a:lnTo>
                <a:lnTo>
                  <a:pt x="1522" y="3680"/>
                </a:lnTo>
                <a:lnTo>
                  <a:pt x="1410" y="3657"/>
                </a:lnTo>
                <a:lnTo>
                  <a:pt x="1301" y="3625"/>
                </a:lnTo>
                <a:lnTo>
                  <a:pt x="1195" y="3589"/>
                </a:lnTo>
                <a:lnTo>
                  <a:pt x="1091" y="3545"/>
                </a:lnTo>
                <a:lnTo>
                  <a:pt x="991" y="3496"/>
                </a:lnTo>
                <a:lnTo>
                  <a:pt x="895" y="3440"/>
                </a:lnTo>
                <a:lnTo>
                  <a:pt x="802" y="3380"/>
                </a:lnTo>
                <a:lnTo>
                  <a:pt x="713" y="3315"/>
                </a:lnTo>
                <a:lnTo>
                  <a:pt x="628" y="3244"/>
                </a:lnTo>
                <a:lnTo>
                  <a:pt x="547" y="3169"/>
                </a:lnTo>
                <a:lnTo>
                  <a:pt x="472" y="3089"/>
                </a:lnTo>
                <a:lnTo>
                  <a:pt x="401" y="3005"/>
                </a:lnTo>
                <a:lnTo>
                  <a:pt x="335" y="2917"/>
                </a:lnTo>
                <a:lnTo>
                  <a:pt x="274" y="2824"/>
                </a:lnTo>
                <a:lnTo>
                  <a:pt x="219" y="2729"/>
                </a:lnTo>
                <a:lnTo>
                  <a:pt x="169" y="2630"/>
                </a:lnTo>
                <a:lnTo>
                  <a:pt x="126" y="2528"/>
                </a:lnTo>
                <a:lnTo>
                  <a:pt x="88" y="2422"/>
                </a:lnTo>
                <a:lnTo>
                  <a:pt x="57" y="2313"/>
                </a:lnTo>
                <a:lnTo>
                  <a:pt x="32" y="2203"/>
                </a:lnTo>
                <a:lnTo>
                  <a:pt x="14" y="2089"/>
                </a:lnTo>
                <a:lnTo>
                  <a:pt x="4" y="1973"/>
                </a:lnTo>
                <a:lnTo>
                  <a:pt x="0" y="1857"/>
                </a:lnTo>
                <a:lnTo>
                  <a:pt x="4" y="1739"/>
                </a:lnTo>
                <a:lnTo>
                  <a:pt x="14" y="1624"/>
                </a:lnTo>
                <a:lnTo>
                  <a:pt x="32" y="1511"/>
                </a:lnTo>
                <a:lnTo>
                  <a:pt x="57" y="1401"/>
                </a:lnTo>
                <a:lnTo>
                  <a:pt x="88" y="1291"/>
                </a:lnTo>
                <a:lnTo>
                  <a:pt x="126" y="1186"/>
                </a:lnTo>
                <a:lnTo>
                  <a:pt x="169" y="1084"/>
                </a:lnTo>
                <a:lnTo>
                  <a:pt x="219" y="984"/>
                </a:lnTo>
                <a:lnTo>
                  <a:pt x="274" y="889"/>
                </a:lnTo>
                <a:lnTo>
                  <a:pt x="335" y="797"/>
                </a:lnTo>
                <a:lnTo>
                  <a:pt x="401" y="709"/>
                </a:lnTo>
                <a:lnTo>
                  <a:pt x="472" y="624"/>
                </a:lnTo>
                <a:lnTo>
                  <a:pt x="547" y="544"/>
                </a:lnTo>
                <a:lnTo>
                  <a:pt x="628" y="469"/>
                </a:lnTo>
                <a:lnTo>
                  <a:pt x="713" y="398"/>
                </a:lnTo>
                <a:lnTo>
                  <a:pt x="802" y="334"/>
                </a:lnTo>
                <a:lnTo>
                  <a:pt x="895" y="272"/>
                </a:lnTo>
                <a:lnTo>
                  <a:pt x="991" y="218"/>
                </a:lnTo>
                <a:lnTo>
                  <a:pt x="1091" y="169"/>
                </a:lnTo>
                <a:lnTo>
                  <a:pt x="1195" y="125"/>
                </a:lnTo>
                <a:lnTo>
                  <a:pt x="1301" y="88"/>
                </a:lnTo>
                <a:lnTo>
                  <a:pt x="1410" y="57"/>
                </a:lnTo>
                <a:lnTo>
                  <a:pt x="1522" y="32"/>
                </a:lnTo>
                <a:lnTo>
                  <a:pt x="1635" y="15"/>
                </a:lnTo>
                <a:lnTo>
                  <a:pt x="1751" y="4"/>
                </a:lnTo>
                <a:lnTo>
                  <a:pt x="1870" y="0"/>
                </a:lnTo>
                <a:close/>
              </a:path>
            </a:pathLst>
          </a:custGeom>
          <a:solidFill>
            <a:schemeClr val="tx2"/>
          </a:solidFill>
          <a:ln w="19050">
            <a:solidFill>
              <a:schemeClr val="tx2"/>
            </a:solidFill>
            <a:prstDash val="solid"/>
            <a:round/>
            <a:headEnd/>
            <a:tailEnd/>
          </a:ln>
        </p:spPr>
        <p:txBody>
          <a:bodyPr vert="horz" wrap="square" lIns="150148" tIns="75075" rIns="150148" bIns="75075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dirty="0">
              <a:solidFill>
                <a:prstClr val="black"/>
              </a:solidFill>
            </a:endParaRPr>
          </a:p>
        </p:txBody>
      </p:sp>
      <p:grpSp>
        <p:nvGrpSpPr>
          <p:cNvPr id="60" name="Group 59">
            <a:extLst>
              <a:ext uri="{FF2B5EF4-FFF2-40B4-BE49-F238E27FC236}">
                <a16:creationId xmlns:a16="http://schemas.microsoft.com/office/drawing/2014/main" id="{AA21DB0A-3364-18D0-D367-1A5E35FEB304}"/>
              </a:ext>
            </a:extLst>
          </p:cNvPr>
          <p:cNvGrpSpPr/>
          <p:nvPr/>
        </p:nvGrpSpPr>
        <p:grpSpPr>
          <a:xfrm>
            <a:off x="624173" y="3063685"/>
            <a:ext cx="345852" cy="342973"/>
            <a:chOff x="624173" y="2198922"/>
            <a:chExt cx="345852" cy="342973"/>
          </a:xfrm>
          <a:solidFill>
            <a:schemeClr val="accent1"/>
          </a:solidFill>
        </p:grpSpPr>
        <p:sp>
          <p:nvSpPr>
            <p:cNvPr id="61" name="Freeform 1532">
              <a:extLst>
                <a:ext uri="{FF2B5EF4-FFF2-40B4-BE49-F238E27FC236}">
                  <a16:creationId xmlns:a16="http://schemas.microsoft.com/office/drawing/2014/main" id="{5904F3C8-FC69-F225-27EC-44D62F6EF6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1577" y="2433816"/>
              <a:ext cx="84998" cy="83582"/>
            </a:xfrm>
            <a:custGeom>
              <a:avLst/>
              <a:gdLst>
                <a:gd name="T0" fmla="*/ 16 w 41"/>
                <a:gd name="T1" fmla="*/ 41 h 41"/>
                <a:gd name="T2" fmla="*/ 13 w 41"/>
                <a:gd name="T3" fmla="*/ 40 h 41"/>
                <a:gd name="T4" fmla="*/ 1 w 41"/>
                <a:gd name="T5" fmla="*/ 28 h 41"/>
                <a:gd name="T6" fmla="*/ 0 w 41"/>
                <a:gd name="T7" fmla="*/ 24 h 41"/>
                <a:gd name="T8" fmla="*/ 5 w 41"/>
                <a:gd name="T9" fmla="*/ 7 h 41"/>
                <a:gd name="T10" fmla="*/ 7 w 41"/>
                <a:gd name="T11" fmla="*/ 5 h 41"/>
                <a:gd name="T12" fmla="*/ 24 w 41"/>
                <a:gd name="T13" fmla="*/ 0 h 41"/>
                <a:gd name="T14" fmla="*/ 28 w 41"/>
                <a:gd name="T15" fmla="*/ 1 h 41"/>
                <a:gd name="T16" fmla="*/ 40 w 41"/>
                <a:gd name="T17" fmla="*/ 14 h 41"/>
                <a:gd name="T18" fmla="*/ 40 w 41"/>
                <a:gd name="T19" fmla="*/ 14 h 41"/>
                <a:gd name="T20" fmla="*/ 41 w 41"/>
                <a:gd name="T21" fmla="*/ 17 h 41"/>
                <a:gd name="T22" fmla="*/ 36 w 41"/>
                <a:gd name="T23" fmla="*/ 34 h 41"/>
                <a:gd name="T24" fmla="*/ 34 w 41"/>
                <a:gd name="T25" fmla="*/ 37 h 41"/>
                <a:gd name="T26" fmla="*/ 17 w 41"/>
                <a:gd name="T27" fmla="*/ 41 h 41"/>
                <a:gd name="T28" fmla="*/ 16 w 41"/>
                <a:gd name="T29" fmla="*/ 41 h 41"/>
                <a:gd name="T30" fmla="*/ 5 w 41"/>
                <a:gd name="T31" fmla="*/ 25 h 41"/>
                <a:gd name="T32" fmla="*/ 16 w 41"/>
                <a:gd name="T33" fmla="*/ 36 h 41"/>
                <a:gd name="T34" fmla="*/ 32 w 41"/>
                <a:gd name="T35" fmla="*/ 32 h 41"/>
                <a:gd name="T36" fmla="*/ 36 w 41"/>
                <a:gd name="T37" fmla="*/ 17 h 41"/>
                <a:gd name="T38" fmla="*/ 25 w 41"/>
                <a:gd name="T39" fmla="*/ 5 h 41"/>
                <a:gd name="T40" fmla="*/ 9 w 41"/>
                <a:gd name="T41" fmla="*/ 9 h 41"/>
                <a:gd name="T42" fmla="*/ 5 w 41"/>
                <a:gd name="T43" fmla="*/ 25 h 41"/>
                <a:gd name="T44" fmla="*/ 32 w 41"/>
                <a:gd name="T45" fmla="*/ 33 h 41"/>
                <a:gd name="T46" fmla="*/ 32 w 41"/>
                <a:gd name="T47" fmla="*/ 33 h 41"/>
                <a:gd name="T48" fmla="*/ 5 w 41"/>
                <a:gd name="T49" fmla="*/ 26 h 41"/>
                <a:gd name="T50" fmla="*/ 5 w 41"/>
                <a:gd name="T51" fmla="*/ 26 h 41"/>
                <a:gd name="T52" fmla="*/ 5 w 41"/>
                <a:gd name="T53" fmla="*/ 26 h 41"/>
                <a:gd name="T54" fmla="*/ 36 w 41"/>
                <a:gd name="T55" fmla="*/ 16 h 41"/>
                <a:gd name="T56" fmla="*/ 36 w 41"/>
                <a:gd name="T57" fmla="*/ 16 h 41"/>
                <a:gd name="T58" fmla="*/ 9 w 41"/>
                <a:gd name="T59" fmla="*/ 9 h 41"/>
                <a:gd name="T60" fmla="*/ 9 w 41"/>
                <a:gd name="T61" fmla="*/ 9 h 41"/>
                <a:gd name="T62" fmla="*/ 9 w 41"/>
                <a:gd name="T63" fmla="*/ 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" h="41">
                  <a:moveTo>
                    <a:pt x="16" y="41"/>
                  </a:moveTo>
                  <a:cubicBezTo>
                    <a:pt x="15" y="41"/>
                    <a:pt x="14" y="41"/>
                    <a:pt x="13" y="40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0" y="27"/>
                    <a:pt x="0" y="26"/>
                    <a:pt x="0" y="24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6" y="5"/>
                    <a:pt x="7" y="5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5" y="0"/>
                    <a:pt x="27" y="0"/>
                    <a:pt x="28" y="1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41" y="15"/>
                    <a:pt x="41" y="16"/>
                    <a:pt x="41" y="17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36" y="35"/>
                    <a:pt x="35" y="36"/>
                    <a:pt x="34" y="37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1"/>
                    <a:pt x="16" y="41"/>
                    <a:pt x="16" y="41"/>
                  </a:cubicBezTo>
                  <a:close/>
                  <a:moveTo>
                    <a:pt x="5" y="25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9" y="9"/>
                    <a:pt x="9" y="9"/>
                    <a:pt x="9" y="9"/>
                  </a:cubicBezTo>
                  <a:lnTo>
                    <a:pt x="5" y="25"/>
                  </a:lnTo>
                  <a:close/>
                  <a:moveTo>
                    <a:pt x="32" y="33"/>
                  </a:moveTo>
                  <a:cubicBezTo>
                    <a:pt x="32" y="33"/>
                    <a:pt x="32" y="33"/>
                    <a:pt x="32" y="33"/>
                  </a:cubicBezTo>
                  <a:close/>
                  <a:moveTo>
                    <a:pt x="5" y="26"/>
                  </a:move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lose/>
                  <a:moveTo>
                    <a:pt x="36" y="16"/>
                  </a:moveTo>
                  <a:cubicBezTo>
                    <a:pt x="36" y="16"/>
                    <a:pt x="36" y="16"/>
                    <a:pt x="36" y="16"/>
                  </a:cubicBezTo>
                  <a:close/>
                  <a:moveTo>
                    <a:pt x="9" y="9"/>
                  </a:move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62" name="Freeform 1533">
              <a:extLst>
                <a:ext uri="{FF2B5EF4-FFF2-40B4-BE49-F238E27FC236}">
                  <a16:creationId xmlns:a16="http://schemas.microsoft.com/office/drawing/2014/main" id="{C713F7F9-8FFA-60E0-6C77-AEFE60A190D3}"/>
                </a:ext>
              </a:extLst>
            </p:cNvPr>
            <p:cNvSpPr>
              <a:spLocks/>
            </p:cNvSpPr>
            <p:nvPr/>
          </p:nvSpPr>
          <p:spPr bwMode="auto">
            <a:xfrm>
              <a:off x="627104" y="2201803"/>
              <a:ext cx="95258" cy="93669"/>
            </a:xfrm>
            <a:custGeom>
              <a:avLst/>
              <a:gdLst>
                <a:gd name="T0" fmla="*/ 18 w 46"/>
                <a:gd name="T1" fmla="*/ 46 h 46"/>
                <a:gd name="T2" fmla="*/ 16 w 46"/>
                <a:gd name="T3" fmla="*/ 45 h 46"/>
                <a:gd name="T4" fmla="*/ 1 w 46"/>
                <a:gd name="T5" fmla="*/ 30 h 46"/>
                <a:gd name="T6" fmla="*/ 1 w 46"/>
                <a:gd name="T7" fmla="*/ 26 h 46"/>
                <a:gd name="T8" fmla="*/ 5 w 46"/>
                <a:gd name="T9" fmla="*/ 26 h 46"/>
                <a:gd name="T10" fmla="*/ 19 w 46"/>
                <a:gd name="T11" fmla="*/ 41 h 46"/>
                <a:gd name="T12" fmla="*/ 36 w 46"/>
                <a:gd name="T13" fmla="*/ 36 h 46"/>
                <a:gd name="T14" fmla="*/ 40 w 46"/>
                <a:gd name="T15" fmla="*/ 19 h 46"/>
                <a:gd name="T16" fmla="*/ 26 w 46"/>
                <a:gd name="T17" fmla="*/ 5 h 46"/>
                <a:gd name="T18" fmla="*/ 26 w 46"/>
                <a:gd name="T19" fmla="*/ 1 h 46"/>
                <a:gd name="T20" fmla="*/ 30 w 46"/>
                <a:gd name="T21" fmla="*/ 1 h 46"/>
                <a:gd name="T22" fmla="*/ 45 w 46"/>
                <a:gd name="T23" fmla="*/ 17 h 46"/>
                <a:gd name="T24" fmla="*/ 45 w 46"/>
                <a:gd name="T25" fmla="*/ 19 h 46"/>
                <a:gd name="T26" fmla="*/ 40 w 46"/>
                <a:gd name="T27" fmla="*/ 39 h 46"/>
                <a:gd name="T28" fmla="*/ 38 w 46"/>
                <a:gd name="T29" fmla="*/ 40 h 46"/>
                <a:gd name="T30" fmla="*/ 19 w 46"/>
                <a:gd name="T31" fmla="*/ 46 h 46"/>
                <a:gd name="T32" fmla="*/ 18 w 46"/>
                <a:gd name="T33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" h="46">
                  <a:moveTo>
                    <a:pt x="18" y="46"/>
                  </a:moveTo>
                  <a:cubicBezTo>
                    <a:pt x="18" y="46"/>
                    <a:pt x="17" y="46"/>
                    <a:pt x="16" y="45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0" y="29"/>
                    <a:pt x="0" y="27"/>
                    <a:pt x="1" y="26"/>
                  </a:cubicBezTo>
                  <a:cubicBezTo>
                    <a:pt x="2" y="25"/>
                    <a:pt x="4" y="25"/>
                    <a:pt x="5" y="26"/>
                  </a:cubicBezTo>
                  <a:cubicBezTo>
                    <a:pt x="19" y="41"/>
                    <a:pt x="19" y="41"/>
                    <a:pt x="19" y="41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5" y="4"/>
                    <a:pt x="25" y="2"/>
                    <a:pt x="26" y="1"/>
                  </a:cubicBezTo>
                  <a:cubicBezTo>
                    <a:pt x="27" y="0"/>
                    <a:pt x="29" y="0"/>
                    <a:pt x="30" y="1"/>
                  </a:cubicBezTo>
                  <a:cubicBezTo>
                    <a:pt x="45" y="17"/>
                    <a:pt x="45" y="17"/>
                    <a:pt x="45" y="17"/>
                  </a:cubicBezTo>
                  <a:cubicBezTo>
                    <a:pt x="45" y="17"/>
                    <a:pt x="46" y="18"/>
                    <a:pt x="45" y="19"/>
                  </a:cubicBezTo>
                  <a:cubicBezTo>
                    <a:pt x="40" y="39"/>
                    <a:pt x="40" y="39"/>
                    <a:pt x="40" y="39"/>
                  </a:cubicBezTo>
                  <a:cubicBezTo>
                    <a:pt x="40" y="40"/>
                    <a:pt x="39" y="40"/>
                    <a:pt x="38" y="40"/>
                  </a:cubicBezTo>
                  <a:cubicBezTo>
                    <a:pt x="19" y="46"/>
                    <a:pt x="19" y="46"/>
                    <a:pt x="19" y="46"/>
                  </a:cubicBezTo>
                  <a:cubicBezTo>
                    <a:pt x="19" y="46"/>
                    <a:pt x="18" y="46"/>
                    <a:pt x="18" y="4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63" name="Freeform 1534">
              <a:extLst>
                <a:ext uri="{FF2B5EF4-FFF2-40B4-BE49-F238E27FC236}">
                  <a16:creationId xmlns:a16="http://schemas.microsoft.com/office/drawing/2014/main" id="{2A5ABC46-8731-1B7C-D1D8-01CFC3B6185E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173" y="2252239"/>
              <a:ext cx="106981" cy="82142"/>
            </a:xfrm>
            <a:custGeom>
              <a:avLst/>
              <a:gdLst>
                <a:gd name="T0" fmla="*/ 33 w 51"/>
                <a:gd name="T1" fmla="*/ 40 h 40"/>
                <a:gd name="T2" fmla="*/ 11 w 51"/>
                <a:gd name="T3" fmla="*/ 30 h 40"/>
                <a:gd name="T4" fmla="*/ 1 w 51"/>
                <a:gd name="T5" fmla="*/ 3 h 40"/>
                <a:gd name="T6" fmla="*/ 4 w 51"/>
                <a:gd name="T7" fmla="*/ 1 h 40"/>
                <a:gd name="T8" fmla="*/ 6 w 51"/>
                <a:gd name="T9" fmla="*/ 3 h 40"/>
                <a:gd name="T10" fmla="*/ 14 w 51"/>
                <a:gd name="T11" fmla="*/ 27 h 40"/>
                <a:gd name="T12" fmla="*/ 47 w 51"/>
                <a:gd name="T13" fmla="*/ 31 h 40"/>
                <a:gd name="T14" fmla="*/ 50 w 51"/>
                <a:gd name="T15" fmla="*/ 32 h 40"/>
                <a:gd name="T16" fmla="*/ 50 w 51"/>
                <a:gd name="T17" fmla="*/ 35 h 40"/>
                <a:gd name="T18" fmla="*/ 33 w 51"/>
                <a:gd name="T19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" h="40">
                  <a:moveTo>
                    <a:pt x="33" y="40"/>
                  </a:moveTo>
                  <a:cubicBezTo>
                    <a:pt x="25" y="40"/>
                    <a:pt x="17" y="36"/>
                    <a:pt x="11" y="30"/>
                  </a:cubicBezTo>
                  <a:cubicBezTo>
                    <a:pt x="3" y="23"/>
                    <a:pt x="0" y="13"/>
                    <a:pt x="1" y="3"/>
                  </a:cubicBezTo>
                  <a:cubicBezTo>
                    <a:pt x="2" y="1"/>
                    <a:pt x="3" y="0"/>
                    <a:pt x="4" y="1"/>
                  </a:cubicBezTo>
                  <a:cubicBezTo>
                    <a:pt x="6" y="1"/>
                    <a:pt x="7" y="2"/>
                    <a:pt x="6" y="3"/>
                  </a:cubicBezTo>
                  <a:cubicBezTo>
                    <a:pt x="5" y="12"/>
                    <a:pt x="8" y="21"/>
                    <a:pt x="14" y="27"/>
                  </a:cubicBezTo>
                  <a:cubicBezTo>
                    <a:pt x="23" y="36"/>
                    <a:pt x="36" y="37"/>
                    <a:pt x="47" y="31"/>
                  </a:cubicBezTo>
                  <a:cubicBezTo>
                    <a:pt x="48" y="30"/>
                    <a:pt x="50" y="31"/>
                    <a:pt x="50" y="32"/>
                  </a:cubicBezTo>
                  <a:cubicBezTo>
                    <a:pt x="51" y="33"/>
                    <a:pt x="51" y="34"/>
                    <a:pt x="50" y="35"/>
                  </a:cubicBezTo>
                  <a:cubicBezTo>
                    <a:pt x="45" y="38"/>
                    <a:pt x="39" y="40"/>
                    <a:pt x="33" y="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64" name="Freeform 1535">
              <a:extLst>
                <a:ext uri="{FF2B5EF4-FFF2-40B4-BE49-F238E27FC236}">
                  <a16:creationId xmlns:a16="http://schemas.microsoft.com/office/drawing/2014/main" id="{39871790-472B-8932-F54F-1F3F96269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678398" y="2198922"/>
              <a:ext cx="87929" cy="105197"/>
            </a:xfrm>
            <a:custGeom>
              <a:avLst/>
              <a:gdLst>
                <a:gd name="T0" fmla="*/ 33 w 42"/>
                <a:gd name="T1" fmla="*/ 51 h 51"/>
                <a:gd name="T2" fmla="*/ 31 w 42"/>
                <a:gd name="T3" fmla="*/ 51 h 51"/>
                <a:gd name="T4" fmla="*/ 31 w 42"/>
                <a:gd name="T5" fmla="*/ 47 h 51"/>
                <a:gd name="T6" fmla="*/ 26 w 42"/>
                <a:gd name="T7" fmla="*/ 14 h 51"/>
                <a:gd name="T8" fmla="*/ 3 w 42"/>
                <a:gd name="T9" fmla="*/ 7 h 51"/>
                <a:gd name="T10" fmla="*/ 0 w 42"/>
                <a:gd name="T11" fmla="*/ 5 h 51"/>
                <a:gd name="T12" fmla="*/ 2 w 42"/>
                <a:gd name="T13" fmla="*/ 2 h 51"/>
                <a:gd name="T14" fmla="*/ 30 w 42"/>
                <a:gd name="T15" fmla="*/ 11 h 51"/>
                <a:gd name="T16" fmla="*/ 35 w 42"/>
                <a:gd name="T17" fmla="*/ 50 h 51"/>
                <a:gd name="T18" fmla="*/ 33 w 42"/>
                <a:gd name="T19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51">
                  <a:moveTo>
                    <a:pt x="33" y="51"/>
                  </a:moveTo>
                  <a:cubicBezTo>
                    <a:pt x="32" y="51"/>
                    <a:pt x="32" y="51"/>
                    <a:pt x="31" y="51"/>
                  </a:cubicBezTo>
                  <a:cubicBezTo>
                    <a:pt x="30" y="50"/>
                    <a:pt x="30" y="49"/>
                    <a:pt x="31" y="47"/>
                  </a:cubicBezTo>
                  <a:cubicBezTo>
                    <a:pt x="37" y="37"/>
                    <a:pt x="35" y="23"/>
                    <a:pt x="26" y="14"/>
                  </a:cubicBezTo>
                  <a:cubicBezTo>
                    <a:pt x="20" y="8"/>
                    <a:pt x="12" y="5"/>
                    <a:pt x="3" y="7"/>
                  </a:cubicBezTo>
                  <a:cubicBezTo>
                    <a:pt x="2" y="7"/>
                    <a:pt x="1" y="6"/>
                    <a:pt x="0" y="5"/>
                  </a:cubicBezTo>
                  <a:cubicBezTo>
                    <a:pt x="0" y="3"/>
                    <a:pt x="1" y="2"/>
                    <a:pt x="2" y="2"/>
                  </a:cubicBezTo>
                  <a:cubicBezTo>
                    <a:pt x="12" y="0"/>
                    <a:pt x="23" y="4"/>
                    <a:pt x="30" y="11"/>
                  </a:cubicBezTo>
                  <a:cubicBezTo>
                    <a:pt x="40" y="21"/>
                    <a:pt x="42" y="37"/>
                    <a:pt x="35" y="50"/>
                  </a:cubicBezTo>
                  <a:cubicBezTo>
                    <a:pt x="34" y="51"/>
                    <a:pt x="34" y="51"/>
                    <a:pt x="33" y="5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65" name="Freeform 1536">
              <a:extLst>
                <a:ext uri="{FF2B5EF4-FFF2-40B4-BE49-F238E27FC236}">
                  <a16:creationId xmlns:a16="http://schemas.microsoft.com/office/drawing/2014/main" id="{93A7B536-2982-8A7D-F4E7-7D0557BC65E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893" y="2317089"/>
              <a:ext cx="54223" cy="50437"/>
            </a:xfrm>
            <a:custGeom>
              <a:avLst/>
              <a:gdLst>
                <a:gd name="T0" fmla="*/ 23 w 26"/>
                <a:gd name="T1" fmla="*/ 25 h 25"/>
                <a:gd name="T2" fmla="*/ 21 w 26"/>
                <a:gd name="T3" fmla="*/ 25 h 25"/>
                <a:gd name="T4" fmla="*/ 1 w 26"/>
                <a:gd name="T5" fmla="*/ 4 h 25"/>
                <a:gd name="T6" fmla="*/ 1 w 26"/>
                <a:gd name="T7" fmla="*/ 1 h 25"/>
                <a:gd name="T8" fmla="*/ 5 w 26"/>
                <a:gd name="T9" fmla="*/ 1 h 25"/>
                <a:gd name="T10" fmla="*/ 25 w 26"/>
                <a:gd name="T11" fmla="*/ 21 h 25"/>
                <a:gd name="T12" fmla="*/ 25 w 26"/>
                <a:gd name="T13" fmla="*/ 25 h 25"/>
                <a:gd name="T14" fmla="*/ 23 w 26"/>
                <a:gd name="T1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5">
                  <a:moveTo>
                    <a:pt x="23" y="25"/>
                  </a:moveTo>
                  <a:cubicBezTo>
                    <a:pt x="23" y="25"/>
                    <a:pt x="22" y="25"/>
                    <a:pt x="21" y="25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5" y="1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26" y="22"/>
                    <a:pt x="26" y="24"/>
                    <a:pt x="25" y="25"/>
                  </a:cubicBezTo>
                  <a:cubicBezTo>
                    <a:pt x="24" y="25"/>
                    <a:pt x="24" y="25"/>
                    <a:pt x="23" y="2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66" name="Freeform 1537">
              <a:extLst>
                <a:ext uri="{FF2B5EF4-FFF2-40B4-BE49-F238E27FC236}">
                  <a16:creationId xmlns:a16="http://schemas.microsoft.com/office/drawing/2014/main" id="{841B7E8C-0339-EE79-6F4B-61477FDF5A92}"/>
                </a:ext>
              </a:extLst>
            </p:cNvPr>
            <p:cNvSpPr>
              <a:spLocks/>
            </p:cNvSpPr>
            <p:nvPr/>
          </p:nvSpPr>
          <p:spPr bwMode="auto">
            <a:xfrm>
              <a:off x="801496" y="2396347"/>
              <a:ext cx="55689" cy="53320"/>
            </a:xfrm>
            <a:custGeom>
              <a:avLst/>
              <a:gdLst>
                <a:gd name="T0" fmla="*/ 24 w 27"/>
                <a:gd name="T1" fmla="*/ 26 h 26"/>
                <a:gd name="T2" fmla="*/ 22 w 27"/>
                <a:gd name="T3" fmla="*/ 26 h 26"/>
                <a:gd name="T4" fmla="*/ 1 w 27"/>
                <a:gd name="T5" fmla="*/ 4 h 26"/>
                <a:gd name="T6" fmla="*/ 1 w 27"/>
                <a:gd name="T7" fmla="*/ 1 h 26"/>
                <a:gd name="T8" fmla="*/ 5 w 27"/>
                <a:gd name="T9" fmla="*/ 1 h 26"/>
                <a:gd name="T10" fmla="*/ 26 w 27"/>
                <a:gd name="T11" fmla="*/ 22 h 26"/>
                <a:gd name="T12" fmla="*/ 26 w 27"/>
                <a:gd name="T13" fmla="*/ 26 h 26"/>
                <a:gd name="T14" fmla="*/ 24 w 27"/>
                <a:gd name="T1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" h="26">
                  <a:moveTo>
                    <a:pt x="24" y="26"/>
                  </a:moveTo>
                  <a:cubicBezTo>
                    <a:pt x="24" y="26"/>
                    <a:pt x="23" y="26"/>
                    <a:pt x="22" y="26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5" y="1"/>
                  </a:cubicBezTo>
                  <a:cubicBezTo>
                    <a:pt x="26" y="22"/>
                    <a:pt x="26" y="22"/>
                    <a:pt x="26" y="22"/>
                  </a:cubicBezTo>
                  <a:cubicBezTo>
                    <a:pt x="27" y="23"/>
                    <a:pt x="27" y="25"/>
                    <a:pt x="26" y="26"/>
                  </a:cubicBezTo>
                  <a:cubicBezTo>
                    <a:pt x="25" y="26"/>
                    <a:pt x="25" y="26"/>
                    <a:pt x="24" y="2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67" name="Freeform 1538">
              <a:extLst>
                <a:ext uri="{FF2B5EF4-FFF2-40B4-BE49-F238E27FC236}">
                  <a16:creationId xmlns:a16="http://schemas.microsoft.com/office/drawing/2014/main" id="{3B92BA89-7D0E-452B-C398-CC8E5E1831FB}"/>
                </a:ext>
              </a:extLst>
            </p:cNvPr>
            <p:cNvSpPr>
              <a:spLocks/>
            </p:cNvSpPr>
            <p:nvPr/>
          </p:nvSpPr>
          <p:spPr bwMode="auto">
            <a:xfrm>
              <a:off x="742878" y="2295472"/>
              <a:ext cx="136291" cy="134018"/>
            </a:xfrm>
            <a:custGeom>
              <a:avLst/>
              <a:gdLst>
                <a:gd name="T0" fmla="*/ 63 w 65"/>
                <a:gd name="T1" fmla="*/ 65 h 65"/>
                <a:gd name="T2" fmla="*/ 61 w 65"/>
                <a:gd name="T3" fmla="*/ 64 h 65"/>
                <a:gd name="T4" fmla="*/ 1 w 65"/>
                <a:gd name="T5" fmla="*/ 4 h 65"/>
                <a:gd name="T6" fmla="*/ 1 w 65"/>
                <a:gd name="T7" fmla="*/ 1 h 65"/>
                <a:gd name="T8" fmla="*/ 4 w 65"/>
                <a:gd name="T9" fmla="*/ 1 h 65"/>
                <a:gd name="T10" fmla="*/ 64 w 65"/>
                <a:gd name="T11" fmla="*/ 61 h 65"/>
                <a:gd name="T12" fmla="*/ 64 w 65"/>
                <a:gd name="T13" fmla="*/ 64 h 65"/>
                <a:gd name="T14" fmla="*/ 63 w 65"/>
                <a:gd name="T15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65">
                  <a:moveTo>
                    <a:pt x="63" y="65"/>
                  </a:moveTo>
                  <a:cubicBezTo>
                    <a:pt x="62" y="65"/>
                    <a:pt x="61" y="65"/>
                    <a:pt x="61" y="6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1"/>
                  </a:cubicBezTo>
                  <a:cubicBezTo>
                    <a:pt x="64" y="61"/>
                    <a:pt x="64" y="61"/>
                    <a:pt x="64" y="61"/>
                  </a:cubicBezTo>
                  <a:cubicBezTo>
                    <a:pt x="65" y="62"/>
                    <a:pt x="65" y="63"/>
                    <a:pt x="64" y="64"/>
                  </a:cubicBezTo>
                  <a:cubicBezTo>
                    <a:pt x="64" y="65"/>
                    <a:pt x="63" y="65"/>
                    <a:pt x="63" y="6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68" name="Freeform 1539">
              <a:extLst>
                <a:ext uri="{FF2B5EF4-FFF2-40B4-BE49-F238E27FC236}">
                  <a16:creationId xmlns:a16="http://schemas.microsoft.com/office/drawing/2014/main" id="{B029E7CD-B935-55E3-E0A4-B94B42B74C36}"/>
                </a:ext>
              </a:extLst>
            </p:cNvPr>
            <p:cNvSpPr>
              <a:spLocks/>
            </p:cNvSpPr>
            <p:nvPr/>
          </p:nvSpPr>
          <p:spPr bwMode="auto">
            <a:xfrm>
              <a:off x="832269" y="2404994"/>
              <a:ext cx="137756" cy="136901"/>
            </a:xfrm>
            <a:custGeom>
              <a:avLst/>
              <a:gdLst>
                <a:gd name="T0" fmla="*/ 34 w 66"/>
                <a:gd name="T1" fmla="*/ 67 h 67"/>
                <a:gd name="T2" fmla="*/ 12 w 66"/>
                <a:gd name="T3" fmla="*/ 57 h 67"/>
                <a:gd name="T4" fmla="*/ 7 w 66"/>
                <a:gd name="T5" fmla="*/ 19 h 67"/>
                <a:gd name="T6" fmla="*/ 10 w 66"/>
                <a:gd name="T7" fmla="*/ 18 h 67"/>
                <a:gd name="T8" fmla="*/ 11 w 66"/>
                <a:gd name="T9" fmla="*/ 21 h 67"/>
                <a:gd name="T10" fmla="*/ 16 w 66"/>
                <a:gd name="T11" fmla="*/ 54 h 67"/>
                <a:gd name="T12" fmla="*/ 34 w 66"/>
                <a:gd name="T13" fmla="*/ 62 h 67"/>
                <a:gd name="T14" fmla="*/ 53 w 66"/>
                <a:gd name="T15" fmla="*/ 54 h 67"/>
                <a:gd name="T16" fmla="*/ 61 w 66"/>
                <a:gd name="T17" fmla="*/ 35 h 67"/>
                <a:gd name="T18" fmla="*/ 53 w 66"/>
                <a:gd name="T19" fmla="*/ 16 h 67"/>
                <a:gd name="T20" fmla="*/ 21 w 66"/>
                <a:gd name="T21" fmla="*/ 12 h 67"/>
                <a:gd name="T22" fmla="*/ 18 w 66"/>
                <a:gd name="T23" fmla="*/ 11 h 67"/>
                <a:gd name="T24" fmla="*/ 18 w 66"/>
                <a:gd name="T25" fmla="*/ 7 h 67"/>
                <a:gd name="T26" fmla="*/ 57 w 66"/>
                <a:gd name="T27" fmla="*/ 12 h 67"/>
                <a:gd name="T28" fmla="*/ 66 w 66"/>
                <a:gd name="T29" fmla="*/ 35 h 67"/>
                <a:gd name="T30" fmla="*/ 57 w 66"/>
                <a:gd name="T31" fmla="*/ 57 h 67"/>
                <a:gd name="T32" fmla="*/ 34 w 66"/>
                <a:gd name="T33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6" h="67">
                  <a:moveTo>
                    <a:pt x="34" y="67"/>
                  </a:moveTo>
                  <a:cubicBezTo>
                    <a:pt x="26" y="67"/>
                    <a:pt x="18" y="63"/>
                    <a:pt x="12" y="57"/>
                  </a:cubicBezTo>
                  <a:cubicBezTo>
                    <a:pt x="2" y="47"/>
                    <a:pt x="0" y="31"/>
                    <a:pt x="7" y="19"/>
                  </a:cubicBezTo>
                  <a:cubicBezTo>
                    <a:pt x="8" y="18"/>
                    <a:pt x="9" y="17"/>
                    <a:pt x="10" y="18"/>
                  </a:cubicBezTo>
                  <a:cubicBezTo>
                    <a:pt x="12" y="19"/>
                    <a:pt x="12" y="20"/>
                    <a:pt x="11" y="21"/>
                  </a:cubicBezTo>
                  <a:cubicBezTo>
                    <a:pt x="5" y="32"/>
                    <a:pt x="7" y="45"/>
                    <a:pt x="16" y="54"/>
                  </a:cubicBezTo>
                  <a:cubicBezTo>
                    <a:pt x="21" y="59"/>
                    <a:pt x="27" y="62"/>
                    <a:pt x="34" y="62"/>
                  </a:cubicBezTo>
                  <a:cubicBezTo>
                    <a:pt x="42" y="62"/>
                    <a:pt x="48" y="59"/>
                    <a:pt x="53" y="54"/>
                  </a:cubicBezTo>
                  <a:cubicBezTo>
                    <a:pt x="59" y="49"/>
                    <a:pt x="61" y="42"/>
                    <a:pt x="61" y="35"/>
                  </a:cubicBezTo>
                  <a:cubicBezTo>
                    <a:pt x="61" y="28"/>
                    <a:pt x="59" y="21"/>
                    <a:pt x="53" y="16"/>
                  </a:cubicBezTo>
                  <a:cubicBezTo>
                    <a:pt x="45" y="7"/>
                    <a:pt x="31" y="5"/>
                    <a:pt x="21" y="12"/>
                  </a:cubicBezTo>
                  <a:cubicBezTo>
                    <a:pt x="20" y="12"/>
                    <a:pt x="18" y="12"/>
                    <a:pt x="18" y="11"/>
                  </a:cubicBezTo>
                  <a:cubicBezTo>
                    <a:pt x="17" y="10"/>
                    <a:pt x="17" y="8"/>
                    <a:pt x="18" y="7"/>
                  </a:cubicBezTo>
                  <a:cubicBezTo>
                    <a:pt x="31" y="0"/>
                    <a:pt x="47" y="2"/>
                    <a:pt x="57" y="12"/>
                  </a:cubicBezTo>
                  <a:cubicBezTo>
                    <a:pt x="63" y="18"/>
                    <a:pt x="66" y="26"/>
                    <a:pt x="66" y="35"/>
                  </a:cubicBezTo>
                  <a:cubicBezTo>
                    <a:pt x="66" y="43"/>
                    <a:pt x="63" y="51"/>
                    <a:pt x="57" y="57"/>
                  </a:cubicBezTo>
                  <a:cubicBezTo>
                    <a:pt x="51" y="63"/>
                    <a:pt x="43" y="67"/>
                    <a:pt x="34" y="6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69" name="Freeform 1540">
              <a:extLst>
                <a:ext uri="{FF2B5EF4-FFF2-40B4-BE49-F238E27FC236}">
                  <a16:creationId xmlns:a16="http://schemas.microsoft.com/office/drawing/2014/main" id="{C73B19C6-B3CE-4D02-1F67-9047B05C434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840" y="2213333"/>
              <a:ext cx="171461" cy="171489"/>
            </a:xfrm>
            <a:custGeom>
              <a:avLst/>
              <a:gdLst>
                <a:gd name="T0" fmla="*/ 2 w 82"/>
                <a:gd name="T1" fmla="*/ 83 h 83"/>
                <a:gd name="T2" fmla="*/ 1 w 82"/>
                <a:gd name="T3" fmla="*/ 82 h 83"/>
                <a:gd name="T4" fmla="*/ 1 w 82"/>
                <a:gd name="T5" fmla="*/ 78 h 83"/>
                <a:gd name="T6" fmla="*/ 78 w 82"/>
                <a:gd name="T7" fmla="*/ 1 h 83"/>
                <a:gd name="T8" fmla="*/ 81 w 82"/>
                <a:gd name="T9" fmla="*/ 1 h 83"/>
                <a:gd name="T10" fmla="*/ 81 w 82"/>
                <a:gd name="T11" fmla="*/ 5 h 83"/>
                <a:gd name="T12" fmla="*/ 4 w 82"/>
                <a:gd name="T13" fmla="*/ 82 h 83"/>
                <a:gd name="T14" fmla="*/ 2 w 82"/>
                <a:gd name="T15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83">
                  <a:moveTo>
                    <a:pt x="2" y="83"/>
                  </a:moveTo>
                  <a:cubicBezTo>
                    <a:pt x="2" y="83"/>
                    <a:pt x="1" y="82"/>
                    <a:pt x="1" y="82"/>
                  </a:cubicBezTo>
                  <a:cubicBezTo>
                    <a:pt x="0" y="81"/>
                    <a:pt x="0" y="79"/>
                    <a:pt x="1" y="78"/>
                  </a:cubicBezTo>
                  <a:cubicBezTo>
                    <a:pt x="78" y="1"/>
                    <a:pt x="78" y="1"/>
                    <a:pt x="78" y="1"/>
                  </a:cubicBezTo>
                  <a:cubicBezTo>
                    <a:pt x="79" y="0"/>
                    <a:pt x="80" y="0"/>
                    <a:pt x="81" y="1"/>
                  </a:cubicBezTo>
                  <a:cubicBezTo>
                    <a:pt x="82" y="2"/>
                    <a:pt x="82" y="4"/>
                    <a:pt x="81" y="5"/>
                  </a:cubicBezTo>
                  <a:cubicBezTo>
                    <a:pt x="4" y="82"/>
                    <a:pt x="4" y="82"/>
                    <a:pt x="4" y="82"/>
                  </a:cubicBezTo>
                  <a:cubicBezTo>
                    <a:pt x="4" y="82"/>
                    <a:pt x="3" y="83"/>
                    <a:pt x="2" y="8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70" name="Freeform 1541">
              <a:extLst>
                <a:ext uri="{FF2B5EF4-FFF2-40B4-BE49-F238E27FC236}">
                  <a16:creationId xmlns:a16="http://schemas.microsoft.com/office/drawing/2014/main" id="{C6CA9A81-A6BB-8A10-BA5E-C6CFD21F60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8568" y="2376174"/>
              <a:ext cx="167066" cy="159960"/>
            </a:xfrm>
            <a:custGeom>
              <a:avLst/>
              <a:gdLst>
                <a:gd name="T0" fmla="*/ 26 w 80"/>
                <a:gd name="T1" fmla="*/ 78 h 78"/>
                <a:gd name="T2" fmla="*/ 20 w 80"/>
                <a:gd name="T3" fmla="*/ 76 h 78"/>
                <a:gd name="T4" fmla="*/ 4 w 80"/>
                <a:gd name="T5" fmla="*/ 60 h 78"/>
                <a:gd name="T6" fmla="*/ 4 w 80"/>
                <a:gd name="T7" fmla="*/ 48 h 78"/>
                <a:gd name="T8" fmla="*/ 49 w 80"/>
                <a:gd name="T9" fmla="*/ 3 h 78"/>
                <a:gd name="T10" fmla="*/ 55 w 80"/>
                <a:gd name="T11" fmla="*/ 0 h 78"/>
                <a:gd name="T12" fmla="*/ 61 w 80"/>
                <a:gd name="T13" fmla="*/ 3 h 78"/>
                <a:gd name="T14" fmla="*/ 77 w 80"/>
                <a:gd name="T15" fmla="*/ 19 h 78"/>
                <a:gd name="T16" fmla="*/ 77 w 80"/>
                <a:gd name="T17" fmla="*/ 31 h 78"/>
                <a:gd name="T18" fmla="*/ 32 w 80"/>
                <a:gd name="T19" fmla="*/ 76 h 78"/>
                <a:gd name="T20" fmla="*/ 26 w 80"/>
                <a:gd name="T21" fmla="*/ 78 h 78"/>
                <a:gd name="T22" fmla="*/ 55 w 80"/>
                <a:gd name="T23" fmla="*/ 5 h 78"/>
                <a:gd name="T24" fmla="*/ 52 w 80"/>
                <a:gd name="T25" fmla="*/ 7 h 78"/>
                <a:gd name="T26" fmla="*/ 7 w 80"/>
                <a:gd name="T27" fmla="*/ 51 h 78"/>
                <a:gd name="T28" fmla="*/ 7 w 80"/>
                <a:gd name="T29" fmla="*/ 57 h 78"/>
                <a:gd name="T30" fmla="*/ 23 w 80"/>
                <a:gd name="T31" fmla="*/ 72 h 78"/>
                <a:gd name="T32" fmla="*/ 28 w 80"/>
                <a:gd name="T33" fmla="*/ 72 h 78"/>
                <a:gd name="T34" fmla="*/ 73 w 80"/>
                <a:gd name="T35" fmla="*/ 28 h 78"/>
                <a:gd name="T36" fmla="*/ 73 w 80"/>
                <a:gd name="T37" fmla="*/ 22 h 78"/>
                <a:gd name="T38" fmla="*/ 58 w 80"/>
                <a:gd name="T39" fmla="*/ 7 h 78"/>
                <a:gd name="T40" fmla="*/ 55 w 80"/>
                <a:gd name="T41" fmla="*/ 5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0" h="78">
                  <a:moveTo>
                    <a:pt x="26" y="78"/>
                  </a:moveTo>
                  <a:cubicBezTo>
                    <a:pt x="23" y="78"/>
                    <a:pt x="21" y="77"/>
                    <a:pt x="20" y="76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0" y="57"/>
                    <a:pt x="0" y="51"/>
                    <a:pt x="4" y="48"/>
                  </a:cubicBezTo>
                  <a:cubicBezTo>
                    <a:pt x="49" y="3"/>
                    <a:pt x="49" y="3"/>
                    <a:pt x="49" y="3"/>
                  </a:cubicBezTo>
                  <a:cubicBezTo>
                    <a:pt x="50" y="1"/>
                    <a:pt x="52" y="0"/>
                    <a:pt x="55" y="0"/>
                  </a:cubicBezTo>
                  <a:cubicBezTo>
                    <a:pt x="57" y="0"/>
                    <a:pt x="59" y="1"/>
                    <a:pt x="61" y="3"/>
                  </a:cubicBezTo>
                  <a:cubicBezTo>
                    <a:pt x="77" y="19"/>
                    <a:pt x="77" y="19"/>
                    <a:pt x="77" y="19"/>
                  </a:cubicBezTo>
                  <a:cubicBezTo>
                    <a:pt x="80" y="22"/>
                    <a:pt x="80" y="28"/>
                    <a:pt x="77" y="31"/>
                  </a:cubicBezTo>
                  <a:cubicBezTo>
                    <a:pt x="32" y="76"/>
                    <a:pt x="32" y="76"/>
                    <a:pt x="32" y="76"/>
                  </a:cubicBezTo>
                  <a:cubicBezTo>
                    <a:pt x="30" y="77"/>
                    <a:pt x="28" y="78"/>
                    <a:pt x="26" y="78"/>
                  </a:cubicBezTo>
                  <a:close/>
                  <a:moveTo>
                    <a:pt x="55" y="5"/>
                  </a:moveTo>
                  <a:cubicBezTo>
                    <a:pt x="54" y="5"/>
                    <a:pt x="53" y="6"/>
                    <a:pt x="52" y="7"/>
                  </a:cubicBezTo>
                  <a:cubicBezTo>
                    <a:pt x="7" y="51"/>
                    <a:pt x="7" y="51"/>
                    <a:pt x="7" y="51"/>
                  </a:cubicBezTo>
                  <a:cubicBezTo>
                    <a:pt x="6" y="53"/>
                    <a:pt x="6" y="55"/>
                    <a:pt x="7" y="57"/>
                  </a:cubicBezTo>
                  <a:cubicBezTo>
                    <a:pt x="23" y="72"/>
                    <a:pt x="23" y="72"/>
                    <a:pt x="23" y="72"/>
                  </a:cubicBezTo>
                  <a:cubicBezTo>
                    <a:pt x="24" y="74"/>
                    <a:pt x="27" y="74"/>
                    <a:pt x="28" y="72"/>
                  </a:cubicBezTo>
                  <a:cubicBezTo>
                    <a:pt x="73" y="28"/>
                    <a:pt x="73" y="28"/>
                    <a:pt x="73" y="28"/>
                  </a:cubicBezTo>
                  <a:cubicBezTo>
                    <a:pt x="75" y="26"/>
                    <a:pt x="75" y="24"/>
                    <a:pt x="73" y="22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7" y="6"/>
                    <a:pt x="56" y="5"/>
                    <a:pt x="55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113" name="Freeform 1542">
              <a:extLst>
                <a:ext uri="{FF2B5EF4-FFF2-40B4-BE49-F238E27FC236}">
                  <a16:creationId xmlns:a16="http://schemas.microsoft.com/office/drawing/2014/main" id="{B02AC213-AE12-DA71-A141-AC6248F2DA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7275" y="2357439"/>
              <a:ext cx="67410" cy="63406"/>
            </a:xfrm>
            <a:custGeom>
              <a:avLst/>
              <a:gdLst>
                <a:gd name="T0" fmla="*/ 19 w 32"/>
                <a:gd name="T1" fmla="*/ 31 h 31"/>
                <a:gd name="T2" fmla="*/ 14 w 32"/>
                <a:gd name="T3" fmla="*/ 29 h 31"/>
                <a:gd name="T4" fmla="*/ 2 w 32"/>
                <a:gd name="T5" fmla="*/ 17 h 31"/>
                <a:gd name="T6" fmla="*/ 0 w 32"/>
                <a:gd name="T7" fmla="*/ 12 h 31"/>
                <a:gd name="T8" fmla="*/ 2 w 32"/>
                <a:gd name="T9" fmla="*/ 7 h 31"/>
                <a:gd name="T10" fmla="*/ 7 w 32"/>
                <a:gd name="T11" fmla="*/ 3 h 31"/>
                <a:gd name="T12" fmla="*/ 12 w 32"/>
                <a:gd name="T13" fmla="*/ 0 h 31"/>
                <a:gd name="T14" fmla="*/ 17 w 32"/>
                <a:gd name="T15" fmla="*/ 3 h 31"/>
                <a:gd name="T16" fmla="*/ 29 w 32"/>
                <a:gd name="T17" fmla="*/ 14 h 31"/>
                <a:gd name="T18" fmla="*/ 29 w 32"/>
                <a:gd name="T19" fmla="*/ 24 h 31"/>
                <a:gd name="T20" fmla="*/ 24 w 32"/>
                <a:gd name="T21" fmla="*/ 29 h 31"/>
                <a:gd name="T22" fmla="*/ 19 w 32"/>
                <a:gd name="T23" fmla="*/ 31 h 31"/>
                <a:gd name="T24" fmla="*/ 12 w 32"/>
                <a:gd name="T25" fmla="*/ 5 h 31"/>
                <a:gd name="T26" fmla="*/ 11 w 32"/>
                <a:gd name="T27" fmla="*/ 6 h 31"/>
                <a:gd name="T28" fmla="*/ 6 w 32"/>
                <a:gd name="T29" fmla="*/ 11 h 31"/>
                <a:gd name="T30" fmla="*/ 5 w 32"/>
                <a:gd name="T31" fmla="*/ 12 h 31"/>
                <a:gd name="T32" fmla="*/ 6 w 32"/>
                <a:gd name="T33" fmla="*/ 14 h 31"/>
                <a:gd name="T34" fmla="*/ 18 w 32"/>
                <a:gd name="T35" fmla="*/ 26 h 31"/>
                <a:gd name="T36" fmla="*/ 21 w 32"/>
                <a:gd name="T37" fmla="*/ 26 h 31"/>
                <a:gd name="T38" fmla="*/ 24 w 32"/>
                <a:gd name="T39" fmla="*/ 23 h 31"/>
                <a:gd name="T40" fmla="*/ 24 w 32"/>
                <a:gd name="T41" fmla="*/ 23 h 31"/>
                <a:gd name="T42" fmla="*/ 26 w 32"/>
                <a:gd name="T43" fmla="*/ 21 h 31"/>
                <a:gd name="T44" fmla="*/ 26 w 32"/>
                <a:gd name="T45" fmla="*/ 18 h 31"/>
                <a:gd name="T46" fmla="*/ 14 w 32"/>
                <a:gd name="T47" fmla="*/ 6 h 31"/>
                <a:gd name="T48" fmla="*/ 12 w 32"/>
                <a:gd name="T49" fmla="*/ 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2" h="31">
                  <a:moveTo>
                    <a:pt x="19" y="31"/>
                  </a:moveTo>
                  <a:cubicBezTo>
                    <a:pt x="17" y="31"/>
                    <a:pt x="16" y="31"/>
                    <a:pt x="14" y="29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1" y="16"/>
                    <a:pt x="0" y="14"/>
                    <a:pt x="0" y="12"/>
                  </a:cubicBezTo>
                  <a:cubicBezTo>
                    <a:pt x="0" y="10"/>
                    <a:pt x="1" y="9"/>
                    <a:pt x="2" y="7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8" y="1"/>
                    <a:pt x="10" y="0"/>
                    <a:pt x="12" y="0"/>
                  </a:cubicBezTo>
                  <a:cubicBezTo>
                    <a:pt x="14" y="0"/>
                    <a:pt x="16" y="1"/>
                    <a:pt x="17" y="3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32" y="17"/>
                    <a:pt x="32" y="22"/>
                    <a:pt x="29" y="24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23" y="31"/>
                    <a:pt x="21" y="31"/>
                    <a:pt x="19" y="31"/>
                  </a:cubicBezTo>
                  <a:close/>
                  <a:moveTo>
                    <a:pt x="12" y="5"/>
                  </a:moveTo>
                  <a:cubicBezTo>
                    <a:pt x="12" y="5"/>
                    <a:pt x="11" y="6"/>
                    <a:pt x="11" y="6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5" y="11"/>
                    <a:pt x="5" y="12"/>
                    <a:pt x="5" y="12"/>
                  </a:cubicBezTo>
                  <a:cubicBezTo>
                    <a:pt x="5" y="13"/>
                    <a:pt x="5" y="13"/>
                    <a:pt x="6" y="14"/>
                  </a:cubicBezTo>
                  <a:cubicBezTo>
                    <a:pt x="18" y="26"/>
                    <a:pt x="18" y="26"/>
                    <a:pt x="18" y="26"/>
                  </a:cubicBezTo>
                  <a:cubicBezTo>
                    <a:pt x="19" y="27"/>
                    <a:pt x="20" y="27"/>
                    <a:pt x="21" y="26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6" y="21"/>
                    <a:pt x="26" y="21"/>
                    <a:pt x="26" y="21"/>
                  </a:cubicBezTo>
                  <a:cubicBezTo>
                    <a:pt x="27" y="20"/>
                    <a:pt x="27" y="19"/>
                    <a:pt x="26" y="18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3" y="6"/>
                    <a:pt x="13" y="5"/>
                    <a:pt x="12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114" name="Freeform 1543">
              <a:extLst>
                <a:ext uri="{FF2B5EF4-FFF2-40B4-BE49-F238E27FC236}">
                  <a16:creationId xmlns:a16="http://schemas.microsoft.com/office/drawing/2014/main" id="{B03DAD6F-2341-AFAE-535F-96FDBA420B8A}"/>
                </a:ext>
              </a:extLst>
            </p:cNvPr>
            <p:cNvSpPr>
              <a:spLocks/>
            </p:cNvSpPr>
            <p:nvPr/>
          </p:nvSpPr>
          <p:spPr bwMode="auto">
            <a:xfrm>
              <a:off x="930458" y="2213333"/>
              <a:ext cx="29310" cy="28820"/>
            </a:xfrm>
            <a:custGeom>
              <a:avLst/>
              <a:gdLst>
                <a:gd name="T0" fmla="*/ 4 w 14"/>
                <a:gd name="T1" fmla="*/ 14 h 14"/>
                <a:gd name="T2" fmla="*/ 1 w 14"/>
                <a:gd name="T3" fmla="*/ 13 h 14"/>
                <a:gd name="T4" fmla="*/ 1 w 14"/>
                <a:gd name="T5" fmla="*/ 13 h 14"/>
                <a:gd name="T6" fmla="*/ 1 w 14"/>
                <a:gd name="T7" fmla="*/ 8 h 14"/>
                <a:gd name="T8" fmla="*/ 8 w 14"/>
                <a:gd name="T9" fmla="*/ 1 h 14"/>
                <a:gd name="T10" fmla="*/ 13 w 14"/>
                <a:gd name="T11" fmla="*/ 1 h 14"/>
                <a:gd name="T12" fmla="*/ 14 w 14"/>
                <a:gd name="T13" fmla="*/ 3 h 14"/>
                <a:gd name="T14" fmla="*/ 13 w 14"/>
                <a:gd name="T15" fmla="*/ 6 h 14"/>
                <a:gd name="T16" fmla="*/ 6 w 14"/>
                <a:gd name="T17" fmla="*/ 13 h 14"/>
                <a:gd name="T18" fmla="*/ 4 w 14"/>
                <a:gd name="T1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14">
                  <a:moveTo>
                    <a:pt x="4" y="14"/>
                  </a:moveTo>
                  <a:cubicBezTo>
                    <a:pt x="3" y="14"/>
                    <a:pt x="2" y="13"/>
                    <a:pt x="1" y="1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0" y="11"/>
                    <a:pt x="0" y="9"/>
                    <a:pt x="1" y="8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9" y="0"/>
                    <a:pt x="11" y="0"/>
                    <a:pt x="13" y="1"/>
                  </a:cubicBezTo>
                  <a:cubicBezTo>
                    <a:pt x="13" y="2"/>
                    <a:pt x="14" y="3"/>
                    <a:pt x="14" y="3"/>
                  </a:cubicBezTo>
                  <a:cubicBezTo>
                    <a:pt x="14" y="4"/>
                    <a:pt x="13" y="5"/>
                    <a:pt x="13" y="6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5" y="13"/>
                    <a:pt x="4" y="14"/>
                    <a:pt x="4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</p:grpSp>
      <p:sp>
        <p:nvSpPr>
          <p:cNvPr id="115" name="Shape2_20210621_180936">
            <a:extLst>
              <a:ext uri="{FF2B5EF4-FFF2-40B4-BE49-F238E27FC236}">
                <a16:creationId xmlns:a16="http://schemas.microsoft.com/office/drawing/2014/main" id="{69E838B2-8B2D-3E4E-3C45-241286220774}"/>
              </a:ext>
            </a:extLst>
          </p:cNvPr>
          <p:cNvSpPr txBox="1"/>
          <p:nvPr/>
        </p:nvSpPr>
        <p:spPr>
          <a:xfrm>
            <a:off x="1226278" y="4149439"/>
            <a:ext cx="283003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16" name="Shape0_20220518_131534">
            <a:extLst>
              <a:ext uri="{FF2B5EF4-FFF2-40B4-BE49-F238E27FC236}">
                <a16:creationId xmlns:a16="http://schemas.microsoft.com/office/drawing/2014/main" id="{6A97969C-75AF-808C-6A1F-CCEA4E622B33}"/>
              </a:ext>
            </a:extLst>
          </p:cNvPr>
          <p:cNvSpPr>
            <a:spLocks noEditPoints="1"/>
          </p:cNvSpPr>
          <p:nvPr/>
        </p:nvSpPr>
        <p:spPr bwMode="auto">
          <a:xfrm>
            <a:off x="475561" y="3953330"/>
            <a:ext cx="643073" cy="638433"/>
          </a:xfrm>
          <a:custGeom>
            <a:avLst/>
            <a:gdLst>
              <a:gd name="T0" fmla="*/ 1532 w 3740"/>
              <a:gd name="T1" fmla="*/ 158 h 3713"/>
              <a:gd name="T2" fmla="*/ 1117 w 3740"/>
              <a:gd name="T3" fmla="*/ 296 h 3713"/>
              <a:gd name="T4" fmla="*/ 756 w 3740"/>
              <a:gd name="T5" fmla="*/ 525 h 3713"/>
              <a:gd name="T6" fmla="*/ 463 w 3740"/>
              <a:gd name="T7" fmla="*/ 835 h 3713"/>
              <a:gd name="T8" fmla="*/ 254 w 3740"/>
              <a:gd name="T9" fmla="*/ 1209 h 3713"/>
              <a:gd name="T10" fmla="*/ 141 w 3740"/>
              <a:gd name="T11" fmla="*/ 1631 h 3713"/>
              <a:gd name="T12" fmla="*/ 141 w 3740"/>
              <a:gd name="T13" fmla="*/ 2082 h 3713"/>
              <a:gd name="T14" fmla="*/ 254 w 3740"/>
              <a:gd name="T15" fmla="*/ 2505 h 3713"/>
              <a:gd name="T16" fmla="*/ 463 w 3740"/>
              <a:gd name="T17" fmla="*/ 2878 h 3713"/>
              <a:gd name="T18" fmla="*/ 756 w 3740"/>
              <a:gd name="T19" fmla="*/ 3187 h 3713"/>
              <a:gd name="T20" fmla="*/ 1117 w 3740"/>
              <a:gd name="T21" fmla="*/ 3418 h 3713"/>
              <a:gd name="T22" fmla="*/ 1532 w 3740"/>
              <a:gd name="T23" fmla="*/ 3554 h 3713"/>
              <a:gd name="T24" fmla="*/ 1984 w 3740"/>
              <a:gd name="T25" fmla="*/ 3584 h 3713"/>
              <a:gd name="T26" fmla="*/ 2420 w 3740"/>
              <a:gd name="T27" fmla="*/ 3499 h 3713"/>
              <a:gd name="T28" fmla="*/ 2810 w 3740"/>
              <a:gd name="T29" fmla="*/ 3313 h 3713"/>
              <a:gd name="T30" fmla="*/ 3139 w 3740"/>
              <a:gd name="T31" fmla="*/ 3042 h 3713"/>
              <a:gd name="T32" fmla="*/ 3393 w 3740"/>
              <a:gd name="T33" fmla="*/ 2698 h 3713"/>
              <a:gd name="T34" fmla="*/ 3555 w 3740"/>
              <a:gd name="T35" fmla="*/ 2298 h 3713"/>
              <a:gd name="T36" fmla="*/ 3613 w 3740"/>
              <a:gd name="T37" fmla="*/ 1857 h 3713"/>
              <a:gd name="T38" fmla="*/ 3555 w 3740"/>
              <a:gd name="T39" fmla="*/ 1415 h 3713"/>
              <a:gd name="T40" fmla="*/ 3393 w 3740"/>
              <a:gd name="T41" fmla="*/ 1015 h 3713"/>
              <a:gd name="T42" fmla="*/ 3139 w 3740"/>
              <a:gd name="T43" fmla="*/ 671 h 3713"/>
              <a:gd name="T44" fmla="*/ 2810 w 3740"/>
              <a:gd name="T45" fmla="*/ 399 h 3713"/>
              <a:gd name="T46" fmla="*/ 2420 w 3740"/>
              <a:gd name="T47" fmla="*/ 215 h 3713"/>
              <a:gd name="T48" fmla="*/ 1984 w 3740"/>
              <a:gd name="T49" fmla="*/ 130 h 3713"/>
              <a:gd name="T50" fmla="*/ 1987 w 3740"/>
              <a:gd name="T51" fmla="*/ 4 h 3713"/>
              <a:gd name="T52" fmla="*/ 2439 w 3740"/>
              <a:gd name="T53" fmla="*/ 88 h 3713"/>
              <a:gd name="T54" fmla="*/ 2845 w 3740"/>
              <a:gd name="T55" fmla="*/ 272 h 3713"/>
              <a:gd name="T56" fmla="*/ 3191 w 3740"/>
              <a:gd name="T57" fmla="*/ 544 h 3713"/>
              <a:gd name="T58" fmla="*/ 3465 w 3740"/>
              <a:gd name="T59" fmla="*/ 889 h 3713"/>
              <a:gd name="T60" fmla="*/ 3651 w 3740"/>
              <a:gd name="T61" fmla="*/ 1291 h 3713"/>
              <a:gd name="T62" fmla="*/ 3736 w 3740"/>
              <a:gd name="T63" fmla="*/ 1739 h 3713"/>
              <a:gd name="T64" fmla="*/ 3708 w 3740"/>
              <a:gd name="T65" fmla="*/ 2203 h 3713"/>
              <a:gd name="T66" fmla="*/ 3571 w 3740"/>
              <a:gd name="T67" fmla="*/ 2630 h 3713"/>
              <a:gd name="T68" fmla="*/ 3338 w 3740"/>
              <a:gd name="T69" fmla="*/ 3005 h 3713"/>
              <a:gd name="T70" fmla="*/ 3027 w 3740"/>
              <a:gd name="T71" fmla="*/ 3315 h 3713"/>
              <a:gd name="T72" fmla="*/ 2649 w 3740"/>
              <a:gd name="T73" fmla="*/ 3545 h 3713"/>
              <a:gd name="T74" fmla="*/ 2218 w 3740"/>
              <a:gd name="T75" fmla="*/ 3680 h 3713"/>
              <a:gd name="T76" fmla="*/ 1751 w 3740"/>
              <a:gd name="T77" fmla="*/ 3710 h 3713"/>
              <a:gd name="T78" fmla="*/ 1301 w 3740"/>
              <a:gd name="T79" fmla="*/ 3625 h 3713"/>
              <a:gd name="T80" fmla="*/ 895 w 3740"/>
              <a:gd name="T81" fmla="*/ 3440 h 3713"/>
              <a:gd name="T82" fmla="*/ 547 w 3740"/>
              <a:gd name="T83" fmla="*/ 3169 h 3713"/>
              <a:gd name="T84" fmla="*/ 274 w 3740"/>
              <a:gd name="T85" fmla="*/ 2824 h 3713"/>
              <a:gd name="T86" fmla="*/ 88 w 3740"/>
              <a:gd name="T87" fmla="*/ 2422 h 3713"/>
              <a:gd name="T88" fmla="*/ 4 w 3740"/>
              <a:gd name="T89" fmla="*/ 1973 h 3713"/>
              <a:gd name="T90" fmla="*/ 32 w 3740"/>
              <a:gd name="T91" fmla="*/ 1511 h 3713"/>
              <a:gd name="T92" fmla="*/ 169 w 3740"/>
              <a:gd name="T93" fmla="*/ 1084 h 3713"/>
              <a:gd name="T94" fmla="*/ 401 w 3740"/>
              <a:gd name="T95" fmla="*/ 709 h 3713"/>
              <a:gd name="T96" fmla="*/ 713 w 3740"/>
              <a:gd name="T97" fmla="*/ 398 h 3713"/>
              <a:gd name="T98" fmla="*/ 1091 w 3740"/>
              <a:gd name="T99" fmla="*/ 169 h 3713"/>
              <a:gd name="T100" fmla="*/ 1522 w 3740"/>
              <a:gd name="T101" fmla="*/ 32 h 37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3740" h="3713">
                <a:moveTo>
                  <a:pt x="1870" y="125"/>
                </a:moveTo>
                <a:lnTo>
                  <a:pt x="1755" y="130"/>
                </a:lnTo>
                <a:lnTo>
                  <a:pt x="1642" y="141"/>
                </a:lnTo>
                <a:lnTo>
                  <a:pt x="1532" y="158"/>
                </a:lnTo>
                <a:lnTo>
                  <a:pt x="1424" y="183"/>
                </a:lnTo>
                <a:lnTo>
                  <a:pt x="1319" y="215"/>
                </a:lnTo>
                <a:lnTo>
                  <a:pt x="1217" y="251"/>
                </a:lnTo>
                <a:lnTo>
                  <a:pt x="1117" y="296"/>
                </a:lnTo>
                <a:lnTo>
                  <a:pt x="1022" y="345"/>
                </a:lnTo>
                <a:lnTo>
                  <a:pt x="929" y="399"/>
                </a:lnTo>
                <a:lnTo>
                  <a:pt x="840" y="461"/>
                </a:lnTo>
                <a:lnTo>
                  <a:pt x="756" y="525"/>
                </a:lnTo>
                <a:lnTo>
                  <a:pt x="675" y="596"/>
                </a:lnTo>
                <a:lnTo>
                  <a:pt x="600" y="671"/>
                </a:lnTo>
                <a:lnTo>
                  <a:pt x="529" y="751"/>
                </a:lnTo>
                <a:lnTo>
                  <a:pt x="463" y="835"/>
                </a:lnTo>
                <a:lnTo>
                  <a:pt x="402" y="923"/>
                </a:lnTo>
                <a:lnTo>
                  <a:pt x="347" y="1015"/>
                </a:lnTo>
                <a:lnTo>
                  <a:pt x="297" y="1110"/>
                </a:lnTo>
                <a:lnTo>
                  <a:pt x="254" y="1209"/>
                </a:lnTo>
                <a:lnTo>
                  <a:pt x="216" y="1310"/>
                </a:lnTo>
                <a:lnTo>
                  <a:pt x="184" y="1415"/>
                </a:lnTo>
                <a:lnTo>
                  <a:pt x="159" y="1522"/>
                </a:lnTo>
                <a:lnTo>
                  <a:pt x="141" y="1631"/>
                </a:lnTo>
                <a:lnTo>
                  <a:pt x="130" y="1743"/>
                </a:lnTo>
                <a:lnTo>
                  <a:pt x="127" y="1857"/>
                </a:lnTo>
                <a:lnTo>
                  <a:pt x="130" y="1970"/>
                </a:lnTo>
                <a:lnTo>
                  <a:pt x="141" y="2082"/>
                </a:lnTo>
                <a:lnTo>
                  <a:pt x="159" y="2191"/>
                </a:lnTo>
                <a:lnTo>
                  <a:pt x="184" y="2298"/>
                </a:lnTo>
                <a:lnTo>
                  <a:pt x="216" y="2403"/>
                </a:lnTo>
                <a:lnTo>
                  <a:pt x="254" y="2505"/>
                </a:lnTo>
                <a:lnTo>
                  <a:pt x="297" y="2603"/>
                </a:lnTo>
                <a:lnTo>
                  <a:pt x="347" y="2698"/>
                </a:lnTo>
                <a:lnTo>
                  <a:pt x="402" y="2790"/>
                </a:lnTo>
                <a:lnTo>
                  <a:pt x="463" y="2878"/>
                </a:lnTo>
                <a:lnTo>
                  <a:pt x="529" y="2962"/>
                </a:lnTo>
                <a:lnTo>
                  <a:pt x="600" y="3042"/>
                </a:lnTo>
                <a:lnTo>
                  <a:pt x="675" y="3117"/>
                </a:lnTo>
                <a:lnTo>
                  <a:pt x="756" y="3187"/>
                </a:lnTo>
                <a:lnTo>
                  <a:pt x="840" y="3253"/>
                </a:lnTo>
                <a:lnTo>
                  <a:pt x="929" y="3313"/>
                </a:lnTo>
                <a:lnTo>
                  <a:pt x="1022" y="3369"/>
                </a:lnTo>
                <a:lnTo>
                  <a:pt x="1117" y="3418"/>
                </a:lnTo>
                <a:lnTo>
                  <a:pt x="1217" y="3462"/>
                </a:lnTo>
                <a:lnTo>
                  <a:pt x="1319" y="3499"/>
                </a:lnTo>
                <a:lnTo>
                  <a:pt x="1424" y="3530"/>
                </a:lnTo>
                <a:lnTo>
                  <a:pt x="1532" y="3554"/>
                </a:lnTo>
                <a:lnTo>
                  <a:pt x="1642" y="3573"/>
                </a:lnTo>
                <a:lnTo>
                  <a:pt x="1755" y="3584"/>
                </a:lnTo>
                <a:lnTo>
                  <a:pt x="1870" y="3587"/>
                </a:lnTo>
                <a:lnTo>
                  <a:pt x="1984" y="3584"/>
                </a:lnTo>
                <a:lnTo>
                  <a:pt x="2096" y="3573"/>
                </a:lnTo>
                <a:lnTo>
                  <a:pt x="2207" y="3554"/>
                </a:lnTo>
                <a:lnTo>
                  <a:pt x="2314" y="3530"/>
                </a:lnTo>
                <a:lnTo>
                  <a:pt x="2420" y="3499"/>
                </a:lnTo>
                <a:lnTo>
                  <a:pt x="2523" y="3462"/>
                </a:lnTo>
                <a:lnTo>
                  <a:pt x="2621" y="3418"/>
                </a:lnTo>
                <a:lnTo>
                  <a:pt x="2717" y="3369"/>
                </a:lnTo>
                <a:lnTo>
                  <a:pt x="2810" y="3313"/>
                </a:lnTo>
                <a:lnTo>
                  <a:pt x="2899" y="3253"/>
                </a:lnTo>
                <a:lnTo>
                  <a:pt x="2983" y="3187"/>
                </a:lnTo>
                <a:lnTo>
                  <a:pt x="3063" y="3117"/>
                </a:lnTo>
                <a:lnTo>
                  <a:pt x="3139" y="3042"/>
                </a:lnTo>
                <a:lnTo>
                  <a:pt x="3210" y="2962"/>
                </a:lnTo>
                <a:lnTo>
                  <a:pt x="3277" y="2878"/>
                </a:lnTo>
                <a:lnTo>
                  <a:pt x="3337" y="2790"/>
                </a:lnTo>
                <a:lnTo>
                  <a:pt x="3393" y="2698"/>
                </a:lnTo>
                <a:lnTo>
                  <a:pt x="3443" y="2603"/>
                </a:lnTo>
                <a:lnTo>
                  <a:pt x="3486" y="2505"/>
                </a:lnTo>
                <a:lnTo>
                  <a:pt x="3524" y="2403"/>
                </a:lnTo>
                <a:lnTo>
                  <a:pt x="3555" y="2298"/>
                </a:lnTo>
                <a:lnTo>
                  <a:pt x="3580" y="2191"/>
                </a:lnTo>
                <a:lnTo>
                  <a:pt x="3598" y="2082"/>
                </a:lnTo>
                <a:lnTo>
                  <a:pt x="3610" y="1970"/>
                </a:lnTo>
                <a:lnTo>
                  <a:pt x="3613" y="1857"/>
                </a:lnTo>
                <a:lnTo>
                  <a:pt x="3610" y="1743"/>
                </a:lnTo>
                <a:lnTo>
                  <a:pt x="3598" y="1631"/>
                </a:lnTo>
                <a:lnTo>
                  <a:pt x="3580" y="1522"/>
                </a:lnTo>
                <a:lnTo>
                  <a:pt x="3555" y="1415"/>
                </a:lnTo>
                <a:lnTo>
                  <a:pt x="3524" y="1310"/>
                </a:lnTo>
                <a:lnTo>
                  <a:pt x="3486" y="1209"/>
                </a:lnTo>
                <a:lnTo>
                  <a:pt x="3443" y="1110"/>
                </a:lnTo>
                <a:lnTo>
                  <a:pt x="3393" y="1015"/>
                </a:lnTo>
                <a:lnTo>
                  <a:pt x="3337" y="923"/>
                </a:lnTo>
                <a:lnTo>
                  <a:pt x="3277" y="835"/>
                </a:lnTo>
                <a:lnTo>
                  <a:pt x="3210" y="751"/>
                </a:lnTo>
                <a:lnTo>
                  <a:pt x="3139" y="671"/>
                </a:lnTo>
                <a:lnTo>
                  <a:pt x="3063" y="596"/>
                </a:lnTo>
                <a:lnTo>
                  <a:pt x="2983" y="525"/>
                </a:lnTo>
                <a:lnTo>
                  <a:pt x="2899" y="461"/>
                </a:lnTo>
                <a:lnTo>
                  <a:pt x="2810" y="399"/>
                </a:lnTo>
                <a:lnTo>
                  <a:pt x="2717" y="345"/>
                </a:lnTo>
                <a:lnTo>
                  <a:pt x="2621" y="296"/>
                </a:lnTo>
                <a:lnTo>
                  <a:pt x="2523" y="251"/>
                </a:lnTo>
                <a:lnTo>
                  <a:pt x="2420" y="215"/>
                </a:lnTo>
                <a:lnTo>
                  <a:pt x="2314" y="183"/>
                </a:lnTo>
                <a:lnTo>
                  <a:pt x="2207" y="158"/>
                </a:lnTo>
                <a:lnTo>
                  <a:pt x="2096" y="141"/>
                </a:lnTo>
                <a:lnTo>
                  <a:pt x="1984" y="130"/>
                </a:lnTo>
                <a:lnTo>
                  <a:pt x="1870" y="125"/>
                </a:lnTo>
                <a:close/>
                <a:moveTo>
                  <a:pt x="1870" y="0"/>
                </a:moveTo>
                <a:lnTo>
                  <a:pt x="1870" y="0"/>
                </a:lnTo>
                <a:lnTo>
                  <a:pt x="1987" y="4"/>
                </a:lnTo>
                <a:lnTo>
                  <a:pt x="2105" y="15"/>
                </a:lnTo>
                <a:lnTo>
                  <a:pt x="2218" y="32"/>
                </a:lnTo>
                <a:lnTo>
                  <a:pt x="2330" y="57"/>
                </a:lnTo>
                <a:lnTo>
                  <a:pt x="2439" y="88"/>
                </a:lnTo>
                <a:lnTo>
                  <a:pt x="2545" y="125"/>
                </a:lnTo>
                <a:lnTo>
                  <a:pt x="2649" y="169"/>
                </a:lnTo>
                <a:lnTo>
                  <a:pt x="2748" y="218"/>
                </a:lnTo>
                <a:lnTo>
                  <a:pt x="2845" y="272"/>
                </a:lnTo>
                <a:lnTo>
                  <a:pt x="2938" y="334"/>
                </a:lnTo>
                <a:lnTo>
                  <a:pt x="3027" y="398"/>
                </a:lnTo>
                <a:lnTo>
                  <a:pt x="3111" y="469"/>
                </a:lnTo>
                <a:lnTo>
                  <a:pt x="3191" y="544"/>
                </a:lnTo>
                <a:lnTo>
                  <a:pt x="3267" y="624"/>
                </a:lnTo>
                <a:lnTo>
                  <a:pt x="3338" y="709"/>
                </a:lnTo>
                <a:lnTo>
                  <a:pt x="3405" y="797"/>
                </a:lnTo>
                <a:lnTo>
                  <a:pt x="3465" y="889"/>
                </a:lnTo>
                <a:lnTo>
                  <a:pt x="3521" y="984"/>
                </a:lnTo>
                <a:lnTo>
                  <a:pt x="3571" y="1084"/>
                </a:lnTo>
                <a:lnTo>
                  <a:pt x="3614" y="1186"/>
                </a:lnTo>
                <a:lnTo>
                  <a:pt x="3651" y="1291"/>
                </a:lnTo>
                <a:lnTo>
                  <a:pt x="3683" y="1401"/>
                </a:lnTo>
                <a:lnTo>
                  <a:pt x="3708" y="1511"/>
                </a:lnTo>
                <a:lnTo>
                  <a:pt x="3726" y="1624"/>
                </a:lnTo>
                <a:lnTo>
                  <a:pt x="3736" y="1739"/>
                </a:lnTo>
                <a:lnTo>
                  <a:pt x="3740" y="1857"/>
                </a:lnTo>
                <a:lnTo>
                  <a:pt x="3736" y="1973"/>
                </a:lnTo>
                <a:lnTo>
                  <a:pt x="3726" y="2089"/>
                </a:lnTo>
                <a:lnTo>
                  <a:pt x="3708" y="2203"/>
                </a:lnTo>
                <a:lnTo>
                  <a:pt x="3683" y="2313"/>
                </a:lnTo>
                <a:lnTo>
                  <a:pt x="3651" y="2422"/>
                </a:lnTo>
                <a:lnTo>
                  <a:pt x="3614" y="2528"/>
                </a:lnTo>
                <a:lnTo>
                  <a:pt x="3571" y="2630"/>
                </a:lnTo>
                <a:lnTo>
                  <a:pt x="3521" y="2729"/>
                </a:lnTo>
                <a:lnTo>
                  <a:pt x="3465" y="2824"/>
                </a:lnTo>
                <a:lnTo>
                  <a:pt x="3405" y="2917"/>
                </a:lnTo>
                <a:lnTo>
                  <a:pt x="3338" y="3005"/>
                </a:lnTo>
                <a:lnTo>
                  <a:pt x="3267" y="3089"/>
                </a:lnTo>
                <a:lnTo>
                  <a:pt x="3191" y="3169"/>
                </a:lnTo>
                <a:lnTo>
                  <a:pt x="3111" y="3244"/>
                </a:lnTo>
                <a:lnTo>
                  <a:pt x="3027" y="3315"/>
                </a:lnTo>
                <a:lnTo>
                  <a:pt x="2938" y="3380"/>
                </a:lnTo>
                <a:lnTo>
                  <a:pt x="2845" y="3440"/>
                </a:lnTo>
                <a:lnTo>
                  <a:pt x="2748" y="3496"/>
                </a:lnTo>
                <a:lnTo>
                  <a:pt x="2649" y="3545"/>
                </a:lnTo>
                <a:lnTo>
                  <a:pt x="2545" y="3589"/>
                </a:lnTo>
                <a:lnTo>
                  <a:pt x="2439" y="3625"/>
                </a:lnTo>
                <a:lnTo>
                  <a:pt x="2330" y="3657"/>
                </a:lnTo>
                <a:lnTo>
                  <a:pt x="2218" y="3680"/>
                </a:lnTo>
                <a:lnTo>
                  <a:pt x="2105" y="3699"/>
                </a:lnTo>
                <a:lnTo>
                  <a:pt x="1987" y="3710"/>
                </a:lnTo>
                <a:lnTo>
                  <a:pt x="1870" y="3713"/>
                </a:lnTo>
                <a:lnTo>
                  <a:pt x="1751" y="3710"/>
                </a:lnTo>
                <a:lnTo>
                  <a:pt x="1635" y="3699"/>
                </a:lnTo>
                <a:lnTo>
                  <a:pt x="1522" y="3680"/>
                </a:lnTo>
                <a:lnTo>
                  <a:pt x="1410" y="3657"/>
                </a:lnTo>
                <a:lnTo>
                  <a:pt x="1301" y="3625"/>
                </a:lnTo>
                <a:lnTo>
                  <a:pt x="1195" y="3589"/>
                </a:lnTo>
                <a:lnTo>
                  <a:pt x="1091" y="3545"/>
                </a:lnTo>
                <a:lnTo>
                  <a:pt x="991" y="3496"/>
                </a:lnTo>
                <a:lnTo>
                  <a:pt x="895" y="3440"/>
                </a:lnTo>
                <a:lnTo>
                  <a:pt x="802" y="3380"/>
                </a:lnTo>
                <a:lnTo>
                  <a:pt x="713" y="3315"/>
                </a:lnTo>
                <a:lnTo>
                  <a:pt x="628" y="3244"/>
                </a:lnTo>
                <a:lnTo>
                  <a:pt x="547" y="3169"/>
                </a:lnTo>
                <a:lnTo>
                  <a:pt x="472" y="3089"/>
                </a:lnTo>
                <a:lnTo>
                  <a:pt x="401" y="3005"/>
                </a:lnTo>
                <a:lnTo>
                  <a:pt x="335" y="2917"/>
                </a:lnTo>
                <a:lnTo>
                  <a:pt x="274" y="2824"/>
                </a:lnTo>
                <a:lnTo>
                  <a:pt x="219" y="2729"/>
                </a:lnTo>
                <a:lnTo>
                  <a:pt x="169" y="2630"/>
                </a:lnTo>
                <a:lnTo>
                  <a:pt x="126" y="2528"/>
                </a:lnTo>
                <a:lnTo>
                  <a:pt x="88" y="2422"/>
                </a:lnTo>
                <a:lnTo>
                  <a:pt x="57" y="2313"/>
                </a:lnTo>
                <a:lnTo>
                  <a:pt x="32" y="2203"/>
                </a:lnTo>
                <a:lnTo>
                  <a:pt x="14" y="2089"/>
                </a:lnTo>
                <a:lnTo>
                  <a:pt x="4" y="1973"/>
                </a:lnTo>
                <a:lnTo>
                  <a:pt x="0" y="1857"/>
                </a:lnTo>
                <a:lnTo>
                  <a:pt x="4" y="1739"/>
                </a:lnTo>
                <a:lnTo>
                  <a:pt x="14" y="1624"/>
                </a:lnTo>
                <a:lnTo>
                  <a:pt x="32" y="1511"/>
                </a:lnTo>
                <a:lnTo>
                  <a:pt x="57" y="1401"/>
                </a:lnTo>
                <a:lnTo>
                  <a:pt x="88" y="1291"/>
                </a:lnTo>
                <a:lnTo>
                  <a:pt x="126" y="1186"/>
                </a:lnTo>
                <a:lnTo>
                  <a:pt x="169" y="1084"/>
                </a:lnTo>
                <a:lnTo>
                  <a:pt x="219" y="984"/>
                </a:lnTo>
                <a:lnTo>
                  <a:pt x="274" y="889"/>
                </a:lnTo>
                <a:lnTo>
                  <a:pt x="335" y="797"/>
                </a:lnTo>
                <a:lnTo>
                  <a:pt x="401" y="709"/>
                </a:lnTo>
                <a:lnTo>
                  <a:pt x="472" y="624"/>
                </a:lnTo>
                <a:lnTo>
                  <a:pt x="547" y="544"/>
                </a:lnTo>
                <a:lnTo>
                  <a:pt x="628" y="469"/>
                </a:lnTo>
                <a:lnTo>
                  <a:pt x="713" y="398"/>
                </a:lnTo>
                <a:lnTo>
                  <a:pt x="802" y="334"/>
                </a:lnTo>
                <a:lnTo>
                  <a:pt x="895" y="272"/>
                </a:lnTo>
                <a:lnTo>
                  <a:pt x="991" y="218"/>
                </a:lnTo>
                <a:lnTo>
                  <a:pt x="1091" y="169"/>
                </a:lnTo>
                <a:lnTo>
                  <a:pt x="1195" y="125"/>
                </a:lnTo>
                <a:lnTo>
                  <a:pt x="1301" y="88"/>
                </a:lnTo>
                <a:lnTo>
                  <a:pt x="1410" y="57"/>
                </a:lnTo>
                <a:lnTo>
                  <a:pt x="1522" y="32"/>
                </a:lnTo>
                <a:lnTo>
                  <a:pt x="1635" y="15"/>
                </a:lnTo>
                <a:lnTo>
                  <a:pt x="1751" y="4"/>
                </a:lnTo>
                <a:lnTo>
                  <a:pt x="1870" y="0"/>
                </a:lnTo>
                <a:close/>
              </a:path>
            </a:pathLst>
          </a:custGeom>
          <a:solidFill>
            <a:schemeClr val="tx2"/>
          </a:solidFill>
          <a:ln w="19050">
            <a:solidFill>
              <a:schemeClr val="tx2"/>
            </a:solidFill>
            <a:prstDash val="solid"/>
            <a:round/>
            <a:headEnd/>
            <a:tailEnd/>
          </a:ln>
        </p:spPr>
        <p:txBody>
          <a:bodyPr vert="horz" wrap="square" lIns="150148" tIns="75075" rIns="150148" bIns="75075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dirty="0">
              <a:solidFill>
                <a:prstClr val="black"/>
              </a:solidFill>
            </a:endParaRPr>
          </a:p>
        </p:txBody>
      </p:sp>
      <p:grpSp>
        <p:nvGrpSpPr>
          <p:cNvPr id="117" name="Group 116">
            <a:extLst>
              <a:ext uri="{FF2B5EF4-FFF2-40B4-BE49-F238E27FC236}">
                <a16:creationId xmlns:a16="http://schemas.microsoft.com/office/drawing/2014/main" id="{1AB30950-8B08-F120-A13B-73E27EFD14D5}"/>
              </a:ext>
            </a:extLst>
          </p:cNvPr>
          <p:cNvGrpSpPr/>
          <p:nvPr/>
        </p:nvGrpSpPr>
        <p:grpSpPr>
          <a:xfrm>
            <a:off x="624173" y="4101062"/>
            <a:ext cx="345852" cy="342973"/>
            <a:chOff x="624173" y="2198922"/>
            <a:chExt cx="345852" cy="342973"/>
          </a:xfrm>
          <a:solidFill>
            <a:schemeClr val="accent1"/>
          </a:solidFill>
        </p:grpSpPr>
        <p:sp>
          <p:nvSpPr>
            <p:cNvPr id="118" name="Freeform 1532">
              <a:extLst>
                <a:ext uri="{FF2B5EF4-FFF2-40B4-BE49-F238E27FC236}">
                  <a16:creationId xmlns:a16="http://schemas.microsoft.com/office/drawing/2014/main" id="{E3974263-F81B-38B2-219E-5550C9E5B4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1577" y="2433816"/>
              <a:ext cx="84998" cy="83582"/>
            </a:xfrm>
            <a:custGeom>
              <a:avLst/>
              <a:gdLst>
                <a:gd name="T0" fmla="*/ 16 w 41"/>
                <a:gd name="T1" fmla="*/ 41 h 41"/>
                <a:gd name="T2" fmla="*/ 13 w 41"/>
                <a:gd name="T3" fmla="*/ 40 h 41"/>
                <a:gd name="T4" fmla="*/ 1 w 41"/>
                <a:gd name="T5" fmla="*/ 28 h 41"/>
                <a:gd name="T6" fmla="*/ 0 w 41"/>
                <a:gd name="T7" fmla="*/ 24 h 41"/>
                <a:gd name="T8" fmla="*/ 5 w 41"/>
                <a:gd name="T9" fmla="*/ 7 h 41"/>
                <a:gd name="T10" fmla="*/ 7 w 41"/>
                <a:gd name="T11" fmla="*/ 5 h 41"/>
                <a:gd name="T12" fmla="*/ 24 w 41"/>
                <a:gd name="T13" fmla="*/ 0 h 41"/>
                <a:gd name="T14" fmla="*/ 28 w 41"/>
                <a:gd name="T15" fmla="*/ 1 h 41"/>
                <a:gd name="T16" fmla="*/ 40 w 41"/>
                <a:gd name="T17" fmla="*/ 14 h 41"/>
                <a:gd name="T18" fmla="*/ 40 w 41"/>
                <a:gd name="T19" fmla="*/ 14 h 41"/>
                <a:gd name="T20" fmla="*/ 41 w 41"/>
                <a:gd name="T21" fmla="*/ 17 h 41"/>
                <a:gd name="T22" fmla="*/ 36 w 41"/>
                <a:gd name="T23" fmla="*/ 34 h 41"/>
                <a:gd name="T24" fmla="*/ 34 w 41"/>
                <a:gd name="T25" fmla="*/ 37 h 41"/>
                <a:gd name="T26" fmla="*/ 17 w 41"/>
                <a:gd name="T27" fmla="*/ 41 h 41"/>
                <a:gd name="T28" fmla="*/ 16 w 41"/>
                <a:gd name="T29" fmla="*/ 41 h 41"/>
                <a:gd name="T30" fmla="*/ 5 w 41"/>
                <a:gd name="T31" fmla="*/ 25 h 41"/>
                <a:gd name="T32" fmla="*/ 16 w 41"/>
                <a:gd name="T33" fmla="*/ 36 h 41"/>
                <a:gd name="T34" fmla="*/ 32 w 41"/>
                <a:gd name="T35" fmla="*/ 32 h 41"/>
                <a:gd name="T36" fmla="*/ 36 w 41"/>
                <a:gd name="T37" fmla="*/ 17 h 41"/>
                <a:gd name="T38" fmla="*/ 25 w 41"/>
                <a:gd name="T39" fmla="*/ 5 h 41"/>
                <a:gd name="T40" fmla="*/ 9 w 41"/>
                <a:gd name="T41" fmla="*/ 9 h 41"/>
                <a:gd name="T42" fmla="*/ 5 w 41"/>
                <a:gd name="T43" fmla="*/ 25 h 41"/>
                <a:gd name="T44" fmla="*/ 32 w 41"/>
                <a:gd name="T45" fmla="*/ 33 h 41"/>
                <a:gd name="T46" fmla="*/ 32 w 41"/>
                <a:gd name="T47" fmla="*/ 33 h 41"/>
                <a:gd name="T48" fmla="*/ 5 w 41"/>
                <a:gd name="T49" fmla="*/ 26 h 41"/>
                <a:gd name="T50" fmla="*/ 5 w 41"/>
                <a:gd name="T51" fmla="*/ 26 h 41"/>
                <a:gd name="T52" fmla="*/ 5 w 41"/>
                <a:gd name="T53" fmla="*/ 26 h 41"/>
                <a:gd name="T54" fmla="*/ 36 w 41"/>
                <a:gd name="T55" fmla="*/ 16 h 41"/>
                <a:gd name="T56" fmla="*/ 36 w 41"/>
                <a:gd name="T57" fmla="*/ 16 h 41"/>
                <a:gd name="T58" fmla="*/ 9 w 41"/>
                <a:gd name="T59" fmla="*/ 9 h 41"/>
                <a:gd name="T60" fmla="*/ 9 w 41"/>
                <a:gd name="T61" fmla="*/ 9 h 41"/>
                <a:gd name="T62" fmla="*/ 9 w 41"/>
                <a:gd name="T63" fmla="*/ 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" h="41">
                  <a:moveTo>
                    <a:pt x="16" y="41"/>
                  </a:moveTo>
                  <a:cubicBezTo>
                    <a:pt x="15" y="41"/>
                    <a:pt x="14" y="41"/>
                    <a:pt x="13" y="40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0" y="27"/>
                    <a:pt x="0" y="26"/>
                    <a:pt x="0" y="24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6" y="5"/>
                    <a:pt x="7" y="5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5" y="0"/>
                    <a:pt x="27" y="0"/>
                    <a:pt x="28" y="1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41" y="15"/>
                    <a:pt x="41" y="16"/>
                    <a:pt x="41" y="17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36" y="35"/>
                    <a:pt x="35" y="36"/>
                    <a:pt x="34" y="37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1"/>
                    <a:pt x="16" y="41"/>
                    <a:pt x="16" y="41"/>
                  </a:cubicBezTo>
                  <a:close/>
                  <a:moveTo>
                    <a:pt x="5" y="25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9" y="9"/>
                    <a:pt x="9" y="9"/>
                    <a:pt x="9" y="9"/>
                  </a:cubicBezTo>
                  <a:lnTo>
                    <a:pt x="5" y="25"/>
                  </a:lnTo>
                  <a:close/>
                  <a:moveTo>
                    <a:pt x="32" y="33"/>
                  </a:moveTo>
                  <a:cubicBezTo>
                    <a:pt x="32" y="33"/>
                    <a:pt x="32" y="33"/>
                    <a:pt x="32" y="33"/>
                  </a:cubicBezTo>
                  <a:close/>
                  <a:moveTo>
                    <a:pt x="5" y="26"/>
                  </a:move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lose/>
                  <a:moveTo>
                    <a:pt x="36" y="16"/>
                  </a:moveTo>
                  <a:cubicBezTo>
                    <a:pt x="36" y="16"/>
                    <a:pt x="36" y="16"/>
                    <a:pt x="36" y="16"/>
                  </a:cubicBezTo>
                  <a:close/>
                  <a:moveTo>
                    <a:pt x="9" y="9"/>
                  </a:move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119" name="Freeform 1533">
              <a:extLst>
                <a:ext uri="{FF2B5EF4-FFF2-40B4-BE49-F238E27FC236}">
                  <a16:creationId xmlns:a16="http://schemas.microsoft.com/office/drawing/2014/main" id="{E7FA6557-AB72-AE14-7898-F62607A5A9F3}"/>
                </a:ext>
              </a:extLst>
            </p:cNvPr>
            <p:cNvSpPr>
              <a:spLocks/>
            </p:cNvSpPr>
            <p:nvPr/>
          </p:nvSpPr>
          <p:spPr bwMode="auto">
            <a:xfrm>
              <a:off x="627104" y="2201803"/>
              <a:ext cx="95258" cy="93669"/>
            </a:xfrm>
            <a:custGeom>
              <a:avLst/>
              <a:gdLst>
                <a:gd name="T0" fmla="*/ 18 w 46"/>
                <a:gd name="T1" fmla="*/ 46 h 46"/>
                <a:gd name="T2" fmla="*/ 16 w 46"/>
                <a:gd name="T3" fmla="*/ 45 h 46"/>
                <a:gd name="T4" fmla="*/ 1 w 46"/>
                <a:gd name="T5" fmla="*/ 30 h 46"/>
                <a:gd name="T6" fmla="*/ 1 w 46"/>
                <a:gd name="T7" fmla="*/ 26 h 46"/>
                <a:gd name="T8" fmla="*/ 5 w 46"/>
                <a:gd name="T9" fmla="*/ 26 h 46"/>
                <a:gd name="T10" fmla="*/ 19 w 46"/>
                <a:gd name="T11" fmla="*/ 41 h 46"/>
                <a:gd name="T12" fmla="*/ 36 w 46"/>
                <a:gd name="T13" fmla="*/ 36 h 46"/>
                <a:gd name="T14" fmla="*/ 40 w 46"/>
                <a:gd name="T15" fmla="*/ 19 h 46"/>
                <a:gd name="T16" fmla="*/ 26 w 46"/>
                <a:gd name="T17" fmla="*/ 5 h 46"/>
                <a:gd name="T18" fmla="*/ 26 w 46"/>
                <a:gd name="T19" fmla="*/ 1 h 46"/>
                <a:gd name="T20" fmla="*/ 30 w 46"/>
                <a:gd name="T21" fmla="*/ 1 h 46"/>
                <a:gd name="T22" fmla="*/ 45 w 46"/>
                <a:gd name="T23" fmla="*/ 17 h 46"/>
                <a:gd name="T24" fmla="*/ 45 w 46"/>
                <a:gd name="T25" fmla="*/ 19 h 46"/>
                <a:gd name="T26" fmla="*/ 40 w 46"/>
                <a:gd name="T27" fmla="*/ 39 h 46"/>
                <a:gd name="T28" fmla="*/ 38 w 46"/>
                <a:gd name="T29" fmla="*/ 40 h 46"/>
                <a:gd name="T30" fmla="*/ 19 w 46"/>
                <a:gd name="T31" fmla="*/ 46 h 46"/>
                <a:gd name="T32" fmla="*/ 18 w 46"/>
                <a:gd name="T33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" h="46">
                  <a:moveTo>
                    <a:pt x="18" y="46"/>
                  </a:moveTo>
                  <a:cubicBezTo>
                    <a:pt x="18" y="46"/>
                    <a:pt x="17" y="46"/>
                    <a:pt x="16" y="45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0" y="29"/>
                    <a:pt x="0" y="27"/>
                    <a:pt x="1" y="26"/>
                  </a:cubicBezTo>
                  <a:cubicBezTo>
                    <a:pt x="2" y="25"/>
                    <a:pt x="4" y="25"/>
                    <a:pt x="5" y="26"/>
                  </a:cubicBezTo>
                  <a:cubicBezTo>
                    <a:pt x="19" y="41"/>
                    <a:pt x="19" y="41"/>
                    <a:pt x="19" y="41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5" y="4"/>
                    <a:pt x="25" y="2"/>
                    <a:pt x="26" y="1"/>
                  </a:cubicBezTo>
                  <a:cubicBezTo>
                    <a:pt x="27" y="0"/>
                    <a:pt x="29" y="0"/>
                    <a:pt x="30" y="1"/>
                  </a:cubicBezTo>
                  <a:cubicBezTo>
                    <a:pt x="45" y="17"/>
                    <a:pt x="45" y="17"/>
                    <a:pt x="45" y="17"/>
                  </a:cubicBezTo>
                  <a:cubicBezTo>
                    <a:pt x="45" y="17"/>
                    <a:pt x="46" y="18"/>
                    <a:pt x="45" y="19"/>
                  </a:cubicBezTo>
                  <a:cubicBezTo>
                    <a:pt x="40" y="39"/>
                    <a:pt x="40" y="39"/>
                    <a:pt x="40" y="39"/>
                  </a:cubicBezTo>
                  <a:cubicBezTo>
                    <a:pt x="40" y="40"/>
                    <a:pt x="39" y="40"/>
                    <a:pt x="38" y="40"/>
                  </a:cubicBezTo>
                  <a:cubicBezTo>
                    <a:pt x="19" y="46"/>
                    <a:pt x="19" y="46"/>
                    <a:pt x="19" y="46"/>
                  </a:cubicBezTo>
                  <a:cubicBezTo>
                    <a:pt x="19" y="46"/>
                    <a:pt x="18" y="46"/>
                    <a:pt x="18" y="4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120" name="Freeform 1534">
              <a:extLst>
                <a:ext uri="{FF2B5EF4-FFF2-40B4-BE49-F238E27FC236}">
                  <a16:creationId xmlns:a16="http://schemas.microsoft.com/office/drawing/2014/main" id="{707708DC-24C9-D218-8E9A-8C8C2359F522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173" y="2252239"/>
              <a:ext cx="106981" cy="82142"/>
            </a:xfrm>
            <a:custGeom>
              <a:avLst/>
              <a:gdLst>
                <a:gd name="T0" fmla="*/ 33 w 51"/>
                <a:gd name="T1" fmla="*/ 40 h 40"/>
                <a:gd name="T2" fmla="*/ 11 w 51"/>
                <a:gd name="T3" fmla="*/ 30 h 40"/>
                <a:gd name="T4" fmla="*/ 1 w 51"/>
                <a:gd name="T5" fmla="*/ 3 h 40"/>
                <a:gd name="T6" fmla="*/ 4 w 51"/>
                <a:gd name="T7" fmla="*/ 1 h 40"/>
                <a:gd name="T8" fmla="*/ 6 w 51"/>
                <a:gd name="T9" fmla="*/ 3 h 40"/>
                <a:gd name="T10" fmla="*/ 14 w 51"/>
                <a:gd name="T11" fmla="*/ 27 h 40"/>
                <a:gd name="T12" fmla="*/ 47 w 51"/>
                <a:gd name="T13" fmla="*/ 31 h 40"/>
                <a:gd name="T14" fmla="*/ 50 w 51"/>
                <a:gd name="T15" fmla="*/ 32 h 40"/>
                <a:gd name="T16" fmla="*/ 50 w 51"/>
                <a:gd name="T17" fmla="*/ 35 h 40"/>
                <a:gd name="T18" fmla="*/ 33 w 51"/>
                <a:gd name="T19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" h="40">
                  <a:moveTo>
                    <a:pt x="33" y="40"/>
                  </a:moveTo>
                  <a:cubicBezTo>
                    <a:pt x="25" y="40"/>
                    <a:pt x="17" y="36"/>
                    <a:pt x="11" y="30"/>
                  </a:cubicBezTo>
                  <a:cubicBezTo>
                    <a:pt x="3" y="23"/>
                    <a:pt x="0" y="13"/>
                    <a:pt x="1" y="3"/>
                  </a:cubicBezTo>
                  <a:cubicBezTo>
                    <a:pt x="2" y="1"/>
                    <a:pt x="3" y="0"/>
                    <a:pt x="4" y="1"/>
                  </a:cubicBezTo>
                  <a:cubicBezTo>
                    <a:pt x="6" y="1"/>
                    <a:pt x="7" y="2"/>
                    <a:pt x="6" y="3"/>
                  </a:cubicBezTo>
                  <a:cubicBezTo>
                    <a:pt x="5" y="12"/>
                    <a:pt x="8" y="21"/>
                    <a:pt x="14" y="27"/>
                  </a:cubicBezTo>
                  <a:cubicBezTo>
                    <a:pt x="23" y="36"/>
                    <a:pt x="36" y="37"/>
                    <a:pt x="47" y="31"/>
                  </a:cubicBezTo>
                  <a:cubicBezTo>
                    <a:pt x="48" y="30"/>
                    <a:pt x="50" y="31"/>
                    <a:pt x="50" y="32"/>
                  </a:cubicBezTo>
                  <a:cubicBezTo>
                    <a:pt x="51" y="33"/>
                    <a:pt x="51" y="34"/>
                    <a:pt x="50" y="35"/>
                  </a:cubicBezTo>
                  <a:cubicBezTo>
                    <a:pt x="45" y="38"/>
                    <a:pt x="39" y="40"/>
                    <a:pt x="33" y="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121" name="Freeform 1535">
              <a:extLst>
                <a:ext uri="{FF2B5EF4-FFF2-40B4-BE49-F238E27FC236}">
                  <a16:creationId xmlns:a16="http://schemas.microsoft.com/office/drawing/2014/main" id="{C52FF00E-097F-49EB-AE25-60C040157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678398" y="2198922"/>
              <a:ext cx="87929" cy="105197"/>
            </a:xfrm>
            <a:custGeom>
              <a:avLst/>
              <a:gdLst>
                <a:gd name="T0" fmla="*/ 33 w 42"/>
                <a:gd name="T1" fmla="*/ 51 h 51"/>
                <a:gd name="T2" fmla="*/ 31 w 42"/>
                <a:gd name="T3" fmla="*/ 51 h 51"/>
                <a:gd name="T4" fmla="*/ 31 w 42"/>
                <a:gd name="T5" fmla="*/ 47 h 51"/>
                <a:gd name="T6" fmla="*/ 26 w 42"/>
                <a:gd name="T7" fmla="*/ 14 h 51"/>
                <a:gd name="T8" fmla="*/ 3 w 42"/>
                <a:gd name="T9" fmla="*/ 7 h 51"/>
                <a:gd name="T10" fmla="*/ 0 w 42"/>
                <a:gd name="T11" fmla="*/ 5 h 51"/>
                <a:gd name="T12" fmla="*/ 2 w 42"/>
                <a:gd name="T13" fmla="*/ 2 h 51"/>
                <a:gd name="T14" fmla="*/ 30 w 42"/>
                <a:gd name="T15" fmla="*/ 11 h 51"/>
                <a:gd name="T16" fmla="*/ 35 w 42"/>
                <a:gd name="T17" fmla="*/ 50 h 51"/>
                <a:gd name="T18" fmla="*/ 33 w 42"/>
                <a:gd name="T19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51">
                  <a:moveTo>
                    <a:pt x="33" y="51"/>
                  </a:moveTo>
                  <a:cubicBezTo>
                    <a:pt x="32" y="51"/>
                    <a:pt x="32" y="51"/>
                    <a:pt x="31" y="51"/>
                  </a:cubicBezTo>
                  <a:cubicBezTo>
                    <a:pt x="30" y="50"/>
                    <a:pt x="30" y="49"/>
                    <a:pt x="31" y="47"/>
                  </a:cubicBezTo>
                  <a:cubicBezTo>
                    <a:pt x="37" y="37"/>
                    <a:pt x="35" y="23"/>
                    <a:pt x="26" y="14"/>
                  </a:cubicBezTo>
                  <a:cubicBezTo>
                    <a:pt x="20" y="8"/>
                    <a:pt x="12" y="5"/>
                    <a:pt x="3" y="7"/>
                  </a:cubicBezTo>
                  <a:cubicBezTo>
                    <a:pt x="2" y="7"/>
                    <a:pt x="1" y="6"/>
                    <a:pt x="0" y="5"/>
                  </a:cubicBezTo>
                  <a:cubicBezTo>
                    <a:pt x="0" y="3"/>
                    <a:pt x="1" y="2"/>
                    <a:pt x="2" y="2"/>
                  </a:cubicBezTo>
                  <a:cubicBezTo>
                    <a:pt x="12" y="0"/>
                    <a:pt x="23" y="4"/>
                    <a:pt x="30" y="11"/>
                  </a:cubicBezTo>
                  <a:cubicBezTo>
                    <a:pt x="40" y="21"/>
                    <a:pt x="42" y="37"/>
                    <a:pt x="35" y="50"/>
                  </a:cubicBezTo>
                  <a:cubicBezTo>
                    <a:pt x="34" y="51"/>
                    <a:pt x="34" y="51"/>
                    <a:pt x="33" y="5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122" name="Freeform 1536">
              <a:extLst>
                <a:ext uri="{FF2B5EF4-FFF2-40B4-BE49-F238E27FC236}">
                  <a16:creationId xmlns:a16="http://schemas.microsoft.com/office/drawing/2014/main" id="{F2539037-186C-0D64-56CA-0D11DE898A6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893" y="2317089"/>
              <a:ext cx="54223" cy="50437"/>
            </a:xfrm>
            <a:custGeom>
              <a:avLst/>
              <a:gdLst>
                <a:gd name="T0" fmla="*/ 23 w 26"/>
                <a:gd name="T1" fmla="*/ 25 h 25"/>
                <a:gd name="T2" fmla="*/ 21 w 26"/>
                <a:gd name="T3" fmla="*/ 25 h 25"/>
                <a:gd name="T4" fmla="*/ 1 w 26"/>
                <a:gd name="T5" fmla="*/ 4 h 25"/>
                <a:gd name="T6" fmla="*/ 1 w 26"/>
                <a:gd name="T7" fmla="*/ 1 h 25"/>
                <a:gd name="T8" fmla="*/ 5 w 26"/>
                <a:gd name="T9" fmla="*/ 1 h 25"/>
                <a:gd name="T10" fmla="*/ 25 w 26"/>
                <a:gd name="T11" fmla="*/ 21 h 25"/>
                <a:gd name="T12" fmla="*/ 25 w 26"/>
                <a:gd name="T13" fmla="*/ 25 h 25"/>
                <a:gd name="T14" fmla="*/ 23 w 26"/>
                <a:gd name="T1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5">
                  <a:moveTo>
                    <a:pt x="23" y="25"/>
                  </a:moveTo>
                  <a:cubicBezTo>
                    <a:pt x="23" y="25"/>
                    <a:pt x="22" y="25"/>
                    <a:pt x="21" y="25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5" y="1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26" y="22"/>
                    <a:pt x="26" y="24"/>
                    <a:pt x="25" y="25"/>
                  </a:cubicBezTo>
                  <a:cubicBezTo>
                    <a:pt x="24" y="25"/>
                    <a:pt x="24" y="25"/>
                    <a:pt x="23" y="2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123" name="Freeform 1537">
              <a:extLst>
                <a:ext uri="{FF2B5EF4-FFF2-40B4-BE49-F238E27FC236}">
                  <a16:creationId xmlns:a16="http://schemas.microsoft.com/office/drawing/2014/main" id="{5728A4B7-25DC-504B-844F-81415E768288}"/>
                </a:ext>
              </a:extLst>
            </p:cNvPr>
            <p:cNvSpPr>
              <a:spLocks/>
            </p:cNvSpPr>
            <p:nvPr/>
          </p:nvSpPr>
          <p:spPr bwMode="auto">
            <a:xfrm>
              <a:off x="801496" y="2396347"/>
              <a:ext cx="55689" cy="53320"/>
            </a:xfrm>
            <a:custGeom>
              <a:avLst/>
              <a:gdLst>
                <a:gd name="T0" fmla="*/ 24 w 27"/>
                <a:gd name="T1" fmla="*/ 26 h 26"/>
                <a:gd name="T2" fmla="*/ 22 w 27"/>
                <a:gd name="T3" fmla="*/ 26 h 26"/>
                <a:gd name="T4" fmla="*/ 1 w 27"/>
                <a:gd name="T5" fmla="*/ 4 h 26"/>
                <a:gd name="T6" fmla="*/ 1 w 27"/>
                <a:gd name="T7" fmla="*/ 1 h 26"/>
                <a:gd name="T8" fmla="*/ 5 w 27"/>
                <a:gd name="T9" fmla="*/ 1 h 26"/>
                <a:gd name="T10" fmla="*/ 26 w 27"/>
                <a:gd name="T11" fmla="*/ 22 h 26"/>
                <a:gd name="T12" fmla="*/ 26 w 27"/>
                <a:gd name="T13" fmla="*/ 26 h 26"/>
                <a:gd name="T14" fmla="*/ 24 w 27"/>
                <a:gd name="T1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" h="26">
                  <a:moveTo>
                    <a:pt x="24" y="26"/>
                  </a:moveTo>
                  <a:cubicBezTo>
                    <a:pt x="24" y="26"/>
                    <a:pt x="23" y="26"/>
                    <a:pt x="22" y="26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5" y="1"/>
                  </a:cubicBezTo>
                  <a:cubicBezTo>
                    <a:pt x="26" y="22"/>
                    <a:pt x="26" y="22"/>
                    <a:pt x="26" y="22"/>
                  </a:cubicBezTo>
                  <a:cubicBezTo>
                    <a:pt x="27" y="23"/>
                    <a:pt x="27" y="25"/>
                    <a:pt x="26" y="26"/>
                  </a:cubicBezTo>
                  <a:cubicBezTo>
                    <a:pt x="25" y="26"/>
                    <a:pt x="25" y="26"/>
                    <a:pt x="24" y="2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124" name="Freeform 1538">
              <a:extLst>
                <a:ext uri="{FF2B5EF4-FFF2-40B4-BE49-F238E27FC236}">
                  <a16:creationId xmlns:a16="http://schemas.microsoft.com/office/drawing/2014/main" id="{16F4CF3C-8059-42C3-12D5-0F236AC7655C}"/>
                </a:ext>
              </a:extLst>
            </p:cNvPr>
            <p:cNvSpPr>
              <a:spLocks/>
            </p:cNvSpPr>
            <p:nvPr/>
          </p:nvSpPr>
          <p:spPr bwMode="auto">
            <a:xfrm>
              <a:off x="742878" y="2295472"/>
              <a:ext cx="136291" cy="134018"/>
            </a:xfrm>
            <a:custGeom>
              <a:avLst/>
              <a:gdLst>
                <a:gd name="T0" fmla="*/ 63 w 65"/>
                <a:gd name="T1" fmla="*/ 65 h 65"/>
                <a:gd name="T2" fmla="*/ 61 w 65"/>
                <a:gd name="T3" fmla="*/ 64 h 65"/>
                <a:gd name="T4" fmla="*/ 1 w 65"/>
                <a:gd name="T5" fmla="*/ 4 h 65"/>
                <a:gd name="T6" fmla="*/ 1 w 65"/>
                <a:gd name="T7" fmla="*/ 1 h 65"/>
                <a:gd name="T8" fmla="*/ 4 w 65"/>
                <a:gd name="T9" fmla="*/ 1 h 65"/>
                <a:gd name="T10" fmla="*/ 64 w 65"/>
                <a:gd name="T11" fmla="*/ 61 h 65"/>
                <a:gd name="T12" fmla="*/ 64 w 65"/>
                <a:gd name="T13" fmla="*/ 64 h 65"/>
                <a:gd name="T14" fmla="*/ 63 w 65"/>
                <a:gd name="T15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65">
                  <a:moveTo>
                    <a:pt x="63" y="65"/>
                  </a:moveTo>
                  <a:cubicBezTo>
                    <a:pt x="62" y="65"/>
                    <a:pt x="61" y="65"/>
                    <a:pt x="61" y="6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1"/>
                  </a:cubicBezTo>
                  <a:cubicBezTo>
                    <a:pt x="64" y="61"/>
                    <a:pt x="64" y="61"/>
                    <a:pt x="64" y="61"/>
                  </a:cubicBezTo>
                  <a:cubicBezTo>
                    <a:pt x="65" y="62"/>
                    <a:pt x="65" y="63"/>
                    <a:pt x="64" y="64"/>
                  </a:cubicBezTo>
                  <a:cubicBezTo>
                    <a:pt x="64" y="65"/>
                    <a:pt x="63" y="65"/>
                    <a:pt x="63" y="6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125" name="Freeform 1539">
              <a:extLst>
                <a:ext uri="{FF2B5EF4-FFF2-40B4-BE49-F238E27FC236}">
                  <a16:creationId xmlns:a16="http://schemas.microsoft.com/office/drawing/2014/main" id="{E8FEEB65-D442-0361-6179-70FCBE59C294}"/>
                </a:ext>
              </a:extLst>
            </p:cNvPr>
            <p:cNvSpPr>
              <a:spLocks/>
            </p:cNvSpPr>
            <p:nvPr/>
          </p:nvSpPr>
          <p:spPr bwMode="auto">
            <a:xfrm>
              <a:off x="832269" y="2404994"/>
              <a:ext cx="137756" cy="136901"/>
            </a:xfrm>
            <a:custGeom>
              <a:avLst/>
              <a:gdLst>
                <a:gd name="T0" fmla="*/ 34 w 66"/>
                <a:gd name="T1" fmla="*/ 67 h 67"/>
                <a:gd name="T2" fmla="*/ 12 w 66"/>
                <a:gd name="T3" fmla="*/ 57 h 67"/>
                <a:gd name="T4" fmla="*/ 7 w 66"/>
                <a:gd name="T5" fmla="*/ 19 h 67"/>
                <a:gd name="T6" fmla="*/ 10 w 66"/>
                <a:gd name="T7" fmla="*/ 18 h 67"/>
                <a:gd name="T8" fmla="*/ 11 w 66"/>
                <a:gd name="T9" fmla="*/ 21 h 67"/>
                <a:gd name="T10" fmla="*/ 16 w 66"/>
                <a:gd name="T11" fmla="*/ 54 h 67"/>
                <a:gd name="T12" fmla="*/ 34 w 66"/>
                <a:gd name="T13" fmla="*/ 62 h 67"/>
                <a:gd name="T14" fmla="*/ 53 w 66"/>
                <a:gd name="T15" fmla="*/ 54 h 67"/>
                <a:gd name="T16" fmla="*/ 61 w 66"/>
                <a:gd name="T17" fmla="*/ 35 h 67"/>
                <a:gd name="T18" fmla="*/ 53 w 66"/>
                <a:gd name="T19" fmla="*/ 16 h 67"/>
                <a:gd name="T20" fmla="*/ 21 w 66"/>
                <a:gd name="T21" fmla="*/ 12 h 67"/>
                <a:gd name="T22" fmla="*/ 18 w 66"/>
                <a:gd name="T23" fmla="*/ 11 h 67"/>
                <a:gd name="T24" fmla="*/ 18 w 66"/>
                <a:gd name="T25" fmla="*/ 7 h 67"/>
                <a:gd name="T26" fmla="*/ 57 w 66"/>
                <a:gd name="T27" fmla="*/ 12 h 67"/>
                <a:gd name="T28" fmla="*/ 66 w 66"/>
                <a:gd name="T29" fmla="*/ 35 h 67"/>
                <a:gd name="T30" fmla="*/ 57 w 66"/>
                <a:gd name="T31" fmla="*/ 57 h 67"/>
                <a:gd name="T32" fmla="*/ 34 w 66"/>
                <a:gd name="T33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6" h="67">
                  <a:moveTo>
                    <a:pt x="34" y="67"/>
                  </a:moveTo>
                  <a:cubicBezTo>
                    <a:pt x="26" y="67"/>
                    <a:pt x="18" y="63"/>
                    <a:pt x="12" y="57"/>
                  </a:cubicBezTo>
                  <a:cubicBezTo>
                    <a:pt x="2" y="47"/>
                    <a:pt x="0" y="31"/>
                    <a:pt x="7" y="19"/>
                  </a:cubicBezTo>
                  <a:cubicBezTo>
                    <a:pt x="8" y="18"/>
                    <a:pt x="9" y="17"/>
                    <a:pt x="10" y="18"/>
                  </a:cubicBezTo>
                  <a:cubicBezTo>
                    <a:pt x="12" y="19"/>
                    <a:pt x="12" y="20"/>
                    <a:pt x="11" y="21"/>
                  </a:cubicBezTo>
                  <a:cubicBezTo>
                    <a:pt x="5" y="32"/>
                    <a:pt x="7" y="45"/>
                    <a:pt x="16" y="54"/>
                  </a:cubicBezTo>
                  <a:cubicBezTo>
                    <a:pt x="21" y="59"/>
                    <a:pt x="27" y="62"/>
                    <a:pt x="34" y="62"/>
                  </a:cubicBezTo>
                  <a:cubicBezTo>
                    <a:pt x="42" y="62"/>
                    <a:pt x="48" y="59"/>
                    <a:pt x="53" y="54"/>
                  </a:cubicBezTo>
                  <a:cubicBezTo>
                    <a:pt x="59" y="49"/>
                    <a:pt x="61" y="42"/>
                    <a:pt x="61" y="35"/>
                  </a:cubicBezTo>
                  <a:cubicBezTo>
                    <a:pt x="61" y="28"/>
                    <a:pt x="59" y="21"/>
                    <a:pt x="53" y="16"/>
                  </a:cubicBezTo>
                  <a:cubicBezTo>
                    <a:pt x="45" y="7"/>
                    <a:pt x="31" y="5"/>
                    <a:pt x="21" y="12"/>
                  </a:cubicBezTo>
                  <a:cubicBezTo>
                    <a:pt x="20" y="12"/>
                    <a:pt x="18" y="12"/>
                    <a:pt x="18" y="11"/>
                  </a:cubicBezTo>
                  <a:cubicBezTo>
                    <a:pt x="17" y="10"/>
                    <a:pt x="17" y="8"/>
                    <a:pt x="18" y="7"/>
                  </a:cubicBezTo>
                  <a:cubicBezTo>
                    <a:pt x="31" y="0"/>
                    <a:pt x="47" y="2"/>
                    <a:pt x="57" y="12"/>
                  </a:cubicBezTo>
                  <a:cubicBezTo>
                    <a:pt x="63" y="18"/>
                    <a:pt x="66" y="26"/>
                    <a:pt x="66" y="35"/>
                  </a:cubicBezTo>
                  <a:cubicBezTo>
                    <a:pt x="66" y="43"/>
                    <a:pt x="63" y="51"/>
                    <a:pt x="57" y="57"/>
                  </a:cubicBezTo>
                  <a:cubicBezTo>
                    <a:pt x="51" y="63"/>
                    <a:pt x="43" y="67"/>
                    <a:pt x="34" y="6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126" name="Freeform 1540">
              <a:extLst>
                <a:ext uri="{FF2B5EF4-FFF2-40B4-BE49-F238E27FC236}">
                  <a16:creationId xmlns:a16="http://schemas.microsoft.com/office/drawing/2014/main" id="{C5C7022E-DF2F-3F87-4F04-262FF2C8000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840" y="2213333"/>
              <a:ext cx="171461" cy="171489"/>
            </a:xfrm>
            <a:custGeom>
              <a:avLst/>
              <a:gdLst>
                <a:gd name="T0" fmla="*/ 2 w 82"/>
                <a:gd name="T1" fmla="*/ 83 h 83"/>
                <a:gd name="T2" fmla="*/ 1 w 82"/>
                <a:gd name="T3" fmla="*/ 82 h 83"/>
                <a:gd name="T4" fmla="*/ 1 w 82"/>
                <a:gd name="T5" fmla="*/ 78 h 83"/>
                <a:gd name="T6" fmla="*/ 78 w 82"/>
                <a:gd name="T7" fmla="*/ 1 h 83"/>
                <a:gd name="T8" fmla="*/ 81 w 82"/>
                <a:gd name="T9" fmla="*/ 1 h 83"/>
                <a:gd name="T10" fmla="*/ 81 w 82"/>
                <a:gd name="T11" fmla="*/ 5 h 83"/>
                <a:gd name="T12" fmla="*/ 4 w 82"/>
                <a:gd name="T13" fmla="*/ 82 h 83"/>
                <a:gd name="T14" fmla="*/ 2 w 82"/>
                <a:gd name="T15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83">
                  <a:moveTo>
                    <a:pt x="2" y="83"/>
                  </a:moveTo>
                  <a:cubicBezTo>
                    <a:pt x="2" y="83"/>
                    <a:pt x="1" y="82"/>
                    <a:pt x="1" y="82"/>
                  </a:cubicBezTo>
                  <a:cubicBezTo>
                    <a:pt x="0" y="81"/>
                    <a:pt x="0" y="79"/>
                    <a:pt x="1" y="78"/>
                  </a:cubicBezTo>
                  <a:cubicBezTo>
                    <a:pt x="78" y="1"/>
                    <a:pt x="78" y="1"/>
                    <a:pt x="78" y="1"/>
                  </a:cubicBezTo>
                  <a:cubicBezTo>
                    <a:pt x="79" y="0"/>
                    <a:pt x="80" y="0"/>
                    <a:pt x="81" y="1"/>
                  </a:cubicBezTo>
                  <a:cubicBezTo>
                    <a:pt x="82" y="2"/>
                    <a:pt x="82" y="4"/>
                    <a:pt x="81" y="5"/>
                  </a:cubicBezTo>
                  <a:cubicBezTo>
                    <a:pt x="4" y="82"/>
                    <a:pt x="4" y="82"/>
                    <a:pt x="4" y="82"/>
                  </a:cubicBezTo>
                  <a:cubicBezTo>
                    <a:pt x="4" y="82"/>
                    <a:pt x="3" y="83"/>
                    <a:pt x="2" y="8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127" name="Freeform 1541">
              <a:extLst>
                <a:ext uri="{FF2B5EF4-FFF2-40B4-BE49-F238E27FC236}">
                  <a16:creationId xmlns:a16="http://schemas.microsoft.com/office/drawing/2014/main" id="{FBECC6AF-A0F4-019E-0B51-8059D0350FB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8568" y="2376174"/>
              <a:ext cx="167066" cy="159960"/>
            </a:xfrm>
            <a:custGeom>
              <a:avLst/>
              <a:gdLst>
                <a:gd name="T0" fmla="*/ 26 w 80"/>
                <a:gd name="T1" fmla="*/ 78 h 78"/>
                <a:gd name="T2" fmla="*/ 20 w 80"/>
                <a:gd name="T3" fmla="*/ 76 h 78"/>
                <a:gd name="T4" fmla="*/ 4 w 80"/>
                <a:gd name="T5" fmla="*/ 60 h 78"/>
                <a:gd name="T6" fmla="*/ 4 w 80"/>
                <a:gd name="T7" fmla="*/ 48 h 78"/>
                <a:gd name="T8" fmla="*/ 49 w 80"/>
                <a:gd name="T9" fmla="*/ 3 h 78"/>
                <a:gd name="T10" fmla="*/ 55 w 80"/>
                <a:gd name="T11" fmla="*/ 0 h 78"/>
                <a:gd name="T12" fmla="*/ 61 w 80"/>
                <a:gd name="T13" fmla="*/ 3 h 78"/>
                <a:gd name="T14" fmla="*/ 77 w 80"/>
                <a:gd name="T15" fmla="*/ 19 h 78"/>
                <a:gd name="T16" fmla="*/ 77 w 80"/>
                <a:gd name="T17" fmla="*/ 31 h 78"/>
                <a:gd name="T18" fmla="*/ 32 w 80"/>
                <a:gd name="T19" fmla="*/ 76 h 78"/>
                <a:gd name="T20" fmla="*/ 26 w 80"/>
                <a:gd name="T21" fmla="*/ 78 h 78"/>
                <a:gd name="T22" fmla="*/ 55 w 80"/>
                <a:gd name="T23" fmla="*/ 5 h 78"/>
                <a:gd name="T24" fmla="*/ 52 w 80"/>
                <a:gd name="T25" fmla="*/ 7 h 78"/>
                <a:gd name="T26" fmla="*/ 7 w 80"/>
                <a:gd name="T27" fmla="*/ 51 h 78"/>
                <a:gd name="T28" fmla="*/ 7 w 80"/>
                <a:gd name="T29" fmla="*/ 57 h 78"/>
                <a:gd name="T30" fmla="*/ 23 w 80"/>
                <a:gd name="T31" fmla="*/ 72 h 78"/>
                <a:gd name="T32" fmla="*/ 28 w 80"/>
                <a:gd name="T33" fmla="*/ 72 h 78"/>
                <a:gd name="T34" fmla="*/ 73 w 80"/>
                <a:gd name="T35" fmla="*/ 28 h 78"/>
                <a:gd name="T36" fmla="*/ 73 w 80"/>
                <a:gd name="T37" fmla="*/ 22 h 78"/>
                <a:gd name="T38" fmla="*/ 58 w 80"/>
                <a:gd name="T39" fmla="*/ 7 h 78"/>
                <a:gd name="T40" fmla="*/ 55 w 80"/>
                <a:gd name="T41" fmla="*/ 5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0" h="78">
                  <a:moveTo>
                    <a:pt x="26" y="78"/>
                  </a:moveTo>
                  <a:cubicBezTo>
                    <a:pt x="23" y="78"/>
                    <a:pt x="21" y="77"/>
                    <a:pt x="20" y="76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0" y="57"/>
                    <a:pt x="0" y="51"/>
                    <a:pt x="4" y="48"/>
                  </a:cubicBezTo>
                  <a:cubicBezTo>
                    <a:pt x="49" y="3"/>
                    <a:pt x="49" y="3"/>
                    <a:pt x="49" y="3"/>
                  </a:cubicBezTo>
                  <a:cubicBezTo>
                    <a:pt x="50" y="1"/>
                    <a:pt x="52" y="0"/>
                    <a:pt x="55" y="0"/>
                  </a:cubicBezTo>
                  <a:cubicBezTo>
                    <a:pt x="57" y="0"/>
                    <a:pt x="59" y="1"/>
                    <a:pt x="61" y="3"/>
                  </a:cubicBezTo>
                  <a:cubicBezTo>
                    <a:pt x="77" y="19"/>
                    <a:pt x="77" y="19"/>
                    <a:pt x="77" y="19"/>
                  </a:cubicBezTo>
                  <a:cubicBezTo>
                    <a:pt x="80" y="22"/>
                    <a:pt x="80" y="28"/>
                    <a:pt x="77" y="31"/>
                  </a:cubicBezTo>
                  <a:cubicBezTo>
                    <a:pt x="32" y="76"/>
                    <a:pt x="32" y="76"/>
                    <a:pt x="32" y="76"/>
                  </a:cubicBezTo>
                  <a:cubicBezTo>
                    <a:pt x="30" y="77"/>
                    <a:pt x="28" y="78"/>
                    <a:pt x="26" y="78"/>
                  </a:cubicBezTo>
                  <a:close/>
                  <a:moveTo>
                    <a:pt x="55" y="5"/>
                  </a:moveTo>
                  <a:cubicBezTo>
                    <a:pt x="54" y="5"/>
                    <a:pt x="53" y="6"/>
                    <a:pt x="52" y="7"/>
                  </a:cubicBezTo>
                  <a:cubicBezTo>
                    <a:pt x="7" y="51"/>
                    <a:pt x="7" y="51"/>
                    <a:pt x="7" y="51"/>
                  </a:cubicBezTo>
                  <a:cubicBezTo>
                    <a:pt x="6" y="53"/>
                    <a:pt x="6" y="55"/>
                    <a:pt x="7" y="57"/>
                  </a:cubicBezTo>
                  <a:cubicBezTo>
                    <a:pt x="23" y="72"/>
                    <a:pt x="23" y="72"/>
                    <a:pt x="23" y="72"/>
                  </a:cubicBezTo>
                  <a:cubicBezTo>
                    <a:pt x="24" y="74"/>
                    <a:pt x="27" y="74"/>
                    <a:pt x="28" y="72"/>
                  </a:cubicBezTo>
                  <a:cubicBezTo>
                    <a:pt x="73" y="28"/>
                    <a:pt x="73" y="28"/>
                    <a:pt x="73" y="28"/>
                  </a:cubicBezTo>
                  <a:cubicBezTo>
                    <a:pt x="75" y="26"/>
                    <a:pt x="75" y="24"/>
                    <a:pt x="73" y="22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7" y="6"/>
                    <a:pt x="56" y="5"/>
                    <a:pt x="55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128" name="Freeform 1542">
              <a:extLst>
                <a:ext uri="{FF2B5EF4-FFF2-40B4-BE49-F238E27FC236}">
                  <a16:creationId xmlns:a16="http://schemas.microsoft.com/office/drawing/2014/main" id="{0DE1DDF7-0637-163D-E2E0-04DE1A9331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7275" y="2357439"/>
              <a:ext cx="67410" cy="63406"/>
            </a:xfrm>
            <a:custGeom>
              <a:avLst/>
              <a:gdLst>
                <a:gd name="T0" fmla="*/ 19 w 32"/>
                <a:gd name="T1" fmla="*/ 31 h 31"/>
                <a:gd name="T2" fmla="*/ 14 w 32"/>
                <a:gd name="T3" fmla="*/ 29 h 31"/>
                <a:gd name="T4" fmla="*/ 2 w 32"/>
                <a:gd name="T5" fmla="*/ 17 h 31"/>
                <a:gd name="T6" fmla="*/ 0 w 32"/>
                <a:gd name="T7" fmla="*/ 12 h 31"/>
                <a:gd name="T8" fmla="*/ 2 w 32"/>
                <a:gd name="T9" fmla="*/ 7 h 31"/>
                <a:gd name="T10" fmla="*/ 7 w 32"/>
                <a:gd name="T11" fmla="*/ 3 h 31"/>
                <a:gd name="T12" fmla="*/ 12 w 32"/>
                <a:gd name="T13" fmla="*/ 0 h 31"/>
                <a:gd name="T14" fmla="*/ 17 w 32"/>
                <a:gd name="T15" fmla="*/ 3 h 31"/>
                <a:gd name="T16" fmla="*/ 29 w 32"/>
                <a:gd name="T17" fmla="*/ 14 h 31"/>
                <a:gd name="T18" fmla="*/ 29 w 32"/>
                <a:gd name="T19" fmla="*/ 24 h 31"/>
                <a:gd name="T20" fmla="*/ 24 w 32"/>
                <a:gd name="T21" fmla="*/ 29 h 31"/>
                <a:gd name="T22" fmla="*/ 19 w 32"/>
                <a:gd name="T23" fmla="*/ 31 h 31"/>
                <a:gd name="T24" fmla="*/ 12 w 32"/>
                <a:gd name="T25" fmla="*/ 5 h 31"/>
                <a:gd name="T26" fmla="*/ 11 w 32"/>
                <a:gd name="T27" fmla="*/ 6 h 31"/>
                <a:gd name="T28" fmla="*/ 6 w 32"/>
                <a:gd name="T29" fmla="*/ 11 h 31"/>
                <a:gd name="T30" fmla="*/ 5 w 32"/>
                <a:gd name="T31" fmla="*/ 12 h 31"/>
                <a:gd name="T32" fmla="*/ 6 w 32"/>
                <a:gd name="T33" fmla="*/ 14 h 31"/>
                <a:gd name="T34" fmla="*/ 18 w 32"/>
                <a:gd name="T35" fmla="*/ 26 h 31"/>
                <a:gd name="T36" fmla="*/ 21 w 32"/>
                <a:gd name="T37" fmla="*/ 26 h 31"/>
                <a:gd name="T38" fmla="*/ 24 w 32"/>
                <a:gd name="T39" fmla="*/ 23 h 31"/>
                <a:gd name="T40" fmla="*/ 24 w 32"/>
                <a:gd name="T41" fmla="*/ 23 h 31"/>
                <a:gd name="T42" fmla="*/ 26 w 32"/>
                <a:gd name="T43" fmla="*/ 21 h 31"/>
                <a:gd name="T44" fmla="*/ 26 w 32"/>
                <a:gd name="T45" fmla="*/ 18 h 31"/>
                <a:gd name="T46" fmla="*/ 14 w 32"/>
                <a:gd name="T47" fmla="*/ 6 h 31"/>
                <a:gd name="T48" fmla="*/ 12 w 32"/>
                <a:gd name="T49" fmla="*/ 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2" h="31">
                  <a:moveTo>
                    <a:pt x="19" y="31"/>
                  </a:moveTo>
                  <a:cubicBezTo>
                    <a:pt x="17" y="31"/>
                    <a:pt x="16" y="31"/>
                    <a:pt x="14" y="29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1" y="16"/>
                    <a:pt x="0" y="14"/>
                    <a:pt x="0" y="12"/>
                  </a:cubicBezTo>
                  <a:cubicBezTo>
                    <a:pt x="0" y="10"/>
                    <a:pt x="1" y="9"/>
                    <a:pt x="2" y="7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8" y="1"/>
                    <a:pt x="10" y="0"/>
                    <a:pt x="12" y="0"/>
                  </a:cubicBezTo>
                  <a:cubicBezTo>
                    <a:pt x="14" y="0"/>
                    <a:pt x="16" y="1"/>
                    <a:pt x="17" y="3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32" y="17"/>
                    <a:pt x="32" y="22"/>
                    <a:pt x="29" y="24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23" y="31"/>
                    <a:pt x="21" y="31"/>
                    <a:pt x="19" y="31"/>
                  </a:cubicBezTo>
                  <a:close/>
                  <a:moveTo>
                    <a:pt x="12" y="5"/>
                  </a:moveTo>
                  <a:cubicBezTo>
                    <a:pt x="12" y="5"/>
                    <a:pt x="11" y="6"/>
                    <a:pt x="11" y="6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5" y="11"/>
                    <a:pt x="5" y="12"/>
                    <a:pt x="5" y="12"/>
                  </a:cubicBezTo>
                  <a:cubicBezTo>
                    <a:pt x="5" y="13"/>
                    <a:pt x="5" y="13"/>
                    <a:pt x="6" y="14"/>
                  </a:cubicBezTo>
                  <a:cubicBezTo>
                    <a:pt x="18" y="26"/>
                    <a:pt x="18" y="26"/>
                    <a:pt x="18" y="26"/>
                  </a:cubicBezTo>
                  <a:cubicBezTo>
                    <a:pt x="19" y="27"/>
                    <a:pt x="20" y="27"/>
                    <a:pt x="21" y="26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6" y="21"/>
                    <a:pt x="26" y="21"/>
                    <a:pt x="26" y="21"/>
                  </a:cubicBezTo>
                  <a:cubicBezTo>
                    <a:pt x="27" y="20"/>
                    <a:pt x="27" y="19"/>
                    <a:pt x="26" y="18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3" y="6"/>
                    <a:pt x="13" y="5"/>
                    <a:pt x="12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129" name="Freeform 1543">
              <a:extLst>
                <a:ext uri="{FF2B5EF4-FFF2-40B4-BE49-F238E27FC236}">
                  <a16:creationId xmlns:a16="http://schemas.microsoft.com/office/drawing/2014/main" id="{6F48E846-986C-91A2-912C-59541733B4EF}"/>
                </a:ext>
              </a:extLst>
            </p:cNvPr>
            <p:cNvSpPr>
              <a:spLocks/>
            </p:cNvSpPr>
            <p:nvPr/>
          </p:nvSpPr>
          <p:spPr bwMode="auto">
            <a:xfrm>
              <a:off x="930458" y="2213333"/>
              <a:ext cx="29310" cy="28820"/>
            </a:xfrm>
            <a:custGeom>
              <a:avLst/>
              <a:gdLst>
                <a:gd name="T0" fmla="*/ 4 w 14"/>
                <a:gd name="T1" fmla="*/ 14 h 14"/>
                <a:gd name="T2" fmla="*/ 1 w 14"/>
                <a:gd name="T3" fmla="*/ 13 h 14"/>
                <a:gd name="T4" fmla="*/ 1 w 14"/>
                <a:gd name="T5" fmla="*/ 13 h 14"/>
                <a:gd name="T6" fmla="*/ 1 w 14"/>
                <a:gd name="T7" fmla="*/ 8 h 14"/>
                <a:gd name="T8" fmla="*/ 8 w 14"/>
                <a:gd name="T9" fmla="*/ 1 h 14"/>
                <a:gd name="T10" fmla="*/ 13 w 14"/>
                <a:gd name="T11" fmla="*/ 1 h 14"/>
                <a:gd name="T12" fmla="*/ 14 w 14"/>
                <a:gd name="T13" fmla="*/ 3 h 14"/>
                <a:gd name="T14" fmla="*/ 13 w 14"/>
                <a:gd name="T15" fmla="*/ 6 h 14"/>
                <a:gd name="T16" fmla="*/ 6 w 14"/>
                <a:gd name="T17" fmla="*/ 13 h 14"/>
                <a:gd name="T18" fmla="*/ 4 w 14"/>
                <a:gd name="T1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14">
                  <a:moveTo>
                    <a:pt x="4" y="14"/>
                  </a:moveTo>
                  <a:cubicBezTo>
                    <a:pt x="3" y="14"/>
                    <a:pt x="2" y="13"/>
                    <a:pt x="1" y="1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0" y="11"/>
                    <a:pt x="0" y="9"/>
                    <a:pt x="1" y="8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9" y="0"/>
                    <a:pt x="11" y="0"/>
                    <a:pt x="13" y="1"/>
                  </a:cubicBezTo>
                  <a:cubicBezTo>
                    <a:pt x="13" y="2"/>
                    <a:pt x="14" y="3"/>
                    <a:pt x="14" y="3"/>
                  </a:cubicBezTo>
                  <a:cubicBezTo>
                    <a:pt x="14" y="4"/>
                    <a:pt x="13" y="5"/>
                    <a:pt x="13" y="6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5" y="13"/>
                    <a:pt x="4" y="14"/>
                    <a:pt x="4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</p:grpSp>
      <p:sp>
        <p:nvSpPr>
          <p:cNvPr id="130" name="Shape2_20210621_180936">
            <a:extLst>
              <a:ext uri="{FF2B5EF4-FFF2-40B4-BE49-F238E27FC236}">
                <a16:creationId xmlns:a16="http://schemas.microsoft.com/office/drawing/2014/main" id="{823A163F-2D08-C4DF-F054-C94A24C5AE44}"/>
              </a:ext>
            </a:extLst>
          </p:cNvPr>
          <p:cNvSpPr txBox="1"/>
          <p:nvPr/>
        </p:nvSpPr>
        <p:spPr>
          <a:xfrm>
            <a:off x="1226278" y="5136698"/>
            <a:ext cx="283003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31" name="Shape0_20220518_131534">
            <a:extLst>
              <a:ext uri="{FF2B5EF4-FFF2-40B4-BE49-F238E27FC236}">
                <a16:creationId xmlns:a16="http://schemas.microsoft.com/office/drawing/2014/main" id="{9119A953-E59A-037D-DC17-A7FA1AA0C839}"/>
              </a:ext>
            </a:extLst>
          </p:cNvPr>
          <p:cNvSpPr>
            <a:spLocks noEditPoints="1"/>
          </p:cNvSpPr>
          <p:nvPr/>
        </p:nvSpPr>
        <p:spPr bwMode="auto">
          <a:xfrm>
            <a:off x="475561" y="4940589"/>
            <a:ext cx="643073" cy="638433"/>
          </a:xfrm>
          <a:custGeom>
            <a:avLst/>
            <a:gdLst>
              <a:gd name="T0" fmla="*/ 1532 w 3740"/>
              <a:gd name="T1" fmla="*/ 158 h 3713"/>
              <a:gd name="T2" fmla="*/ 1117 w 3740"/>
              <a:gd name="T3" fmla="*/ 296 h 3713"/>
              <a:gd name="T4" fmla="*/ 756 w 3740"/>
              <a:gd name="T5" fmla="*/ 525 h 3713"/>
              <a:gd name="T6" fmla="*/ 463 w 3740"/>
              <a:gd name="T7" fmla="*/ 835 h 3713"/>
              <a:gd name="T8" fmla="*/ 254 w 3740"/>
              <a:gd name="T9" fmla="*/ 1209 h 3713"/>
              <a:gd name="T10" fmla="*/ 141 w 3740"/>
              <a:gd name="T11" fmla="*/ 1631 h 3713"/>
              <a:gd name="T12" fmla="*/ 141 w 3740"/>
              <a:gd name="T13" fmla="*/ 2082 h 3713"/>
              <a:gd name="T14" fmla="*/ 254 w 3740"/>
              <a:gd name="T15" fmla="*/ 2505 h 3713"/>
              <a:gd name="T16" fmla="*/ 463 w 3740"/>
              <a:gd name="T17" fmla="*/ 2878 h 3713"/>
              <a:gd name="T18" fmla="*/ 756 w 3740"/>
              <a:gd name="T19" fmla="*/ 3187 h 3713"/>
              <a:gd name="T20" fmla="*/ 1117 w 3740"/>
              <a:gd name="T21" fmla="*/ 3418 h 3713"/>
              <a:gd name="T22" fmla="*/ 1532 w 3740"/>
              <a:gd name="T23" fmla="*/ 3554 h 3713"/>
              <a:gd name="T24" fmla="*/ 1984 w 3740"/>
              <a:gd name="T25" fmla="*/ 3584 h 3713"/>
              <a:gd name="T26" fmla="*/ 2420 w 3740"/>
              <a:gd name="T27" fmla="*/ 3499 h 3713"/>
              <a:gd name="T28" fmla="*/ 2810 w 3740"/>
              <a:gd name="T29" fmla="*/ 3313 h 3713"/>
              <a:gd name="T30" fmla="*/ 3139 w 3740"/>
              <a:gd name="T31" fmla="*/ 3042 h 3713"/>
              <a:gd name="T32" fmla="*/ 3393 w 3740"/>
              <a:gd name="T33" fmla="*/ 2698 h 3713"/>
              <a:gd name="T34" fmla="*/ 3555 w 3740"/>
              <a:gd name="T35" fmla="*/ 2298 h 3713"/>
              <a:gd name="T36" fmla="*/ 3613 w 3740"/>
              <a:gd name="T37" fmla="*/ 1857 h 3713"/>
              <a:gd name="T38" fmla="*/ 3555 w 3740"/>
              <a:gd name="T39" fmla="*/ 1415 h 3713"/>
              <a:gd name="T40" fmla="*/ 3393 w 3740"/>
              <a:gd name="T41" fmla="*/ 1015 h 3713"/>
              <a:gd name="T42" fmla="*/ 3139 w 3740"/>
              <a:gd name="T43" fmla="*/ 671 h 3713"/>
              <a:gd name="T44" fmla="*/ 2810 w 3740"/>
              <a:gd name="T45" fmla="*/ 399 h 3713"/>
              <a:gd name="T46" fmla="*/ 2420 w 3740"/>
              <a:gd name="T47" fmla="*/ 215 h 3713"/>
              <a:gd name="T48" fmla="*/ 1984 w 3740"/>
              <a:gd name="T49" fmla="*/ 130 h 3713"/>
              <a:gd name="T50" fmla="*/ 1987 w 3740"/>
              <a:gd name="T51" fmla="*/ 4 h 3713"/>
              <a:gd name="T52" fmla="*/ 2439 w 3740"/>
              <a:gd name="T53" fmla="*/ 88 h 3713"/>
              <a:gd name="T54" fmla="*/ 2845 w 3740"/>
              <a:gd name="T55" fmla="*/ 272 h 3713"/>
              <a:gd name="T56" fmla="*/ 3191 w 3740"/>
              <a:gd name="T57" fmla="*/ 544 h 3713"/>
              <a:gd name="T58" fmla="*/ 3465 w 3740"/>
              <a:gd name="T59" fmla="*/ 889 h 3713"/>
              <a:gd name="T60" fmla="*/ 3651 w 3740"/>
              <a:gd name="T61" fmla="*/ 1291 h 3713"/>
              <a:gd name="T62" fmla="*/ 3736 w 3740"/>
              <a:gd name="T63" fmla="*/ 1739 h 3713"/>
              <a:gd name="T64" fmla="*/ 3708 w 3740"/>
              <a:gd name="T65" fmla="*/ 2203 h 3713"/>
              <a:gd name="T66" fmla="*/ 3571 w 3740"/>
              <a:gd name="T67" fmla="*/ 2630 h 3713"/>
              <a:gd name="T68" fmla="*/ 3338 w 3740"/>
              <a:gd name="T69" fmla="*/ 3005 h 3713"/>
              <a:gd name="T70" fmla="*/ 3027 w 3740"/>
              <a:gd name="T71" fmla="*/ 3315 h 3713"/>
              <a:gd name="T72" fmla="*/ 2649 w 3740"/>
              <a:gd name="T73" fmla="*/ 3545 h 3713"/>
              <a:gd name="T74" fmla="*/ 2218 w 3740"/>
              <a:gd name="T75" fmla="*/ 3680 h 3713"/>
              <a:gd name="T76" fmla="*/ 1751 w 3740"/>
              <a:gd name="T77" fmla="*/ 3710 h 3713"/>
              <a:gd name="T78" fmla="*/ 1301 w 3740"/>
              <a:gd name="T79" fmla="*/ 3625 h 3713"/>
              <a:gd name="T80" fmla="*/ 895 w 3740"/>
              <a:gd name="T81" fmla="*/ 3440 h 3713"/>
              <a:gd name="T82" fmla="*/ 547 w 3740"/>
              <a:gd name="T83" fmla="*/ 3169 h 3713"/>
              <a:gd name="T84" fmla="*/ 274 w 3740"/>
              <a:gd name="T85" fmla="*/ 2824 h 3713"/>
              <a:gd name="T86" fmla="*/ 88 w 3740"/>
              <a:gd name="T87" fmla="*/ 2422 h 3713"/>
              <a:gd name="T88" fmla="*/ 4 w 3740"/>
              <a:gd name="T89" fmla="*/ 1973 h 3713"/>
              <a:gd name="T90" fmla="*/ 32 w 3740"/>
              <a:gd name="T91" fmla="*/ 1511 h 3713"/>
              <a:gd name="T92" fmla="*/ 169 w 3740"/>
              <a:gd name="T93" fmla="*/ 1084 h 3713"/>
              <a:gd name="T94" fmla="*/ 401 w 3740"/>
              <a:gd name="T95" fmla="*/ 709 h 3713"/>
              <a:gd name="T96" fmla="*/ 713 w 3740"/>
              <a:gd name="T97" fmla="*/ 398 h 3713"/>
              <a:gd name="T98" fmla="*/ 1091 w 3740"/>
              <a:gd name="T99" fmla="*/ 169 h 3713"/>
              <a:gd name="T100" fmla="*/ 1522 w 3740"/>
              <a:gd name="T101" fmla="*/ 32 h 37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3740" h="3713">
                <a:moveTo>
                  <a:pt x="1870" y="125"/>
                </a:moveTo>
                <a:lnTo>
                  <a:pt x="1755" y="130"/>
                </a:lnTo>
                <a:lnTo>
                  <a:pt x="1642" y="141"/>
                </a:lnTo>
                <a:lnTo>
                  <a:pt x="1532" y="158"/>
                </a:lnTo>
                <a:lnTo>
                  <a:pt x="1424" y="183"/>
                </a:lnTo>
                <a:lnTo>
                  <a:pt x="1319" y="215"/>
                </a:lnTo>
                <a:lnTo>
                  <a:pt x="1217" y="251"/>
                </a:lnTo>
                <a:lnTo>
                  <a:pt x="1117" y="296"/>
                </a:lnTo>
                <a:lnTo>
                  <a:pt x="1022" y="345"/>
                </a:lnTo>
                <a:lnTo>
                  <a:pt x="929" y="399"/>
                </a:lnTo>
                <a:lnTo>
                  <a:pt x="840" y="461"/>
                </a:lnTo>
                <a:lnTo>
                  <a:pt x="756" y="525"/>
                </a:lnTo>
                <a:lnTo>
                  <a:pt x="675" y="596"/>
                </a:lnTo>
                <a:lnTo>
                  <a:pt x="600" y="671"/>
                </a:lnTo>
                <a:lnTo>
                  <a:pt x="529" y="751"/>
                </a:lnTo>
                <a:lnTo>
                  <a:pt x="463" y="835"/>
                </a:lnTo>
                <a:lnTo>
                  <a:pt x="402" y="923"/>
                </a:lnTo>
                <a:lnTo>
                  <a:pt x="347" y="1015"/>
                </a:lnTo>
                <a:lnTo>
                  <a:pt x="297" y="1110"/>
                </a:lnTo>
                <a:lnTo>
                  <a:pt x="254" y="1209"/>
                </a:lnTo>
                <a:lnTo>
                  <a:pt x="216" y="1310"/>
                </a:lnTo>
                <a:lnTo>
                  <a:pt x="184" y="1415"/>
                </a:lnTo>
                <a:lnTo>
                  <a:pt x="159" y="1522"/>
                </a:lnTo>
                <a:lnTo>
                  <a:pt x="141" y="1631"/>
                </a:lnTo>
                <a:lnTo>
                  <a:pt x="130" y="1743"/>
                </a:lnTo>
                <a:lnTo>
                  <a:pt x="127" y="1857"/>
                </a:lnTo>
                <a:lnTo>
                  <a:pt x="130" y="1970"/>
                </a:lnTo>
                <a:lnTo>
                  <a:pt x="141" y="2082"/>
                </a:lnTo>
                <a:lnTo>
                  <a:pt x="159" y="2191"/>
                </a:lnTo>
                <a:lnTo>
                  <a:pt x="184" y="2298"/>
                </a:lnTo>
                <a:lnTo>
                  <a:pt x="216" y="2403"/>
                </a:lnTo>
                <a:lnTo>
                  <a:pt x="254" y="2505"/>
                </a:lnTo>
                <a:lnTo>
                  <a:pt x="297" y="2603"/>
                </a:lnTo>
                <a:lnTo>
                  <a:pt x="347" y="2698"/>
                </a:lnTo>
                <a:lnTo>
                  <a:pt x="402" y="2790"/>
                </a:lnTo>
                <a:lnTo>
                  <a:pt x="463" y="2878"/>
                </a:lnTo>
                <a:lnTo>
                  <a:pt x="529" y="2962"/>
                </a:lnTo>
                <a:lnTo>
                  <a:pt x="600" y="3042"/>
                </a:lnTo>
                <a:lnTo>
                  <a:pt x="675" y="3117"/>
                </a:lnTo>
                <a:lnTo>
                  <a:pt x="756" y="3187"/>
                </a:lnTo>
                <a:lnTo>
                  <a:pt x="840" y="3253"/>
                </a:lnTo>
                <a:lnTo>
                  <a:pt x="929" y="3313"/>
                </a:lnTo>
                <a:lnTo>
                  <a:pt x="1022" y="3369"/>
                </a:lnTo>
                <a:lnTo>
                  <a:pt x="1117" y="3418"/>
                </a:lnTo>
                <a:lnTo>
                  <a:pt x="1217" y="3462"/>
                </a:lnTo>
                <a:lnTo>
                  <a:pt x="1319" y="3499"/>
                </a:lnTo>
                <a:lnTo>
                  <a:pt x="1424" y="3530"/>
                </a:lnTo>
                <a:lnTo>
                  <a:pt x="1532" y="3554"/>
                </a:lnTo>
                <a:lnTo>
                  <a:pt x="1642" y="3573"/>
                </a:lnTo>
                <a:lnTo>
                  <a:pt x="1755" y="3584"/>
                </a:lnTo>
                <a:lnTo>
                  <a:pt x="1870" y="3587"/>
                </a:lnTo>
                <a:lnTo>
                  <a:pt x="1984" y="3584"/>
                </a:lnTo>
                <a:lnTo>
                  <a:pt x="2096" y="3573"/>
                </a:lnTo>
                <a:lnTo>
                  <a:pt x="2207" y="3554"/>
                </a:lnTo>
                <a:lnTo>
                  <a:pt x="2314" y="3530"/>
                </a:lnTo>
                <a:lnTo>
                  <a:pt x="2420" y="3499"/>
                </a:lnTo>
                <a:lnTo>
                  <a:pt x="2523" y="3462"/>
                </a:lnTo>
                <a:lnTo>
                  <a:pt x="2621" y="3418"/>
                </a:lnTo>
                <a:lnTo>
                  <a:pt x="2717" y="3369"/>
                </a:lnTo>
                <a:lnTo>
                  <a:pt x="2810" y="3313"/>
                </a:lnTo>
                <a:lnTo>
                  <a:pt x="2899" y="3253"/>
                </a:lnTo>
                <a:lnTo>
                  <a:pt x="2983" y="3187"/>
                </a:lnTo>
                <a:lnTo>
                  <a:pt x="3063" y="3117"/>
                </a:lnTo>
                <a:lnTo>
                  <a:pt x="3139" y="3042"/>
                </a:lnTo>
                <a:lnTo>
                  <a:pt x="3210" y="2962"/>
                </a:lnTo>
                <a:lnTo>
                  <a:pt x="3277" y="2878"/>
                </a:lnTo>
                <a:lnTo>
                  <a:pt x="3337" y="2790"/>
                </a:lnTo>
                <a:lnTo>
                  <a:pt x="3393" y="2698"/>
                </a:lnTo>
                <a:lnTo>
                  <a:pt x="3443" y="2603"/>
                </a:lnTo>
                <a:lnTo>
                  <a:pt x="3486" y="2505"/>
                </a:lnTo>
                <a:lnTo>
                  <a:pt x="3524" y="2403"/>
                </a:lnTo>
                <a:lnTo>
                  <a:pt x="3555" y="2298"/>
                </a:lnTo>
                <a:lnTo>
                  <a:pt x="3580" y="2191"/>
                </a:lnTo>
                <a:lnTo>
                  <a:pt x="3598" y="2082"/>
                </a:lnTo>
                <a:lnTo>
                  <a:pt x="3610" y="1970"/>
                </a:lnTo>
                <a:lnTo>
                  <a:pt x="3613" y="1857"/>
                </a:lnTo>
                <a:lnTo>
                  <a:pt x="3610" y="1743"/>
                </a:lnTo>
                <a:lnTo>
                  <a:pt x="3598" y="1631"/>
                </a:lnTo>
                <a:lnTo>
                  <a:pt x="3580" y="1522"/>
                </a:lnTo>
                <a:lnTo>
                  <a:pt x="3555" y="1415"/>
                </a:lnTo>
                <a:lnTo>
                  <a:pt x="3524" y="1310"/>
                </a:lnTo>
                <a:lnTo>
                  <a:pt x="3486" y="1209"/>
                </a:lnTo>
                <a:lnTo>
                  <a:pt x="3443" y="1110"/>
                </a:lnTo>
                <a:lnTo>
                  <a:pt x="3393" y="1015"/>
                </a:lnTo>
                <a:lnTo>
                  <a:pt x="3337" y="923"/>
                </a:lnTo>
                <a:lnTo>
                  <a:pt x="3277" y="835"/>
                </a:lnTo>
                <a:lnTo>
                  <a:pt x="3210" y="751"/>
                </a:lnTo>
                <a:lnTo>
                  <a:pt x="3139" y="671"/>
                </a:lnTo>
                <a:lnTo>
                  <a:pt x="3063" y="596"/>
                </a:lnTo>
                <a:lnTo>
                  <a:pt x="2983" y="525"/>
                </a:lnTo>
                <a:lnTo>
                  <a:pt x="2899" y="461"/>
                </a:lnTo>
                <a:lnTo>
                  <a:pt x="2810" y="399"/>
                </a:lnTo>
                <a:lnTo>
                  <a:pt x="2717" y="345"/>
                </a:lnTo>
                <a:lnTo>
                  <a:pt x="2621" y="296"/>
                </a:lnTo>
                <a:lnTo>
                  <a:pt x="2523" y="251"/>
                </a:lnTo>
                <a:lnTo>
                  <a:pt x="2420" y="215"/>
                </a:lnTo>
                <a:lnTo>
                  <a:pt x="2314" y="183"/>
                </a:lnTo>
                <a:lnTo>
                  <a:pt x="2207" y="158"/>
                </a:lnTo>
                <a:lnTo>
                  <a:pt x="2096" y="141"/>
                </a:lnTo>
                <a:lnTo>
                  <a:pt x="1984" y="130"/>
                </a:lnTo>
                <a:lnTo>
                  <a:pt x="1870" y="125"/>
                </a:lnTo>
                <a:close/>
                <a:moveTo>
                  <a:pt x="1870" y="0"/>
                </a:moveTo>
                <a:lnTo>
                  <a:pt x="1870" y="0"/>
                </a:lnTo>
                <a:lnTo>
                  <a:pt x="1987" y="4"/>
                </a:lnTo>
                <a:lnTo>
                  <a:pt x="2105" y="15"/>
                </a:lnTo>
                <a:lnTo>
                  <a:pt x="2218" y="32"/>
                </a:lnTo>
                <a:lnTo>
                  <a:pt x="2330" y="57"/>
                </a:lnTo>
                <a:lnTo>
                  <a:pt x="2439" y="88"/>
                </a:lnTo>
                <a:lnTo>
                  <a:pt x="2545" y="125"/>
                </a:lnTo>
                <a:lnTo>
                  <a:pt x="2649" y="169"/>
                </a:lnTo>
                <a:lnTo>
                  <a:pt x="2748" y="218"/>
                </a:lnTo>
                <a:lnTo>
                  <a:pt x="2845" y="272"/>
                </a:lnTo>
                <a:lnTo>
                  <a:pt x="2938" y="334"/>
                </a:lnTo>
                <a:lnTo>
                  <a:pt x="3027" y="398"/>
                </a:lnTo>
                <a:lnTo>
                  <a:pt x="3111" y="469"/>
                </a:lnTo>
                <a:lnTo>
                  <a:pt x="3191" y="544"/>
                </a:lnTo>
                <a:lnTo>
                  <a:pt x="3267" y="624"/>
                </a:lnTo>
                <a:lnTo>
                  <a:pt x="3338" y="709"/>
                </a:lnTo>
                <a:lnTo>
                  <a:pt x="3405" y="797"/>
                </a:lnTo>
                <a:lnTo>
                  <a:pt x="3465" y="889"/>
                </a:lnTo>
                <a:lnTo>
                  <a:pt x="3521" y="984"/>
                </a:lnTo>
                <a:lnTo>
                  <a:pt x="3571" y="1084"/>
                </a:lnTo>
                <a:lnTo>
                  <a:pt x="3614" y="1186"/>
                </a:lnTo>
                <a:lnTo>
                  <a:pt x="3651" y="1291"/>
                </a:lnTo>
                <a:lnTo>
                  <a:pt x="3683" y="1401"/>
                </a:lnTo>
                <a:lnTo>
                  <a:pt x="3708" y="1511"/>
                </a:lnTo>
                <a:lnTo>
                  <a:pt x="3726" y="1624"/>
                </a:lnTo>
                <a:lnTo>
                  <a:pt x="3736" y="1739"/>
                </a:lnTo>
                <a:lnTo>
                  <a:pt x="3740" y="1857"/>
                </a:lnTo>
                <a:lnTo>
                  <a:pt x="3736" y="1973"/>
                </a:lnTo>
                <a:lnTo>
                  <a:pt x="3726" y="2089"/>
                </a:lnTo>
                <a:lnTo>
                  <a:pt x="3708" y="2203"/>
                </a:lnTo>
                <a:lnTo>
                  <a:pt x="3683" y="2313"/>
                </a:lnTo>
                <a:lnTo>
                  <a:pt x="3651" y="2422"/>
                </a:lnTo>
                <a:lnTo>
                  <a:pt x="3614" y="2528"/>
                </a:lnTo>
                <a:lnTo>
                  <a:pt x="3571" y="2630"/>
                </a:lnTo>
                <a:lnTo>
                  <a:pt x="3521" y="2729"/>
                </a:lnTo>
                <a:lnTo>
                  <a:pt x="3465" y="2824"/>
                </a:lnTo>
                <a:lnTo>
                  <a:pt x="3405" y="2917"/>
                </a:lnTo>
                <a:lnTo>
                  <a:pt x="3338" y="3005"/>
                </a:lnTo>
                <a:lnTo>
                  <a:pt x="3267" y="3089"/>
                </a:lnTo>
                <a:lnTo>
                  <a:pt x="3191" y="3169"/>
                </a:lnTo>
                <a:lnTo>
                  <a:pt x="3111" y="3244"/>
                </a:lnTo>
                <a:lnTo>
                  <a:pt x="3027" y="3315"/>
                </a:lnTo>
                <a:lnTo>
                  <a:pt x="2938" y="3380"/>
                </a:lnTo>
                <a:lnTo>
                  <a:pt x="2845" y="3440"/>
                </a:lnTo>
                <a:lnTo>
                  <a:pt x="2748" y="3496"/>
                </a:lnTo>
                <a:lnTo>
                  <a:pt x="2649" y="3545"/>
                </a:lnTo>
                <a:lnTo>
                  <a:pt x="2545" y="3589"/>
                </a:lnTo>
                <a:lnTo>
                  <a:pt x="2439" y="3625"/>
                </a:lnTo>
                <a:lnTo>
                  <a:pt x="2330" y="3657"/>
                </a:lnTo>
                <a:lnTo>
                  <a:pt x="2218" y="3680"/>
                </a:lnTo>
                <a:lnTo>
                  <a:pt x="2105" y="3699"/>
                </a:lnTo>
                <a:lnTo>
                  <a:pt x="1987" y="3710"/>
                </a:lnTo>
                <a:lnTo>
                  <a:pt x="1870" y="3713"/>
                </a:lnTo>
                <a:lnTo>
                  <a:pt x="1751" y="3710"/>
                </a:lnTo>
                <a:lnTo>
                  <a:pt x="1635" y="3699"/>
                </a:lnTo>
                <a:lnTo>
                  <a:pt x="1522" y="3680"/>
                </a:lnTo>
                <a:lnTo>
                  <a:pt x="1410" y="3657"/>
                </a:lnTo>
                <a:lnTo>
                  <a:pt x="1301" y="3625"/>
                </a:lnTo>
                <a:lnTo>
                  <a:pt x="1195" y="3589"/>
                </a:lnTo>
                <a:lnTo>
                  <a:pt x="1091" y="3545"/>
                </a:lnTo>
                <a:lnTo>
                  <a:pt x="991" y="3496"/>
                </a:lnTo>
                <a:lnTo>
                  <a:pt x="895" y="3440"/>
                </a:lnTo>
                <a:lnTo>
                  <a:pt x="802" y="3380"/>
                </a:lnTo>
                <a:lnTo>
                  <a:pt x="713" y="3315"/>
                </a:lnTo>
                <a:lnTo>
                  <a:pt x="628" y="3244"/>
                </a:lnTo>
                <a:lnTo>
                  <a:pt x="547" y="3169"/>
                </a:lnTo>
                <a:lnTo>
                  <a:pt x="472" y="3089"/>
                </a:lnTo>
                <a:lnTo>
                  <a:pt x="401" y="3005"/>
                </a:lnTo>
                <a:lnTo>
                  <a:pt x="335" y="2917"/>
                </a:lnTo>
                <a:lnTo>
                  <a:pt x="274" y="2824"/>
                </a:lnTo>
                <a:lnTo>
                  <a:pt x="219" y="2729"/>
                </a:lnTo>
                <a:lnTo>
                  <a:pt x="169" y="2630"/>
                </a:lnTo>
                <a:lnTo>
                  <a:pt x="126" y="2528"/>
                </a:lnTo>
                <a:lnTo>
                  <a:pt x="88" y="2422"/>
                </a:lnTo>
                <a:lnTo>
                  <a:pt x="57" y="2313"/>
                </a:lnTo>
                <a:lnTo>
                  <a:pt x="32" y="2203"/>
                </a:lnTo>
                <a:lnTo>
                  <a:pt x="14" y="2089"/>
                </a:lnTo>
                <a:lnTo>
                  <a:pt x="4" y="1973"/>
                </a:lnTo>
                <a:lnTo>
                  <a:pt x="0" y="1857"/>
                </a:lnTo>
                <a:lnTo>
                  <a:pt x="4" y="1739"/>
                </a:lnTo>
                <a:lnTo>
                  <a:pt x="14" y="1624"/>
                </a:lnTo>
                <a:lnTo>
                  <a:pt x="32" y="1511"/>
                </a:lnTo>
                <a:lnTo>
                  <a:pt x="57" y="1401"/>
                </a:lnTo>
                <a:lnTo>
                  <a:pt x="88" y="1291"/>
                </a:lnTo>
                <a:lnTo>
                  <a:pt x="126" y="1186"/>
                </a:lnTo>
                <a:lnTo>
                  <a:pt x="169" y="1084"/>
                </a:lnTo>
                <a:lnTo>
                  <a:pt x="219" y="984"/>
                </a:lnTo>
                <a:lnTo>
                  <a:pt x="274" y="889"/>
                </a:lnTo>
                <a:lnTo>
                  <a:pt x="335" y="797"/>
                </a:lnTo>
                <a:lnTo>
                  <a:pt x="401" y="709"/>
                </a:lnTo>
                <a:lnTo>
                  <a:pt x="472" y="624"/>
                </a:lnTo>
                <a:lnTo>
                  <a:pt x="547" y="544"/>
                </a:lnTo>
                <a:lnTo>
                  <a:pt x="628" y="469"/>
                </a:lnTo>
                <a:lnTo>
                  <a:pt x="713" y="398"/>
                </a:lnTo>
                <a:lnTo>
                  <a:pt x="802" y="334"/>
                </a:lnTo>
                <a:lnTo>
                  <a:pt x="895" y="272"/>
                </a:lnTo>
                <a:lnTo>
                  <a:pt x="991" y="218"/>
                </a:lnTo>
                <a:lnTo>
                  <a:pt x="1091" y="169"/>
                </a:lnTo>
                <a:lnTo>
                  <a:pt x="1195" y="125"/>
                </a:lnTo>
                <a:lnTo>
                  <a:pt x="1301" y="88"/>
                </a:lnTo>
                <a:lnTo>
                  <a:pt x="1410" y="57"/>
                </a:lnTo>
                <a:lnTo>
                  <a:pt x="1522" y="32"/>
                </a:lnTo>
                <a:lnTo>
                  <a:pt x="1635" y="15"/>
                </a:lnTo>
                <a:lnTo>
                  <a:pt x="1751" y="4"/>
                </a:lnTo>
                <a:lnTo>
                  <a:pt x="1870" y="0"/>
                </a:lnTo>
                <a:close/>
              </a:path>
            </a:pathLst>
          </a:custGeom>
          <a:solidFill>
            <a:schemeClr val="tx2"/>
          </a:solidFill>
          <a:ln w="19050">
            <a:solidFill>
              <a:schemeClr val="tx2"/>
            </a:solidFill>
            <a:prstDash val="solid"/>
            <a:round/>
            <a:headEnd/>
            <a:tailEnd/>
          </a:ln>
        </p:spPr>
        <p:txBody>
          <a:bodyPr vert="horz" wrap="square" lIns="150148" tIns="75075" rIns="150148" bIns="75075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dirty="0">
              <a:solidFill>
                <a:prstClr val="black"/>
              </a:solidFill>
            </a:endParaRPr>
          </a:p>
        </p:txBody>
      </p:sp>
      <p:grpSp>
        <p:nvGrpSpPr>
          <p:cNvPr id="132" name="Group 131">
            <a:extLst>
              <a:ext uri="{FF2B5EF4-FFF2-40B4-BE49-F238E27FC236}">
                <a16:creationId xmlns:a16="http://schemas.microsoft.com/office/drawing/2014/main" id="{62421CB1-2159-3CE4-5927-71C5BBD937B4}"/>
              </a:ext>
            </a:extLst>
          </p:cNvPr>
          <p:cNvGrpSpPr/>
          <p:nvPr/>
        </p:nvGrpSpPr>
        <p:grpSpPr>
          <a:xfrm>
            <a:off x="624173" y="5088321"/>
            <a:ext cx="345852" cy="342973"/>
            <a:chOff x="624173" y="2198922"/>
            <a:chExt cx="345852" cy="342973"/>
          </a:xfrm>
          <a:solidFill>
            <a:schemeClr val="accent1"/>
          </a:solidFill>
        </p:grpSpPr>
        <p:sp>
          <p:nvSpPr>
            <p:cNvPr id="133" name="Freeform 1532">
              <a:extLst>
                <a:ext uri="{FF2B5EF4-FFF2-40B4-BE49-F238E27FC236}">
                  <a16:creationId xmlns:a16="http://schemas.microsoft.com/office/drawing/2014/main" id="{C51B1D1E-1592-4A5B-7DB4-6ED18604549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1577" y="2433816"/>
              <a:ext cx="84998" cy="83582"/>
            </a:xfrm>
            <a:custGeom>
              <a:avLst/>
              <a:gdLst>
                <a:gd name="T0" fmla="*/ 16 w 41"/>
                <a:gd name="T1" fmla="*/ 41 h 41"/>
                <a:gd name="T2" fmla="*/ 13 w 41"/>
                <a:gd name="T3" fmla="*/ 40 h 41"/>
                <a:gd name="T4" fmla="*/ 1 w 41"/>
                <a:gd name="T5" fmla="*/ 28 h 41"/>
                <a:gd name="T6" fmla="*/ 0 w 41"/>
                <a:gd name="T7" fmla="*/ 24 h 41"/>
                <a:gd name="T8" fmla="*/ 5 w 41"/>
                <a:gd name="T9" fmla="*/ 7 h 41"/>
                <a:gd name="T10" fmla="*/ 7 w 41"/>
                <a:gd name="T11" fmla="*/ 5 h 41"/>
                <a:gd name="T12" fmla="*/ 24 w 41"/>
                <a:gd name="T13" fmla="*/ 0 h 41"/>
                <a:gd name="T14" fmla="*/ 28 w 41"/>
                <a:gd name="T15" fmla="*/ 1 h 41"/>
                <a:gd name="T16" fmla="*/ 40 w 41"/>
                <a:gd name="T17" fmla="*/ 14 h 41"/>
                <a:gd name="T18" fmla="*/ 40 w 41"/>
                <a:gd name="T19" fmla="*/ 14 h 41"/>
                <a:gd name="T20" fmla="*/ 41 w 41"/>
                <a:gd name="T21" fmla="*/ 17 h 41"/>
                <a:gd name="T22" fmla="*/ 36 w 41"/>
                <a:gd name="T23" fmla="*/ 34 h 41"/>
                <a:gd name="T24" fmla="*/ 34 w 41"/>
                <a:gd name="T25" fmla="*/ 37 h 41"/>
                <a:gd name="T26" fmla="*/ 17 w 41"/>
                <a:gd name="T27" fmla="*/ 41 h 41"/>
                <a:gd name="T28" fmla="*/ 16 w 41"/>
                <a:gd name="T29" fmla="*/ 41 h 41"/>
                <a:gd name="T30" fmla="*/ 5 w 41"/>
                <a:gd name="T31" fmla="*/ 25 h 41"/>
                <a:gd name="T32" fmla="*/ 16 w 41"/>
                <a:gd name="T33" fmla="*/ 36 h 41"/>
                <a:gd name="T34" fmla="*/ 32 w 41"/>
                <a:gd name="T35" fmla="*/ 32 h 41"/>
                <a:gd name="T36" fmla="*/ 36 w 41"/>
                <a:gd name="T37" fmla="*/ 17 h 41"/>
                <a:gd name="T38" fmla="*/ 25 w 41"/>
                <a:gd name="T39" fmla="*/ 5 h 41"/>
                <a:gd name="T40" fmla="*/ 9 w 41"/>
                <a:gd name="T41" fmla="*/ 9 h 41"/>
                <a:gd name="T42" fmla="*/ 5 w 41"/>
                <a:gd name="T43" fmla="*/ 25 h 41"/>
                <a:gd name="T44" fmla="*/ 32 w 41"/>
                <a:gd name="T45" fmla="*/ 33 h 41"/>
                <a:gd name="T46" fmla="*/ 32 w 41"/>
                <a:gd name="T47" fmla="*/ 33 h 41"/>
                <a:gd name="T48" fmla="*/ 5 w 41"/>
                <a:gd name="T49" fmla="*/ 26 h 41"/>
                <a:gd name="T50" fmla="*/ 5 w 41"/>
                <a:gd name="T51" fmla="*/ 26 h 41"/>
                <a:gd name="T52" fmla="*/ 5 w 41"/>
                <a:gd name="T53" fmla="*/ 26 h 41"/>
                <a:gd name="T54" fmla="*/ 36 w 41"/>
                <a:gd name="T55" fmla="*/ 16 h 41"/>
                <a:gd name="T56" fmla="*/ 36 w 41"/>
                <a:gd name="T57" fmla="*/ 16 h 41"/>
                <a:gd name="T58" fmla="*/ 9 w 41"/>
                <a:gd name="T59" fmla="*/ 9 h 41"/>
                <a:gd name="T60" fmla="*/ 9 w 41"/>
                <a:gd name="T61" fmla="*/ 9 h 41"/>
                <a:gd name="T62" fmla="*/ 9 w 41"/>
                <a:gd name="T63" fmla="*/ 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" h="41">
                  <a:moveTo>
                    <a:pt x="16" y="41"/>
                  </a:moveTo>
                  <a:cubicBezTo>
                    <a:pt x="15" y="41"/>
                    <a:pt x="14" y="41"/>
                    <a:pt x="13" y="40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0" y="27"/>
                    <a:pt x="0" y="26"/>
                    <a:pt x="0" y="24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6" y="5"/>
                    <a:pt x="7" y="5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5" y="0"/>
                    <a:pt x="27" y="0"/>
                    <a:pt x="28" y="1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41" y="15"/>
                    <a:pt x="41" y="16"/>
                    <a:pt x="41" y="17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36" y="35"/>
                    <a:pt x="35" y="36"/>
                    <a:pt x="34" y="37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1"/>
                    <a:pt x="16" y="41"/>
                    <a:pt x="16" y="41"/>
                  </a:cubicBezTo>
                  <a:close/>
                  <a:moveTo>
                    <a:pt x="5" y="25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9" y="9"/>
                    <a:pt x="9" y="9"/>
                    <a:pt x="9" y="9"/>
                  </a:cubicBezTo>
                  <a:lnTo>
                    <a:pt x="5" y="25"/>
                  </a:lnTo>
                  <a:close/>
                  <a:moveTo>
                    <a:pt x="32" y="33"/>
                  </a:moveTo>
                  <a:cubicBezTo>
                    <a:pt x="32" y="33"/>
                    <a:pt x="32" y="33"/>
                    <a:pt x="32" y="33"/>
                  </a:cubicBezTo>
                  <a:close/>
                  <a:moveTo>
                    <a:pt x="5" y="26"/>
                  </a:move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lose/>
                  <a:moveTo>
                    <a:pt x="36" y="16"/>
                  </a:moveTo>
                  <a:cubicBezTo>
                    <a:pt x="36" y="16"/>
                    <a:pt x="36" y="16"/>
                    <a:pt x="36" y="16"/>
                  </a:cubicBezTo>
                  <a:close/>
                  <a:moveTo>
                    <a:pt x="9" y="9"/>
                  </a:move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134" name="Freeform 1533">
              <a:extLst>
                <a:ext uri="{FF2B5EF4-FFF2-40B4-BE49-F238E27FC236}">
                  <a16:creationId xmlns:a16="http://schemas.microsoft.com/office/drawing/2014/main" id="{9A0AB77A-085B-93A7-F78B-567D5FF7CDA6}"/>
                </a:ext>
              </a:extLst>
            </p:cNvPr>
            <p:cNvSpPr>
              <a:spLocks/>
            </p:cNvSpPr>
            <p:nvPr/>
          </p:nvSpPr>
          <p:spPr bwMode="auto">
            <a:xfrm>
              <a:off x="627104" y="2201803"/>
              <a:ext cx="95258" cy="93669"/>
            </a:xfrm>
            <a:custGeom>
              <a:avLst/>
              <a:gdLst>
                <a:gd name="T0" fmla="*/ 18 w 46"/>
                <a:gd name="T1" fmla="*/ 46 h 46"/>
                <a:gd name="T2" fmla="*/ 16 w 46"/>
                <a:gd name="T3" fmla="*/ 45 h 46"/>
                <a:gd name="T4" fmla="*/ 1 w 46"/>
                <a:gd name="T5" fmla="*/ 30 h 46"/>
                <a:gd name="T6" fmla="*/ 1 w 46"/>
                <a:gd name="T7" fmla="*/ 26 h 46"/>
                <a:gd name="T8" fmla="*/ 5 w 46"/>
                <a:gd name="T9" fmla="*/ 26 h 46"/>
                <a:gd name="T10" fmla="*/ 19 w 46"/>
                <a:gd name="T11" fmla="*/ 41 h 46"/>
                <a:gd name="T12" fmla="*/ 36 w 46"/>
                <a:gd name="T13" fmla="*/ 36 h 46"/>
                <a:gd name="T14" fmla="*/ 40 w 46"/>
                <a:gd name="T15" fmla="*/ 19 h 46"/>
                <a:gd name="T16" fmla="*/ 26 w 46"/>
                <a:gd name="T17" fmla="*/ 5 h 46"/>
                <a:gd name="T18" fmla="*/ 26 w 46"/>
                <a:gd name="T19" fmla="*/ 1 h 46"/>
                <a:gd name="T20" fmla="*/ 30 w 46"/>
                <a:gd name="T21" fmla="*/ 1 h 46"/>
                <a:gd name="T22" fmla="*/ 45 w 46"/>
                <a:gd name="T23" fmla="*/ 17 h 46"/>
                <a:gd name="T24" fmla="*/ 45 w 46"/>
                <a:gd name="T25" fmla="*/ 19 h 46"/>
                <a:gd name="T26" fmla="*/ 40 w 46"/>
                <a:gd name="T27" fmla="*/ 39 h 46"/>
                <a:gd name="T28" fmla="*/ 38 w 46"/>
                <a:gd name="T29" fmla="*/ 40 h 46"/>
                <a:gd name="T30" fmla="*/ 19 w 46"/>
                <a:gd name="T31" fmla="*/ 46 h 46"/>
                <a:gd name="T32" fmla="*/ 18 w 46"/>
                <a:gd name="T33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" h="46">
                  <a:moveTo>
                    <a:pt x="18" y="46"/>
                  </a:moveTo>
                  <a:cubicBezTo>
                    <a:pt x="18" y="46"/>
                    <a:pt x="17" y="46"/>
                    <a:pt x="16" y="45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0" y="29"/>
                    <a:pt x="0" y="27"/>
                    <a:pt x="1" y="26"/>
                  </a:cubicBezTo>
                  <a:cubicBezTo>
                    <a:pt x="2" y="25"/>
                    <a:pt x="4" y="25"/>
                    <a:pt x="5" y="26"/>
                  </a:cubicBezTo>
                  <a:cubicBezTo>
                    <a:pt x="19" y="41"/>
                    <a:pt x="19" y="41"/>
                    <a:pt x="19" y="41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5" y="4"/>
                    <a:pt x="25" y="2"/>
                    <a:pt x="26" y="1"/>
                  </a:cubicBezTo>
                  <a:cubicBezTo>
                    <a:pt x="27" y="0"/>
                    <a:pt x="29" y="0"/>
                    <a:pt x="30" y="1"/>
                  </a:cubicBezTo>
                  <a:cubicBezTo>
                    <a:pt x="45" y="17"/>
                    <a:pt x="45" y="17"/>
                    <a:pt x="45" y="17"/>
                  </a:cubicBezTo>
                  <a:cubicBezTo>
                    <a:pt x="45" y="17"/>
                    <a:pt x="46" y="18"/>
                    <a:pt x="45" y="19"/>
                  </a:cubicBezTo>
                  <a:cubicBezTo>
                    <a:pt x="40" y="39"/>
                    <a:pt x="40" y="39"/>
                    <a:pt x="40" y="39"/>
                  </a:cubicBezTo>
                  <a:cubicBezTo>
                    <a:pt x="40" y="40"/>
                    <a:pt x="39" y="40"/>
                    <a:pt x="38" y="40"/>
                  </a:cubicBezTo>
                  <a:cubicBezTo>
                    <a:pt x="19" y="46"/>
                    <a:pt x="19" y="46"/>
                    <a:pt x="19" y="46"/>
                  </a:cubicBezTo>
                  <a:cubicBezTo>
                    <a:pt x="19" y="46"/>
                    <a:pt x="18" y="46"/>
                    <a:pt x="18" y="4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135" name="Freeform 1534">
              <a:extLst>
                <a:ext uri="{FF2B5EF4-FFF2-40B4-BE49-F238E27FC236}">
                  <a16:creationId xmlns:a16="http://schemas.microsoft.com/office/drawing/2014/main" id="{1B50A7F2-4775-9001-C0EC-CADB4C7AEC34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173" y="2252239"/>
              <a:ext cx="106981" cy="82142"/>
            </a:xfrm>
            <a:custGeom>
              <a:avLst/>
              <a:gdLst>
                <a:gd name="T0" fmla="*/ 33 w 51"/>
                <a:gd name="T1" fmla="*/ 40 h 40"/>
                <a:gd name="T2" fmla="*/ 11 w 51"/>
                <a:gd name="T3" fmla="*/ 30 h 40"/>
                <a:gd name="T4" fmla="*/ 1 w 51"/>
                <a:gd name="T5" fmla="*/ 3 h 40"/>
                <a:gd name="T6" fmla="*/ 4 w 51"/>
                <a:gd name="T7" fmla="*/ 1 h 40"/>
                <a:gd name="T8" fmla="*/ 6 w 51"/>
                <a:gd name="T9" fmla="*/ 3 h 40"/>
                <a:gd name="T10" fmla="*/ 14 w 51"/>
                <a:gd name="T11" fmla="*/ 27 h 40"/>
                <a:gd name="T12" fmla="*/ 47 w 51"/>
                <a:gd name="T13" fmla="*/ 31 h 40"/>
                <a:gd name="T14" fmla="*/ 50 w 51"/>
                <a:gd name="T15" fmla="*/ 32 h 40"/>
                <a:gd name="T16" fmla="*/ 50 w 51"/>
                <a:gd name="T17" fmla="*/ 35 h 40"/>
                <a:gd name="T18" fmla="*/ 33 w 51"/>
                <a:gd name="T19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" h="40">
                  <a:moveTo>
                    <a:pt x="33" y="40"/>
                  </a:moveTo>
                  <a:cubicBezTo>
                    <a:pt x="25" y="40"/>
                    <a:pt x="17" y="36"/>
                    <a:pt x="11" y="30"/>
                  </a:cubicBezTo>
                  <a:cubicBezTo>
                    <a:pt x="3" y="23"/>
                    <a:pt x="0" y="13"/>
                    <a:pt x="1" y="3"/>
                  </a:cubicBezTo>
                  <a:cubicBezTo>
                    <a:pt x="2" y="1"/>
                    <a:pt x="3" y="0"/>
                    <a:pt x="4" y="1"/>
                  </a:cubicBezTo>
                  <a:cubicBezTo>
                    <a:pt x="6" y="1"/>
                    <a:pt x="7" y="2"/>
                    <a:pt x="6" y="3"/>
                  </a:cubicBezTo>
                  <a:cubicBezTo>
                    <a:pt x="5" y="12"/>
                    <a:pt x="8" y="21"/>
                    <a:pt x="14" y="27"/>
                  </a:cubicBezTo>
                  <a:cubicBezTo>
                    <a:pt x="23" y="36"/>
                    <a:pt x="36" y="37"/>
                    <a:pt x="47" y="31"/>
                  </a:cubicBezTo>
                  <a:cubicBezTo>
                    <a:pt x="48" y="30"/>
                    <a:pt x="50" y="31"/>
                    <a:pt x="50" y="32"/>
                  </a:cubicBezTo>
                  <a:cubicBezTo>
                    <a:pt x="51" y="33"/>
                    <a:pt x="51" y="34"/>
                    <a:pt x="50" y="35"/>
                  </a:cubicBezTo>
                  <a:cubicBezTo>
                    <a:pt x="45" y="38"/>
                    <a:pt x="39" y="40"/>
                    <a:pt x="33" y="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136" name="Freeform 1535">
              <a:extLst>
                <a:ext uri="{FF2B5EF4-FFF2-40B4-BE49-F238E27FC236}">
                  <a16:creationId xmlns:a16="http://schemas.microsoft.com/office/drawing/2014/main" id="{441D0072-CD5F-5075-1284-F9BDAC4C5FB8}"/>
                </a:ext>
              </a:extLst>
            </p:cNvPr>
            <p:cNvSpPr>
              <a:spLocks/>
            </p:cNvSpPr>
            <p:nvPr/>
          </p:nvSpPr>
          <p:spPr bwMode="auto">
            <a:xfrm>
              <a:off x="678398" y="2198922"/>
              <a:ext cx="87929" cy="105197"/>
            </a:xfrm>
            <a:custGeom>
              <a:avLst/>
              <a:gdLst>
                <a:gd name="T0" fmla="*/ 33 w 42"/>
                <a:gd name="T1" fmla="*/ 51 h 51"/>
                <a:gd name="T2" fmla="*/ 31 w 42"/>
                <a:gd name="T3" fmla="*/ 51 h 51"/>
                <a:gd name="T4" fmla="*/ 31 w 42"/>
                <a:gd name="T5" fmla="*/ 47 h 51"/>
                <a:gd name="T6" fmla="*/ 26 w 42"/>
                <a:gd name="T7" fmla="*/ 14 h 51"/>
                <a:gd name="T8" fmla="*/ 3 w 42"/>
                <a:gd name="T9" fmla="*/ 7 h 51"/>
                <a:gd name="T10" fmla="*/ 0 w 42"/>
                <a:gd name="T11" fmla="*/ 5 h 51"/>
                <a:gd name="T12" fmla="*/ 2 w 42"/>
                <a:gd name="T13" fmla="*/ 2 h 51"/>
                <a:gd name="T14" fmla="*/ 30 w 42"/>
                <a:gd name="T15" fmla="*/ 11 h 51"/>
                <a:gd name="T16" fmla="*/ 35 w 42"/>
                <a:gd name="T17" fmla="*/ 50 h 51"/>
                <a:gd name="T18" fmla="*/ 33 w 42"/>
                <a:gd name="T19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51">
                  <a:moveTo>
                    <a:pt x="33" y="51"/>
                  </a:moveTo>
                  <a:cubicBezTo>
                    <a:pt x="32" y="51"/>
                    <a:pt x="32" y="51"/>
                    <a:pt x="31" y="51"/>
                  </a:cubicBezTo>
                  <a:cubicBezTo>
                    <a:pt x="30" y="50"/>
                    <a:pt x="30" y="49"/>
                    <a:pt x="31" y="47"/>
                  </a:cubicBezTo>
                  <a:cubicBezTo>
                    <a:pt x="37" y="37"/>
                    <a:pt x="35" y="23"/>
                    <a:pt x="26" y="14"/>
                  </a:cubicBezTo>
                  <a:cubicBezTo>
                    <a:pt x="20" y="8"/>
                    <a:pt x="12" y="5"/>
                    <a:pt x="3" y="7"/>
                  </a:cubicBezTo>
                  <a:cubicBezTo>
                    <a:pt x="2" y="7"/>
                    <a:pt x="1" y="6"/>
                    <a:pt x="0" y="5"/>
                  </a:cubicBezTo>
                  <a:cubicBezTo>
                    <a:pt x="0" y="3"/>
                    <a:pt x="1" y="2"/>
                    <a:pt x="2" y="2"/>
                  </a:cubicBezTo>
                  <a:cubicBezTo>
                    <a:pt x="12" y="0"/>
                    <a:pt x="23" y="4"/>
                    <a:pt x="30" y="11"/>
                  </a:cubicBezTo>
                  <a:cubicBezTo>
                    <a:pt x="40" y="21"/>
                    <a:pt x="42" y="37"/>
                    <a:pt x="35" y="50"/>
                  </a:cubicBezTo>
                  <a:cubicBezTo>
                    <a:pt x="34" y="51"/>
                    <a:pt x="34" y="51"/>
                    <a:pt x="33" y="5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137" name="Freeform 1536">
              <a:extLst>
                <a:ext uri="{FF2B5EF4-FFF2-40B4-BE49-F238E27FC236}">
                  <a16:creationId xmlns:a16="http://schemas.microsoft.com/office/drawing/2014/main" id="{18A7B8D4-01CD-1859-71DB-A919C9F0E94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893" y="2317089"/>
              <a:ext cx="54223" cy="50437"/>
            </a:xfrm>
            <a:custGeom>
              <a:avLst/>
              <a:gdLst>
                <a:gd name="T0" fmla="*/ 23 w 26"/>
                <a:gd name="T1" fmla="*/ 25 h 25"/>
                <a:gd name="T2" fmla="*/ 21 w 26"/>
                <a:gd name="T3" fmla="*/ 25 h 25"/>
                <a:gd name="T4" fmla="*/ 1 w 26"/>
                <a:gd name="T5" fmla="*/ 4 h 25"/>
                <a:gd name="T6" fmla="*/ 1 w 26"/>
                <a:gd name="T7" fmla="*/ 1 h 25"/>
                <a:gd name="T8" fmla="*/ 5 w 26"/>
                <a:gd name="T9" fmla="*/ 1 h 25"/>
                <a:gd name="T10" fmla="*/ 25 w 26"/>
                <a:gd name="T11" fmla="*/ 21 h 25"/>
                <a:gd name="T12" fmla="*/ 25 w 26"/>
                <a:gd name="T13" fmla="*/ 25 h 25"/>
                <a:gd name="T14" fmla="*/ 23 w 26"/>
                <a:gd name="T1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5">
                  <a:moveTo>
                    <a:pt x="23" y="25"/>
                  </a:moveTo>
                  <a:cubicBezTo>
                    <a:pt x="23" y="25"/>
                    <a:pt x="22" y="25"/>
                    <a:pt x="21" y="25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5" y="1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26" y="22"/>
                    <a:pt x="26" y="24"/>
                    <a:pt x="25" y="25"/>
                  </a:cubicBezTo>
                  <a:cubicBezTo>
                    <a:pt x="24" y="25"/>
                    <a:pt x="24" y="25"/>
                    <a:pt x="23" y="2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138" name="Freeform 1537">
              <a:extLst>
                <a:ext uri="{FF2B5EF4-FFF2-40B4-BE49-F238E27FC236}">
                  <a16:creationId xmlns:a16="http://schemas.microsoft.com/office/drawing/2014/main" id="{29BB2F53-1473-0CED-E59B-955E6576167E}"/>
                </a:ext>
              </a:extLst>
            </p:cNvPr>
            <p:cNvSpPr>
              <a:spLocks/>
            </p:cNvSpPr>
            <p:nvPr/>
          </p:nvSpPr>
          <p:spPr bwMode="auto">
            <a:xfrm>
              <a:off x="801496" y="2396347"/>
              <a:ext cx="55689" cy="53320"/>
            </a:xfrm>
            <a:custGeom>
              <a:avLst/>
              <a:gdLst>
                <a:gd name="T0" fmla="*/ 24 w 27"/>
                <a:gd name="T1" fmla="*/ 26 h 26"/>
                <a:gd name="T2" fmla="*/ 22 w 27"/>
                <a:gd name="T3" fmla="*/ 26 h 26"/>
                <a:gd name="T4" fmla="*/ 1 w 27"/>
                <a:gd name="T5" fmla="*/ 4 h 26"/>
                <a:gd name="T6" fmla="*/ 1 w 27"/>
                <a:gd name="T7" fmla="*/ 1 h 26"/>
                <a:gd name="T8" fmla="*/ 5 w 27"/>
                <a:gd name="T9" fmla="*/ 1 h 26"/>
                <a:gd name="T10" fmla="*/ 26 w 27"/>
                <a:gd name="T11" fmla="*/ 22 h 26"/>
                <a:gd name="T12" fmla="*/ 26 w 27"/>
                <a:gd name="T13" fmla="*/ 26 h 26"/>
                <a:gd name="T14" fmla="*/ 24 w 27"/>
                <a:gd name="T1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" h="26">
                  <a:moveTo>
                    <a:pt x="24" y="26"/>
                  </a:moveTo>
                  <a:cubicBezTo>
                    <a:pt x="24" y="26"/>
                    <a:pt x="23" y="26"/>
                    <a:pt x="22" y="26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5" y="1"/>
                  </a:cubicBezTo>
                  <a:cubicBezTo>
                    <a:pt x="26" y="22"/>
                    <a:pt x="26" y="22"/>
                    <a:pt x="26" y="22"/>
                  </a:cubicBezTo>
                  <a:cubicBezTo>
                    <a:pt x="27" y="23"/>
                    <a:pt x="27" y="25"/>
                    <a:pt x="26" y="26"/>
                  </a:cubicBezTo>
                  <a:cubicBezTo>
                    <a:pt x="25" y="26"/>
                    <a:pt x="25" y="26"/>
                    <a:pt x="24" y="2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139" name="Freeform 1538">
              <a:extLst>
                <a:ext uri="{FF2B5EF4-FFF2-40B4-BE49-F238E27FC236}">
                  <a16:creationId xmlns:a16="http://schemas.microsoft.com/office/drawing/2014/main" id="{9FCB769C-1895-20AE-725A-9BD0F4E47911}"/>
                </a:ext>
              </a:extLst>
            </p:cNvPr>
            <p:cNvSpPr>
              <a:spLocks/>
            </p:cNvSpPr>
            <p:nvPr/>
          </p:nvSpPr>
          <p:spPr bwMode="auto">
            <a:xfrm>
              <a:off x="742878" y="2295472"/>
              <a:ext cx="136291" cy="134018"/>
            </a:xfrm>
            <a:custGeom>
              <a:avLst/>
              <a:gdLst>
                <a:gd name="T0" fmla="*/ 63 w 65"/>
                <a:gd name="T1" fmla="*/ 65 h 65"/>
                <a:gd name="T2" fmla="*/ 61 w 65"/>
                <a:gd name="T3" fmla="*/ 64 h 65"/>
                <a:gd name="T4" fmla="*/ 1 w 65"/>
                <a:gd name="T5" fmla="*/ 4 h 65"/>
                <a:gd name="T6" fmla="*/ 1 w 65"/>
                <a:gd name="T7" fmla="*/ 1 h 65"/>
                <a:gd name="T8" fmla="*/ 4 w 65"/>
                <a:gd name="T9" fmla="*/ 1 h 65"/>
                <a:gd name="T10" fmla="*/ 64 w 65"/>
                <a:gd name="T11" fmla="*/ 61 h 65"/>
                <a:gd name="T12" fmla="*/ 64 w 65"/>
                <a:gd name="T13" fmla="*/ 64 h 65"/>
                <a:gd name="T14" fmla="*/ 63 w 65"/>
                <a:gd name="T15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65">
                  <a:moveTo>
                    <a:pt x="63" y="65"/>
                  </a:moveTo>
                  <a:cubicBezTo>
                    <a:pt x="62" y="65"/>
                    <a:pt x="61" y="65"/>
                    <a:pt x="61" y="6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1"/>
                  </a:cubicBezTo>
                  <a:cubicBezTo>
                    <a:pt x="64" y="61"/>
                    <a:pt x="64" y="61"/>
                    <a:pt x="64" y="61"/>
                  </a:cubicBezTo>
                  <a:cubicBezTo>
                    <a:pt x="65" y="62"/>
                    <a:pt x="65" y="63"/>
                    <a:pt x="64" y="64"/>
                  </a:cubicBezTo>
                  <a:cubicBezTo>
                    <a:pt x="64" y="65"/>
                    <a:pt x="63" y="65"/>
                    <a:pt x="63" y="6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140" name="Freeform 1539">
              <a:extLst>
                <a:ext uri="{FF2B5EF4-FFF2-40B4-BE49-F238E27FC236}">
                  <a16:creationId xmlns:a16="http://schemas.microsoft.com/office/drawing/2014/main" id="{8F9239CF-6507-919A-13E3-805BD0FB7053}"/>
                </a:ext>
              </a:extLst>
            </p:cNvPr>
            <p:cNvSpPr>
              <a:spLocks/>
            </p:cNvSpPr>
            <p:nvPr/>
          </p:nvSpPr>
          <p:spPr bwMode="auto">
            <a:xfrm>
              <a:off x="832269" y="2404994"/>
              <a:ext cx="137756" cy="136901"/>
            </a:xfrm>
            <a:custGeom>
              <a:avLst/>
              <a:gdLst>
                <a:gd name="T0" fmla="*/ 34 w 66"/>
                <a:gd name="T1" fmla="*/ 67 h 67"/>
                <a:gd name="T2" fmla="*/ 12 w 66"/>
                <a:gd name="T3" fmla="*/ 57 h 67"/>
                <a:gd name="T4" fmla="*/ 7 w 66"/>
                <a:gd name="T5" fmla="*/ 19 h 67"/>
                <a:gd name="T6" fmla="*/ 10 w 66"/>
                <a:gd name="T7" fmla="*/ 18 h 67"/>
                <a:gd name="T8" fmla="*/ 11 w 66"/>
                <a:gd name="T9" fmla="*/ 21 h 67"/>
                <a:gd name="T10" fmla="*/ 16 w 66"/>
                <a:gd name="T11" fmla="*/ 54 h 67"/>
                <a:gd name="T12" fmla="*/ 34 w 66"/>
                <a:gd name="T13" fmla="*/ 62 h 67"/>
                <a:gd name="T14" fmla="*/ 53 w 66"/>
                <a:gd name="T15" fmla="*/ 54 h 67"/>
                <a:gd name="T16" fmla="*/ 61 w 66"/>
                <a:gd name="T17" fmla="*/ 35 h 67"/>
                <a:gd name="T18" fmla="*/ 53 w 66"/>
                <a:gd name="T19" fmla="*/ 16 h 67"/>
                <a:gd name="T20" fmla="*/ 21 w 66"/>
                <a:gd name="T21" fmla="*/ 12 h 67"/>
                <a:gd name="T22" fmla="*/ 18 w 66"/>
                <a:gd name="T23" fmla="*/ 11 h 67"/>
                <a:gd name="T24" fmla="*/ 18 w 66"/>
                <a:gd name="T25" fmla="*/ 7 h 67"/>
                <a:gd name="T26" fmla="*/ 57 w 66"/>
                <a:gd name="T27" fmla="*/ 12 h 67"/>
                <a:gd name="T28" fmla="*/ 66 w 66"/>
                <a:gd name="T29" fmla="*/ 35 h 67"/>
                <a:gd name="T30" fmla="*/ 57 w 66"/>
                <a:gd name="T31" fmla="*/ 57 h 67"/>
                <a:gd name="T32" fmla="*/ 34 w 66"/>
                <a:gd name="T33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6" h="67">
                  <a:moveTo>
                    <a:pt x="34" y="67"/>
                  </a:moveTo>
                  <a:cubicBezTo>
                    <a:pt x="26" y="67"/>
                    <a:pt x="18" y="63"/>
                    <a:pt x="12" y="57"/>
                  </a:cubicBezTo>
                  <a:cubicBezTo>
                    <a:pt x="2" y="47"/>
                    <a:pt x="0" y="31"/>
                    <a:pt x="7" y="19"/>
                  </a:cubicBezTo>
                  <a:cubicBezTo>
                    <a:pt x="8" y="18"/>
                    <a:pt x="9" y="17"/>
                    <a:pt x="10" y="18"/>
                  </a:cubicBezTo>
                  <a:cubicBezTo>
                    <a:pt x="12" y="19"/>
                    <a:pt x="12" y="20"/>
                    <a:pt x="11" y="21"/>
                  </a:cubicBezTo>
                  <a:cubicBezTo>
                    <a:pt x="5" y="32"/>
                    <a:pt x="7" y="45"/>
                    <a:pt x="16" y="54"/>
                  </a:cubicBezTo>
                  <a:cubicBezTo>
                    <a:pt x="21" y="59"/>
                    <a:pt x="27" y="62"/>
                    <a:pt x="34" y="62"/>
                  </a:cubicBezTo>
                  <a:cubicBezTo>
                    <a:pt x="42" y="62"/>
                    <a:pt x="48" y="59"/>
                    <a:pt x="53" y="54"/>
                  </a:cubicBezTo>
                  <a:cubicBezTo>
                    <a:pt x="59" y="49"/>
                    <a:pt x="61" y="42"/>
                    <a:pt x="61" y="35"/>
                  </a:cubicBezTo>
                  <a:cubicBezTo>
                    <a:pt x="61" y="28"/>
                    <a:pt x="59" y="21"/>
                    <a:pt x="53" y="16"/>
                  </a:cubicBezTo>
                  <a:cubicBezTo>
                    <a:pt x="45" y="7"/>
                    <a:pt x="31" y="5"/>
                    <a:pt x="21" y="12"/>
                  </a:cubicBezTo>
                  <a:cubicBezTo>
                    <a:pt x="20" y="12"/>
                    <a:pt x="18" y="12"/>
                    <a:pt x="18" y="11"/>
                  </a:cubicBezTo>
                  <a:cubicBezTo>
                    <a:pt x="17" y="10"/>
                    <a:pt x="17" y="8"/>
                    <a:pt x="18" y="7"/>
                  </a:cubicBezTo>
                  <a:cubicBezTo>
                    <a:pt x="31" y="0"/>
                    <a:pt x="47" y="2"/>
                    <a:pt x="57" y="12"/>
                  </a:cubicBezTo>
                  <a:cubicBezTo>
                    <a:pt x="63" y="18"/>
                    <a:pt x="66" y="26"/>
                    <a:pt x="66" y="35"/>
                  </a:cubicBezTo>
                  <a:cubicBezTo>
                    <a:pt x="66" y="43"/>
                    <a:pt x="63" y="51"/>
                    <a:pt x="57" y="57"/>
                  </a:cubicBezTo>
                  <a:cubicBezTo>
                    <a:pt x="51" y="63"/>
                    <a:pt x="43" y="67"/>
                    <a:pt x="34" y="6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141" name="Freeform 1540">
              <a:extLst>
                <a:ext uri="{FF2B5EF4-FFF2-40B4-BE49-F238E27FC236}">
                  <a16:creationId xmlns:a16="http://schemas.microsoft.com/office/drawing/2014/main" id="{0B647834-F2F7-CCD6-3E31-93AACB98A9CD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840" y="2213333"/>
              <a:ext cx="171461" cy="171489"/>
            </a:xfrm>
            <a:custGeom>
              <a:avLst/>
              <a:gdLst>
                <a:gd name="T0" fmla="*/ 2 w 82"/>
                <a:gd name="T1" fmla="*/ 83 h 83"/>
                <a:gd name="T2" fmla="*/ 1 w 82"/>
                <a:gd name="T3" fmla="*/ 82 h 83"/>
                <a:gd name="T4" fmla="*/ 1 w 82"/>
                <a:gd name="T5" fmla="*/ 78 h 83"/>
                <a:gd name="T6" fmla="*/ 78 w 82"/>
                <a:gd name="T7" fmla="*/ 1 h 83"/>
                <a:gd name="T8" fmla="*/ 81 w 82"/>
                <a:gd name="T9" fmla="*/ 1 h 83"/>
                <a:gd name="T10" fmla="*/ 81 w 82"/>
                <a:gd name="T11" fmla="*/ 5 h 83"/>
                <a:gd name="T12" fmla="*/ 4 w 82"/>
                <a:gd name="T13" fmla="*/ 82 h 83"/>
                <a:gd name="T14" fmla="*/ 2 w 82"/>
                <a:gd name="T15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83">
                  <a:moveTo>
                    <a:pt x="2" y="83"/>
                  </a:moveTo>
                  <a:cubicBezTo>
                    <a:pt x="2" y="83"/>
                    <a:pt x="1" y="82"/>
                    <a:pt x="1" y="82"/>
                  </a:cubicBezTo>
                  <a:cubicBezTo>
                    <a:pt x="0" y="81"/>
                    <a:pt x="0" y="79"/>
                    <a:pt x="1" y="78"/>
                  </a:cubicBezTo>
                  <a:cubicBezTo>
                    <a:pt x="78" y="1"/>
                    <a:pt x="78" y="1"/>
                    <a:pt x="78" y="1"/>
                  </a:cubicBezTo>
                  <a:cubicBezTo>
                    <a:pt x="79" y="0"/>
                    <a:pt x="80" y="0"/>
                    <a:pt x="81" y="1"/>
                  </a:cubicBezTo>
                  <a:cubicBezTo>
                    <a:pt x="82" y="2"/>
                    <a:pt x="82" y="4"/>
                    <a:pt x="81" y="5"/>
                  </a:cubicBezTo>
                  <a:cubicBezTo>
                    <a:pt x="4" y="82"/>
                    <a:pt x="4" y="82"/>
                    <a:pt x="4" y="82"/>
                  </a:cubicBezTo>
                  <a:cubicBezTo>
                    <a:pt x="4" y="82"/>
                    <a:pt x="3" y="83"/>
                    <a:pt x="2" y="8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142" name="Freeform 1541">
              <a:extLst>
                <a:ext uri="{FF2B5EF4-FFF2-40B4-BE49-F238E27FC236}">
                  <a16:creationId xmlns:a16="http://schemas.microsoft.com/office/drawing/2014/main" id="{4B2FB95C-3A5A-4852-1CA2-6FFF84F064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8568" y="2376174"/>
              <a:ext cx="167066" cy="159960"/>
            </a:xfrm>
            <a:custGeom>
              <a:avLst/>
              <a:gdLst>
                <a:gd name="T0" fmla="*/ 26 w 80"/>
                <a:gd name="T1" fmla="*/ 78 h 78"/>
                <a:gd name="T2" fmla="*/ 20 w 80"/>
                <a:gd name="T3" fmla="*/ 76 h 78"/>
                <a:gd name="T4" fmla="*/ 4 w 80"/>
                <a:gd name="T5" fmla="*/ 60 h 78"/>
                <a:gd name="T6" fmla="*/ 4 w 80"/>
                <a:gd name="T7" fmla="*/ 48 h 78"/>
                <a:gd name="T8" fmla="*/ 49 w 80"/>
                <a:gd name="T9" fmla="*/ 3 h 78"/>
                <a:gd name="T10" fmla="*/ 55 w 80"/>
                <a:gd name="T11" fmla="*/ 0 h 78"/>
                <a:gd name="T12" fmla="*/ 61 w 80"/>
                <a:gd name="T13" fmla="*/ 3 h 78"/>
                <a:gd name="T14" fmla="*/ 77 w 80"/>
                <a:gd name="T15" fmla="*/ 19 h 78"/>
                <a:gd name="T16" fmla="*/ 77 w 80"/>
                <a:gd name="T17" fmla="*/ 31 h 78"/>
                <a:gd name="T18" fmla="*/ 32 w 80"/>
                <a:gd name="T19" fmla="*/ 76 h 78"/>
                <a:gd name="T20" fmla="*/ 26 w 80"/>
                <a:gd name="T21" fmla="*/ 78 h 78"/>
                <a:gd name="T22" fmla="*/ 55 w 80"/>
                <a:gd name="T23" fmla="*/ 5 h 78"/>
                <a:gd name="T24" fmla="*/ 52 w 80"/>
                <a:gd name="T25" fmla="*/ 7 h 78"/>
                <a:gd name="T26" fmla="*/ 7 w 80"/>
                <a:gd name="T27" fmla="*/ 51 h 78"/>
                <a:gd name="T28" fmla="*/ 7 w 80"/>
                <a:gd name="T29" fmla="*/ 57 h 78"/>
                <a:gd name="T30" fmla="*/ 23 w 80"/>
                <a:gd name="T31" fmla="*/ 72 h 78"/>
                <a:gd name="T32" fmla="*/ 28 w 80"/>
                <a:gd name="T33" fmla="*/ 72 h 78"/>
                <a:gd name="T34" fmla="*/ 73 w 80"/>
                <a:gd name="T35" fmla="*/ 28 h 78"/>
                <a:gd name="T36" fmla="*/ 73 w 80"/>
                <a:gd name="T37" fmla="*/ 22 h 78"/>
                <a:gd name="T38" fmla="*/ 58 w 80"/>
                <a:gd name="T39" fmla="*/ 7 h 78"/>
                <a:gd name="T40" fmla="*/ 55 w 80"/>
                <a:gd name="T41" fmla="*/ 5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0" h="78">
                  <a:moveTo>
                    <a:pt x="26" y="78"/>
                  </a:moveTo>
                  <a:cubicBezTo>
                    <a:pt x="23" y="78"/>
                    <a:pt x="21" y="77"/>
                    <a:pt x="20" y="76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0" y="57"/>
                    <a:pt x="0" y="51"/>
                    <a:pt x="4" y="48"/>
                  </a:cubicBezTo>
                  <a:cubicBezTo>
                    <a:pt x="49" y="3"/>
                    <a:pt x="49" y="3"/>
                    <a:pt x="49" y="3"/>
                  </a:cubicBezTo>
                  <a:cubicBezTo>
                    <a:pt x="50" y="1"/>
                    <a:pt x="52" y="0"/>
                    <a:pt x="55" y="0"/>
                  </a:cubicBezTo>
                  <a:cubicBezTo>
                    <a:pt x="57" y="0"/>
                    <a:pt x="59" y="1"/>
                    <a:pt x="61" y="3"/>
                  </a:cubicBezTo>
                  <a:cubicBezTo>
                    <a:pt x="77" y="19"/>
                    <a:pt x="77" y="19"/>
                    <a:pt x="77" y="19"/>
                  </a:cubicBezTo>
                  <a:cubicBezTo>
                    <a:pt x="80" y="22"/>
                    <a:pt x="80" y="28"/>
                    <a:pt x="77" y="31"/>
                  </a:cubicBezTo>
                  <a:cubicBezTo>
                    <a:pt x="32" y="76"/>
                    <a:pt x="32" y="76"/>
                    <a:pt x="32" y="76"/>
                  </a:cubicBezTo>
                  <a:cubicBezTo>
                    <a:pt x="30" y="77"/>
                    <a:pt x="28" y="78"/>
                    <a:pt x="26" y="78"/>
                  </a:cubicBezTo>
                  <a:close/>
                  <a:moveTo>
                    <a:pt x="55" y="5"/>
                  </a:moveTo>
                  <a:cubicBezTo>
                    <a:pt x="54" y="5"/>
                    <a:pt x="53" y="6"/>
                    <a:pt x="52" y="7"/>
                  </a:cubicBezTo>
                  <a:cubicBezTo>
                    <a:pt x="7" y="51"/>
                    <a:pt x="7" y="51"/>
                    <a:pt x="7" y="51"/>
                  </a:cubicBezTo>
                  <a:cubicBezTo>
                    <a:pt x="6" y="53"/>
                    <a:pt x="6" y="55"/>
                    <a:pt x="7" y="57"/>
                  </a:cubicBezTo>
                  <a:cubicBezTo>
                    <a:pt x="23" y="72"/>
                    <a:pt x="23" y="72"/>
                    <a:pt x="23" y="72"/>
                  </a:cubicBezTo>
                  <a:cubicBezTo>
                    <a:pt x="24" y="74"/>
                    <a:pt x="27" y="74"/>
                    <a:pt x="28" y="72"/>
                  </a:cubicBezTo>
                  <a:cubicBezTo>
                    <a:pt x="73" y="28"/>
                    <a:pt x="73" y="28"/>
                    <a:pt x="73" y="28"/>
                  </a:cubicBezTo>
                  <a:cubicBezTo>
                    <a:pt x="75" y="26"/>
                    <a:pt x="75" y="24"/>
                    <a:pt x="73" y="22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7" y="6"/>
                    <a:pt x="56" y="5"/>
                    <a:pt x="55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143" name="Freeform 1542">
              <a:extLst>
                <a:ext uri="{FF2B5EF4-FFF2-40B4-BE49-F238E27FC236}">
                  <a16:creationId xmlns:a16="http://schemas.microsoft.com/office/drawing/2014/main" id="{ACE1707E-042A-E3DF-887C-86F1ADC41A7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7275" y="2357439"/>
              <a:ext cx="67410" cy="63406"/>
            </a:xfrm>
            <a:custGeom>
              <a:avLst/>
              <a:gdLst>
                <a:gd name="T0" fmla="*/ 19 w 32"/>
                <a:gd name="T1" fmla="*/ 31 h 31"/>
                <a:gd name="T2" fmla="*/ 14 w 32"/>
                <a:gd name="T3" fmla="*/ 29 h 31"/>
                <a:gd name="T4" fmla="*/ 2 w 32"/>
                <a:gd name="T5" fmla="*/ 17 h 31"/>
                <a:gd name="T6" fmla="*/ 0 w 32"/>
                <a:gd name="T7" fmla="*/ 12 h 31"/>
                <a:gd name="T8" fmla="*/ 2 w 32"/>
                <a:gd name="T9" fmla="*/ 7 h 31"/>
                <a:gd name="T10" fmla="*/ 7 w 32"/>
                <a:gd name="T11" fmla="*/ 3 h 31"/>
                <a:gd name="T12" fmla="*/ 12 w 32"/>
                <a:gd name="T13" fmla="*/ 0 h 31"/>
                <a:gd name="T14" fmla="*/ 17 w 32"/>
                <a:gd name="T15" fmla="*/ 3 h 31"/>
                <a:gd name="T16" fmla="*/ 29 w 32"/>
                <a:gd name="T17" fmla="*/ 14 h 31"/>
                <a:gd name="T18" fmla="*/ 29 w 32"/>
                <a:gd name="T19" fmla="*/ 24 h 31"/>
                <a:gd name="T20" fmla="*/ 24 w 32"/>
                <a:gd name="T21" fmla="*/ 29 h 31"/>
                <a:gd name="T22" fmla="*/ 19 w 32"/>
                <a:gd name="T23" fmla="*/ 31 h 31"/>
                <a:gd name="T24" fmla="*/ 12 w 32"/>
                <a:gd name="T25" fmla="*/ 5 h 31"/>
                <a:gd name="T26" fmla="*/ 11 w 32"/>
                <a:gd name="T27" fmla="*/ 6 h 31"/>
                <a:gd name="T28" fmla="*/ 6 w 32"/>
                <a:gd name="T29" fmla="*/ 11 h 31"/>
                <a:gd name="T30" fmla="*/ 5 w 32"/>
                <a:gd name="T31" fmla="*/ 12 h 31"/>
                <a:gd name="T32" fmla="*/ 6 w 32"/>
                <a:gd name="T33" fmla="*/ 14 h 31"/>
                <a:gd name="T34" fmla="*/ 18 w 32"/>
                <a:gd name="T35" fmla="*/ 26 h 31"/>
                <a:gd name="T36" fmla="*/ 21 w 32"/>
                <a:gd name="T37" fmla="*/ 26 h 31"/>
                <a:gd name="T38" fmla="*/ 24 w 32"/>
                <a:gd name="T39" fmla="*/ 23 h 31"/>
                <a:gd name="T40" fmla="*/ 24 w 32"/>
                <a:gd name="T41" fmla="*/ 23 h 31"/>
                <a:gd name="T42" fmla="*/ 26 w 32"/>
                <a:gd name="T43" fmla="*/ 21 h 31"/>
                <a:gd name="T44" fmla="*/ 26 w 32"/>
                <a:gd name="T45" fmla="*/ 18 h 31"/>
                <a:gd name="T46" fmla="*/ 14 w 32"/>
                <a:gd name="T47" fmla="*/ 6 h 31"/>
                <a:gd name="T48" fmla="*/ 12 w 32"/>
                <a:gd name="T49" fmla="*/ 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2" h="31">
                  <a:moveTo>
                    <a:pt x="19" y="31"/>
                  </a:moveTo>
                  <a:cubicBezTo>
                    <a:pt x="17" y="31"/>
                    <a:pt x="16" y="31"/>
                    <a:pt x="14" y="29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1" y="16"/>
                    <a:pt x="0" y="14"/>
                    <a:pt x="0" y="12"/>
                  </a:cubicBezTo>
                  <a:cubicBezTo>
                    <a:pt x="0" y="10"/>
                    <a:pt x="1" y="9"/>
                    <a:pt x="2" y="7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8" y="1"/>
                    <a:pt x="10" y="0"/>
                    <a:pt x="12" y="0"/>
                  </a:cubicBezTo>
                  <a:cubicBezTo>
                    <a:pt x="14" y="0"/>
                    <a:pt x="16" y="1"/>
                    <a:pt x="17" y="3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32" y="17"/>
                    <a:pt x="32" y="22"/>
                    <a:pt x="29" y="24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23" y="31"/>
                    <a:pt x="21" y="31"/>
                    <a:pt x="19" y="31"/>
                  </a:cubicBezTo>
                  <a:close/>
                  <a:moveTo>
                    <a:pt x="12" y="5"/>
                  </a:moveTo>
                  <a:cubicBezTo>
                    <a:pt x="12" y="5"/>
                    <a:pt x="11" y="6"/>
                    <a:pt x="11" y="6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5" y="11"/>
                    <a:pt x="5" y="12"/>
                    <a:pt x="5" y="12"/>
                  </a:cubicBezTo>
                  <a:cubicBezTo>
                    <a:pt x="5" y="13"/>
                    <a:pt x="5" y="13"/>
                    <a:pt x="6" y="14"/>
                  </a:cubicBezTo>
                  <a:cubicBezTo>
                    <a:pt x="18" y="26"/>
                    <a:pt x="18" y="26"/>
                    <a:pt x="18" y="26"/>
                  </a:cubicBezTo>
                  <a:cubicBezTo>
                    <a:pt x="19" y="27"/>
                    <a:pt x="20" y="27"/>
                    <a:pt x="21" y="26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6" y="21"/>
                    <a:pt x="26" y="21"/>
                    <a:pt x="26" y="21"/>
                  </a:cubicBezTo>
                  <a:cubicBezTo>
                    <a:pt x="27" y="20"/>
                    <a:pt x="27" y="19"/>
                    <a:pt x="26" y="18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3" y="6"/>
                    <a:pt x="13" y="5"/>
                    <a:pt x="12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144" name="Freeform 1543">
              <a:extLst>
                <a:ext uri="{FF2B5EF4-FFF2-40B4-BE49-F238E27FC236}">
                  <a16:creationId xmlns:a16="http://schemas.microsoft.com/office/drawing/2014/main" id="{1405FB43-D563-B677-3323-E4346B34CAE4}"/>
                </a:ext>
              </a:extLst>
            </p:cNvPr>
            <p:cNvSpPr>
              <a:spLocks/>
            </p:cNvSpPr>
            <p:nvPr/>
          </p:nvSpPr>
          <p:spPr bwMode="auto">
            <a:xfrm>
              <a:off x="930458" y="2213333"/>
              <a:ext cx="29310" cy="28820"/>
            </a:xfrm>
            <a:custGeom>
              <a:avLst/>
              <a:gdLst>
                <a:gd name="T0" fmla="*/ 4 w 14"/>
                <a:gd name="T1" fmla="*/ 14 h 14"/>
                <a:gd name="T2" fmla="*/ 1 w 14"/>
                <a:gd name="T3" fmla="*/ 13 h 14"/>
                <a:gd name="T4" fmla="*/ 1 w 14"/>
                <a:gd name="T5" fmla="*/ 13 h 14"/>
                <a:gd name="T6" fmla="*/ 1 w 14"/>
                <a:gd name="T7" fmla="*/ 8 h 14"/>
                <a:gd name="T8" fmla="*/ 8 w 14"/>
                <a:gd name="T9" fmla="*/ 1 h 14"/>
                <a:gd name="T10" fmla="*/ 13 w 14"/>
                <a:gd name="T11" fmla="*/ 1 h 14"/>
                <a:gd name="T12" fmla="*/ 14 w 14"/>
                <a:gd name="T13" fmla="*/ 3 h 14"/>
                <a:gd name="T14" fmla="*/ 13 w 14"/>
                <a:gd name="T15" fmla="*/ 6 h 14"/>
                <a:gd name="T16" fmla="*/ 6 w 14"/>
                <a:gd name="T17" fmla="*/ 13 h 14"/>
                <a:gd name="T18" fmla="*/ 4 w 14"/>
                <a:gd name="T1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14">
                  <a:moveTo>
                    <a:pt x="4" y="14"/>
                  </a:moveTo>
                  <a:cubicBezTo>
                    <a:pt x="3" y="14"/>
                    <a:pt x="2" y="13"/>
                    <a:pt x="1" y="1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0" y="11"/>
                    <a:pt x="0" y="9"/>
                    <a:pt x="1" y="8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9" y="0"/>
                    <a:pt x="11" y="0"/>
                    <a:pt x="13" y="1"/>
                  </a:cubicBezTo>
                  <a:cubicBezTo>
                    <a:pt x="13" y="2"/>
                    <a:pt x="14" y="3"/>
                    <a:pt x="14" y="3"/>
                  </a:cubicBezTo>
                  <a:cubicBezTo>
                    <a:pt x="14" y="4"/>
                    <a:pt x="13" y="5"/>
                    <a:pt x="13" y="6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5" y="13"/>
                    <a:pt x="4" y="14"/>
                    <a:pt x="4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</p:grpSp>
    </p:spTree>
    <p:extLst>
      <p:ext uri="{BB962C8B-B14F-4D97-AF65-F5344CB8AC3E}">
        <p14:creationId xmlns:p14="http://schemas.microsoft.com/office/powerpoint/2010/main" val="2682396584"/>
      </p:ext>
    </p:extLst>
  </p:cSld>
  <p:clrMapOvr>
    <a:masterClrMapping/>
  </p:clrMapOvr>
</p:sld>
</file>

<file path=ppt/slides/slide2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F91998-3C5F-0DE6-4696-2A5732394C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68C82AE2-F666-FBF7-25C9-EB94649C9D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8C82AE2-F666-FBF7-25C9-EB94649C9D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5137CF7-61E7-196A-46B6-084F1E09AE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ase Study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FCFBB215-993B-C602-0FA6-EFA6E845D4D5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204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6" name="Google Shape;464;p1">
            <a:extLst>
              <a:ext uri="{FF2B5EF4-FFF2-40B4-BE49-F238E27FC236}">
                <a16:creationId xmlns:a16="http://schemas.microsoft.com/office/drawing/2014/main" id="{35196F02-6C24-7ADC-7D2C-B941C790AAA0}"/>
              </a:ext>
            </a:extLst>
          </p:cNvPr>
          <p:cNvSpPr txBox="1"/>
          <p:nvPr/>
        </p:nvSpPr>
        <p:spPr>
          <a:xfrm>
            <a:off x="1554222" y="5405918"/>
            <a:ext cx="9334439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20A7E0"/>
              </a:buClr>
              <a:buSzPts val="1800"/>
              <a:buFont typeface="Arial"/>
              <a:buNone/>
            </a:pPr>
            <a:r>
              <a:rPr lang="en-US" sz="1600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sz="1600" b="1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7" name="Shape4_20210621_150425">
            <a:extLst>
              <a:ext uri="{FF2B5EF4-FFF2-40B4-BE49-F238E27FC236}">
                <a16:creationId xmlns:a16="http://schemas.microsoft.com/office/drawing/2014/main" id="{06FC0361-9D01-3191-20B7-1C063C26C774}"/>
              </a:ext>
            </a:extLst>
          </p:cNvPr>
          <p:cNvSpPr txBox="1"/>
          <p:nvPr/>
        </p:nvSpPr>
        <p:spPr>
          <a:xfrm>
            <a:off x="1554222" y="5764035"/>
            <a:ext cx="9334439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</a:endParaRPr>
          </a:p>
        </p:txBody>
      </p:sp>
      <p:grpSp>
        <p:nvGrpSpPr>
          <p:cNvPr id="76" name="Group 75">
            <a:extLst>
              <a:ext uri="{FF2B5EF4-FFF2-40B4-BE49-F238E27FC236}">
                <a16:creationId xmlns:a16="http://schemas.microsoft.com/office/drawing/2014/main" id="{D3F7E9EF-3663-1CE0-BEF4-D947C785861C}"/>
              </a:ext>
            </a:extLst>
          </p:cNvPr>
          <p:cNvGrpSpPr/>
          <p:nvPr/>
        </p:nvGrpSpPr>
        <p:grpSpPr>
          <a:xfrm>
            <a:off x="892915" y="5504147"/>
            <a:ext cx="463445" cy="452346"/>
            <a:chOff x="948424" y="5395570"/>
            <a:chExt cx="752330" cy="509366"/>
          </a:xfrm>
          <a:solidFill>
            <a:schemeClr val="accent1"/>
          </a:solidFill>
        </p:grpSpPr>
        <p:sp>
          <p:nvSpPr>
            <p:cNvPr id="8" name="Freeform 1532">
              <a:extLst>
                <a:ext uri="{FF2B5EF4-FFF2-40B4-BE49-F238E27FC236}">
                  <a16:creationId xmlns:a16="http://schemas.microsoft.com/office/drawing/2014/main" id="{8F240356-AFE5-6166-0F56-215CEC8395C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64853" y="5744421"/>
              <a:ext cx="184893" cy="124132"/>
            </a:xfrm>
            <a:custGeom>
              <a:avLst/>
              <a:gdLst>
                <a:gd name="T0" fmla="*/ 16 w 41"/>
                <a:gd name="T1" fmla="*/ 41 h 41"/>
                <a:gd name="T2" fmla="*/ 13 w 41"/>
                <a:gd name="T3" fmla="*/ 40 h 41"/>
                <a:gd name="T4" fmla="*/ 1 w 41"/>
                <a:gd name="T5" fmla="*/ 28 h 41"/>
                <a:gd name="T6" fmla="*/ 0 w 41"/>
                <a:gd name="T7" fmla="*/ 24 h 41"/>
                <a:gd name="T8" fmla="*/ 5 w 41"/>
                <a:gd name="T9" fmla="*/ 7 h 41"/>
                <a:gd name="T10" fmla="*/ 7 w 41"/>
                <a:gd name="T11" fmla="*/ 5 h 41"/>
                <a:gd name="T12" fmla="*/ 24 w 41"/>
                <a:gd name="T13" fmla="*/ 0 h 41"/>
                <a:gd name="T14" fmla="*/ 28 w 41"/>
                <a:gd name="T15" fmla="*/ 1 h 41"/>
                <a:gd name="T16" fmla="*/ 40 w 41"/>
                <a:gd name="T17" fmla="*/ 14 h 41"/>
                <a:gd name="T18" fmla="*/ 40 w 41"/>
                <a:gd name="T19" fmla="*/ 14 h 41"/>
                <a:gd name="T20" fmla="*/ 41 w 41"/>
                <a:gd name="T21" fmla="*/ 17 h 41"/>
                <a:gd name="T22" fmla="*/ 36 w 41"/>
                <a:gd name="T23" fmla="*/ 34 h 41"/>
                <a:gd name="T24" fmla="*/ 34 w 41"/>
                <a:gd name="T25" fmla="*/ 37 h 41"/>
                <a:gd name="T26" fmla="*/ 17 w 41"/>
                <a:gd name="T27" fmla="*/ 41 h 41"/>
                <a:gd name="T28" fmla="*/ 16 w 41"/>
                <a:gd name="T29" fmla="*/ 41 h 41"/>
                <a:gd name="T30" fmla="*/ 5 w 41"/>
                <a:gd name="T31" fmla="*/ 25 h 41"/>
                <a:gd name="T32" fmla="*/ 16 w 41"/>
                <a:gd name="T33" fmla="*/ 36 h 41"/>
                <a:gd name="T34" fmla="*/ 32 w 41"/>
                <a:gd name="T35" fmla="*/ 32 h 41"/>
                <a:gd name="T36" fmla="*/ 36 w 41"/>
                <a:gd name="T37" fmla="*/ 17 h 41"/>
                <a:gd name="T38" fmla="*/ 25 w 41"/>
                <a:gd name="T39" fmla="*/ 5 h 41"/>
                <a:gd name="T40" fmla="*/ 9 w 41"/>
                <a:gd name="T41" fmla="*/ 9 h 41"/>
                <a:gd name="T42" fmla="*/ 5 w 41"/>
                <a:gd name="T43" fmla="*/ 25 h 41"/>
                <a:gd name="T44" fmla="*/ 32 w 41"/>
                <a:gd name="T45" fmla="*/ 33 h 41"/>
                <a:gd name="T46" fmla="*/ 32 w 41"/>
                <a:gd name="T47" fmla="*/ 33 h 41"/>
                <a:gd name="T48" fmla="*/ 5 w 41"/>
                <a:gd name="T49" fmla="*/ 26 h 41"/>
                <a:gd name="T50" fmla="*/ 5 w 41"/>
                <a:gd name="T51" fmla="*/ 26 h 41"/>
                <a:gd name="T52" fmla="*/ 5 w 41"/>
                <a:gd name="T53" fmla="*/ 26 h 41"/>
                <a:gd name="T54" fmla="*/ 36 w 41"/>
                <a:gd name="T55" fmla="*/ 16 h 41"/>
                <a:gd name="T56" fmla="*/ 36 w 41"/>
                <a:gd name="T57" fmla="*/ 16 h 41"/>
                <a:gd name="T58" fmla="*/ 9 w 41"/>
                <a:gd name="T59" fmla="*/ 9 h 41"/>
                <a:gd name="T60" fmla="*/ 9 w 41"/>
                <a:gd name="T61" fmla="*/ 9 h 41"/>
                <a:gd name="T62" fmla="*/ 9 w 41"/>
                <a:gd name="T63" fmla="*/ 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" h="41">
                  <a:moveTo>
                    <a:pt x="16" y="41"/>
                  </a:moveTo>
                  <a:cubicBezTo>
                    <a:pt x="15" y="41"/>
                    <a:pt x="14" y="41"/>
                    <a:pt x="13" y="40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0" y="27"/>
                    <a:pt x="0" y="26"/>
                    <a:pt x="0" y="24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6" y="5"/>
                    <a:pt x="7" y="5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5" y="0"/>
                    <a:pt x="27" y="0"/>
                    <a:pt x="28" y="1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41" y="15"/>
                    <a:pt x="41" y="16"/>
                    <a:pt x="41" y="17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36" y="35"/>
                    <a:pt x="35" y="36"/>
                    <a:pt x="34" y="37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1"/>
                    <a:pt x="16" y="41"/>
                    <a:pt x="16" y="41"/>
                  </a:cubicBezTo>
                  <a:close/>
                  <a:moveTo>
                    <a:pt x="5" y="25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9" y="9"/>
                    <a:pt x="9" y="9"/>
                    <a:pt x="9" y="9"/>
                  </a:cubicBezTo>
                  <a:lnTo>
                    <a:pt x="5" y="25"/>
                  </a:lnTo>
                  <a:close/>
                  <a:moveTo>
                    <a:pt x="32" y="33"/>
                  </a:moveTo>
                  <a:cubicBezTo>
                    <a:pt x="32" y="33"/>
                    <a:pt x="32" y="33"/>
                    <a:pt x="32" y="33"/>
                  </a:cubicBezTo>
                  <a:close/>
                  <a:moveTo>
                    <a:pt x="5" y="26"/>
                  </a:move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lose/>
                  <a:moveTo>
                    <a:pt x="36" y="16"/>
                  </a:moveTo>
                  <a:cubicBezTo>
                    <a:pt x="36" y="16"/>
                    <a:pt x="36" y="16"/>
                    <a:pt x="36" y="16"/>
                  </a:cubicBezTo>
                  <a:close/>
                  <a:moveTo>
                    <a:pt x="9" y="9"/>
                  </a:move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939" dirty="0"/>
            </a:p>
          </p:txBody>
        </p:sp>
        <p:sp>
          <p:nvSpPr>
            <p:cNvPr id="9" name="Freeform 1533">
              <a:extLst>
                <a:ext uri="{FF2B5EF4-FFF2-40B4-BE49-F238E27FC236}">
                  <a16:creationId xmlns:a16="http://schemas.microsoft.com/office/drawing/2014/main" id="{C299E14E-F5A4-2618-638D-715CFC6AB644}"/>
                </a:ext>
              </a:extLst>
            </p:cNvPr>
            <p:cNvSpPr>
              <a:spLocks/>
            </p:cNvSpPr>
            <p:nvPr/>
          </p:nvSpPr>
          <p:spPr bwMode="auto">
            <a:xfrm>
              <a:off x="954799" y="5399851"/>
              <a:ext cx="207210" cy="139112"/>
            </a:xfrm>
            <a:custGeom>
              <a:avLst/>
              <a:gdLst>
                <a:gd name="T0" fmla="*/ 18 w 46"/>
                <a:gd name="T1" fmla="*/ 46 h 46"/>
                <a:gd name="T2" fmla="*/ 16 w 46"/>
                <a:gd name="T3" fmla="*/ 45 h 46"/>
                <a:gd name="T4" fmla="*/ 1 w 46"/>
                <a:gd name="T5" fmla="*/ 30 h 46"/>
                <a:gd name="T6" fmla="*/ 1 w 46"/>
                <a:gd name="T7" fmla="*/ 26 h 46"/>
                <a:gd name="T8" fmla="*/ 5 w 46"/>
                <a:gd name="T9" fmla="*/ 26 h 46"/>
                <a:gd name="T10" fmla="*/ 19 w 46"/>
                <a:gd name="T11" fmla="*/ 41 h 46"/>
                <a:gd name="T12" fmla="*/ 36 w 46"/>
                <a:gd name="T13" fmla="*/ 36 h 46"/>
                <a:gd name="T14" fmla="*/ 40 w 46"/>
                <a:gd name="T15" fmla="*/ 19 h 46"/>
                <a:gd name="T16" fmla="*/ 26 w 46"/>
                <a:gd name="T17" fmla="*/ 5 h 46"/>
                <a:gd name="T18" fmla="*/ 26 w 46"/>
                <a:gd name="T19" fmla="*/ 1 h 46"/>
                <a:gd name="T20" fmla="*/ 30 w 46"/>
                <a:gd name="T21" fmla="*/ 1 h 46"/>
                <a:gd name="T22" fmla="*/ 45 w 46"/>
                <a:gd name="T23" fmla="*/ 17 h 46"/>
                <a:gd name="T24" fmla="*/ 45 w 46"/>
                <a:gd name="T25" fmla="*/ 19 h 46"/>
                <a:gd name="T26" fmla="*/ 40 w 46"/>
                <a:gd name="T27" fmla="*/ 39 h 46"/>
                <a:gd name="T28" fmla="*/ 38 w 46"/>
                <a:gd name="T29" fmla="*/ 40 h 46"/>
                <a:gd name="T30" fmla="*/ 19 w 46"/>
                <a:gd name="T31" fmla="*/ 46 h 46"/>
                <a:gd name="T32" fmla="*/ 18 w 46"/>
                <a:gd name="T33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" h="46">
                  <a:moveTo>
                    <a:pt x="18" y="46"/>
                  </a:moveTo>
                  <a:cubicBezTo>
                    <a:pt x="18" y="46"/>
                    <a:pt x="17" y="46"/>
                    <a:pt x="16" y="45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0" y="29"/>
                    <a:pt x="0" y="27"/>
                    <a:pt x="1" y="26"/>
                  </a:cubicBezTo>
                  <a:cubicBezTo>
                    <a:pt x="2" y="25"/>
                    <a:pt x="4" y="25"/>
                    <a:pt x="5" y="26"/>
                  </a:cubicBezTo>
                  <a:cubicBezTo>
                    <a:pt x="19" y="41"/>
                    <a:pt x="19" y="41"/>
                    <a:pt x="19" y="41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5" y="4"/>
                    <a:pt x="25" y="2"/>
                    <a:pt x="26" y="1"/>
                  </a:cubicBezTo>
                  <a:cubicBezTo>
                    <a:pt x="27" y="0"/>
                    <a:pt x="29" y="0"/>
                    <a:pt x="30" y="1"/>
                  </a:cubicBezTo>
                  <a:cubicBezTo>
                    <a:pt x="45" y="17"/>
                    <a:pt x="45" y="17"/>
                    <a:pt x="45" y="17"/>
                  </a:cubicBezTo>
                  <a:cubicBezTo>
                    <a:pt x="45" y="17"/>
                    <a:pt x="46" y="18"/>
                    <a:pt x="45" y="19"/>
                  </a:cubicBezTo>
                  <a:cubicBezTo>
                    <a:pt x="40" y="39"/>
                    <a:pt x="40" y="39"/>
                    <a:pt x="40" y="39"/>
                  </a:cubicBezTo>
                  <a:cubicBezTo>
                    <a:pt x="40" y="40"/>
                    <a:pt x="39" y="40"/>
                    <a:pt x="38" y="40"/>
                  </a:cubicBezTo>
                  <a:cubicBezTo>
                    <a:pt x="19" y="46"/>
                    <a:pt x="19" y="46"/>
                    <a:pt x="19" y="46"/>
                  </a:cubicBezTo>
                  <a:cubicBezTo>
                    <a:pt x="19" y="46"/>
                    <a:pt x="18" y="46"/>
                    <a:pt x="18" y="4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939" dirty="0"/>
            </a:p>
          </p:txBody>
        </p:sp>
        <p:sp>
          <p:nvSpPr>
            <p:cNvPr id="10" name="Freeform 1534">
              <a:extLst>
                <a:ext uri="{FF2B5EF4-FFF2-40B4-BE49-F238E27FC236}">
                  <a16:creationId xmlns:a16="http://schemas.microsoft.com/office/drawing/2014/main" id="{CF99C64F-3BC5-05A3-D997-DE43C7B9824F}"/>
                </a:ext>
              </a:extLst>
            </p:cNvPr>
            <p:cNvSpPr>
              <a:spLocks/>
            </p:cNvSpPr>
            <p:nvPr/>
          </p:nvSpPr>
          <p:spPr bwMode="auto">
            <a:xfrm>
              <a:off x="948424" y="5474758"/>
              <a:ext cx="232715" cy="121991"/>
            </a:xfrm>
            <a:custGeom>
              <a:avLst/>
              <a:gdLst>
                <a:gd name="T0" fmla="*/ 33 w 51"/>
                <a:gd name="T1" fmla="*/ 40 h 40"/>
                <a:gd name="T2" fmla="*/ 11 w 51"/>
                <a:gd name="T3" fmla="*/ 30 h 40"/>
                <a:gd name="T4" fmla="*/ 1 w 51"/>
                <a:gd name="T5" fmla="*/ 3 h 40"/>
                <a:gd name="T6" fmla="*/ 4 w 51"/>
                <a:gd name="T7" fmla="*/ 1 h 40"/>
                <a:gd name="T8" fmla="*/ 6 w 51"/>
                <a:gd name="T9" fmla="*/ 3 h 40"/>
                <a:gd name="T10" fmla="*/ 14 w 51"/>
                <a:gd name="T11" fmla="*/ 27 h 40"/>
                <a:gd name="T12" fmla="*/ 47 w 51"/>
                <a:gd name="T13" fmla="*/ 31 h 40"/>
                <a:gd name="T14" fmla="*/ 50 w 51"/>
                <a:gd name="T15" fmla="*/ 32 h 40"/>
                <a:gd name="T16" fmla="*/ 50 w 51"/>
                <a:gd name="T17" fmla="*/ 35 h 40"/>
                <a:gd name="T18" fmla="*/ 33 w 51"/>
                <a:gd name="T19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" h="40">
                  <a:moveTo>
                    <a:pt x="33" y="40"/>
                  </a:moveTo>
                  <a:cubicBezTo>
                    <a:pt x="25" y="40"/>
                    <a:pt x="17" y="36"/>
                    <a:pt x="11" y="30"/>
                  </a:cubicBezTo>
                  <a:cubicBezTo>
                    <a:pt x="3" y="23"/>
                    <a:pt x="0" y="13"/>
                    <a:pt x="1" y="3"/>
                  </a:cubicBezTo>
                  <a:cubicBezTo>
                    <a:pt x="2" y="1"/>
                    <a:pt x="3" y="0"/>
                    <a:pt x="4" y="1"/>
                  </a:cubicBezTo>
                  <a:cubicBezTo>
                    <a:pt x="6" y="1"/>
                    <a:pt x="7" y="2"/>
                    <a:pt x="6" y="3"/>
                  </a:cubicBezTo>
                  <a:cubicBezTo>
                    <a:pt x="5" y="12"/>
                    <a:pt x="8" y="21"/>
                    <a:pt x="14" y="27"/>
                  </a:cubicBezTo>
                  <a:cubicBezTo>
                    <a:pt x="23" y="36"/>
                    <a:pt x="36" y="37"/>
                    <a:pt x="47" y="31"/>
                  </a:cubicBezTo>
                  <a:cubicBezTo>
                    <a:pt x="48" y="30"/>
                    <a:pt x="50" y="31"/>
                    <a:pt x="50" y="32"/>
                  </a:cubicBezTo>
                  <a:cubicBezTo>
                    <a:pt x="51" y="33"/>
                    <a:pt x="51" y="34"/>
                    <a:pt x="50" y="35"/>
                  </a:cubicBezTo>
                  <a:cubicBezTo>
                    <a:pt x="45" y="38"/>
                    <a:pt x="39" y="40"/>
                    <a:pt x="33" y="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939" dirty="0"/>
            </a:p>
          </p:txBody>
        </p:sp>
        <p:sp>
          <p:nvSpPr>
            <p:cNvPr id="11" name="Freeform 1535">
              <a:extLst>
                <a:ext uri="{FF2B5EF4-FFF2-40B4-BE49-F238E27FC236}">
                  <a16:creationId xmlns:a16="http://schemas.microsoft.com/office/drawing/2014/main" id="{824FEDD5-4253-2A84-6122-7001AC0A1BB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6374" y="5395570"/>
              <a:ext cx="191269" cy="156235"/>
            </a:xfrm>
            <a:custGeom>
              <a:avLst/>
              <a:gdLst>
                <a:gd name="T0" fmla="*/ 33 w 42"/>
                <a:gd name="T1" fmla="*/ 51 h 51"/>
                <a:gd name="T2" fmla="*/ 31 w 42"/>
                <a:gd name="T3" fmla="*/ 51 h 51"/>
                <a:gd name="T4" fmla="*/ 31 w 42"/>
                <a:gd name="T5" fmla="*/ 47 h 51"/>
                <a:gd name="T6" fmla="*/ 26 w 42"/>
                <a:gd name="T7" fmla="*/ 14 h 51"/>
                <a:gd name="T8" fmla="*/ 3 w 42"/>
                <a:gd name="T9" fmla="*/ 7 h 51"/>
                <a:gd name="T10" fmla="*/ 0 w 42"/>
                <a:gd name="T11" fmla="*/ 5 h 51"/>
                <a:gd name="T12" fmla="*/ 2 w 42"/>
                <a:gd name="T13" fmla="*/ 2 h 51"/>
                <a:gd name="T14" fmla="*/ 30 w 42"/>
                <a:gd name="T15" fmla="*/ 11 h 51"/>
                <a:gd name="T16" fmla="*/ 35 w 42"/>
                <a:gd name="T17" fmla="*/ 50 h 51"/>
                <a:gd name="T18" fmla="*/ 33 w 42"/>
                <a:gd name="T19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51">
                  <a:moveTo>
                    <a:pt x="33" y="51"/>
                  </a:moveTo>
                  <a:cubicBezTo>
                    <a:pt x="32" y="51"/>
                    <a:pt x="32" y="51"/>
                    <a:pt x="31" y="51"/>
                  </a:cubicBezTo>
                  <a:cubicBezTo>
                    <a:pt x="30" y="50"/>
                    <a:pt x="30" y="49"/>
                    <a:pt x="31" y="47"/>
                  </a:cubicBezTo>
                  <a:cubicBezTo>
                    <a:pt x="37" y="37"/>
                    <a:pt x="35" y="23"/>
                    <a:pt x="26" y="14"/>
                  </a:cubicBezTo>
                  <a:cubicBezTo>
                    <a:pt x="20" y="8"/>
                    <a:pt x="12" y="5"/>
                    <a:pt x="3" y="7"/>
                  </a:cubicBezTo>
                  <a:cubicBezTo>
                    <a:pt x="2" y="7"/>
                    <a:pt x="1" y="6"/>
                    <a:pt x="0" y="5"/>
                  </a:cubicBezTo>
                  <a:cubicBezTo>
                    <a:pt x="0" y="3"/>
                    <a:pt x="1" y="2"/>
                    <a:pt x="2" y="2"/>
                  </a:cubicBezTo>
                  <a:cubicBezTo>
                    <a:pt x="12" y="0"/>
                    <a:pt x="23" y="4"/>
                    <a:pt x="30" y="11"/>
                  </a:cubicBezTo>
                  <a:cubicBezTo>
                    <a:pt x="40" y="21"/>
                    <a:pt x="42" y="37"/>
                    <a:pt x="35" y="50"/>
                  </a:cubicBezTo>
                  <a:cubicBezTo>
                    <a:pt x="34" y="51"/>
                    <a:pt x="34" y="51"/>
                    <a:pt x="33" y="5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939" dirty="0"/>
            </a:p>
          </p:txBody>
        </p:sp>
        <p:sp>
          <p:nvSpPr>
            <p:cNvPr id="12" name="Freeform 1536">
              <a:extLst>
                <a:ext uri="{FF2B5EF4-FFF2-40B4-BE49-F238E27FC236}">
                  <a16:creationId xmlns:a16="http://schemas.microsoft.com/office/drawing/2014/main" id="{B330FB12-605D-996E-EF2A-3CCC8B0CD1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8821" y="5571066"/>
              <a:ext cx="117950" cy="74907"/>
            </a:xfrm>
            <a:custGeom>
              <a:avLst/>
              <a:gdLst>
                <a:gd name="T0" fmla="*/ 23 w 26"/>
                <a:gd name="T1" fmla="*/ 25 h 25"/>
                <a:gd name="T2" fmla="*/ 21 w 26"/>
                <a:gd name="T3" fmla="*/ 25 h 25"/>
                <a:gd name="T4" fmla="*/ 1 w 26"/>
                <a:gd name="T5" fmla="*/ 4 h 25"/>
                <a:gd name="T6" fmla="*/ 1 w 26"/>
                <a:gd name="T7" fmla="*/ 1 h 25"/>
                <a:gd name="T8" fmla="*/ 5 w 26"/>
                <a:gd name="T9" fmla="*/ 1 h 25"/>
                <a:gd name="T10" fmla="*/ 25 w 26"/>
                <a:gd name="T11" fmla="*/ 21 h 25"/>
                <a:gd name="T12" fmla="*/ 25 w 26"/>
                <a:gd name="T13" fmla="*/ 25 h 25"/>
                <a:gd name="T14" fmla="*/ 23 w 26"/>
                <a:gd name="T1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5">
                  <a:moveTo>
                    <a:pt x="23" y="25"/>
                  </a:moveTo>
                  <a:cubicBezTo>
                    <a:pt x="23" y="25"/>
                    <a:pt x="22" y="25"/>
                    <a:pt x="21" y="25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5" y="1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26" y="22"/>
                    <a:pt x="26" y="24"/>
                    <a:pt x="25" y="25"/>
                  </a:cubicBezTo>
                  <a:cubicBezTo>
                    <a:pt x="24" y="25"/>
                    <a:pt x="24" y="25"/>
                    <a:pt x="23" y="2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939" dirty="0"/>
            </a:p>
          </p:txBody>
        </p:sp>
        <p:sp>
          <p:nvSpPr>
            <p:cNvPr id="13" name="Freeform 1537">
              <a:extLst>
                <a:ext uri="{FF2B5EF4-FFF2-40B4-BE49-F238E27FC236}">
                  <a16:creationId xmlns:a16="http://schemas.microsoft.com/office/drawing/2014/main" id="{AAAE628C-F076-C1CB-E1EF-51429BFCB5AB}"/>
                </a:ext>
              </a:extLst>
            </p:cNvPr>
            <p:cNvSpPr>
              <a:spLocks/>
            </p:cNvSpPr>
            <p:nvPr/>
          </p:nvSpPr>
          <p:spPr bwMode="auto">
            <a:xfrm>
              <a:off x="1334153" y="5688775"/>
              <a:ext cx="121137" cy="79188"/>
            </a:xfrm>
            <a:custGeom>
              <a:avLst/>
              <a:gdLst>
                <a:gd name="T0" fmla="*/ 24 w 27"/>
                <a:gd name="T1" fmla="*/ 26 h 26"/>
                <a:gd name="T2" fmla="*/ 22 w 27"/>
                <a:gd name="T3" fmla="*/ 26 h 26"/>
                <a:gd name="T4" fmla="*/ 1 w 27"/>
                <a:gd name="T5" fmla="*/ 4 h 26"/>
                <a:gd name="T6" fmla="*/ 1 w 27"/>
                <a:gd name="T7" fmla="*/ 1 h 26"/>
                <a:gd name="T8" fmla="*/ 5 w 27"/>
                <a:gd name="T9" fmla="*/ 1 h 26"/>
                <a:gd name="T10" fmla="*/ 26 w 27"/>
                <a:gd name="T11" fmla="*/ 22 h 26"/>
                <a:gd name="T12" fmla="*/ 26 w 27"/>
                <a:gd name="T13" fmla="*/ 26 h 26"/>
                <a:gd name="T14" fmla="*/ 24 w 27"/>
                <a:gd name="T1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" h="26">
                  <a:moveTo>
                    <a:pt x="24" y="26"/>
                  </a:moveTo>
                  <a:cubicBezTo>
                    <a:pt x="24" y="26"/>
                    <a:pt x="23" y="26"/>
                    <a:pt x="22" y="26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5" y="1"/>
                  </a:cubicBezTo>
                  <a:cubicBezTo>
                    <a:pt x="26" y="22"/>
                    <a:pt x="26" y="22"/>
                    <a:pt x="26" y="22"/>
                  </a:cubicBezTo>
                  <a:cubicBezTo>
                    <a:pt x="27" y="23"/>
                    <a:pt x="27" y="25"/>
                    <a:pt x="26" y="26"/>
                  </a:cubicBezTo>
                  <a:cubicBezTo>
                    <a:pt x="25" y="26"/>
                    <a:pt x="25" y="26"/>
                    <a:pt x="24" y="2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939" dirty="0"/>
            </a:p>
          </p:txBody>
        </p:sp>
        <p:sp>
          <p:nvSpPr>
            <p:cNvPr id="14" name="Freeform 1538">
              <a:extLst>
                <a:ext uri="{FF2B5EF4-FFF2-40B4-BE49-F238E27FC236}">
                  <a16:creationId xmlns:a16="http://schemas.microsoft.com/office/drawing/2014/main" id="{E08848C5-69AA-6658-B8F8-3E6147FF9EF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6641" y="5538964"/>
              <a:ext cx="296469" cy="199039"/>
            </a:xfrm>
            <a:custGeom>
              <a:avLst/>
              <a:gdLst>
                <a:gd name="T0" fmla="*/ 63 w 65"/>
                <a:gd name="T1" fmla="*/ 65 h 65"/>
                <a:gd name="T2" fmla="*/ 61 w 65"/>
                <a:gd name="T3" fmla="*/ 64 h 65"/>
                <a:gd name="T4" fmla="*/ 1 w 65"/>
                <a:gd name="T5" fmla="*/ 4 h 65"/>
                <a:gd name="T6" fmla="*/ 1 w 65"/>
                <a:gd name="T7" fmla="*/ 1 h 65"/>
                <a:gd name="T8" fmla="*/ 4 w 65"/>
                <a:gd name="T9" fmla="*/ 1 h 65"/>
                <a:gd name="T10" fmla="*/ 64 w 65"/>
                <a:gd name="T11" fmla="*/ 61 h 65"/>
                <a:gd name="T12" fmla="*/ 64 w 65"/>
                <a:gd name="T13" fmla="*/ 64 h 65"/>
                <a:gd name="T14" fmla="*/ 63 w 65"/>
                <a:gd name="T15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65">
                  <a:moveTo>
                    <a:pt x="63" y="65"/>
                  </a:moveTo>
                  <a:cubicBezTo>
                    <a:pt x="62" y="65"/>
                    <a:pt x="61" y="65"/>
                    <a:pt x="61" y="6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1"/>
                  </a:cubicBezTo>
                  <a:cubicBezTo>
                    <a:pt x="64" y="61"/>
                    <a:pt x="64" y="61"/>
                    <a:pt x="64" y="61"/>
                  </a:cubicBezTo>
                  <a:cubicBezTo>
                    <a:pt x="65" y="62"/>
                    <a:pt x="65" y="63"/>
                    <a:pt x="64" y="64"/>
                  </a:cubicBezTo>
                  <a:cubicBezTo>
                    <a:pt x="64" y="65"/>
                    <a:pt x="63" y="65"/>
                    <a:pt x="63" y="6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939" dirty="0"/>
            </a:p>
          </p:txBody>
        </p:sp>
        <p:sp>
          <p:nvSpPr>
            <p:cNvPr id="15" name="Freeform 1539">
              <a:extLst>
                <a:ext uri="{FF2B5EF4-FFF2-40B4-BE49-F238E27FC236}">
                  <a16:creationId xmlns:a16="http://schemas.microsoft.com/office/drawing/2014/main" id="{93B9A6B3-DF39-5C23-E479-260AD51199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1096" y="5701618"/>
              <a:ext cx="299658" cy="203318"/>
            </a:xfrm>
            <a:custGeom>
              <a:avLst/>
              <a:gdLst>
                <a:gd name="T0" fmla="*/ 34 w 66"/>
                <a:gd name="T1" fmla="*/ 67 h 67"/>
                <a:gd name="T2" fmla="*/ 12 w 66"/>
                <a:gd name="T3" fmla="*/ 57 h 67"/>
                <a:gd name="T4" fmla="*/ 7 w 66"/>
                <a:gd name="T5" fmla="*/ 19 h 67"/>
                <a:gd name="T6" fmla="*/ 10 w 66"/>
                <a:gd name="T7" fmla="*/ 18 h 67"/>
                <a:gd name="T8" fmla="*/ 11 w 66"/>
                <a:gd name="T9" fmla="*/ 21 h 67"/>
                <a:gd name="T10" fmla="*/ 16 w 66"/>
                <a:gd name="T11" fmla="*/ 54 h 67"/>
                <a:gd name="T12" fmla="*/ 34 w 66"/>
                <a:gd name="T13" fmla="*/ 62 h 67"/>
                <a:gd name="T14" fmla="*/ 53 w 66"/>
                <a:gd name="T15" fmla="*/ 54 h 67"/>
                <a:gd name="T16" fmla="*/ 61 w 66"/>
                <a:gd name="T17" fmla="*/ 35 h 67"/>
                <a:gd name="T18" fmla="*/ 53 w 66"/>
                <a:gd name="T19" fmla="*/ 16 h 67"/>
                <a:gd name="T20" fmla="*/ 21 w 66"/>
                <a:gd name="T21" fmla="*/ 12 h 67"/>
                <a:gd name="T22" fmla="*/ 18 w 66"/>
                <a:gd name="T23" fmla="*/ 11 h 67"/>
                <a:gd name="T24" fmla="*/ 18 w 66"/>
                <a:gd name="T25" fmla="*/ 7 h 67"/>
                <a:gd name="T26" fmla="*/ 57 w 66"/>
                <a:gd name="T27" fmla="*/ 12 h 67"/>
                <a:gd name="T28" fmla="*/ 66 w 66"/>
                <a:gd name="T29" fmla="*/ 35 h 67"/>
                <a:gd name="T30" fmla="*/ 57 w 66"/>
                <a:gd name="T31" fmla="*/ 57 h 67"/>
                <a:gd name="T32" fmla="*/ 34 w 66"/>
                <a:gd name="T33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6" h="67">
                  <a:moveTo>
                    <a:pt x="34" y="67"/>
                  </a:moveTo>
                  <a:cubicBezTo>
                    <a:pt x="26" y="67"/>
                    <a:pt x="18" y="63"/>
                    <a:pt x="12" y="57"/>
                  </a:cubicBezTo>
                  <a:cubicBezTo>
                    <a:pt x="2" y="47"/>
                    <a:pt x="0" y="31"/>
                    <a:pt x="7" y="19"/>
                  </a:cubicBezTo>
                  <a:cubicBezTo>
                    <a:pt x="8" y="18"/>
                    <a:pt x="9" y="17"/>
                    <a:pt x="10" y="18"/>
                  </a:cubicBezTo>
                  <a:cubicBezTo>
                    <a:pt x="12" y="19"/>
                    <a:pt x="12" y="20"/>
                    <a:pt x="11" y="21"/>
                  </a:cubicBezTo>
                  <a:cubicBezTo>
                    <a:pt x="5" y="32"/>
                    <a:pt x="7" y="45"/>
                    <a:pt x="16" y="54"/>
                  </a:cubicBezTo>
                  <a:cubicBezTo>
                    <a:pt x="21" y="59"/>
                    <a:pt x="27" y="62"/>
                    <a:pt x="34" y="62"/>
                  </a:cubicBezTo>
                  <a:cubicBezTo>
                    <a:pt x="42" y="62"/>
                    <a:pt x="48" y="59"/>
                    <a:pt x="53" y="54"/>
                  </a:cubicBezTo>
                  <a:cubicBezTo>
                    <a:pt x="59" y="49"/>
                    <a:pt x="61" y="42"/>
                    <a:pt x="61" y="35"/>
                  </a:cubicBezTo>
                  <a:cubicBezTo>
                    <a:pt x="61" y="28"/>
                    <a:pt x="59" y="21"/>
                    <a:pt x="53" y="16"/>
                  </a:cubicBezTo>
                  <a:cubicBezTo>
                    <a:pt x="45" y="7"/>
                    <a:pt x="31" y="5"/>
                    <a:pt x="21" y="12"/>
                  </a:cubicBezTo>
                  <a:cubicBezTo>
                    <a:pt x="20" y="12"/>
                    <a:pt x="18" y="12"/>
                    <a:pt x="18" y="11"/>
                  </a:cubicBezTo>
                  <a:cubicBezTo>
                    <a:pt x="17" y="10"/>
                    <a:pt x="17" y="8"/>
                    <a:pt x="18" y="7"/>
                  </a:cubicBezTo>
                  <a:cubicBezTo>
                    <a:pt x="31" y="0"/>
                    <a:pt x="47" y="2"/>
                    <a:pt x="57" y="12"/>
                  </a:cubicBezTo>
                  <a:cubicBezTo>
                    <a:pt x="63" y="18"/>
                    <a:pt x="66" y="26"/>
                    <a:pt x="66" y="35"/>
                  </a:cubicBezTo>
                  <a:cubicBezTo>
                    <a:pt x="66" y="43"/>
                    <a:pt x="63" y="51"/>
                    <a:pt x="57" y="57"/>
                  </a:cubicBezTo>
                  <a:cubicBezTo>
                    <a:pt x="51" y="63"/>
                    <a:pt x="43" y="67"/>
                    <a:pt x="34" y="6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939" dirty="0"/>
            </a:p>
          </p:txBody>
        </p:sp>
        <p:sp>
          <p:nvSpPr>
            <p:cNvPr id="16" name="Freeform 1540">
              <a:extLst>
                <a:ext uri="{FF2B5EF4-FFF2-40B4-BE49-F238E27FC236}">
                  <a16:creationId xmlns:a16="http://schemas.microsoft.com/office/drawing/2014/main" id="{AD5A891A-8B3F-0A60-9BF0-A9353948F6E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2277" y="5416973"/>
              <a:ext cx="372978" cy="254683"/>
            </a:xfrm>
            <a:custGeom>
              <a:avLst/>
              <a:gdLst>
                <a:gd name="T0" fmla="*/ 2 w 82"/>
                <a:gd name="T1" fmla="*/ 83 h 83"/>
                <a:gd name="T2" fmla="*/ 1 w 82"/>
                <a:gd name="T3" fmla="*/ 82 h 83"/>
                <a:gd name="T4" fmla="*/ 1 w 82"/>
                <a:gd name="T5" fmla="*/ 78 h 83"/>
                <a:gd name="T6" fmla="*/ 78 w 82"/>
                <a:gd name="T7" fmla="*/ 1 h 83"/>
                <a:gd name="T8" fmla="*/ 81 w 82"/>
                <a:gd name="T9" fmla="*/ 1 h 83"/>
                <a:gd name="T10" fmla="*/ 81 w 82"/>
                <a:gd name="T11" fmla="*/ 5 h 83"/>
                <a:gd name="T12" fmla="*/ 4 w 82"/>
                <a:gd name="T13" fmla="*/ 82 h 83"/>
                <a:gd name="T14" fmla="*/ 2 w 82"/>
                <a:gd name="T15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83">
                  <a:moveTo>
                    <a:pt x="2" y="83"/>
                  </a:moveTo>
                  <a:cubicBezTo>
                    <a:pt x="2" y="83"/>
                    <a:pt x="1" y="82"/>
                    <a:pt x="1" y="82"/>
                  </a:cubicBezTo>
                  <a:cubicBezTo>
                    <a:pt x="0" y="81"/>
                    <a:pt x="0" y="79"/>
                    <a:pt x="1" y="78"/>
                  </a:cubicBezTo>
                  <a:cubicBezTo>
                    <a:pt x="78" y="1"/>
                    <a:pt x="78" y="1"/>
                    <a:pt x="78" y="1"/>
                  </a:cubicBezTo>
                  <a:cubicBezTo>
                    <a:pt x="79" y="0"/>
                    <a:pt x="80" y="0"/>
                    <a:pt x="81" y="1"/>
                  </a:cubicBezTo>
                  <a:cubicBezTo>
                    <a:pt x="82" y="2"/>
                    <a:pt x="82" y="4"/>
                    <a:pt x="81" y="5"/>
                  </a:cubicBezTo>
                  <a:cubicBezTo>
                    <a:pt x="4" y="82"/>
                    <a:pt x="4" y="82"/>
                    <a:pt x="4" y="82"/>
                  </a:cubicBezTo>
                  <a:cubicBezTo>
                    <a:pt x="4" y="82"/>
                    <a:pt x="3" y="83"/>
                    <a:pt x="2" y="8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939" dirty="0"/>
            </a:p>
          </p:txBody>
        </p:sp>
        <p:sp>
          <p:nvSpPr>
            <p:cNvPr id="17" name="Freeform 1541">
              <a:extLst>
                <a:ext uri="{FF2B5EF4-FFF2-40B4-BE49-F238E27FC236}">
                  <a16:creationId xmlns:a16="http://schemas.microsoft.com/office/drawing/2014/main" id="{23AD4E60-56B0-B7DC-2DF3-9D4D0C9C755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7989" y="5658813"/>
              <a:ext cx="363413" cy="237560"/>
            </a:xfrm>
            <a:custGeom>
              <a:avLst/>
              <a:gdLst>
                <a:gd name="T0" fmla="*/ 26 w 80"/>
                <a:gd name="T1" fmla="*/ 78 h 78"/>
                <a:gd name="T2" fmla="*/ 20 w 80"/>
                <a:gd name="T3" fmla="*/ 76 h 78"/>
                <a:gd name="T4" fmla="*/ 4 w 80"/>
                <a:gd name="T5" fmla="*/ 60 h 78"/>
                <a:gd name="T6" fmla="*/ 4 w 80"/>
                <a:gd name="T7" fmla="*/ 48 h 78"/>
                <a:gd name="T8" fmla="*/ 49 w 80"/>
                <a:gd name="T9" fmla="*/ 3 h 78"/>
                <a:gd name="T10" fmla="*/ 55 w 80"/>
                <a:gd name="T11" fmla="*/ 0 h 78"/>
                <a:gd name="T12" fmla="*/ 61 w 80"/>
                <a:gd name="T13" fmla="*/ 3 h 78"/>
                <a:gd name="T14" fmla="*/ 77 w 80"/>
                <a:gd name="T15" fmla="*/ 19 h 78"/>
                <a:gd name="T16" fmla="*/ 77 w 80"/>
                <a:gd name="T17" fmla="*/ 31 h 78"/>
                <a:gd name="T18" fmla="*/ 32 w 80"/>
                <a:gd name="T19" fmla="*/ 76 h 78"/>
                <a:gd name="T20" fmla="*/ 26 w 80"/>
                <a:gd name="T21" fmla="*/ 78 h 78"/>
                <a:gd name="T22" fmla="*/ 55 w 80"/>
                <a:gd name="T23" fmla="*/ 5 h 78"/>
                <a:gd name="T24" fmla="*/ 52 w 80"/>
                <a:gd name="T25" fmla="*/ 7 h 78"/>
                <a:gd name="T26" fmla="*/ 7 w 80"/>
                <a:gd name="T27" fmla="*/ 51 h 78"/>
                <a:gd name="T28" fmla="*/ 7 w 80"/>
                <a:gd name="T29" fmla="*/ 57 h 78"/>
                <a:gd name="T30" fmla="*/ 23 w 80"/>
                <a:gd name="T31" fmla="*/ 72 h 78"/>
                <a:gd name="T32" fmla="*/ 28 w 80"/>
                <a:gd name="T33" fmla="*/ 72 h 78"/>
                <a:gd name="T34" fmla="*/ 73 w 80"/>
                <a:gd name="T35" fmla="*/ 28 h 78"/>
                <a:gd name="T36" fmla="*/ 73 w 80"/>
                <a:gd name="T37" fmla="*/ 22 h 78"/>
                <a:gd name="T38" fmla="*/ 58 w 80"/>
                <a:gd name="T39" fmla="*/ 7 h 78"/>
                <a:gd name="T40" fmla="*/ 55 w 80"/>
                <a:gd name="T41" fmla="*/ 5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0" h="78">
                  <a:moveTo>
                    <a:pt x="26" y="78"/>
                  </a:moveTo>
                  <a:cubicBezTo>
                    <a:pt x="23" y="78"/>
                    <a:pt x="21" y="77"/>
                    <a:pt x="20" y="76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0" y="57"/>
                    <a:pt x="0" y="51"/>
                    <a:pt x="4" y="48"/>
                  </a:cubicBezTo>
                  <a:cubicBezTo>
                    <a:pt x="49" y="3"/>
                    <a:pt x="49" y="3"/>
                    <a:pt x="49" y="3"/>
                  </a:cubicBezTo>
                  <a:cubicBezTo>
                    <a:pt x="50" y="1"/>
                    <a:pt x="52" y="0"/>
                    <a:pt x="55" y="0"/>
                  </a:cubicBezTo>
                  <a:cubicBezTo>
                    <a:pt x="57" y="0"/>
                    <a:pt x="59" y="1"/>
                    <a:pt x="61" y="3"/>
                  </a:cubicBezTo>
                  <a:cubicBezTo>
                    <a:pt x="77" y="19"/>
                    <a:pt x="77" y="19"/>
                    <a:pt x="77" y="19"/>
                  </a:cubicBezTo>
                  <a:cubicBezTo>
                    <a:pt x="80" y="22"/>
                    <a:pt x="80" y="28"/>
                    <a:pt x="77" y="31"/>
                  </a:cubicBezTo>
                  <a:cubicBezTo>
                    <a:pt x="32" y="76"/>
                    <a:pt x="32" y="76"/>
                    <a:pt x="32" y="76"/>
                  </a:cubicBezTo>
                  <a:cubicBezTo>
                    <a:pt x="30" y="77"/>
                    <a:pt x="28" y="78"/>
                    <a:pt x="26" y="78"/>
                  </a:cubicBezTo>
                  <a:close/>
                  <a:moveTo>
                    <a:pt x="55" y="5"/>
                  </a:moveTo>
                  <a:cubicBezTo>
                    <a:pt x="54" y="5"/>
                    <a:pt x="53" y="6"/>
                    <a:pt x="52" y="7"/>
                  </a:cubicBezTo>
                  <a:cubicBezTo>
                    <a:pt x="7" y="51"/>
                    <a:pt x="7" y="51"/>
                    <a:pt x="7" y="51"/>
                  </a:cubicBezTo>
                  <a:cubicBezTo>
                    <a:pt x="6" y="53"/>
                    <a:pt x="6" y="55"/>
                    <a:pt x="7" y="57"/>
                  </a:cubicBezTo>
                  <a:cubicBezTo>
                    <a:pt x="23" y="72"/>
                    <a:pt x="23" y="72"/>
                    <a:pt x="23" y="72"/>
                  </a:cubicBezTo>
                  <a:cubicBezTo>
                    <a:pt x="24" y="74"/>
                    <a:pt x="27" y="74"/>
                    <a:pt x="28" y="72"/>
                  </a:cubicBezTo>
                  <a:cubicBezTo>
                    <a:pt x="73" y="28"/>
                    <a:pt x="73" y="28"/>
                    <a:pt x="73" y="28"/>
                  </a:cubicBezTo>
                  <a:cubicBezTo>
                    <a:pt x="75" y="26"/>
                    <a:pt x="75" y="24"/>
                    <a:pt x="73" y="22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7" y="6"/>
                    <a:pt x="56" y="5"/>
                    <a:pt x="55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939" dirty="0"/>
            </a:p>
          </p:txBody>
        </p:sp>
        <p:sp>
          <p:nvSpPr>
            <p:cNvPr id="18" name="Freeform 1542">
              <a:extLst>
                <a:ext uri="{FF2B5EF4-FFF2-40B4-BE49-F238E27FC236}">
                  <a16:creationId xmlns:a16="http://schemas.microsoft.com/office/drawing/2014/main" id="{C50261E7-787F-0D48-4209-D2FF8D78A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16204" y="5630990"/>
              <a:ext cx="146639" cy="94169"/>
            </a:xfrm>
            <a:custGeom>
              <a:avLst/>
              <a:gdLst>
                <a:gd name="T0" fmla="*/ 19 w 32"/>
                <a:gd name="T1" fmla="*/ 31 h 31"/>
                <a:gd name="T2" fmla="*/ 14 w 32"/>
                <a:gd name="T3" fmla="*/ 29 h 31"/>
                <a:gd name="T4" fmla="*/ 2 w 32"/>
                <a:gd name="T5" fmla="*/ 17 h 31"/>
                <a:gd name="T6" fmla="*/ 0 w 32"/>
                <a:gd name="T7" fmla="*/ 12 h 31"/>
                <a:gd name="T8" fmla="*/ 2 w 32"/>
                <a:gd name="T9" fmla="*/ 7 h 31"/>
                <a:gd name="T10" fmla="*/ 7 w 32"/>
                <a:gd name="T11" fmla="*/ 3 h 31"/>
                <a:gd name="T12" fmla="*/ 12 w 32"/>
                <a:gd name="T13" fmla="*/ 0 h 31"/>
                <a:gd name="T14" fmla="*/ 17 w 32"/>
                <a:gd name="T15" fmla="*/ 3 h 31"/>
                <a:gd name="T16" fmla="*/ 29 w 32"/>
                <a:gd name="T17" fmla="*/ 14 h 31"/>
                <a:gd name="T18" fmla="*/ 29 w 32"/>
                <a:gd name="T19" fmla="*/ 24 h 31"/>
                <a:gd name="T20" fmla="*/ 24 w 32"/>
                <a:gd name="T21" fmla="*/ 29 h 31"/>
                <a:gd name="T22" fmla="*/ 19 w 32"/>
                <a:gd name="T23" fmla="*/ 31 h 31"/>
                <a:gd name="T24" fmla="*/ 12 w 32"/>
                <a:gd name="T25" fmla="*/ 5 h 31"/>
                <a:gd name="T26" fmla="*/ 11 w 32"/>
                <a:gd name="T27" fmla="*/ 6 h 31"/>
                <a:gd name="T28" fmla="*/ 6 w 32"/>
                <a:gd name="T29" fmla="*/ 11 h 31"/>
                <a:gd name="T30" fmla="*/ 5 w 32"/>
                <a:gd name="T31" fmla="*/ 12 h 31"/>
                <a:gd name="T32" fmla="*/ 6 w 32"/>
                <a:gd name="T33" fmla="*/ 14 h 31"/>
                <a:gd name="T34" fmla="*/ 18 w 32"/>
                <a:gd name="T35" fmla="*/ 26 h 31"/>
                <a:gd name="T36" fmla="*/ 21 w 32"/>
                <a:gd name="T37" fmla="*/ 26 h 31"/>
                <a:gd name="T38" fmla="*/ 24 w 32"/>
                <a:gd name="T39" fmla="*/ 23 h 31"/>
                <a:gd name="T40" fmla="*/ 24 w 32"/>
                <a:gd name="T41" fmla="*/ 23 h 31"/>
                <a:gd name="T42" fmla="*/ 26 w 32"/>
                <a:gd name="T43" fmla="*/ 21 h 31"/>
                <a:gd name="T44" fmla="*/ 26 w 32"/>
                <a:gd name="T45" fmla="*/ 18 h 31"/>
                <a:gd name="T46" fmla="*/ 14 w 32"/>
                <a:gd name="T47" fmla="*/ 6 h 31"/>
                <a:gd name="T48" fmla="*/ 12 w 32"/>
                <a:gd name="T49" fmla="*/ 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2" h="31">
                  <a:moveTo>
                    <a:pt x="19" y="31"/>
                  </a:moveTo>
                  <a:cubicBezTo>
                    <a:pt x="17" y="31"/>
                    <a:pt x="16" y="31"/>
                    <a:pt x="14" y="29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1" y="16"/>
                    <a:pt x="0" y="14"/>
                    <a:pt x="0" y="12"/>
                  </a:cubicBezTo>
                  <a:cubicBezTo>
                    <a:pt x="0" y="10"/>
                    <a:pt x="1" y="9"/>
                    <a:pt x="2" y="7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8" y="1"/>
                    <a:pt x="10" y="0"/>
                    <a:pt x="12" y="0"/>
                  </a:cubicBezTo>
                  <a:cubicBezTo>
                    <a:pt x="14" y="0"/>
                    <a:pt x="16" y="1"/>
                    <a:pt x="17" y="3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32" y="17"/>
                    <a:pt x="32" y="22"/>
                    <a:pt x="29" y="24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23" y="31"/>
                    <a:pt x="21" y="31"/>
                    <a:pt x="19" y="31"/>
                  </a:cubicBezTo>
                  <a:close/>
                  <a:moveTo>
                    <a:pt x="12" y="5"/>
                  </a:moveTo>
                  <a:cubicBezTo>
                    <a:pt x="12" y="5"/>
                    <a:pt x="11" y="6"/>
                    <a:pt x="11" y="6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5" y="11"/>
                    <a:pt x="5" y="12"/>
                    <a:pt x="5" y="12"/>
                  </a:cubicBezTo>
                  <a:cubicBezTo>
                    <a:pt x="5" y="13"/>
                    <a:pt x="5" y="13"/>
                    <a:pt x="6" y="14"/>
                  </a:cubicBezTo>
                  <a:cubicBezTo>
                    <a:pt x="18" y="26"/>
                    <a:pt x="18" y="26"/>
                    <a:pt x="18" y="26"/>
                  </a:cubicBezTo>
                  <a:cubicBezTo>
                    <a:pt x="19" y="27"/>
                    <a:pt x="20" y="27"/>
                    <a:pt x="21" y="26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6" y="21"/>
                    <a:pt x="26" y="21"/>
                    <a:pt x="26" y="21"/>
                  </a:cubicBezTo>
                  <a:cubicBezTo>
                    <a:pt x="27" y="20"/>
                    <a:pt x="27" y="19"/>
                    <a:pt x="26" y="18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3" y="6"/>
                    <a:pt x="13" y="5"/>
                    <a:pt x="12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939" dirty="0"/>
            </a:p>
          </p:txBody>
        </p:sp>
        <p:sp>
          <p:nvSpPr>
            <p:cNvPr id="19" name="Freeform 1543">
              <a:extLst>
                <a:ext uri="{FF2B5EF4-FFF2-40B4-BE49-F238E27FC236}">
                  <a16:creationId xmlns:a16="http://schemas.microsoft.com/office/drawing/2014/main" id="{F6F330DD-9E4F-7685-FDB9-10A9AA9C58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682" y="5416972"/>
              <a:ext cx="63755" cy="42805"/>
            </a:xfrm>
            <a:custGeom>
              <a:avLst/>
              <a:gdLst>
                <a:gd name="T0" fmla="*/ 4 w 14"/>
                <a:gd name="T1" fmla="*/ 14 h 14"/>
                <a:gd name="T2" fmla="*/ 1 w 14"/>
                <a:gd name="T3" fmla="*/ 13 h 14"/>
                <a:gd name="T4" fmla="*/ 1 w 14"/>
                <a:gd name="T5" fmla="*/ 13 h 14"/>
                <a:gd name="T6" fmla="*/ 1 w 14"/>
                <a:gd name="T7" fmla="*/ 8 h 14"/>
                <a:gd name="T8" fmla="*/ 8 w 14"/>
                <a:gd name="T9" fmla="*/ 1 h 14"/>
                <a:gd name="T10" fmla="*/ 13 w 14"/>
                <a:gd name="T11" fmla="*/ 1 h 14"/>
                <a:gd name="T12" fmla="*/ 14 w 14"/>
                <a:gd name="T13" fmla="*/ 3 h 14"/>
                <a:gd name="T14" fmla="*/ 13 w 14"/>
                <a:gd name="T15" fmla="*/ 6 h 14"/>
                <a:gd name="T16" fmla="*/ 6 w 14"/>
                <a:gd name="T17" fmla="*/ 13 h 14"/>
                <a:gd name="T18" fmla="*/ 4 w 14"/>
                <a:gd name="T1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14">
                  <a:moveTo>
                    <a:pt x="4" y="14"/>
                  </a:moveTo>
                  <a:cubicBezTo>
                    <a:pt x="3" y="14"/>
                    <a:pt x="2" y="13"/>
                    <a:pt x="1" y="1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0" y="11"/>
                    <a:pt x="0" y="9"/>
                    <a:pt x="1" y="8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9" y="0"/>
                    <a:pt x="11" y="0"/>
                    <a:pt x="13" y="1"/>
                  </a:cubicBezTo>
                  <a:cubicBezTo>
                    <a:pt x="13" y="2"/>
                    <a:pt x="14" y="3"/>
                    <a:pt x="14" y="3"/>
                  </a:cubicBezTo>
                  <a:cubicBezTo>
                    <a:pt x="14" y="4"/>
                    <a:pt x="13" y="5"/>
                    <a:pt x="13" y="6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5" y="13"/>
                    <a:pt x="4" y="14"/>
                    <a:pt x="4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939" dirty="0"/>
            </a:p>
          </p:txBody>
        </p:sp>
      </p:grpSp>
      <p:sp>
        <p:nvSpPr>
          <p:cNvPr id="20" name="Shape0_20210630_090810">
            <a:extLst>
              <a:ext uri="{FF2B5EF4-FFF2-40B4-BE49-F238E27FC236}">
                <a16:creationId xmlns:a16="http://schemas.microsoft.com/office/drawing/2014/main" id="{DA33B695-DB75-B0D6-EE64-581E64DF2CEC}"/>
              </a:ext>
            </a:extLst>
          </p:cNvPr>
          <p:cNvSpPr txBox="1"/>
          <p:nvPr/>
        </p:nvSpPr>
        <p:spPr>
          <a:xfrm>
            <a:off x="735152" y="1216917"/>
            <a:ext cx="503193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20A7E0"/>
              </a:buClr>
              <a:buSzPts val="1800"/>
              <a:buFont typeface="Arial"/>
              <a:buNone/>
            </a:pPr>
            <a:r>
              <a:rPr lang="en-US" sz="1600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sz="1600" b="1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27" name="Google Shape;460;p1">
            <a:extLst>
              <a:ext uri="{FF2B5EF4-FFF2-40B4-BE49-F238E27FC236}">
                <a16:creationId xmlns:a16="http://schemas.microsoft.com/office/drawing/2014/main" id="{03FF9A3D-5D6D-2BDF-5D27-66FC6265B24B}"/>
              </a:ext>
            </a:extLst>
          </p:cNvPr>
          <p:cNvSpPr txBox="1"/>
          <p:nvPr/>
        </p:nvSpPr>
        <p:spPr>
          <a:xfrm>
            <a:off x="6426347" y="1216917"/>
            <a:ext cx="488585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20A7E0"/>
              </a:buClr>
              <a:buSzPts val="1800"/>
              <a:buFont typeface="Arial"/>
              <a:buNone/>
            </a:pPr>
            <a:r>
              <a:rPr lang="en-US" sz="1600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sz="1600" b="1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34" name="Google Shape;462;p1">
            <a:extLst>
              <a:ext uri="{FF2B5EF4-FFF2-40B4-BE49-F238E27FC236}">
                <a16:creationId xmlns:a16="http://schemas.microsoft.com/office/drawing/2014/main" id="{09956A1E-8F2E-198D-711C-47939F92F581}"/>
              </a:ext>
            </a:extLst>
          </p:cNvPr>
          <p:cNvCxnSpPr>
            <a:cxnSpLocks/>
          </p:cNvCxnSpPr>
          <p:nvPr/>
        </p:nvCxnSpPr>
        <p:spPr>
          <a:xfrm>
            <a:off x="6203362" y="1216917"/>
            <a:ext cx="0" cy="2449476"/>
          </a:xfrm>
          <a:prstGeom prst="straightConnector1">
            <a:avLst/>
          </a:prstGeom>
          <a:noFill/>
          <a:ln w="9525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79" name="Group 78">
            <a:extLst>
              <a:ext uri="{FF2B5EF4-FFF2-40B4-BE49-F238E27FC236}">
                <a16:creationId xmlns:a16="http://schemas.microsoft.com/office/drawing/2014/main" id="{3EF9DE32-C283-0B28-1BE0-486C5D0C3849}"/>
              </a:ext>
            </a:extLst>
          </p:cNvPr>
          <p:cNvGrpSpPr/>
          <p:nvPr/>
        </p:nvGrpSpPr>
        <p:grpSpPr>
          <a:xfrm>
            <a:off x="687157" y="1563350"/>
            <a:ext cx="5031939" cy="2103043"/>
            <a:chOff x="687157" y="1563350"/>
            <a:chExt cx="5031939" cy="2103043"/>
          </a:xfrm>
        </p:grpSpPr>
        <p:sp>
          <p:nvSpPr>
            <p:cNvPr id="22" name="Shape1_20210621_150425">
              <a:extLst>
                <a:ext uri="{FF2B5EF4-FFF2-40B4-BE49-F238E27FC236}">
                  <a16:creationId xmlns:a16="http://schemas.microsoft.com/office/drawing/2014/main" id="{9D9FB28B-0F0C-C3CD-1113-998AAFF5A710}"/>
                </a:ext>
              </a:extLst>
            </p:cNvPr>
            <p:cNvSpPr txBox="1"/>
            <p:nvPr/>
          </p:nvSpPr>
          <p:spPr>
            <a:xfrm>
              <a:off x="1693911" y="1682768"/>
              <a:ext cx="4025185" cy="24622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en-US" sz="1600" dirty="0">
                  <a:solidFill>
                    <a:schemeClr val="tx1">
                      <a:lumMod val="100000"/>
                    </a:schemeClr>
                  </a:solidFill>
                </a:rPr>
                <a:t>Insert text here</a:t>
              </a:r>
              <a:endParaRPr sz="1600" dirty="0">
                <a:solidFill>
                  <a:schemeClr val="tx1">
                    <a:lumMod val="100000"/>
                  </a:schemeClr>
                </a:solidFill>
              </a:endParaRPr>
            </a:p>
          </p:txBody>
        </p:sp>
        <p:sp>
          <p:nvSpPr>
            <p:cNvPr id="24" name="Shape2_20210621_150425">
              <a:extLst>
                <a:ext uri="{FF2B5EF4-FFF2-40B4-BE49-F238E27FC236}">
                  <a16:creationId xmlns:a16="http://schemas.microsoft.com/office/drawing/2014/main" id="{B4DCD721-E529-9182-15F5-C1A3639CBCFE}"/>
                </a:ext>
              </a:extLst>
            </p:cNvPr>
            <p:cNvSpPr txBox="1"/>
            <p:nvPr/>
          </p:nvSpPr>
          <p:spPr>
            <a:xfrm>
              <a:off x="1693911" y="2222097"/>
              <a:ext cx="4025185" cy="24622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en-US" sz="1600" dirty="0">
                  <a:solidFill>
                    <a:schemeClr val="tx1">
                      <a:lumMod val="100000"/>
                    </a:schemeClr>
                  </a:solidFill>
                </a:rPr>
                <a:t>Insert text here</a:t>
              </a:r>
              <a:endParaRPr sz="1600" dirty="0">
                <a:solidFill>
                  <a:schemeClr val="tx1">
                    <a:lumMod val="100000"/>
                  </a:schemeClr>
                </a:solidFill>
              </a:endParaRPr>
            </a:p>
          </p:txBody>
        </p:sp>
        <p:sp>
          <p:nvSpPr>
            <p:cNvPr id="26" name="Shape0_20210621_150425">
              <a:extLst>
                <a:ext uri="{FF2B5EF4-FFF2-40B4-BE49-F238E27FC236}">
                  <a16:creationId xmlns:a16="http://schemas.microsoft.com/office/drawing/2014/main" id="{28E1121C-C3CA-EADB-8CA7-BF0C45DFAA20}"/>
                </a:ext>
              </a:extLst>
            </p:cNvPr>
            <p:cNvSpPr txBox="1"/>
            <p:nvPr/>
          </p:nvSpPr>
          <p:spPr>
            <a:xfrm>
              <a:off x="1693911" y="3300758"/>
              <a:ext cx="4025185" cy="24622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en-US" sz="1600" dirty="0">
                  <a:solidFill>
                    <a:schemeClr val="tx1">
                      <a:lumMod val="100000"/>
                    </a:schemeClr>
                  </a:solidFill>
                </a:rPr>
                <a:t>Insert text here</a:t>
              </a:r>
              <a:endParaRPr sz="1600" dirty="0">
                <a:solidFill>
                  <a:schemeClr val="tx1">
                    <a:lumMod val="100000"/>
                  </a:schemeClr>
                </a:solidFill>
              </a:endParaRPr>
            </a:p>
          </p:txBody>
        </p:sp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A232DA1F-2A94-0395-70FE-46B83DB946B3}"/>
                </a:ext>
              </a:extLst>
            </p:cNvPr>
            <p:cNvGrpSpPr/>
            <p:nvPr/>
          </p:nvGrpSpPr>
          <p:grpSpPr>
            <a:xfrm>
              <a:off x="687157" y="1563350"/>
              <a:ext cx="770432" cy="2103043"/>
              <a:chOff x="687157" y="1563350"/>
              <a:chExt cx="770432" cy="2103043"/>
            </a:xfrm>
          </p:grpSpPr>
          <p:sp>
            <p:nvSpPr>
              <p:cNvPr id="21" name="Shape0_20210630_090802">
                <a:extLst>
                  <a:ext uri="{FF2B5EF4-FFF2-40B4-BE49-F238E27FC236}">
                    <a16:creationId xmlns:a16="http://schemas.microsoft.com/office/drawing/2014/main" id="{CF0BF09B-6BC9-02D6-4C15-99BCAE4DABF4}"/>
                  </a:ext>
                </a:extLst>
              </p:cNvPr>
              <p:cNvSpPr/>
              <p:nvPr/>
            </p:nvSpPr>
            <p:spPr>
              <a:xfrm>
                <a:off x="687157" y="1563350"/>
                <a:ext cx="770432" cy="48505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50125" tIns="75042" rIns="150125" bIns="75042" anchor="ctr" anchorCtr="0"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  <a:buSzPts val="1800"/>
                  <a:defRPr/>
                </a:pPr>
                <a:r>
                  <a:rPr lang="en-US" sz="2300" b="1" dirty="0">
                    <a:solidFill>
                      <a:schemeClr val="bg1"/>
                    </a:solidFill>
                  </a:rPr>
                  <a:t>01</a:t>
                </a:r>
                <a:endParaRPr sz="2300" b="1" dirty="0">
                  <a:solidFill>
                    <a:schemeClr val="bg1"/>
                  </a:solidFill>
                </a:endParaRPr>
              </a:p>
            </p:txBody>
          </p:sp>
          <p:grpSp>
            <p:nvGrpSpPr>
              <p:cNvPr id="77" name="Group 76">
                <a:extLst>
                  <a:ext uri="{FF2B5EF4-FFF2-40B4-BE49-F238E27FC236}">
                    <a16:creationId xmlns:a16="http://schemas.microsoft.com/office/drawing/2014/main" id="{8D8FB8D5-F8D1-4563-A836-B5AF4AD06BDD}"/>
                  </a:ext>
                </a:extLst>
              </p:cNvPr>
              <p:cNvGrpSpPr/>
              <p:nvPr/>
            </p:nvGrpSpPr>
            <p:grpSpPr>
              <a:xfrm>
                <a:off x="687157" y="2102678"/>
                <a:ext cx="770432" cy="1563715"/>
                <a:chOff x="687157" y="2102678"/>
                <a:chExt cx="770432" cy="1563715"/>
              </a:xfrm>
            </p:grpSpPr>
            <p:sp>
              <p:nvSpPr>
                <p:cNvPr id="23" name="Shape1_20210630_090802">
                  <a:extLst>
                    <a:ext uri="{FF2B5EF4-FFF2-40B4-BE49-F238E27FC236}">
                      <a16:creationId xmlns:a16="http://schemas.microsoft.com/office/drawing/2014/main" id="{787AEF1C-79CF-646F-382A-98426C023472}"/>
                    </a:ext>
                  </a:extLst>
                </p:cNvPr>
                <p:cNvSpPr/>
                <p:nvPr/>
              </p:nvSpPr>
              <p:spPr>
                <a:xfrm>
                  <a:off x="687157" y="2102678"/>
                  <a:ext cx="770432" cy="485055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 spcFirstLastPara="1" wrap="square" lIns="150125" tIns="75042" rIns="150125" bIns="75042" anchor="ctr" anchorCtr="0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FFFFFF"/>
                    </a:buClr>
                    <a:buSzPts val="1800"/>
                    <a:buFont typeface="Arial"/>
                    <a:buNone/>
                  </a:pPr>
                  <a:r>
                    <a:rPr lang="en-US" sz="2300" b="1" dirty="0">
                      <a:solidFill>
                        <a:schemeClr val="bg1"/>
                      </a:solidFill>
                    </a:rPr>
                    <a:t>02</a:t>
                  </a:r>
                  <a:endParaRPr sz="2300" b="1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25" name="Shape2_20210630_090802">
                  <a:extLst>
                    <a:ext uri="{FF2B5EF4-FFF2-40B4-BE49-F238E27FC236}">
                      <a16:creationId xmlns:a16="http://schemas.microsoft.com/office/drawing/2014/main" id="{72FBCB9C-305D-5743-90C5-3EC364026A5E}"/>
                    </a:ext>
                  </a:extLst>
                </p:cNvPr>
                <p:cNvSpPr/>
                <p:nvPr/>
              </p:nvSpPr>
              <p:spPr>
                <a:xfrm>
                  <a:off x="687157" y="3181338"/>
                  <a:ext cx="770432" cy="485055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 spcFirstLastPara="1" wrap="square" lIns="150125" tIns="75042" rIns="150125" bIns="75042" anchor="ctr" anchorCtr="0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FFFFFF"/>
                    </a:buClr>
                    <a:buSzPts val="1800"/>
                    <a:buFont typeface="Arial"/>
                    <a:buNone/>
                  </a:pPr>
                  <a:r>
                    <a:rPr lang="en-US" sz="2300" b="1" dirty="0">
                      <a:solidFill>
                        <a:schemeClr val="bg1"/>
                      </a:solidFill>
                    </a:rPr>
                    <a:t>04</a:t>
                  </a:r>
                  <a:endParaRPr sz="2300" b="1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36" name="Shape2_20210630_090802">
                  <a:extLst>
                    <a:ext uri="{FF2B5EF4-FFF2-40B4-BE49-F238E27FC236}">
                      <a16:creationId xmlns:a16="http://schemas.microsoft.com/office/drawing/2014/main" id="{D6AC9F65-4CF3-D5F5-75C9-74848EEA210A}"/>
                    </a:ext>
                  </a:extLst>
                </p:cNvPr>
                <p:cNvSpPr/>
                <p:nvPr/>
              </p:nvSpPr>
              <p:spPr>
                <a:xfrm>
                  <a:off x="687157" y="2642008"/>
                  <a:ext cx="770432" cy="485055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 spcFirstLastPara="1" wrap="square" lIns="150125" tIns="75042" rIns="150125" bIns="75042" anchor="ctr" anchorCtr="0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FFFFFF"/>
                    </a:buClr>
                    <a:buSzPts val="1800"/>
                    <a:buFont typeface="Arial"/>
                    <a:buNone/>
                  </a:pPr>
                  <a:r>
                    <a:rPr lang="en-US" sz="2300" b="1" dirty="0">
                      <a:solidFill>
                        <a:schemeClr val="bg1"/>
                      </a:solidFill>
                    </a:rPr>
                    <a:t>03</a:t>
                  </a:r>
                  <a:endParaRPr sz="2300" b="1" dirty="0">
                    <a:solidFill>
                      <a:schemeClr val="bg1"/>
                    </a:solidFill>
                  </a:endParaRPr>
                </a:p>
              </p:txBody>
            </p:sp>
          </p:grpSp>
        </p:grpSp>
        <p:sp>
          <p:nvSpPr>
            <p:cNvPr id="49" name="Shape0_20210621_150425">
              <a:extLst>
                <a:ext uri="{FF2B5EF4-FFF2-40B4-BE49-F238E27FC236}">
                  <a16:creationId xmlns:a16="http://schemas.microsoft.com/office/drawing/2014/main" id="{4318DD16-5F6D-5936-DBFA-AF1486226C36}"/>
                </a:ext>
              </a:extLst>
            </p:cNvPr>
            <p:cNvSpPr txBox="1"/>
            <p:nvPr/>
          </p:nvSpPr>
          <p:spPr>
            <a:xfrm>
              <a:off x="1693911" y="2761426"/>
              <a:ext cx="4025185" cy="24622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en-US" sz="1600" dirty="0">
                  <a:solidFill>
                    <a:schemeClr val="tx1">
                      <a:lumMod val="100000"/>
                    </a:schemeClr>
                  </a:solidFill>
                </a:rPr>
                <a:t>Insert text here</a:t>
              </a:r>
              <a:endParaRPr sz="1600" dirty="0">
                <a:solidFill>
                  <a:schemeClr val="tx1">
                    <a:lumMod val="100000"/>
                  </a:schemeClr>
                </a:solidFill>
              </a:endParaRPr>
            </a:p>
          </p:txBody>
        </p:sp>
      </p:grpSp>
      <p:sp>
        <p:nvSpPr>
          <p:cNvPr id="50" name="Shape0_20211122_110854">
            <a:extLst>
              <a:ext uri="{FF2B5EF4-FFF2-40B4-BE49-F238E27FC236}">
                <a16:creationId xmlns:a16="http://schemas.microsoft.com/office/drawing/2014/main" id="{993A4801-E5DF-A80D-D421-65032A78D21C}"/>
              </a:ext>
            </a:extLst>
          </p:cNvPr>
          <p:cNvSpPr/>
          <p:nvPr/>
        </p:nvSpPr>
        <p:spPr>
          <a:xfrm>
            <a:off x="687157" y="3793587"/>
            <a:ext cx="10599155" cy="129400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>
              <a:buClr>
                <a:srgbClr val="FFFFFF"/>
              </a:buClr>
              <a:buSzPts val="1800"/>
              <a:defRPr/>
            </a:pPr>
            <a:endParaRPr sz="3939" dirty="0">
              <a:solidFill>
                <a:srgbClr val="FFFFFF"/>
              </a:solidFill>
            </a:endParaRPr>
          </a:p>
        </p:txBody>
      </p:sp>
      <p:sp>
        <p:nvSpPr>
          <p:cNvPr id="51" name="Google Shape;466;p1">
            <a:extLst>
              <a:ext uri="{FF2B5EF4-FFF2-40B4-BE49-F238E27FC236}">
                <a16:creationId xmlns:a16="http://schemas.microsoft.com/office/drawing/2014/main" id="{B319A9AF-3E9B-C267-E5C9-3329CCEC28B6}"/>
              </a:ext>
            </a:extLst>
          </p:cNvPr>
          <p:cNvSpPr txBox="1"/>
          <p:nvPr/>
        </p:nvSpPr>
        <p:spPr>
          <a:xfrm>
            <a:off x="948433" y="4130852"/>
            <a:ext cx="9564304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20A7E0"/>
              </a:buClr>
              <a:buSzPts val="1800"/>
              <a:buFont typeface="Arial"/>
              <a:buNone/>
            </a:pPr>
            <a:r>
              <a:rPr lang="en-US" sz="1600" b="1" dirty="0">
                <a:solidFill>
                  <a:schemeClr val="bg1"/>
                </a:solidFill>
              </a:rPr>
              <a:t>Title</a:t>
            </a:r>
          </a:p>
        </p:txBody>
      </p:sp>
      <p:sp>
        <p:nvSpPr>
          <p:cNvPr id="53" name="Shape5_20210621_150425">
            <a:extLst>
              <a:ext uri="{FF2B5EF4-FFF2-40B4-BE49-F238E27FC236}">
                <a16:creationId xmlns:a16="http://schemas.microsoft.com/office/drawing/2014/main" id="{49E8C329-8866-4320-125A-B2A0965E0A32}"/>
              </a:ext>
            </a:extLst>
          </p:cNvPr>
          <p:cNvSpPr txBox="1"/>
          <p:nvPr/>
        </p:nvSpPr>
        <p:spPr>
          <a:xfrm>
            <a:off x="948433" y="4504099"/>
            <a:ext cx="9564304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600" dirty="0">
                <a:solidFill>
                  <a:schemeClr val="bg1"/>
                </a:solidFill>
              </a:rPr>
              <a:t>Insert text here</a:t>
            </a:r>
          </a:p>
        </p:txBody>
      </p:sp>
      <p:sp>
        <p:nvSpPr>
          <p:cNvPr id="56" name="Shape3_20210630_090802">
            <a:extLst>
              <a:ext uri="{FF2B5EF4-FFF2-40B4-BE49-F238E27FC236}">
                <a16:creationId xmlns:a16="http://schemas.microsoft.com/office/drawing/2014/main" id="{1C58EDAE-F48B-96FB-84E6-DC85F194857A}"/>
              </a:ext>
            </a:extLst>
          </p:cNvPr>
          <p:cNvSpPr/>
          <p:nvPr/>
        </p:nvSpPr>
        <p:spPr>
          <a:xfrm>
            <a:off x="9954199" y="3793587"/>
            <a:ext cx="1540953" cy="129400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>
              <a:buClr>
                <a:srgbClr val="FFFFFF"/>
              </a:buClr>
              <a:buSzPts val="1800"/>
              <a:defRPr/>
            </a:pPr>
            <a:endParaRPr sz="3939" dirty="0">
              <a:solidFill>
                <a:srgbClr val="00B4E0"/>
              </a:solidFill>
            </a:endParaRPr>
          </a:p>
        </p:txBody>
      </p:sp>
      <p:grpSp>
        <p:nvGrpSpPr>
          <p:cNvPr id="75" name="Group 74">
            <a:extLst>
              <a:ext uri="{FF2B5EF4-FFF2-40B4-BE49-F238E27FC236}">
                <a16:creationId xmlns:a16="http://schemas.microsoft.com/office/drawing/2014/main" id="{316ED34A-5D31-FF0F-CED5-532F3AA76C61}"/>
              </a:ext>
            </a:extLst>
          </p:cNvPr>
          <p:cNvGrpSpPr/>
          <p:nvPr/>
        </p:nvGrpSpPr>
        <p:grpSpPr>
          <a:xfrm>
            <a:off x="10422252" y="4140432"/>
            <a:ext cx="620685" cy="600308"/>
            <a:chOff x="10297314" y="4140432"/>
            <a:chExt cx="870560" cy="600308"/>
          </a:xfrm>
        </p:grpSpPr>
        <p:sp>
          <p:nvSpPr>
            <p:cNvPr id="71" name="Freeform 380">
              <a:extLst>
                <a:ext uri="{FF2B5EF4-FFF2-40B4-BE49-F238E27FC236}">
                  <a16:creationId xmlns:a16="http://schemas.microsoft.com/office/drawing/2014/main" id="{D7C6A658-CFB8-3D41-4D66-C941F587FD0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97314" y="4140432"/>
              <a:ext cx="679037" cy="469549"/>
            </a:xfrm>
            <a:custGeom>
              <a:avLst/>
              <a:gdLst>
                <a:gd name="T0" fmla="*/ 142 w 285"/>
                <a:gd name="T1" fmla="*/ 285 h 285"/>
                <a:gd name="T2" fmla="*/ 0 w 285"/>
                <a:gd name="T3" fmla="*/ 143 h 285"/>
                <a:gd name="T4" fmla="*/ 142 w 285"/>
                <a:gd name="T5" fmla="*/ 0 h 285"/>
                <a:gd name="T6" fmla="*/ 285 w 285"/>
                <a:gd name="T7" fmla="*/ 143 h 285"/>
                <a:gd name="T8" fmla="*/ 142 w 285"/>
                <a:gd name="T9" fmla="*/ 285 h 285"/>
                <a:gd name="T10" fmla="*/ 142 w 285"/>
                <a:gd name="T11" fmla="*/ 12 h 285"/>
                <a:gd name="T12" fmla="*/ 12 w 285"/>
                <a:gd name="T13" fmla="*/ 143 h 285"/>
                <a:gd name="T14" fmla="*/ 142 w 285"/>
                <a:gd name="T15" fmla="*/ 273 h 285"/>
                <a:gd name="T16" fmla="*/ 273 w 285"/>
                <a:gd name="T17" fmla="*/ 143 h 285"/>
                <a:gd name="T18" fmla="*/ 142 w 285"/>
                <a:gd name="T19" fmla="*/ 12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5" h="285">
                  <a:moveTo>
                    <a:pt x="142" y="285"/>
                  </a:moveTo>
                  <a:cubicBezTo>
                    <a:pt x="64" y="285"/>
                    <a:pt x="0" y="221"/>
                    <a:pt x="0" y="143"/>
                  </a:cubicBezTo>
                  <a:cubicBezTo>
                    <a:pt x="0" y="64"/>
                    <a:pt x="64" y="0"/>
                    <a:pt x="142" y="0"/>
                  </a:cubicBezTo>
                  <a:cubicBezTo>
                    <a:pt x="221" y="0"/>
                    <a:pt x="285" y="64"/>
                    <a:pt x="285" y="143"/>
                  </a:cubicBezTo>
                  <a:cubicBezTo>
                    <a:pt x="285" y="221"/>
                    <a:pt x="221" y="285"/>
                    <a:pt x="142" y="285"/>
                  </a:cubicBezTo>
                  <a:close/>
                  <a:moveTo>
                    <a:pt x="142" y="12"/>
                  </a:moveTo>
                  <a:cubicBezTo>
                    <a:pt x="70" y="12"/>
                    <a:pt x="12" y="71"/>
                    <a:pt x="12" y="143"/>
                  </a:cubicBezTo>
                  <a:cubicBezTo>
                    <a:pt x="12" y="214"/>
                    <a:pt x="70" y="273"/>
                    <a:pt x="142" y="273"/>
                  </a:cubicBezTo>
                  <a:cubicBezTo>
                    <a:pt x="214" y="273"/>
                    <a:pt x="273" y="214"/>
                    <a:pt x="273" y="143"/>
                  </a:cubicBezTo>
                  <a:cubicBezTo>
                    <a:pt x="273" y="71"/>
                    <a:pt x="214" y="12"/>
                    <a:pt x="142" y="1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939" dirty="0"/>
            </a:p>
          </p:txBody>
        </p:sp>
        <p:sp>
          <p:nvSpPr>
            <p:cNvPr id="72" name="Freeform 381">
              <a:extLst>
                <a:ext uri="{FF2B5EF4-FFF2-40B4-BE49-F238E27FC236}">
                  <a16:creationId xmlns:a16="http://schemas.microsoft.com/office/drawing/2014/main" id="{6C2EC03B-3051-56D6-EA4B-FF64FAFBAFB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19652" y="4497050"/>
              <a:ext cx="348222" cy="243690"/>
            </a:xfrm>
            <a:custGeom>
              <a:avLst/>
              <a:gdLst>
                <a:gd name="T0" fmla="*/ 119 w 145"/>
                <a:gd name="T1" fmla="*/ 146 h 146"/>
                <a:gd name="T2" fmla="*/ 100 w 145"/>
                <a:gd name="T3" fmla="*/ 138 h 146"/>
                <a:gd name="T4" fmla="*/ 2 w 145"/>
                <a:gd name="T5" fmla="*/ 40 h 146"/>
                <a:gd name="T6" fmla="*/ 2 w 145"/>
                <a:gd name="T7" fmla="*/ 32 h 146"/>
                <a:gd name="T8" fmla="*/ 31 w 145"/>
                <a:gd name="T9" fmla="*/ 3 h 146"/>
                <a:gd name="T10" fmla="*/ 40 w 145"/>
                <a:gd name="T11" fmla="*/ 3 h 146"/>
                <a:gd name="T12" fmla="*/ 138 w 145"/>
                <a:gd name="T13" fmla="*/ 100 h 146"/>
                <a:gd name="T14" fmla="*/ 145 w 145"/>
                <a:gd name="T15" fmla="*/ 119 h 146"/>
                <a:gd name="T16" fmla="*/ 138 w 145"/>
                <a:gd name="T17" fmla="*/ 138 h 146"/>
                <a:gd name="T18" fmla="*/ 119 w 145"/>
                <a:gd name="T19" fmla="*/ 146 h 146"/>
                <a:gd name="T20" fmla="*/ 15 w 145"/>
                <a:gd name="T21" fmla="*/ 36 h 146"/>
                <a:gd name="T22" fmla="*/ 109 w 145"/>
                <a:gd name="T23" fmla="*/ 129 h 146"/>
                <a:gd name="T24" fmla="*/ 109 w 145"/>
                <a:gd name="T25" fmla="*/ 129 h 146"/>
                <a:gd name="T26" fmla="*/ 129 w 145"/>
                <a:gd name="T27" fmla="*/ 129 h 146"/>
                <a:gd name="T28" fmla="*/ 133 w 145"/>
                <a:gd name="T29" fmla="*/ 119 h 146"/>
                <a:gd name="T30" fmla="*/ 129 w 145"/>
                <a:gd name="T31" fmla="*/ 109 h 146"/>
                <a:gd name="T32" fmla="*/ 36 w 145"/>
                <a:gd name="T33" fmla="*/ 16 h 146"/>
                <a:gd name="T34" fmla="*/ 15 w 145"/>
                <a:gd name="T35" fmla="*/ 36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45" h="146">
                  <a:moveTo>
                    <a:pt x="119" y="146"/>
                  </a:moveTo>
                  <a:cubicBezTo>
                    <a:pt x="112" y="146"/>
                    <a:pt x="105" y="143"/>
                    <a:pt x="100" y="138"/>
                  </a:cubicBezTo>
                  <a:cubicBezTo>
                    <a:pt x="2" y="40"/>
                    <a:pt x="2" y="40"/>
                    <a:pt x="2" y="40"/>
                  </a:cubicBezTo>
                  <a:cubicBezTo>
                    <a:pt x="0" y="38"/>
                    <a:pt x="0" y="34"/>
                    <a:pt x="2" y="3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4" y="0"/>
                    <a:pt x="38" y="0"/>
                    <a:pt x="40" y="3"/>
                  </a:cubicBezTo>
                  <a:cubicBezTo>
                    <a:pt x="138" y="100"/>
                    <a:pt x="138" y="100"/>
                    <a:pt x="138" y="100"/>
                  </a:cubicBezTo>
                  <a:cubicBezTo>
                    <a:pt x="143" y="105"/>
                    <a:pt x="145" y="112"/>
                    <a:pt x="145" y="119"/>
                  </a:cubicBezTo>
                  <a:cubicBezTo>
                    <a:pt x="145" y="126"/>
                    <a:pt x="143" y="133"/>
                    <a:pt x="138" y="138"/>
                  </a:cubicBezTo>
                  <a:cubicBezTo>
                    <a:pt x="132" y="143"/>
                    <a:pt x="126" y="146"/>
                    <a:pt x="119" y="146"/>
                  </a:cubicBezTo>
                  <a:close/>
                  <a:moveTo>
                    <a:pt x="15" y="36"/>
                  </a:moveTo>
                  <a:cubicBezTo>
                    <a:pt x="109" y="129"/>
                    <a:pt x="109" y="129"/>
                    <a:pt x="109" y="129"/>
                  </a:cubicBezTo>
                  <a:cubicBezTo>
                    <a:pt x="109" y="129"/>
                    <a:pt x="109" y="129"/>
                    <a:pt x="109" y="129"/>
                  </a:cubicBezTo>
                  <a:cubicBezTo>
                    <a:pt x="114" y="135"/>
                    <a:pt x="123" y="135"/>
                    <a:pt x="129" y="129"/>
                  </a:cubicBezTo>
                  <a:cubicBezTo>
                    <a:pt x="132" y="126"/>
                    <a:pt x="133" y="123"/>
                    <a:pt x="133" y="119"/>
                  </a:cubicBezTo>
                  <a:cubicBezTo>
                    <a:pt x="133" y="115"/>
                    <a:pt x="132" y="112"/>
                    <a:pt x="129" y="109"/>
                  </a:cubicBezTo>
                  <a:cubicBezTo>
                    <a:pt x="36" y="16"/>
                    <a:pt x="36" y="16"/>
                    <a:pt x="36" y="16"/>
                  </a:cubicBezTo>
                  <a:lnTo>
                    <a:pt x="15" y="36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939" dirty="0"/>
            </a:p>
          </p:txBody>
        </p:sp>
        <p:sp>
          <p:nvSpPr>
            <p:cNvPr id="73" name="Freeform 382">
              <a:extLst>
                <a:ext uri="{FF2B5EF4-FFF2-40B4-BE49-F238E27FC236}">
                  <a16:creationId xmlns:a16="http://schemas.microsoft.com/office/drawing/2014/main" id="{616F27D8-F6E7-8629-5708-2FE1A93C072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10484" y="4217698"/>
              <a:ext cx="243758" cy="166423"/>
            </a:xfrm>
            <a:custGeom>
              <a:avLst/>
              <a:gdLst>
                <a:gd name="T0" fmla="*/ 6 w 99"/>
                <a:gd name="T1" fmla="*/ 100 h 100"/>
                <a:gd name="T2" fmla="*/ 0 w 99"/>
                <a:gd name="T3" fmla="*/ 94 h 100"/>
                <a:gd name="T4" fmla="*/ 93 w 99"/>
                <a:gd name="T5" fmla="*/ 0 h 100"/>
                <a:gd name="T6" fmla="*/ 99 w 99"/>
                <a:gd name="T7" fmla="*/ 6 h 100"/>
                <a:gd name="T8" fmla="*/ 93 w 99"/>
                <a:gd name="T9" fmla="*/ 12 h 100"/>
                <a:gd name="T10" fmla="*/ 12 w 99"/>
                <a:gd name="T11" fmla="*/ 94 h 100"/>
                <a:gd name="T12" fmla="*/ 6 w 99"/>
                <a:gd name="T13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9" h="100">
                  <a:moveTo>
                    <a:pt x="6" y="100"/>
                  </a:moveTo>
                  <a:cubicBezTo>
                    <a:pt x="3" y="100"/>
                    <a:pt x="0" y="97"/>
                    <a:pt x="0" y="94"/>
                  </a:cubicBezTo>
                  <a:cubicBezTo>
                    <a:pt x="0" y="42"/>
                    <a:pt x="42" y="0"/>
                    <a:pt x="93" y="0"/>
                  </a:cubicBezTo>
                  <a:cubicBezTo>
                    <a:pt x="97" y="0"/>
                    <a:pt x="99" y="3"/>
                    <a:pt x="99" y="6"/>
                  </a:cubicBezTo>
                  <a:cubicBezTo>
                    <a:pt x="99" y="10"/>
                    <a:pt x="97" y="12"/>
                    <a:pt x="93" y="12"/>
                  </a:cubicBezTo>
                  <a:cubicBezTo>
                    <a:pt x="48" y="12"/>
                    <a:pt x="12" y="49"/>
                    <a:pt x="12" y="94"/>
                  </a:cubicBezTo>
                  <a:cubicBezTo>
                    <a:pt x="12" y="97"/>
                    <a:pt x="9" y="100"/>
                    <a:pt x="6" y="10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939" dirty="0"/>
            </a:p>
          </p:txBody>
        </p:sp>
      </p:grpSp>
      <p:sp>
        <p:nvSpPr>
          <p:cNvPr id="81" name="Shape1_20210621_150425">
            <a:extLst>
              <a:ext uri="{FF2B5EF4-FFF2-40B4-BE49-F238E27FC236}">
                <a16:creationId xmlns:a16="http://schemas.microsoft.com/office/drawing/2014/main" id="{A26AC98E-FDED-8A4E-DB05-AFB0CDD99798}"/>
              </a:ext>
            </a:extLst>
          </p:cNvPr>
          <p:cNvSpPr txBox="1"/>
          <p:nvPr/>
        </p:nvSpPr>
        <p:spPr>
          <a:xfrm>
            <a:off x="7475047" y="1682768"/>
            <a:ext cx="402518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82" name="Shape2_20210621_150425">
            <a:extLst>
              <a:ext uri="{FF2B5EF4-FFF2-40B4-BE49-F238E27FC236}">
                <a16:creationId xmlns:a16="http://schemas.microsoft.com/office/drawing/2014/main" id="{C520D35D-627E-F9A9-8C50-E5F4116F3A09}"/>
              </a:ext>
            </a:extLst>
          </p:cNvPr>
          <p:cNvSpPr txBox="1"/>
          <p:nvPr/>
        </p:nvSpPr>
        <p:spPr>
          <a:xfrm>
            <a:off x="7475047" y="2222097"/>
            <a:ext cx="402518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83" name="Shape0_20210621_150425">
            <a:extLst>
              <a:ext uri="{FF2B5EF4-FFF2-40B4-BE49-F238E27FC236}">
                <a16:creationId xmlns:a16="http://schemas.microsoft.com/office/drawing/2014/main" id="{7F8A21F0-CECD-A33A-42CB-6DB596577A11}"/>
              </a:ext>
            </a:extLst>
          </p:cNvPr>
          <p:cNvSpPr txBox="1"/>
          <p:nvPr/>
        </p:nvSpPr>
        <p:spPr>
          <a:xfrm>
            <a:off x="7475047" y="3300758"/>
            <a:ext cx="402518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</a:endParaRPr>
          </a:p>
        </p:txBody>
      </p:sp>
      <p:grpSp>
        <p:nvGrpSpPr>
          <p:cNvPr id="84" name="Group 83">
            <a:extLst>
              <a:ext uri="{FF2B5EF4-FFF2-40B4-BE49-F238E27FC236}">
                <a16:creationId xmlns:a16="http://schemas.microsoft.com/office/drawing/2014/main" id="{A027737D-2FD9-81A8-E686-94555C9692C3}"/>
              </a:ext>
            </a:extLst>
          </p:cNvPr>
          <p:cNvGrpSpPr/>
          <p:nvPr/>
        </p:nvGrpSpPr>
        <p:grpSpPr>
          <a:xfrm>
            <a:off x="6468293" y="1563350"/>
            <a:ext cx="770432" cy="2103043"/>
            <a:chOff x="687157" y="1563350"/>
            <a:chExt cx="770432" cy="2103043"/>
          </a:xfrm>
        </p:grpSpPr>
        <p:sp>
          <p:nvSpPr>
            <p:cNvPr id="86" name="Shape0_20210630_090802">
              <a:extLst>
                <a:ext uri="{FF2B5EF4-FFF2-40B4-BE49-F238E27FC236}">
                  <a16:creationId xmlns:a16="http://schemas.microsoft.com/office/drawing/2014/main" id="{D52E1E17-1F5B-D713-B17D-38CA1E38C835}"/>
                </a:ext>
              </a:extLst>
            </p:cNvPr>
            <p:cNvSpPr/>
            <p:nvPr/>
          </p:nvSpPr>
          <p:spPr>
            <a:xfrm>
              <a:off x="687157" y="1563350"/>
              <a:ext cx="770432" cy="48505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150125" tIns="75042" rIns="150125" bIns="75042" anchor="ctr" anchorCtr="0"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Pts val="1800"/>
                <a:defRPr/>
              </a:pPr>
              <a:r>
                <a:rPr lang="en-US" sz="2300" b="1" dirty="0">
                  <a:solidFill>
                    <a:schemeClr val="bg1"/>
                  </a:solidFill>
                </a:rPr>
                <a:t>01</a:t>
              </a:r>
              <a:endParaRPr sz="2300" b="1" dirty="0">
                <a:solidFill>
                  <a:schemeClr val="bg1"/>
                </a:solidFill>
              </a:endParaRPr>
            </a:p>
          </p:txBody>
        </p:sp>
        <p:grpSp>
          <p:nvGrpSpPr>
            <p:cNvPr id="87" name="Group 86">
              <a:extLst>
                <a:ext uri="{FF2B5EF4-FFF2-40B4-BE49-F238E27FC236}">
                  <a16:creationId xmlns:a16="http://schemas.microsoft.com/office/drawing/2014/main" id="{1D5EF8DF-3EE1-AE12-F644-096B2F4D667E}"/>
                </a:ext>
              </a:extLst>
            </p:cNvPr>
            <p:cNvGrpSpPr/>
            <p:nvPr/>
          </p:nvGrpSpPr>
          <p:grpSpPr>
            <a:xfrm>
              <a:off x="687157" y="2102678"/>
              <a:ext cx="770432" cy="1563715"/>
              <a:chOff x="687157" y="2102678"/>
              <a:chExt cx="770432" cy="1563715"/>
            </a:xfrm>
          </p:grpSpPr>
          <p:sp>
            <p:nvSpPr>
              <p:cNvPr id="88" name="Shape1_20210630_090802">
                <a:extLst>
                  <a:ext uri="{FF2B5EF4-FFF2-40B4-BE49-F238E27FC236}">
                    <a16:creationId xmlns:a16="http://schemas.microsoft.com/office/drawing/2014/main" id="{EC20A4D2-8C7A-BA88-5AF3-CBB0FA1A165B}"/>
                  </a:ext>
                </a:extLst>
              </p:cNvPr>
              <p:cNvSpPr/>
              <p:nvPr/>
            </p:nvSpPr>
            <p:spPr>
              <a:xfrm>
                <a:off x="687157" y="2102678"/>
                <a:ext cx="770432" cy="48505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50125" tIns="75042" rIns="150125" bIns="75042" anchor="ctr" anchorCtr="0"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  <a:buSzPts val="1800"/>
                  <a:buFont typeface="Arial"/>
                  <a:buNone/>
                </a:pPr>
                <a:r>
                  <a:rPr lang="en-US" sz="2300" b="1" dirty="0">
                    <a:solidFill>
                      <a:schemeClr val="bg1"/>
                    </a:solidFill>
                  </a:rPr>
                  <a:t>02</a:t>
                </a:r>
                <a:endParaRPr sz="23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9" name="Shape2_20210630_090802">
                <a:extLst>
                  <a:ext uri="{FF2B5EF4-FFF2-40B4-BE49-F238E27FC236}">
                    <a16:creationId xmlns:a16="http://schemas.microsoft.com/office/drawing/2014/main" id="{45C0383D-38DE-70FA-A5A9-EC98DE99E157}"/>
                  </a:ext>
                </a:extLst>
              </p:cNvPr>
              <p:cNvSpPr/>
              <p:nvPr/>
            </p:nvSpPr>
            <p:spPr>
              <a:xfrm>
                <a:off x="687157" y="3181338"/>
                <a:ext cx="770432" cy="48505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50125" tIns="75042" rIns="150125" bIns="75042" anchor="ctr" anchorCtr="0"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  <a:buSzPts val="1800"/>
                  <a:buFont typeface="Arial"/>
                  <a:buNone/>
                </a:pPr>
                <a:r>
                  <a:rPr lang="en-US" sz="2300" b="1" dirty="0">
                    <a:solidFill>
                      <a:schemeClr val="bg1"/>
                    </a:solidFill>
                  </a:rPr>
                  <a:t>04</a:t>
                </a:r>
                <a:endParaRPr sz="23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0" name="Shape2_20210630_090802">
                <a:extLst>
                  <a:ext uri="{FF2B5EF4-FFF2-40B4-BE49-F238E27FC236}">
                    <a16:creationId xmlns:a16="http://schemas.microsoft.com/office/drawing/2014/main" id="{23745D26-94C9-7E2B-DAB5-8D5DFF279DCB}"/>
                  </a:ext>
                </a:extLst>
              </p:cNvPr>
              <p:cNvSpPr/>
              <p:nvPr/>
            </p:nvSpPr>
            <p:spPr>
              <a:xfrm>
                <a:off x="687157" y="2642008"/>
                <a:ext cx="770432" cy="48505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50125" tIns="75042" rIns="150125" bIns="75042" anchor="ctr" anchorCtr="0"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  <a:buSzPts val="1800"/>
                  <a:buFont typeface="Arial"/>
                  <a:buNone/>
                </a:pPr>
                <a:r>
                  <a:rPr lang="en-US" sz="2300" b="1" dirty="0">
                    <a:solidFill>
                      <a:schemeClr val="bg1"/>
                    </a:solidFill>
                  </a:rPr>
                  <a:t>03</a:t>
                </a:r>
                <a:endParaRPr sz="2300" b="1" dirty="0">
                  <a:solidFill>
                    <a:schemeClr val="bg1"/>
                  </a:solidFill>
                </a:endParaRPr>
              </a:p>
            </p:txBody>
          </p:sp>
        </p:grpSp>
      </p:grpSp>
      <p:sp>
        <p:nvSpPr>
          <p:cNvPr id="85" name="Shape0_20210621_150425">
            <a:extLst>
              <a:ext uri="{FF2B5EF4-FFF2-40B4-BE49-F238E27FC236}">
                <a16:creationId xmlns:a16="http://schemas.microsoft.com/office/drawing/2014/main" id="{4E857BFD-A523-CF9D-D04A-767256B8FA54}"/>
              </a:ext>
            </a:extLst>
          </p:cNvPr>
          <p:cNvSpPr txBox="1"/>
          <p:nvPr/>
        </p:nvSpPr>
        <p:spPr>
          <a:xfrm>
            <a:off x="7475047" y="2761426"/>
            <a:ext cx="402518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2104237"/>
      </p:ext>
    </p:extLst>
  </p:cSld>
  <p:clrMapOvr>
    <a:masterClrMapping/>
  </p:clrMapOvr>
</p:sld>
</file>

<file path=ppt/slides/slide2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FF632B-F9F2-4C10-13D5-4731B30B83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4">
            <a:extLst>
              <a:ext uri="{FF2B5EF4-FFF2-40B4-BE49-F238E27FC236}">
                <a16:creationId xmlns:a16="http://schemas.microsoft.com/office/drawing/2014/main" id="{8C273E48-5E25-36AE-9C93-51AB9F5AA7FB}"/>
              </a:ext>
            </a:extLst>
          </p:cNvPr>
          <p:cNvSpPr txBox="1">
            <a:spLocks/>
          </p:cNvSpPr>
          <p:nvPr/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lnSpc>
                <a:spcPct val="90000"/>
              </a:lnSpc>
              <a:spcBef>
                <a:spcPct val="0"/>
              </a:spcBef>
              <a:buNone/>
              <a:defRPr sz="5400" b="1">
                <a:solidFill>
                  <a:schemeClr val="bg1"/>
                </a:solidFill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chemeClr val="accent1"/>
                </a:solidFill>
              </a:rPr>
              <a:t>04</a:t>
            </a:r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79C6ED09-92D4-B936-324F-C17DDCC120BD}"/>
              </a:ext>
            </a:extLst>
          </p:cNvPr>
          <p:cNvSpPr txBox="1">
            <a:spLocks/>
          </p:cNvSpPr>
          <p:nvPr/>
        </p:nvSpPr>
        <p:spPr>
          <a:xfrm>
            <a:off x="419099" y="3635858"/>
            <a:ext cx="11283166" cy="434926"/>
          </a:xfrm>
          <a:prstGeom prst="rect">
            <a:avLst/>
          </a:prstGeom>
        </p:spPr>
        <p:txBody>
          <a:bodyPr/>
          <a:lstStyle>
            <a:lvl1pPr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Tx/>
              <a:buNone/>
              <a:defRPr b="1">
                <a:solidFill>
                  <a:schemeClr val="bg1"/>
                </a:solidFill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Tx/>
              <a:buNone/>
              <a:defRPr b="1">
                <a:solidFill>
                  <a:schemeClr val="bg1"/>
                </a:solidFill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Tx/>
              <a:buNone/>
              <a:defRPr b="1">
                <a:solidFill>
                  <a:schemeClr val="bg1"/>
                </a:solidFill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Tx/>
              <a:buNone/>
              <a:defRPr b="1">
                <a:solidFill>
                  <a:schemeClr val="bg1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sz="3600" b="0" dirty="0">
                <a:solidFill>
                  <a:schemeClr val="tx1"/>
                </a:solidFill>
              </a:rPr>
              <a:t>Other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EA5EEBE-B540-57C1-EF80-47A75CAC4661}"/>
              </a:ext>
            </a:extLst>
          </p:cNvPr>
          <p:cNvCxnSpPr/>
          <p:nvPr/>
        </p:nvCxnSpPr>
        <p:spPr>
          <a:xfrm>
            <a:off x="419099" y="3521558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7147986"/>
      </p:ext>
    </p:extLst>
  </p:cSld>
  <p:clrMapOvr>
    <a:masterClrMapping/>
  </p:clrMapOvr>
</p:sld>
</file>

<file path=ppt/slides/slide2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9040F9C-DB1E-D99C-33F6-891FA2D7A3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78FC83A5-C8E6-2D87-1D1A-0FE05D79BB5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8FC83A5-C8E6-2D87-1D1A-0FE05D79BB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2A78E22-2935-65C1-825C-59B1DB8351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206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E01441E-8D54-2E6F-F178-45B1F62172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Icons </a:t>
            </a:r>
          </a:p>
        </p:txBody>
      </p:sp>
      <p:grpSp>
        <p:nvGrpSpPr>
          <p:cNvPr id="591" name="Shape1_20200717_142313">
            <a:extLst>
              <a:ext uri="{FF2B5EF4-FFF2-40B4-BE49-F238E27FC236}">
                <a16:creationId xmlns:a16="http://schemas.microsoft.com/office/drawing/2014/main" id="{66DD39D8-8E76-BEFD-CBE1-D40CCED522E8}"/>
              </a:ext>
            </a:extLst>
          </p:cNvPr>
          <p:cNvGrpSpPr>
            <a:grpSpLocks noChangeAspect="1"/>
          </p:cNvGrpSpPr>
          <p:nvPr/>
        </p:nvGrpSpPr>
        <p:grpSpPr>
          <a:xfrm>
            <a:off x="594883" y="1246452"/>
            <a:ext cx="557782" cy="554188"/>
            <a:chOff x="12266613" y="2444750"/>
            <a:chExt cx="246062" cy="244475"/>
          </a:xfrm>
          <a:solidFill>
            <a:schemeClr val="accent1"/>
          </a:solidFill>
        </p:grpSpPr>
        <p:sp>
          <p:nvSpPr>
            <p:cNvPr id="592" name="Freeform 811">
              <a:extLst>
                <a:ext uri="{FF2B5EF4-FFF2-40B4-BE49-F238E27FC236}">
                  <a16:creationId xmlns:a16="http://schemas.microsoft.com/office/drawing/2014/main" id="{3B421FE6-0C85-25EA-C6EF-746232C808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266613" y="2444750"/>
              <a:ext cx="190500" cy="190500"/>
            </a:xfrm>
            <a:custGeom>
              <a:avLst/>
              <a:gdLst>
                <a:gd name="T0" fmla="*/ 97 w 195"/>
                <a:gd name="T1" fmla="*/ 195 h 195"/>
                <a:gd name="T2" fmla="*/ 0 w 195"/>
                <a:gd name="T3" fmla="*/ 97 h 195"/>
                <a:gd name="T4" fmla="*/ 97 w 195"/>
                <a:gd name="T5" fmla="*/ 0 h 195"/>
                <a:gd name="T6" fmla="*/ 195 w 195"/>
                <a:gd name="T7" fmla="*/ 97 h 195"/>
                <a:gd name="T8" fmla="*/ 97 w 195"/>
                <a:gd name="T9" fmla="*/ 195 h 195"/>
                <a:gd name="T10" fmla="*/ 97 w 195"/>
                <a:gd name="T11" fmla="*/ 8 h 195"/>
                <a:gd name="T12" fmla="*/ 8 w 195"/>
                <a:gd name="T13" fmla="*/ 97 h 195"/>
                <a:gd name="T14" fmla="*/ 97 w 195"/>
                <a:gd name="T15" fmla="*/ 186 h 195"/>
                <a:gd name="T16" fmla="*/ 187 w 195"/>
                <a:gd name="T17" fmla="*/ 97 h 195"/>
                <a:gd name="T18" fmla="*/ 97 w 195"/>
                <a:gd name="T19" fmla="*/ 8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5" h="195">
                  <a:moveTo>
                    <a:pt x="97" y="195"/>
                  </a:moveTo>
                  <a:cubicBezTo>
                    <a:pt x="44" y="195"/>
                    <a:pt x="0" y="151"/>
                    <a:pt x="0" y="97"/>
                  </a:cubicBezTo>
                  <a:cubicBezTo>
                    <a:pt x="0" y="44"/>
                    <a:pt x="44" y="0"/>
                    <a:pt x="97" y="0"/>
                  </a:cubicBezTo>
                  <a:cubicBezTo>
                    <a:pt x="151" y="0"/>
                    <a:pt x="195" y="44"/>
                    <a:pt x="195" y="97"/>
                  </a:cubicBezTo>
                  <a:cubicBezTo>
                    <a:pt x="195" y="151"/>
                    <a:pt x="151" y="195"/>
                    <a:pt x="97" y="195"/>
                  </a:cubicBezTo>
                  <a:close/>
                  <a:moveTo>
                    <a:pt x="97" y="8"/>
                  </a:moveTo>
                  <a:cubicBezTo>
                    <a:pt x="48" y="8"/>
                    <a:pt x="8" y="48"/>
                    <a:pt x="8" y="97"/>
                  </a:cubicBezTo>
                  <a:cubicBezTo>
                    <a:pt x="8" y="146"/>
                    <a:pt x="48" y="186"/>
                    <a:pt x="97" y="186"/>
                  </a:cubicBezTo>
                  <a:cubicBezTo>
                    <a:pt x="147" y="186"/>
                    <a:pt x="187" y="146"/>
                    <a:pt x="187" y="97"/>
                  </a:cubicBezTo>
                  <a:cubicBezTo>
                    <a:pt x="187" y="48"/>
                    <a:pt x="147" y="8"/>
                    <a:pt x="97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93" name="Freeform 812">
              <a:extLst>
                <a:ext uri="{FF2B5EF4-FFF2-40B4-BE49-F238E27FC236}">
                  <a16:creationId xmlns:a16="http://schemas.microsoft.com/office/drawing/2014/main" id="{E9EBB70F-C110-C785-A68F-37F34D93E6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414250" y="2590800"/>
              <a:ext cx="98425" cy="98425"/>
            </a:xfrm>
            <a:custGeom>
              <a:avLst/>
              <a:gdLst>
                <a:gd name="T0" fmla="*/ 81 w 101"/>
                <a:gd name="T1" fmla="*/ 99 h 99"/>
                <a:gd name="T2" fmla="*/ 68 w 101"/>
                <a:gd name="T3" fmla="*/ 94 h 99"/>
                <a:gd name="T4" fmla="*/ 68 w 101"/>
                <a:gd name="T5" fmla="*/ 94 h 99"/>
                <a:gd name="T6" fmla="*/ 1 w 101"/>
                <a:gd name="T7" fmla="*/ 27 h 99"/>
                <a:gd name="T8" fmla="*/ 0 w 101"/>
                <a:gd name="T9" fmla="*/ 24 h 99"/>
                <a:gd name="T10" fmla="*/ 1 w 101"/>
                <a:gd name="T11" fmla="*/ 21 h 99"/>
                <a:gd name="T12" fmla="*/ 21 w 101"/>
                <a:gd name="T13" fmla="*/ 1 h 99"/>
                <a:gd name="T14" fmla="*/ 27 w 101"/>
                <a:gd name="T15" fmla="*/ 1 h 99"/>
                <a:gd name="T16" fmla="*/ 94 w 101"/>
                <a:gd name="T17" fmla="*/ 68 h 99"/>
                <a:gd name="T18" fmla="*/ 94 w 101"/>
                <a:gd name="T19" fmla="*/ 94 h 99"/>
                <a:gd name="T20" fmla="*/ 81 w 101"/>
                <a:gd name="T21" fmla="*/ 99 h 99"/>
                <a:gd name="T22" fmla="*/ 10 w 101"/>
                <a:gd name="T23" fmla="*/ 24 h 99"/>
                <a:gd name="T24" fmla="*/ 74 w 101"/>
                <a:gd name="T25" fmla="*/ 88 h 99"/>
                <a:gd name="T26" fmla="*/ 74 w 101"/>
                <a:gd name="T27" fmla="*/ 88 h 99"/>
                <a:gd name="T28" fmla="*/ 88 w 101"/>
                <a:gd name="T29" fmla="*/ 88 h 99"/>
                <a:gd name="T30" fmla="*/ 88 w 101"/>
                <a:gd name="T31" fmla="*/ 74 h 99"/>
                <a:gd name="T32" fmla="*/ 24 w 101"/>
                <a:gd name="T33" fmla="*/ 10 h 99"/>
                <a:gd name="T34" fmla="*/ 10 w 101"/>
                <a:gd name="T35" fmla="*/ 24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1" h="99">
                  <a:moveTo>
                    <a:pt x="81" y="99"/>
                  </a:moveTo>
                  <a:cubicBezTo>
                    <a:pt x="76" y="99"/>
                    <a:pt x="72" y="97"/>
                    <a:pt x="68" y="94"/>
                  </a:cubicBezTo>
                  <a:cubicBezTo>
                    <a:pt x="68" y="94"/>
                    <a:pt x="68" y="94"/>
                    <a:pt x="68" y="94"/>
                  </a:cubicBezTo>
                  <a:cubicBezTo>
                    <a:pt x="1" y="27"/>
                    <a:pt x="1" y="27"/>
                    <a:pt x="1" y="27"/>
                  </a:cubicBezTo>
                  <a:cubicBezTo>
                    <a:pt x="1" y="26"/>
                    <a:pt x="0" y="25"/>
                    <a:pt x="0" y="24"/>
                  </a:cubicBezTo>
                  <a:cubicBezTo>
                    <a:pt x="0" y="23"/>
                    <a:pt x="1" y="22"/>
                    <a:pt x="1" y="21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23" y="0"/>
                    <a:pt x="26" y="0"/>
                    <a:pt x="27" y="1"/>
                  </a:cubicBezTo>
                  <a:cubicBezTo>
                    <a:pt x="94" y="68"/>
                    <a:pt x="94" y="68"/>
                    <a:pt x="94" y="68"/>
                  </a:cubicBezTo>
                  <a:cubicBezTo>
                    <a:pt x="101" y="75"/>
                    <a:pt x="101" y="87"/>
                    <a:pt x="94" y="94"/>
                  </a:cubicBezTo>
                  <a:cubicBezTo>
                    <a:pt x="90" y="97"/>
                    <a:pt x="86" y="99"/>
                    <a:pt x="81" y="99"/>
                  </a:cubicBezTo>
                  <a:close/>
                  <a:moveTo>
                    <a:pt x="10" y="24"/>
                  </a:moveTo>
                  <a:cubicBezTo>
                    <a:pt x="74" y="88"/>
                    <a:pt x="74" y="88"/>
                    <a:pt x="74" y="88"/>
                  </a:cubicBezTo>
                  <a:cubicBezTo>
                    <a:pt x="74" y="88"/>
                    <a:pt x="74" y="88"/>
                    <a:pt x="74" y="88"/>
                  </a:cubicBezTo>
                  <a:cubicBezTo>
                    <a:pt x="78" y="92"/>
                    <a:pt x="84" y="92"/>
                    <a:pt x="88" y="88"/>
                  </a:cubicBezTo>
                  <a:cubicBezTo>
                    <a:pt x="92" y="84"/>
                    <a:pt x="92" y="78"/>
                    <a:pt x="88" y="74"/>
                  </a:cubicBezTo>
                  <a:cubicBezTo>
                    <a:pt x="24" y="10"/>
                    <a:pt x="24" y="10"/>
                    <a:pt x="24" y="10"/>
                  </a:cubicBezTo>
                  <a:lnTo>
                    <a:pt x="10" y="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94" name="Freeform 813">
              <a:extLst>
                <a:ext uri="{FF2B5EF4-FFF2-40B4-BE49-F238E27FC236}">
                  <a16:creationId xmlns:a16="http://schemas.microsoft.com/office/drawing/2014/main" id="{404B9E77-62D7-2524-8A74-3877F2B2A63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98363" y="2476500"/>
              <a:ext cx="66675" cy="66675"/>
            </a:xfrm>
            <a:custGeom>
              <a:avLst/>
              <a:gdLst>
                <a:gd name="T0" fmla="*/ 5 w 68"/>
                <a:gd name="T1" fmla="*/ 68 h 68"/>
                <a:gd name="T2" fmla="*/ 0 w 68"/>
                <a:gd name="T3" fmla="*/ 64 h 68"/>
                <a:gd name="T4" fmla="*/ 64 w 68"/>
                <a:gd name="T5" fmla="*/ 0 h 68"/>
                <a:gd name="T6" fmla="*/ 68 w 68"/>
                <a:gd name="T7" fmla="*/ 4 h 68"/>
                <a:gd name="T8" fmla="*/ 64 w 68"/>
                <a:gd name="T9" fmla="*/ 9 h 68"/>
                <a:gd name="T10" fmla="*/ 9 w 68"/>
                <a:gd name="T11" fmla="*/ 64 h 68"/>
                <a:gd name="T12" fmla="*/ 5 w 68"/>
                <a:gd name="T13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8" h="68">
                  <a:moveTo>
                    <a:pt x="5" y="68"/>
                  </a:moveTo>
                  <a:cubicBezTo>
                    <a:pt x="2" y="68"/>
                    <a:pt x="0" y="67"/>
                    <a:pt x="0" y="64"/>
                  </a:cubicBezTo>
                  <a:cubicBezTo>
                    <a:pt x="0" y="29"/>
                    <a:pt x="29" y="0"/>
                    <a:pt x="64" y="0"/>
                  </a:cubicBezTo>
                  <a:cubicBezTo>
                    <a:pt x="67" y="0"/>
                    <a:pt x="68" y="2"/>
                    <a:pt x="68" y="4"/>
                  </a:cubicBezTo>
                  <a:cubicBezTo>
                    <a:pt x="68" y="7"/>
                    <a:pt x="67" y="9"/>
                    <a:pt x="64" y="9"/>
                  </a:cubicBezTo>
                  <a:cubicBezTo>
                    <a:pt x="34" y="9"/>
                    <a:pt x="9" y="34"/>
                    <a:pt x="9" y="64"/>
                  </a:cubicBezTo>
                  <a:cubicBezTo>
                    <a:pt x="9" y="67"/>
                    <a:pt x="7" y="68"/>
                    <a:pt x="5" y="6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595" name="Shape2_20200717_142313">
            <a:extLst>
              <a:ext uri="{FF2B5EF4-FFF2-40B4-BE49-F238E27FC236}">
                <a16:creationId xmlns:a16="http://schemas.microsoft.com/office/drawing/2014/main" id="{636E442B-C2BD-C6E6-FC19-ABC1DE2E57C0}"/>
              </a:ext>
            </a:extLst>
          </p:cNvPr>
          <p:cNvGrpSpPr>
            <a:grpSpLocks noChangeAspect="1"/>
          </p:cNvGrpSpPr>
          <p:nvPr/>
        </p:nvGrpSpPr>
        <p:grpSpPr>
          <a:xfrm>
            <a:off x="8386835" y="1264444"/>
            <a:ext cx="640556" cy="518204"/>
            <a:chOff x="12247563" y="3025775"/>
            <a:chExt cx="282575" cy="228601"/>
          </a:xfrm>
          <a:solidFill>
            <a:schemeClr val="accent1"/>
          </a:solidFill>
        </p:grpSpPr>
        <p:sp>
          <p:nvSpPr>
            <p:cNvPr id="596" name="Freeform 814">
              <a:extLst>
                <a:ext uri="{FF2B5EF4-FFF2-40B4-BE49-F238E27FC236}">
                  <a16:creationId xmlns:a16="http://schemas.microsoft.com/office/drawing/2014/main" id="{58DBF27C-23A2-7ED4-7E89-1CC381FFD55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319000" y="3092450"/>
              <a:ext cx="109538" cy="109538"/>
            </a:xfrm>
            <a:custGeom>
              <a:avLst/>
              <a:gdLst>
                <a:gd name="T0" fmla="*/ 56 w 112"/>
                <a:gd name="T1" fmla="*/ 112 h 112"/>
                <a:gd name="T2" fmla="*/ 0 w 112"/>
                <a:gd name="T3" fmla="*/ 56 h 112"/>
                <a:gd name="T4" fmla="*/ 56 w 112"/>
                <a:gd name="T5" fmla="*/ 0 h 112"/>
                <a:gd name="T6" fmla="*/ 112 w 112"/>
                <a:gd name="T7" fmla="*/ 56 h 112"/>
                <a:gd name="T8" fmla="*/ 56 w 112"/>
                <a:gd name="T9" fmla="*/ 112 h 112"/>
                <a:gd name="T10" fmla="*/ 56 w 112"/>
                <a:gd name="T11" fmla="*/ 8 h 112"/>
                <a:gd name="T12" fmla="*/ 8 w 112"/>
                <a:gd name="T13" fmla="*/ 56 h 112"/>
                <a:gd name="T14" fmla="*/ 56 w 112"/>
                <a:gd name="T15" fmla="*/ 104 h 112"/>
                <a:gd name="T16" fmla="*/ 104 w 112"/>
                <a:gd name="T17" fmla="*/ 56 h 112"/>
                <a:gd name="T18" fmla="*/ 56 w 112"/>
                <a:gd name="T19" fmla="*/ 8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2" h="112">
                  <a:moveTo>
                    <a:pt x="56" y="112"/>
                  </a:moveTo>
                  <a:cubicBezTo>
                    <a:pt x="25" y="112"/>
                    <a:pt x="0" y="87"/>
                    <a:pt x="0" y="56"/>
                  </a:cubicBezTo>
                  <a:cubicBezTo>
                    <a:pt x="0" y="25"/>
                    <a:pt x="25" y="0"/>
                    <a:pt x="56" y="0"/>
                  </a:cubicBezTo>
                  <a:cubicBezTo>
                    <a:pt x="87" y="0"/>
                    <a:pt x="112" y="25"/>
                    <a:pt x="112" y="56"/>
                  </a:cubicBezTo>
                  <a:cubicBezTo>
                    <a:pt x="112" y="87"/>
                    <a:pt x="87" y="112"/>
                    <a:pt x="56" y="112"/>
                  </a:cubicBezTo>
                  <a:close/>
                  <a:moveTo>
                    <a:pt x="56" y="8"/>
                  </a:moveTo>
                  <a:cubicBezTo>
                    <a:pt x="30" y="8"/>
                    <a:pt x="8" y="30"/>
                    <a:pt x="8" y="56"/>
                  </a:cubicBezTo>
                  <a:cubicBezTo>
                    <a:pt x="8" y="83"/>
                    <a:pt x="30" y="104"/>
                    <a:pt x="56" y="104"/>
                  </a:cubicBezTo>
                  <a:cubicBezTo>
                    <a:pt x="82" y="104"/>
                    <a:pt x="104" y="83"/>
                    <a:pt x="104" y="56"/>
                  </a:cubicBezTo>
                  <a:cubicBezTo>
                    <a:pt x="104" y="30"/>
                    <a:pt x="82" y="8"/>
                    <a:pt x="56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97" name="Freeform 815">
              <a:extLst>
                <a:ext uri="{FF2B5EF4-FFF2-40B4-BE49-F238E27FC236}">
                  <a16:creationId xmlns:a16="http://schemas.microsoft.com/office/drawing/2014/main" id="{3C7C9D31-A155-5164-A8D4-B74FDDCE49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398375" y="3171825"/>
              <a:ext cx="61913" cy="61913"/>
            </a:xfrm>
            <a:custGeom>
              <a:avLst/>
              <a:gdLst>
                <a:gd name="T0" fmla="*/ 47 w 63"/>
                <a:gd name="T1" fmla="*/ 63 h 63"/>
                <a:gd name="T2" fmla="*/ 37 w 63"/>
                <a:gd name="T3" fmla="*/ 59 h 63"/>
                <a:gd name="T4" fmla="*/ 1 w 63"/>
                <a:gd name="T5" fmla="*/ 23 h 63"/>
                <a:gd name="T6" fmla="*/ 0 w 63"/>
                <a:gd name="T7" fmla="*/ 20 h 63"/>
                <a:gd name="T8" fmla="*/ 1 w 63"/>
                <a:gd name="T9" fmla="*/ 17 h 63"/>
                <a:gd name="T10" fmla="*/ 17 w 63"/>
                <a:gd name="T11" fmla="*/ 2 h 63"/>
                <a:gd name="T12" fmla="*/ 23 w 63"/>
                <a:gd name="T13" fmla="*/ 2 h 63"/>
                <a:gd name="T14" fmla="*/ 59 w 63"/>
                <a:gd name="T15" fmla="*/ 38 h 63"/>
                <a:gd name="T16" fmla="*/ 63 w 63"/>
                <a:gd name="T17" fmla="*/ 47 h 63"/>
                <a:gd name="T18" fmla="*/ 59 w 63"/>
                <a:gd name="T19" fmla="*/ 57 h 63"/>
                <a:gd name="T20" fmla="*/ 57 w 63"/>
                <a:gd name="T21" fmla="*/ 59 h 63"/>
                <a:gd name="T22" fmla="*/ 47 w 63"/>
                <a:gd name="T23" fmla="*/ 63 h 63"/>
                <a:gd name="T24" fmla="*/ 10 w 63"/>
                <a:gd name="T25" fmla="*/ 20 h 63"/>
                <a:gd name="T26" fmla="*/ 43 w 63"/>
                <a:gd name="T27" fmla="*/ 53 h 63"/>
                <a:gd name="T28" fmla="*/ 43 w 63"/>
                <a:gd name="T29" fmla="*/ 53 h 63"/>
                <a:gd name="T30" fmla="*/ 51 w 63"/>
                <a:gd name="T31" fmla="*/ 53 h 63"/>
                <a:gd name="T32" fmla="*/ 53 w 63"/>
                <a:gd name="T33" fmla="*/ 51 h 63"/>
                <a:gd name="T34" fmla="*/ 55 w 63"/>
                <a:gd name="T35" fmla="*/ 47 h 63"/>
                <a:gd name="T36" fmla="*/ 53 w 63"/>
                <a:gd name="T37" fmla="*/ 44 h 63"/>
                <a:gd name="T38" fmla="*/ 20 w 63"/>
                <a:gd name="T39" fmla="*/ 10 h 63"/>
                <a:gd name="T40" fmla="*/ 10 w 63"/>
                <a:gd name="T41" fmla="*/ 2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3" h="63">
                  <a:moveTo>
                    <a:pt x="47" y="63"/>
                  </a:moveTo>
                  <a:cubicBezTo>
                    <a:pt x="43" y="63"/>
                    <a:pt x="40" y="62"/>
                    <a:pt x="37" y="59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2"/>
                    <a:pt x="0" y="21"/>
                    <a:pt x="0" y="20"/>
                  </a:cubicBezTo>
                  <a:cubicBezTo>
                    <a:pt x="0" y="19"/>
                    <a:pt x="1" y="18"/>
                    <a:pt x="1" y="17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9" y="0"/>
                    <a:pt x="21" y="0"/>
                    <a:pt x="23" y="2"/>
                  </a:cubicBezTo>
                  <a:cubicBezTo>
                    <a:pt x="59" y="38"/>
                    <a:pt x="59" y="38"/>
                    <a:pt x="59" y="38"/>
                  </a:cubicBezTo>
                  <a:cubicBezTo>
                    <a:pt x="61" y="40"/>
                    <a:pt x="63" y="44"/>
                    <a:pt x="63" y="47"/>
                  </a:cubicBezTo>
                  <a:cubicBezTo>
                    <a:pt x="63" y="51"/>
                    <a:pt x="61" y="54"/>
                    <a:pt x="59" y="57"/>
                  </a:cubicBezTo>
                  <a:cubicBezTo>
                    <a:pt x="57" y="59"/>
                    <a:pt x="57" y="59"/>
                    <a:pt x="57" y="59"/>
                  </a:cubicBezTo>
                  <a:cubicBezTo>
                    <a:pt x="54" y="62"/>
                    <a:pt x="51" y="63"/>
                    <a:pt x="47" y="63"/>
                  </a:cubicBezTo>
                  <a:close/>
                  <a:moveTo>
                    <a:pt x="10" y="20"/>
                  </a:moveTo>
                  <a:cubicBezTo>
                    <a:pt x="43" y="53"/>
                    <a:pt x="43" y="53"/>
                    <a:pt x="43" y="53"/>
                  </a:cubicBezTo>
                  <a:cubicBezTo>
                    <a:pt x="43" y="53"/>
                    <a:pt x="43" y="53"/>
                    <a:pt x="43" y="53"/>
                  </a:cubicBezTo>
                  <a:cubicBezTo>
                    <a:pt x="45" y="55"/>
                    <a:pt x="49" y="55"/>
                    <a:pt x="51" y="53"/>
                  </a:cubicBezTo>
                  <a:cubicBezTo>
                    <a:pt x="53" y="51"/>
                    <a:pt x="53" y="51"/>
                    <a:pt x="53" y="51"/>
                  </a:cubicBezTo>
                  <a:cubicBezTo>
                    <a:pt x="54" y="50"/>
                    <a:pt x="55" y="49"/>
                    <a:pt x="55" y="47"/>
                  </a:cubicBezTo>
                  <a:cubicBezTo>
                    <a:pt x="55" y="46"/>
                    <a:pt x="54" y="45"/>
                    <a:pt x="53" y="44"/>
                  </a:cubicBezTo>
                  <a:cubicBezTo>
                    <a:pt x="20" y="10"/>
                    <a:pt x="20" y="10"/>
                    <a:pt x="20" y="10"/>
                  </a:cubicBezTo>
                  <a:lnTo>
                    <a:pt x="10" y="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98" name="Freeform 816">
              <a:extLst>
                <a:ext uri="{FF2B5EF4-FFF2-40B4-BE49-F238E27FC236}">
                  <a16:creationId xmlns:a16="http://schemas.microsoft.com/office/drawing/2014/main" id="{AB65C541-B81A-144B-D9C2-F3CF94B796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39638" y="3113088"/>
              <a:ext cx="38100" cy="38100"/>
            </a:xfrm>
            <a:custGeom>
              <a:avLst/>
              <a:gdLst>
                <a:gd name="T0" fmla="*/ 4 w 38"/>
                <a:gd name="T1" fmla="*/ 38 h 38"/>
                <a:gd name="T2" fmla="*/ 0 w 38"/>
                <a:gd name="T3" fmla="*/ 34 h 38"/>
                <a:gd name="T4" fmla="*/ 34 w 38"/>
                <a:gd name="T5" fmla="*/ 0 h 38"/>
                <a:gd name="T6" fmla="*/ 38 w 38"/>
                <a:gd name="T7" fmla="*/ 4 h 38"/>
                <a:gd name="T8" fmla="*/ 34 w 38"/>
                <a:gd name="T9" fmla="*/ 8 h 38"/>
                <a:gd name="T10" fmla="*/ 8 w 38"/>
                <a:gd name="T11" fmla="*/ 34 h 38"/>
                <a:gd name="T12" fmla="*/ 4 w 38"/>
                <a:gd name="T13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" h="38">
                  <a:moveTo>
                    <a:pt x="4" y="38"/>
                  </a:moveTo>
                  <a:cubicBezTo>
                    <a:pt x="2" y="38"/>
                    <a:pt x="0" y="37"/>
                    <a:pt x="0" y="34"/>
                  </a:cubicBezTo>
                  <a:cubicBezTo>
                    <a:pt x="0" y="15"/>
                    <a:pt x="15" y="0"/>
                    <a:pt x="34" y="0"/>
                  </a:cubicBezTo>
                  <a:cubicBezTo>
                    <a:pt x="36" y="0"/>
                    <a:pt x="38" y="2"/>
                    <a:pt x="38" y="4"/>
                  </a:cubicBezTo>
                  <a:cubicBezTo>
                    <a:pt x="38" y="6"/>
                    <a:pt x="36" y="8"/>
                    <a:pt x="34" y="8"/>
                  </a:cubicBezTo>
                  <a:cubicBezTo>
                    <a:pt x="20" y="8"/>
                    <a:pt x="8" y="20"/>
                    <a:pt x="8" y="34"/>
                  </a:cubicBezTo>
                  <a:cubicBezTo>
                    <a:pt x="8" y="37"/>
                    <a:pt x="6" y="38"/>
                    <a:pt x="4" y="3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99" name="Freeform 817">
              <a:extLst>
                <a:ext uri="{FF2B5EF4-FFF2-40B4-BE49-F238E27FC236}">
                  <a16:creationId xmlns:a16="http://schemas.microsoft.com/office/drawing/2014/main" id="{F6EFA402-90F5-B725-83AF-21A48C8F076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247563" y="3025775"/>
              <a:ext cx="282575" cy="228600"/>
            </a:xfrm>
            <a:custGeom>
              <a:avLst/>
              <a:gdLst>
                <a:gd name="T0" fmla="*/ 269 w 289"/>
                <a:gd name="T1" fmla="*/ 234 h 234"/>
                <a:gd name="T2" fmla="*/ 20 w 289"/>
                <a:gd name="T3" fmla="*/ 234 h 234"/>
                <a:gd name="T4" fmla="*/ 0 w 289"/>
                <a:gd name="T5" fmla="*/ 214 h 234"/>
                <a:gd name="T6" fmla="*/ 0 w 289"/>
                <a:gd name="T7" fmla="*/ 20 h 234"/>
                <a:gd name="T8" fmla="*/ 20 w 289"/>
                <a:gd name="T9" fmla="*/ 0 h 234"/>
                <a:gd name="T10" fmla="*/ 269 w 289"/>
                <a:gd name="T11" fmla="*/ 0 h 234"/>
                <a:gd name="T12" fmla="*/ 289 w 289"/>
                <a:gd name="T13" fmla="*/ 20 h 234"/>
                <a:gd name="T14" fmla="*/ 289 w 289"/>
                <a:gd name="T15" fmla="*/ 214 h 234"/>
                <a:gd name="T16" fmla="*/ 269 w 289"/>
                <a:gd name="T17" fmla="*/ 234 h 234"/>
                <a:gd name="T18" fmla="*/ 20 w 289"/>
                <a:gd name="T19" fmla="*/ 8 h 234"/>
                <a:gd name="T20" fmla="*/ 8 w 289"/>
                <a:gd name="T21" fmla="*/ 20 h 234"/>
                <a:gd name="T22" fmla="*/ 8 w 289"/>
                <a:gd name="T23" fmla="*/ 214 h 234"/>
                <a:gd name="T24" fmla="*/ 20 w 289"/>
                <a:gd name="T25" fmla="*/ 226 h 234"/>
                <a:gd name="T26" fmla="*/ 269 w 289"/>
                <a:gd name="T27" fmla="*/ 226 h 234"/>
                <a:gd name="T28" fmla="*/ 281 w 289"/>
                <a:gd name="T29" fmla="*/ 214 h 234"/>
                <a:gd name="T30" fmla="*/ 281 w 289"/>
                <a:gd name="T31" fmla="*/ 20 h 234"/>
                <a:gd name="T32" fmla="*/ 269 w 289"/>
                <a:gd name="T33" fmla="*/ 8 h 234"/>
                <a:gd name="T34" fmla="*/ 20 w 289"/>
                <a:gd name="T35" fmla="*/ 8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9" h="234">
                  <a:moveTo>
                    <a:pt x="269" y="234"/>
                  </a:moveTo>
                  <a:cubicBezTo>
                    <a:pt x="20" y="234"/>
                    <a:pt x="20" y="234"/>
                    <a:pt x="20" y="234"/>
                  </a:cubicBezTo>
                  <a:cubicBezTo>
                    <a:pt x="9" y="234"/>
                    <a:pt x="0" y="225"/>
                    <a:pt x="0" y="214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269" y="0"/>
                    <a:pt x="269" y="0"/>
                    <a:pt x="269" y="0"/>
                  </a:cubicBezTo>
                  <a:cubicBezTo>
                    <a:pt x="280" y="0"/>
                    <a:pt x="289" y="9"/>
                    <a:pt x="289" y="20"/>
                  </a:cubicBezTo>
                  <a:cubicBezTo>
                    <a:pt x="289" y="214"/>
                    <a:pt x="289" y="214"/>
                    <a:pt x="289" y="214"/>
                  </a:cubicBezTo>
                  <a:cubicBezTo>
                    <a:pt x="289" y="225"/>
                    <a:pt x="280" y="234"/>
                    <a:pt x="269" y="234"/>
                  </a:cubicBezTo>
                  <a:close/>
                  <a:moveTo>
                    <a:pt x="20" y="8"/>
                  </a:moveTo>
                  <a:cubicBezTo>
                    <a:pt x="13" y="8"/>
                    <a:pt x="8" y="14"/>
                    <a:pt x="8" y="20"/>
                  </a:cubicBezTo>
                  <a:cubicBezTo>
                    <a:pt x="8" y="214"/>
                    <a:pt x="8" y="214"/>
                    <a:pt x="8" y="214"/>
                  </a:cubicBezTo>
                  <a:cubicBezTo>
                    <a:pt x="8" y="221"/>
                    <a:pt x="13" y="226"/>
                    <a:pt x="20" y="226"/>
                  </a:cubicBezTo>
                  <a:cubicBezTo>
                    <a:pt x="269" y="226"/>
                    <a:pt x="269" y="226"/>
                    <a:pt x="269" y="226"/>
                  </a:cubicBezTo>
                  <a:cubicBezTo>
                    <a:pt x="276" y="226"/>
                    <a:pt x="281" y="221"/>
                    <a:pt x="281" y="214"/>
                  </a:cubicBezTo>
                  <a:cubicBezTo>
                    <a:pt x="281" y="20"/>
                    <a:pt x="281" y="20"/>
                    <a:pt x="281" y="20"/>
                  </a:cubicBezTo>
                  <a:cubicBezTo>
                    <a:pt x="281" y="14"/>
                    <a:pt x="276" y="8"/>
                    <a:pt x="269" y="8"/>
                  </a:cubicBezTo>
                  <a:lnTo>
                    <a:pt x="20" y="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00" name="Freeform 818">
              <a:extLst>
                <a:ext uri="{FF2B5EF4-FFF2-40B4-BE49-F238E27FC236}">
                  <a16:creationId xmlns:a16="http://schemas.microsoft.com/office/drawing/2014/main" id="{E65AFA99-A3A1-BF59-BF86-B3D31F58CF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247563" y="3025775"/>
              <a:ext cx="282575" cy="50800"/>
            </a:xfrm>
            <a:custGeom>
              <a:avLst/>
              <a:gdLst>
                <a:gd name="T0" fmla="*/ 285 w 289"/>
                <a:gd name="T1" fmla="*/ 52 h 52"/>
                <a:gd name="T2" fmla="*/ 4 w 289"/>
                <a:gd name="T3" fmla="*/ 52 h 52"/>
                <a:gd name="T4" fmla="*/ 0 w 289"/>
                <a:gd name="T5" fmla="*/ 48 h 52"/>
                <a:gd name="T6" fmla="*/ 0 w 289"/>
                <a:gd name="T7" fmla="*/ 18 h 52"/>
                <a:gd name="T8" fmla="*/ 18 w 289"/>
                <a:gd name="T9" fmla="*/ 0 h 52"/>
                <a:gd name="T10" fmla="*/ 271 w 289"/>
                <a:gd name="T11" fmla="*/ 0 h 52"/>
                <a:gd name="T12" fmla="*/ 289 w 289"/>
                <a:gd name="T13" fmla="*/ 18 h 52"/>
                <a:gd name="T14" fmla="*/ 289 w 289"/>
                <a:gd name="T15" fmla="*/ 48 h 52"/>
                <a:gd name="T16" fmla="*/ 285 w 289"/>
                <a:gd name="T17" fmla="*/ 52 h 52"/>
                <a:gd name="T18" fmla="*/ 8 w 289"/>
                <a:gd name="T19" fmla="*/ 44 h 52"/>
                <a:gd name="T20" fmla="*/ 281 w 289"/>
                <a:gd name="T21" fmla="*/ 44 h 52"/>
                <a:gd name="T22" fmla="*/ 281 w 289"/>
                <a:gd name="T23" fmla="*/ 18 h 52"/>
                <a:gd name="T24" fmla="*/ 271 w 289"/>
                <a:gd name="T25" fmla="*/ 8 h 52"/>
                <a:gd name="T26" fmla="*/ 18 w 289"/>
                <a:gd name="T27" fmla="*/ 8 h 52"/>
                <a:gd name="T28" fmla="*/ 8 w 289"/>
                <a:gd name="T29" fmla="*/ 18 h 52"/>
                <a:gd name="T30" fmla="*/ 8 w 289"/>
                <a:gd name="T31" fmla="*/ 44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9" h="52">
                  <a:moveTo>
                    <a:pt x="285" y="52"/>
                  </a:moveTo>
                  <a:cubicBezTo>
                    <a:pt x="4" y="52"/>
                    <a:pt x="4" y="52"/>
                    <a:pt x="4" y="52"/>
                  </a:cubicBezTo>
                  <a:cubicBezTo>
                    <a:pt x="2" y="52"/>
                    <a:pt x="0" y="50"/>
                    <a:pt x="0" y="4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71" y="0"/>
                    <a:pt x="271" y="0"/>
                    <a:pt x="271" y="0"/>
                  </a:cubicBezTo>
                  <a:cubicBezTo>
                    <a:pt x="281" y="0"/>
                    <a:pt x="289" y="8"/>
                    <a:pt x="289" y="18"/>
                  </a:cubicBezTo>
                  <a:cubicBezTo>
                    <a:pt x="289" y="48"/>
                    <a:pt x="289" y="48"/>
                    <a:pt x="289" y="48"/>
                  </a:cubicBezTo>
                  <a:cubicBezTo>
                    <a:pt x="289" y="50"/>
                    <a:pt x="287" y="52"/>
                    <a:pt x="285" y="52"/>
                  </a:cubicBezTo>
                  <a:close/>
                  <a:moveTo>
                    <a:pt x="8" y="44"/>
                  </a:moveTo>
                  <a:cubicBezTo>
                    <a:pt x="281" y="44"/>
                    <a:pt x="281" y="44"/>
                    <a:pt x="281" y="44"/>
                  </a:cubicBezTo>
                  <a:cubicBezTo>
                    <a:pt x="281" y="18"/>
                    <a:pt x="281" y="18"/>
                    <a:pt x="281" y="18"/>
                  </a:cubicBezTo>
                  <a:cubicBezTo>
                    <a:pt x="281" y="13"/>
                    <a:pt x="277" y="8"/>
                    <a:pt x="271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2" y="8"/>
                    <a:pt x="8" y="13"/>
                    <a:pt x="8" y="18"/>
                  </a:cubicBezTo>
                  <a:lnTo>
                    <a:pt x="8" y="4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01" name="Freeform 819">
              <a:extLst>
                <a:ext uri="{FF2B5EF4-FFF2-40B4-BE49-F238E27FC236}">
                  <a16:creationId xmlns:a16="http://schemas.microsoft.com/office/drawing/2014/main" id="{1F921D82-9835-CE01-B466-D6ABA6CB3DF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68200" y="3046413"/>
              <a:ext cx="7938" cy="7938"/>
            </a:xfrm>
            <a:custGeom>
              <a:avLst/>
              <a:gdLst>
                <a:gd name="T0" fmla="*/ 4 w 8"/>
                <a:gd name="T1" fmla="*/ 8 h 8"/>
                <a:gd name="T2" fmla="*/ 3 w 8"/>
                <a:gd name="T3" fmla="*/ 8 h 8"/>
                <a:gd name="T4" fmla="*/ 2 w 8"/>
                <a:gd name="T5" fmla="*/ 8 h 8"/>
                <a:gd name="T6" fmla="*/ 1 w 8"/>
                <a:gd name="T7" fmla="*/ 8 h 8"/>
                <a:gd name="T8" fmla="*/ 1 w 8"/>
                <a:gd name="T9" fmla="*/ 7 h 8"/>
                <a:gd name="T10" fmla="*/ 0 w 8"/>
                <a:gd name="T11" fmla="*/ 6 h 8"/>
                <a:gd name="T12" fmla="*/ 0 w 8"/>
                <a:gd name="T13" fmla="*/ 6 h 8"/>
                <a:gd name="T14" fmla="*/ 0 w 8"/>
                <a:gd name="T15" fmla="*/ 5 h 8"/>
                <a:gd name="T16" fmla="*/ 0 w 8"/>
                <a:gd name="T17" fmla="*/ 4 h 8"/>
                <a:gd name="T18" fmla="*/ 1 w 8"/>
                <a:gd name="T19" fmla="*/ 1 h 8"/>
                <a:gd name="T20" fmla="*/ 1 w 8"/>
                <a:gd name="T21" fmla="*/ 1 h 8"/>
                <a:gd name="T22" fmla="*/ 2 w 8"/>
                <a:gd name="T23" fmla="*/ 0 h 8"/>
                <a:gd name="T24" fmla="*/ 3 w 8"/>
                <a:gd name="T25" fmla="*/ 0 h 8"/>
                <a:gd name="T26" fmla="*/ 7 w 8"/>
                <a:gd name="T27" fmla="*/ 1 h 8"/>
                <a:gd name="T28" fmla="*/ 8 w 8"/>
                <a:gd name="T29" fmla="*/ 4 h 8"/>
                <a:gd name="T30" fmla="*/ 8 w 8"/>
                <a:gd name="T31" fmla="*/ 5 h 8"/>
                <a:gd name="T32" fmla="*/ 8 w 8"/>
                <a:gd name="T33" fmla="*/ 6 h 8"/>
                <a:gd name="T34" fmla="*/ 7 w 8"/>
                <a:gd name="T35" fmla="*/ 6 h 8"/>
                <a:gd name="T36" fmla="*/ 7 w 8"/>
                <a:gd name="T37" fmla="*/ 7 h 8"/>
                <a:gd name="T38" fmla="*/ 4 w 8"/>
                <a:gd name="T3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" h="8">
                  <a:moveTo>
                    <a:pt x="4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8"/>
                    <a:pt x="2" y="8"/>
                    <a:pt x="2" y="8"/>
                  </a:cubicBezTo>
                  <a:cubicBezTo>
                    <a:pt x="2" y="8"/>
                    <a:pt x="2" y="8"/>
                    <a:pt x="1" y="8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7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2" y="1"/>
                    <a:pt x="2" y="0"/>
                    <a:pt x="2" y="0"/>
                  </a:cubicBezTo>
                  <a:cubicBezTo>
                    <a:pt x="2" y="0"/>
                    <a:pt x="3" y="0"/>
                    <a:pt x="3" y="0"/>
                  </a:cubicBezTo>
                  <a:cubicBezTo>
                    <a:pt x="4" y="0"/>
                    <a:pt x="6" y="0"/>
                    <a:pt x="7" y="1"/>
                  </a:cubicBezTo>
                  <a:cubicBezTo>
                    <a:pt x="7" y="2"/>
                    <a:pt x="8" y="3"/>
                    <a:pt x="8" y="4"/>
                  </a:cubicBezTo>
                  <a:cubicBezTo>
                    <a:pt x="8" y="4"/>
                    <a:pt x="8" y="5"/>
                    <a:pt x="8" y="5"/>
                  </a:cubicBezTo>
                  <a:cubicBezTo>
                    <a:pt x="8" y="5"/>
                    <a:pt x="8" y="5"/>
                    <a:pt x="8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6" y="8"/>
                    <a:pt x="5" y="8"/>
                    <a:pt x="4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02" name="Freeform 820">
              <a:extLst>
                <a:ext uri="{FF2B5EF4-FFF2-40B4-BE49-F238E27FC236}">
                  <a16:creationId xmlns:a16="http://schemas.microsoft.com/office/drawing/2014/main" id="{AD2163D8-0390-DE91-E579-AED69366D9C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01538" y="3046413"/>
              <a:ext cx="9525" cy="7938"/>
            </a:xfrm>
            <a:custGeom>
              <a:avLst/>
              <a:gdLst>
                <a:gd name="T0" fmla="*/ 4 w 9"/>
                <a:gd name="T1" fmla="*/ 8 h 8"/>
                <a:gd name="T2" fmla="*/ 4 w 9"/>
                <a:gd name="T3" fmla="*/ 8 h 8"/>
                <a:gd name="T4" fmla="*/ 3 w 9"/>
                <a:gd name="T5" fmla="*/ 8 h 8"/>
                <a:gd name="T6" fmla="*/ 2 w 9"/>
                <a:gd name="T7" fmla="*/ 8 h 8"/>
                <a:gd name="T8" fmla="*/ 2 w 9"/>
                <a:gd name="T9" fmla="*/ 7 h 8"/>
                <a:gd name="T10" fmla="*/ 1 w 9"/>
                <a:gd name="T11" fmla="*/ 6 h 8"/>
                <a:gd name="T12" fmla="*/ 1 w 9"/>
                <a:gd name="T13" fmla="*/ 6 h 8"/>
                <a:gd name="T14" fmla="*/ 0 w 9"/>
                <a:gd name="T15" fmla="*/ 5 h 8"/>
                <a:gd name="T16" fmla="*/ 0 w 9"/>
                <a:gd name="T17" fmla="*/ 4 h 8"/>
                <a:gd name="T18" fmla="*/ 0 w 9"/>
                <a:gd name="T19" fmla="*/ 3 h 8"/>
                <a:gd name="T20" fmla="*/ 1 w 9"/>
                <a:gd name="T21" fmla="*/ 3 h 8"/>
                <a:gd name="T22" fmla="*/ 1 w 9"/>
                <a:gd name="T23" fmla="*/ 2 h 8"/>
                <a:gd name="T24" fmla="*/ 2 w 9"/>
                <a:gd name="T25" fmla="*/ 1 h 8"/>
                <a:gd name="T26" fmla="*/ 5 w 9"/>
                <a:gd name="T27" fmla="*/ 0 h 8"/>
                <a:gd name="T28" fmla="*/ 6 w 9"/>
                <a:gd name="T29" fmla="*/ 0 h 8"/>
                <a:gd name="T30" fmla="*/ 7 w 9"/>
                <a:gd name="T31" fmla="*/ 1 h 8"/>
                <a:gd name="T32" fmla="*/ 7 w 9"/>
                <a:gd name="T33" fmla="*/ 1 h 8"/>
                <a:gd name="T34" fmla="*/ 8 w 9"/>
                <a:gd name="T35" fmla="*/ 2 h 8"/>
                <a:gd name="T36" fmla="*/ 8 w 9"/>
                <a:gd name="T37" fmla="*/ 3 h 8"/>
                <a:gd name="T38" fmla="*/ 8 w 9"/>
                <a:gd name="T39" fmla="*/ 3 h 8"/>
                <a:gd name="T40" fmla="*/ 9 w 9"/>
                <a:gd name="T41" fmla="*/ 4 h 8"/>
                <a:gd name="T42" fmla="*/ 7 w 9"/>
                <a:gd name="T43" fmla="*/ 7 h 8"/>
                <a:gd name="T44" fmla="*/ 4 w 9"/>
                <a:gd name="T4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" h="8">
                  <a:moveTo>
                    <a:pt x="4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8"/>
                    <a:pt x="2" y="8"/>
                    <a:pt x="2" y="8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1" y="7"/>
                    <a:pt x="1" y="7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5"/>
                    <a:pt x="0" y="5"/>
                    <a:pt x="0" y="5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0" y="4"/>
                    <a:pt x="0" y="4"/>
                    <a:pt x="0" y="3"/>
                  </a:cubicBezTo>
                  <a:cubicBezTo>
                    <a:pt x="0" y="3"/>
                    <a:pt x="1" y="3"/>
                    <a:pt x="1" y="3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1"/>
                    <a:pt x="2" y="1"/>
                  </a:cubicBezTo>
                  <a:cubicBezTo>
                    <a:pt x="2" y="0"/>
                    <a:pt x="4" y="0"/>
                    <a:pt x="5" y="0"/>
                  </a:cubicBezTo>
                  <a:cubicBezTo>
                    <a:pt x="5" y="0"/>
                    <a:pt x="6" y="0"/>
                    <a:pt x="6" y="0"/>
                  </a:cubicBezTo>
                  <a:cubicBezTo>
                    <a:pt x="6" y="0"/>
                    <a:pt x="6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8" y="1"/>
                    <a:pt x="8" y="2"/>
                    <a:pt x="8" y="2"/>
                  </a:cubicBezTo>
                  <a:cubicBezTo>
                    <a:pt x="8" y="2"/>
                    <a:pt x="8" y="2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5"/>
                    <a:pt x="8" y="6"/>
                    <a:pt x="7" y="7"/>
                  </a:cubicBezTo>
                  <a:cubicBezTo>
                    <a:pt x="7" y="8"/>
                    <a:pt x="6" y="8"/>
                    <a:pt x="4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03" name="Freeform 821">
              <a:extLst>
                <a:ext uri="{FF2B5EF4-FFF2-40B4-BE49-F238E27FC236}">
                  <a16:creationId xmlns:a16="http://schemas.microsoft.com/office/drawing/2014/main" id="{271144BF-BE32-6CA8-B559-4E06BD358A8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85663" y="3046413"/>
              <a:ext cx="7938" cy="7938"/>
            </a:xfrm>
            <a:custGeom>
              <a:avLst/>
              <a:gdLst>
                <a:gd name="T0" fmla="*/ 4 w 8"/>
                <a:gd name="T1" fmla="*/ 8 h 8"/>
                <a:gd name="T2" fmla="*/ 3 w 8"/>
                <a:gd name="T3" fmla="*/ 8 h 8"/>
                <a:gd name="T4" fmla="*/ 3 w 8"/>
                <a:gd name="T5" fmla="*/ 8 h 8"/>
                <a:gd name="T6" fmla="*/ 2 w 8"/>
                <a:gd name="T7" fmla="*/ 8 h 8"/>
                <a:gd name="T8" fmla="*/ 1 w 8"/>
                <a:gd name="T9" fmla="*/ 7 h 8"/>
                <a:gd name="T10" fmla="*/ 1 w 8"/>
                <a:gd name="T11" fmla="*/ 6 h 8"/>
                <a:gd name="T12" fmla="*/ 0 w 8"/>
                <a:gd name="T13" fmla="*/ 6 h 8"/>
                <a:gd name="T14" fmla="*/ 0 w 8"/>
                <a:gd name="T15" fmla="*/ 5 h 8"/>
                <a:gd name="T16" fmla="*/ 0 w 8"/>
                <a:gd name="T17" fmla="*/ 4 h 8"/>
                <a:gd name="T18" fmla="*/ 0 w 8"/>
                <a:gd name="T19" fmla="*/ 3 h 8"/>
                <a:gd name="T20" fmla="*/ 0 w 8"/>
                <a:gd name="T21" fmla="*/ 3 h 8"/>
                <a:gd name="T22" fmla="*/ 1 w 8"/>
                <a:gd name="T23" fmla="*/ 2 h 8"/>
                <a:gd name="T24" fmla="*/ 1 w 8"/>
                <a:gd name="T25" fmla="*/ 1 h 8"/>
                <a:gd name="T26" fmla="*/ 7 w 8"/>
                <a:gd name="T27" fmla="*/ 1 h 8"/>
                <a:gd name="T28" fmla="*/ 8 w 8"/>
                <a:gd name="T29" fmla="*/ 2 h 8"/>
                <a:gd name="T30" fmla="*/ 8 w 8"/>
                <a:gd name="T31" fmla="*/ 3 h 8"/>
                <a:gd name="T32" fmla="*/ 8 w 8"/>
                <a:gd name="T33" fmla="*/ 3 h 8"/>
                <a:gd name="T34" fmla="*/ 8 w 8"/>
                <a:gd name="T35" fmla="*/ 4 h 8"/>
                <a:gd name="T36" fmla="*/ 8 w 8"/>
                <a:gd name="T37" fmla="*/ 5 h 8"/>
                <a:gd name="T38" fmla="*/ 8 w 8"/>
                <a:gd name="T39" fmla="*/ 6 h 8"/>
                <a:gd name="T40" fmla="*/ 8 w 8"/>
                <a:gd name="T41" fmla="*/ 6 h 8"/>
                <a:gd name="T42" fmla="*/ 7 w 8"/>
                <a:gd name="T43" fmla="*/ 7 h 8"/>
                <a:gd name="T44" fmla="*/ 4 w 8"/>
                <a:gd name="T4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" h="8">
                  <a:moveTo>
                    <a:pt x="4" y="8"/>
                  </a:moveTo>
                  <a:cubicBezTo>
                    <a:pt x="4" y="8"/>
                    <a:pt x="4" y="8"/>
                    <a:pt x="3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7"/>
                    <a:pt x="1" y="7"/>
                    <a:pt x="1" y="7"/>
                  </a:cubicBezTo>
                  <a:cubicBezTo>
                    <a:pt x="1" y="7"/>
                    <a:pt x="1" y="7"/>
                    <a:pt x="1" y="6"/>
                  </a:cubicBezTo>
                  <a:cubicBezTo>
                    <a:pt x="1" y="6"/>
                    <a:pt x="0" y="6"/>
                    <a:pt x="0" y="6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0" y="4"/>
                    <a:pt x="0" y="4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2"/>
                    <a:pt x="1" y="2"/>
                  </a:cubicBezTo>
                  <a:cubicBezTo>
                    <a:pt x="1" y="2"/>
                    <a:pt x="1" y="1"/>
                    <a:pt x="1" y="1"/>
                  </a:cubicBezTo>
                  <a:cubicBezTo>
                    <a:pt x="3" y="0"/>
                    <a:pt x="5" y="0"/>
                    <a:pt x="7" y="1"/>
                  </a:cubicBezTo>
                  <a:cubicBezTo>
                    <a:pt x="7" y="1"/>
                    <a:pt x="7" y="2"/>
                    <a:pt x="8" y="2"/>
                  </a:cubicBezTo>
                  <a:cubicBezTo>
                    <a:pt x="8" y="2"/>
                    <a:pt x="8" y="2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4"/>
                    <a:pt x="8" y="5"/>
                    <a:pt x="8" y="5"/>
                  </a:cubicBezTo>
                  <a:cubicBezTo>
                    <a:pt x="8" y="5"/>
                    <a:pt x="8" y="5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6" y="8"/>
                    <a:pt x="5" y="8"/>
                    <a:pt x="4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04" name="Freeform 822">
              <a:extLst>
                <a:ext uri="{FF2B5EF4-FFF2-40B4-BE49-F238E27FC236}">
                  <a16:creationId xmlns:a16="http://schemas.microsoft.com/office/drawing/2014/main" id="{B2E069C7-4A37-D316-3021-D3AB4FAE8F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80900" y="3246438"/>
              <a:ext cx="215900" cy="7938"/>
            </a:xfrm>
            <a:custGeom>
              <a:avLst/>
              <a:gdLst>
                <a:gd name="T0" fmla="*/ 215 w 219"/>
                <a:gd name="T1" fmla="*/ 8 h 8"/>
                <a:gd name="T2" fmla="*/ 4 w 219"/>
                <a:gd name="T3" fmla="*/ 8 h 8"/>
                <a:gd name="T4" fmla="*/ 0 w 219"/>
                <a:gd name="T5" fmla="*/ 4 h 8"/>
                <a:gd name="T6" fmla="*/ 4 w 219"/>
                <a:gd name="T7" fmla="*/ 0 h 8"/>
                <a:gd name="T8" fmla="*/ 215 w 219"/>
                <a:gd name="T9" fmla="*/ 0 h 8"/>
                <a:gd name="T10" fmla="*/ 219 w 219"/>
                <a:gd name="T11" fmla="*/ 4 h 8"/>
                <a:gd name="T12" fmla="*/ 215 w 219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9" h="8">
                  <a:moveTo>
                    <a:pt x="215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15" y="0"/>
                    <a:pt x="215" y="0"/>
                    <a:pt x="215" y="0"/>
                  </a:cubicBezTo>
                  <a:cubicBezTo>
                    <a:pt x="217" y="0"/>
                    <a:pt x="219" y="2"/>
                    <a:pt x="219" y="4"/>
                  </a:cubicBezTo>
                  <a:cubicBezTo>
                    <a:pt x="219" y="6"/>
                    <a:pt x="217" y="8"/>
                    <a:pt x="215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605" name="Shape3_20200717_142313">
            <a:extLst>
              <a:ext uri="{FF2B5EF4-FFF2-40B4-BE49-F238E27FC236}">
                <a16:creationId xmlns:a16="http://schemas.microsoft.com/office/drawing/2014/main" id="{03F04D63-2107-0D9E-64B1-6C079F358FED}"/>
              </a:ext>
            </a:extLst>
          </p:cNvPr>
          <p:cNvGrpSpPr>
            <a:grpSpLocks noChangeAspect="1"/>
          </p:cNvGrpSpPr>
          <p:nvPr/>
        </p:nvGrpSpPr>
        <p:grpSpPr>
          <a:xfrm>
            <a:off x="4525944" y="2552007"/>
            <a:ext cx="528994" cy="554188"/>
            <a:chOff x="12272963" y="3590925"/>
            <a:chExt cx="233362" cy="244476"/>
          </a:xfrm>
          <a:solidFill>
            <a:schemeClr val="accent1"/>
          </a:solidFill>
        </p:grpSpPr>
        <p:sp>
          <p:nvSpPr>
            <p:cNvPr id="606" name="Freeform 823">
              <a:extLst>
                <a:ext uri="{FF2B5EF4-FFF2-40B4-BE49-F238E27FC236}">
                  <a16:creationId xmlns:a16="http://schemas.microsoft.com/office/drawing/2014/main" id="{CF285BBF-5A69-165A-FAEB-2D0F5BE35B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365038" y="3668713"/>
              <a:ext cx="109538" cy="109538"/>
            </a:xfrm>
            <a:custGeom>
              <a:avLst/>
              <a:gdLst>
                <a:gd name="T0" fmla="*/ 56 w 112"/>
                <a:gd name="T1" fmla="*/ 112 h 112"/>
                <a:gd name="T2" fmla="*/ 0 w 112"/>
                <a:gd name="T3" fmla="*/ 56 h 112"/>
                <a:gd name="T4" fmla="*/ 56 w 112"/>
                <a:gd name="T5" fmla="*/ 0 h 112"/>
                <a:gd name="T6" fmla="*/ 112 w 112"/>
                <a:gd name="T7" fmla="*/ 56 h 112"/>
                <a:gd name="T8" fmla="*/ 56 w 112"/>
                <a:gd name="T9" fmla="*/ 112 h 112"/>
                <a:gd name="T10" fmla="*/ 56 w 112"/>
                <a:gd name="T11" fmla="*/ 8 h 112"/>
                <a:gd name="T12" fmla="*/ 8 w 112"/>
                <a:gd name="T13" fmla="*/ 56 h 112"/>
                <a:gd name="T14" fmla="*/ 56 w 112"/>
                <a:gd name="T15" fmla="*/ 103 h 112"/>
                <a:gd name="T16" fmla="*/ 104 w 112"/>
                <a:gd name="T17" fmla="*/ 56 h 112"/>
                <a:gd name="T18" fmla="*/ 56 w 112"/>
                <a:gd name="T19" fmla="*/ 8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2" h="112">
                  <a:moveTo>
                    <a:pt x="56" y="112"/>
                  </a:moveTo>
                  <a:cubicBezTo>
                    <a:pt x="25" y="112"/>
                    <a:pt x="0" y="87"/>
                    <a:pt x="0" y="56"/>
                  </a:cubicBezTo>
                  <a:cubicBezTo>
                    <a:pt x="0" y="25"/>
                    <a:pt x="25" y="0"/>
                    <a:pt x="56" y="0"/>
                  </a:cubicBezTo>
                  <a:cubicBezTo>
                    <a:pt x="87" y="0"/>
                    <a:pt x="112" y="25"/>
                    <a:pt x="112" y="56"/>
                  </a:cubicBezTo>
                  <a:cubicBezTo>
                    <a:pt x="112" y="87"/>
                    <a:pt x="87" y="112"/>
                    <a:pt x="56" y="112"/>
                  </a:cubicBezTo>
                  <a:close/>
                  <a:moveTo>
                    <a:pt x="56" y="8"/>
                  </a:moveTo>
                  <a:cubicBezTo>
                    <a:pt x="30" y="8"/>
                    <a:pt x="8" y="29"/>
                    <a:pt x="8" y="56"/>
                  </a:cubicBezTo>
                  <a:cubicBezTo>
                    <a:pt x="8" y="82"/>
                    <a:pt x="30" y="103"/>
                    <a:pt x="56" y="103"/>
                  </a:cubicBezTo>
                  <a:cubicBezTo>
                    <a:pt x="83" y="103"/>
                    <a:pt x="104" y="82"/>
                    <a:pt x="104" y="56"/>
                  </a:cubicBezTo>
                  <a:cubicBezTo>
                    <a:pt x="104" y="29"/>
                    <a:pt x="83" y="8"/>
                    <a:pt x="56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07" name="Freeform 824">
              <a:extLst>
                <a:ext uri="{FF2B5EF4-FFF2-40B4-BE49-F238E27FC236}">
                  <a16:creationId xmlns:a16="http://schemas.microsoft.com/office/drawing/2014/main" id="{8BF96B40-CBB8-603E-0F14-E0292E30C37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446000" y="3749675"/>
              <a:ext cx="60325" cy="58738"/>
            </a:xfrm>
            <a:custGeom>
              <a:avLst/>
              <a:gdLst>
                <a:gd name="T0" fmla="*/ 48 w 61"/>
                <a:gd name="T1" fmla="*/ 59 h 59"/>
                <a:gd name="T2" fmla="*/ 39 w 61"/>
                <a:gd name="T3" fmla="*/ 55 h 59"/>
                <a:gd name="T4" fmla="*/ 39 w 61"/>
                <a:gd name="T5" fmla="*/ 55 h 59"/>
                <a:gd name="T6" fmla="*/ 39 w 61"/>
                <a:gd name="T7" fmla="*/ 55 h 59"/>
                <a:gd name="T8" fmla="*/ 2 w 61"/>
                <a:gd name="T9" fmla="*/ 18 h 59"/>
                <a:gd name="T10" fmla="*/ 2 w 61"/>
                <a:gd name="T11" fmla="*/ 12 h 59"/>
                <a:gd name="T12" fmla="*/ 13 w 61"/>
                <a:gd name="T13" fmla="*/ 1 h 59"/>
                <a:gd name="T14" fmla="*/ 19 w 61"/>
                <a:gd name="T15" fmla="*/ 1 h 59"/>
                <a:gd name="T16" fmla="*/ 56 w 61"/>
                <a:gd name="T17" fmla="*/ 39 h 59"/>
                <a:gd name="T18" fmla="*/ 56 w 61"/>
                <a:gd name="T19" fmla="*/ 55 h 59"/>
                <a:gd name="T20" fmla="*/ 48 w 61"/>
                <a:gd name="T21" fmla="*/ 59 h 59"/>
                <a:gd name="T22" fmla="*/ 11 w 61"/>
                <a:gd name="T23" fmla="*/ 15 h 59"/>
                <a:gd name="T24" fmla="*/ 45 w 61"/>
                <a:gd name="T25" fmla="*/ 50 h 59"/>
                <a:gd name="T26" fmla="*/ 45 w 61"/>
                <a:gd name="T27" fmla="*/ 50 h 59"/>
                <a:gd name="T28" fmla="*/ 50 w 61"/>
                <a:gd name="T29" fmla="*/ 50 h 59"/>
                <a:gd name="T30" fmla="*/ 50 w 61"/>
                <a:gd name="T31" fmla="*/ 44 h 59"/>
                <a:gd name="T32" fmla="*/ 16 w 61"/>
                <a:gd name="T33" fmla="*/ 10 h 59"/>
                <a:gd name="T34" fmla="*/ 11 w 61"/>
                <a:gd name="T35" fmla="*/ 15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1" h="59">
                  <a:moveTo>
                    <a:pt x="48" y="59"/>
                  </a:moveTo>
                  <a:cubicBezTo>
                    <a:pt x="44" y="59"/>
                    <a:pt x="41" y="58"/>
                    <a:pt x="39" y="55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0" y="17"/>
                    <a:pt x="0" y="14"/>
                    <a:pt x="2" y="12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5" y="0"/>
                    <a:pt x="17" y="0"/>
                    <a:pt x="19" y="1"/>
                  </a:cubicBezTo>
                  <a:cubicBezTo>
                    <a:pt x="56" y="39"/>
                    <a:pt x="56" y="39"/>
                    <a:pt x="56" y="39"/>
                  </a:cubicBezTo>
                  <a:cubicBezTo>
                    <a:pt x="61" y="43"/>
                    <a:pt x="61" y="51"/>
                    <a:pt x="56" y="55"/>
                  </a:cubicBezTo>
                  <a:cubicBezTo>
                    <a:pt x="54" y="58"/>
                    <a:pt x="51" y="59"/>
                    <a:pt x="48" y="59"/>
                  </a:cubicBezTo>
                  <a:close/>
                  <a:moveTo>
                    <a:pt x="11" y="15"/>
                  </a:moveTo>
                  <a:cubicBezTo>
                    <a:pt x="45" y="50"/>
                    <a:pt x="45" y="50"/>
                    <a:pt x="45" y="50"/>
                  </a:cubicBezTo>
                  <a:cubicBezTo>
                    <a:pt x="45" y="50"/>
                    <a:pt x="45" y="50"/>
                    <a:pt x="45" y="50"/>
                  </a:cubicBezTo>
                  <a:cubicBezTo>
                    <a:pt x="46" y="51"/>
                    <a:pt x="49" y="51"/>
                    <a:pt x="50" y="50"/>
                  </a:cubicBezTo>
                  <a:cubicBezTo>
                    <a:pt x="52" y="48"/>
                    <a:pt x="52" y="46"/>
                    <a:pt x="50" y="44"/>
                  </a:cubicBezTo>
                  <a:cubicBezTo>
                    <a:pt x="16" y="10"/>
                    <a:pt x="16" y="10"/>
                    <a:pt x="16" y="10"/>
                  </a:cubicBezTo>
                  <a:lnTo>
                    <a:pt x="11" y="1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08" name="Freeform 825">
              <a:extLst>
                <a:ext uri="{FF2B5EF4-FFF2-40B4-BE49-F238E27FC236}">
                  <a16:creationId xmlns:a16="http://schemas.microsoft.com/office/drawing/2014/main" id="{2B861F8C-4E20-DD92-5123-6DF62AF781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09475" y="3657600"/>
              <a:ext cx="34925" cy="26988"/>
            </a:xfrm>
            <a:custGeom>
              <a:avLst/>
              <a:gdLst>
                <a:gd name="T0" fmla="*/ 14 w 37"/>
                <a:gd name="T1" fmla="*/ 28 h 28"/>
                <a:gd name="T2" fmla="*/ 11 w 37"/>
                <a:gd name="T3" fmla="*/ 26 h 28"/>
                <a:gd name="T4" fmla="*/ 1 w 37"/>
                <a:gd name="T5" fmla="*/ 17 h 28"/>
                <a:gd name="T6" fmla="*/ 1 w 37"/>
                <a:gd name="T7" fmla="*/ 11 h 28"/>
                <a:gd name="T8" fmla="*/ 7 w 37"/>
                <a:gd name="T9" fmla="*/ 11 h 28"/>
                <a:gd name="T10" fmla="*/ 14 w 37"/>
                <a:gd name="T11" fmla="*/ 18 h 28"/>
                <a:gd name="T12" fmla="*/ 29 w 37"/>
                <a:gd name="T13" fmla="*/ 2 h 28"/>
                <a:gd name="T14" fmla="*/ 35 w 37"/>
                <a:gd name="T15" fmla="*/ 2 h 28"/>
                <a:gd name="T16" fmla="*/ 35 w 37"/>
                <a:gd name="T17" fmla="*/ 8 h 28"/>
                <a:gd name="T18" fmla="*/ 16 w 37"/>
                <a:gd name="T19" fmla="*/ 26 h 28"/>
                <a:gd name="T20" fmla="*/ 14 w 37"/>
                <a:gd name="T2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7" h="28">
                  <a:moveTo>
                    <a:pt x="14" y="28"/>
                  </a:moveTo>
                  <a:cubicBezTo>
                    <a:pt x="12" y="28"/>
                    <a:pt x="11" y="27"/>
                    <a:pt x="11" y="26"/>
                  </a:cubicBezTo>
                  <a:cubicBezTo>
                    <a:pt x="1" y="17"/>
                    <a:pt x="1" y="17"/>
                    <a:pt x="1" y="17"/>
                  </a:cubicBezTo>
                  <a:cubicBezTo>
                    <a:pt x="0" y="15"/>
                    <a:pt x="0" y="13"/>
                    <a:pt x="1" y="11"/>
                  </a:cubicBezTo>
                  <a:cubicBezTo>
                    <a:pt x="3" y="9"/>
                    <a:pt x="5" y="9"/>
                    <a:pt x="7" y="11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1" y="0"/>
                    <a:pt x="34" y="0"/>
                    <a:pt x="35" y="2"/>
                  </a:cubicBezTo>
                  <a:cubicBezTo>
                    <a:pt x="37" y="3"/>
                    <a:pt x="37" y="6"/>
                    <a:pt x="35" y="8"/>
                  </a:cubicBezTo>
                  <a:cubicBezTo>
                    <a:pt x="16" y="26"/>
                    <a:pt x="16" y="26"/>
                    <a:pt x="16" y="26"/>
                  </a:cubicBezTo>
                  <a:cubicBezTo>
                    <a:pt x="16" y="27"/>
                    <a:pt x="15" y="28"/>
                    <a:pt x="14" y="2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09" name="Freeform 826">
              <a:extLst>
                <a:ext uri="{FF2B5EF4-FFF2-40B4-BE49-F238E27FC236}">
                  <a16:creationId xmlns:a16="http://schemas.microsoft.com/office/drawing/2014/main" id="{9EC59C37-C56F-4BF4-A82E-F4B287519ED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09475" y="3703638"/>
              <a:ext cx="34925" cy="25400"/>
            </a:xfrm>
            <a:custGeom>
              <a:avLst/>
              <a:gdLst>
                <a:gd name="T0" fmla="*/ 14 w 37"/>
                <a:gd name="T1" fmla="*/ 27 h 27"/>
                <a:gd name="T2" fmla="*/ 11 w 37"/>
                <a:gd name="T3" fmla="*/ 26 h 27"/>
                <a:gd name="T4" fmla="*/ 1 w 37"/>
                <a:gd name="T5" fmla="*/ 17 h 27"/>
                <a:gd name="T6" fmla="*/ 1 w 37"/>
                <a:gd name="T7" fmla="*/ 11 h 27"/>
                <a:gd name="T8" fmla="*/ 7 w 37"/>
                <a:gd name="T9" fmla="*/ 11 h 27"/>
                <a:gd name="T10" fmla="*/ 14 w 37"/>
                <a:gd name="T11" fmla="*/ 17 h 27"/>
                <a:gd name="T12" fmla="*/ 29 w 37"/>
                <a:gd name="T13" fmla="*/ 2 h 27"/>
                <a:gd name="T14" fmla="*/ 35 w 37"/>
                <a:gd name="T15" fmla="*/ 2 h 27"/>
                <a:gd name="T16" fmla="*/ 35 w 37"/>
                <a:gd name="T17" fmla="*/ 7 h 27"/>
                <a:gd name="T18" fmla="*/ 16 w 37"/>
                <a:gd name="T19" fmla="*/ 26 h 27"/>
                <a:gd name="T20" fmla="*/ 14 w 37"/>
                <a:gd name="T21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7" h="27">
                  <a:moveTo>
                    <a:pt x="14" y="27"/>
                  </a:moveTo>
                  <a:cubicBezTo>
                    <a:pt x="12" y="27"/>
                    <a:pt x="11" y="27"/>
                    <a:pt x="11" y="26"/>
                  </a:cubicBezTo>
                  <a:cubicBezTo>
                    <a:pt x="1" y="17"/>
                    <a:pt x="1" y="17"/>
                    <a:pt x="1" y="17"/>
                  </a:cubicBezTo>
                  <a:cubicBezTo>
                    <a:pt x="0" y="15"/>
                    <a:pt x="0" y="13"/>
                    <a:pt x="1" y="11"/>
                  </a:cubicBezTo>
                  <a:cubicBezTo>
                    <a:pt x="3" y="9"/>
                    <a:pt x="5" y="9"/>
                    <a:pt x="7" y="11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1" y="0"/>
                    <a:pt x="34" y="0"/>
                    <a:pt x="35" y="2"/>
                  </a:cubicBezTo>
                  <a:cubicBezTo>
                    <a:pt x="37" y="3"/>
                    <a:pt x="37" y="6"/>
                    <a:pt x="35" y="7"/>
                  </a:cubicBezTo>
                  <a:cubicBezTo>
                    <a:pt x="16" y="26"/>
                    <a:pt x="16" y="26"/>
                    <a:pt x="16" y="26"/>
                  </a:cubicBezTo>
                  <a:cubicBezTo>
                    <a:pt x="16" y="27"/>
                    <a:pt x="15" y="27"/>
                    <a:pt x="14" y="2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10" name="Freeform 827">
              <a:extLst>
                <a:ext uri="{FF2B5EF4-FFF2-40B4-BE49-F238E27FC236}">
                  <a16:creationId xmlns:a16="http://schemas.microsoft.com/office/drawing/2014/main" id="{8481E79D-9563-1130-7B1F-347F18477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09475" y="3749675"/>
              <a:ext cx="34925" cy="26988"/>
            </a:xfrm>
            <a:custGeom>
              <a:avLst/>
              <a:gdLst>
                <a:gd name="T0" fmla="*/ 14 w 37"/>
                <a:gd name="T1" fmla="*/ 27 h 27"/>
                <a:gd name="T2" fmla="*/ 11 w 37"/>
                <a:gd name="T3" fmla="*/ 26 h 27"/>
                <a:gd name="T4" fmla="*/ 1 w 37"/>
                <a:gd name="T5" fmla="*/ 17 h 27"/>
                <a:gd name="T6" fmla="*/ 1 w 37"/>
                <a:gd name="T7" fmla="*/ 11 h 27"/>
                <a:gd name="T8" fmla="*/ 7 w 37"/>
                <a:gd name="T9" fmla="*/ 11 h 27"/>
                <a:gd name="T10" fmla="*/ 14 w 37"/>
                <a:gd name="T11" fmla="*/ 17 h 27"/>
                <a:gd name="T12" fmla="*/ 29 w 37"/>
                <a:gd name="T13" fmla="*/ 2 h 27"/>
                <a:gd name="T14" fmla="*/ 35 w 37"/>
                <a:gd name="T15" fmla="*/ 2 h 27"/>
                <a:gd name="T16" fmla="*/ 35 w 37"/>
                <a:gd name="T17" fmla="*/ 7 h 27"/>
                <a:gd name="T18" fmla="*/ 16 w 37"/>
                <a:gd name="T19" fmla="*/ 26 h 27"/>
                <a:gd name="T20" fmla="*/ 14 w 37"/>
                <a:gd name="T21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7" h="27">
                  <a:moveTo>
                    <a:pt x="14" y="27"/>
                  </a:moveTo>
                  <a:cubicBezTo>
                    <a:pt x="12" y="27"/>
                    <a:pt x="11" y="27"/>
                    <a:pt x="11" y="26"/>
                  </a:cubicBezTo>
                  <a:cubicBezTo>
                    <a:pt x="1" y="17"/>
                    <a:pt x="1" y="17"/>
                    <a:pt x="1" y="17"/>
                  </a:cubicBezTo>
                  <a:cubicBezTo>
                    <a:pt x="0" y="15"/>
                    <a:pt x="0" y="13"/>
                    <a:pt x="1" y="11"/>
                  </a:cubicBezTo>
                  <a:cubicBezTo>
                    <a:pt x="3" y="9"/>
                    <a:pt x="5" y="9"/>
                    <a:pt x="7" y="11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1" y="0"/>
                    <a:pt x="34" y="0"/>
                    <a:pt x="35" y="2"/>
                  </a:cubicBezTo>
                  <a:cubicBezTo>
                    <a:pt x="37" y="3"/>
                    <a:pt x="37" y="6"/>
                    <a:pt x="35" y="7"/>
                  </a:cubicBezTo>
                  <a:cubicBezTo>
                    <a:pt x="16" y="26"/>
                    <a:pt x="16" y="26"/>
                    <a:pt x="16" y="26"/>
                  </a:cubicBezTo>
                  <a:cubicBezTo>
                    <a:pt x="16" y="27"/>
                    <a:pt x="15" y="27"/>
                    <a:pt x="14" y="2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11" name="Freeform 828">
              <a:extLst>
                <a:ext uri="{FF2B5EF4-FFF2-40B4-BE49-F238E27FC236}">
                  <a16:creationId xmlns:a16="http://schemas.microsoft.com/office/drawing/2014/main" id="{78E72796-C614-493A-DD66-7844F7CAD5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57100" y="3675063"/>
              <a:ext cx="39688" cy="9525"/>
            </a:xfrm>
            <a:custGeom>
              <a:avLst/>
              <a:gdLst>
                <a:gd name="T0" fmla="*/ 35 w 40"/>
                <a:gd name="T1" fmla="*/ 9 h 9"/>
                <a:gd name="T2" fmla="*/ 4 w 40"/>
                <a:gd name="T3" fmla="*/ 9 h 9"/>
                <a:gd name="T4" fmla="*/ 0 w 40"/>
                <a:gd name="T5" fmla="*/ 4 h 9"/>
                <a:gd name="T6" fmla="*/ 4 w 40"/>
                <a:gd name="T7" fmla="*/ 0 h 9"/>
                <a:gd name="T8" fmla="*/ 35 w 40"/>
                <a:gd name="T9" fmla="*/ 0 h 9"/>
                <a:gd name="T10" fmla="*/ 40 w 40"/>
                <a:gd name="T11" fmla="*/ 4 h 9"/>
                <a:gd name="T12" fmla="*/ 35 w 40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" h="9">
                  <a:moveTo>
                    <a:pt x="35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8" y="0"/>
                    <a:pt x="40" y="2"/>
                    <a:pt x="40" y="4"/>
                  </a:cubicBezTo>
                  <a:cubicBezTo>
                    <a:pt x="40" y="7"/>
                    <a:pt x="38" y="9"/>
                    <a:pt x="35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12" name="Freeform 829">
              <a:extLst>
                <a:ext uri="{FF2B5EF4-FFF2-40B4-BE49-F238E27FC236}">
                  <a16:creationId xmlns:a16="http://schemas.microsoft.com/office/drawing/2014/main" id="{079CC98A-399E-6F2B-8E61-413C847B0F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57100" y="3722688"/>
              <a:ext cx="15875" cy="6350"/>
            </a:xfrm>
            <a:custGeom>
              <a:avLst/>
              <a:gdLst>
                <a:gd name="T0" fmla="*/ 12 w 16"/>
                <a:gd name="T1" fmla="*/ 8 h 8"/>
                <a:gd name="T2" fmla="*/ 4 w 16"/>
                <a:gd name="T3" fmla="*/ 8 h 8"/>
                <a:gd name="T4" fmla="*/ 0 w 16"/>
                <a:gd name="T5" fmla="*/ 4 h 8"/>
                <a:gd name="T6" fmla="*/ 4 w 16"/>
                <a:gd name="T7" fmla="*/ 0 h 8"/>
                <a:gd name="T8" fmla="*/ 12 w 16"/>
                <a:gd name="T9" fmla="*/ 0 h 8"/>
                <a:gd name="T10" fmla="*/ 16 w 16"/>
                <a:gd name="T11" fmla="*/ 4 h 8"/>
                <a:gd name="T12" fmla="*/ 12 w 16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8">
                  <a:moveTo>
                    <a:pt x="12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7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4" y="0"/>
                    <a:pt x="16" y="2"/>
                    <a:pt x="16" y="4"/>
                  </a:cubicBezTo>
                  <a:cubicBezTo>
                    <a:pt x="16" y="7"/>
                    <a:pt x="14" y="8"/>
                    <a:pt x="12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13" name="Freeform 830">
              <a:extLst>
                <a:ext uri="{FF2B5EF4-FFF2-40B4-BE49-F238E27FC236}">
                  <a16:creationId xmlns:a16="http://schemas.microsoft.com/office/drawing/2014/main" id="{792462C0-3693-FAAB-E8F5-7995E43593D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57100" y="3768725"/>
              <a:ext cx="52388" cy="7938"/>
            </a:xfrm>
            <a:custGeom>
              <a:avLst/>
              <a:gdLst>
                <a:gd name="T0" fmla="*/ 49 w 53"/>
                <a:gd name="T1" fmla="*/ 8 h 8"/>
                <a:gd name="T2" fmla="*/ 4 w 53"/>
                <a:gd name="T3" fmla="*/ 8 h 8"/>
                <a:gd name="T4" fmla="*/ 0 w 53"/>
                <a:gd name="T5" fmla="*/ 4 h 8"/>
                <a:gd name="T6" fmla="*/ 4 w 53"/>
                <a:gd name="T7" fmla="*/ 0 h 8"/>
                <a:gd name="T8" fmla="*/ 49 w 53"/>
                <a:gd name="T9" fmla="*/ 0 h 8"/>
                <a:gd name="T10" fmla="*/ 53 w 53"/>
                <a:gd name="T11" fmla="*/ 4 h 8"/>
                <a:gd name="T12" fmla="*/ 49 w 53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" h="8">
                  <a:moveTo>
                    <a:pt x="49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7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51" y="0"/>
                    <a:pt x="53" y="2"/>
                    <a:pt x="53" y="4"/>
                  </a:cubicBezTo>
                  <a:cubicBezTo>
                    <a:pt x="53" y="7"/>
                    <a:pt x="51" y="8"/>
                    <a:pt x="4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14" name="Freeform 831">
              <a:extLst>
                <a:ext uri="{FF2B5EF4-FFF2-40B4-BE49-F238E27FC236}">
                  <a16:creationId xmlns:a16="http://schemas.microsoft.com/office/drawing/2014/main" id="{0FF5864E-6289-DF73-0BBB-6538DED1B2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415838" y="3590925"/>
              <a:ext cx="38100" cy="38100"/>
            </a:xfrm>
            <a:custGeom>
              <a:avLst/>
              <a:gdLst>
                <a:gd name="T0" fmla="*/ 34 w 39"/>
                <a:gd name="T1" fmla="*/ 39 h 39"/>
                <a:gd name="T2" fmla="*/ 4 w 39"/>
                <a:gd name="T3" fmla="*/ 39 h 39"/>
                <a:gd name="T4" fmla="*/ 0 w 39"/>
                <a:gd name="T5" fmla="*/ 35 h 39"/>
                <a:gd name="T6" fmla="*/ 0 w 39"/>
                <a:gd name="T7" fmla="*/ 5 h 39"/>
                <a:gd name="T8" fmla="*/ 3 w 39"/>
                <a:gd name="T9" fmla="*/ 1 h 39"/>
                <a:gd name="T10" fmla="*/ 7 w 39"/>
                <a:gd name="T11" fmla="*/ 2 h 39"/>
                <a:gd name="T12" fmla="*/ 37 w 39"/>
                <a:gd name="T13" fmla="*/ 32 h 39"/>
                <a:gd name="T14" fmla="*/ 38 w 39"/>
                <a:gd name="T15" fmla="*/ 37 h 39"/>
                <a:gd name="T16" fmla="*/ 34 w 39"/>
                <a:gd name="T17" fmla="*/ 39 h 39"/>
                <a:gd name="T18" fmla="*/ 8 w 39"/>
                <a:gd name="T19" fmla="*/ 31 h 39"/>
                <a:gd name="T20" fmla="*/ 24 w 39"/>
                <a:gd name="T21" fmla="*/ 31 h 39"/>
                <a:gd name="T22" fmla="*/ 8 w 39"/>
                <a:gd name="T23" fmla="*/ 15 h 39"/>
                <a:gd name="T24" fmla="*/ 8 w 39"/>
                <a:gd name="T25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" h="39">
                  <a:moveTo>
                    <a:pt x="34" y="39"/>
                  </a:moveTo>
                  <a:cubicBezTo>
                    <a:pt x="4" y="39"/>
                    <a:pt x="4" y="39"/>
                    <a:pt x="4" y="39"/>
                  </a:cubicBezTo>
                  <a:cubicBezTo>
                    <a:pt x="2" y="39"/>
                    <a:pt x="0" y="37"/>
                    <a:pt x="0" y="3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3"/>
                    <a:pt x="1" y="2"/>
                    <a:pt x="3" y="1"/>
                  </a:cubicBezTo>
                  <a:cubicBezTo>
                    <a:pt x="4" y="0"/>
                    <a:pt x="6" y="1"/>
                    <a:pt x="7" y="2"/>
                  </a:cubicBezTo>
                  <a:cubicBezTo>
                    <a:pt x="37" y="32"/>
                    <a:pt x="37" y="32"/>
                    <a:pt x="37" y="32"/>
                  </a:cubicBezTo>
                  <a:cubicBezTo>
                    <a:pt x="38" y="33"/>
                    <a:pt x="39" y="35"/>
                    <a:pt x="38" y="37"/>
                  </a:cubicBezTo>
                  <a:cubicBezTo>
                    <a:pt x="38" y="38"/>
                    <a:pt x="36" y="39"/>
                    <a:pt x="34" y="39"/>
                  </a:cubicBezTo>
                  <a:close/>
                  <a:moveTo>
                    <a:pt x="8" y="31"/>
                  </a:moveTo>
                  <a:cubicBezTo>
                    <a:pt x="24" y="31"/>
                    <a:pt x="24" y="31"/>
                    <a:pt x="24" y="31"/>
                  </a:cubicBezTo>
                  <a:cubicBezTo>
                    <a:pt x="8" y="15"/>
                    <a:pt x="8" y="15"/>
                    <a:pt x="8" y="15"/>
                  </a:cubicBezTo>
                  <a:lnTo>
                    <a:pt x="8" y="3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15" name="Freeform 832">
              <a:extLst>
                <a:ext uri="{FF2B5EF4-FFF2-40B4-BE49-F238E27FC236}">
                  <a16:creationId xmlns:a16="http://schemas.microsoft.com/office/drawing/2014/main" id="{A43BBB95-9C0F-83F2-1409-9877BCF5108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72963" y="3592513"/>
              <a:ext cx="179388" cy="242888"/>
            </a:xfrm>
            <a:custGeom>
              <a:avLst/>
              <a:gdLst>
                <a:gd name="T0" fmla="*/ 172 w 183"/>
                <a:gd name="T1" fmla="*/ 248 h 248"/>
                <a:gd name="T2" fmla="*/ 4 w 183"/>
                <a:gd name="T3" fmla="*/ 248 h 248"/>
                <a:gd name="T4" fmla="*/ 0 w 183"/>
                <a:gd name="T5" fmla="*/ 244 h 248"/>
                <a:gd name="T6" fmla="*/ 0 w 183"/>
                <a:gd name="T7" fmla="*/ 11 h 248"/>
                <a:gd name="T8" fmla="*/ 11 w 183"/>
                <a:gd name="T9" fmla="*/ 0 h 248"/>
                <a:gd name="T10" fmla="*/ 149 w 183"/>
                <a:gd name="T11" fmla="*/ 0 h 248"/>
                <a:gd name="T12" fmla="*/ 152 w 183"/>
                <a:gd name="T13" fmla="*/ 1 h 248"/>
                <a:gd name="T14" fmla="*/ 182 w 183"/>
                <a:gd name="T15" fmla="*/ 31 h 248"/>
                <a:gd name="T16" fmla="*/ 183 w 183"/>
                <a:gd name="T17" fmla="*/ 34 h 248"/>
                <a:gd name="T18" fmla="*/ 183 w 183"/>
                <a:gd name="T19" fmla="*/ 91 h 248"/>
                <a:gd name="T20" fmla="*/ 179 w 183"/>
                <a:gd name="T21" fmla="*/ 95 h 248"/>
                <a:gd name="T22" fmla="*/ 175 w 183"/>
                <a:gd name="T23" fmla="*/ 91 h 248"/>
                <a:gd name="T24" fmla="*/ 175 w 183"/>
                <a:gd name="T25" fmla="*/ 36 h 248"/>
                <a:gd name="T26" fmla="*/ 148 w 183"/>
                <a:gd name="T27" fmla="*/ 8 h 248"/>
                <a:gd name="T28" fmla="*/ 11 w 183"/>
                <a:gd name="T29" fmla="*/ 8 h 248"/>
                <a:gd name="T30" fmla="*/ 8 w 183"/>
                <a:gd name="T31" fmla="*/ 11 h 248"/>
                <a:gd name="T32" fmla="*/ 8 w 183"/>
                <a:gd name="T33" fmla="*/ 240 h 248"/>
                <a:gd name="T34" fmla="*/ 172 w 183"/>
                <a:gd name="T35" fmla="*/ 240 h 248"/>
                <a:gd name="T36" fmla="*/ 175 w 183"/>
                <a:gd name="T37" fmla="*/ 236 h 248"/>
                <a:gd name="T38" fmla="*/ 175 w 183"/>
                <a:gd name="T39" fmla="*/ 177 h 248"/>
                <a:gd name="T40" fmla="*/ 179 w 183"/>
                <a:gd name="T41" fmla="*/ 173 h 248"/>
                <a:gd name="T42" fmla="*/ 183 w 183"/>
                <a:gd name="T43" fmla="*/ 177 h 248"/>
                <a:gd name="T44" fmla="*/ 183 w 183"/>
                <a:gd name="T45" fmla="*/ 236 h 248"/>
                <a:gd name="T46" fmla="*/ 172 w 183"/>
                <a:gd name="T47" fmla="*/ 248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83" h="248">
                  <a:moveTo>
                    <a:pt x="172" y="248"/>
                  </a:moveTo>
                  <a:cubicBezTo>
                    <a:pt x="4" y="248"/>
                    <a:pt x="4" y="248"/>
                    <a:pt x="4" y="248"/>
                  </a:cubicBezTo>
                  <a:cubicBezTo>
                    <a:pt x="1" y="248"/>
                    <a:pt x="0" y="246"/>
                    <a:pt x="0" y="244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149" y="0"/>
                    <a:pt x="149" y="0"/>
                    <a:pt x="149" y="0"/>
                  </a:cubicBezTo>
                  <a:cubicBezTo>
                    <a:pt x="150" y="0"/>
                    <a:pt x="151" y="0"/>
                    <a:pt x="152" y="1"/>
                  </a:cubicBezTo>
                  <a:cubicBezTo>
                    <a:pt x="182" y="31"/>
                    <a:pt x="182" y="31"/>
                    <a:pt x="182" y="31"/>
                  </a:cubicBezTo>
                  <a:cubicBezTo>
                    <a:pt x="183" y="32"/>
                    <a:pt x="183" y="33"/>
                    <a:pt x="183" y="34"/>
                  </a:cubicBezTo>
                  <a:cubicBezTo>
                    <a:pt x="183" y="91"/>
                    <a:pt x="183" y="91"/>
                    <a:pt x="183" y="91"/>
                  </a:cubicBezTo>
                  <a:cubicBezTo>
                    <a:pt x="183" y="94"/>
                    <a:pt x="182" y="95"/>
                    <a:pt x="179" y="95"/>
                  </a:cubicBezTo>
                  <a:cubicBezTo>
                    <a:pt x="177" y="95"/>
                    <a:pt x="175" y="94"/>
                    <a:pt x="175" y="91"/>
                  </a:cubicBezTo>
                  <a:cubicBezTo>
                    <a:pt x="175" y="36"/>
                    <a:pt x="175" y="36"/>
                    <a:pt x="175" y="36"/>
                  </a:cubicBezTo>
                  <a:cubicBezTo>
                    <a:pt x="148" y="8"/>
                    <a:pt x="148" y="8"/>
                    <a:pt x="148" y="8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9" y="8"/>
                    <a:pt x="8" y="10"/>
                    <a:pt x="8" y="11"/>
                  </a:cubicBezTo>
                  <a:cubicBezTo>
                    <a:pt x="8" y="240"/>
                    <a:pt x="8" y="240"/>
                    <a:pt x="8" y="240"/>
                  </a:cubicBezTo>
                  <a:cubicBezTo>
                    <a:pt x="172" y="240"/>
                    <a:pt x="172" y="240"/>
                    <a:pt x="172" y="240"/>
                  </a:cubicBezTo>
                  <a:cubicBezTo>
                    <a:pt x="174" y="240"/>
                    <a:pt x="175" y="238"/>
                    <a:pt x="175" y="236"/>
                  </a:cubicBezTo>
                  <a:cubicBezTo>
                    <a:pt x="175" y="177"/>
                    <a:pt x="175" y="177"/>
                    <a:pt x="175" y="177"/>
                  </a:cubicBezTo>
                  <a:cubicBezTo>
                    <a:pt x="175" y="175"/>
                    <a:pt x="177" y="173"/>
                    <a:pt x="179" y="173"/>
                  </a:cubicBezTo>
                  <a:cubicBezTo>
                    <a:pt x="182" y="173"/>
                    <a:pt x="183" y="175"/>
                    <a:pt x="183" y="177"/>
                  </a:cubicBezTo>
                  <a:cubicBezTo>
                    <a:pt x="183" y="236"/>
                    <a:pt x="183" y="236"/>
                    <a:pt x="183" y="236"/>
                  </a:cubicBezTo>
                  <a:cubicBezTo>
                    <a:pt x="183" y="243"/>
                    <a:pt x="178" y="248"/>
                    <a:pt x="172" y="24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616" name="Shape4_20200717_142313">
            <a:extLst>
              <a:ext uri="{FF2B5EF4-FFF2-40B4-BE49-F238E27FC236}">
                <a16:creationId xmlns:a16="http://schemas.microsoft.com/office/drawing/2014/main" id="{8FB1AA08-7291-0DDD-57AB-D1F0BCC90222}"/>
              </a:ext>
            </a:extLst>
          </p:cNvPr>
          <p:cNvGrpSpPr>
            <a:grpSpLocks noChangeAspect="1"/>
          </p:cNvGrpSpPr>
          <p:nvPr/>
        </p:nvGrpSpPr>
        <p:grpSpPr>
          <a:xfrm>
            <a:off x="8417423" y="2539412"/>
            <a:ext cx="579378" cy="579378"/>
            <a:chOff x="13835063" y="3586163"/>
            <a:chExt cx="255588" cy="255588"/>
          </a:xfrm>
          <a:solidFill>
            <a:schemeClr val="accent1"/>
          </a:solidFill>
        </p:grpSpPr>
        <p:sp>
          <p:nvSpPr>
            <p:cNvPr id="617" name="Freeform 833">
              <a:extLst>
                <a:ext uri="{FF2B5EF4-FFF2-40B4-BE49-F238E27FC236}">
                  <a16:creationId xmlns:a16="http://schemas.microsoft.com/office/drawing/2014/main" id="{3B9FE580-F52B-A0E9-7B7E-B9588D48F9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976350" y="3727450"/>
              <a:ext cx="88900" cy="90488"/>
            </a:xfrm>
            <a:custGeom>
              <a:avLst/>
              <a:gdLst>
                <a:gd name="T0" fmla="*/ 46 w 91"/>
                <a:gd name="T1" fmla="*/ 92 h 92"/>
                <a:gd name="T2" fmla="*/ 0 w 91"/>
                <a:gd name="T3" fmla="*/ 46 h 92"/>
                <a:gd name="T4" fmla="*/ 46 w 91"/>
                <a:gd name="T5" fmla="*/ 0 h 92"/>
                <a:gd name="T6" fmla="*/ 91 w 91"/>
                <a:gd name="T7" fmla="*/ 46 h 92"/>
                <a:gd name="T8" fmla="*/ 46 w 91"/>
                <a:gd name="T9" fmla="*/ 92 h 92"/>
                <a:gd name="T10" fmla="*/ 46 w 91"/>
                <a:gd name="T11" fmla="*/ 9 h 92"/>
                <a:gd name="T12" fmla="*/ 9 w 91"/>
                <a:gd name="T13" fmla="*/ 46 h 92"/>
                <a:gd name="T14" fmla="*/ 46 w 91"/>
                <a:gd name="T15" fmla="*/ 83 h 92"/>
                <a:gd name="T16" fmla="*/ 83 w 91"/>
                <a:gd name="T17" fmla="*/ 46 h 92"/>
                <a:gd name="T18" fmla="*/ 46 w 91"/>
                <a:gd name="T19" fmla="*/ 9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1" h="92">
                  <a:moveTo>
                    <a:pt x="46" y="92"/>
                  </a:moveTo>
                  <a:cubicBezTo>
                    <a:pt x="21" y="92"/>
                    <a:pt x="0" y="71"/>
                    <a:pt x="0" y="46"/>
                  </a:cubicBezTo>
                  <a:cubicBezTo>
                    <a:pt x="0" y="21"/>
                    <a:pt x="21" y="0"/>
                    <a:pt x="46" y="0"/>
                  </a:cubicBezTo>
                  <a:cubicBezTo>
                    <a:pt x="71" y="0"/>
                    <a:pt x="91" y="21"/>
                    <a:pt x="91" y="46"/>
                  </a:cubicBezTo>
                  <a:cubicBezTo>
                    <a:pt x="91" y="71"/>
                    <a:pt x="71" y="92"/>
                    <a:pt x="46" y="92"/>
                  </a:cubicBezTo>
                  <a:close/>
                  <a:moveTo>
                    <a:pt x="46" y="9"/>
                  </a:moveTo>
                  <a:cubicBezTo>
                    <a:pt x="25" y="9"/>
                    <a:pt x="9" y="25"/>
                    <a:pt x="9" y="46"/>
                  </a:cubicBezTo>
                  <a:cubicBezTo>
                    <a:pt x="9" y="67"/>
                    <a:pt x="25" y="83"/>
                    <a:pt x="46" y="83"/>
                  </a:cubicBezTo>
                  <a:cubicBezTo>
                    <a:pt x="66" y="83"/>
                    <a:pt x="83" y="67"/>
                    <a:pt x="83" y="46"/>
                  </a:cubicBezTo>
                  <a:cubicBezTo>
                    <a:pt x="83" y="25"/>
                    <a:pt x="66" y="9"/>
                    <a:pt x="46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18" name="Freeform 834">
              <a:extLst>
                <a:ext uri="{FF2B5EF4-FFF2-40B4-BE49-F238E27FC236}">
                  <a16:creationId xmlns:a16="http://schemas.microsoft.com/office/drawing/2014/main" id="{EADF8442-3D17-39F7-CC7D-849124EC67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041438" y="3792538"/>
              <a:ext cx="49213" cy="49213"/>
            </a:xfrm>
            <a:custGeom>
              <a:avLst/>
              <a:gdLst>
                <a:gd name="T0" fmla="*/ 38 w 51"/>
                <a:gd name="T1" fmla="*/ 50 h 50"/>
                <a:gd name="T2" fmla="*/ 30 w 51"/>
                <a:gd name="T3" fmla="*/ 47 h 50"/>
                <a:gd name="T4" fmla="*/ 30 w 51"/>
                <a:gd name="T5" fmla="*/ 47 h 50"/>
                <a:gd name="T6" fmla="*/ 1 w 51"/>
                <a:gd name="T7" fmla="*/ 18 h 50"/>
                <a:gd name="T8" fmla="*/ 1 w 51"/>
                <a:gd name="T9" fmla="*/ 12 h 50"/>
                <a:gd name="T10" fmla="*/ 12 w 51"/>
                <a:gd name="T11" fmla="*/ 1 h 50"/>
                <a:gd name="T12" fmla="*/ 18 w 51"/>
                <a:gd name="T13" fmla="*/ 1 h 50"/>
                <a:gd name="T14" fmla="*/ 47 w 51"/>
                <a:gd name="T15" fmla="*/ 30 h 50"/>
                <a:gd name="T16" fmla="*/ 47 w 51"/>
                <a:gd name="T17" fmla="*/ 47 h 50"/>
                <a:gd name="T18" fmla="*/ 38 w 51"/>
                <a:gd name="T19" fmla="*/ 50 h 50"/>
                <a:gd name="T20" fmla="*/ 36 w 51"/>
                <a:gd name="T21" fmla="*/ 41 h 50"/>
                <a:gd name="T22" fmla="*/ 41 w 51"/>
                <a:gd name="T23" fmla="*/ 41 h 50"/>
                <a:gd name="T24" fmla="*/ 41 w 51"/>
                <a:gd name="T25" fmla="*/ 36 h 50"/>
                <a:gd name="T26" fmla="*/ 15 w 51"/>
                <a:gd name="T27" fmla="*/ 10 h 50"/>
                <a:gd name="T28" fmla="*/ 10 w 51"/>
                <a:gd name="T29" fmla="*/ 15 h 50"/>
                <a:gd name="T30" fmla="*/ 36 w 51"/>
                <a:gd name="T31" fmla="*/ 4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1" h="50">
                  <a:moveTo>
                    <a:pt x="38" y="50"/>
                  </a:moveTo>
                  <a:cubicBezTo>
                    <a:pt x="35" y="50"/>
                    <a:pt x="32" y="49"/>
                    <a:pt x="30" y="47"/>
                  </a:cubicBezTo>
                  <a:cubicBezTo>
                    <a:pt x="30" y="47"/>
                    <a:pt x="30" y="47"/>
                    <a:pt x="30" y="47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0" y="16"/>
                    <a:pt x="0" y="14"/>
                    <a:pt x="1" y="12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4" y="0"/>
                    <a:pt x="16" y="0"/>
                    <a:pt x="18" y="1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51" y="35"/>
                    <a:pt x="51" y="42"/>
                    <a:pt x="47" y="47"/>
                  </a:cubicBezTo>
                  <a:cubicBezTo>
                    <a:pt x="44" y="49"/>
                    <a:pt x="41" y="50"/>
                    <a:pt x="38" y="50"/>
                  </a:cubicBezTo>
                  <a:close/>
                  <a:moveTo>
                    <a:pt x="36" y="41"/>
                  </a:moveTo>
                  <a:cubicBezTo>
                    <a:pt x="37" y="42"/>
                    <a:pt x="39" y="42"/>
                    <a:pt x="41" y="41"/>
                  </a:cubicBezTo>
                  <a:cubicBezTo>
                    <a:pt x="42" y="39"/>
                    <a:pt x="42" y="37"/>
                    <a:pt x="41" y="36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0" y="15"/>
                    <a:pt x="10" y="15"/>
                    <a:pt x="10" y="15"/>
                  </a:cubicBezTo>
                  <a:cubicBezTo>
                    <a:pt x="36" y="41"/>
                    <a:pt x="36" y="41"/>
                    <a:pt x="36" y="4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19" name="Freeform 835">
              <a:extLst>
                <a:ext uri="{FF2B5EF4-FFF2-40B4-BE49-F238E27FC236}">
                  <a16:creationId xmlns:a16="http://schemas.microsoft.com/office/drawing/2014/main" id="{2EFDB48D-8D5F-6824-8639-6A94EA2D45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35063" y="3586163"/>
              <a:ext cx="230188" cy="230188"/>
            </a:xfrm>
            <a:custGeom>
              <a:avLst/>
              <a:gdLst>
                <a:gd name="T0" fmla="*/ 118 w 235"/>
                <a:gd name="T1" fmla="*/ 234 h 234"/>
                <a:gd name="T2" fmla="*/ 0 w 235"/>
                <a:gd name="T3" fmla="*/ 117 h 234"/>
                <a:gd name="T4" fmla="*/ 118 w 235"/>
                <a:gd name="T5" fmla="*/ 0 h 234"/>
                <a:gd name="T6" fmla="*/ 235 w 235"/>
                <a:gd name="T7" fmla="*/ 117 h 234"/>
                <a:gd name="T8" fmla="*/ 226 w 235"/>
                <a:gd name="T9" fmla="*/ 163 h 234"/>
                <a:gd name="T10" fmla="*/ 221 w 235"/>
                <a:gd name="T11" fmla="*/ 165 h 234"/>
                <a:gd name="T12" fmla="*/ 218 w 235"/>
                <a:gd name="T13" fmla="*/ 160 h 234"/>
                <a:gd name="T14" fmla="*/ 227 w 235"/>
                <a:gd name="T15" fmla="*/ 117 h 234"/>
                <a:gd name="T16" fmla="*/ 118 w 235"/>
                <a:gd name="T17" fmla="*/ 8 h 234"/>
                <a:gd name="T18" fmla="*/ 9 w 235"/>
                <a:gd name="T19" fmla="*/ 117 h 234"/>
                <a:gd name="T20" fmla="*/ 118 w 235"/>
                <a:gd name="T21" fmla="*/ 226 h 234"/>
                <a:gd name="T22" fmla="*/ 161 w 235"/>
                <a:gd name="T23" fmla="*/ 217 h 234"/>
                <a:gd name="T24" fmla="*/ 166 w 235"/>
                <a:gd name="T25" fmla="*/ 220 h 234"/>
                <a:gd name="T26" fmla="*/ 164 w 235"/>
                <a:gd name="T27" fmla="*/ 225 h 234"/>
                <a:gd name="T28" fmla="*/ 118 w 235"/>
                <a:gd name="T29" fmla="*/ 234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35" h="234">
                  <a:moveTo>
                    <a:pt x="118" y="234"/>
                  </a:moveTo>
                  <a:cubicBezTo>
                    <a:pt x="53" y="234"/>
                    <a:pt x="0" y="182"/>
                    <a:pt x="0" y="117"/>
                  </a:cubicBezTo>
                  <a:cubicBezTo>
                    <a:pt x="0" y="52"/>
                    <a:pt x="53" y="0"/>
                    <a:pt x="118" y="0"/>
                  </a:cubicBezTo>
                  <a:cubicBezTo>
                    <a:pt x="183" y="0"/>
                    <a:pt x="235" y="52"/>
                    <a:pt x="235" y="117"/>
                  </a:cubicBezTo>
                  <a:cubicBezTo>
                    <a:pt x="235" y="133"/>
                    <a:pt x="232" y="148"/>
                    <a:pt x="226" y="163"/>
                  </a:cubicBezTo>
                  <a:cubicBezTo>
                    <a:pt x="225" y="165"/>
                    <a:pt x="223" y="166"/>
                    <a:pt x="221" y="165"/>
                  </a:cubicBezTo>
                  <a:cubicBezTo>
                    <a:pt x="218" y="164"/>
                    <a:pt x="217" y="162"/>
                    <a:pt x="218" y="160"/>
                  </a:cubicBezTo>
                  <a:cubicBezTo>
                    <a:pt x="224" y="146"/>
                    <a:pt x="227" y="132"/>
                    <a:pt x="227" y="117"/>
                  </a:cubicBezTo>
                  <a:cubicBezTo>
                    <a:pt x="227" y="57"/>
                    <a:pt x="178" y="8"/>
                    <a:pt x="118" y="8"/>
                  </a:cubicBezTo>
                  <a:cubicBezTo>
                    <a:pt x="58" y="8"/>
                    <a:pt x="9" y="57"/>
                    <a:pt x="9" y="117"/>
                  </a:cubicBezTo>
                  <a:cubicBezTo>
                    <a:pt x="9" y="177"/>
                    <a:pt x="58" y="226"/>
                    <a:pt x="118" y="226"/>
                  </a:cubicBezTo>
                  <a:cubicBezTo>
                    <a:pt x="133" y="226"/>
                    <a:pt x="147" y="223"/>
                    <a:pt x="161" y="217"/>
                  </a:cubicBezTo>
                  <a:cubicBezTo>
                    <a:pt x="163" y="217"/>
                    <a:pt x="165" y="218"/>
                    <a:pt x="166" y="220"/>
                  </a:cubicBezTo>
                  <a:cubicBezTo>
                    <a:pt x="167" y="222"/>
                    <a:pt x="166" y="224"/>
                    <a:pt x="164" y="225"/>
                  </a:cubicBezTo>
                  <a:cubicBezTo>
                    <a:pt x="149" y="231"/>
                    <a:pt x="134" y="234"/>
                    <a:pt x="118" y="23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20" name="Freeform 836">
              <a:extLst>
                <a:ext uri="{FF2B5EF4-FFF2-40B4-BE49-F238E27FC236}">
                  <a16:creationId xmlns:a16="http://schemas.microsoft.com/office/drawing/2014/main" id="{9BA08902-3884-8BA9-7BB5-6170A94E3C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69988" y="3616325"/>
              <a:ext cx="160338" cy="38100"/>
            </a:xfrm>
            <a:custGeom>
              <a:avLst/>
              <a:gdLst>
                <a:gd name="T0" fmla="*/ 82 w 164"/>
                <a:gd name="T1" fmla="*/ 40 h 40"/>
                <a:gd name="T2" fmla="*/ 1 w 164"/>
                <a:gd name="T3" fmla="*/ 8 h 40"/>
                <a:gd name="T4" fmla="*/ 1 w 164"/>
                <a:gd name="T5" fmla="*/ 3 h 40"/>
                <a:gd name="T6" fmla="*/ 7 w 164"/>
                <a:gd name="T7" fmla="*/ 2 h 40"/>
                <a:gd name="T8" fmla="*/ 82 w 164"/>
                <a:gd name="T9" fmla="*/ 32 h 40"/>
                <a:gd name="T10" fmla="*/ 157 w 164"/>
                <a:gd name="T11" fmla="*/ 2 h 40"/>
                <a:gd name="T12" fmla="*/ 163 w 164"/>
                <a:gd name="T13" fmla="*/ 2 h 40"/>
                <a:gd name="T14" fmla="*/ 163 w 164"/>
                <a:gd name="T15" fmla="*/ 8 h 40"/>
                <a:gd name="T16" fmla="*/ 82 w 164"/>
                <a:gd name="T17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4" h="40">
                  <a:moveTo>
                    <a:pt x="82" y="40"/>
                  </a:moveTo>
                  <a:cubicBezTo>
                    <a:pt x="52" y="40"/>
                    <a:pt x="23" y="29"/>
                    <a:pt x="1" y="8"/>
                  </a:cubicBezTo>
                  <a:cubicBezTo>
                    <a:pt x="0" y="7"/>
                    <a:pt x="0" y="4"/>
                    <a:pt x="1" y="3"/>
                  </a:cubicBezTo>
                  <a:cubicBezTo>
                    <a:pt x="3" y="1"/>
                    <a:pt x="5" y="1"/>
                    <a:pt x="7" y="2"/>
                  </a:cubicBezTo>
                  <a:cubicBezTo>
                    <a:pt x="27" y="22"/>
                    <a:pt x="54" y="32"/>
                    <a:pt x="82" y="32"/>
                  </a:cubicBezTo>
                  <a:cubicBezTo>
                    <a:pt x="110" y="32"/>
                    <a:pt x="137" y="21"/>
                    <a:pt x="157" y="2"/>
                  </a:cubicBezTo>
                  <a:cubicBezTo>
                    <a:pt x="159" y="0"/>
                    <a:pt x="161" y="0"/>
                    <a:pt x="163" y="2"/>
                  </a:cubicBezTo>
                  <a:cubicBezTo>
                    <a:pt x="164" y="4"/>
                    <a:pt x="164" y="6"/>
                    <a:pt x="163" y="8"/>
                  </a:cubicBezTo>
                  <a:cubicBezTo>
                    <a:pt x="141" y="29"/>
                    <a:pt x="112" y="40"/>
                    <a:pt x="82" y="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21" name="Freeform 837">
              <a:extLst>
                <a:ext uri="{FF2B5EF4-FFF2-40B4-BE49-F238E27FC236}">
                  <a16:creationId xmlns:a16="http://schemas.microsoft.com/office/drawing/2014/main" id="{E843C47C-9F92-CDF2-EDB4-6E09F60A0E1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69988" y="3748088"/>
              <a:ext cx="119063" cy="36513"/>
            </a:xfrm>
            <a:custGeom>
              <a:avLst/>
              <a:gdLst>
                <a:gd name="T0" fmla="*/ 5 w 121"/>
                <a:gd name="T1" fmla="*/ 38 h 38"/>
                <a:gd name="T2" fmla="*/ 2 w 121"/>
                <a:gd name="T3" fmla="*/ 37 h 38"/>
                <a:gd name="T4" fmla="*/ 2 w 121"/>
                <a:gd name="T5" fmla="*/ 31 h 38"/>
                <a:gd name="T6" fmla="*/ 82 w 121"/>
                <a:gd name="T7" fmla="*/ 0 h 38"/>
                <a:gd name="T8" fmla="*/ 117 w 121"/>
                <a:gd name="T9" fmla="*/ 5 h 38"/>
                <a:gd name="T10" fmla="*/ 120 w 121"/>
                <a:gd name="T11" fmla="*/ 10 h 38"/>
                <a:gd name="T12" fmla="*/ 115 w 121"/>
                <a:gd name="T13" fmla="*/ 13 h 38"/>
                <a:gd name="T14" fmla="*/ 82 w 121"/>
                <a:gd name="T15" fmla="*/ 8 h 38"/>
                <a:gd name="T16" fmla="*/ 7 w 121"/>
                <a:gd name="T17" fmla="*/ 37 h 38"/>
                <a:gd name="T18" fmla="*/ 5 w 121"/>
                <a:gd name="T19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1" h="38">
                  <a:moveTo>
                    <a:pt x="5" y="38"/>
                  </a:moveTo>
                  <a:cubicBezTo>
                    <a:pt x="3" y="38"/>
                    <a:pt x="2" y="38"/>
                    <a:pt x="2" y="37"/>
                  </a:cubicBezTo>
                  <a:cubicBezTo>
                    <a:pt x="0" y="35"/>
                    <a:pt x="0" y="33"/>
                    <a:pt x="2" y="31"/>
                  </a:cubicBezTo>
                  <a:cubicBezTo>
                    <a:pt x="24" y="11"/>
                    <a:pt x="52" y="0"/>
                    <a:pt x="82" y="0"/>
                  </a:cubicBezTo>
                  <a:cubicBezTo>
                    <a:pt x="94" y="0"/>
                    <a:pt x="106" y="1"/>
                    <a:pt x="117" y="5"/>
                  </a:cubicBezTo>
                  <a:cubicBezTo>
                    <a:pt x="119" y="6"/>
                    <a:pt x="121" y="8"/>
                    <a:pt x="120" y="10"/>
                  </a:cubicBezTo>
                  <a:cubicBezTo>
                    <a:pt x="119" y="12"/>
                    <a:pt x="117" y="14"/>
                    <a:pt x="115" y="13"/>
                  </a:cubicBezTo>
                  <a:cubicBezTo>
                    <a:pt x="104" y="9"/>
                    <a:pt x="93" y="8"/>
                    <a:pt x="82" y="8"/>
                  </a:cubicBezTo>
                  <a:cubicBezTo>
                    <a:pt x="54" y="8"/>
                    <a:pt x="28" y="18"/>
                    <a:pt x="7" y="37"/>
                  </a:cubicBezTo>
                  <a:cubicBezTo>
                    <a:pt x="7" y="38"/>
                    <a:pt x="6" y="38"/>
                    <a:pt x="5" y="3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22" name="Freeform 838">
              <a:extLst>
                <a:ext uri="{FF2B5EF4-FFF2-40B4-BE49-F238E27FC236}">
                  <a16:creationId xmlns:a16="http://schemas.microsoft.com/office/drawing/2014/main" id="{638C7191-0467-F11E-2B3F-BDC863F6865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87450" y="3586163"/>
              <a:ext cx="123825" cy="230188"/>
            </a:xfrm>
            <a:custGeom>
              <a:avLst/>
              <a:gdLst>
                <a:gd name="T0" fmla="*/ 64 w 127"/>
                <a:gd name="T1" fmla="*/ 234 h 234"/>
                <a:gd name="T2" fmla="*/ 0 w 127"/>
                <a:gd name="T3" fmla="*/ 117 h 234"/>
                <a:gd name="T4" fmla="*/ 64 w 127"/>
                <a:gd name="T5" fmla="*/ 0 h 234"/>
                <a:gd name="T6" fmla="*/ 127 w 127"/>
                <a:gd name="T7" fmla="*/ 117 h 234"/>
                <a:gd name="T8" fmla="*/ 125 w 127"/>
                <a:gd name="T9" fmla="*/ 151 h 234"/>
                <a:gd name="T10" fmla="*/ 120 w 127"/>
                <a:gd name="T11" fmla="*/ 155 h 234"/>
                <a:gd name="T12" fmla="*/ 116 w 127"/>
                <a:gd name="T13" fmla="*/ 150 h 234"/>
                <a:gd name="T14" fmla="*/ 119 w 127"/>
                <a:gd name="T15" fmla="*/ 117 h 234"/>
                <a:gd name="T16" fmla="*/ 64 w 127"/>
                <a:gd name="T17" fmla="*/ 8 h 234"/>
                <a:gd name="T18" fmla="*/ 9 w 127"/>
                <a:gd name="T19" fmla="*/ 117 h 234"/>
                <a:gd name="T20" fmla="*/ 64 w 127"/>
                <a:gd name="T21" fmla="*/ 226 h 234"/>
                <a:gd name="T22" fmla="*/ 96 w 127"/>
                <a:gd name="T23" fmla="*/ 206 h 234"/>
                <a:gd name="T24" fmla="*/ 101 w 127"/>
                <a:gd name="T25" fmla="*/ 205 h 234"/>
                <a:gd name="T26" fmla="*/ 102 w 127"/>
                <a:gd name="T27" fmla="*/ 211 h 234"/>
                <a:gd name="T28" fmla="*/ 64 w 127"/>
                <a:gd name="T29" fmla="*/ 234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7" h="234">
                  <a:moveTo>
                    <a:pt x="64" y="234"/>
                  </a:moveTo>
                  <a:cubicBezTo>
                    <a:pt x="28" y="234"/>
                    <a:pt x="0" y="183"/>
                    <a:pt x="0" y="117"/>
                  </a:cubicBezTo>
                  <a:cubicBezTo>
                    <a:pt x="0" y="51"/>
                    <a:pt x="28" y="0"/>
                    <a:pt x="64" y="0"/>
                  </a:cubicBezTo>
                  <a:cubicBezTo>
                    <a:pt x="99" y="0"/>
                    <a:pt x="127" y="51"/>
                    <a:pt x="127" y="117"/>
                  </a:cubicBezTo>
                  <a:cubicBezTo>
                    <a:pt x="127" y="129"/>
                    <a:pt x="126" y="140"/>
                    <a:pt x="125" y="151"/>
                  </a:cubicBezTo>
                  <a:cubicBezTo>
                    <a:pt x="124" y="154"/>
                    <a:pt x="122" y="155"/>
                    <a:pt x="120" y="155"/>
                  </a:cubicBezTo>
                  <a:cubicBezTo>
                    <a:pt x="118" y="154"/>
                    <a:pt x="116" y="152"/>
                    <a:pt x="116" y="150"/>
                  </a:cubicBezTo>
                  <a:cubicBezTo>
                    <a:pt x="118" y="139"/>
                    <a:pt x="119" y="128"/>
                    <a:pt x="119" y="117"/>
                  </a:cubicBezTo>
                  <a:cubicBezTo>
                    <a:pt x="119" y="57"/>
                    <a:pt x="94" y="8"/>
                    <a:pt x="64" y="8"/>
                  </a:cubicBezTo>
                  <a:cubicBezTo>
                    <a:pt x="33" y="8"/>
                    <a:pt x="9" y="57"/>
                    <a:pt x="9" y="117"/>
                  </a:cubicBezTo>
                  <a:cubicBezTo>
                    <a:pt x="9" y="177"/>
                    <a:pt x="33" y="226"/>
                    <a:pt x="64" y="226"/>
                  </a:cubicBezTo>
                  <a:cubicBezTo>
                    <a:pt x="78" y="226"/>
                    <a:pt x="89" y="215"/>
                    <a:pt x="96" y="206"/>
                  </a:cubicBezTo>
                  <a:cubicBezTo>
                    <a:pt x="97" y="204"/>
                    <a:pt x="99" y="204"/>
                    <a:pt x="101" y="205"/>
                  </a:cubicBezTo>
                  <a:cubicBezTo>
                    <a:pt x="103" y="206"/>
                    <a:pt x="104" y="209"/>
                    <a:pt x="102" y="211"/>
                  </a:cubicBezTo>
                  <a:cubicBezTo>
                    <a:pt x="91" y="226"/>
                    <a:pt x="78" y="234"/>
                    <a:pt x="64" y="23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23" name="Freeform 839">
              <a:extLst>
                <a:ext uri="{FF2B5EF4-FFF2-40B4-BE49-F238E27FC236}">
                  <a16:creationId xmlns:a16="http://schemas.microsoft.com/office/drawing/2014/main" id="{BE27AEFD-4C5D-7044-162B-D88DF74055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35063" y="3697288"/>
              <a:ext cx="230188" cy="7938"/>
            </a:xfrm>
            <a:custGeom>
              <a:avLst/>
              <a:gdLst>
                <a:gd name="T0" fmla="*/ 231 w 235"/>
                <a:gd name="T1" fmla="*/ 8 h 8"/>
                <a:gd name="T2" fmla="*/ 5 w 235"/>
                <a:gd name="T3" fmla="*/ 8 h 8"/>
                <a:gd name="T4" fmla="*/ 0 w 235"/>
                <a:gd name="T5" fmla="*/ 4 h 8"/>
                <a:gd name="T6" fmla="*/ 5 w 235"/>
                <a:gd name="T7" fmla="*/ 0 h 8"/>
                <a:gd name="T8" fmla="*/ 231 w 235"/>
                <a:gd name="T9" fmla="*/ 0 h 8"/>
                <a:gd name="T10" fmla="*/ 235 w 235"/>
                <a:gd name="T11" fmla="*/ 4 h 8"/>
                <a:gd name="T12" fmla="*/ 231 w 235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5" h="8">
                  <a:moveTo>
                    <a:pt x="231" y="8"/>
                  </a:moveTo>
                  <a:cubicBezTo>
                    <a:pt x="5" y="8"/>
                    <a:pt x="5" y="8"/>
                    <a:pt x="5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231" y="0"/>
                    <a:pt x="231" y="0"/>
                    <a:pt x="231" y="0"/>
                  </a:cubicBezTo>
                  <a:cubicBezTo>
                    <a:pt x="233" y="0"/>
                    <a:pt x="235" y="2"/>
                    <a:pt x="235" y="4"/>
                  </a:cubicBezTo>
                  <a:cubicBezTo>
                    <a:pt x="235" y="6"/>
                    <a:pt x="233" y="8"/>
                    <a:pt x="231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24" name="Freeform 840">
              <a:extLst>
                <a:ext uri="{FF2B5EF4-FFF2-40B4-BE49-F238E27FC236}">
                  <a16:creationId xmlns:a16="http://schemas.microsoft.com/office/drawing/2014/main" id="{8CCC4179-DCAA-7615-BEDF-6A24BCB25B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46188" y="3586163"/>
              <a:ext cx="7938" cy="230188"/>
            </a:xfrm>
            <a:custGeom>
              <a:avLst/>
              <a:gdLst>
                <a:gd name="T0" fmla="*/ 4 w 8"/>
                <a:gd name="T1" fmla="*/ 234 h 234"/>
                <a:gd name="T2" fmla="*/ 0 w 8"/>
                <a:gd name="T3" fmla="*/ 230 h 234"/>
                <a:gd name="T4" fmla="*/ 0 w 8"/>
                <a:gd name="T5" fmla="*/ 4 h 234"/>
                <a:gd name="T6" fmla="*/ 4 w 8"/>
                <a:gd name="T7" fmla="*/ 0 h 234"/>
                <a:gd name="T8" fmla="*/ 8 w 8"/>
                <a:gd name="T9" fmla="*/ 4 h 234"/>
                <a:gd name="T10" fmla="*/ 8 w 8"/>
                <a:gd name="T11" fmla="*/ 230 h 234"/>
                <a:gd name="T12" fmla="*/ 4 w 8"/>
                <a:gd name="T13" fmla="*/ 234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234">
                  <a:moveTo>
                    <a:pt x="4" y="234"/>
                  </a:moveTo>
                  <a:cubicBezTo>
                    <a:pt x="2" y="234"/>
                    <a:pt x="0" y="232"/>
                    <a:pt x="0" y="23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" y="0"/>
                    <a:pt x="8" y="1"/>
                    <a:pt x="8" y="4"/>
                  </a:cubicBezTo>
                  <a:cubicBezTo>
                    <a:pt x="8" y="230"/>
                    <a:pt x="8" y="230"/>
                    <a:pt x="8" y="230"/>
                  </a:cubicBezTo>
                  <a:cubicBezTo>
                    <a:pt x="8" y="232"/>
                    <a:pt x="6" y="234"/>
                    <a:pt x="4" y="23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625" name="Shape5_20200717_142313">
            <a:extLst>
              <a:ext uri="{FF2B5EF4-FFF2-40B4-BE49-F238E27FC236}">
                <a16:creationId xmlns:a16="http://schemas.microsoft.com/office/drawing/2014/main" id="{A0E7D8DE-22F3-024C-A867-97414AFFC0A6}"/>
              </a:ext>
            </a:extLst>
          </p:cNvPr>
          <p:cNvGrpSpPr>
            <a:grpSpLocks noChangeAspect="1"/>
          </p:cNvGrpSpPr>
          <p:nvPr/>
        </p:nvGrpSpPr>
        <p:grpSpPr>
          <a:xfrm>
            <a:off x="1900439" y="1246452"/>
            <a:ext cx="557782" cy="554188"/>
            <a:chOff x="12790488" y="2444750"/>
            <a:chExt cx="246062" cy="244475"/>
          </a:xfrm>
          <a:solidFill>
            <a:schemeClr val="accent1"/>
          </a:solidFill>
        </p:grpSpPr>
        <p:sp>
          <p:nvSpPr>
            <p:cNvPr id="626" name="Freeform 841">
              <a:extLst>
                <a:ext uri="{FF2B5EF4-FFF2-40B4-BE49-F238E27FC236}">
                  <a16:creationId xmlns:a16="http://schemas.microsoft.com/office/drawing/2014/main" id="{E46B0E1C-3623-2F19-EE02-BD2F1FB085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790488" y="2444750"/>
              <a:ext cx="192088" cy="190500"/>
            </a:xfrm>
            <a:custGeom>
              <a:avLst/>
              <a:gdLst>
                <a:gd name="T0" fmla="*/ 98 w 195"/>
                <a:gd name="T1" fmla="*/ 195 h 195"/>
                <a:gd name="T2" fmla="*/ 0 w 195"/>
                <a:gd name="T3" fmla="*/ 97 h 195"/>
                <a:gd name="T4" fmla="*/ 98 w 195"/>
                <a:gd name="T5" fmla="*/ 0 h 195"/>
                <a:gd name="T6" fmla="*/ 195 w 195"/>
                <a:gd name="T7" fmla="*/ 97 h 195"/>
                <a:gd name="T8" fmla="*/ 98 w 195"/>
                <a:gd name="T9" fmla="*/ 195 h 195"/>
                <a:gd name="T10" fmla="*/ 98 w 195"/>
                <a:gd name="T11" fmla="*/ 8 h 195"/>
                <a:gd name="T12" fmla="*/ 9 w 195"/>
                <a:gd name="T13" fmla="*/ 97 h 195"/>
                <a:gd name="T14" fmla="*/ 98 w 195"/>
                <a:gd name="T15" fmla="*/ 186 h 195"/>
                <a:gd name="T16" fmla="*/ 187 w 195"/>
                <a:gd name="T17" fmla="*/ 97 h 195"/>
                <a:gd name="T18" fmla="*/ 98 w 195"/>
                <a:gd name="T19" fmla="*/ 8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5" h="195">
                  <a:moveTo>
                    <a:pt x="98" y="195"/>
                  </a:moveTo>
                  <a:cubicBezTo>
                    <a:pt x="44" y="195"/>
                    <a:pt x="0" y="151"/>
                    <a:pt x="0" y="97"/>
                  </a:cubicBezTo>
                  <a:cubicBezTo>
                    <a:pt x="0" y="44"/>
                    <a:pt x="44" y="0"/>
                    <a:pt x="98" y="0"/>
                  </a:cubicBezTo>
                  <a:cubicBezTo>
                    <a:pt x="151" y="0"/>
                    <a:pt x="195" y="44"/>
                    <a:pt x="195" y="97"/>
                  </a:cubicBezTo>
                  <a:cubicBezTo>
                    <a:pt x="195" y="151"/>
                    <a:pt x="151" y="195"/>
                    <a:pt x="98" y="195"/>
                  </a:cubicBezTo>
                  <a:close/>
                  <a:moveTo>
                    <a:pt x="98" y="8"/>
                  </a:moveTo>
                  <a:cubicBezTo>
                    <a:pt x="49" y="8"/>
                    <a:pt x="9" y="48"/>
                    <a:pt x="9" y="97"/>
                  </a:cubicBezTo>
                  <a:cubicBezTo>
                    <a:pt x="9" y="146"/>
                    <a:pt x="49" y="186"/>
                    <a:pt x="98" y="186"/>
                  </a:cubicBezTo>
                  <a:cubicBezTo>
                    <a:pt x="147" y="186"/>
                    <a:pt x="187" y="146"/>
                    <a:pt x="187" y="97"/>
                  </a:cubicBezTo>
                  <a:cubicBezTo>
                    <a:pt x="187" y="48"/>
                    <a:pt x="147" y="8"/>
                    <a:pt x="98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27" name="Freeform 842">
              <a:extLst>
                <a:ext uri="{FF2B5EF4-FFF2-40B4-BE49-F238E27FC236}">
                  <a16:creationId xmlns:a16="http://schemas.microsoft.com/office/drawing/2014/main" id="{23F44EAE-D5C5-3F45-85D7-6A4FD095BF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938125" y="2590800"/>
              <a:ext cx="98425" cy="98425"/>
            </a:xfrm>
            <a:custGeom>
              <a:avLst/>
              <a:gdLst>
                <a:gd name="T0" fmla="*/ 81 w 101"/>
                <a:gd name="T1" fmla="*/ 99 h 99"/>
                <a:gd name="T2" fmla="*/ 69 w 101"/>
                <a:gd name="T3" fmla="*/ 94 h 99"/>
                <a:gd name="T4" fmla="*/ 69 w 101"/>
                <a:gd name="T5" fmla="*/ 94 h 99"/>
                <a:gd name="T6" fmla="*/ 69 w 101"/>
                <a:gd name="T7" fmla="*/ 94 h 99"/>
                <a:gd name="T8" fmla="*/ 2 w 101"/>
                <a:gd name="T9" fmla="*/ 27 h 99"/>
                <a:gd name="T10" fmla="*/ 2 w 101"/>
                <a:gd name="T11" fmla="*/ 21 h 99"/>
                <a:gd name="T12" fmla="*/ 22 w 101"/>
                <a:gd name="T13" fmla="*/ 1 h 99"/>
                <a:gd name="T14" fmla="*/ 28 w 101"/>
                <a:gd name="T15" fmla="*/ 1 h 99"/>
                <a:gd name="T16" fmla="*/ 94 w 101"/>
                <a:gd name="T17" fmla="*/ 68 h 99"/>
                <a:gd name="T18" fmla="*/ 94 w 101"/>
                <a:gd name="T19" fmla="*/ 94 h 99"/>
                <a:gd name="T20" fmla="*/ 81 w 101"/>
                <a:gd name="T21" fmla="*/ 99 h 99"/>
                <a:gd name="T22" fmla="*/ 11 w 101"/>
                <a:gd name="T23" fmla="*/ 24 h 99"/>
                <a:gd name="T24" fmla="*/ 74 w 101"/>
                <a:gd name="T25" fmla="*/ 88 h 99"/>
                <a:gd name="T26" fmla="*/ 74 w 101"/>
                <a:gd name="T27" fmla="*/ 88 h 99"/>
                <a:gd name="T28" fmla="*/ 88 w 101"/>
                <a:gd name="T29" fmla="*/ 88 h 99"/>
                <a:gd name="T30" fmla="*/ 88 w 101"/>
                <a:gd name="T31" fmla="*/ 74 h 99"/>
                <a:gd name="T32" fmla="*/ 25 w 101"/>
                <a:gd name="T33" fmla="*/ 10 h 99"/>
                <a:gd name="T34" fmla="*/ 11 w 101"/>
                <a:gd name="T35" fmla="*/ 24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1" h="99">
                  <a:moveTo>
                    <a:pt x="81" y="99"/>
                  </a:moveTo>
                  <a:cubicBezTo>
                    <a:pt x="77" y="99"/>
                    <a:pt x="72" y="97"/>
                    <a:pt x="69" y="94"/>
                  </a:cubicBezTo>
                  <a:cubicBezTo>
                    <a:pt x="69" y="94"/>
                    <a:pt x="69" y="94"/>
                    <a:pt x="69" y="94"/>
                  </a:cubicBezTo>
                  <a:cubicBezTo>
                    <a:pt x="69" y="94"/>
                    <a:pt x="69" y="94"/>
                    <a:pt x="69" y="94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0" y="25"/>
                    <a:pt x="0" y="23"/>
                    <a:pt x="2" y="21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3" y="0"/>
                    <a:pt x="26" y="0"/>
                    <a:pt x="28" y="1"/>
                  </a:cubicBezTo>
                  <a:cubicBezTo>
                    <a:pt x="94" y="68"/>
                    <a:pt x="94" y="68"/>
                    <a:pt x="94" y="68"/>
                  </a:cubicBezTo>
                  <a:cubicBezTo>
                    <a:pt x="101" y="75"/>
                    <a:pt x="101" y="87"/>
                    <a:pt x="94" y="94"/>
                  </a:cubicBezTo>
                  <a:cubicBezTo>
                    <a:pt x="91" y="97"/>
                    <a:pt x="86" y="99"/>
                    <a:pt x="81" y="99"/>
                  </a:cubicBezTo>
                  <a:close/>
                  <a:moveTo>
                    <a:pt x="11" y="24"/>
                  </a:moveTo>
                  <a:cubicBezTo>
                    <a:pt x="74" y="88"/>
                    <a:pt x="74" y="88"/>
                    <a:pt x="74" y="88"/>
                  </a:cubicBezTo>
                  <a:cubicBezTo>
                    <a:pt x="74" y="88"/>
                    <a:pt x="74" y="88"/>
                    <a:pt x="74" y="88"/>
                  </a:cubicBezTo>
                  <a:cubicBezTo>
                    <a:pt x="78" y="92"/>
                    <a:pt x="85" y="92"/>
                    <a:pt x="88" y="88"/>
                  </a:cubicBezTo>
                  <a:cubicBezTo>
                    <a:pt x="92" y="84"/>
                    <a:pt x="92" y="78"/>
                    <a:pt x="88" y="74"/>
                  </a:cubicBezTo>
                  <a:cubicBezTo>
                    <a:pt x="25" y="10"/>
                    <a:pt x="25" y="10"/>
                    <a:pt x="25" y="10"/>
                  </a:cubicBezTo>
                  <a:lnTo>
                    <a:pt x="11" y="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28" name="Freeform 843">
              <a:extLst>
                <a:ext uri="{FF2B5EF4-FFF2-40B4-BE49-F238E27FC236}">
                  <a16:creationId xmlns:a16="http://schemas.microsoft.com/office/drawing/2014/main" id="{0947AD00-289F-8F5A-6A45-5AF9B11611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44463" y="2513013"/>
              <a:ext cx="84138" cy="58738"/>
            </a:xfrm>
            <a:custGeom>
              <a:avLst/>
              <a:gdLst>
                <a:gd name="T0" fmla="*/ 30 w 86"/>
                <a:gd name="T1" fmla="*/ 60 h 60"/>
                <a:gd name="T2" fmla="*/ 27 w 86"/>
                <a:gd name="T3" fmla="*/ 58 h 60"/>
                <a:gd name="T4" fmla="*/ 1 w 86"/>
                <a:gd name="T5" fmla="*/ 32 h 60"/>
                <a:gd name="T6" fmla="*/ 1 w 86"/>
                <a:gd name="T7" fmla="*/ 27 h 60"/>
                <a:gd name="T8" fmla="*/ 7 w 86"/>
                <a:gd name="T9" fmla="*/ 27 h 60"/>
                <a:gd name="T10" fmla="*/ 30 w 86"/>
                <a:gd name="T11" fmla="*/ 50 h 60"/>
                <a:gd name="T12" fmla="*/ 79 w 86"/>
                <a:gd name="T13" fmla="*/ 2 h 60"/>
                <a:gd name="T14" fmla="*/ 84 w 86"/>
                <a:gd name="T15" fmla="*/ 2 h 60"/>
                <a:gd name="T16" fmla="*/ 84 w 86"/>
                <a:gd name="T17" fmla="*/ 7 h 60"/>
                <a:gd name="T18" fmla="*/ 33 w 86"/>
                <a:gd name="T19" fmla="*/ 58 h 60"/>
                <a:gd name="T20" fmla="*/ 30 w 86"/>
                <a:gd name="T21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60">
                  <a:moveTo>
                    <a:pt x="30" y="60"/>
                  </a:moveTo>
                  <a:cubicBezTo>
                    <a:pt x="29" y="60"/>
                    <a:pt x="28" y="59"/>
                    <a:pt x="27" y="58"/>
                  </a:cubicBezTo>
                  <a:cubicBezTo>
                    <a:pt x="1" y="32"/>
                    <a:pt x="1" y="32"/>
                    <a:pt x="1" y="32"/>
                  </a:cubicBezTo>
                  <a:cubicBezTo>
                    <a:pt x="0" y="31"/>
                    <a:pt x="0" y="28"/>
                    <a:pt x="1" y="27"/>
                  </a:cubicBezTo>
                  <a:cubicBezTo>
                    <a:pt x="3" y="25"/>
                    <a:pt x="6" y="25"/>
                    <a:pt x="7" y="27"/>
                  </a:cubicBezTo>
                  <a:cubicBezTo>
                    <a:pt x="30" y="50"/>
                    <a:pt x="30" y="50"/>
                    <a:pt x="30" y="50"/>
                  </a:cubicBezTo>
                  <a:cubicBezTo>
                    <a:pt x="79" y="2"/>
                    <a:pt x="79" y="2"/>
                    <a:pt x="79" y="2"/>
                  </a:cubicBezTo>
                  <a:cubicBezTo>
                    <a:pt x="80" y="0"/>
                    <a:pt x="83" y="0"/>
                    <a:pt x="84" y="2"/>
                  </a:cubicBezTo>
                  <a:cubicBezTo>
                    <a:pt x="86" y="3"/>
                    <a:pt x="86" y="6"/>
                    <a:pt x="84" y="7"/>
                  </a:cubicBezTo>
                  <a:cubicBezTo>
                    <a:pt x="33" y="58"/>
                    <a:pt x="33" y="58"/>
                    <a:pt x="33" y="58"/>
                  </a:cubicBezTo>
                  <a:cubicBezTo>
                    <a:pt x="32" y="59"/>
                    <a:pt x="31" y="60"/>
                    <a:pt x="30" y="6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629" name="Shape6_20200717_142313">
            <a:extLst>
              <a:ext uri="{FF2B5EF4-FFF2-40B4-BE49-F238E27FC236}">
                <a16:creationId xmlns:a16="http://schemas.microsoft.com/office/drawing/2014/main" id="{8F6E944D-2563-37D4-326E-65BCE99B92B1}"/>
              </a:ext>
            </a:extLst>
          </p:cNvPr>
          <p:cNvGrpSpPr>
            <a:grpSpLocks noChangeAspect="1"/>
          </p:cNvGrpSpPr>
          <p:nvPr/>
        </p:nvGrpSpPr>
        <p:grpSpPr>
          <a:xfrm>
            <a:off x="5746933" y="2553807"/>
            <a:ext cx="698130" cy="550588"/>
            <a:chOff x="12758738" y="3592513"/>
            <a:chExt cx="307975" cy="242888"/>
          </a:xfrm>
          <a:solidFill>
            <a:schemeClr val="accent1"/>
          </a:solidFill>
        </p:grpSpPr>
        <p:sp>
          <p:nvSpPr>
            <p:cNvPr id="630" name="Freeform 844">
              <a:extLst>
                <a:ext uri="{FF2B5EF4-FFF2-40B4-BE49-F238E27FC236}">
                  <a16:creationId xmlns:a16="http://schemas.microsoft.com/office/drawing/2014/main" id="{35F539A2-6ED7-0A76-266D-0FD0DC92D7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758738" y="3592513"/>
              <a:ext cx="307975" cy="209550"/>
            </a:xfrm>
            <a:custGeom>
              <a:avLst/>
              <a:gdLst>
                <a:gd name="T0" fmla="*/ 290 w 315"/>
                <a:gd name="T1" fmla="*/ 213 h 213"/>
                <a:gd name="T2" fmla="*/ 26 w 315"/>
                <a:gd name="T3" fmla="*/ 213 h 213"/>
                <a:gd name="T4" fmla="*/ 0 w 315"/>
                <a:gd name="T5" fmla="*/ 187 h 213"/>
                <a:gd name="T6" fmla="*/ 0 w 315"/>
                <a:gd name="T7" fmla="*/ 25 h 213"/>
                <a:gd name="T8" fmla="*/ 26 w 315"/>
                <a:gd name="T9" fmla="*/ 0 h 213"/>
                <a:gd name="T10" fmla="*/ 290 w 315"/>
                <a:gd name="T11" fmla="*/ 0 h 213"/>
                <a:gd name="T12" fmla="*/ 315 w 315"/>
                <a:gd name="T13" fmla="*/ 25 h 213"/>
                <a:gd name="T14" fmla="*/ 315 w 315"/>
                <a:gd name="T15" fmla="*/ 187 h 213"/>
                <a:gd name="T16" fmla="*/ 290 w 315"/>
                <a:gd name="T17" fmla="*/ 213 h 213"/>
                <a:gd name="T18" fmla="*/ 26 w 315"/>
                <a:gd name="T19" fmla="*/ 8 h 213"/>
                <a:gd name="T20" fmla="*/ 9 w 315"/>
                <a:gd name="T21" fmla="*/ 25 h 213"/>
                <a:gd name="T22" fmla="*/ 9 w 315"/>
                <a:gd name="T23" fmla="*/ 187 h 213"/>
                <a:gd name="T24" fmla="*/ 26 w 315"/>
                <a:gd name="T25" fmla="*/ 204 h 213"/>
                <a:gd name="T26" fmla="*/ 290 w 315"/>
                <a:gd name="T27" fmla="*/ 204 h 213"/>
                <a:gd name="T28" fmla="*/ 307 w 315"/>
                <a:gd name="T29" fmla="*/ 187 h 213"/>
                <a:gd name="T30" fmla="*/ 307 w 315"/>
                <a:gd name="T31" fmla="*/ 25 h 213"/>
                <a:gd name="T32" fmla="*/ 290 w 315"/>
                <a:gd name="T33" fmla="*/ 8 h 213"/>
                <a:gd name="T34" fmla="*/ 26 w 315"/>
                <a:gd name="T35" fmla="*/ 8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15" h="213">
                  <a:moveTo>
                    <a:pt x="290" y="213"/>
                  </a:moveTo>
                  <a:cubicBezTo>
                    <a:pt x="26" y="213"/>
                    <a:pt x="26" y="213"/>
                    <a:pt x="26" y="213"/>
                  </a:cubicBezTo>
                  <a:cubicBezTo>
                    <a:pt x="12" y="213"/>
                    <a:pt x="0" y="201"/>
                    <a:pt x="0" y="187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11"/>
                    <a:pt x="12" y="0"/>
                    <a:pt x="26" y="0"/>
                  </a:cubicBezTo>
                  <a:cubicBezTo>
                    <a:pt x="290" y="0"/>
                    <a:pt x="290" y="0"/>
                    <a:pt x="290" y="0"/>
                  </a:cubicBezTo>
                  <a:cubicBezTo>
                    <a:pt x="304" y="0"/>
                    <a:pt x="315" y="11"/>
                    <a:pt x="315" y="25"/>
                  </a:cubicBezTo>
                  <a:cubicBezTo>
                    <a:pt x="315" y="187"/>
                    <a:pt x="315" y="187"/>
                    <a:pt x="315" y="187"/>
                  </a:cubicBezTo>
                  <a:cubicBezTo>
                    <a:pt x="315" y="201"/>
                    <a:pt x="304" y="213"/>
                    <a:pt x="290" y="213"/>
                  </a:cubicBezTo>
                  <a:close/>
                  <a:moveTo>
                    <a:pt x="26" y="8"/>
                  </a:moveTo>
                  <a:cubicBezTo>
                    <a:pt x="16" y="8"/>
                    <a:pt x="9" y="16"/>
                    <a:pt x="9" y="25"/>
                  </a:cubicBezTo>
                  <a:cubicBezTo>
                    <a:pt x="9" y="187"/>
                    <a:pt x="9" y="187"/>
                    <a:pt x="9" y="187"/>
                  </a:cubicBezTo>
                  <a:cubicBezTo>
                    <a:pt x="9" y="197"/>
                    <a:pt x="16" y="204"/>
                    <a:pt x="26" y="204"/>
                  </a:cubicBezTo>
                  <a:cubicBezTo>
                    <a:pt x="290" y="204"/>
                    <a:pt x="290" y="204"/>
                    <a:pt x="290" y="204"/>
                  </a:cubicBezTo>
                  <a:cubicBezTo>
                    <a:pt x="299" y="204"/>
                    <a:pt x="307" y="197"/>
                    <a:pt x="307" y="187"/>
                  </a:cubicBezTo>
                  <a:cubicBezTo>
                    <a:pt x="307" y="25"/>
                    <a:pt x="307" y="25"/>
                    <a:pt x="307" y="25"/>
                  </a:cubicBezTo>
                  <a:cubicBezTo>
                    <a:pt x="307" y="16"/>
                    <a:pt x="299" y="8"/>
                    <a:pt x="290" y="8"/>
                  </a:cubicBezTo>
                  <a:lnTo>
                    <a:pt x="26" y="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31" name="Freeform 845">
              <a:extLst>
                <a:ext uri="{FF2B5EF4-FFF2-40B4-BE49-F238E27FC236}">
                  <a16:creationId xmlns:a16="http://schemas.microsoft.com/office/drawing/2014/main" id="{7F4FA38E-DC13-F79F-77B2-FAF33D74B1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758738" y="3763963"/>
              <a:ext cx="307975" cy="38100"/>
            </a:xfrm>
            <a:custGeom>
              <a:avLst/>
              <a:gdLst>
                <a:gd name="T0" fmla="*/ 290 w 315"/>
                <a:gd name="T1" fmla="*/ 38 h 38"/>
                <a:gd name="T2" fmla="*/ 25 w 315"/>
                <a:gd name="T3" fmla="*/ 38 h 38"/>
                <a:gd name="T4" fmla="*/ 0 w 315"/>
                <a:gd name="T5" fmla="*/ 13 h 38"/>
                <a:gd name="T6" fmla="*/ 0 w 315"/>
                <a:gd name="T7" fmla="*/ 4 h 38"/>
                <a:gd name="T8" fmla="*/ 4 w 315"/>
                <a:gd name="T9" fmla="*/ 0 h 38"/>
                <a:gd name="T10" fmla="*/ 311 w 315"/>
                <a:gd name="T11" fmla="*/ 0 h 38"/>
                <a:gd name="T12" fmla="*/ 315 w 315"/>
                <a:gd name="T13" fmla="*/ 4 h 38"/>
                <a:gd name="T14" fmla="*/ 315 w 315"/>
                <a:gd name="T15" fmla="*/ 13 h 38"/>
                <a:gd name="T16" fmla="*/ 290 w 315"/>
                <a:gd name="T17" fmla="*/ 38 h 38"/>
                <a:gd name="T18" fmla="*/ 9 w 315"/>
                <a:gd name="T19" fmla="*/ 9 h 38"/>
                <a:gd name="T20" fmla="*/ 9 w 315"/>
                <a:gd name="T21" fmla="*/ 13 h 38"/>
                <a:gd name="T22" fmla="*/ 25 w 315"/>
                <a:gd name="T23" fmla="*/ 29 h 38"/>
                <a:gd name="T24" fmla="*/ 290 w 315"/>
                <a:gd name="T25" fmla="*/ 29 h 38"/>
                <a:gd name="T26" fmla="*/ 307 w 315"/>
                <a:gd name="T27" fmla="*/ 13 h 38"/>
                <a:gd name="T28" fmla="*/ 307 w 315"/>
                <a:gd name="T29" fmla="*/ 9 h 38"/>
                <a:gd name="T30" fmla="*/ 9 w 315"/>
                <a:gd name="T31" fmla="*/ 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15" h="38">
                  <a:moveTo>
                    <a:pt x="290" y="38"/>
                  </a:moveTo>
                  <a:cubicBezTo>
                    <a:pt x="25" y="38"/>
                    <a:pt x="25" y="38"/>
                    <a:pt x="25" y="38"/>
                  </a:cubicBezTo>
                  <a:cubicBezTo>
                    <a:pt x="12" y="38"/>
                    <a:pt x="0" y="26"/>
                    <a:pt x="0" y="1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311" y="0"/>
                    <a:pt x="311" y="0"/>
                    <a:pt x="311" y="0"/>
                  </a:cubicBezTo>
                  <a:cubicBezTo>
                    <a:pt x="314" y="0"/>
                    <a:pt x="315" y="2"/>
                    <a:pt x="315" y="4"/>
                  </a:cubicBezTo>
                  <a:cubicBezTo>
                    <a:pt x="315" y="13"/>
                    <a:pt x="315" y="13"/>
                    <a:pt x="315" y="13"/>
                  </a:cubicBezTo>
                  <a:cubicBezTo>
                    <a:pt x="315" y="26"/>
                    <a:pt x="304" y="38"/>
                    <a:pt x="290" y="38"/>
                  </a:cubicBezTo>
                  <a:close/>
                  <a:moveTo>
                    <a:pt x="9" y="9"/>
                  </a:moveTo>
                  <a:cubicBezTo>
                    <a:pt x="9" y="13"/>
                    <a:pt x="9" y="13"/>
                    <a:pt x="9" y="13"/>
                  </a:cubicBezTo>
                  <a:cubicBezTo>
                    <a:pt x="9" y="22"/>
                    <a:pt x="16" y="29"/>
                    <a:pt x="25" y="29"/>
                  </a:cubicBezTo>
                  <a:cubicBezTo>
                    <a:pt x="290" y="29"/>
                    <a:pt x="290" y="29"/>
                    <a:pt x="290" y="29"/>
                  </a:cubicBezTo>
                  <a:cubicBezTo>
                    <a:pt x="300" y="29"/>
                    <a:pt x="307" y="22"/>
                    <a:pt x="307" y="13"/>
                  </a:cubicBezTo>
                  <a:cubicBezTo>
                    <a:pt x="307" y="9"/>
                    <a:pt x="307" y="9"/>
                    <a:pt x="307" y="9"/>
                  </a:cubicBezTo>
                  <a:lnTo>
                    <a:pt x="9" y="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32" name="Freeform 846">
              <a:extLst>
                <a:ext uri="{FF2B5EF4-FFF2-40B4-BE49-F238E27FC236}">
                  <a16:creationId xmlns:a16="http://schemas.microsoft.com/office/drawing/2014/main" id="{9A49701C-B3DB-629D-4091-428FA80C3A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93675" y="3792538"/>
              <a:ext cx="39688" cy="42863"/>
            </a:xfrm>
            <a:custGeom>
              <a:avLst/>
              <a:gdLst>
                <a:gd name="T0" fmla="*/ 38 w 42"/>
                <a:gd name="T1" fmla="*/ 44 h 44"/>
                <a:gd name="T2" fmla="*/ 4 w 42"/>
                <a:gd name="T3" fmla="*/ 44 h 44"/>
                <a:gd name="T4" fmla="*/ 0 w 42"/>
                <a:gd name="T5" fmla="*/ 40 h 44"/>
                <a:gd name="T6" fmla="*/ 0 w 42"/>
                <a:gd name="T7" fmla="*/ 5 h 44"/>
                <a:gd name="T8" fmla="*/ 4 w 42"/>
                <a:gd name="T9" fmla="*/ 0 h 44"/>
                <a:gd name="T10" fmla="*/ 38 w 42"/>
                <a:gd name="T11" fmla="*/ 0 h 44"/>
                <a:gd name="T12" fmla="*/ 42 w 42"/>
                <a:gd name="T13" fmla="*/ 5 h 44"/>
                <a:gd name="T14" fmla="*/ 42 w 42"/>
                <a:gd name="T15" fmla="*/ 40 h 44"/>
                <a:gd name="T16" fmla="*/ 38 w 42"/>
                <a:gd name="T17" fmla="*/ 44 h 44"/>
                <a:gd name="T18" fmla="*/ 8 w 42"/>
                <a:gd name="T19" fmla="*/ 36 h 44"/>
                <a:gd name="T20" fmla="*/ 33 w 42"/>
                <a:gd name="T21" fmla="*/ 36 h 44"/>
                <a:gd name="T22" fmla="*/ 33 w 42"/>
                <a:gd name="T23" fmla="*/ 9 h 44"/>
                <a:gd name="T24" fmla="*/ 8 w 42"/>
                <a:gd name="T25" fmla="*/ 9 h 44"/>
                <a:gd name="T26" fmla="*/ 8 w 42"/>
                <a:gd name="T27" fmla="*/ 3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2" h="44">
                  <a:moveTo>
                    <a:pt x="38" y="44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" y="44"/>
                    <a:pt x="0" y="42"/>
                    <a:pt x="0" y="4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40" y="0"/>
                    <a:pt x="42" y="2"/>
                    <a:pt x="42" y="5"/>
                  </a:cubicBezTo>
                  <a:cubicBezTo>
                    <a:pt x="42" y="40"/>
                    <a:pt x="42" y="40"/>
                    <a:pt x="42" y="40"/>
                  </a:cubicBezTo>
                  <a:cubicBezTo>
                    <a:pt x="42" y="42"/>
                    <a:pt x="40" y="44"/>
                    <a:pt x="38" y="44"/>
                  </a:cubicBezTo>
                  <a:close/>
                  <a:moveTo>
                    <a:pt x="8" y="36"/>
                  </a:moveTo>
                  <a:cubicBezTo>
                    <a:pt x="33" y="36"/>
                    <a:pt x="33" y="36"/>
                    <a:pt x="33" y="36"/>
                  </a:cubicBezTo>
                  <a:cubicBezTo>
                    <a:pt x="33" y="9"/>
                    <a:pt x="33" y="9"/>
                    <a:pt x="33" y="9"/>
                  </a:cubicBezTo>
                  <a:cubicBezTo>
                    <a:pt x="8" y="9"/>
                    <a:pt x="8" y="9"/>
                    <a:pt x="8" y="9"/>
                  </a:cubicBezTo>
                  <a:lnTo>
                    <a:pt x="8" y="3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33" name="Freeform 847">
              <a:extLst>
                <a:ext uri="{FF2B5EF4-FFF2-40B4-BE49-F238E27FC236}">
                  <a16:creationId xmlns:a16="http://schemas.microsoft.com/office/drawing/2014/main" id="{5683DAF6-15B5-6B93-02FC-33BB9CB1BA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925" y="3827463"/>
              <a:ext cx="103188" cy="7938"/>
            </a:xfrm>
            <a:custGeom>
              <a:avLst/>
              <a:gdLst>
                <a:gd name="T0" fmla="*/ 100 w 104"/>
                <a:gd name="T1" fmla="*/ 8 h 8"/>
                <a:gd name="T2" fmla="*/ 4 w 104"/>
                <a:gd name="T3" fmla="*/ 8 h 8"/>
                <a:gd name="T4" fmla="*/ 0 w 104"/>
                <a:gd name="T5" fmla="*/ 4 h 8"/>
                <a:gd name="T6" fmla="*/ 4 w 104"/>
                <a:gd name="T7" fmla="*/ 0 h 8"/>
                <a:gd name="T8" fmla="*/ 100 w 104"/>
                <a:gd name="T9" fmla="*/ 0 h 8"/>
                <a:gd name="T10" fmla="*/ 104 w 104"/>
                <a:gd name="T11" fmla="*/ 4 h 8"/>
                <a:gd name="T12" fmla="*/ 100 w 104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4" h="8">
                  <a:moveTo>
                    <a:pt x="100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1" y="8"/>
                    <a:pt x="0" y="6"/>
                    <a:pt x="0" y="4"/>
                  </a:cubicBezTo>
                  <a:cubicBezTo>
                    <a:pt x="0" y="2"/>
                    <a:pt x="1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2" y="0"/>
                    <a:pt x="104" y="2"/>
                    <a:pt x="104" y="4"/>
                  </a:cubicBezTo>
                  <a:cubicBezTo>
                    <a:pt x="104" y="6"/>
                    <a:pt x="102" y="8"/>
                    <a:pt x="10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34" name="Freeform 848">
              <a:extLst>
                <a:ext uri="{FF2B5EF4-FFF2-40B4-BE49-F238E27FC236}">
                  <a16:creationId xmlns:a16="http://schemas.microsoft.com/office/drawing/2014/main" id="{F373D699-A22D-7CD9-6749-A4E56CBF1B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7638" y="3616325"/>
              <a:ext cx="103188" cy="103188"/>
            </a:xfrm>
            <a:custGeom>
              <a:avLst/>
              <a:gdLst>
                <a:gd name="T0" fmla="*/ 53 w 105"/>
                <a:gd name="T1" fmla="*/ 105 h 105"/>
                <a:gd name="T2" fmla="*/ 0 w 105"/>
                <a:gd name="T3" fmla="*/ 53 h 105"/>
                <a:gd name="T4" fmla="*/ 53 w 105"/>
                <a:gd name="T5" fmla="*/ 0 h 105"/>
                <a:gd name="T6" fmla="*/ 105 w 105"/>
                <a:gd name="T7" fmla="*/ 53 h 105"/>
                <a:gd name="T8" fmla="*/ 53 w 105"/>
                <a:gd name="T9" fmla="*/ 105 h 105"/>
                <a:gd name="T10" fmla="*/ 53 w 105"/>
                <a:gd name="T11" fmla="*/ 8 h 105"/>
                <a:gd name="T12" fmla="*/ 8 w 105"/>
                <a:gd name="T13" fmla="*/ 53 h 105"/>
                <a:gd name="T14" fmla="*/ 53 w 105"/>
                <a:gd name="T15" fmla="*/ 97 h 105"/>
                <a:gd name="T16" fmla="*/ 97 w 105"/>
                <a:gd name="T17" fmla="*/ 53 h 105"/>
                <a:gd name="T18" fmla="*/ 53 w 105"/>
                <a:gd name="T19" fmla="*/ 8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5" h="105">
                  <a:moveTo>
                    <a:pt x="53" y="105"/>
                  </a:moveTo>
                  <a:cubicBezTo>
                    <a:pt x="24" y="105"/>
                    <a:pt x="0" y="82"/>
                    <a:pt x="0" y="53"/>
                  </a:cubicBezTo>
                  <a:cubicBezTo>
                    <a:pt x="0" y="23"/>
                    <a:pt x="24" y="0"/>
                    <a:pt x="53" y="0"/>
                  </a:cubicBezTo>
                  <a:cubicBezTo>
                    <a:pt x="82" y="0"/>
                    <a:pt x="105" y="23"/>
                    <a:pt x="105" y="53"/>
                  </a:cubicBezTo>
                  <a:cubicBezTo>
                    <a:pt x="105" y="82"/>
                    <a:pt x="82" y="105"/>
                    <a:pt x="53" y="105"/>
                  </a:cubicBezTo>
                  <a:close/>
                  <a:moveTo>
                    <a:pt x="53" y="8"/>
                  </a:moveTo>
                  <a:cubicBezTo>
                    <a:pt x="28" y="8"/>
                    <a:pt x="8" y="28"/>
                    <a:pt x="8" y="53"/>
                  </a:cubicBezTo>
                  <a:cubicBezTo>
                    <a:pt x="8" y="77"/>
                    <a:pt x="28" y="97"/>
                    <a:pt x="53" y="97"/>
                  </a:cubicBezTo>
                  <a:cubicBezTo>
                    <a:pt x="77" y="97"/>
                    <a:pt x="97" y="77"/>
                    <a:pt x="97" y="53"/>
                  </a:cubicBezTo>
                  <a:cubicBezTo>
                    <a:pt x="97" y="28"/>
                    <a:pt x="77" y="8"/>
                    <a:pt x="53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35" name="Freeform 849">
              <a:extLst>
                <a:ext uri="{FF2B5EF4-FFF2-40B4-BE49-F238E27FC236}">
                  <a16:creationId xmlns:a16="http://schemas.microsoft.com/office/drawing/2014/main" id="{1B9EE3A3-905F-C158-1327-85FA2FC7EE1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923838" y="3692525"/>
              <a:ext cx="55563" cy="55563"/>
            </a:xfrm>
            <a:custGeom>
              <a:avLst/>
              <a:gdLst>
                <a:gd name="T0" fmla="*/ 44 w 57"/>
                <a:gd name="T1" fmla="*/ 57 h 57"/>
                <a:gd name="T2" fmla="*/ 35 w 57"/>
                <a:gd name="T3" fmla="*/ 54 h 57"/>
                <a:gd name="T4" fmla="*/ 35 w 57"/>
                <a:gd name="T5" fmla="*/ 54 h 57"/>
                <a:gd name="T6" fmla="*/ 1 w 57"/>
                <a:gd name="T7" fmla="*/ 20 h 57"/>
                <a:gd name="T8" fmla="*/ 1 w 57"/>
                <a:gd name="T9" fmla="*/ 14 h 57"/>
                <a:gd name="T10" fmla="*/ 14 w 57"/>
                <a:gd name="T11" fmla="*/ 1 h 57"/>
                <a:gd name="T12" fmla="*/ 20 w 57"/>
                <a:gd name="T13" fmla="*/ 1 h 57"/>
                <a:gd name="T14" fmla="*/ 54 w 57"/>
                <a:gd name="T15" fmla="*/ 35 h 57"/>
                <a:gd name="T16" fmla="*/ 57 w 57"/>
                <a:gd name="T17" fmla="*/ 44 h 57"/>
                <a:gd name="T18" fmla="*/ 54 w 57"/>
                <a:gd name="T19" fmla="*/ 53 h 57"/>
                <a:gd name="T20" fmla="*/ 53 w 57"/>
                <a:gd name="T21" fmla="*/ 54 h 57"/>
                <a:gd name="T22" fmla="*/ 44 w 57"/>
                <a:gd name="T23" fmla="*/ 57 h 57"/>
                <a:gd name="T24" fmla="*/ 41 w 57"/>
                <a:gd name="T25" fmla="*/ 48 h 57"/>
                <a:gd name="T26" fmla="*/ 47 w 57"/>
                <a:gd name="T27" fmla="*/ 48 h 57"/>
                <a:gd name="T28" fmla="*/ 48 w 57"/>
                <a:gd name="T29" fmla="*/ 47 h 57"/>
                <a:gd name="T30" fmla="*/ 49 w 57"/>
                <a:gd name="T31" fmla="*/ 44 h 57"/>
                <a:gd name="T32" fmla="*/ 48 w 57"/>
                <a:gd name="T33" fmla="*/ 41 h 57"/>
                <a:gd name="T34" fmla="*/ 17 w 57"/>
                <a:gd name="T35" fmla="*/ 10 h 57"/>
                <a:gd name="T36" fmla="*/ 10 w 57"/>
                <a:gd name="T37" fmla="*/ 17 h 57"/>
                <a:gd name="T38" fmla="*/ 41 w 57"/>
                <a:gd name="T39" fmla="*/ 48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7" h="57">
                  <a:moveTo>
                    <a:pt x="44" y="57"/>
                  </a:moveTo>
                  <a:cubicBezTo>
                    <a:pt x="41" y="57"/>
                    <a:pt x="38" y="56"/>
                    <a:pt x="35" y="54"/>
                  </a:cubicBezTo>
                  <a:cubicBezTo>
                    <a:pt x="35" y="54"/>
                    <a:pt x="35" y="54"/>
                    <a:pt x="35" y="54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18"/>
                    <a:pt x="0" y="15"/>
                    <a:pt x="1" y="14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6" y="0"/>
                    <a:pt x="18" y="0"/>
                    <a:pt x="20" y="1"/>
                  </a:cubicBezTo>
                  <a:cubicBezTo>
                    <a:pt x="54" y="35"/>
                    <a:pt x="54" y="35"/>
                    <a:pt x="54" y="35"/>
                  </a:cubicBezTo>
                  <a:cubicBezTo>
                    <a:pt x="56" y="38"/>
                    <a:pt x="57" y="41"/>
                    <a:pt x="57" y="44"/>
                  </a:cubicBezTo>
                  <a:cubicBezTo>
                    <a:pt x="57" y="47"/>
                    <a:pt x="56" y="51"/>
                    <a:pt x="54" y="53"/>
                  </a:cubicBezTo>
                  <a:cubicBezTo>
                    <a:pt x="53" y="54"/>
                    <a:pt x="53" y="54"/>
                    <a:pt x="53" y="54"/>
                  </a:cubicBezTo>
                  <a:cubicBezTo>
                    <a:pt x="51" y="56"/>
                    <a:pt x="47" y="57"/>
                    <a:pt x="44" y="57"/>
                  </a:cubicBezTo>
                  <a:close/>
                  <a:moveTo>
                    <a:pt x="41" y="48"/>
                  </a:moveTo>
                  <a:cubicBezTo>
                    <a:pt x="43" y="49"/>
                    <a:pt x="46" y="49"/>
                    <a:pt x="47" y="48"/>
                  </a:cubicBezTo>
                  <a:cubicBezTo>
                    <a:pt x="48" y="47"/>
                    <a:pt x="48" y="47"/>
                    <a:pt x="48" y="47"/>
                  </a:cubicBezTo>
                  <a:cubicBezTo>
                    <a:pt x="49" y="46"/>
                    <a:pt x="49" y="45"/>
                    <a:pt x="49" y="44"/>
                  </a:cubicBezTo>
                  <a:cubicBezTo>
                    <a:pt x="49" y="43"/>
                    <a:pt x="49" y="42"/>
                    <a:pt x="48" y="41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0" y="17"/>
                    <a:pt x="10" y="17"/>
                    <a:pt x="10" y="17"/>
                  </a:cubicBezTo>
                  <a:cubicBezTo>
                    <a:pt x="41" y="48"/>
                    <a:pt x="41" y="48"/>
                    <a:pt x="41" y="4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36" name="Freeform 850">
              <a:extLst>
                <a:ext uri="{FF2B5EF4-FFF2-40B4-BE49-F238E27FC236}">
                  <a16:creationId xmlns:a16="http://schemas.microsoft.com/office/drawing/2014/main" id="{7E6706DA-6FF2-82F0-619D-5EED61CF9B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74625" y="3652838"/>
              <a:ext cx="49213" cy="33338"/>
            </a:xfrm>
            <a:custGeom>
              <a:avLst/>
              <a:gdLst>
                <a:gd name="T0" fmla="*/ 18 w 49"/>
                <a:gd name="T1" fmla="*/ 35 h 35"/>
                <a:gd name="T2" fmla="*/ 15 w 49"/>
                <a:gd name="T3" fmla="*/ 34 h 35"/>
                <a:gd name="T4" fmla="*/ 2 w 49"/>
                <a:gd name="T5" fmla="*/ 21 h 35"/>
                <a:gd name="T6" fmla="*/ 2 w 49"/>
                <a:gd name="T7" fmla="*/ 15 h 35"/>
                <a:gd name="T8" fmla="*/ 8 w 49"/>
                <a:gd name="T9" fmla="*/ 15 h 35"/>
                <a:gd name="T10" fmla="*/ 18 w 49"/>
                <a:gd name="T11" fmla="*/ 25 h 35"/>
                <a:gd name="T12" fmla="*/ 42 w 49"/>
                <a:gd name="T13" fmla="*/ 2 h 35"/>
                <a:gd name="T14" fmla="*/ 48 w 49"/>
                <a:gd name="T15" fmla="*/ 2 h 35"/>
                <a:gd name="T16" fmla="*/ 48 w 49"/>
                <a:gd name="T17" fmla="*/ 8 h 35"/>
                <a:gd name="T18" fmla="*/ 21 w 49"/>
                <a:gd name="T19" fmla="*/ 34 h 35"/>
                <a:gd name="T20" fmla="*/ 18 w 49"/>
                <a:gd name="T21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9" h="35">
                  <a:moveTo>
                    <a:pt x="18" y="35"/>
                  </a:moveTo>
                  <a:cubicBezTo>
                    <a:pt x="17" y="35"/>
                    <a:pt x="16" y="35"/>
                    <a:pt x="15" y="34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0" y="19"/>
                    <a:pt x="0" y="16"/>
                    <a:pt x="2" y="15"/>
                  </a:cubicBezTo>
                  <a:cubicBezTo>
                    <a:pt x="3" y="13"/>
                    <a:pt x="6" y="13"/>
                    <a:pt x="8" y="1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42" y="2"/>
                    <a:pt x="42" y="2"/>
                    <a:pt x="42" y="2"/>
                  </a:cubicBezTo>
                  <a:cubicBezTo>
                    <a:pt x="44" y="0"/>
                    <a:pt x="46" y="0"/>
                    <a:pt x="48" y="2"/>
                  </a:cubicBezTo>
                  <a:cubicBezTo>
                    <a:pt x="49" y="3"/>
                    <a:pt x="49" y="6"/>
                    <a:pt x="48" y="8"/>
                  </a:cubicBezTo>
                  <a:cubicBezTo>
                    <a:pt x="21" y="34"/>
                    <a:pt x="21" y="34"/>
                    <a:pt x="21" y="34"/>
                  </a:cubicBezTo>
                  <a:cubicBezTo>
                    <a:pt x="20" y="35"/>
                    <a:pt x="19" y="35"/>
                    <a:pt x="18" y="3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637" name="Shape7_20200717_142313">
            <a:extLst>
              <a:ext uri="{FF2B5EF4-FFF2-40B4-BE49-F238E27FC236}">
                <a16:creationId xmlns:a16="http://schemas.microsoft.com/office/drawing/2014/main" id="{9EF1E93B-1AE2-E91A-1B9B-5CE2BBD5F2E0}"/>
              </a:ext>
            </a:extLst>
          </p:cNvPr>
          <p:cNvGrpSpPr>
            <a:grpSpLocks noChangeAspect="1"/>
          </p:cNvGrpSpPr>
          <p:nvPr/>
        </p:nvGrpSpPr>
        <p:grpSpPr>
          <a:xfrm>
            <a:off x="7144255" y="1241053"/>
            <a:ext cx="514600" cy="564984"/>
            <a:chOff x="14898688" y="2441575"/>
            <a:chExt cx="227012" cy="249238"/>
          </a:xfrm>
          <a:solidFill>
            <a:schemeClr val="accent1"/>
          </a:solidFill>
        </p:grpSpPr>
        <p:sp>
          <p:nvSpPr>
            <p:cNvPr id="638" name="Freeform 851">
              <a:extLst>
                <a:ext uri="{FF2B5EF4-FFF2-40B4-BE49-F238E27FC236}">
                  <a16:creationId xmlns:a16="http://schemas.microsoft.com/office/drawing/2014/main" id="{8A118E5C-2822-FA3A-1D4B-C67D399722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98688" y="2441575"/>
              <a:ext cx="192088" cy="249238"/>
            </a:xfrm>
            <a:custGeom>
              <a:avLst/>
              <a:gdLst>
                <a:gd name="T0" fmla="*/ 176 w 196"/>
                <a:gd name="T1" fmla="*/ 254 h 254"/>
                <a:gd name="T2" fmla="*/ 20 w 196"/>
                <a:gd name="T3" fmla="*/ 254 h 254"/>
                <a:gd name="T4" fmla="*/ 0 w 196"/>
                <a:gd name="T5" fmla="*/ 234 h 254"/>
                <a:gd name="T6" fmla="*/ 0 w 196"/>
                <a:gd name="T7" fmla="*/ 20 h 254"/>
                <a:gd name="T8" fmla="*/ 20 w 196"/>
                <a:gd name="T9" fmla="*/ 0 h 254"/>
                <a:gd name="T10" fmla="*/ 176 w 196"/>
                <a:gd name="T11" fmla="*/ 0 h 254"/>
                <a:gd name="T12" fmla="*/ 196 w 196"/>
                <a:gd name="T13" fmla="*/ 20 h 254"/>
                <a:gd name="T14" fmla="*/ 196 w 196"/>
                <a:gd name="T15" fmla="*/ 177 h 254"/>
                <a:gd name="T16" fmla="*/ 192 w 196"/>
                <a:gd name="T17" fmla="*/ 181 h 254"/>
                <a:gd name="T18" fmla="*/ 188 w 196"/>
                <a:gd name="T19" fmla="*/ 177 h 254"/>
                <a:gd name="T20" fmla="*/ 188 w 196"/>
                <a:gd name="T21" fmla="*/ 20 h 254"/>
                <a:gd name="T22" fmla="*/ 176 w 196"/>
                <a:gd name="T23" fmla="*/ 9 h 254"/>
                <a:gd name="T24" fmla="*/ 20 w 196"/>
                <a:gd name="T25" fmla="*/ 9 h 254"/>
                <a:gd name="T26" fmla="*/ 8 w 196"/>
                <a:gd name="T27" fmla="*/ 20 h 254"/>
                <a:gd name="T28" fmla="*/ 8 w 196"/>
                <a:gd name="T29" fmla="*/ 234 h 254"/>
                <a:gd name="T30" fmla="*/ 20 w 196"/>
                <a:gd name="T31" fmla="*/ 246 h 254"/>
                <a:gd name="T32" fmla="*/ 176 w 196"/>
                <a:gd name="T33" fmla="*/ 246 h 254"/>
                <a:gd name="T34" fmla="*/ 188 w 196"/>
                <a:gd name="T35" fmla="*/ 234 h 254"/>
                <a:gd name="T36" fmla="*/ 188 w 196"/>
                <a:gd name="T37" fmla="*/ 206 h 254"/>
                <a:gd name="T38" fmla="*/ 192 w 196"/>
                <a:gd name="T39" fmla="*/ 202 h 254"/>
                <a:gd name="T40" fmla="*/ 196 w 196"/>
                <a:gd name="T41" fmla="*/ 206 h 254"/>
                <a:gd name="T42" fmla="*/ 196 w 196"/>
                <a:gd name="T43" fmla="*/ 234 h 254"/>
                <a:gd name="T44" fmla="*/ 176 w 196"/>
                <a:gd name="T45" fmla="*/ 254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96" h="254">
                  <a:moveTo>
                    <a:pt x="176" y="254"/>
                  </a:moveTo>
                  <a:cubicBezTo>
                    <a:pt x="20" y="254"/>
                    <a:pt x="20" y="254"/>
                    <a:pt x="20" y="254"/>
                  </a:cubicBezTo>
                  <a:cubicBezTo>
                    <a:pt x="9" y="254"/>
                    <a:pt x="0" y="246"/>
                    <a:pt x="0" y="234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176" y="0"/>
                    <a:pt x="176" y="0"/>
                    <a:pt x="176" y="0"/>
                  </a:cubicBezTo>
                  <a:cubicBezTo>
                    <a:pt x="187" y="0"/>
                    <a:pt x="196" y="9"/>
                    <a:pt x="196" y="20"/>
                  </a:cubicBezTo>
                  <a:cubicBezTo>
                    <a:pt x="196" y="177"/>
                    <a:pt x="196" y="177"/>
                    <a:pt x="196" y="177"/>
                  </a:cubicBezTo>
                  <a:cubicBezTo>
                    <a:pt x="196" y="179"/>
                    <a:pt x="194" y="181"/>
                    <a:pt x="192" y="181"/>
                  </a:cubicBezTo>
                  <a:cubicBezTo>
                    <a:pt x="190" y="181"/>
                    <a:pt x="188" y="179"/>
                    <a:pt x="188" y="177"/>
                  </a:cubicBezTo>
                  <a:cubicBezTo>
                    <a:pt x="188" y="20"/>
                    <a:pt x="188" y="20"/>
                    <a:pt x="188" y="20"/>
                  </a:cubicBezTo>
                  <a:cubicBezTo>
                    <a:pt x="188" y="14"/>
                    <a:pt x="183" y="9"/>
                    <a:pt x="176" y="9"/>
                  </a:cubicBezTo>
                  <a:cubicBezTo>
                    <a:pt x="20" y="9"/>
                    <a:pt x="20" y="9"/>
                    <a:pt x="20" y="9"/>
                  </a:cubicBezTo>
                  <a:cubicBezTo>
                    <a:pt x="13" y="9"/>
                    <a:pt x="8" y="14"/>
                    <a:pt x="8" y="20"/>
                  </a:cubicBezTo>
                  <a:cubicBezTo>
                    <a:pt x="8" y="234"/>
                    <a:pt x="8" y="234"/>
                    <a:pt x="8" y="234"/>
                  </a:cubicBezTo>
                  <a:cubicBezTo>
                    <a:pt x="8" y="241"/>
                    <a:pt x="13" y="246"/>
                    <a:pt x="20" y="246"/>
                  </a:cubicBezTo>
                  <a:cubicBezTo>
                    <a:pt x="176" y="246"/>
                    <a:pt x="176" y="246"/>
                    <a:pt x="176" y="246"/>
                  </a:cubicBezTo>
                  <a:cubicBezTo>
                    <a:pt x="183" y="246"/>
                    <a:pt x="188" y="241"/>
                    <a:pt x="188" y="234"/>
                  </a:cubicBezTo>
                  <a:cubicBezTo>
                    <a:pt x="188" y="206"/>
                    <a:pt x="188" y="206"/>
                    <a:pt x="188" y="206"/>
                  </a:cubicBezTo>
                  <a:cubicBezTo>
                    <a:pt x="188" y="204"/>
                    <a:pt x="190" y="202"/>
                    <a:pt x="192" y="202"/>
                  </a:cubicBezTo>
                  <a:cubicBezTo>
                    <a:pt x="194" y="202"/>
                    <a:pt x="196" y="204"/>
                    <a:pt x="196" y="206"/>
                  </a:cubicBezTo>
                  <a:cubicBezTo>
                    <a:pt x="196" y="234"/>
                    <a:pt x="196" y="234"/>
                    <a:pt x="196" y="234"/>
                  </a:cubicBezTo>
                  <a:cubicBezTo>
                    <a:pt x="196" y="246"/>
                    <a:pt x="187" y="254"/>
                    <a:pt x="176" y="25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39" name="Freeform 852">
              <a:extLst>
                <a:ext uri="{FF2B5EF4-FFF2-40B4-BE49-F238E27FC236}">
                  <a16:creationId xmlns:a16="http://schemas.microsoft.com/office/drawing/2014/main" id="{9742285A-BE88-6E2D-2BB7-2C9EB5EFF5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925675" y="2441575"/>
              <a:ext cx="139700" cy="31750"/>
            </a:xfrm>
            <a:custGeom>
              <a:avLst/>
              <a:gdLst>
                <a:gd name="T0" fmla="*/ 114 w 143"/>
                <a:gd name="T1" fmla="*/ 33 h 33"/>
                <a:gd name="T2" fmla="*/ 28 w 143"/>
                <a:gd name="T3" fmla="*/ 33 h 33"/>
                <a:gd name="T4" fmla="*/ 0 w 143"/>
                <a:gd name="T5" fmla="*/ 5 h 33"/>
                <a:gd name="T6" fmla="*/ 4 w 143"/>
                <a:gd name="T7" fmla="*/ 0 h 33"/>
                <a:gd name="T8" fmla="*/ 139 w 143"/>
                <a:gd name="T9" fmla="*/ 0 h 33"/>
                <a:gd name="T10" fmla="*/ 143 w 143"/>
                <a:gd name="T11" fmla="*/ 5 h 33"/>
                <a:gd name="T12" fmla="*/ 114 w 143"/>
                <a:gd name="T13" fmla="*/ 33 h 33"/>
                <a:gd name="T14" fmla="*/ 8 w 143"/>
                <a:gd name="T15" fmla="*/ 9 h 33"/>
                <a:gd name="T16" fmla="*/ 28 w 143"/>
                <a:gd name="T17" fmla="*/ 25 h 33"/>
                <a:gd name="T18" fmla="*/ 114 w 143"/>
                <a:gd name="T19" fmla="*/ 25 h 33"/>
                <a:gd name="T20" fmla="*/ 134 w 143"/>
                <a:gd name="T21" fmla="*/ 9 h 33"/>
                <a:gd name="T22" fmla="*/ 8 w 143"/>
                <a:gd name="T23" fmla="*/ 9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3" h="33">
                  <a:moveTo>
                    <a:pt x="114" y="33"/>
                  </a:moveTo>
                  <a:cubicBezTo>
                    <a:pt x="28" y="33"/>
                    <a:pt x="28" y="33"/>
                    <a:pt x="28" y="33"/>
                  </a:cubicBezTo>
                  <a:cubicBezTo>
                    <a:pt x="12" y="33"/>
                    <a:pt x="0" y="20"/>
                    <a:pt x="0" y="5"/>
                  </a:cubicBezTo>
                  <a:cubicBezTo>
                    <a:pt x="0" y="2"/>
                    <a:pt x="1" y="0"/>
                    <a:pt x="4" y="0"/>
                  </a:cubicBezTo>
                  <a:cubicBezTo>
                    <a:pt x="139" y="0"/>
                    <a:pt x="139" y="0"/>
                    <a:pt x="139" y="0"/>
                  </a:cubicBezTo>
                  <a:cubicBezTo>
                    <a:pt x="141" y="0"/>
                    <a:pt x="143" y="2"/>
                    <a:pt x="143" y="5"/>
                  </a:cubicBezTo>
                  <a:cubicBezTo>
                    <a:pt x="143" y="20"/>
                    <a:pt x="130" y="33"/>
                    <a:pt x="114" y="33"/>
                  </a:cubicBezTo>
                  <a:close/>
                  <a:moveTo>
                    <a:pt x="8" y="9"/>
                  </a:moveTo>
                  <a:cubicBezTo>
                    <a:pt x="10" y="18"/>
                    <a:pt x="18" y="25"/>
                    <a:pt x="28" y="25"/>
                  </a:cubicBezTo>
                  <a:cubicBezTo>
                    <a:pt x="114" y="25"/>
                    <a:pt x="114" y="25"/>
                    <a:pt x="114" y="25"/>
                  </a:cubicBezTo>
                  <a:cubicBezTo>
                    <a:pt x="124" y="25"/>
                    <a:pt x="132" y="18"/>
                    <a:pt x="134" y="9"/>
                  </a:cubicBezTo>
                  <a:lnTo>
                    <a:pt x="8" y="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40" name="Freeform 853">
              <a:extLst>
                <a:ext uri="{FF2B5EF4-FFF2-40B4-BE49-F238E27FC236}">
                  <a16:creationId xmlns:a16="http://schemas.microsoft.com/office/drawing/2014/main" id="{76C918BB-2136-8975-3695-DE550F93B36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966950" y="2508250"/>
              <a:ext cx="123825" cy="125413"/>
            </a:xfrm>
            <a:custGeom>
              <a:avLst/>
              <a:gdLst>
                <a:gd name="T0" fmla="*/ 63 w 127"/>
                <a:gd name="T1" fmla="*/ 128 h 128"/>
                <a:gd name="T2" fmla="*/ 0 w 127"/>
                <a:gd name="T3" fmla="*/ 64 h 128"/>
                <a:gd name="T4" fmla="*/ 63 w 127"/>
                <a:gd name="T5" fmla="*/ 0 h 128"/>
                <a:gd name="T6" fmla="*/ 127 w 127"/>
                <a:gd name="T7" fmla="*/ 64 h 128"/>
                <a:gd name="T8" fmla="*/ 63 w 127"/>
                <a:gd name="T9" fmla="*/ 128 h 128"/>
                <a:gd name="T10" fmla="*/ 63 w 127"/>
                <a:gd name="T11" fmla="*/ 8 h 128"/>
                <a:gd name="T12" fmla="*/ 8 w 127"/>
                <a:gd name="T13" fmla="*/ 64 h 128"/>
                <a:gd name="T14" fmla="*/ 63 w 127"/>
                <a:gd name="T15" fmla="*/ 120 h 128"/>
                <a:gd name="T16" fmla="*/ 119 w 127"/>
                <a:gd name="T17" fmla="*/ 64 h 128"/>
                <a:gd name="T18" fmla="*/ 63 w 127"/>
                <a:gd name="T19" fmla="*/ 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28">
                  <a:moveTo>
                    <a:pt x="63" y="128"/>
                  </a:moveTo>
                  <a:cubicBezTo>
                    <a:pt x="28" y="128"/>
                    <a:pt x="0" y="99"/>
                    <a:pt x="0" y="64"/>
                  </a:cubicBezTo>
                  <a:cubicBezTo>
                    <a:pt x="0" y="29"/>
                    <a:pt x="28" y="0"/>
                    <a:pt x="63" y="0"/>
                  </a:cubicBezTo>
                  <a:cubicBezTo>
                    <a:pt x="99" y="0"/>
                    <a:pt x="127" y="29"/>
                    <a:pt x="127" y="64"/>
                  </a:cubicBezTo>
                  <a:cubicBezTo>
                    <a:pt x="127" y="99"/>
                    <a:pt x="99" y="128"/>
                    <a:pt x="63" y="128"/>
                  </a:cubicBezTo>
                  <a:close/>
                  <a:moveTo>
                    <a:pt x="63" y="8"/>
                  </a:moveTo>
                  <a:cubicBezTo>
                    <a:pt x="33" y="8"/>
                    <a:pt x="8" y="33"/>
                    <a:pt x="8" y="64"/>
                  </a:cubicBezTo>
                  <a:cubicBezTo>
                    <a:pt x="8" y="95"/>
                    <a:pt x="33" y="120"/>
                    <a:pt x="63" y="120"/>
                  </a:cubicBezTo>
                  <a:cubicBezTo>
                    <a:pt x="94" y="120"/>
                    <a:pt x="119" y="95"/>
                    <a:pt x="119" y="64"/>
                  </a:cubicBezTo>
                  <a:cubicBezTo>
                    <a:pt x="119" y="33"/>
                    <a:pt x="94" y="8"/>
                    <a:pt x="63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41" name="Freeform 854">
              <a:extLst>
                <a:ext uri="{FF2B5EF4-FFF2-40B4-BE49-F238E27FC236}">
                  <a16:creationId xmlns:a16="http://schemas.microsoft.com/office/drawing/2014/main" id="{07B181DC-F07C-5158-9369-B7AF1580463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059025" y="2601913"/>
              <a:ext cx="66675" cy="66675"/>
            </a:xfrm>
            <a:custGeom>
              <a:avLst/>
              <a:gdLst>
                <a:gd name="T0" fmla="*/ 54 w 67"/>
                <a:gd name="T1" fmla="*/ 67 h 67"/>
                <a:gd name="T2" fmla="*/ 45 w 67"/>
                <a:gd name="T3" fmla="*/ 63 h 67"/>
                <a:gd name="T4" fmla="*/ 45 w 67"/>
                <a:gd name="T5" fmla="*/ 63 h 67"/>
                <a:gd name="T6" fmla="*/ 2 w 67"/>
                <a:gd name="T7" fmla="*/ 20 h 67"/>
                <a:gd name="T8" fmla="*/ 2 w 67"/>
                <a:gd name="T9" fmla="*/ 14 h 67"/>
                <a:gd name="T10" fmla="*/ 15 w 67"/>
                <a:gd name="T11" fmla="*/ 1 h 67"/>
                <a:gd name="T12" fmla="*/ 21 w 67"/>
                <a:gd name="T13" fmla="*/ 1 h 67"/>
                <a:gd name="T14" fmla="*/ 63 w 67"/>
                <a:gd name="T15" fmla="*/ 44 h 67"/>
                <a:gd name="T16" fmla="*/ 67 w 67"/>
                <a:gd name="T17" fmla="*/ 53 h 67"/>
                <a:gd name="T18" fmla="*/ 63 w 67"/>
                <a:gd name="T19" fmla="*/ 63 h 67"/>
                <a:gd name="T20" fmla="*/ 54 w 67"/>
                <a:gd name="T21" fmla="*/ 67 h 67"/>
                <a:gd name="T22" fmla="*/ 50 w 67"/>
                <a:gd name="T23" fmla="*/ 57 h 67"/>
                <a:gd name="T24" fmla="*/ 57 w 67"/>
                <a:gd name="T25" fmla="*/ 57 h 67"/>
                <a:gd name="T26" fmla="*/ 59 w 67"/>
                <a:gd name="T27" fmla="*/ 53 h 67"/>
                <a:gd name="T28" fmla="*/ 57 w 67"/>
                <a:gd name="T29" fmla="*/ 50 h 67"/>
                <a:gd name="T30" fmla="*/ 18 w 67"/>
                <a:gd name="T31" fmla="*/ 10 h 67"/>
                <a:gd name="T32" fmla="*/ 11 w 67"/>
                <a:gd name="T33" fmla="*/ 17 h 67"/>
                <a:gd name="T34" fmla="*/ 50 w 67"/>
                <a:gd name="T35" fmla="*/ 5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7" h="67">
                  <a:moveTo>
                    <a:pt x="54" y="67"/>
                  </a:moveTo>
                  <a:cubicBezTo>
                    <a:pt x="51" y="67"/>
                    <a:pt x="47" y="65"/>
                    <a:pt x="45" y="63"/>
                  </a:cubicBezTo>
                  <a:cubicBezTo>
                    <a:pt x="45" y="63"/>
                    <a:pt x="45" y="63"/>
                    <a:pt x="45" y="63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0" y="18"/>
                    <a:pt x="0" y="16"/>
                    <a:pt x="2" y="14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6" y="0"/>
                    <a:pt x="19" y="0"/>
                    <a:pt x="21" y="1"/>
                  </a:cubicBezTo>
                  <a:cubicBezTo>
                    <a:pt x="63" y="44"/>
                    <a:pt x="63" y="44"/>
                    <a:pt x="63" y="44"/>
                  </a:cubicBezTo>
                  <a:cubicBezTo>
                    <a:pt x="66" y="47"/>
                    <a:pt x="67" y="50"/>
                    <a:pt x="67" y="53"/>
                  </a:cubicBezTo>
                  <a:cubicBezTo>
                    <a:pt x="67" y="57"/>
                    <a:pt x="66" y="60"/>
                    <a:pt x="63" y="63"/>
                  </a:cubicBezTo>
                  <a:cubicBezTo>
                    <a:pt x="61" y="65"/>
                    <a:pt x="57" y="67"/>
                    <a:pt x="54" y="67"/>
                  </a:cubicBezTo>
                  <a:close/>
                  <a:moveTo>
                    <a:pt x="50" y="57"/>
                  </a:moveTo>
                  <a:cubicBezTo>
                    <a:pt x="52" y="59"/>
                    <a:pt x="55" y="59"/>
                    <a:pt x="57" y="57"/>
                  </a:cubicBezTo>
                  <a:cubicBezTo>
                    <a:pt x="58" y="56"/>
                    <a:pt x="59" y="55"/>
                    <a:pt x="59" y="53"/>
                  </a:cubicBezTo>
                  <a:cubicBezTo>
                    <a:pt x="59" y="52"/>
                    <a:pt x="58" y="51"/>
                    <a:pt x="57" y="5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1" y="17"/>
                    <a:pt x="11" y="17"/>
                    <a:pt x="11" y="17"/>
                  </a:cubicBezTo>
                  <a:lnTo>
                    <a:pt x="50" y="5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42" name="Freeform 855">
              <a:extLst>
                <a:ext uri="{FF2B5EF4-FFF2-40B4-BE49-F238E27FC236}">
                  <a16:creationId xmlns:a16="http://schemas.microsoft.com/office/drawing/2014/main" id="{6ED7E95F-A0E5-905B-E019-5EE6F65C0B8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00288" y="2552700"/>
              <a:ext cx="57150" cy="39688"/>
            </a:xfrm>
            <a:custGeom>
              <a:avLst/>
              <a:gdLst>
                <a:gd name="T0" fmla="*/ 21 w 59"/>
                <a:gd name="T1" fmla="*/ 41 h 41"/>
                <a:gd name="T2" fmla="*/ 21 w 59"/>
                <a:gd name="T3" fmla="*/ 41 h 41"/>
                <a:gd name="T4" fmla="*/ 19 w 59"/>
                <a:gd name="T5" fmla="*/ 40 h 41"/>
                <a:gd name="T6" fmla="*/ 2 w 59"/>
                <a:gd name="T7" fmla="*/ 23 h 41"/>
                <a:gd name="T8" fmla="*/ 2 w 59"/>
                <a:gd name="T9" fmla="*/ 17 h 41"/>
                <a:gd name="T10" fmla="*/ 8 w 59"/>
                <a:gd name="T11" fmla="*/ 17 h 41"/>
                <a:gd name="T12" fmla="*/ 21 w 59"/>
                <a:gd name="T13" fmla="*/ 31 h 41"/>
                <a:gd name="T14" fmla="*/ 51 w 59"/>
                <a:gd name="T15" fmla="*/ 1 h 41"/>
                <a:gd name="T16" fmla="*/ 57 w 59"/>
                <a:gd name="T17" fmla="*/ 1 h 41"/>
                <a:gd name="T18" fmla="*/ 57 w 59"/>
                <a:gd name="T19" fmla="*/ 7 h 41"/>
                <a:gd name="T20" fmla="*/ 24 w 59"/>
                <a:gd name="T21" fmla="*/ 40 h 41"/>
                <a:gd name="T22" fmla="*/ 21 w 59"/>
                <a:gd name="T23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" h="41">
                  <a:moveTo>
                    <a:pt x="21" y="41"/>
                  </a:moveTo>
                  <a:cubicBezTo>
                    <a:pt x="21" y="41"/>
                    <a:pt x="21" y="41"/>
                    <a:pt x="21" y="41"/>
                  </a:cubicBezTo>
                  <a:cubicBezTo>
                    <a:pt x="20" y="41"/>
                    <a:pt x="19" y="41"/>
                    <a:pt x="19" y="4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0" y="22"/>
                    <a:pt x="0" y="19"/>
                    <a:pt x="2" y="17"/>
                  </a:cubicBezTo>
                  <a:cubicBezTo>
                    <a:pt x="3" y="16"/>
                    <a:pt x="6" y="16"/>
                    <a:pt x="8" y="17"/>
                  </a:cubicBezTo>
                  <a:cubicBezTo>
                    <a:pt x="21" y="31"/>
                    <a:pt x="21" y="31"/>
                    <a:pt x="21" y="31"/>
                  </a:cubicBezTo>
                  <a:cubicBezTo>
                    <a:pt x="51" y="1"/>
                    <a:pt x="51" y="1"/>
                    <a:pt x="51" y="1"/>
                  </a:cubicBezTo>
                  <a:cubicBezTo>
                    <a:pt x="53" y="0"/>
                    <a:pt x="55" y="0"/>
                    <a:pt x="57" y="1"/>
                  </a:cubicBezTo>
                  <a:cubicBezTo>
                    <a:pt x="59" y="3"/>
                    <a:pt x="59" y="6"/>
                    <a:pt x="57" y="7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1"/>
                    <a:pt x="23" y="41"/>
                    <a:pt x="21" y="4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643" name="Shape8_20200717_142313">
            <a:extLst>
              <a:ext uri="{FF2B5EF4-FFF2-40B4-BE49-F238E27FC236}">
                <a16:creationId xmlns:a16="http://schemas.microsoft.com/office/drawing/2014/main" id="{6571B6D3-96B8-2060-3EE6-3BFCA9B773C9}"/>
              </a:ext>
            </a:extLst>
          </p:cNvPr>
          <p:cNvGrpSpPr>
            <a:grpSpLocks noChangeAspect="1"/>
          </p:cNvGrpSpPr>
          <p:nvPr/>
        </p:nvGrpSpPr>
        <p:grpSpPr>
          <a:xfrm>
            <a:off x="9773361" y="1242854"/>
            <a:ext cx="478616" cy="561382"/>
            <a:chOff x="12807950" y="3016250"/>
            <a:chExt cx="211138" cy="247650"/>
          </a:xfrm>
          <a:solidFill>
            <a:schemeClr val="accent1"/>
          </a:solidFill>
        </p:grpSpPr>
        <p:sp>
          <p:nvSpPr>
            <p:cNvPr id="644" name="Freeform 856">
              <a:extLst>
                <a:ext uri="{FF2B5EF4-FFF2-40B4-BE49-F238E27FC236}">
                  <a16:creationId xmlns:a16="http://schemas.microsoft.com/office/drawing/2014/main" id="{504CA8EB-89A0-60E5-7E53-99B0C21820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07950" y="3016250"/>
              <a:ext cx="153988" cy="247650"/>
            </a:xfrm>
            <a:custGeom>
              <a:avLst/>
              <a:gdLst>
                <a:gd name="T0" fmla="*/ 133 w 157"/>
                <a:gd name="T1" fmla="*/ 252 h 252"/>
                <a:gd name="T2" fmla="*/ 23 w 157"/>
                <a:gd name="T3" fmla="*/ 252 h 252"/>
                <a:gd name="T4" fmla="*/ 0 w 157"/>
                <a:gd name="T5" fmla="*/ 229 h 252"/>
                <a:gd name="T6" fmla="*/ 0 w 157"/>
                <a:gd name="T7" fmla="*/ 24 h 252"/>
                <a:gd name="T8" fmla="*/ 23 w 157"/>
                <a:gd name="T9" fmla="*/ 0 h 252"/>
                <a:gd name="T10" fmla="*/ 133 w 157"/>
                <a:gd name="T11" fmla="*/ 0 h 252"/>
                <a:gd name="T12" fmla="*/ 157 w 157"/>
                <a:gd name="T13" fmla="*/ 24 h 252"/>
                <a:gd name="T14" fmla="*/ 157 w 157"/>
                <a:gd name="T15" fmla="*/ 70 h 252"/>
                <a:gd name="T16" fmla="*/ 153 w 157"/>
                <a:gd name="T17" fmla="*/ 74 h 252"/>
                <a:gd name="T18" fmla="*/ 148 w 157"/>
                <a:gd name="T19" fmla="*/ 70 h 252"/>
                <a:gd name="T20" fmla="*/ 148 w 157"/>
                <a:gd name="T21" fmla="*/ 24 h 252"/>
                <a:gd name="T22" fmla="*/ 133 w 157"/>
                <a:gd name="T23" fmla="*/ 8 h 252"/>
                <a:gd name="T24" fmla="*/ 23 w 157"/>
                <a:gd name="T25" fmla="*/ 8 h 252"/>
                <a:gd name="T26" fmla="*/ 8 w 157"/>
                <a:gd name="T27" fmla="*/ 24 h 252"/>
                <a:gd name="T28" fmla="*/ 8 w 157"/>
                <a:gd name="T29" fmla="*/ 229 h 252"/>
                <a:gd name="T30" fmla="*/ 23 w 157"/>
                <a:gd name="T31" fmla="*/ 244 h 252"/>
                <a:gd name="T32" fmla="*/ 133 w 157"/>
                <a:gd name="T33" fmla="*/ 244 h 252"/>
                <a:gd name="T34" fmla="*/ 148 w 157"/>
                <a:gd name="T35" fmla="*/ 229 h 252"/>
                <a:gd name="T36" fmla="*/ 148 w 157"/>
                <a:gd name="T37" fmla="*/ 167 h 252"/>
                <a:gd name="T38" fmla="*/ 153 w 157"/>
                <a:gd name="T39" fmla="*/ 163 h 252"/>
                <a:gd name="T40" fmla="*/ 157 w 157"/>
                <a:gd name="T41" fmla="*/ 167 h 252"/>
                <a:gd name="T42" fmla="*/ 157 w 157"/>
                <a:gd name="T43" fmla="*/ 229 h 252"/>
                <a:gd name="T44" fmla="*/ 133 w 157"/>
                <a:gd name="T45" fmla="*/ 252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57" h="252">
                  <a:moveTo>
                    <a:pt x="133" y="252"/>
                  </a:moveTo>
                  <a:cubicBezTo>
                    <a:pt x="23" y="252"/>
                    <a:pt x="23" y="252"/>
                    <a:pt x="23" y="252"/>
                  </a:cubicBezTo>
                  <a:cubicBezTo>
                    <a:pt x="10" y="252"/>
                    <a:pt x="0" y="242"/>
                    <a:pt x="0" y="229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0" y="0"/>
                    <a:pt x="23" y="0"/>
                  </a:cubicBezTo>
                  <a:cubicBezTo>
                    <a:pt x="133" y="0"/>
                    <a:pt x="133" y="0"/>
                    <a:pt x="133" y="0"/>
                  </a:cubicBezTo>
                  <a:cubicBezTo>
                    <a:pt x="146" y="0"/>
                    <a:pt x="157" y="11"/>
                    <a:pt x="157" y="24"/>
                  </a:cubicBezTo>
                  <a:cubicBezTo>
                    <a:pt x="157" y="70"/>
                    <a:pt x="157" y="70"/>
                    <a:pt x="157" y="70"/>
                  </a:cubicBezTo>
                  <a:cubicBezTo>
                    <a:pt x="157" y="72"/>
                    <a:pt x="155" y="74"/>
                    <a:pt x="153" y="74"/>
                  </a:cubicBezTo>
                  <a:cubicBezTo>
                    <a:pt x="150" y="74"/>
                    <a:pt x="148" y="72"/>
                    <a:pt x="148" y="70"/>
                  </a:cubicBezTo>
                  <a:cubicBezTo>
                    <a:pt x="148" y="24"/>
                    <a:pt x="148" y="24"/>
                    <a:pt x="148" y="24"/>
                  </a:cubicBezTo>
                  <a:cubicBezTo>
                    <a:pt x="148" y="15"/>
                    <a:pt x="142" y="8"/>
                    <a:pt x="133" y="8"/>
                  </a:cubicBezTo>
                  <a:cubicBezTo>
                    <a:pt x="23" y="8"/>
                    <a:pt x="23" y="8"/>
                    <a:pt x="23" y="8"/>
                  </a:cubicBezTo>
                  <a:cubicBezTo>
                    <a:pt x="15" y="8"/>
                    <a:pt x="8" y="15"/>
                    <a:pt x="8" y="24"/>
                  </a:cubicBezTo>
                  <a:cubicBezTo>
                    <a:pt x="8" y="229"/>
                    <a:pt x="8" y="229"/>
                    <a:pt x="8" y="229"/>
                  </a:cubicBezTo>
                  <a:cubicBezTo>
                    <a:pt x="8" y="237"/>
                    <a:pt x="15" y="244"/>
                    <a:pt x="23" y="244"/>
                  </a:cubicBezTo>
                  <a:cubicBezTo>
                    <a:pt x="133" y="244"/>
                    <a:pt x="133" y="244"/>
                    <a:pt x="133" y="244"/>
                  </a:cubicBezTo>
                  <a:cubicBezTo>
                    <a:pt x="142" y="244"/>
                    <a:pt x="148" y="237"/>
                    <a:pt x="148" y="229"/>
                  </a:cubicBezTo>
                  <a:cubicBezTo>
                    <a:pt x="148" y="167"/>
                    <a:pt x="148" y="167"/>
                    <a:pt x="148" y="167"/>
                  </a:cubicBezTo>
                  <a:cubicBezTo>
                    <a:pt x="148" y="165"/>
                    <a:pt x="150" y="163"/>
                    <a:pt x="153" y="163"/>
                  </a:cubicBezTo>
                  <a:cubicBezTo>
                    <a:pt x="155" y="163"/>
                    <a:pt x="157" y="165"/>
                    <a:pt x="157" y="167"/>
                  </a:cubicBezTo>
                  <a:cubicBezTo>
                    <a:pt x="157" y="229"/>
                    <a:pt x="157" y="229"/>
                    <a:pt x="157" y="229"/>
                  </a:cubicBezTo>
                  <a:cubicBezTo>
                    <a:pt x="157" y="242"/>
                    <a:pt x="146" y="252"/>
                    <a:pt x="133" y="25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45" name="Freeform 857">
              <a:extLst>
                <a:ext uri="{FF2B5EF4-FFF2-40B4-BE49-F238E27FC236}">
                  <a16:creationId xmlns:a16="http://schemas.microsoft.com/office/drawing/2014/main" id="{48075656-AE65-B1F2-31FC-17D90F87B24B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07950" y="3051175"/>
              <a:ext cx="153988" cy="173038"/>
            </a:xfrm>
            <a:custGeom>
              <a:avLst/>
              <a:gdLst>
                <a:gd name="T0" fmla="*/ 153 w 157"/>
                <a:gd name="T1" fmla="*/ 177 h 177"/>
                <a:gd name="T2" fmla="*/ 4 w 157"/>
                <a:gd name="T3" fmla="*/ 177 h 177"/>
                <a:gd name="T4" fmla="*/ 0 w 157"/>
                <a:gd name="T5" fmla="*/ 173 h 177"/>
                <a:gd name="T6" fmla="*/ 0 w 157"/>
                <a:gd name="T7" fmla="*/ 4 h 177"/>
                <a:gd name="T8" fmla="*/ 4 w 157"/>
                <a:gd name="T9" fmla="*/ 0 h 177"/>
                <a:gd name="T10" fmla="*/ 153 w 157"/>
                <a:gd name="T11" fmla="*/ 0 h 177"/>
                <a:gd name="T12" fmla="*/ 157 w 157"/>
                <a:gd name="T13" fmla="*/ 4 h 177"/>
                <a:gd name="T14" fmla="*/ 157 w 157"/>
                <a:gd name="T15" fmla="*/ 35 h 177"/>
                <a:gd name="T16" fmla="*/ 153 w 157"/>
                <a:gd name="T17" fmla="*/ 39 h 177"/>
                <a:gd name="T18" fmla="*/ 148 w 157"/>
                <a:gd name="T19" fmla="*/ 35 h 177"/>
                <a:gd name="T20" fmla="*/ 148 w 157"/>
                <a:gd name="T21" fmla="*/ 8 h 177"/>
                <a:gd name="T22" fmla="*/ 8 w 157"/>
                <a:gd name="T23" fmla="*/ 8 h 177"/>
                <a:gd name="T24" fmla="*/ 8 w 157"/>
                <a:gd name="T25" fmla="*/ 169 h 177"/>
                <a:gd name="T26" fmla="*/ 148 w 157"/>
                <a:gd name="T27" fmla="*/ 169 h 177"/>
                <a:gd name="T28" fmla="*/ 148 w 157"/>
                <a:gd name="T29" fmla="*/ 132 h 177"/>
                <a:gd name="T30" fmla="*/ 153 w 157"/>
                <a:gd name="T31" fmla="*/ 128 h 177"/>
                <a:gd name="T32" fmla="*/ 157 w 157"/>
                <a:gd name="T33" fmla="*/ 132 h 177"/>
                <a:gd name="T34" fmla="*/ 157 w 157"/>
                <a:gd name="T35" fmla="*/ 173 h 177"/>
                <a:gd name="T36" fmla="*/ 153 w 157"/>
                <a:gd name="T37" fmla="*/ 177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57" h="177">
                  <a:moveTo>
                    <a:pt x="153" y="177"/>
                  </a:moveTo>
                  <a:cubicBezTo>
                    <a:pt x="4" y="177"/>
                    <a:pt x="4" y="177"/>
                    <a:pt x="4" y="177"/>
                  </a:cubicBezTo>
                  <a:cubicBezTo>
                    <a:pt x="2" y="177"/>
                    <a:pt x="0" y="175"/>
                    <a:pt x="0" y="17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55" y="0"/>
                    <a:pt x="157" y="2"/>
                    <a:pt x="157" y="4"/>
                  </a:cubicBezTo>
                  <a:cubicBezTo>
                    <a:pt x="157" y="35"/>
                    <a:pt x="157" y="35"/>
                    <a:pt x="157" y="35"/>
                  </a:cubicBezTo>
                  <a:cubicBezTo>
                    <a:pt x="157" y="37"/>
                    <a:pt x="155" y="39"/>
                    <a:pt x="153" y="39"/>
                  </a:cubicBezTo>
                  <a:cubicBezTo>
                    <a:pt x="150" y="39"/>
                    <a:pt x="148" y="37"/>
                    <a:pt x="148" y="35"/>
                  </a:cubicBezTo>
                  <a:cubicBezTo>
                    <a:pt x="148" y="8"/>
                    <a:pt x="148" y="8"/>
                    <a:pt x="14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169"/>
                    <a:pt x="8" y="169"/>
                    <a:pt x="8" y="169"/>
                  </a:cubicBezTo>
                  <a:cubicBezTo>
                    <a:pt x="148" y="169"/>
                    <a:pt x="148" y="169"/>
                    <a:pt x="148" y="169"/>
                  </a:cubicBezTo>
                  <a:cubicBezTo>
                    <a:pt x="148" y="132"/>
                    <a:pt x="148" y="132"/>
                    <a:pt x="148" y="132"/>
                  </a:cubicBezTo>
                  <a:cubicBezTo>
                    <a:pt x="148" y="130"/>
                    <a:pt x="150" y="128"/>
                    <a:pt x="153" y="128"/>
                  </a:cubicBezTo>
                  <a:cubicBezTo>
                    <a:pt x="155" y="128"/>
                    <a:pt x="157" y="130"/>
                    <a:pt x="157" y="132"/>
                  </a:cubicBezTo>
                  <a:cubicBezTo>
                    <a:pt x="157" y="173"/>
                    <a:pt x="157" y="173"/>
                    <a:pt x="157" y="173"/>
                  </a:cubicBezTo>
                  <a:cubicBezTo>
                    <a:pt x="157" y="175"/>
                    <a:pt x="155" y="177"/>
                    <a:pt x="153" y="17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46" name="Freeform 858">
              <a:extLst>
                <a:ext uri="{FF2B5EF4-FFF2-40B4-BE49-F238E27FC236}">
                  <a16:creationId xmlns:a16="http://schemas.microsoft.com/office/drawing/2014/main" id="{99F879C7-9FCD-7B49-6977-962C647367D8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6688" y="3033713"/>
              <a:ext cx="34925" cy="7938"/>
            </a:xfrm>
            <a:custGeom>
              <a:avLst/>
              <a:gdLst>
                <a:gd name="T0" fmla="*/ 32 w 36"/>
                <a:gd name="T1" fmla="*/ 8 h 8"/>
                <a:gd name="T2" fmla="*/ 5 w 36"/>
                <a:gd name="T3" fmla="*/ 8 h 8"/>
                <a:gd name="T4" fmla="*/ 0 w 36"/>
                <a:gd name="T5" fmla="*/ 4 h 8"/>
                <a:gd name="T6" fmla="*/ 5 w 36"/>
                <a:gd name="T7" fmla="*/ 0 h 8"/>
                <a:gd name="T8" fmla="*/ 32 w 36"/>
                <a:gd name="T9" fmla="*/ 0 h 8"/>
                <a:gd name="T10" fmla="*/ 36 w 36"/>
                <a:gd name="T11" fmla="*/ 4 h 8"/>
                <a:gd name="T12" fmla="*/ 32 w 36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8">
                  <a:moveTo>
                    <a:pt x="32" y="8"/>
                  </a:moveTo>
                  <a:cubicBezTo>
                    <a:pt x="5" y="8"/>
                    <a:pt x="5" y="8"/>
                    <a:pt x="5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4" y="0"/>
                    <a:pt x="36" y="2"/>
                    <a:pt x="36" y="4"/>
                  </a:cubicBezTo>
                  <a:cubicBezTo>
                    <a:pt x="36" y="6"/>
                    <a:pt x="34" y="8"/>
                    <a:pt x="32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47" name="Freeform 859">
              <a:extLst>
                <a:ext uri="{FF2B5EF4-FFF2-40B4-BE49-F238E27FC236}">
                  <a16:creationId xmlns:a16="http://schemas.microsoft.com/office/drawing/2014/main" id="{0AD187A5-E773-04EE-E17C-55F5106627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77800" y="3236913"/>
              <a:ext cx="12700" cy="7938"/>
            </a:xfrm>
            <a:custGeom>
              <a:avLst/>
              <a:gdLst>
                <a:gd name="T0" fmla="*/ 8 w 13"/>
                <a:gd name="T1" fmla="*/ 9 h 9"/>
                <a:gd name="T2" fmla="*/ 4 w 13"/>
                <a:gd name="T3" fmla="*/ 9 h 9"/>
                <a:gd name="T4" fmla="*/ 0 w 13"/>
                <a:gd name="T5" fmla="*/ 5 h 9"/>
                <a:gd name="T6" fmla="*/ 4 w 13"/>
                <a:gd name="T7" fmla="*/ 0 h 9"/>
                <a:gd name="T8" fmla="*/ 8 w 13"/>
                <a:gd name="T9" fmla="*/ 0 h 9"/>
                <a:gd name="T10" fmla="*/ 13 w 13"/>
                <a:gd name="T11" fmla="*/ 5 h 9"/>
                <a:gd name="T12" fmla="*/ 8 w 13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9">
                  <a:moveTo>
                    <a:pt x="8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11" y="0"/>
                    <a:pt x="13" y="2"/>
                    <a:pt x="13" y="5"/>
                  </a:cubicBezTo>
                  <a:cubicBezTo>
                    <a:pt x="13" y="7"/>
                    <a:pt x="11" y="9"/>
                    <a:pt x="8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48" name="Freeform 860">
              <a:extLst>
                <a:ext uri="{FF2B5EF4-FFF2-40B4-BE49-F238E27FC236}">
                  <a16:creationId xmlns:a16="http://schemas.microsoft.com/office/drawing/2014/main" id="{D120BC93-35B9-2C6B-00D3-269DC6A3DC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69863" y="3074988"/>
              <a:ext cx="117475" cy="117475"/>
            </a:xfrm>
            <a:custGeom>
              <a:avLst/>
              <a:gdLst>
                <a:gd name="T0" fmla="*/ 60 w 120"/>
                <a:gd name="T1" fmla="*/ 120 h 120"/>
                <a:gd name="T2" fmla="*/ 0 w 120"/>
                <a:gd name="T3" fmla="*/ 60 h 120"/>
                <a:gd name="T4" fmla="*/ 60 w 120"/>
                <a:gd name="T5" fmla="*/ 0 h 120"/>
                <a:gd name="T6" fmla="*/ 120 w 120"/>
                <a:gd name="T7" fmla="*/ 60 h 120"/>
                <a:gd name="T8" fmla="*/ 60 w 120"/>
                <a:gd name="T9" fmla="*/ 120 h 120"/>
                <a:gd name="T10" fmla="*/ 60 w 120"/>
                <a:gd name="T11" fmla="*/ 8 h 120"/>
                <a:gd name="T12" fmla="*/ 8 w 120"/>
                <a:gd name="T13" fmla="*/ 60 h 120"/>
                <a:gd name="T14" fmla="*/ 60 w 120"/>
                <a:gd name="T15" fmla="*/ 112 h 120"/>
                <a:gd name="T16" fmla="*/ 112 w 120"/>
                <a:gd name="T17" fmla="*/ 60 h 120"/>
                <a:gd name="T18" fmla="*/ 60 w 120"/>
                <a:gd name="T19" fmla="*/ 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0" h="120">
                  <a:moveTo>
                    <a:pt x="60" y="120"/>
                  </a:moveTo>
                  <a:cubicBezTo>
                    <a:pt x="27" y="120"/>
                    <a:pt x="0" y="93"/>
                    <a:pt x="0" y="60"/>
                  </a:cubicBezTo>
                  <a:cubicBezTo>
                    <a:pt x="0" y="27"/>
                    <a:pt x="27" y="0"/>
                    <a:pt x="60" y="0"/>
                  </a:cubicBezTo>
                  <a:cubicBezTo>
                    <a:pt x="93" y="0"/>
                    <a:pt x="120" y="27"/>
                    <a:pt x="120" y="60"/>
                  </a:cubicBezTo>
                  <a:cubicBezTo>
                    <a:pt x="120" y="93"/>
                    <a:pt x="93" y="120"/>
                    <a:pt x="60" y="120"/>
                  </a:cubicBezTo>
                  <a:close/>
                  <a:moveTo>
                    <a:pt x="60" y="8"/>
                  </a:moveTo>
                  <a:cubicBezTo>
                    <a:pt x="31" y="8"/>
                    <a:pt x="8" y="31"/>
                    <a:pt x="8" y="60"/>
                  </a:cubicBezTo>
                  <a:cubicBezTo>
                    <a:pt x="8" y="88"/>
                    <a:pt x="31" y="112"/>
                    <a:pt x="60" y="112"/>
                  </a:cubicBezTo>
                  <a:cubicBezTo>
                    <a:pt x="89" y="112"/>
                    <a:pt x="112" y="88"/>
                    <a:pt x="112" y="60"/>
                  </a:cubicBezTo>
                  <a:cubicBezTo>
                    <a:pt x="112" y="31"/>
                    <a:pt x="89" y="8"/>
                    <a:pt x="6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49" name="Freeform 861">
              <a:extLst>
                <a:ext uri="{FF2B5EF4-FFF2-40B4-BE49-F238E27FC236}">
                  <a16:creationId xmlns:a16="http://schemas.microsoft.com/office/drawing/2014/main" id="{0878BDB6-A8D5-D775-B188-C0021C9EC94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957175" y="3162300"/>
              <a:ext cx="61913" cy="63500"/>
            </a:xfrm>
            <a:custGeom>
              <a:avLst/>
              <a:gdLst>
                <a:gd name="T0" fmla="*/ 50 w 63"/>
                <a:gd name="T1" fmla="*/ 64 h 64"/>
                <a:gd name="T2" fmla="*/ 42 w 63"/>
                <a:gd name="T3" fmla="*/ 60 h 64"/>
                <a:gd name="T4" fmla="*/ 42 w 63"/>
                <a:gd name="T5" fmla="*/ 60 h 64"/>
                <a:gd name="T6" fmla="*/ 1 w 63"/>
                <a:gd name="T7" fmla="*/ 20 h 64"/>
                <a:gd name="T8" fmla="*/ 0 w 63"/>
                <a:gd name="T9" fmla="*/ 17 h 64"/>
                <a:gd name="T10" fmla="*/ 1 w 63"/>
                <a:gd name="T11" fmla="*/ 14 h 64"/>
                <a:gd name="T12" fmla="*/ 13 w 63"/>
                <a:gd name="T13" fmla="*/ 2 h 64"/>
                <a:gd name="T14" fmla="*/ 19 w 63"/>
                <a:gd name="T15" fmla="*/ 2 h 64"/>
                <a:gd name="T16" fmla="*/ 59 w 63"/>
                <a:gd name="T17" fmla="*/ 42 h 64"/>
                <a:gd name="T18" fmla="*/ 63 w 63"/>
                <a:gd name="T19" fmla="*/ 51 h 64"/>
                <a:gd name="T20" fmla="*/ 59 w 63"/>
                <a:gd name="T21" fmla="*/ 59 h 64"/>
                <a:gd name="T22" fmla="*/ 59 w 63"/>
                <a:gd name="T23" fmla="*/ 60 h 64"/>
                <a:gd name="T24" fmla="*/ 50 w 63"/>
                <a:gd name="T25" fmla="*/ 64 h 64"/>
                <a:gd name="T26" fmla="*/ 10 w 63"/>
                <a:gd name="T27" fmla="*/ 17 h 64"/>
                <a:gd name="T28" fmla="*/ 48 w 63"/>
                <a:gd name="T29" fmla="*/ 54 h 64"/>
                <a:gd name="T30" fmla="*/ 48 w 63"/>
                <a:gd name="T31" fmla="*/ 54 h 64"/>
                <a:gd name="T32" fmla="*/ 53 w 63"/>
                <a:gd name="T33" fmla="*/ 54 h 64"/>
                <a:gd name="T34" fmla="*/ 54 w 63"/>
                <a:gd name="T35" fmla="*/ 54 h 64"/>
                <a:gd name="T36" fmla="*/ 55 w 63"/>
                <a:gd name="T37" fmla="*/ 51 h 64"/>
                <a:gd name="T38" fmla="*/ 54 w 63"/>
                <a:gd name="T39" fmla="*/ 48 h 64"/>
                <a:gd name="T40" fmla="*/ 16 w 63"/>
                <a:gd name="T41" fmla="*/ 11 h 64"/>
                <a:gd name="T42" fmla="*/ 10 w 63"/>
                <a:gd name="T43" fmla="*/ 1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3" h="64">
                  <a:moveTo>
                    <a:pt x="50" y="64"/>
                  </a:moveTo>
                  <a:cubicBezTo>
                    <a:pt x="47" y="64"/>
                    <a:pt x="44" y="63"/>
                    <a:pt x="42" y="60"/>
                  </a:cubicBezTo>
                  <a:cubicBezTo>
                    <a:pt x="42" y="60"/>
                    <a:pt x="42" y="60"/>
                    <a:pt x="42" y="6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19"/>
                    <a:pt x="0" y="18"/>
                    <a:pt x="0" y="17"/>
                  </a:cubicBezTo>
                  <a:cubicBezTo>
                    <a:pt x="0" y="16"/>
                    <a:pt x="0" y="15"/>
                    <a:pt x="1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5" y="0"/>
                    <a:pt x="17" y="0"/>
                    <a:pt x="19" y="2"/>
                  </a:cubicBezTo>
                  <a:cubicBezTo>
                    <a:pt x="59" y="42"/>
                    <a:pt x="59" y="42"/>
                    <a:pt x="59" y="42"/>
                  </a:cubicBezTo>
                  <a:cubicBezTo>
                    <a:pt x="62" y="45"/>
                    <a:pt x="63" y="48"/>
                    <a:pt x="63" y="51"/>
                  </a:cubicBezTo>
                  <a:cubicBezTo>
                    <a:pt x="63" y="54"/>
                    <a:pt x="62" y="57"/>
                    <a:pt x="59" y="59"/>
                  </a:cubicBezTo>
                  <a:cubicBezTo>
                    <a:pt x="59" y="60"/>
                    <a:pt x="59" y="60"/>
                    <a:pt x="59" y="60"/>
                  </a:cubicBezTo>
                  <a:cubicBezTo>
                    <a:pt x="56" y="63"/>
                    <a:pt x="53" y="64"/>
                    <a:pt x="50" y="64"/>
                  </a:cubicBezTo>
                  <a:close/>
                  <a:moveTo>
                    <a:pt x="10" y="17"/>
                  </a:moveTo>
                  <a:cubicBezTo>
                    <a:pt x="48" y="54"/>
                    <a:pt x="48" y="54"/>
                    <a:pt x="48" y="54"/>
                  </a:cubicBezTo>
                  <a:cubicBezTo>
                    <a:pt x="48" y="54"/>
                    <a:pt x="48" y="54"/>
                    <a:pt x="48" y="54"/>
                  </a:cubicBezTo>
                  <a:cubicBezTo>
                    <a:pt x="49" y="56"/>
                    <a:pt x="51" y="56"/>
                    <a:pt x="53" y="54"/>
                  </a:cubicBezTo>
                  <a:cubicBezTo>
                    <a:pt x="54" y="54"/>
                    <a:pt x="54" y="54"/>
                    <a:pt x="54" y="54"/>
                  </a:cubicBezTo>
                  <a:cubicBezTo>
                    <a:pt x="54" y="53"/>
                    <a:pt x="55" y="52"/>
                    <a:pt x="55" y="51"/>
                  </a:cubicBezTo>
                  <a:cubicBezTo>
                    <a:pt x="55" y="50"/>
                    <a:pt x="54" y="49"/>
                    <a:pt x="54" y="48"/>
                  </a:cubicBezTo>
                  <a:cubicBezTo>
                    <a:pt x="16" y="11"/>
                    <a:pt x="16" y="11"/>
                    <a:pt x="16" y="11"/>
                  </a:cubicBezTo>
                  <a:lnTo>
                    <a:pt x="10" y="1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650" name="Shape9_20200717_142313">
            <a:extLst>
              <a:ext uri="{FF2B5EF4-FFF2-40B4-BE49-F238E27FC236}">
                <a16:creationId xmlns:a16="http://schemas.microsoft.com/office/drawing/2014/main" id="{6DB3D0A1-DF61-6D12-DAFA-AF9B1A4AC93A}"/>
              </a:ext>
            </a:extLst>
          </p:cNvPr>
          <p:cNvGrpSpPr>
            <a:grpSpLocks noChangeAspect="1"/>
          </p:cNvGrpSpPr>
          <p:nvPr/>
        </p:nvGrpSpPr>
        <p:grpSpPr>
          <a:xfrm>
            <a:off x="11039333" y="1246453"/>
            <a:ext cx="557786" cy="554186"/>
            <a:chOff x="13315950" y="3017838"/>
            <a:chExt cx="246063" cy="244475"/>
          </a:xfrm>
          <a:solidFill>
            <a:schemeClr val="accent1"/>
          </a:solidFill>
        </p:grpSpPr>
        <p:sp>
          <p:nvSpPr>
            <p:cNvPr id="651" name="Freeform 862">
              <a:extLst>
                <a:ext uri="{FF2B5EF4-FFF2-40B4-BE49-F238E27FC236}">
                  <a16:creationId xmlns:a16="http://schemas.microsoft.com/office/drawing/2014/main" id="{093E6FC1-119C-211C-CFE0-0AC4DB7573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358813" y="3111500"/>
              <a:ext cx="104775" cy="42863"/>
            </a:xfrm>
            <a:custGeom>
              <a:avLst/>
              <a:gdLst>
                <a:gd name="T0" fmla="*/ 103 w 107"/>
                <a:gd name="T1" fmla="*/ 44 h 44"/>
                <a:gd name="T2" fmla="*/ 99 w 107"/>
                <a:gd name="T3" fmla="*/ 39 h 44"/>
                <a:gd name="T4" fmla="*/ 99 w 107"/>
                <a:gd name="T5" fmla="*/ 27 h 44"/>
                <a:gd name="T6" fmla="*/ 81 w 107"/>
                <a:gd name="T7" fmla="*/ 9 h 44"/>
                <a:gd name="T8" fmla="*/ 26 w 107"/>
                <a:gd name="T9" fmla="*/ 9 h 44"/>
                <a:gd name="T10" fmla="*/ 8 w 107"/>
                <a:gd name="T11" fmla="*/ 27 h 44"/>
                <a:gd name="T12" fmla="*/ 8 w 107"/>
                <a:gd name="T13" fmla="*/ 39 h 44"/>
                <a:gd name="T14" fmla="*/ 4 w 107"/>
                <a:gd name="T15" fmla="*/ 43 h 44"/>
                <a:gd name="T16" fmla="*/ 0 w 107"/>
                <a:gd name="T17" fmla="*/ 39 h 44"/>
                <a:gd name="T18" fmla="*/ 0 w 107"/>
                <a:gd name="T19" fmla="*/ 27 h 44"/>
                <a:gd name="T20" fmla="*/ 26 w 107"/>
                <a:gd name="T21" fmla="*/ 0 h 44"/>
                <a:gd name="T22" fmla="*/ 81 w 107"/>
                <a:gd name="T23" fmla="*/ 0 h 44"/>
                <a:gd name="T24" fmla="*/ 107 w 107"/>
                <a:gd name="T25" fmla="*/ 27 h 44"/>
                <a:gd name="T26" fmla="*/ 107 w 107"/>
                <a:gd name="T27" fmla="*/ 39 h 44"/>
                <a:gd name="T28" fmla="*/ 103 w 107"/>
                <a:gd name="T29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7" h="44">
                  <a:moveTo>
                    <a:pt x="103" y="44"/>
                  </a:moveTo>
                  <a:cubicBezTo>
                    <a:pt x="101" y="44"/>
                    <a:pt x="99" y="42"/>
                    <a:pt x="99" y="39"/>
                  </a:cubicBezTo>
                  <a:cubicBezTo>
                    <a:pt x="99" y="27"/>
                    <a:pt x="99" y="27"/>
                    <a:pt x="99" y="27"/>
                  </a:cubicBezTo>
                  <a:cubicBezTo>
                    <a:pt x="99" y="17"/>
                    <a:pt x="91" y="9"/>
                    <a:pt x="81" y="9"/>
                  </a:cubicBezTo>
                  <a:cubicBezTo>
                    <a:pt x="26" y="9"/>
                    <a:pt x="26" y="9"/>
                    <a:pt x="26" y="9"/>
                  </a:cubicBezTo>
                  <a:cubicBezTo>
                    <a:pt x="16" y="9"/>
                    <a:pt x="8" y="17"/>
                    <a:pt x="8" y="2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8" y="41"/>
                    <a:pt x="6" y="43"/>
                    <a:pt x="4" y="43"/>
                  </a:cubicBezTo>
                  <a:cubicBezTo>
                    <a:pt x="2" y="43"/>
                    <a:pt x="0" y="41"/>
                    <a:pt x="0" y="39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12"/>
                    <a:pt x="12" y="0"/>
                    <a:pt x="26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96" y="0"/>
                    <a:pt x="107" y="12"/>
                    <a:pt x="107" y="27"/>
                  </a:cubicBezTo>
                  <a:cubicBezTo>
                    <a:pt x="107" y="39"/>
                    <a:pt x="107" y="39"/>
                    <a:pt x="107" y="39"/>
                  </a:cubicBezTo>
                  <a:cubicBezTo>
                    <a:pt x="107" y="42"/>
                    <a:pt x="106" y="44"/>
                    <a:pt x="103" y="4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52" name="Freeform 863">
              <a:extLst>
                <a:ext uri="{FF2B5EF4-FFF2-40B4-BE49-F238E27FC236}">
                  <a16:creationId xmlns:a16="http://schemas.microsoft.com/office/drawing/2014/main" id="{48E1BBC4-2FC0-4CC9-34EB-4FF512726E9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379450" y="3111500"/>
              <a:ext cx="61913" cy="9525"/>
            </a:xfrm>
            <a:custGeom>
              <a:avLst/>
              <a:gdLst>
                <a:gd name="T0" fmla="*/ 59 w 63"/>
                <a:gd name="T1" fmla="*/ 9 h 9"/>
                <a:gd name="T2" fmla="*/ 4 w 63"/>
                <a:gd name="T3" fmla="*/ 9 h 9"/>
                <a:gd name="T4" fmla="*/ 0 w 63"/>
                <a:gd name="T5" fmla="*/ 5 h 9"/>
                <a:gd name="T6" fmla="*/ 4 w 63"/>
                <a:gd name="T7" fmla="*/ 0 h 9"/>
                <a:gd name="T8" fmla="*/ 59 w 63"/>
                <a:gd name="T9" fmla="*/ 0 h 9"/>
                <a:gd name="T10" fmla="*/ 63 w 63"/>
                <a:gd name="T11" fmla="*/ 5 h 9"/>
                <a:gd name="T12" fmla="*/ 59 w 63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" h="9">
                  <a:moveTo>
                    <a:pt x="59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62" y="0"/>
                    <a:pt x="63" y="2"/>
                    <a:pt x="63" y="5"/>
                  </a:cubicBezTo>
                  <a:cubicBezTo>
                    <a:pt x="63" y="7"/>
                    <a:pt x="62" y="9"/>
                    <a:pt x="5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53" name="Freeform 864">
              <a:extLst>
                <a:ext uri="{FF2B5EF4-FFF2-40B4-BE49-F238E27FC236}">
                  <a16:creationId xmlns:a16="http://schemas.microsoft.com/office/drawing/2014/main" id="{8C2480C8-D2C0-78D2-0948-090E55CA848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387388" y="3054350"/>
              <a:ext cx="47625" cy="47625"/>
            </a:xfrm>
            <a:custGeom>
              <a:avLst/>
              <a:gdLst>
                <a:gd name="T0" fmla="*/ 25 w 49"/>
                <a:gd name="T1" fmla="*/ 49 h 49"/>
                <a:gd name="T2" fmla="*/ 0 w 49"/>
                <a:gd name="T3" fmla="*/ 24 h 49"/>
                <a:gd name="T4" fmla="*/ 25 w 49"/>
                <a:gd name="T5" fmla="*/ 0 h 49"/>
                <a:gd name="T6" fmla="*/ 49 w 49"/>
                <a:gd name="T7" fmla="*/ 24 h 49"/>
                <a:gd name="T8" fmla="*/ 25 w 49"/>
                <a:gd name="T9" fmla="*/ 49 h 49"/>
                <a:gd name="T10" fmla="*/ 25 w 49"/>
                <a:gd name="T11" fmla="*/ 8 h 49"/>
                <a:gd name="T12" fmla="*/ 8 w 49"/>
                <a:gd name="T13" fmla="*/ 24 h 49"/>
                <a:gd name="T14" fmla="*/ 25 w 49"/>
                <a:gd name="T15" fmla="*/ 41 h 49"/>
                <a:gd name="T16" fmla="*/ 41 w 49"/>
                <a:gd name="T17" fmla="*/ 24 h 49"/>
                <a:gd name="T18" fmla="*/ 25 w 49"/>
                <a:gd name="T19" fmla="*/ 8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9" h="49">
                  <a:moveTo>
                    <a:pt x="25" y="49"/>
                  </a:moveTo>
                  <a:cubicBezTo>
                    <a:pt x="11" y="49"/>
                    <a:pt x="0" y="38"/>
                    <a:pt x="0" y="24"/>
                  </a:cubicBezTo>
                  <a:cubicBezTo>
                    <a:pt x="0" y="11"/>
                    <a:pt x="11" y="0"/>
                    <a:pt x="25" y="0"/>
                  </a:cubicBezTo>
                  <a:cubicBezTo>
                    <a:pt x="38" y="0"/>
                    <a:pt x="49" y="11"/>
                    <a:pt x="49" y="24"/>
                  </a:cubicBezTo>
                  <a:cubicBezTo>
                    <a:pt x="49" y="38"/>
                    <a:pt x="38" y="49"/>
                    <a:pt x="25" y="49"/>
                  </a:cubicBezTo>
                  <a:close/>
                  <a:moveTo>
                    <a:pt x="25" y="8"/>
                  </a:moveTo>
                  <a:cubicBezTo>
                    <a:pt x="16" y="8"/>
                    <a:pt x="8" y="15"/>
                    <a:pt x="8" y="24"/>
                  </a:cubicBezTo>
                  <a:cubicBezTo>
                    <a:pt x="8" y="33"/>
                    <a:pt x="16" y="41"/>
                    <a:pt x="25" y="41"/>
                  </a:cubicBezTo>
                  <a:cubicBezTo>
                    <a:pt x="34" y="41"/>
                    <a:pt x="41" y="33"/>
                    <a:pt x="41" y="24"/>
                  </a:cubicBezTo>
                  <a:cubicBezTo>
                    <a:pt x="41" y="15"/>
                    <a:pt x="34" y="8"/>
                    <a:pt x="25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54" name="Freeform 865">
              <a:extLst>
                <a:ext uri="{FF2B5EF4-FFF2-40B4-BE49-F238E27FC236}">
                  <a16:creationId xmlns:a16="http://schemas.microsoft.com/office/drawing/2014/main" id="{7E594C7B-6F37-189C-B7AC-835D9174DF1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315950" y="3017838"/>
              <a:ext cx="190500" cy="190500"/>
            </a:xfrm>
            <a:custGeom>
              <a:avLst/>
              <a:gdLst>
                <a:gd name="T0" fmla="*/ 98 w 195"/>
                <a:gd name="T1" fmla="*/ 195 h 195"/>
                <a:gd name="T2" fmla="*/ 0 w 195"/>
                <a:gd name="T3" fmla="*/ 98 h 195"/>
                <a:gd name="T4" fmla="*/ 98 w 195"/>
                <a:gd name="T5" fmla="*/ 0 h 195"/>
                <a:gd name="T6" fmla="*/ 195 w 195"/>
                <a:gd name="T7" fmla="*/ 98 h 195"/>
                <a:gd name="T8" fmla="*/ 98 w 195"/>
                <a:gd name="T9" fmla="*/ 195 h 195"/>
                <a:gd name="T10" fmla="*/ 98 w 195"/>
                <a:gd name="T11" fmla="*/ 8 h 195"/>
                <a:gd name="T12" fmla="*/ 8 w 195"/>
                <a:gd name="T13" fmla="*/ 98 h 195"/>
                <a:gd name="T14" fmla="*/ 98 w 195"/>
                <a:gd name="T15" fmla="*/ 187 h 195"/>
                <a:gd name="T16" fmla="*/ 187 w 195"/>
                <a:gd name="T17" fmla="*/ 98 h 195"/>
                <a:gd name="T18" fmla="*/ 98 w 195"/>
                <a:gd name="T19" fmla="*/ 8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5" h="195">
                  <a:moveTo>
                    <a:pt x="98" y="195"/>
                  </a:moveTo>
                  <a:cubicBezTo>
                    <a:pt x="44" y="195"/>
                    <a:pt x="0" y="151"/>
                    <a:pt x="0" y="98"/>
                  </a:cubicBezTo>
                  <a:cubicBezTo>
                    <a:pt x="0" y="44"/>
                    <a:pt x="44" y="0"/>
                    <a:pt x="98" y="0"/>
                  </a:cubicBezTo>
                  <a:cubicBezTo>
                    <a:pt x="151" y="0"/>
                    <a:pt x="195" y="44"/>
                    <a:pt x="195" y="98"/>
                  </a:cubicBezTo>
                  <a:cubicBezTo>
                    <a:pt x="195" y="151"/>
                    <a:pt x="151" y="195"/>
                    <a:pt x="98" y="195"/>
                  </a:cubicBezTo>
                  <a:close/>
                  <a:moveTo>
                    <a:pt x="98" y="8"/>
                  </a:moveTo>
                  <a:cubicBezTo>
                    <a:pt x="48" y="8"/>
                    <a:pt x="8" y="48"/>
                    <a:pt x="8" y="98"/>
                  </a:cubicBezTo>
                  <a:cubicBezTo>
                    <a:pt x="8" y="147"/>
                    <a:pt x="48" y="187"/>
                    <a:pt x="98" y="187"/>
                  </a:cubicBezTo>
                  <a:cubicBezTo>
                    <a:pt x="147" y="187"/>
                    <a:pt x="187" y="147"/>
                    <a:pt x="187" y="98"/>
                  </a:cubicBezTo>
                  <a:cubicBezTo>
                    <a:pt x="187" y="48"/>
                    <a:pt x="147" y="8"/>
                    <a:pt x="98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55" name="Freeform 866">
              <a:extLst>
                <a:ext uri="{FF2B5EF4-FFF2-40B4-BE49-F238E27FC236}">
                  <a16:creationId xmlns:a16="http://schemas.microsoft.com/office/drawing/2014/main" id="{14C2E010-EC2B-D89A-FD78-26C938295EB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462000" y="3163888"/>
              <a:ext cx="100013" cy="98425"/>
            </a:xfrm>
            <a:custGeom>
              <a:avLst/>
              <a:gdLst>
                <a:gd name="T0" fmla="*/ 81 w 102"/>
                <a:gd name="T1" fmla="*/ 100 h 100"/>
                <a:gd name="T2" fmla="*/ 70 w 102"/>
                <a:gd name="T3" fmla="*/ 95 h 100"/>
                <a:gd name="T4" fmla="*/ 70 w 102"/>
                <a:gd name="T5" fmla="*/ 95 h 100"/>
                <a:gd name="T6" fmla="*/ 2 w 102"/>
                <a:gd name="T7" fmla="*/ 27 h 100"/>
                <a:gd name="T8" fmla="*/ 2 w 102"/>
                <a:gd name="T9" fmla="*/ 22 h 100"/>
                <a:gd name="T10" fmla="*/ 22 w 102"/>
                <a:gd name="T11" fmla="*/ 2 h 100"/>
                <a:gd name="T12" fmla="*/ 28 w 102"/>
                <a:gd name="T13" fmla="*/ 2 h 100"/>
                <a:gd name="T14" fmla="*/ 96 w 102"/>
                <a:gd name="T15" fmla="*/ 70 h 100"/>
                <a:gd name="T16" fmla="*/ 96 w 102"/>
                <a:gd name="T17" fmla="*/ 93 h 100"/>
                <a:gd name="T18" fmla="*/ 93 w 102"/>
                <a:gd name="T19" fmla="*/ 95 h 100"/>
                <a:gd name="T20" fmla="*/ 81 w 102"/>
                <a:gd name="T21" fmla="*/ 100 h 100"/>
                <a:gd name="T22" fmla="*/ 11 w 102"/>
                <a:gd name="T23" fmla="*/ 24 h 100"/>
                <a:gd name="T24" fmla="*/ 76 w 102"/>
                <a:gd name="T25" fmla="*/ 90 h 100"/>
                <a:gd name="T26" fmla="*/ 76 w 102"/>
                <a:gd name="T27" fmla="*/ 90 h 100"/>
                <a:gd name="T28" fmla="*/ 87 w 102"/>
                <a:gd name="T29" fmla="*/ 90 h 100"/>
                <a:gd name="T30" fmla="*/ 90 w 102"/>
                <a:gd name="T31" fmla="*/ 87 h 100"/>
                <a:gd name="T32" fmla="*/ 90 w 102"/>
                <a:gd name="T33" fmla="*/ 76 h 100"/>
                <a:gd name="T34" fmla="*/ 25 w 102"/>
                <a:gd name="T35" fmla="*/ 10 h 100"/>
                <a:gd name="T36" fmla="*/ 11 w 102"/>
                <a:gd name="T37" fmla="*/ 24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2" h="100">
                  <a:moveTo>
                    <a:pt x="81" y="100"/>
                  </a:moveTo>
                  <a:cubicBezTo>
                    <a:pt x="77" y="100"/>
                    <a:pt x="73" y="99"/>
                    <a:pt x="70" y="95"/>
                  </a:cubicBezTo>
                  <a:cubicBezTo>
                    <a:pt x="70" y="95"/>
                    <a:pt x="70" y="95"/>
                    <a:pt x="70" y="95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0" y="26"/>
                    <a:pt x="0" y="23"/>
                    <a:pt x="2" y="22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23" y="0"/>
                    <a:pt x="26" y="0"/>
                    <a:pt x="28" y="2"/>
                  </a:cubicBezTo>
                  <a:cubicBezTo>
                    <a:pt x="96" y="70"/>
                    <a:pt x="96" y="70"/>
                    <a:pt x="96" y="70"/>
                  </a:cubicBezTo>
                  <a:cubicBezTo>
                    <a:pt x="102" y="76"/>
                    <a:pt x="102" y="86"/>
                    <a:pt x="96" y="93"/>
                  </a:cubicBezTo>
                  <a:cubicBezTo>
                    <a:pt x="93" y="95"/>
                    <a:pt x="93" y="95"/>
                    <a:pt x="93" y="95"/>
                  </a:cubicBezTo>
                  <a:cubicBezTo>
                    <a:pt x="90" y="99"/>
                    <a:pt x="86" y="100"/>
                    <a:pt x="81" y="100"/>
                  </a:cubicBezTo>
                  <a:close/>
                  <a:moveTo>
                    <a:pt x="11" y="24"/>
                  </a:moveTo>
                  <a:cubicBezTo>
                    <a:pt x="76" y="90"/>
                    <a:pt x="76" y="90"/>
                    <a:pt x="76" y="90"/>
                  </a:cubicBezTo>
                  <a:cubicBezTo>
                    <a:pt x="76" y="90"/>
                    <a:pt x="76" y="90"/>
                    <a:pt x="76" y="90"/>
                  </a:cubicBezTo>
                  <a:cubicBezTo>
                    <a:pt x="79" y="93"/>
                    <a:pt x="84" y="93"/>
                    <a:pt x="87" y="90"/>
                  </a:cubicBezTo>
                  <a:cubicBezTo>
                    <a:pt x="90" y="87"/>
                    <a:pt x="90" y="87"/>
                    <a:pt x="90" y="87"/>
                  </a:cubicBezTo>
                  <a:cubicBezTo>
                    <a:pt x="93" y="84"/>
                    <a:pt x="93" y="79"/>
                    <a:pt x="90" y="76"/>
                  </a:cubicBezTo>
                  <a:cubicBezTo>
                    <a:pt x="25" y="10"/>
                    <a:pt x="25" y="10"/>
                    <a:pt x="25" y="10"/>
                  </a:cubicBezTo>
                  <a:lnTo>
                    <a:pt x="11" y="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656" name="Shape10_20200717_142313">
            <a:extLst>
              <a:ext uri="{FF2B5EF4-FFF2-40B4-BE49-F238E27FC236}">
                <a16:creationId xmlns:a16="http://schemas.microsoft.com/office/drawing/2014/main" id="{9A8A9715-BF15-8BF2-30A4-9F6B886AC836}"/>
              </a:ext>
            </a:extLst>
          </p:cNvPr>
          <p:cNvGrpSpPr>
            <a:grpSpLocks noChangeAspect="1"/>
          </p:cNvGrpSpPr>
          <p:nvPr/>
        </p:nvGrpSpPr>
        <p:grpSpPr>
          <a:xfrm>
            <a:off x="5730739" y="1277041"/>
            <a:ext cx="730518" cy="493008"/>
            <a:chOff x="14327188" y="2457450"/>
            <a:chExt cx="322263" cy="217488"/>
          </a:xfrm>
          <a:solidFill>
            <a:schemeClr val="accent1"/>
          </a:solidFill>
        </p:grpSpPr>
        <p:sp>
          <p:nvSpPr>
            <p:cNvPr id="657" name="Freeform 867">
              <a:extLst>
                <a:ext uri="{FF2B5EF4-FFF2-40B4-BE49-F238E27FC236}">
                  <a16:creationId xmlns:a16="http://schemas.microsoft.com/office/drawing/2014/main" id="{9A54361B-58C8-11BC-F160-95EF2556326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355763" y="2457450"/>
              <a:ext cx="263525" cy="190500"/>
            </a:xfrm>
            <a:custGeom>
              <a:avLst/>
              <a:gdLst>
                <a:gd name="T0" fmla="*/ 264 w 268"/>
                <a:gd name="T1" fmla="*/ 194 h 194"/>
                <a:gd name="T2" fmla="*/ 4 w 268"/>
                <a:gd name="T3" fmla="*/ 194 h 194"/>
                <a:gd name="T4" fmla="*/ 0 w 268"/>
                <a:gd name="T5" fmla="*/ 190 h 194"/>
                <a:gd name="T6" fmla="*/ 0 w 268"/>
                <a:gd name="T7" fmla="*/ 16 h 194"/>
                <a:gd name="T8" fmla="*/ 16 w 268"/>
                <a:gd name="T9" fmla="*/ 0 h 194"/>
                <a:gd name="T10" fmla="*/ 252 w 268"/>
                <a:gd name="T11" fmla="*/ 0 h 194"/>
                <a:gd name="T12" fmla="*/ 268 w 268"/>
                <a:gd name="T13" fmla="*/ 16 h 194"/>
                <a:gd name="T14" fmla="*/ 268 w 268"/>
                <a:gd name="T15" fmla="*/ 190 h 194"/>
                <a:gd name="T16" fmla="*/ 264 w 268"/>
                <a:gd name="T17" fmla="*/ 194 h 194"/>
                <a:gd name="T18" fmla="*/ 9 w 268"/>
                <a:gd name="T19" fmla="*/ 186 h 194"/>
                <a:gd name="T20" fmla="*/ 260 w 268"/>
                <a:gd name="T21" fmla="*/ 186 h 194"/>
                <a:gd name="T22" fmla="*/ 260 w 268"/>
                <a:gd name="T23" fmla="*/ 16 h 194"/>
                <a:gd name="T24" fmla="*/ 252 w 268"/>
                <a:gd name="T25" fmla="*/ 8 h 194"/>
                <a:gd name="T26" fmla="*/ 16 w 268"/>
                <a:gd name="T27" fmla="*/ 8 h 194"/>
                <a:gd name="T28" fmla="*/ 9 w 268"/>
                <a:gd name="T29" fmla="*/ 16 h 194"/>
                <a:gd name="T30" fmla="*/ 9 w 268"/>
                <a:gd name="T31" fmla="*/ 186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68" h="194">
                  <a:moveTo>
                    <a:pt x="264" y="194"/>
                  </a:moveTo>
                  <a:cubicBezTo>
                    <a:pt x="4" y="194"/>
                    <a:pt x="4" y="194"/>
                    <a:pt x="4" y="194"/>
                  </a:cubicBezTo>
                  <a:cubicBezTo>
                    <a:pt x="2" y="194"/>
                    <a:pt x="0" y="192"/>
                    <a:pt x="0" y="190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8" y="0"/>
                    <a:pt x="16" y="0"/>
                  </a:cubicBezTo>
                  <a:cubicBezTo>
                    <a:pt x="252" y="0"/>
                    <a:pt x="252" y="0"/>
                    <a:pt x="252" y="0"/>
                  </a:cubicBezTo>
                  <a:cubicBezTo>
                    <a:pt x="261" y="0"/>
                    <a:pt x="268" y="7"/>
                    <a:pt x="268" y="16"/>
                  </a:cubicBezTo>
                  <a:cubicBezTo>
                    <a:pt x="268" y="190"/>
                    <a:pt x="268" y="190"/>
                    <a:pt x="268" y="190"/>
                  </a:cubicBezTo>
                  <a:cubicBezTo>
                    <a:pt x="268" y="192"/>
                    <a:pt x="266" y="194"/>
                    <a:pt x="264" y="194"/>
                  </a:cubicBezTo>
                  <a:close/>
                  <a:moveTo>
                    <a:pt x="9" y="186"/>
                  </a:moveTo>
                  <a:cubicBezTo>
                    <a:pt x="260" y="186"/>
                    <a:pt x="260" y="186"/>
                    <a:pt x="260" y="186"/>
                  </a:cubicBezTo>
                  <a:cubicBezTo>
                    <a:pt x="260" y="16"/>
                    <a:pt x="260" y="16"/>
                    <a:pt x="260" y="16"/>
                  </a:cubicBezTo>
                  <a:cubicBezTo>
                    <a:pt x="260" y="12"/>
                    <a:pt x="256" y="8"/>
                    <a:pt x="252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2" y="8"/>
                    <a:pt x="9" y="12"/>
                    <a:pt x="9" y="16"/>
                  </a:cubicBezTo>
                  <a:lnTo>
                    <a:pt x="9" y="18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58" name="Freeform 868">
              <a:extLst>
                <a:ext uri="{FF2B5EF4-FFF2-40B4-BE49-F238E27FC236}">
                  <a16:creationId xmlns:a16="http://schemas.microsoft.com/office/drawing/2014/main" id="{D15E3DA3-E66F-59B3-DC63-14E455AF592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327188" y="2640013"/>
              <a:ext cx="322263" cy="34925"/>
            </a:xfrm>
            <a:custGeom>
              <a:avLst/>
              <a:gdLst>
                <a:gd name="T0" fmla="*/ 301 w 329"/>
                <a:gd name="T1" fmla="*/ 35 h 35"/>
                <a:gd name="T2" fmla="*/ 27 w 329"/>
                <a:gd name="T3" fmla="*/ 35 h 35"/>
                <a:gd name="T4" fmla="*/ 0 w 329"/>
                <a:gd name="T5" fmla="*/ 7 h 35"/>
                <a:gd name="T6" fmla="*/ 0 w 329"/>
                <a:gd name="T7" fmla="*/ 4 h 35"/>
                <a:gd name="T8" fmla="*/ 4 w 329"/>
                <a:gd name="T9" fmla="*/ 0 h 35"/>
                <a:gd name="T10" fmla="*/ 324 w 329"/>
                <a:gd name="T11" fmla="*/ 0 h 35"/>
                <a:gd name="T12" fmla="*/ 329 w 329"/>
                <a:gd name="T13" fmla="*/ 4 h 35"/>
                <a:gd name="T14" fmla="*/ 329 w 329"/>
                <a:gd name="T15" fmla="*/ 7 h 35"/>
                <a:gd name="T16" fmla="*/ 301 w 329"/>
                <a:gd name="T17" fmla="*/ 35 h 35"/>
                <a:gd name="T18" fmla="*/ 8 w 329"/>
                <a:gd name="T19" fmla="*/ 8 h 35"/>
                <a:gd name="T20" fmla="*/ 27 w 329"/>
                <a:gd name="T21" fmla="*/ 27 h 35"/>
                <a:gd name="T22" fmla="*/ 301 w 329"/>
                <a:gd name="T23" fmla="*/ 27 h 35"/>
                <a:gd name="T24" fmla="*/ 320 w 329"/>
                <a:gd name="T25" fmla="*/ 8 h 35"/>
                <a:gd name="T26" fmla="*/ 8 w 329"/>
                <a:gd name="T27" fmla="*/ 8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9" h="35">
                  <a:moveTo>
                    <a:pt x="301" y="35"/>
                  </a:moveTo>
                  <a:cubicBezTo>
                    <a:pt x="27" y="35"/>
                    <a:pt x="27" y="35"/>
                    <a:pt x="27" y="35"/>
                  </a:cubicBezTo>
                  <a:cubicBezTo>
                    <a:pt x="12" y="35"/>
                    <a:pt x="0" y="22"/>
                    <a:pt x="0" y="7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1" y="0"/>
                    <a:pt x="4" y="0"/>
                  </a:cubicBezTo>
                  <a:cubicBezTo>
                    <a:pt x="324" y="0"/>
                    <a:pt x="324" y="0"/>
                    <a:pt x="324" y="0"/>
                  </a:cubicBezTo>
                  <a:cubicBezTo>
                    <a:pt x="327" y="0"/>
                    <a:pt x="329" y="1"/>
                    <a:pt x="329" y="4"/>
                  </a:cubicBezTo>
                  <a:cubicBezTo>
                    <a:pt x="329" y="7"/>
                    <a:pt x="329" y="7"/>
                    <a:pt x="329" y="7"/>
                  </a:cubicBezTo>
                  <a:cubicBezTo>
                    <a:pt x="329" y="22"/>
                    <a:pt x="316" y="35"/>
                    <a:pt x="301" y="35"/>
                  </a:cubicBezTo>
                  <a:close/>
                  <a:moveTo>
                    <a:pt x="8" y="8"/>
                  </a:moveTo>
                  <a:cubicBezTo>
                    <a:pt x="8" y="18"/>
                    <a:pt x="17" y="27"/>
                    <a:pt x="27" y="27"/>
                  </a:cubicBezTo>
                  <a:cubicBezTo>
                    <a:pt x="301" y="27"/>
                    <a:pt x="301" y="27"/>
                    <a:pt x="301" y="27"/>
                  </a:cubicBezTo>
                  <a:cubicBezTo>
                    <a:pt x="311" y="27"/>
                    <a:pt x="320" y="18"/>
                    <a:pt x="320" y="8"/>
                  </a:cubicBezTo>
                  <a:lnTo>
                    <a:pt x="8" y="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59" name="Freeform 869">
              <a:extLst>
                <a:ext uri="{FF2B5EF4-FFF2-40B4-BE49-F238E27FC236}">
                  <a16:creationId xmlns:a16="http://schemas.microsoft.com/office/drawing/2014/main" id="{CFB64D2B-DED9-24F9-48EA-8672661FF74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417675" y="2486025"/>
              <a:ext cx="109538" cy="111125"/>
            </a:xfrm>
            <a:custGeom>
              <a:avLst/>
              <a:gdLst>
                <a:gd name="T0" fmla="*/ 56 w 112"/>
                <a:gd name="T1" fmla="*/ 112 h 112"/>
                <a:gd name="T2" fmla="*/ 0 w 112"/>
                <a:gd name="T3" fmla="*/ 56 h 112"/>
                <a:gd name="T4" fmla="*/ 56 w 112"/>
                <a:gd name="T5" fmla="*/ 0 h 112"/>
                <a:gd name="T6" fmla="*/ 112 w 112"/>
                <a:gd name="T7" fmla="*/ 56 h 112"/>
                <a:gd name="T8" fmla="*/ 56 w 112"/>
                <a:gd name="T9" fmla="*/ 112 h 112"/>
                <a:gd name="T10" fmla="*/ 56 w 112"/>
                <a:gd name="T11" fmla="*/ 9 h 112"/>
                <a:gd name="T12" fmla="*/ 9 w 112"/>
                <a:gd name="T13" fmla="*/ 56 h 112"/>
                <a:gd name="T14" fmla="*/ 56 w 112"/>
                <a:gd name="T15" fmla="*/ 104 h 112"/>
                <a:gd name="T16" fmla="*/ 104 w 112"/>
                <a:gd name="T17" fmla="*/ 56 h 112"/>
                <a:gd name="T18" fmla="*/ 56 w 112"/>
                <a:gd name="T19" fmla="*/ 9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2" h="112">
                  <a:moveTo>
                    <a:pt x="56" y="112"/>
                  </a:moveTo>
                  <a:cubicBezTo>
                    <a:pt x="25" y="112"/>
                    <a:pt x="0" y="87"/>
                    <a:pt x="0" y="56"/>
                  </a:cubicBezTo>
                  <a:cubicBezTo>
                    <a:pt x="0" y="25"/>
                    <a:pt x="25" y="0"/>
                    <a:pt x="56" y="0"/>
                  </a:cubicBezTo>
                  <a:cubicBezTo>
                    <a:pt x="87" y="0"/>
                    <a:pt x="112" y="25"/>
                    <a:pt x="112" y="56"/>
                  </a:cubicBezTo>
                  <a:cubicBezTo>
                    <a:pt x="112" y="87"/>
                    <a:pt x="87" y="112"/>
                    <a:pt x="56" y="112"/>
                  </a:cubicBezTo>
                  <a:close/>
                  <a:moveTo>
                    <a:pt x="56" y="9"/>
                  </a:moveTo>
                  <a:cubicBezTo>
                    <a:pt x="30" y="9"/>
                    <a:pt x="9" y="30"/>
                    <a:pt x="9" y="56"/>
                  </a:cubicBezTo>
                  <a:cubicBezTo>
                    <a:pt x="9" y="82"/>
                    <a:pt x="30" y="104"/>
                    <a:pt x="56" y="104"/>
                  </a:cubicBezTo>
                  <a:cubicBezTo>
                    <a:pt x="82" y="104"/>
                    <a:pt x="104" y="82"/>
                    <a:pt x="104" y="56"/>
                  </a:cubicBezTo>
                  <a:cubicBezTo>
                    <a:pt x="104" y="30"/>
                    <a:pt x="82" y="9"/>
                    <a:pt x="56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60" name="Freeform 870">
              <a:extLst>
                <a:ext uri="{FF2B5EF4-FFF2-40B4-BE49-F238E27FC236}">
                  <a16:creationId xmlns:a16="http://schemas.microsoft.com/office/drawing/2014/main" id="{0129930E-2CBA-913D-6C73-E78E7FA6DD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498638" y="2566988"/>
              <a:ext cx="58738" cy="58738"/>
            </a:xfrm>
            <a:custGeom>
              <a:avLst/>
              <a:gdLst>
                <a:gd name="T0" fmla="*/ 47 w 60"/>
                <a:gd name="T1" fmla="*/ 60 h 60"/>
                <a:gd name="T2" fmla="*/ 37 w 60"/>
                <a:gd name="T3" fmla="*/ 56 h 60"/>
                <a:gd name="T4" fmla="*/ 37 w 60"/>
                <a:gd name="T5" fmla="*/ 56 h 60"/>
                <a:gd name="T6" fmla="*/ 2 w 60"/>
                <a:gd name="T7" fmla="*/ 21 h 60"/>
                <a:gd name="T8" fmla="*/ 0 w 60"/>
                <a:gd name="T9" fmla="*/ 18 h 60"/>
                <a:gd name="T10" fmla="*/ 2 w 60"/>
                <a:gd name="T11" fmla="*/ 15 h 60"/>
                <a:gd name="T12" fmla="*/ 15 w 60"/>
                <a:gd name="T13" fmla="*/ 2 h 60"/>
                <a:gd name="T14" fmla="*/ 21 w 60"/>
                <a:gd name="T15" fmla="*/ 2 h 60"/>
                <a:gd name="T16" fmla="*/ 56 w 60"/>
                <a:gd name="T17" fmla="*/ 38 h 60"/>
                <a:gd name="T18" fmla="*/ 60 w 60"/>
                <a:gd name="T19" fmla="*/ 47 h 60"/>
                <a:gd name="T20" fmla="*/ 56 w 60"/>
                <a:gd name="T21" fmla="*/ 56 h 60"/>
                <a:gd name="T22" fmla="*/ 47 w 60"/>
                <a:gd name="T23" fmla="*/ 60 h 60"/>
                <a:gd name="T24" fmla="*/ 43 w 60"/>
                <a:gd name="T25" fmla="*/ 51 h 60"/>
                <a:gd name="T26" fmla="*/ 51 w 60"/>
                <a:gd name="T27" fmla="*/ 51 h 60"/>
                <a:gd name="T28" fmla="*/ 52 w 60"/>
                <a:gd name="T29" fmla="*/ 47 h 60"/>
                <a:gd name="T30" fmla="*/ 51 w 60"/>
                <a:gd name="T31" fmla="*/ 43 h 60"/>
                <a:gd name="T32" fmla="*/ 18 w 60"/>
                <a:gd name="T33" fmla="*/ 10 h 60"/>
                <a:gd name="T34" fmla="*/ 10 w 60"/>
                <a:gd name="T35" fmla="*/ 18 h 60"/>
                <a:gd name="T36" fmla="*/ 43 w 60"/>
                <a:gd name="T37" fmla="*/ 51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0" h="60">
                  <a:moveTo>
                    <a:pt x="47" y="60"/>
                  </a:moveTo>
                  <a:cubicBezTo>
                    <a:pt x="43" y="60"/>
                    <a:pt x="40" y="59"/>
                    <a:pt x="37" y="56"/>
                  </a:cubicBezTo>
                  <a:cubicBezTo>
                    <a:pt x="37" y="56"/>
                    <a:pt x="37" y="56"/>
                    <a:pt x="37" y="56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1" y="20"/>
                    <a:pt x="0" y="19"/>
                    <a:pt x="0" y="18"/>
                  </a:cubicBezTo>
                  <a:cubicBezTo>
                    <a:pt x="0" y="17"/>
                    <a:pt x="1" y="16"/>
                    <a:pt x="2" y="15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6" y="0"/>
                    <a:pt x="19" y="0"/>
                    <a:pt x="21" y="2"/>
                  </a:cubicBezTo>
                  <a:cubicBezTo>
                    <a:pt x="56" y="38"/>
                    <a:pt x="56" y="38"/>
                    <a:pt x="56" y="38"/>
                  </a:cubicBezTo>
                  <a:cubicBezTo>
                    <a:pt x="59" y="40"/>
                    <a:pt x="60" y="43"/>
                    <a:pt x="60" y="47"/>
                  </a:cubicBezTo>
                  <a:cubicBezTo>
                    <a:pt x="60" y="51"/>
                    <a:pt x="59" y="54"/>
                    <a:pt x="56" y="56"/>
                  </a:cubicBezTo>
                  <a:cubicBezTo>
                    <a:pt x="54" y="59"/>
                    <a:pt x="50" y="60"/>
                    <a:pt x="47" y="60"/>
                  </a:cubicBezTo>
                  <a:close/>
                  <a:moveTo>
                    <a:pt x="43" y="51"/>
                  </a:moveTo>
                  <a:cubicBezTo>
                    <a:pt x="45" y="53"/>
                    <a:pt x="49" y="53"/>
                    <a:pt x="51" y="51"/>
                  </a:cubicBezTo>
                  <a:cubicBezTo>
                    <a:pt x="52" y="50"/>
                    <a:pt x="52" y="48"/>
                    <a:pt x="52" y="47"/>
                  </a:cubicBezTo>
                  <a:cubicBezTo>
                    <a:pt x="52" y="46"/>
                    <a:pt x="52" y="44"/>
                    <a:pt x="51" y="43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0" y="18"/>
                    <a:pt x="10" y="18"/>
                    <a:pt x="10" y="18"/>
                  </a:cubicBezTo>
                  <a:lnTo>
                    <a:pt x="43" y="5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661" name="Shape11_20200717_142313">
            <a:extLst>
              <a:ext uri="{FF2B5EF4-FFF2-40B4-BE49-F238E27FC236}">
                <a16:creationId xmlns:a16="http://schemas.microsoft.com/office/drawing/2014/main" id="{AB4551E4-91F2-64C3-8C0E-3384684B7E0C}"/>
              </a:ext>
            </a:extLst>
          </p:cNvPr>
          <p:cNvGrpSpPr>
            <a:grpSpLocks noChangeAspect="1"/>
          </p:cNvGrpSpPr>
          <p:nvPr/>
        </p:nvGrpSpPr>
        <p:grpSpPr>
          <a:xfrm>
            <a:off x="504916" y="2548408"/>
            <a:ext cx="737716" cy="561388"/>
            <a:chOff x="13800138" y="3016250"/>
            <a:chExt cx="325438" cy="247651"/>
          </a:xfrm>
          <a:solidFill>
            <a:schemeClr val="accent1"/>
          </a:solidFill>
        </p:grpSpPr>
        <p:sp>
          <p:nvSpPr>
            <p:cNvPr id="662" name="Freeform 871">
              <a:extLst>
                <a:ext uri="{FF2B5EF4-FFF2-40B4-BE49-F238E27FC236}">
                  <a16:creationId xmlns:a16="http://schemas.microsoft.com/office/drawing/2014/main" id="{BF61D7C8-BFA9-E2DF-8183-4EA5F481DD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00138" y="3081338"/>
              <a:ext cx="271463" cy="168275"/>
            </a:xfrm>
            <a:custGeom>
              <a:avLst/>
              <a:gdLst>
                <a:gd name="T0" fmla="*/ 266 w 277"/>
                <a:gd name="T1" fmla="*/ 172 h 172"/>
                <a:gd name="T2" fmla="*/ 12 w 277"/>
                <a:gd name="T3" fmla="*/ 172 h 172"/>
                <a:gd name="T4" fmla="*/ 0 w 277"/>
                <a:gd name="T5" fmla="*/ 160 h 172"/>
                <a:gd name="T6" fmla="*/ 0 w 277"/>
                <a:gd name="T7" fmla="*/ 4 h 172"/>
                <a:gd name="T8" fmla="*/ 5 w 277"/>
                <a:gd name="T9" fmla="*/ 0 h 172"/>
                <a:gd name="T10" fmla="*/ 273 w 277"/>
                <a:gd name="T11" fmla="*/ 0 h 172"/>
                <a:gd name="T12" fmla="*/ 277 w 277"/>
                <a:gd name="T13" fmla="*/ 4 h 172"/>
                <a:gd name="T14" fmla="*/ 277 w 277"/>
                <a:gd name="T15" fmla="*/ 40 h 172"/>
                <a:gd name="T16" fmla="*/ 273 w 277"/>
                <a:gd name="T17" fmla="*/ 44 h 172"/>
                <a:gd name="T18" fmla="*/ 269 w 277"/>
                <a:gd name="T19" fmla="*/ 40 h 172"/>
                <a:gd name="T20" fmla="*/ 269 w 277"/>
                <a:gd name="T21" fmla="*/ 9 h 172"/>
                <a:gd name="T22" fmla="*/ 9 w 277"/>
                <a:gd name="T23" fmla="*/ 9 h 172"/>
                <a:gd name="T24" fmla="*/ 9 w 277"/>
                <a:gd name="T25" fmla="*/ 160 h 172"/>
                <a:gd name="T26" fmla="*/ 12 w 277"/>
                <a:gd name="T27" fmla="*/ 163 h 172"/>
                <a:gd name="T28" fmla="*/ 266 w 277"/>
                <a:gd name="T29" fmla="*/ 163 h 172"/>
                <a:gd name="T30" fmla="*/ 269 w 277"/>
                <a:gd name="T31" fmla="*/ 160 h 172"/>
                <a:gd name="T32" fmla="*/ 269 w 277"/>
                <a:gd name="T33" fmla="*/ 133 h 172"/>
                <a:gd name="T34" fmla="*/ 273 w 277"/>
                <a:gd name="T35" fmla="*/ 129 h 172"/>
                <a:gd name="T36" fmla="*/ 277 w 277"/>
                <a:gd name="T37" fmla="*/ 133 h 172"/>
                <a:gd name="T38" fmla="*/ 277 w 277"/>
                <a:gd name="T39" fmla="*/ 160 h 172"/>
                <a:gd name="T40" fmla="*/ 266 w 277"/>
                <a:gd name="T41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77" h="172">
                  <a:moveTo>
                    <a:pt x="266" y="172"/>
                  </a:moveTo>
                  <a:cubicBezTo>
                    <a:pt x="12" y="172"/>
                    <a:pt x="12" y="172"/>
                    <a:pt x="12" y="172"/>
                  </a:cubicBezTo>
                  <a:cubicBezTo>
                    <a:pt x="6" y="172"/>
                    <a:pt x="0" y="167"/>
                    <a:pt x="0" y="16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273" y="0"/>
                    <a:pt x="273" y="0"/>
                    <a:pt x="273" y="0"/>
                  </a:cubicBezTo>
                  <a:cubicBezTo>
                    <a:pt x="275" y="0"/>
                    <a:pt x="277" y="2"/>
                    <a:pt x="277" y="4"/>
                  </a:cubicBezTo>
                  <a:cubicBezTo>
                    <a:pt x="277" y="40"/>
                    <a:pt x="277" y="40"/>
                    <a:pt x="277" y="40"/>
                  </a:cubicBezTo>
                  <a:cubicBezTo>
                    <a:pt x="277" y="42"/>
                    <a:pt x="275" y="44"/>
                    <a:pt x="273" y="44"/>
                  </a:cubicBezTo>
                  <a:cubicBezTo>
                    <a:pt x="271" y="44"/>
                    <a:pt x="269" y="42"/>
                    <a:pt x="269" y="40"/>
                  </a:cubicBezTo>
                  <a:cubicBezTo>
                    <a:pt x="269" y="9"/>
                    <a:pt x="269" y="9"/>
                    <a:pt x="26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160"/>
                    <a:pt x="9" y="160"/>
                    <a:pt x="9" y="160"/>
                  </a:cubicBezTo>
                  <a:cubicBezTo>
                    <a:pt x="9" y="162"/>
                    <a:pt x="10" y="163"/>
                    <a:pt x="12" y="163"/>
                  </a:cubicBezTo>
                  <a:cubicBezTo>
                    <a:pt x="266" y="163"/>
                    <a:pt x="266" y="163"/>
                    <a:pt x="266" y="163"/>
                  </a:cubicBezTo>
                  <a:cubicBezTo>
                    <a:pt x="268" y="163"/>
                    <a:pt x="269" y="162"/>
                    <a:pt x="269" y="160"/>
                  </a:cubicBezTo>
                  <a:cubicBezTo>
                    <a:pt x="269" y="133"/>
                    <a:pt x="269" y="133"/>
                    <a:pt x="269" y="133"/>
                  </a:cubicBezTo>
                  <a:cubicBezTo>
                    <a:pt x="269" y="131"/>
                    <a:pt x="271" y="129"/>
                    <a:pt x="273" y="129"/>
                  </a:cubicBezTo>
                  <a:cubicBezTo>
                    <a:pt x="275" y="129"/>
                    <a:pt x="277" y="131"/>
                    <a:pt x="277" y="133"/>
                  </a:cubicBezTo>
                  <a:cubicBezTo>
                    <a:pt x="277" y="160"/>
                    <a:pt x="277" y="160"/>
                    <a:pt x="277" y="160"/>
                  </a:cubicBezTo>
                  <a:cubicBezTo>
                    <a:pt x="277" y="167"/>
                    <a:pt x="272" y="172"/>
                    <a:pt x="266" y="17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63" name="Freeform 872">
              <a:extLst>
                <a:ext uri="{FF2B5EF4-FFF2-40B4-BE49-F238E27FC236}">
                  <a16:creationId xmlns:a16="http://schemas.microsoft.com/office/drawing/2014/main" id="{2D688919-8016-B4BF-9B49-CAEB9B00E5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800138" y="3041650"/>
              <a:ext cx="271463" cy="47625"/>
            </a:xfrm>
            <a:custGeom>
              <a:avLst/>
              <a:gdLst>
                <a:gd name="T0" fmla="*/ 273 w 277"/>
                <a:gd name="T1" fmla="*/ 50 h 50"/>
                <a:gd name="T2" fmla="*/ 5 w 277"/>
                <a:gd name="T3" fmla="*/ 50 h 50"/>
                <a:gd name="T4" fmla="*/ 0 w 277"/>
                <a:gd name="T5" fmla="*/ 45 h 50"/>
                <a:gd name="T6" fmla="*/ 0 w 277"/>
                <a:gd name="T7" fmla="*/ 11 h 50"/>
                <a:gd name="T8" fmla="*/ 12 w 277"/>
                <a:gd name="T9" fmla="*/ 0 h 50"/>
                <a:gd name="T10" fmla="*/ 44 w 277"/>
                <a:gd name="T11" fmla="*/ 0 h 50"/>
                <a:gd name="T12" fmla="*/ 48 w 277"/>
                <a:gd name="T13" fmla="*/ 4 h 50"/>
                <a:gd name="T14" fmla="*/ 48 w 277"/>
                <a:gd name="T15" fmla="*/ 11 h 50"/>
                <a:gd name="T16" fmla="*/ 59 w 277"/>
                <a:gd name="T17" fmla="*/ 22 h 50"/>
                <a:gd name="T18" fmla="*/ 69 w 277"/>
                <a:gd name="T19" fmla="*/ 11 h 50"/>
                <a:gd name="T20" fmla="*/ 69 w 277"/>
                <a:gd name="T21" fmla="*/ 4 h 50"/>
                <a:gd name="T22" fmla="*/ 73 w 277"/>
                <a:gd name="T23" fmla="*/ 0 h 50"/>
                <a:gd name="T24" fmla="*/ 205 w 277"/>
                <a:gd name="T25" fmla="*/ 0 h 50"/>
                <a:gd name="T26" fmla="*/ 209 w 277"/>
                <a:gd name="T27" fmla="*/ 4 h 50"/>
                <a:gd name="T28" fmla="*/ 209 w 277"/>
                <a:gd name="T29" fmla="*/ 11 h 50"/>
                <a:gd name="T30" fmla="*/ 219 w 277"/>
                <a:gd name="T31" fmla="*/ 22 h 50"/>
                <a:gd name="T32" fmla="*/ 230 w 277"/>
                <a:gd name="T33" fmla="*/ 11 h 50"/>
                <a:gd name="T34" fmla="*/ 230 w 277"/>
                <a:gd name="T35" fmla="*/ 4 h 50"/>
                <a:gd name="T36" fmla="*/ 234 w 277"/>
                <a:gd name="T37" fmla="*/ 0 h 50"/>
                <a:gd name="T38" fmla="*/ 266 w 277"/>
                <a:gd name="T39" fmla="*/ 0 h 50"/>
                <a:gd name="T40" fmla="*/ 277 w 277"/>
                <a:gd name="T41" fmla="*/ 11 h 50"/>
                <a:gd name="T42" fmla="*/ 277 w 277"/>
                <a:gd name="T43" fmla="*/ 45 h 50"/>
                <a:gd name="T44" fmla="*/ 273 w 277"/>
                <a:gd name="T45" fmla="*/ 50 h 50"/>
                <a:gd name="T46" fmla="*/ 9 w 277"/>
                <a:gd name="T47" fmla="*/ 41 h 50"/>
                <a:gd name="T48" fmla="*/ 269 w 277"/>
                <a:gd name="T49" fmla="*/ 41 h 50"/>
                <a:gd name="T50" fmla="*/ 269 w 277"/>
                <a:gd name="T51" fmla="*/ 11 h 50"/>
                <a:gd name="T52" fmla="*/ 266 w 277"/>
                <a:gd name="T53" fmla="*/ 8 h 50"/>
                <a:gd name="T54" fmla="*/ 238 w 277"/>
                <a:gd name="T55" fmla="*/ 8 h 50"/>
                <a:gd name="T56" fmla="*/ 238 w 277"/>
                <a:gd name="T57" fmla="*/ 11 h 50"/>
                <a:gd name="T58" fmla="*/ 219 w 277"/>
                <a:gd name="T59" fmla="*/ 30 h 50"/>
                <a:gd name="T60" fmla="*/ 200 w 277"/>
                <a:gd name="T61" fmla="*/ 11 h 50"/>
                <a:gd name="T62" fmla="*/ 200 w 277"/>
                <a:gd name="T63" fmla="*/ 8 h 50"/>
                <a:gd name="T64" fmla="*/ 77 w 277"/>
                <a:gd name="T65" fmla="*/ 8 h 50"/>
                <a:gd name="T66" fmla="*/ 77 w 277"/>
                <a:gd name="T67" fmla="*/ 11 h 50"/>
                <a:gd name="T68" fmla="*/ 59 w 277"/>
                <a:gd name="T69" fmla="*/ 30 h 50"/>
                <a:gd name="T70" fmla="*/ 40 w 277"/>
                <a:gd name="T71" fmla="*/ 11 h 50"/>
                <a:gd name="T72" fmla="*/ 40 w 277"/>
                <a:gd name="T73" fmla="*/ 8 h 50"/>
                <a:gd name="T74" fmla="*/ 12 w 277"/>
                <a:gd name="T75" fmla="*/ 8 h 50"/>
                <a:gd name="T76" fmla="*/ 9 w 277"/>
                <a:gd name="T77" fmla="*/ 11 h 50"/>
                <a:gd name="T78" fmla="*/ 9 w 277"/>
                <a:gd name="T79" fmla="*/ 4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77" h="50">
                  <a:moveTo>
                    <a:pt x="273" y="50"/>
                  </a:moveTo>
                  <a:cubicBezTo>
                    <a:pt x="5" y="50"/>
                    <a:pt x="5" y="50"/>
                    <a:pt x="5" y="50"/>
                  </a:cubicBezTo>
                  <a:cubicBezTo>
                    <a:pt x="2" y="50"/>
                    <a:pt x="0" y="48"/>
                    <a:pt x="0" y="45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5"/>
                    <a:pt x="6" y="0"/>
                    <a:pt x="12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46" y="0"/>
                    <a:pt x="48" y="2"/>
                    <a:pt x="48" y="4"/>
                  </a:cubicBezTo>
                  <a:cubicBezTo>
                    <a:pt x="48" y="11"/>
                    <a:pt x="48" y="11"/>
                    <a:pt x="48" y="11"/>
                  </a:cubicBezTo>
                  <a:cubicBezTo>
                    <a:pt x="48" y="17"/>
                    <a:pt x="53" y="22"/>
                    <a:pt x="59" y="22"/>
                  </a:cubicBezTo>
                  <a:cubicBezTo>
                    <a:pt x="64" y="22"/>
                    <a:pt x="69" y="17"/>
                    <a:pt x="69" y="11"/>
                  </a:cubicBezTo>
                  <a:cubicBezTo>
                    <a:pt x="69" y="4"/>
                    <a:pt x="69" y="4"/>
                    <a:pt x="69" y="4"/>
                  </a:cubicBezTo>
                  <a:cubicBezTo>
                    <a:pt x="69" y="2"/>
                    <a:pt x="71" y="0"/>
                    <a:pt x="73" y="0"/>
                  </a:cubicBezTo>
                  <a:cubicBezTo>
                    <a:pt x="205" y="0"/>
                    <a:pt x="205" y="0"/>
                    <a:pt x="205" y="0"/>
                  </a:cubicBezTo>
                  <a:cubicBezTo>
                    <a:pt x="207" y="0"/>
                    <a:pt x="209" y="2"/>
                    <a:pt x="209" y="4"/>
                  </a:cubicBezTo>
                  <a:cubicBezTo>
                    <a:pt x="209" y="11"/>
                    <a:pt x="209" y="11"/>
                    <a:pt x="209" y="11"/>
                  </a:cubicBezTo>
                  <a:cubicBezTo>
                    <a:pt x="209" y="17"/>
                    <a:pt x="213" y="22"/>
                    <a:pt x="219" y="22"/>
                  </a:cubicBezTo>
                  <a:cubicBezTo>
                    <a:pt x="225" y="22"/>
                    <a:pt x="230" y="17"/>
                    <a:pt x="230" y="11"/>
                  </a:cubicBezTo>
                  <a:cubicBezTo>
                    <a:pt x="230" y="4"/>
                    <a:pt x="230" y="4"/>
                    <a:pt x="230" y="4"/>
                  </a:cubicBezTo>
                  <a:cubicBezTo>
                    <a:pt x="230" y="2"/>
                    <a:pt x="231" y="0"/>
                    <a:pt x="234" y="0"/>
                  </a:cubicBezTo>
                  <a:cubicBezTo>
                    <a:pt x="266" y="0"/>
                    <a:pt x="266" y="0"/>
                    <a:pt x="266" y="0"/>
                  </a:cubicBezTo>
                  <a:cubicBezTo>
                    <a:pt x="272" y="0"/>
                    <a:pt x="277" y="5"/>
                    <a:pt x="277" y="11"/>
                  </a:cubicBezTo>
                  <a:cubicBezTo>
                    <a:pt x="277" y="45"/>
                    <a:pt x="277" y="45"/>
                    <a:pt x="277" y="45"/>
                  </a:cubicBezTo>
                  <a:cubicBezTo>
                    <a:pt x="277" y="48"/>
                    <a:pt x="275" y="50"/>
                    <a:pt x="273" y="50"/>
                  </a:cubicBezTo>
                  <a:close/>
                  <a:moveTo>
                    <a:pt x="9" y="41"/>
                  </a:moveTo>
                  <a:cubicBezTo>
                    <a:pt x="269" y="41"/>
                    <a:pt x="269" y="41"/>
                    <a:pt x="269" y="41"/>
                  </a:cubicBezTo>
                  <a:cubicBezTo>
                    <a:pt x="269" y="11"/>
                    <a:pt x="269" y="11"/>
                    <a:pt x="269" y="11"/>
                  </a:cubicBezTo>
                  <a:cubicBezTo>
                    <a:pt x="269" y="10"/>
                    <a:pt x="268" y="8"/>
                    <a:pt x="266" y="8"/>
                  </a:cubicBezTo>
                  <a:cubicBezTo>
                    <a:pt x="238" y="8"/>
                    <a:pt x="238" y="8"/>
                    <a:pt x="238" y="8"/>
                  </a:cubicBezTo>
                  <a:cubicBezTo>
                    <a:pt x="238" y="11"/>
                    <a:pt x="238" y="11"/>
                    <a:pt x="238" y="11"/>
                  </a:cubicBezTo>
                  <a:cubicBezTo>
                    <a:pt x="238" y="21"/>
                    <a:pt x="229" y="30"/>
                    <a:pt x="219" y="30"/>
                  </a:cubicBezTo>
                  <a:cubicBezTo>
                    <a:pt x="209" y="30"/>
                    <a:pt x="200" y="21"/>
                    <a:pt x="200" y="11"/>
                  </a:cubicBezTo>
                  <a:cubicBezTo>
                    <a:pt x="200" y="8"/>
                    <a:pt x="200" y="8"/>
                    <a:pt x="200" y="8"/>
                  </a:cubicBezTo>
                  <a:cubicBezTo>
                    <a:pt x="77" y="8"/>
                    <a:pt x="77" y="8"/>
                    <a:pt x="77" y="8"/>
                  </a:cubicBezTo>
                  <a:cubicBezTo>
                    <a:pt x="77" y="11"/>
                    <a:pt x="77" y="11"/>
                    <a:pt x="77" y="11"/>
                  </a:cubicBezTo>
                  <a:cubicBezTo>
                    <a:pt x="77" y="21"/>
                    <a:pt x="69" y="30"/>
                    <a:pt x="59" y="30"/>
                  </a:cubicBezTo>
                  <a:cubicBezTo>
                    <a:pt x="48" y="30"/>
                    <a:pt x="40" y="21"/>
                    <a:pt x="40" y="11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0" y="8"/>
                    <a:pt x="9" y="10"/>
                    <a:pt x="9" y="11"/>
                  </a:cubicBezTo>
                  <a:lnTo>
                    <a:pt x="9" y="4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64" name="Freeform 873">
              <a:extLst>
                <a:ext uri="{FF2B5EF4-FFF2-40B4-BE49-F238E27FC236}">
                  <a16:creationId xmlns:a16="http://schemas.microsoft.com/office/drawing/2014/main" id="{564293DA-63A8-89D8-F958-7FD6339BFF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838238" y="3016250"/>
              <a:ext cx="36513" cy="53975"/>
            </a:xfrm>
            <a:custGeom>
              <a:avLst/>
              <a:gdLst>
                <a:gd name="T0" fmla="*/ 19 w 37"/>
                <a:gd name="T1" fmla="*/ 55 h 55"/>
                <a:gd name="T2" fmla="*/ 0 w 37"/>
                <a:gd name="T3" fmla="*/ 36 h 55"/>
                <a:gd name="T4" fmla="*/ 0 w 37"/>
                <a:gd name="T5" fmla="*/ 18 h 55"/>
                <a:gd name="T6" fmla="*/ 19 w 37"/>
                <a:gd name="T7" fmla="*/ 0 h 55"/>
                <a:gd name="T8" fmla="*/ 37 w 37"/>
                <a:gd name="T9" fmla="*/ 18 h 55"/>
                <a:gd name="T10" fmla="*/ 37 w 37"/>
                <a:gd name="T11" fmla="*/ 36 h 55"/>
                <a:gd name="T12" fmla="*/ 19 w 37"/>
                <a:gd name="T13" fmla="*/ 55 h 55"/>
                <a:gd name="T14" fmla="*/ 19 w 37"/>
                <a:gd name="T15" fmla="*/ 8 h 55"/>
                <a:gd name="T16" fmla="*/ 8 w 37"/>
                <a:gd name="T17" fmla="*/ 18 h 55"/>
                <a:gd name="T18" fmla="*/ 8 w 37"/>
                <a:gd name="T19" fmla="*/ 36 h 55"/>
                <a:gd name="T20" fmla="*/ 19 w 37"/>
                <a:gd name="T21" fmla="*/ 47 h 55"/>
                <a:gd name="T22" fmla="*/ 29 w 37"/>
                <a:gd name="T23" fmla="*/ 36 h 55"/>
                <a:gd name="T24" fmla="*/ 29 w 37"/>
                <a:gd name="T25" fmla="*/ 18 h 55"/>
                <a:gd name="T26" fmla="*/ 19 w 37"/>
                <a:gd name="T27" fmla="*/ 8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7" h="55">
                  <a:moveTo>
                    <a:pt x="19" y="55"/>
                  </a:moveTo>
                  <a:cubicBezTo>
                    <a:pt x="8" y="55"/>
                    <a:pt x="0" y="46"/>
                    <a:pt x="0" y="36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8"/>
                    <a:pt x="8" y="0"/>
                    <a:pt x="19" y="0"/>
                  </a:cubicBezTo>
                  <a:cubicBezTo>
                    <a:pt x="29" y="0"/>
                    <a:pt x="37" y="8"/>
                    <a:pt x="37" y="18"/>
                  </a:cubicBezTo>
                  <a:cubicBezTo>
                    <a:pt x="37" y="36"/>
                    <a:pt x="37" y="36"/>
                    <a:pt x="37" y="36"/>
                  </a:cubicBezTo>
                  <a:cubicBezTo>
                    <a:pt x="37" y="46"/>
                    <a:pt x="29" y="55"/>
                    <a:pt x="19" y="55"/>
                  </a:cubicBezTo>
                  <a:close/>
                  <a:moveTo>
                    <a:pt x="19" y="8"/>
                  </a:moveTo>
                  <a:cubicBezTo>
                    <a:pt x="13" y="8"/>
                    <a:pt x="8" y="13"/>
                    <a:pt x="8" y="18"/>
                  </a:cubicBezTo>
                  <a:cubicBezTo>
                    <a:pt x="8" y="36"/>
                    <a:pt x="8" y="36"/>
                    <a:pt x="8" y="36"/>
                  </a:cubicBezTo>
                  <a:cubicBezTo>
                    <a:pt x="8" y="42"/>
                    <a:pt x="13" y="47"/>
                    <a:pt x="19" y="47"/>
                  </a:cubicBezTo>
                  <a:cubicBezTo>
                    <a:pt x="24" y="47"/>
                    <a:pt x="29" y="42"/>
                    <a:pt x="29" y="36"/>
                  </a:cubicBezTo>
                  <a:cubicBezTo>
                    <a:pt x="29" y="18"/>
                    <a:pt x="29" y="18"/>
                    <a:pt x="29" y="18"/>
                  </a:cubicBezTo>
                  <a:cubicBezTo>
                    <a:pt x="29" y="13"/>
                    <a:pt x="24" y="8"/>
                    <a:pt x="1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65" name="Freeform 874">
              <a:extLst>
                <a:ext uri="{FF2B5EF4-FFF2-40B4-BE49-F238E27FC236}">
                  <a16:creationId xmlns:a16="http://schemas.microsoft.com/office/drawing/2014/main" id="{4EFAF61E-CE59-D4C7-A24D-FB4ED1EC058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995400" y="3016250"/>
              <a:ext cx="36513" cy="53975"/>
            </a:xfrm>
            <a:custGeom>
              <a:avLst/>
              <a:gdLst>
                <a:gd name="T0" fmla="*/ 19 w 38"/>
                <a:gd name="T1" fmla="*/ 55 h 55"/>
                <a:gd name="T2" fmla="*/ 0 w 38"/>
                <a:gd name="T3" fmla="*/ 36 h 55"/>
                <a:gd name="T4" fmla="*/ 0 w 38"/>
                <a:gd name="T5" fmla="*/ 18 h 55"/>
                <a:gd name="T6" fmla="*/ 19 w 38"/>
                <a:gd name="T7" fmla="*/ 0 h 55"/>
                <a:gd name="T8" fmla="*/ 38 w 38"/>
                <a:gd name="T9" fmla="*/ 18 h 55"/>
                <a:gd name="T10" fmla="*/ 38 w 38"/>
                <a:gd name="T11" fmla="*/ 36 h 55"/>
                <a:gd name="T12" fmla="*/ 19 w 38"/>
                <a:gd name="T13" fmla="*/ 55 h 55"/>
                <a:gd name="T14" fmla="*/ 19 w 38"/>
                <a:gd name="T15" fmla="*/ 8 h 55"/>
                <a:gd name="T16" fmla="*/ 9 w 38"/>
                <a:gd name="T17" fmla="*/ 18 h 55"/>
                <a:gd name="T18" fmla="*/ 9 w 38"/>
                <a:gd name="T19" fmla="*/ 36 h 55"/>
                <a:gd name="T20" fmla="*/ 19 w 38"/>
                <a:gd name="T21" fmla="*/ 47 h 55"/>
                <a:gd name="T22" fmla="*/ 30 w 38"/>
                <a:gd name="T23" fmla="*/ 36 h 55"/>
                <a:gd name="T24" fmla="*/ 30 w 38"/>
                <a:gd name="T25" fmla="*/ 18 h 55"/>
                <a:gd name="T26" fmla="*/ 19 w 38"/>
                <a:gd name="T27" fmla="*/ 8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8" h="55">
                  <a:moveTo>
                    <a:pt x="19" y="55"/>
                  </a:moveTo>
                  <a:cubicBezTo>
                    <a:pt x="9" y="55"/>
                    <a:pt x="0" y="46"/>
                    <a:pt x="0" y="36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8"/>
                    <a:pt x="9" y="0"/>
                    <a:pt x="19" y="0"/>
                  </a:cubicBezTo>
                  <a:cubicBezTo>
                    <a:pt x="29" y="0"/>
                    <a:pt x="38" y="8"/>
                    <a:pt x="38" y="18"/>
                  </a:cubicBezTo>
                  <a:cubicBezTo>
                    <a:pt x="38" y="36"/>
                    <a:pt x="38" y="36"/>
                    <a:pt x="38" y="36"/>
                  </a:cubicBezTo>
                  <a:cubicBezTo>
                    <a:pt x="38" y="46"/>
                    <a:pt x="29" y="55"/>
                    <a:pt x="19" y="55"/>
                  </a:cubicBezTo>
                  <a:close/>
                  <a:moveTo>
                    <a:pt x="19" y="8"/>
                  </a:moveTo>
                  <a:cubicBezTo>
                    <a:pt x="13" y="8"/>
                    <a:pt x="9" y="13"/>
                    <a:pt x="9" y="18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42"/>
                    <a:pt x="13" y="47"/>
                    <a:pt x="19" y="47"/>
                  </a:cubicBezTo>
                  <a:cubicBezTo>
                    <a:pt x="25" y="47"/>
                    <a:pt x="30" y="42"/>
                    <a:pt x="30" y="36"/>
                  </a:cubicBezTo>
                  <a:cubicBezTo>
                    <a:pt x="30" y="18"/>
                    <a:pt x="30" y="18"/>
                    <a:pt x="30" y="18"/>
                  </a:cubicBezTo>
                  <a:cubicBezTo>
                    <a:pt x="30" y="13"/>
                    <a:pt x="25" y="8"/>
                    <a:pt x="1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66" name="Freeform 875">
              <a:extLst>
                <a:ext uri="{FF2B5EF4-FFF2-40B4-BE49-F238E27FC236}">
                  <a16:creationId xmlns:a16="http://schemas.microsoft.com/office/drawing/2014/main" id="{96981BF8-9D55-159C-06F7-9C780107106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827125" y="3116263"/>
              <a:ext cx="39688" cy="39688"/>
            </a:xfrm>
            <a:custGeom>
              <a:avLst/>
              <a:gdLst>
                <a:gd name="T0" fmla="*/ 35 w 40"/>
                <a:gd name="T1" fmla="*/ 40 h 40"/>
                <a:gd name="T2" fmla="*/ 4 w 40"/>
                <a:gd name="T3" fmla="*/ 40 h 40"/>
                <a:gd name="T4" fmla="*/ 0 w 40"/>
                <a:gd name="T5" fmla="*/ 36 h 40"/>
                <a:gd name="T6" fmla="*/ 0 w 40"/>
                <a:gd name="T7" fmla="*/ 4 h 40"/>
                <a:gd name="T8" fmla="*/ 4 w 40"/>
                <a:gd name="T9" fmla="*/ 0 h 40"/>
                <a:gd name="T10" fmla="*/ 35 w 40"/>
                <a:gd name="T11" fmla="*/ 0 h 40"/>
                <a:gd name="T12" fmla="*/ 40 w 40"/>
                <a:gd name="T13" fmla="*/ 4 h 40"/>
                <a:gd name="T14" fmla="*/ 40 w 40"/>
                <a:gd name="T15" fmla="*/ 36 h 40"/>
                <a:gd name="T16" fmla="*/ 35 w 40"/>
                <a:gd name="T17" fmla="*/ 40 h 40"/>
                <a:gd name="T18" fmla="*/ 8 w 40"/>
                <a:gd name="T19" fmla="*/ 31 h 40"/>
                <a:gd name="T20" fmla="*/ 31 w 40"/>
                <a:gd name="T21" fmla="*/ 31 h 40"/>
                <a:gd name="T22" fmla="*/ 31 w 40"/>
                <a:gd name="T23" fmla="*/ 8 h 40"/>
                <a:gd name="T24" fmla="*/ 8 w 40"/>
                <a:gd name="T25" fmla="*/ 8 h 40"/>
                <a:gd name="T26" fmla="*/ 8 w 40"/>
                <a:gd name="T27" fmla="*/ 31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0">
                  <a:moveTo>
                    <a:pt x="35" y="40"/>
                  </a:moveTo>
                  <a:cubicBezTo>
                    <a:pt x="4" y="40"/>
                    <a:pt x="4" y="40"/>
                    <a:pt x="4" y="40"/>
                  </a:cubicBezTo>
                  <a:cubicBezTo>
                    <a:pt x="2" y="40"/>
                    <a:pt x="0" y="38"/>
                    <a:pt x="0" y="3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8" y="0"/>
                    <a:pt x="40" y="2"/>
                    <a:pt x="40" y="4"/>
                  </a:cubicBezTo>
                  <a:cubicBezTo>
                    <a:pt x="40" y="36"/>
                    <a:pt x="40" y="36"/>
                    <a:pt x="40" y="36"/>
                  </a:cubicBezTo>
                  <a:cubicBezTo>
                    <a:pt x="40" y="38"/>
                    <a:pt x="38" y="40"/>
                    <a:pt x="35" y="40"/>
                  </a:cubicBezTo>
                  <a:close/>
                  <a:moveTo>
                    <a:pt x="8" y="31"/>
                  </a:moveTo>
                  <a:cubicBezTo>
                    <a:pt x="31" y="31"/>
                    <a:pt x="31" y="31"/>
                    <a:pt x="31" y="31"/>
                  </a:cubicBezTo>
                  <a:cubicBezTo>
                    <a:pt x="31" y="8"/>
                    <a:pt x="31" y="8"/>
                    <a:pt x="31" y="8"/>
                  </a:cubicBezTo>
                  <a:cubicBezTo>
                    <a:pt x="8" y="8"/>
                    <a:pt x="8" y="8"/>
                    <a:pt x="8" y="8"/>
                  </a:cubicBezTo>
                  <a:lnTo>
                    <a:pt x="8" y="3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67" name="Freeform 876">
              <a:extLst>
                <a:ext uri="{FF2B5EF4-FFF2-40B4-BE49-F238E27FC236}">
                  <a16:creationId xmlns:a16="http://schemas.microsoft.com/office/drawing/2014/main" id="{1F008023-C3F7-7F90-F08F-3A81575C36F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885863" y="3116263"/>
              <a:ext cx="39688" cy="39688"/>
            </a:xfrm>
            <a:custGeom>
              <a:avLst/>
              <a:gdLst>
                <a:gd name="T0" fmla="*/ 36 w 40"/>
                <a:gd name="T1" fmla="*/ 40 h 40"/>
                <a:gd name="T2" fmla="*/ 4 w 40"/>
                <a:gd name="T3" fmla="*/ 40 h 40"/>
                <a:gd name="T4" fmla="*/ 0 w 40"/>
                <a:gd name="T5" fmla="*/ 36 h 40"/>
                <a:gd name="T6" fmla="*/ 0 w 40"/>
                <a:gd name="T7" fmla="*/ 4 h 40"/>
                <a:gd name="T8" fmla="*/ 4 w 40"/>
                <a:gd name="T9" fmla="*/ 0 h 40"/>
                <a:gd name="T10" fmla="*/ 36 w 40"/>
                <a:gd name="T11" fmla="*/ 0 h 40"/>
                <a:gd name="T12" fmla="*/ 40 w 40"/>
                <a:gd name="T13" fmla="*/ 4 h 40"/>
                <a:gd name="T14" fmla="*/ 40 w 40"/>
                <a:gd name="T15" fmla="*/ 36 h 40"/>
                <a:gd name="T16" fmla="*/ 36 w 40"/>
                <a:gd name="T17" fmla="*/ 40 h 40"/>
                <a:gd name="T18" fmla="*/ 8 w 40"/>
                <a:gd name="T19" fmla="*/ 31 h 40"/>
                <a:gd name="T20" fmla="*/ 31 w 40"/>
                <a:gd name="T21" fmla="*/ 31 h 40"/>
                <a:gd name="T22" fmla="*/ 31 w 40"/>
                <a:gd name="T23" fmla="*/ 8 h 40"/>
                <a:gd name="T24" fmla="*/ 8 w 40"/>
                <a:gd name="T25" fmla="*/ 8 h 40"/>
                <a:gd name="T26" fmla="*/ 8 w 40"/>
                <a:gd name="T27" fmla="*/ 31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0">
                  <a:moveTo>
                    <a:pt x="36" y="40"/>
                  </a:moveTo>
                  <a:cubicBezTo>
                    <a:pt x="4" y="40"/>
                    <a:pt x="4" y="40"/>
                    <a:pt x="4" y="40"/>
                  </a:cubicBezTo>
                  <a:cubicBezTo>
                    <a:pt x="2" y="40"/>
                    <a:pt x="0" y="38"/>
                    <a:pt x="0" y="3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8" y="0"/>
                    <a:pt x="40" y="2"/>
                    <a:pt x="40" y="4"/>
                  </a:cubicBezTo>
                  <a:cubicBezTo>
                    <a:pt x="40" y="36"/>
                    <a:pt x="40" y="36"/>
                    <a:pt x="40" y="36"/>
                  </a:cubicBezTo>
                  <a:cubicBezTo>
                    <a:pt x="40" y="38"/>
                    <a:pt x="38" y="40"/>
                    <a:pt x="36" y="40"/>
                  </a:cubicBezTo>
                  <a:close/>
                  <a:moveTo>
                    <a:pt x="8" y="31"/>
                  </a:moveTo>
                  <a:cubicBezTo>
                    <a:pt x="31" y="31"/>
                    <a:pt x="31" y="31"/>
                    <a:pt x="31" y="31"/>
                  </a:cubicBezTo>
                  <a:cubicBezTo>
                    <a:pt x="31" y="8"/>
                    <a:pt x="31" y="8"/>
                    <a:pt x="31" y="8"/>
                  </a:cubicBezTo>
                  <a:cubicBezTo>
                    <a:pt x="8" y="8"/>
                    <a:pt x="8" y="8"/>
                    <a:pt x="8" y="8"/>
                  </a:cubicBezTo>
                  <a:lnTo>
                    <a:pt x="8" y="3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68" name="Freeform 877">
              <a:extLst>
                <a:ext uri="{FF2B5EF4-FFF2-40B4-BE49-F238E27FC236}">
                  <a16:creationId xmlns:a16="http://schemas.microsoft.com/office/drawing/2014/main" id="{786A46A7-F4FE-A5DB-347B-21B4EB9BB8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46188" y="3116263"/>
              <a:ext cx="39688" cy="39688"/>
            </a:xfrm>
            <a:custGeom>
              <a:avLst/>
              <a:gdLst>
                <a:gd name="T0" fmla="*/ 25 w 40"/>
                <a:gd name="T1" fmla="*/ 40 h 40"/>
                <a:gd name="T2" fmla="*/ 4 w 40"/>
                <a:gd name="T3" fmla="*/ 40 h 40"/>
                <a:gd name="T4" fmla="*/ 0 w 40"/>
                <a:gd name="T5" fmla="*/ 36 h 40"/>
                <a:gd name="T6" fmla="*/ 0 w 40"/>
                <a:gd name="T7" fmla="*/ 4 h 40"/>
                <a:gd name="T8" fmla="*/ 4 w 40"/>
                <a:gd name="T9" fmla="*/ 0 h 40"/>
                <a:gd name="T10" fmla="*/ 36 w 40"/>
                <a:gd name="T11" fmla="*/ 0 h 40"/>
                <a:gd name="T12" fmla="*/ 40 w 40"/>
                <a:gd name="T13" fmla="*/ 4 h 40"/>
                <a:gd name="T14" fmla="*/ 40 w 40"/>
                <a:gd name="T15" fmla="*/ 15 h 40"/>
                <a:gd name="T16" fmla="*/ 36 w 40"/>
                <a:gd name="T17" fmla="*/ 19 h 40"/>
                <a:gd name="T18" fmla="*/ 32 w 40"/>
                <a:gd name="T19" fmla="*/ 15 h 40"/>
                <a:gd name="T20" fmla="*/ 32 w 40"/>
                <a:gd name="T21" fmla="*/ 8 h 40"/>
                <a:gd name="T22" fmla="*/ 8 w 40"/>
                <a:gd name="T23" fmla="*/ 8 h 40"/>
                <a:gd name="T24" fmla="*/ 8 w 40"/>
                <a:gd name="T25" fmla="*/ 31 h 40"/>
                <a:gd name="T26" fmla="*/ 25 w 40"/>
                <a:gd name="T27" fmla="*/ 31 h 40"/>
                <a:gd name="T28" fmla="*/ 29 w 40"/>
                <a:gd name="T29" fmla="*/ 36 h 40"/>
                <a:gd name="T30" fmla="*/ 25 w 40"/>
                <a:gd name="T31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0" h="40">
                  <a:moveTo>
                    <a:pt x="25" y="40"/>
                  </a:moveTo>
                  <a:cubicBezTo>
                    <a:pt x="4" y="40"/>
                    <a:pt x="4" y="40"/>
                    <a:pt x="4" y="40"/>
                  </a:cubicBezTo>
                  <a:cubicBezTo>
                    <a:pt x="2" y="40"/>
                    <a:pt x="0" y="38"/>
                    <a:pt x="0" y="3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8" y="0"/>
                    <a:pt x="40" y="2"/>
                    <a:pt x="40" y="4"/>
                  </a:cubicBezTo>
                  <a:cubicBezTo>
                    <a:pt x="40" y="15"/>
                    <a:pt x="40" y="15"/>
                    <a:pt x="40" y="15"/>
                  </a:cubicBezTo>
                  <a:cubicBezTo>
                    <a:pt x="40" y="17"/>
                    <a:pt x="38" y="19"/>
                    <a:pt x="36" y="19"/>
                  </a:cubicBezTo>
                  <a:cubicBezTo>
                    <a:pt x="33" y="19"/>
                    <a:pt x="32" y="17"/>
                    <a:pt x="32" y="15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31"/>
                    <a:pt x="8" y="31"/>
                    <a:pt x="8" y="31"/>
                  </a:cubicBezTo>
                  <a:cubicBezTo>
                    <a:pt x="25" y="31"/>
                    <a:pt x="25" y="31"/>
                    <a:pt x="25" y="31"/>
                  </a:cubicBezTo>
                  <a:cubicBezTo>
                    <a:pt x="28" y="31"/>
                    <a:pt x="29" y="33"/>
                    <a:pt x="29" y="36"/>
                  </a:cubicBezTo>
                  <a:cubicBezTo>
                    <a:pt x="29" y="38"/>
                    <a:pt x="28" y="40"/>
                    <a:pt x="25" y="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69" name="Freeform 878">
              <a:extLst>
                <a:ext uri="{FF2B5EF4-FFF2-40B4-BE49-F238E27FC236}">
                  <a16:creationId xmlns:a16="http://schemas.microsoft.com/office/drawing/2014/main" id="{9B2271D9-5BBD-C065-0E98-34F9997CAF0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827125" y="3176588"/>
              <a:ext cx="39688" cy="39688"/>
            </a:xfrm>
            <a:custGeom>
              <a:avLst/>
              <a:gdLst>
                <a:gd name="T0" fmla="*/ 35 w 40"/>
                <a:gd name="T1" fmla="*/ 40 h 40"/>
                <a:gd name="T2" fmla="*/ 4 w 40"/>
                <a:gd name="T3" fmla="*/ 40 h 40"/>
                <a:gd name="T4" fmla="*/ 0 w 40"/>
                <a:gd name="T5" fmla="*/ 36 h 40"/>
                <a:gd name="T6" fmla="*/ 0 w 40"/>
                <a:gd name="T7" fmla="*/ 4 h 40"/>
                <a:gd name="T8" fmla="*/ 4 w 40"/>
                <a:gd name="T9" fmla="*/ 0 h 40"/>
                <a:gd name="T10" fmla="*/ 35 w 40"/>
                <a:gd name="T11" fmla="*/ 0 h 40"/>
                <a:gd name="T12" fmla="*/ 40 w 40"/>
                <a:gd name="T13" fmla="*/ 4 h 40"/>
                <a:gd name="T14" fmla="*/ 40 w 40"/>
                <a:gd name="T15" fmla="*/ 36 h 40"/>
                <a:gd name="T16" fmla="*/ 35 w 40"/>
                <a:gd name="T17" fmla="*/ 40 h 40"/>
                <a:gd name="T18" fmla="*/ 8 w 40"/>
                <a:gd name="T19" fmla="*/ 32 h 40"/>
                <a:gd name="T20" fmla="*/ 31 w 40"/>
                <a:gd name="T21" fmla="*/ 32 h 40"/>
                <a:gd name="T22" fmla="*/ 31 w 40"/>
                <a:gd name="T23" fmla="*/ 8 h 40"/>
                <a:gd name="T24" fmla="*/ 8 w 40"/>
                <a:gd name="T25" fmla="*/ 8 h 40"/>
                <a:gd name="T26" fmla="*/ 8 w 40"/>
                <a:gd name="T27" fmla="*/ 3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0">
                  <a:moveTo>
                    <a:pt x="35" y="40"/>
                  </a:moveTo>
                  <a:cubicBezTo>
                    <a:pt x="4" y="40"/>
                    <a:pt x="4" y="40"/>
                    <a:pt x="4" y="40"/>
                  </a:cubicBezTo>
                  <a:cubicBezTo>
                    <a:pt x="2" y="40"/>
                    <a:pt x="0" y="38"/>
                    <a:pt x="0" y="3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8" y="0"/>
                    <a:pt x="40" y="2"/>
                    <a:pt x="40" y="4"/>
                  </a:cubicBezTo>
                  <a:cubicBezTo>
                    <a:pt x="40" y="36"/>
                    <a:pt x="40" y="36"/>
                    <a:pt x="40" y="36"/>
                  </a:cubicBezTo>
                  <a:cubicBezTo>
                    <a:pt x="40" y="38"/>
                    <a:pt x="38" y="40"/>
                    <a:pt x="35" y="40"/>
                  </a:cubicBezTo>
                  <a:close/>
                  <a:moveTo>
                    <a:pt x="8" y="32"/>
                  </a:moveTo>
                  <a:cubicBezTo>
                    <a:pt x="31" y="32"/>
                    <a:pt x="31" y="32"/>
                    <a:pt x="31" y="32"/>
                  </a:cubicBezTo>
                  <a:cubicBezTo>
                    <a:pt x="31" y="8"/>
                    <a:pt x="31" y="8"/>
                    <a:pt x="31" y="8"/>
                  </a:cubicBezTo>
                  <a:cubicBezTo>
                    <a:pt x="8" y="8"/>
                    <a:pt x="8" y="8"/>
                    <a:pt x="8" y="8"/>
                  </a:cubicBezTo>
                  <a:lnTo>
                    <a:pt x="8" y="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70" name="Freeform 879">
              <a:extLst>
                <a:ext uri="{FF2B5EF4-FFF2-40B4-BE49-F238E27FC236}">
                  <a16:creationId xmlns:a16="http://schemas.microsoft.com/office/drawing/2014/main" id="{3F446A33-B29C-4534-7CE2-5BF6E80F56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885863" y="3176588"/>
              <a:ext cx="39688" cy="39688"/>
            </a:xfrm>
            <a:custGeom>
              <a:avLst/>
              <a:gdLst>
                <a:gd name="T0" fmla="*/ 36 w 40"/>
                <a:gd name="T1" fmla="*/ 40 h 40"/>
                <a:gd name="T2" fmla="*/ 4 w 40"/>
                <a:gd name="T3" fmla="*/ 40 h 40"/>
                <a:gd name="T4" fmla="*/ 0 w 40"/>
                <a:gd name="T5" fmla="*/ 36 h 40"/>
                <a:gd name="T6" fmla="*/ 0 w 40"/>
                <a:gd name="T7" fmla="*/ 4 h 40"/>
                <a:gd name="T8" fmla="*/ 4 w 40"/>
                <a:gd name="T9" fmla="*/ 0 h 40"/>
                <a:gd name="T10" fmla="*/ 36 w 40"/>
                <a:gd name="T11" fmla="*/ 0 h 40"/>
                <a:gd name="T12" fmla="*/ 40 w 40"/>
                <a:gd name="T13" fmla="*/ 4 h 40"/>
                <a:gd name="T14" fmla="*/ 40 w 40"/>
                <a:gd name="T15" fmla="*/ 36 h 40"/>
                <a:gd name="T16" fmla="*/ 36 w 40"/>
                <a:gd name="T17" fmla="*/ 40 h 40"/>
                <a:gd name="T18" fmla="*/ 8 w 40"/>
                <a:gd name="T19" fmla="*/ 32 h 40"/>
                <a:gd name="T20" fmla="*/ 31 w 40"/>
                <a:gd name="T21" fmla="*/ 32 h 40"/>
                <a:gd name="T22" fmla="*/ 31 w 40"/>
                <a:gd name="T23" fmla="*/ 8 h 40"/>
                <a:gd name="T24" fmla="*/ 8 w 40"/>
                <a:gd name="T25" fmla="*/ 8 h 40"/>
                <a:gd name="T26" fmla="*/ 8 w 40"/>
                <a:gd name="T27" fmla="*/ 3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0">
                  <a:moveTo>
                    <a:pt x="36" y="40"/>
                  </a:moveTo>
                  <a:cubicBezTo>
                    <a:pt x="4" y="40"/>
                    <a:pt x="4" y="40"/>
                    <a:pt x="4" y="40"/>
                  </a:cubicBezTo>
                  <a:cubicBezTo>
                    <a:pt x="2" y="40"/>
                    <a:pt x="0" y="38"/>
                    <a:pt x="0" y="3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8" y="0"/>
                    <a:pt x="40" y="2"/>
                    <a:pt x="40" y="4"/>
                  </a:cubicBezTo>
                  <a:cubicBezTo>
                    <a:pt x="40" y="36"/>
                    <a:pt x="40" y="36"/>
                    <a:pt x="40" y="36"/>
                  </a:cubicBezTo>
                  <a:cubicBezTo>
                    <a:pt x="40" y="38"/>
                    <a:pt x="38" y="40"/>
                    <a:pt x="36" y="40"/>
                  </a:cubicBezTo>
                  <a:close/>
                  <a:moveTo>
                    <a:pt x="8" y="32"/>
                  </a:moveTo>
                  <a:cubicBezTo>
                    <a:pt x="31" y="32"/>
                    <a:pt x="31" y="32"/>
                    <a:pt x="31" y="32"/>
                  </a:cubicBezTo>
                  <a:cubicBezTo>
                    <a:pt x="31" y="8"/>
                    <a:pt x="31" y="8"/>
                    <a:pt x="31" y="8"/>
                  </a:cubicBezTo>
                  <a:cubicBezTo>
                    <a:pt x="8" y="8"/>
                    <a:pt x="8" y="8"/>
                    <a:pt x="8" y="8"/>
                  </a:cubicBezTo>
                  <a:lnTo>
                    <a:pt x="8" y="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71" name="Freeform 880">
              <a:extLst>
                <a:ext uri="{FF2B5EF4-FFF2-40B4-BE49-F238E27FC236}">
                  <a16:creationId xmlns:a16="http://schemas.microsoft.com/office/drawing/2014/main" id="{9E6FF396-DBF6-4D35-0847-2C4772DE3EF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46188" y="3176588"/>
              <a:ext cx="39688" cy="39688"/>
            </a:xfrm>
            <a:custGeom>
              <a:avLst/>
              <a:gdLst>
                <a:gd name="T0" fmla="*/ 36 w 40"/>
                <a:gd name="T1" fmla="*/ 40 h 40"/>
                <a:gd name="T2" fmla="*/ 4 w 40"/>
                <a:gd name="T3" fmla="*/ 40 h 40"/>
                <a:gd name="T4" fmla="*/ 0 w 40"/>
                <a:gd name="T5" fmla="*/ 36 h 40"/>
                <a:gd name="T6" fmla="*/ 0 w 40"/>
                <a:gd name="T7" fmla="*/ 4 h 40"/>
                <a:gd name="T8" fmla="*/ 4 w 40"/>
                <a:gd name="T9" fmla="*/ 0 h 40"/>
                <a:gd name="T10" fmla="*/ 25 w 40"/>
                <a:gd name="T11" fmla="*/ 0 h 40"/>
                <a:gd name="T12" fmla="*/ 29 w 40"/>
                <a:gd name="T13" fmla="*/ 4 h 40"/>
                <a:gd name="T14" fmla="*/ 25 w 40"/>
                <a:gd name="T15" fmla="*/ 8 h 40"/>
                <a:gd name="T16" fmla="*/ 8 w 40"/>
                <a:gd name="T17" fmla="*/ 8 h 40"/>
                <a:gd name="T18" fmla="*/ 8 w 40"/>
                <a:gd name="T19" fmla="*/ 32 h 40"/>
                <a:gd name="T20" fmla="*/ 32 w 40"/>
                <a:gd name="T21" fmla="*/ 32 h 40"/>
                <a:gd name="T22" fmla="*/ 32 w 40"/>
                <a:gd name="T23" fmla="*/ 27 h 40"/>
                <a:gd name="T24" fmla="*/ 36 w 40"/>
                <a:gd name="T25" fmla="*/ 22 h 40"/>
                <a:gd name="T26" fmla="*/ 40 w 40"/>
                <a:gd name="T27" fmla="*/ 27 h 40"/>
                <a:gd name="T28" fmla="*/ 40 w 40"/>
                <a:gd name="T29" fmla="*/ 36 h 40"/>
                <a:gd name="T30" fmla="*/ 36 w 40"/>
                <a:gd name="T31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0" h="40">
                  <a:moveTo>
                    <a:pt x="36" y="40"/>
                  </a:moveTo>
                  <a:cubicBezTo>
                    <a:pt x="4" y="40"/>
                    <a:pt x="4" y="40"/>
                    <a:pt x="4" y="40"/>
                  </a:cubicBezTo>
                  <a:cubicBezTo>
                    <a:pt x="2" y="40"/>
                    <a:pt x="0" y="38"/>
                    <a:pt x="0" y="3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7" y="0"/>
                    <a:pt x="29" y="2"/>
                    <a:pt x="29" y="4"/>
                  </a:cubicBezTo>
                  <a:cubicBezTo>
                    <a:pt x="29" y="7"/>
                    <a:pt x="27" y="8"/>
                    <a:pt x="25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32"/>
                    <a:pt x="8" y="32"/>
                    <a:pt x="8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4"/>
                    <a:pt x="33" y="22"/>
                    <a:pt x="36" y="22"/>
                  </a:cubicBezTo>
                  <a:cubicBezTo>
                    <a:pt x="38" y="22"/>
                    <a:pt x="40" y="24"/>
                    <a:pt x="40" y="27"/>
                  </a:cubicBezTo>
                  <a:cubicBezTo>
                    <a:pt x="40" y="36"/>
                    <a:pt x="40" y="36"/>
                    <a:pt x="40" y="36"/>
                  </a:cubicBezTo>
                  <a:cubicBezTo>
                    <a:pt x="40" y="38"/>
                    <a:pt x="38" y="40"/>
                    <a:pt x="36" y="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72" name="Freeform 881">
              <a:extLst>
                <a:ext uri="{FF2B5EF4-FFF2-40B4-BE49-F238E27FC236}">
                  <a16:creationId xmlns:a16="http://schemas.microsoft.com/office/drawing/2014/main" id="{7B01B69D-FF83-1D08-1B3E-E1719B671D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965238" y="3103563"/>
              <a:ext cx="125413" cy="127000"/>
            </a:xfrm>
            <a:custGeom>
              <a:avLst/>
              <a:gdLst>
                <a:gd name="T0" fmla="*/ 64 w 128"/>
                <a:gd name="T1" fmla="*/ 129 h 129"/>
                <a:gd name="T2" fmla="*/ 0 w 128"/>
                <a:gd name="T3" fmla="*/ 65 h 129"/>
                <a:gd name="T4" fmla="*/ 64 w 128"/>
                <a:gd name="T5" fmla="*/ 0 h 129"/>
                <a:gd name="T6" fmla="*/ 128 w 128"/>
                <a:gd name="T7" fmla="*/ 65 h 129"/>
                <a:gd name="T8" fmla="*/ 64 w 128"/>
                <a:gd name="T9" fmla="*/ 129 h 129"/>
                <a:gd name="T10" fmla="*/ 64 w 128"/>
                <a:gd name="T11" fmla="*/ 9 h 129"/>
                <a:gd name="T12" fmla="*/ 8 w 128"/>
                <a:gd name="T13" fmla="*/ 65 h 129"/>
                <a:gd name="T14" fmla="*/ 64 w 128"/>
                <a:gd name="T15" fmla="*/ 120 h 129"/>
                <a:gd name="T16" fmla="*/ 120 w 128"/>
                <a:gd name="T17" fmla="*/ 65 h 129"/>
                <a:gd name="T18" fmla="*/ 64 w 128"/>
                <a:gd name="T19" fmla="*/ 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8" h="129">
                  <a:moveTo>
                    <a:pt x="64" y="129"/>
                  </a:moveTo>
                  <a:cubicBezTo>
                    <a:pt x="29" y="129"/>
                    <a:pt x="0" y="100"/>
                    <a:pt x="0" y="65"/>
                  </a:cubicBezTo>
                  <a:cubicBezTo>
                    <a:pt x="0" y="29"/>
                    <a:pt x="29" y="0"/>
                    <a:pt x="64" y="0"/>
                  </a:cubicBezTo>
                  <a:cubicBezTo>
                    <a:pt x="99" y="0"/>
                    <a:pt x="128" y="29"/>
                    <a:pt x="128" y="65"/>
                  </a:cubicBezTo>
                  <a:cubicBezTo>
                    <a:pt x="128" y="100"/>
                    <a:pt x="99" y="129"/>
                    <a:pt x="64" y="129"/>
                  </a:cubicBezTo>
                  <a:close/>
                  <a:moveTo>
                    <a:pt x="64" y="9"/>
                  </a:moveTo>
                  <a:cubicBezTo>
                    <a:pt x="33" y="9"/>
                    <a:pt x="8" y="34"/>
                    <a:pt x="8" y="65"/>
                  </a:cubicBezTo>
                  <a:cubicBezTo>
                    <a:pt x="8" y="95"/>
                    <a:pt x="33" y="120"/>
                    <a:pt x="64" y="120"/>
                  </a:cubicBezTo>
                  <a:cubicBezTo>
                    <a:pt x="95" y="120"/>
                    <a:pt x="120" y="95"/>
                    <a:pt x="120" y="65"/>
                  </a:cubicBezTo>
                  <a:cubicBezTo>
                    <a:pt x="120" y="34"/>
                    <a:pt x="95" y="9"/>
                    <a:pt x="64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73" name="Freeform 882">
              <a:extLst>
                <a:ext uri="{FF2B5EF4-FFF2-40B4-BE49-F238E27FC236}">
                  <a16:creationId xmlns:a16="http://schemas.microsoft.com/office/drawing/2014/main" id="{1ECBDC2F-3442-67C9-6074-F8CA53C835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060488" y="3198813"/>
              <a:ext cx="65088" cy="65088"/>
            </a:xfrm>
            <a:custGeom>
              <a:avLst/>
              <a:gdLst>
                <a:gd name="T0" fmla="*/ 54 w 67"/>
                <a:gd name="T1" fmla="*/ 67 h 67"/>
                <a:gd name="T2" fmla="*/ 44 w 67"/>
                <a:gd name="T3" fmla="*/ 63 h 67"/>
                <a:gd name="T4" fmla="*/ 44 w 67"/>
                <a:gd name="T5" fmla="*/ 63 h 67"/>
                <a:gd name="T6" fmla="*/ 2 w 67"/>
                <a:gd name="T7" fmla="*/ 20 h 67"/>
                <a:gd name="T8" fmla="*/ 0 w 67"/>
                <a:gd name="T9" fmla="*/ 17 h 67"/>
                <a:gd name="T10" fmla="*/ 2 w 67"/>
                <a:gd name="T11" fmla="*/ 14 h 67"/>
                <a:gd name="T12" fmla="*/ 14 w 67"/>
                <a:gd name="T13" fmla="*/ 1 h 67"/>
                <a:gd name="T14" fmla="*/ 20 w 67"/>
                <a:gd name="T15" fmla="*/ 1 h 67"/>
                <a:gd name="T16" fmla="*/ 63 w 67"/>
                <a:gd name="T17" fmla="*/ 44 h 67"/>
                <a:gd name="T18" fmla="*/ 67 w 67"/>
                <a:gd name="T19" fmla="*/ 53 h 67"/>
                <a:gd name="T20" fmla="*/ 63 w 67"/>
                <a:gd name="T21" fmla="*/ 63 h 67"/>
                <a:gd name="T22" fmla="*/ 54 w 67"/>
                <a:gd name="T23" fmla="*/ 67 h 67"/>
                <a:gd name="T24" fmla="*/ 50 w 67"/>
                <a:gd name="T25" fmla="*/ 57 h 67"/>
                <a:gd name="T26" fmla="*/ 57 w 67"/>
                <a:gd name="T27" fmla="*/ 57 h 67"/>
                <a:gd name="T28" fmla="*/ 59 w 67"/>
                <a:gd name="T29" fmla="*/ 53 h 67"/>
                <a:gd name="T30" fmla="*/ 57 w 67"/>
                <a:gd name="T31" fmla="*/ 50 h 67"/>
                <a:gd name="T32" fmla="*/ 17 w 67"/>
                <a:gd name="T33" fmla="*/ 10 h 67"/>
                <a:gd name="T34" fmla="*/ 10 w 67"/>
                <a:gd name="T35" fmla="*/ 17 h 67"/>
                <a:gd name="T36" fmla="*/ 50 w 67"/>
                <a:gd name="T37" fmla="*/ 5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7" h="67">
                  <a:moveTo>
                    <a:pt x="54" y="67"/>
                  </a:moveTo>
                  <a:cubicBezTo>
                    <a:pt x="50" y="67"/>
                    <a:pt x="47" y="65"/>
                    <a:pt x="44" y="63"/>
                  </a:cubicBezTo>
                  <a:cubicBezTo>
                    <a:pt x="44" y="63"/>
                    <a:pt x="44" y="63"/>
                    <a:pt x="44" y="63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1" y="19"/>
                    <a:pt x="0" y="18"/>
                    <a:pt x="0" y="17"/>
                  </a:cubicBezTo>
                  <a:cubicBezTo>
                    <a:pt x="0" y="16"/>
                    <a:pt x="1" y="15"/>
                    <a:pt x="2" y="14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6" y="0"/>
                    <a:pt x="19" y="0"/>
                    <a:pt x="20" y="1"/>
                  </a:cubicBezTo>
                  <a:cubicBezTo>
                    <a:pt x="63" y="44"/>
                    <a:pt x="63" y="44"/>
                    <a:pt x="63" y="44"/>
                  </a:cubicBezTo>
                  <a:cubicBezTo>
                    <a:pt x="66" y="47"/>
                    <a:pt x="67" y="50"/>
                    <a:pt x="67" y="53"/>
                  </a:cubicBezTo>
                  <a:cubicBezTo>
                    <a:pt x="67" y="57"/>
                    <a:pt x="66" y="60"/>
                    <a:pt x="63" y="63"/>
                  </a:cubicBezTo>
                  <a:cubicBezTo>
                    <a:pt x="61" y="65"/>
                    <a:pt x="57" y="67"/>
                    <a:pt x="54" y="67"/>
                  </a:cubicBezTo>
                  <a:close/>
                  <a:moveTo>
                    <a:pt x="50" y="57"/>
                  </a:moveTo>
                  <a:cubicBezTo>
                    <a:pt x="52" y="59"/>
                    <a:pt x="55" y="59"/>
                    <a:pt x="57" y="57"/>
                  </a:cubicBezTo>
                  <a:cubicBezTo>
                    <a:pt x="58" y="56"/>
                    <a:pt x="59" y="55"/>
                    <a:pt x="59" y="53"/>
                  </a:cubicBezTo>
                  <a:cubicBezTo>
                    <a:pt x="59" y="52"/>
                    <a:pt x="58" y="51"/>
                    <a:pt x="57" y="5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0" y="17"/>
                    <a:pt x="10" y="17"/>
                    <a:pt x="10" y="17"/>
                  </a:cubicBezTo>
                  <a:cubicBezTo>
                    <a:pt x="50" y="57"/>
                    <a:pt x="50" y="57"/>
                    <a:pt x="50" y="5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674" name="Shape12_20200717_142313">
            <a:extLst>
              <a:ext uri="{FF2B5EF4-FFF2-40B4-BE49-F238E27FC236}">
                <a16:creationId xmlns:a16="http://schemas.microsoft.com/office/drawing/2014/main" id="{E4523D59-CE17-19B3-1AFE-A6ABF3027FCF}"/>
              </a:ext>
            </a:extLst>
          </p:cNvPr>
          <p:cNvGrpSpPr>
            <a:grpSpLocks noChangeAspect="1"/>
          </p:cNvGrpSpPr>
          <p:nvPr/>
        </p:nvGrpSpPr>
        <p:grpSpPr>
          <a:xfrm>
            <a:off x="3207792" y="1246452"/>
            <a:ext cx="554188" cy="554188"/>
            <a:chOff x="13315950" y="2444750"/>
            <a:chExt cx="244476" cy="244475"/>
          </a:xfrm>
          <a:solidFill>
            <a:schemeClr val="accent1"/>
          </a:solidFill>
        </p:grpSpPr>
        <p:sp>
          <p:nvSpPr>
            <p:cNvPr id="675" name="Freeform 883">
              <a:extLst>
                <a:ext uri="{FF2B5EF4-FFF2-40B4-BE49-F238E27FC236}">
                  <a16:creationId xmlns:a16="http://schemas.microsoft.com/office/drawing/2014/main" id="{10A0D1D5-187D-BCD3-E961-8CE075AA5DC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315950" y="2444750"/>
              <a:ext cx="192088" cy="190500"/>
            </a:xfrm>
            <a:custGeom>
              <a:avLst/>
              <a:gdLst>
                <a:gd name="T0" fmla="*/ 97 w 195"/>
                <a:gd name="T1" fmla="*/ 195 h 195"/>
                <a:gd name="T2" fmla="*/ 0 w 195"/>
                <a:gd name="T3" fmla="*/ 97 h 195"/>
                <a:gd name="T4" fmla="*/ 97 w 195"/>
                <a:gd name="T5" fmla="*/ 0 h 195"/>
                <a:gd name="T6" fmla="*/ 195 w 195"/>
                <a:gd name="T7" fmla="*/ 97 h 195"/>
                <a:gd name="T8" fmla="*/ 97 w 195"/>
                <a:gd name="T9" fmla="*/ 195 h 195"/>
                <a:gd name="T10" fmla="*/ 97 w 195"/>
                <a:gd name="T11" fmla="*/ 8 h 195"/>
                <a:gd name="T12" fmla="*/ 8 w 195"/>
                <a:gd name="T13" fmla="*/ 97 h 195"/>
                <a:gd name="T14" fmla="*/ 97 w 195"/>
                <a:gd name="T15" fmla="*/ 186 h 195"/>
                <a:gd name="T16" fmla="*/ 186 w 195"/>
                <a:gd name="T17" fmla="*/ 97 h 195"/>
                <a:gd name="T18" fmla="*/ 97 w 195"/>
                <a:gd name="T19" fmla="*/ 8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5" h="195">
                  <a:moveTo>
                    <a:pt x="97" y="195"/>
                  </a:moveTo>
                  <a:cubicBezTo>
                    <a:pt x="43" y="195"/>
                    <a:pt x="0" y="151"/>
                    <a:pt x="0" y="97"/>
                  </a:cubicBezTo>
                  <a:cubicBezTo>
                    <a:pt x="0" y="44"/>
                    <a:pt x="43" y="0"/>
                    <a:pt x="97" y="0"/>
                  </a:cubicBezTo>
                  <a:cubicBezTo>
                    <a:pt x="151" y="0"/>
                    <a:pt x="195" y="44"/>
                    <a:pt x="195" y="97"/>
                  </a:cubicBezTo>
                  <a:cubicBezTo>
                    <a:pt x="195" y="151"/>
                    <a:pt x="151" y="195"/>
                    <a:pt x="97" y="195"/>
                  </a:cubicBezTo>
                  <a:close/>
                  <a:moveTo>
                    <a:pt x="97" y="8"/>
                  </a:moveTo>
                  <a:cubicBezTo>
                    <a:pt x="48" y="8"/>
                    <a:pt x="8" y="48"/>
                    <a:pt x="8" y="97"/>
                  </a:cubicBezTo>
                  <a:cubicBezTo>
                    <a:pt x="8" y="146"/>
                    <a:pt x="48" y="186"/>
                    <a:pt x="97" y="186"/>
                  </a:cubicBezTo>
                  <a:cubicBezTo>
                    <a:pt x="146" y="186"/>
                    <a:pt x="186" y="146"/>
                    <a:pt x="186" y="97"/>
                  </a:cubicBezTo>
                  <a:cubicBezTo>
                    <a:pt x="186" y="48"/>
                    <a:pt x="146" y="8"/>
                    <a:pt x="97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76" name="Freeform 884">
              <a:extLst>
                <a:ext uri="{FF2B5EF4-FFF2-40B4-BE49-F238E27FC236}">
                  <a16:creationId xmlns:a16="http://schemas.microsoft.com/office/drawing/2014/main" id="{4B87AC4C-DE3D-0D9C-2700-D7B56E3F5A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463588" y="2590800"/>
              <a:ext cx="96838" cy="98425"/>
            </a:xfrm>
            <a:custGeom>
              <a:avLst/>
              <a:gdLst>
                <a:gd name="T0" fmla="*/ 81 w 99"/>
                <a:gd name="T1" fmla="*/ 99 h 99"/>
                <a:gd name="T2" fmla="*/ 68 w 99"/>
                <a:gd name="T3" fmla="*/ 94 h 99"/>
                <a:gd name="T4" fmla="*/ 68 w 99"/>
                <a:gd name="T5" fmla="*/ 94 h 99"/>
                <a:gd name="T6" fmla="*/ 68 w 99"/>
                <a:gd name="T7" fmla="*/ 94 h 99"/>
                <a:gd name="T8" fmla="*/ 1 w 99"/>
                <a:gd name="T9" fmla="*/ 27 h 99"/>
                <a:gd name="T10" fmla="*/ 1 w 99"/>
                <a:gd name="T11" fmla="*/ 21 h 99"/>
                <a:gd name="T12" fmla="*/ 21 w 99"/>
                <a:gd name="T13" fmla="*/ 1 h 99"/>
                <a:gd name="T14" fmla="*/ 27 w 99"/>
                <a:gd name="T15" fmla="*/ 1 h 99"/>
                <a:gd name="T16" fmla="*/ 94 w 99"/>
                <a:gd name="T17" fmla="*/ 68 h 99"/>
                <a:gd name="T18" fmla="*/ 99 w 99"/>
                <a:gd name="T19" fmla="*/ 81 h 99"/>
                <a:gd name="T20" fmla="*/ 94 w 99"/>
                <a:gd name="T21" fmla="*/ 94 h 99"/>
                <a:gd name="T22" fmla="*/ 81 w 99"/>
                <a:gd name="T23" fmla="*/ 99 h 99"/>
                <a:gd name="T24" fmla="*/ 10 w 99"/>
                <a:gd name="T25" fmla="*/ 24 h 99"/>
                <a:gd name="T26" fmla="*/ 74 w 99"/>
                <a:gd name="T27" fmla="*/ 88 h 99"/>
                <a:gd name="T28" fmla="*/ 74 w 99"/>
                <a:gd name="T29" fmla="*/ 88 h 99"/>
                <a:gd name="T30" fmla="*/ 88 w 99"/>
                <a:gd name="T31" fmla="*/ 88 h 99"/>
                <a:gd name="T32" fmla="*/ 91 w 99"/>
                <a:gd name="T33" fmla="*/ 81 h 99"/>
                <a:gd name="T34" fmla="*/ 88 w 99"/>
                <a:gd name="T35" fmla="*/ 74 h 99"/>
                <a:gd name="T36" fmla="*/ 24 w 99"/>
                <a:gd name="T37" fmla="*/ 10 h 99"/>
                <a:gd name="T38" fmla="*/ 10 w 99"/>
                <a:gd name="T39" fmla="*/ 24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9" h="99">
                  <a:moveTo>
                    <a:pt x="81" y="99"/>
                  </a:moveTo>
                  <a:cubicBezTo>
                    <a:pt x="76" y="99"/>
                    <a:pt x="71" y="97"/>
                    <a:pt x="68" y="94"/>
                  </a:cubicBezTo>
                  <a:cubicBezTo>
                    <a:pt x="68" y="94"/>
                    <a:pt x="68" y="94"/>
                    <a:pt x="68" y="94"/>
                  </a:cubicBezTo>
                  <a:cubicBezTo>
                    <a:pt x="68" y="94"/>
                    <a:pt x="68" y="94"/>
                    <a:pt x="68" y="94"/>
                  </a:cubicBezTo>
                  <a:cubicBezTo>
                    <a:pt x="1" y="27"/>
                    <a:pt x="1" y="27"/>
                    <a:pt x="1" y="27"/>
                  </a:cubicBezTo>
                  <a:cubicBezTo>
                    <a:pt x="0" y="25"/>
                    <a:pt x="0" y="23"/>
                    <a:pt x="1" y="21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23" y="0"/>
                    <a:pt x="25" y="0"/>
                    <a:pt x="27" y="1"/>
                  </a:cubicBezTo>
                  <a:cubicBezTo>
                    <a:pt x="94" y="68"/>
                    <a:pt x="94" y="68"/>
                    <a:pt x="94" y="68"/>
                  </a:cubicBezTo>
                  <a:cubicBezTo>
                    <a:pt x="97" y="72"/>
                    <a:pt x="99" y="76"/>
                    <a:pt x="99" y="81"/>
                  </a:cubicBezTo>
                  <a:cubicBezTo>
                    <a:pt x="99" y="86"/>
                    <a:pt x="97" y="90"/>
                    <a:pt x="94" y="94"/>
                  </a:cubicBezTo>
                  <a:cubicBezTo>
                    <a:pt x="90" y="97"/>
                    <a:pt x="86" y="99"/>
                    <a:pt x="81" y="99"/>
                  </a:cubicBezTo>
                  <a:close/>
                  <a:moveTo>
                    <a:pt x="10" y="24"/>
                  </a:moveTo>
                  <a:cubicBezTo>
                    <a:pt x="74" y="88"/>
                    <a:pt x="74" y="88"/>
                    <a:pt x="74" y="88"/>
                  </a:cubicBezTo>
                  <a:cubicBezTo>
                    <a:pt x="74" y="88"/>
                    <a:pt x="74" y="88"/>
                    <a:pt x="74" y="88"/>
                  </a:cubicBezTo>
                  <a:cubicBezTo>
                    <a:pt x="77" y="92"/>
                    <a:pt x="84" y="92"/>
                    <a:pt x="88" y="88"/>
                  </a:cubicBezTo>
                  <a:cubicBezTo>
                    <a:pt x="90" y="86"/>
                    <a:pt x="91" y="84"/>
                    <a:pt x="91" y="81"/>
                  </a:cubicBezTo>
                  <a:cubicBezTo>
                    <a:pt x="91" y="78"/>
                    <a:pt x="90" y="76"/>
                    <a:pt x="88" y="74"/>
                  </a:cubicBezTo>
                  <a:cubicBezTo>
                    <a:pt x="24" y="10"/>
                    <a:pt x="24" y="10"/>
                    <a:pt x="24" y="10"/>
                  </a:cubicBezTo>
                  <a:lnTo>
                    <a:pt x="10" y="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77" name="Freeform 885">
              <a:extLst>
                <a:ext uri="{FF2B5EF4-FFF2-40B4-BE49-F238E27FC236}">
                  <a16:creationId xmlns:a16="http://schemas.microsoft.com/office/drawing/2014/main" id="{9A4ACB57-FEB5-6281-7142-05B13B2E74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08025" y="2492375"/>
              <a:ext cx="7938" cy="95250"/>
            </a:xfrm>
            <a:custGeom>
              <a:avLst/>
              <a:gdLst>
                <a:gd name="T0" fmla="*/ 4 w 8"/>
                <a:gd name="T1" fmla="*/ 97 h 97"/>
                <a:gd name="T2" fmla="*/ 0 w 8"/>
                <a:gd name="T3" fmla="*/ 92 h 97"/>
                <a:gd name="T4" fmla="*/ 0 w 8"/>
                <a:gd name="T5" fmla="*/ 4 h 97"/>
                <a:gd name="T6" fmla="*/ 4 w 8"/>
                <a:gd name="T7" fmla="*/ 0 h 97"/>
                <a:gd name="T8" fmla="*/ 8 w 8"/>
                <a:gd name="T9" fmla="*/ 4 h 97"/>
                <a:gd name="T10" fmla="*/ 8 w 8"/>
                <a:gd name="T11" fmla="*/ 92 h 97"/>
                <a:gd name="T12" fmla="*/ 4 w 8"/>
                <a:gd name="T13" fmla="*/ 9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97">
                  <a:moveTo>
                    <a:pt x="4" y="97"/>
                  </a:moveTo>
                  <a:cubicBezTo>
                    <a:pt x="2" y="97"/>
                    <a:pt x="0" y="95"/>
                    <a:pt x="0" y="9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92"/>
                    <a:pt x="8" y="92"/>
                    <a:pt x="8" y="92"/>
                  </a:cubicBezTo>
                  <a:cubicBezTo>
                    <a:pt x="8" y="95"/>
                    <a:pt x="6" y="97"/>
                    <a:pt x="4" y="9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78" name="Freeform 886">
              <a:extLst>
                <a:ext uri="{FF2B5EF4-FFF2-40B4-BE49-F238E27FC236}">
                  <a16:creationId xmlns:a16="http://schemas.microsoft.com/office/drawing/2014/main" id="{89030D7F-644F-F001-314F-1DCF5A154E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3363575" y="2535238"/>
              <a:ext cx="95250" cy="7938"/>
            </a:xfrm>
            <a:custGeom>
              <a:avLst/>
              <a:gdLst>
                <a:gd name="T0" fmla="*/ 92 w 96"/>
                <a:gd name="T1" fmla="*/ 8 h 8"/>
                <a:gd name="T2" fmla="*/ 4 w 96"/>
                <a:gd name="T3" fmla="*/ 8 h 8"/>
                <a:gd name="T4" fmla="*/ 0 w 96"/>
                <a:gd name="T5" fmla="*/ 4 h 8"/>
                <a:gd name="T6" fmla="*/ 4 w 96"/>
                <a:gd name="T7" fmla="*/ 0 h 8"/>
                <a:gd name="T8" fmla="*/ 92 w 96"/>
                <a:gd name="T9" fmla="*/ 0 h 8"/>
                <a:gd name="T10" fmla="*/ 96 w 96"/>
                <a:gd name="T11" fmla="*/ 4 h 8"/>
                <a:gd name="T12" fmla="*/ 92 w 96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6" h="8">
                  <a:moveTo>
                    <a:pt x="92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7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5" y="0"/>
                    <a:pt x="96" y="2"/>
                    <a:pt x="96" y="4"/>
                  </a:cubicBezTo>
                  <a:cubicBezTo>
                    <a:pt x="96" y="7"/>
                    <a:pt x="95" y="8"/>
                    <a:pt x="92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679" name="Shape13_20200717_142313">
            <a:extLst>
              <a:ext uri="{FF2B5EF4-FFF2-40B4-BE49-F238E27FC236}">
                <a16:creationId xmlns:a16="http://schemas.microsoft.com/office/drawing/2014/main" id="{870AC324-6DB1-35BC-F625-39C1EBDE6174}"/>
              </a:ext>
            </a:extLst>
          </p:cNvPr>
          <p:cNvGrpSpPr>
            <a:grpSpLocks noChangeAspect="1"/>
          </p:cNvGrpSpPr>
          <p:nvPr/>
        </p:nvGrpSpPr>
        <p:grpSpPr>
          <a:xfrm>
            <a:off x="4511549" y="1244655"/>
            <a:ext cx="557786" cy="557780"/>
            <a:chOff x="13839825" y="2443163"/>
            <a:chExt cx="246063" cy="246062"/>
          </a:xfrm>
          <a:solidFill>
            <a:schemeClr val="accent1"/>
          </a:solidFill>
        </p:grpSpPr>
        <p:sp>
          <p:nvSpPr>
            <p:cNvPr id="680" name="Freeform 887">
              <a:extLst>
                <a:ext uri="{FF2B5EF4-FFF2-40B4-BE49-F238E27FC236}">
                  <a16:creationId xmlns:a16="http://schemas.microsoft.com/office/drawing/2014/main" id="{686266DA-509F-B11C-B3A2-B8F49D7989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839825" y="2443163"/>
              <a:ext cx="192088" cy="192088"/>
            </a:xfrm>
            <a:custGeom>
              <a:avLst/>
              <a:gdLst>
                <a:gd name="T0" fmla="*/ 97 w 195"/>
                <a:gd name="T1" fmla="*/ 195 h 195"/>
                <a:gd name="T2" fmla="*/ 0 w 195"/>
                <a:gd name="T3" fmla="*/ 98 h 195"/>
                <a:gd name="T4" fmla="*/ 97 w 195"/>
                <a:gd name="T5" fmla="*/ 0 h 195"/>
                <a:gd name="T6" fmla="*/ 195 w 195"/>
                <a:gd name="T7" fmla="*/ 98 h 195"/>
                <a:gd name="T8" fmla="*/ 97 w 195"/>
                <a:gd name="T9" fmla="*/ 195 h 195"/>
                <a:gd name="T10" fmla="*/ 97 w 195"/>
                <a:gd name="T11" fmla="*/ 9 h 195"/>
                <a:gd name="T12" fmla="*/ 8 w 195"/>
                <a:gd name="T13" fmla="*/ 98 h 195"/>
                <a:gd name="T14" fmla="*/ 97 w 195"/>
                <a:gd name="T15" fmla="*/ 187 h 195"/>
                <a:gd name="T16" fmla="*/ 187 w 195"/>
                <a:gd name="T17" fmla="*/ 98 h 195"/>
                <a:gd name="T18" fmla="*/ 97 w 195"/>
                <a:gd name="T19" fmla="*/ 9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5" h="195">
                  <a:moveTo>
                    <a:pt x="97" y="195"/>
                  </a:moveTo>
                  <a:cubicBezTo>
                    <a:pt x="44" y="195"/>
                    <a:pt x="0" y="152"/>
                    <a:pt x="0" y="98"/>
                  </a:cubicBezTo>
                  <a:cubicBezTo>
                    <a:pt x="0" y="44"/>
                    <a:pt x="44" y="0"/>
                    <a:pt x="97" y="0"/>
                  </a:cubicBezTo>
                  <a:cubicBezTo>
                    <a:pt x="151" y="0"/>
                    <a:pt x="195" y="44"/>
                    <a:pt x="195" y="98"/>
                  </a:cubicBezTo>
                  <a:cubicBezTo>
                    <a:pt x="195" y="152"/>
                    <a:pt x="151" y="195"/>
                    <a:pt x="97" y="195"/>
                  </a:cubicBezTo>
                  <a:close/>
                  <a:moveTo>
                    <a:pt x="97" y="9"/>
                  </a:moveTo>
                  <a:cubicBezTo>
                    <a:pt x="48" y="9"/>
                    <a:pt x="8" y="49"/>
                    <a:pt x="8" y="98"/>
                  </a:cubicBezTo>
                  <a:cubicBezTo>
                    <a:pt x="8" y="147"/>
                    <a:pt x="48" y="187"/>
                    <a:pt x="97" y="187"/>
                  </a:cubicBezTo>
                  <a:cubicBezTo>
                    <a:pt x="147" y="187"/>
                    <a:pt x="187" y="147"/>
                    <a:pt x="187" y="98"/>
                  </a:cubicBezTo>
                  <a:cubicBezTo>
                    <a:pt x="187" y="49"/>
                    <a:pt x="147" y="9"/>
                    <a:pt x="97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81" name="Freeform 888">
              <a:extLst>
                <a:ext uri="{FF2B5EF4-FFF2-40B4-BE49-F238E27FC236}">
                  <a16:creationId xmlns:a16="http://schemas.microsoft.com/office/drawing/2014/main" id="{977491F9-33D9-4B35-B7C6-9F52D12DC2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987463" y="2590800"/>
              <a:ext cx="98425" cy="98425"/>
            </a:xfrm>
            <a:custGeom>
              <a:avLst/>
              <a:gdLst>
                <a:gd name="T0" fmla="*/ 81 w 101"/>
                <a:gd name="T1" fmla="*/ 101 h 101"/>
                <a:gd name="T2" fmla="*/ 70 w 101"/>
                <a:gd name="T3" fmla="*/ 96 h 101"/>
                <a:gd name="T4" fmla="*/ 70 w 101"/>
                <a:gd name="T5" fmla="*/ 96 h 101"/>
                <a:gd name="T6" fmla="*/ 2 w 101"/>
                <a:gd name="T7" fmla="*/ 28 h 101"/>
                <a:gd name="T8" fmla="*/ 0 w 101"/>
                <a:gd name="T9" fmla="*/ 25 h 101"/>
                <a:gd name="T10" fmla="*/ 2 w 101"/>
                <a:gd name="T11" fmla="*/ 22 h 101"/>
                <a:gd name="T12" fmla="*/ 21 w 101"/>
                <a:gd name="T13" fmla="*/ 2 h 101"/>
                <a:gd name="T14" fmla="*/ 27 w 101"/>
                <a:gd name="T15" fmla="*/ 2 h 101"/>
                <a:gd name="T16" fmla="*/ 94 w 101"/>
                <a:gd name="T17" fmla="*/ 69 h 101"/>
                <a:gd name="T18" fmla="*/ 94 w 101"/>
                <a:gd name="T19" fmla="*/ 94 h 101"/>
                <a:gd name="T20" fmla="*/ 93 w 101"/>
                <a:gd name="T21" fmla="*/ 96 h 101"/>
                <a:gd name="T22" fmla="*/ 81 w 101"/>
                <a:gd name="T23" fmla="*/ 101 h 101"/>
                <a:gd name="T24" fmla="*/ 10 w 101"/>
                <a:gd name="T25" fmla="*/ 25 h 101"/>
                <a:gd name="T26" fmla="*/ 76 w 101"/>
                <a:gd name="T27" fmla="*/ 90 h 101"/>
                <a:gd name="T28" fmla="*/ 76 w 101"/>
                <a:gd name="T29" fmla="*/ 90 h 101"/>
                <a:gd name="T30" fmla="*/ 87 w 101"/>
                <a:gd name="T31" fmla="*/ 90 h 101"/>
                <a:gd name="T32" fmla="*/ 88 w 101"/>
                <a:gd name="T33" fmla="*/ 89 h 101"/>
                <a:gd name="T34" fmla="*/ 88 w 101"/>
                <a:gd name="T35" fmla="*/ 75 h 101"/>
                <a:gd name="T36" fmla="*/ 24 w 101"/>
                <a:gd name="T37" fmla="*/ 11 h 101"/>
                <a:gd name="T38" fmla="*/ 10 w 101"/>
                <a:gd name="T39" fmla="*/ 25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1" h="101">
                  <a:moveTo>
                    <a:pt x="81" y="101"/>
                  </a:moveTo>
                  <a:cubicBezTo>
                    <a:pt x="77" y="101"/>
                    <a:pt x="73" y="99"/>
                    <a:pt x="70" y="96"/>
                  </a:cubicBezTo>
                  <a:cubicBezTo>
                    <a:pt x="70" y="96"/>
                    <a:pt x="70" y="96"/>
                    <a:pt x="70" y="96"/>
                  </a:cubicBezTo>
                  <a:cubicBezTo>
                    <a:pt x="2" y="28"/>
                    <a:pt x="2" y="28"/>
                    <a:pt x="2" y="28"/>
                  </a:cubicBezTo>
                  <a:cubicBezTo>
                    <a:pt x="1" y="27"/>
                    <a:pt x="0" y="26"/>
                    <a:pt x="0" y="25"/>
                  </a:cubicBezTo>
                  <a:cubicBezTo>
                    <a:pt x="0" y="24"/>
                    <a:pt x="1" y="23"/>
                    <a:pt x="2" y="2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3" y="0"/>
                    <a:pt x="26" y="0"/>
                    <a:pt x="27" y="2"/>
                  </a:cubicBezTo>
                  <a:cubicBezTo>
                    <a:pt x="94" y="69"/>
                    <a:pt x="94" y="69"/>
                    <a:pt x="94" y="69"/>
                  </a:cubicBezTo>
                  <a:cubicBezTo>
                    <a:pt x="101" y="76"/>
                    <a:pt x="101" y="87"/>
                    <a:pt x="94" y="94"/>
                  </a:cubicBezTo>
                  <a:cubicBezTo>
                    <a:pt x="93" y="96"/>
                    <a:pt x="93" y="96"/>
                    <a:pt x="93" y="96"/>
                  </a:cubicBezTo>
                  <a:cubicBezTo>
                    <a:pt x="90" y="99"/>
                    <a:pt x="85" y="101"/>
                    <a:pt x="81" y="101"/>
                  </a:cubicBezTo>
                  <a:close/>
                  <a:moveTo>
                    <a:pt x="10" y="25"/>
                  </a:moveTo>
                  <a:cubicBezTo>
                    <a:pt x="76" y="90"/>
                    <a:pt x="76" y="90"/>
                    <a:pt x="76" y="90"/>
                  </a:cubicBezTo>
                  <a:cubicBezTo>
                    <a:pt x="76" y="90"/>
                    <a:pt x="76" y="90"/>
                    <a:pt x="76" y="90"/>
                  </a:cubicBezTo>
                  <a:cubicBezTo>
                    <a:pt x="79" y="93"/>
                    <a:pt x="84" y="93"/>
                    <a:pt x="87" y="90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92" y="85"/>
                    <a:pt x="92" y="78"/>
                    <a:pt x="88" y="75"/>
                  </a:cubicBezTo>
                  <a:cubicBezTo>
                    <a:pt x="24" y="11"/>
                    <a:pt x="24" y="11"/>
                    <a:pt x="24" y="11"/>
                  </a:cubicBezTo>
                  <a:lnTo>
                    <a:pt x="10" y="2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82" name="Freeform 889">
              <a:extLst>
                <a:ext uri="{FF2B5EF4-FFF2-40B4-BE49-F238E27FC236}">
                  <a16:creationId xmlns:a16="http://schemas.microsoft.com/office/drawing/2014/main" id="{A2ECB184-B3BF-8403-C043-C86E264DA4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89038" y="2535238"/>
              <a:ext cx="95250" cy="7938"/>
            </a:xfrm>
            <a:custGeom>
              <a:avLst/>
              <a:gdLst>
                <a:gd name="T0" fmla="*/ 93 w 97"/>
                <a:gd name="T1" fmla="*/ 8 h 8"/>
                <a:gd name="T2" fmla="*/ 4 w 97"/>
                <a:gd name="T3" fmla="*/ 8 h 8"/>
                <a:gd name="T4" fmla="*/ 0 w 97"/>
                <a:gd name="T5" fmla="*/ 4 h 8"/>
                <a:gd name="T6" fmla="*/ 4 w 97"/>
                <a:gd name="T7" fmla="*/ 0 h 8"/>
                <a:gd name="T8" fmla="*/ 93 w 97"/>
                <a:gd name="T9" fmla="*/ 0 h 8"/>
                <a:gd name="T10" fmla="*/ 97 w 97"/>
                <a:gd name="T11" fmla="*/ 4 h 8"/>
                <a:gd name="T12" fmla="*/ 93 w 97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7" h="8">
                  <a:moveTo>
                    <a:pt x="93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95" y="0"/>
                    <a:pt x="97" y="2"/>
                    <a:pt x="97" y="4"/>
                  </a:cubicBezTo>
                  <a:cubicBezTo>
                    <a:pt x="97" y="6"/>
                    <a:pt x="95" y="8"/>
                    <a:pt x="93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683" name="Shape14_20200717_142313">
            <a:extLst>
              <a:ext uri="{FF2B5EF4-FFF2-40B4-BE49-F238E27FC236}">
                <a16:creationId xmlns:a16="http://schemas.microsoft.com/office/drawing/2014/main" id="{12A6BAF7-9408-CFCF-B4AF-42559DAFB5AC}"/>
              </a:ext>
            </a:extLst>
          </p:cNvPr>
          <p:cNvGrpSpPr>
            <a:grpSpLocks noChangeAspect="1"/>
          </p:cNvGrpSpPr>
          <p:nvPr/>
        </p:nvGrpSpPr>
        <p:grpSpPr>
          <a:xfrm>
            <a:off x="7070483" y="2614983"/>
            <a:ext cx="662144" cy="428238"/>
            <a:chOff x="13292138" y="3619500"/>
            <a:chExt cx="292100" cy="188913"/>
          </a:xfrm>
          <a:solidFill>
            <a:schemeClr val="accent1"/>
          </a:solidFill>
        </p:grpSpPr>
        <p:sp>
          <p:nvSpPr>
            <p:cNvPr id="684" name="Freeform 890">
              <a:extLst>
                <a:ext uri="{FF2B5EF4-FFF2-40B4-BE49-F238E27FC236}">
                  <a16:creationId xmlns:a16="http://schemas.microsoft.com/office/drawing/2014/main" id="{B295147C-E3D9-7EAF-EBC8-A9D374785A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415963" y="3649663"/>
              <a:ext cx="44450" cy="46038"/>
            </a:xfrm>
            <a:custGeom>
              <a:avLst/>
              <a:gdLst>
                <a:gd name="T0" fmla="*/ 23 w 46"/>
                <a:gd name="T1" fmla="*/ 46 h 46"/>
                <a:gd name="T2" fmla="*/ 0 w 46"/>
                <a:gd name="T3" fmla="*/ 23 h 46"/>
                <a:gd name="T4" fmla="*/ 23 w 46"/>
                <a:gd name="T5" fmla="*/ 0 h 46"/>
                <a:gd name="T6" fmla="*/ 46 w 46"/>
                <a:gd name="T7" fmla="*/ 23 h 46"/>
                <a:gd name="T8" fmla="*/ 23 w 46"/>
                <a:gd name="T9" fmla="*/ 46 h 46"/>
                <a:gd name="T10" fmla="*/ 23 w 46"/>
                <a:gd name="T11" fmla="*/ 8 h 46"/>
                <a:gd name="T12" fmla="*/ 8 w 46"/>
                <a:gd name="T13" fmla="*/ 23 h 46"/>
                <a:gd name="T14" fmla="*/ 23 w 46"/>
                <a:gd name="T15" fmla="*/ 38 h 46"/>
                <a:gd name="T16" fmla="*/ 38 w 46"/>
                <a:gd name="T17" fmla="*/ 23 h 46"/>
                <a:gd name="T18" fmla="*/ 23 w 46"/>
                <a:gd name="T19" fmla="*/ 8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6" h="46">
                  <a:moveTo>
                    <a:pt x="23" y="46"/>
                  </a:moveTo>
                  <a:cubicBezTo>
                    <a:pt x="11" y="46"/>
                    <a:pt x="0" y="36"/>
                    <a:pt x="0" y="23"/>
                  </a:cubicBezTo>
                  <a:cubicBezTo>
                    <a:pt x="0" y="10"/>
                    <a:pt x="11" y="0"/>
                    <a:pt x="23" y="0"/>
                  </a:cubicBezTo>
                  <a:cubicBezTo>
                    <a:pt x="36" y="0"/>
                    <a:pt x="46" y="10"/>
                    <a:pt x="46" y="23"/>
                  </a:cubicBezTo>
                  <a:cubicBezTo>
                    <a:pt x="46" y="36"/>
                    <a:pt x="36" y="46"/>
                    <a:pt x="23" y="46"/>
                  </a:cubicBezTo>
                  <a:close/>
                  <a:moveTo>
                    <a:pt x="23" y="8"/>
                  </a:moveTo>
                  <a:cubicBezTo>
                    <a:pt x="15" y="8"/>
                    <a:pt x="8" y="15"/>
                    <a:pt x="8" y="23"/>
                  </a:cubicBezTo>
                  <a:cubicBezTo>
                    <a:pt x="8" y="31"/>
                    <a:pt x="15" y="38"/>
                    <a:pt x="23" y="38"/>
                  </a:cubicBezTo>
                  <a:cubicBezTo>
                    <a:pt x="32" y="38"/>
                    <a:pt x="38" y="31"/>
                    <a:pt x="38" y="23"/>
                  </a:cubicBezTo>
                  <a:cubicBezTo>
                    <a:pt x="38" y="15"/>
                    <a:pt x="32" y="8"/>
                    <a:pt x="23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85" name="Freeform 891">
              <a:extLst>
                <a:ext uri="{FF2B5EF4-FFF2-40B4-BE49-F238E27FC236}">
                  <a16:creationId xmlns:a16="http://schemas.microsoft.com/office/drawing/2014/main" id="{FC799CCF-218E-8C7E-7D9A-34106C512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3382625" y="3749675"/>
              <a:ext cx="111125" cy="58738"/>
            </a:xfrm>
            <a:custGeom>
              <a:avLst/>
              <a:gdLst>
                <a:gd name="T0" fmla="*/ 74 w 114"/>
                <a:gd name="T1" fmla="*/ 59 h 59"/>
                <a:gd name="T2" fmla="*/ 40 w 114"/>
                <a:gd name="T3" fmla="*/ 59 h 59"/>
                <a:gd name="T4" fmla="*/ 28 w 114"/>
                <a:gd name="T5" fmla="*/ 54 h 59"/>
                <a:gd name="T6" fmla="*/ 18 w 114"/>
                <a:gd name="T7" fmla="*/ 59 h 59"/>
                <a:gd name="T8" fmla="*/ 3 w 114"/>
                <a:gd name="T9" fmla="*/ 51 h 59"/>
                <a:gd name="T10" fmla="*/ 0 w 114"/>
                <a:gd name="T11" fmla="*/ 43 h 59"/>
                <a:gd name="T12" fmla="*/ 0 w 114"/>
                <a:gd name="T13" fmla="*/ 15 h 59"/>
                <a:gd name="T14" fmla="*/ 4 w 114"/>
                <a:gd name="T15" fmla="*/ 10 h 59"/>
                <a:gd name="T16" fmla="*/ 9 w 114"/>
                <a:gd name="T17" fmla="*/ 15 h 59"/>
                <a:gd name="T18" fmla="*/ 9 w 114"/>
                <a:gd name="T19" fmla="*/ 43 h 59"/>
                <a:gd name="T20" fmla="*/ 10 w 114"/>
                <a:gd name="T21" fmla="*/ 47 h 59"/>
                <a:gd name="T22" fmla="*/ 17 w 114"/>
                <a:gd name="T23" fmla="*/ 50 h 59"/>
                <a:gd name="T24" fmla="*/ 24 w 114"/>
                <a:gd name="T25" fmla="*/ 42 h 59"/>
                <a:gd name="T26" fmla="*/ 28 w 114"/>
                <a:gd name="T27" fmla="*/ 38 h 59"/>
                <a:gd name="T28" fmla="*/ 32 w 114"/>
                <a:gd name="T29" fmla="*/ 42 h 59"/>
                <a:gd name="T30" fmla="*/ 32 w 114"/>
                <a:gd name="T31" fmla="*/ 43 h 59"/>
                <a:gd name="T32" fmla="*/ 40 w 114"/>
                <a:gd name="T33" fmla="*/ 51 h 59"/>
                <a:gd name="T34" fmla="*/ 74 w 114"/>
                <a:gd name="T35" fmla="*/ 51 h 59"/>
                <a:gd name="T36" fmla="*/ 83 w 114"/>
                <a:gd name="T37" fmla="*/ 43 h 59"/>
                <a:gd name="T38" fmla="*/ 83 w 114"/>
                <a:gd name="T39" fmla="*/ 42 h 59"/>
                <a:gd name="T40" fmla="*/ 87 w 114"/>
                <a:gd name="T41" fmla="*/ 38 h 59"/>
                <a:gd name="T42" fmla="*/ 87 w 114"/>
                <a:gd name="T43" fmla="*/ 38 h 59"/>
                <a:gd name="T44" fmla="*/ 91 w 114"/>
                <a:gd name="T45" fmla="*/ 42 h 59"/>
                <a:gd name="T46" fmla="*/ 98 w 114"/>
                <a:gd name="T47" fmla="*/ 50 h 59"/>
                <a:gd name="T48" fmla="*/ 105 w 114"/>
                <a:gd name="T49" fmla="*/ 47 h 59"/>
                <a:gd name="T50" fmla="*/ 106 w 114"/>
                <a:gd name="T51" fmla="*/ 43 h 59"/>
                <a:gd name="T52" fmla="*/ 106 w 114"/>
                <a:gd name="T53" fmla="*/ 4 h 59"/>
                <a:gd name="T54" fmla="*/ 110 w 114"/>
                <a:gd name="T55" fmla="*/ 0 h 59"/>
                <a:gd name="T56" fmla="*/ 114 w 114"/>
                <a:gd name="T57" fmla="*/ 4 h 59"/>
                <a:gd name="T58" fmla="*/ 114 w 114"/>
                <a:gd name="T59" fmla="*/ 43 h 59"/>
                <a:gd name="T60" fmla="*/ 112 w 114"/>
                <a:gd name="T61" fmla="*/ 51 h 59"/>
                <a:gd name="T62" fmla="*/ 97 w 114"/>
                <a:gd name="T63" fmla="*/ 59 h 59"/>
                <a:gd name="T64" fmla="*/ 87 w 114"/>
                <a:gd name="T65" fmla="*/ 54 h 59"/>
                <a:gd name="T66" fmla="*/ 74 w 114"/>
                <a:gd name="T67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4" h="59">
                  <a:moveTo>
                    <a:pt x="74" y="59"/>
                  </a:moveTo>
                  <a:cubicBezTo>
                    <a:pt x="40" y="59"/>
                    <a:pt x="40" y="59"/>
                    <a:pt x="40" y="59"/>
                  </a:cubicBezTo>
                  <a:cubicBezTo>
                    <a:pt x="35" y="59"/>
                    <a:pt x="31" y="57"/>
                    <a:pt x="28" y="54"/>
                  </a:cubicBezTo>
                  <a:cubicBezTo>
                    <a:pt x="25" y="56"/>
                    <a:pt x="22" y="58"/>
                    <a:pt x="18" y="59"/>
                  </a:cubicBezTo>
                  <a:cubicBezTo>
                    <a:pt x="12" y="59"/>
                    <a:pt x="6" y="56"/>
                    <a:pt x="3" y="51"/>
                  </a:cubicBezTo>
                  <a:cubicBezTo>
                    <a:pt x="1" y="49"/>
                    <a:pt x="0" y="46"/>
                    <a:pt x="0" y="43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2"/>
                    <a:pt x="2" y="10"/>
                    <a:pt x="4" y="10"/>
                  </a:cubicBezTo>
                  <a:cubicBezTo>
                    <a:pt x="7" y="10"/>
                    <a:pt x="9" y="12"/>
                    <a:pt x="9" y="15"/>
                  </a:cubicBezTo>
                  <a:cubicBezTo>
                    <a:pt x="9" y="43"/>
                    <a:pt x="9" y="43"/>
                    <a:pt x="9" y="43"/>
                  </a:cubicBezTo>
                  <a:cubicBezTo>
                    <a:pt x="9" y="44"/>
                    <a:pt x="9" y="45"/>
                    <a:pt x="10" y="47"/>
                  </a:cubicBezTo>
                  <a:cubicBezTo>
                    <a:pt x="11" y="49"/>
                    <a:pt x="14" y="51"/>
                    <a:pt x="17" y="50"/>
                  </a:cubicBezTo>
                  <a:cubicBezTo>
                    <a:pt x="21" y="50"/>
                    <a:pt x="24" y="46"/>
                    <a:pt x="24" y="42"/>
                  </a:cubicBezTo>
                  <a:cubicBezTo>
                    <a:pt x="24" y="40"/>
                    <a:pt x="26" y="38"/>
                    <a:pt x="28" y="38"/>
                  </a:cubicBezTo>
                  <a:cubicBezTo>
                    <a:pt x="30" y="38"/>
                    <a:pt x="32" y="40"/>
                    <a:pt x="32" y="42"/>
                  </a:cubicBezTo>
                  <a:cubicBezTo>
                    <a:pt x="32" y="43"/>
                    <a:pt x="32" y="43"/>
                    <a:pt x="32" y="43"/>
                  </a:cubicBezTo>
                  <a:cubicBezTo>
                    <a:pt x="32" y="48"/>
                    <a:pt x="36" y="51"/>
                    <a:pt x="40" y="51"/>
                  </a:cubicBezTo>
                  <a:cubicBezTo>
                    <a:pt x="74" y="51"/>
                    <a:pt x="74" y="51"/>
                    <a:pt x="74" y="51"/>
                  </a:cubicBezTo>
                  <a:cubicBezTo>
                    <a:pt x="79" y="51"/>
                    <a:pt x="83" y="48"/>
                    <a:pt x="83" y="43"/>
                  </a:cubicBezTo>
                  <a:cubicBezTo>
                    <a:pt x="83" y="42"/>
                    <a:pt x="83" y="42"/>
                    <a:pt x="83" y="42"/>
                  </a:cubicBezTo>
                  <a:cubicBezTo>
                    <a:pt x="83" y="40"/>
                    <a:pt x="84" y="38"/>
                    <a:pt x="87" y="38"/>
                  </a:cubicBezTo>
                  <a:cubicBezTo>
                    <a:pt x="87" y="38"/>
                    <a:pt x="87" y="38"/>
                    <a:pt x="87" y="38"/>
                  </a:cubicBezTo>
                  <a:cubicBezTo>
                    <a:pt x="89" y="38"/>
                    <a:pt x="91" y="40"/>
                    <a:pt x="91" y="42"/>
                  </a:cubicBezTo>
                  <a:cubicBezTo>
                    <a:pt x="91" y="46"/>
                    <a:pt x="94" y="50"/>
                    <a:pt x="98" y="50"/>
                  </a:cubicBezTo>
                  <a:cubicBezTo>
                    <a:pt x="101" y="51"/>
                    <a:pt x="103" y="49"/>
                    <a:pt x="105" y="47"/>
                  </a:cubicBezTo>
                  <a:cubicBezTo>
                    <a:pt x="106" y="46"/>
                    <a:pt x="106" y="44"/>
                    <a:pt x="106" y="43"/>
                  </a:cubicBezTo>
                  <a:cubicBezTo>
                    <a:pt x="106" y="4"/>
                    <a:pt x="106" y="4"/>
                    <a:pt x="106" y="4"/>
                  </a:cubicBezTo>
                  <a:cubicBezTo>
                    <a:pt x="106" y="1"/>
                    <a:pt x="108" y="0"/>
                    <a:pt x="110" y="0"/>
                  </a:cubicBezTo>
                  <a:cubicBezTo>
                    <a:pt x="112" y="0"/>
                    <a:pt x="114" y="1"/>
                    <a:pt x="114" y="4"/>
                  </a:cubicBezTo>
                  <a:cubicBezTo>
                    <a:pt x="114" y="43"/>
                    <a:pt x="114" y="43"/>
                    <a:pt x="114" y="43"/>
                  </a:cubicBezTo>
                  <a:cubicBezTo>
                    <a:pt x="114" y="46"/>
                    <a:pt x="113" y="49"/>
                    <a:pt x="112" y="51"/>
                  </a:cubicBezTo>
                  <a:cubicBezTo>
                    <a:pt x="109" y="56"/>
                    <a:pt x="103" y="59"/>
                    <a:pt x="97" y="59"/>
                  </a:cubicBezTo>
                  <a:cubicBezTo>
                    <a:pt x="93" y="58"/>
                    <a:pt x="90" y="56"/>
                    <a:pt x="87" y="54"/>
                  </a:cubicBezTo>
                  <a:cubicBezTo>
                    <a:pt x="84" y="57"/>
                    <a:pt x="79" y="59"/>
                    <a:pt x="74" y="5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86" name="Freeform 892">
              <a:extLst>
                <a:ext uri="{FF2B5EF4-FFF2-40B4-BE49-F238E27FC236}">
                  <a16:creationId xmlns:a16="http://schemas.microsoft.com/office/drawing/2014/main" id="{CC5857C6-E078-E3FD-00EE-5BC87E3F56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395325" y="3702050"/>
              <a:ext cx="85725" cy="15875"/>
            </a:xfrm>
            <a:custGeom>
              <a:avLst/>
              <a:gdLst>
                <a:gd name="T0" fmla="*/ 83 w 87"/>
                <a:gd name="T1" fmla="*/ 16 h 16"/>
                <a:gd name="T2" fmla="*/ 79 w 87"/>
                <a:gd name="T3" fmla="*/ 12 h 16"/>
                <a:gd name="T4" fmla="*/ 72 w 87"/>
                <a:gd name="T5" fmla="*/ 9 h 16"/>
                <a:gd name="T6" fmla="*/ 15 w 87"/>
                <a:gd name="T7" fmla="*/ 9 h 16"/>
                <a:gd name="T8" fmla="*/ 8 w 87"/>
                <a:gd name="T9" fmla="*/ 12 h 16"/>
                <a:gd name="T10" fmla="*/ 4 w 87"/>
                <a:gd name="T11" fmla="*/ 16 h 16"/>
                <a:gd name="T12" fmla="*/ 0 w 87"/>
                <a:gd name="T13" fmla="*/ 12 h 16"/>
                <a:gd name="T14" fmla="*/ 15 w 87"/>
                <a:gd name="T15" fmla="*/ 0 h 16"/>
                <a:gd name="T16" fmla="*/ 72 w 87"/>
                <a:gd name="T17" fmla="*/ 0 h 16"/>
                <a:gd name="T18" fmla="*/ 87 w 87"/>
                <a:gd name="T19" fmla="*/ 12 h 16"/>
                <a:gd name="T20" fmla="*/ 83 w 87"/>
                <a:gd name="T21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7" h="16">
                  <a:moveTo>
                    <a:pt x="83" y="16"/>
                  </a:moveTo>
                  <a:cubicBezTo>
                    <a:pt x="81" y="16"/>
                    <a:pt x="79" y="14"/>
                    <a:pt x="79" y="12"/>
                  </a:cubicBezTo>
                  <a:cubicBezTo>
                    <a:pt x="79" y="11"/>
                    <a:pt x="75" y="9"/>
                    <a:pt x="72" y="9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1" y="9"/>
                    <a:pt x="8" y="11"/>
                    <a:pt x="8" y="12"/>
                  </a:cubicBezTo>
                  <a:cubicBezTo>
                    <a:pt x="8" y="14"/>
                    <a:pt x="6" y="16"/>
                    <a:pt x="4" y="16"/>
                  </a:cubicBezTo>
                  <a:cubicBezTo>
                    <a:pt x="1" y="16"/>
                    <a:pt x="0" y="14"/>
                    <a:pt x="0" y="12"/>
                  </a:cubicBezTo>
                  <a:cubicBezTo>
                    <a:pt x="0" y="5"/>
                    <a:pt x="8" y="0"/>
                    <a:pt x="15" y="0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79" y="0"/>
                    <a:pt x="87" y="5"/>
                    <a:pt x="87" y="12"/>
                  </a:cubicBezTo>
                  <a:cubicBezTo>
                    <a:pt x="87" y="14"/>
                    <a:pt x="85" y="16"/>
                    <a:pt x="83" y="1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87" name="Freeform 893">
              <a:extLst>
                <a:ext uri="{FF2B5EF4-FFF2-40B4-BE49-F238E27FC236}">
                  <a16:creationId xmlns:a16="http://schemas.microsoft.com/office/drawing/2014/main" id="{50033BD2-5EA4-3BB6-98E8-005C79CD50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04850" y="3740150"/>
              <a:ext cx="7938" cy="53975"/>
            </a:xfrm>
            <a:custGeom>
              <a:avLst/>
              <a:gdLst>
                <a:gd name="T0" fmla="*/ 4 w 8"/>
                <a:gd name="T1" fmla="*/ 55 h 55"/>
                <a:gd name="T2" fmla="*/ 0 w 8"/>
                <a:gd name="T3" fmla="*/ 51 h 55"/>
                <a:gd name="T4" fmla="*/ 0 w 8"/>
                <a:gd name="T5" fmla="*/ 4 h 55"/>
                <a:gd name="T6" fmla="*/ 4 w 8"/>
                <a:gd name="T7" fmla="*/ 0 h 55"/>
                <a:gd name="T8" fmla="*/ 8 w 8"/>
                <a:gd name="T9" fmla="*/ 4 h 55"/>
                <a:gd name="T10" fmla="*/ 8 w 8"/>
                <a:gd name="T11" fmla="*/ 51 h 55"/>
                <a:gd name="T12" fmla="*/ 4 w 8"/>
                <a:gd name="T13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55">
                  <a:moveTo>
                    <a:pt x="4" y="55"/>
                  </a:moveTo>
                  <a:cubicBezTo>
                    <a:pt x="2" y="55"/>
                    <a:pt x="0" y="53"/>
                    <a:pt x="0" y="5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8" y="53"/>
                    <a:pt x="6" y="55"/>
                    <a:pt x="4" y="5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88" name="Freeform 894">
              <a:extLst>
                <a:ext uri="{FF2B5EF4-FFF2-40B4-BE49-F238E27FC236}">
                  <a16:creationId xmlns:a16="http://schemas.microsoft.com/office/drawing/2014/main" id="{76811C3C-2744-84DD-C5EF-B3384D8010F2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63588" y="3743325"/>
              <a:ext cx="7938" cy="50800"/>
            </a:xfrm>
            <a:custGeom>
              <a:avLst/>
              <a:gdLst>
                <a:gd name="T0" fmla="*/ 4 w 8"/>
                <a:gd name="T1" fmla="*/ 52 h 52"/>
                <a:gd name="T2" fmla="*/ 0 w 8"/>
                <a:gd name="T3" fmla="*/ 48 h 52"/>
                <a:gd name="T4" fmla="*/ 0 w 8"/>
                <a:gd name="T5" fmla="*/ 4 h 52"/>
                <a:gd name="T6" fmla="*/ 4 w 8"/>
                <a:gd name="T7" fmla="*/ 0 h 52"/>
                <a:gd name="T8" fmla="*/ 8 w 8"/>
                <a:gd name="T9" fmla="*/ 4 h 52"/>
                <a:gd name="T10" fmla="*/ 8 w 8"/>
                <a:gd name="T11" fmla="*/ 48 h 52"/>
                <a:gd name="T12" fmla="*/ 4 w 8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52">
                  <a:moveTo>
                    <a:pt x="4" y="52"/>
                  </a:moveTo>
                  <a:cubicBezTo>
                    <a:pt x="1" y="52"/>
                    <a:pt x="0" y="50"/>
                    <a:pt x="0" y="48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48"/>
                    <a:pt x="8" y="48"/>
                    <a:pt x="8" y="48"/>
                  </a:cubicBezTo>
                  <a:cubicBezTo>
                    <a:pt x="8" y="50"/>
                    <a:pt x="6" y="52"/>
                    <a:pt x="4" y="5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89" name="Freeform 895">
              <a:extLst>
                <a:ext uri="{FF2B5EF4-FFF2-40B4-BE49-F238E27FC236}">
                  <a16:creationId xmlns:a16="http://schemas.microsoft.com/office/drawing/2014/main" id="{4A4718DB-9E36-9582-420E-C781AD5B04A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320713" y="3683000"/>
              <a:ext cx="41275" cy="41275"/>
            </a:xfrm>
            <a:custGeom>
              <a:avLst/>
              <a:gdLst>
                <a:gd name="T0" fmla="*/ 22 w 43"/>
                <a:gd name="T1" fmla="*/ 43 h 43"/>
                <a:gd name="T2" fmla="*/ 0 w 43"/>
                <a:gd name="T3" fmla="*/ 21 h 43"/>
                <a:gd name="T4" fmla="*/ 22 w 43"/>
                <a:gd name="T5" fmla="*/ 0 h 43"/>
                <a:gd name="T6" fmla="*/ 43 w 43"/>
                <a:gd name="T7" fmla="*/ 21 h 43"/>
                <a:gd name="T8" fmla="*/ 22 w 43"/>
                <a:gd name="T9" fmla="*/ 43 h 43"/>
                <a:gd name="T10" fmla="*/ 22 w 43"/>
                <a:gd name="T11" fmla="*/ 8 h 43"/>
                <a:gd name="T12" fmla="*/ 9 w 43"/>
                <a:gd name="T13" fmla="*/ 21 h 43"/>
                <a:gd name="T14" fmla="*/ 22 w 43"/>
                <a:gd name="T15" fmla="*/ 34 h 43"/>
                <a:gd name="T16" fmla="*/ 35 w 43"/>
                <a:gd name="T17" fmla="*/ 21 h 43"/>
                <a:gd name="T18" fmla="*/ 22 w 43"/>
                <a:gd name="T19" fmla="*/ 8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3" h="43">
                  <a:moveTo>
                    <a:pt x="22" y="43"/>
                  </a:moveTo>
                  <a:cubicBezTo>
                    <a:pt x="10" y="43"/>
                    <a:pt x="0" y="33"/>
                    <a:pt x="0" y="21"/>
                  </a:cubicBezTo>
                  <a:cubicBezTo>
                    <a:pt x="0" y="10"/>
                    <a:pt x="10" y="0"/>
                    <a:pt x="22" y="0"/>
                  </a:cubicBezTo>
                  <a:cubicBezTo>
                    <a:pt x="33" y="0"/>
                    <a:pt x="43" y="10"/>
                    <a:pt x="43" y="21"/>
                  </a:cubicBezTo>
                  <a:cubicBezTo>
                    <a:pt x="43" y="33"/>
                    <a:pt x="33" y="43"/>
                    <a:pt x="22" y="43"/>
                  </a:cubicBezTo>
                  <a:close/>
                  <a:moveTo>
                    <a:pt x="22" y="8"/>
                  </a:moveTo>
                  <a:cubicBezTo>
                    <a:pt x="14" y="8"/>
                    <a:pt x="9" y="14"/>
                    <a:pt x="9" y="21"/>
                  </a:cubicBezTo>
                  <a:cubicBezTo>
                    <a:pt x="9" y="29"/>
                    <a:pt x="14" y="34"/>
                    <a:pt x="22" y="34"/>
                  </a:cubicBezTo>
                  <a:cubicBezTo>
                    <a:pt x="29" y="34"/>
                    <a:pt x="35" y="29"/>
                    <a:pt x="35" y="21"/>
                  </a:cubicBezTo>
                  <a:cubicBezTo>
                    <a:pt x="35" y="14"/>
                    <a:pt x="29" y="8"/>
                    <a:pt x="22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90" name="Freeform 896">
              <a:extLst>
                <a:ext uri="{FF2B5EF4-FFF2-40B4-BE49-F238E27FC236}">
                  <a16:creationId xmlns:a16="http://schemas.microsoft.com/office/drawing/2014/main" id="{89CF89CA-5931-E25D-FF5A-F6099E2F0F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292138" y="3729038"/>
              <a:ext cx="98425" cy="79375"/>
            </a:xfrm>
            <a:custGeom>
              <a:avLst/>
              <a:gdLst>
                <a:gd name="T0" fmla="*/ 83 w 100"/>
                <a:gd name="T1" fmla="*/ 80 h 80"/>
                <a:gd name="T2" fmla="*/ 16 w 100"/>
                <a:gd name="T3" fmla="*/ 80 h 80"/>
                <a:gd name="T4" fmla="*/ 0 w 100"/>
                <a:gd name="T5" fmla="*/ 64 h 80"/>
                <a:gd name="T6" fmla="*/ 0 w 100"/>
                <a:gd name="T7" fmla="*/ 25 h 80"/>
                <a:gd name="T8" fmla="*/ 1 w 100"/>
                <a:gd name="T9" fmla="*/ 17 h 80"/>
                <a:gd name="T10" fmla="*/ 24 w 100"/>
                <a:gd name="T11" fmla="*/ 0 h 80"/>
                <a:gd name="T12" fmla="*/ 75 w 100"/>
                <a:gd name="T13" fmla="*/ 0 h 80"/>
                <a:gd name="T14" fmla="*/ 98 w 100"/>
                <a:gd name="T15" fmla="*/ 17 h 80"/>
                <a:gd name="T16" fmla="*/ 100 w 100"/>
                <a:gd name="T17" fmla="*/ 25 h 80"/>
                <a:gd name="T18" fmla="*/ 100 w 100"/>
                <a:gd name="T19" fmla="*/ 64 h 80"/>
                <a:gd name="T20" fmla="*/ 83 w 100"/>
                <a:gd name="T21" fmla="*/ 80 h 80"/>
                <a:gd name="T22" fmla="*/ 24 w 100"/>
                <a:gd name="T23" fmla="*/ 9 h 80"/>
                <a:gd name="T24" fmla="*/ 9 w 100"/>
                <a:gd name="T25" fmla="*/ 19 h 80"/>
                <a:gd name="T26" fmla="*/ 8 w 100"/>
                <a:gd name="T27" fmla="*/ 25 h 80"/>
                <a:gd name="T28" fmla="*/ 8 w 100"/>
                <a:gd name="T29" fmla="*/ 64 h 80"/>
                <a:gd name="T30" fmla="*/ 16 w 100"/>
                <a:gd name="T31" fmla="*/ 72 h 80"/>
                <a:gd name="T32" fmla="*/ 83 w 100"/>
                <a:gd name="T33" fmla="*/ 72 h 80"/>
                <a:gd name="T34" fmla="*/ 91 w 100"/>
                <a:gd name="T35" fmla="*/ 64 h 80"/>
                <a:gd name="T36" fmla="*/ 91 w 100"/>
                <a:gd name="T37" fmla="*/ 25 h 80"/>
                <a:gd name="T38" fmla="*/ 90 w 100"/>
                <a:gd name="T39" fmla="*/ 19 h 80"/>
                <a:gd name="T40" fmla="*/ 75 w 100"/>
                <a:gd name="T41" fmla="*/ 9 h 80"/>
                <a:gd name="T42" fmla="*/ 24 w 100"/>
                <a:gd name="T43" fmla="*/ 9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0" h="80">
                  <a:moveTo>
                    <a:pt x="83" y="80"/>
                  </a:moveTo>
                  <a:cubicBezTo>
                    <a:pt x="16" y="80"/>
                    <a:pt x="16" y="80"/>
                    <a:pt x="16" y="80"/>
                  </a:cubicBezTo>
                  <a:cubicBezTo>
                    <a:pt x="7" y="80"/>
                    <a:pt x="0" y="73"/>
                    <a:pt x="0" y="64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2"/>
                    <a:pt x="0" y="19"/>
                    <a:pt x="1" y="17"/>
                  </a:cubicBezTo>
                  <a:cubicBezTo>
                    <a:pt x="5" y="7"/>
                    <a:pt x="14" y="0"/>
                    <a:pt x="24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85" y="0"/>
                    <a:pt x="95" y="7"/>
                    <a:pt x="98" y="17"/>
                  </a:cubicBezTo>
                  <a:cubicBezTo>
                    <a:pt x="99" y="19"/>
                    <a:pt x="100" y="22"/>
                    <a:pt x="100" y="25"/>
                  </a:cubicBezTo>
                  <a:cubicBezTo>
                    <a:pt x="100" y="64"/>
                    <a:pt x="100" y="64"/>
                    <a:pt x="100" y="64"/>
                  </a:cubicBezTo>
                  <a:cubicBezTo>
                    <a:pt x="100" y="73"/>
                    <a:pt x="92" y="80"/>
                    <a:pt x="83" y="80"/>
                  </a:cubicBezTo>
                  <a:close/>
                  <a:moveTo>
                    <a:pt x="24" y="9"/>
                  </a:moveTo>
                  <a:cubicBezTo>
                    <a:pt x="17" y="9"/>
                    <a:pt x="11" y="13"/>
                    <a:pt x="9" y="19"/>
                  </a:cubicBezTo>
                  <a:cubicBezTo>
                    <a:pt x="8" y="21"/>
                    <a:pt x="8" y="23"/>
                    <a:pt x="8" y="25"/>
                  </a:cubicBezTo>
                  <a:cubicBezTo>
                    <a:pt x="8" y="64"/>
                    <a:pt x="8" y="64"/>
                    <a:pt x="8" y="64"/>
                  </a:cubicBezTo>
                  <a:cubicBezTo>
                    <a:pt x="8" y="69"/>
                    <a:pt x="12" y="72"/>
                    <a:pt x="16" y="72"/>
                  </a:cubicBezTo>
                  <a:cubicBezTo>
                    <a:pt x="83" y="72"/>
                    <a:pt x="83" y="72"/>
                    <a:pt x="83" y="72"/>
                  </a:cubicBezTo>
                  <a:cubicBezTo>
                    <a:pt x="88" y="72"/>
                    <a:pt x="91" y="69"/>
                    <a:pt x="91" y="64"/>
                  </a:cubicBezTo>
                  <a:cubicBezTo>
                    <a:pt x="91" y="25"/>
                    <a:pt x="91" y="25"/>
                    <a:pt x="91" y="25"/>
                  </a:cubicBezTo>
                  <a:cubicBezTo>
                    <a:pt x="91" y="23"/>
                    <a:pt x="91" y="21"/>
                    <a:pt x="90" y="19"/>
                  </a:cubicBezTo>
                  <a:cubicBezTo>
                    <a:pt x="88" y="13"/>
                    <a:pt x="82" y="9"/>
                    <a:pt x="75" y="9"/>
                  </a:cubicBezTo>
                  <a:lnTo>
                    <a:pt x="24" y="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91" name="Freeform 897">
              <a:extLst>
                <a:ext uri="{FF2B5EF4-FFF2-40B4-BE49-F238E27FC236}">
                  <a16:creationId xmlns:a16="http://schemas.microsoft.com/office/drawing/2014/main" id="{9765DAD1-2618-C33D-BE3E-363E92D7C7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312775" y="3760788"/>
              <a:ext cx="7938" cy="47625"/>
            </a:xfrm>
            <a:custGeom>
              <a:avLst/>
              <a:gdLst>
                <a:gd name="T0" fmla="*/ 4 w 8"/>
                <a:gd name="T1" fmla="*/ 48 h 48"/>
                <a:gd name="T2" fmla="*/ 0 w 8"/>
                <a:gd name="T3" fmla="*/ 43 h 48"/>
                <a:gd name="T4" fmla="*/ 0 w 8"/>
                <a:gd name="T5" fmla="*/ 4 h 48"/>
                <a:gd name="T6" fmla="*/ 4 w 8"/>
                <a:gd name="T7" fmla="*/ 0 h 48"/>
                <a:gd name="T8" fmla="*/ 8 w 8"/>
                <a:gd name="T9" fmla="*/ 4 h 48"/>
                <a:gd name="T10" fmla="*/ 8 w 8"/>
                <a:gd name="T11" fmla="*/ 43 h 48"/>
                <a:gd name="T12" fmla="*/ 4 w 8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48">
                  <a:moveTo>
                    <a:pt x="4" y="48"/>
                  </a:moveTo>
                  <a:cubicBezTo>
                    <a:pt x="2" y="48"/>
                    <a:pt x="0" y="46"/>
                    <a:pt x="0" y="4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6"/>
                    <a:pt x="6" y="48"/>
                    <a:pt x="4" y="4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92" name="Freeform 898">
              <a:extLst>
                <a:ext uri="{FF2B5EF4-FFF2-40B4-BE49-F238E27FC236}">
                  <a16:creationId xmlns:a16="http://schemas.microsoft.com/office/drawing/2014/main" id="{6A44262B-7686-7C22-B95B-52498C838CEB}"/>
                </a:ext>
              </a:extLst>
            </p:cNvPr>
            <p:cNvSpPr>
              <a:spLocks/>
            </p:cNvSpPr>
            <p:nvPr/>
          </p:nvSpPr>
          <p:spPr bwMode="auto">
            <a:xfrm>
              <a:off x="13361988" y="3760788"/>
              <a:ext cx="7938" cy="47625"/>
            </a:xfrm>
            <a:custGeom>
              <a:avLst/>
              <a:gdLst>
                <a:gd name="T0" fmla="*/ 4 w 8"/>
                <a:gd name="T1" fmla="*/ 48 h 48"/>
                <a:gd name="T2" fmla="*/ 0 w 8"/>
                <a:gd name="T3" fmla="*/ 43 h 48"/>
                <a:gd name="T4" fmla="*/ 0 w 8"/>
                <a:gd name="T5" fmla="*/ 4 h 48"/>
                <a:gd name="T6" fmla="*/ 4 w 8"/>
                <a:gd name="T7" fmla="*/ 0 h 48"/>
                <a:gd name="T8" fmla="*/ 8 w 8"/>
                <a:gd name="T9" fmla="*/ 4 h 48"/>
                <a:gd name="T10" fmla="*/ 8 w 8"/>
                <a:gd name="T11" fmla="*/ 43 h 48"/>
                <a:gd name="T12" fmla="*/ 4 w 8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48">
                  <a:moveTo>
                    <a:pt x="4" y="48"/>
                  </a:moveTo>
                  <a:cubicBezTo>
                    <a:pt x="2" y="48"/>
                    <a:pt x="0" y="46"/>
                    <a:pt x="0" y="4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6"/>
                    <a:pt x="6" y="48"/>
                    <a:pt x="4" y="4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93" name="Freeform 899">
              <a:extLst>
                <a:ext uri="{FF2B5EF4-FFF2-40B4-BE49-F238E27FC236}">
                  <a16:creationId xmlns:a16="http://schemas.microsoft.com/office/drawing/2014/main" id="{E4DDCBBB-0DAF-F5CF-669B-C2CB1C9DFE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514388" y="3683000"/>
              <a:ext cx="41275" cy="41275"/>
            </a:xfrm>
            <a:custGeom>
              <a:avLst/>
              <a:gdLst>
                <a:gd name="T0" fmla="*/ 21 w 42"/>
                <a:gd name="T1" fmla="*/ 43 h 43"/>
                <a:gd name="T2" fmla="*/ 0 w 42"/>
                <a:gd name="T3" fmla="*/ 21 h 43"/>
                <a:gd name="T4" fmla="*/ 21 w 42"/>
                <a:gd name="T5" fmla="*/ 0 h 43"/>
                <a:gd name="T6" fmla="*/ 42 w 42"/>
                <a:gd name="T7" fmla="*/ 21 h 43"/>
                <a:gd name="T8" fmla="*/ 21 w 42"/>
                <a:gd name="T9" fmla="*/ 43 h 43"/>
                <a:gd name="T10" fmla="*/ 21 w 42"/>
                <a:gd name="T11" fmla="*/ 8 h 43"/>
                <a:gd name="T12" fmla="*/ 8 w 42"/>
                <a:gd name="T13" fmla="*/ 21 h 43"/>
                <a:gd name="T14" fmla="*/ 21 w 42"/>
                <a:gd name="T15" fmla="*/ 34 h 43"/>
                <a:gd name="T16" fmla="*/ 34 w 42"/>
                <a:gd name="T17" fmla="*/ 21 h 43"/>
                <a:gd name="T18" fmla="*/ 21 w 42"/>
                <a:gd name="T19" fmla="*/ 8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3">
                  <a:moveTo>
                    <a:pt x="21" y="43"/>
                  </a:moveTo>
                  <a:cubicBezTo>
                    <a:pt x="9" y="43"/>
                    <a:pt x="0" y="33"/>
                    <a:pt x="0" y="21"/>
                  </a:cubicBezTo>
                  <a:cubicBezTo>
                    <a:pt x="0" y="10"/>
                    <a:pt x="9" y="0"/>
                    <a:pt x="21" y="0"/>
                  </a:cubicBezTo>
                  <a:cubicBezTo>
                    <a:pt x="33" y="0"/>
                    <a:pt x="42" y="10"/>
                    <a:pt x="42" y="21"/>
                  </a:cubicBezTo>
                  <a:cubicBezTo>
                    <a:pt x="42" y="33"/>
                    <a:pt x="33" y="43"/>
                    <a:pt x="21" y="43"/>
                  </a:cubicBezTo>
                  <a:close/>
                  <a:moveTo>
                    <a:pt x="21" y="8"/>
                  </a:moveTo>
                  <a:cubicBezTo>
                    <a:pt x="14" y="8"/>
                    <a:pt x="8" y="14"/>
                    <a:pt x="8" y="21"/>
                  </a:cubicBezTo>
                  <a:cubicBezTo>
                    <a:pt x="8" y="29"/>
                    <a:pt x="14" y="34"/>
                    <a:pt x="21" y="34"/>
                  </a:cubicBezTo>
                  <a:cubicBezTo>
                    <a:pt x="28" y="34"/>
                    <a:pt x="34" y="29"/>
                    <a:pt x="34" y="21"/>
                  </a:cubicBezTo>
                  <a:cubicBezTo>
                    <a:pt x="34" y="14"/>
                    <a:pt x="28" y="8"/>
                    <a:pt x="21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94" name="Freeform 900">
              <a:extLst>
                <a:ext uri="{FF2B5EF4-FFF2-40B4-BE49-F238E27FC236}">
                  <a16:creationId xmlns:a16="http://schemas.microsoft.com/office/drawing/2014/main" id="{7547B9DA-4D45-869B-B68F-C7C11932D78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85813" y="3729038"/>
              <a:ext cx="98425" cy="79375"/>
            </a:xfrm>
            <a:custGeom>
              <a:avLst/>
              <a:gdLst>
                <a:gd name="T0" fmla="*/ 83 w 100"/>
                <a:gd name="T1" fmla="*/ 80 h 80"/>
                <a:gd name="T2" fmla="*/ 17 w 100"/>
                <a:gd name="T3" fmla="*/ 80 h 80"/>
                <a:gd name="T4" fmla="*/ 0 w 100"/>
                <a:gd name="T5" fmla="*/ 64 h 80"/>
                <a:gd name="T6" fmla="*/ 0 w 100"/>
                <a:gd name="T7" fmla="*/ 26 h 80"/>
                <a:gd name="T8" fmla="*/ 4 w 100"/>
                <a:gd name="T9" fmla="*/ 21 h 80"/>
                <a:gd name="T10" fmla="*/ 8 w 100"/>
                <a:gd name="T11" fmla="*/ 26 h 80"/>
                <a:gd name="T12" fmla="*/ 8 w 100"/>
                <a:gd name="T13" fmla="*/ 64 h 80"/>
                <a:gd name="T14" fmla="*/ 17 w 100"/>
                <a:gd name="T15" fmla="*/ 72 h 80"/>
                <a:gd name="T16" fmla="*/ 83 w 100"/>
                <a:gd name="T17" fmla="*/ 72 h 80"/>
                <a:gd name="T18" fmla="*/ 92 w 100"/>
                <a:gd name="T19" fmla="*/ 64 h 80"/>
                <a:gd name="T20" fmla="*/ 92 w 100"/>
                <a:gd name="T21" fmla="*/ 25 h 80"/>
                <a:gd name="T22" fmla="*/ 91 w 100"/>
                <a:gd name="T23" fmla="*/ 19 h 80"/>
                <a:gd name="T24" fmla="*/ 75 w 100"/>
                <a:gd name="T25" fmla="*/ 9 h 80"/>
                <a:gd name="T26" fmla="*/ 24 w 100"/>
                <a:gd name="T27" fmla="*/ 9 h 80"/>
                <a:gd name="T28" fmla="*/ 18 w 100"/>
                <a:gd name="T29" fmla="*/ 10 h 80"/>
                <a:gd name="T30" fmla="*/ 13 w 100"/>
                <a:gd name="T31" fmla="*/ 8 h 80"/>
                <a:gd name="T32" fmla="*/ 15 w 100"/>
                <a:gd name="T33" fmla="*/ 2 h 80"/>
                <a:gd name="T34" fmla="*/ 24 w 100"/>
                <a:gd name="T35" fmla="*/ 0 h 80"/>
                <a:gd name="T36" fmla="*/ 75 w 100"/>
                <a:gd name="T37" fmla="*/ 0 h 80"/>
                <a:gd name="T38" fmla="*/ 98 w 100"/>
                <a:gd name="T39" fmla="*/ 17 h 80"/>
                <a:gd name="T40" fmla="*/ 100 w 100"/>
                <a:gd name="T41" fmla="*/ 25 h 80"/>
                <a:gd name="T42" fmla="*/ 100 w 100"/>
                <a:gd name="T43" fmla="*/ 64 h 80"/>
                <a:gd name="T44" fmla="*/ 83 w 100"/>
                <a:gd name="T45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0" h="80">
                  <a:moveTo>
                    <a:pt x="83" y="80"/>
                  </a:moveTo>
                  <a:cubicBezTo>
                    <a:pt x="17" y="80"/>
                    <a:pt x="17" y="80"/>
                    <a:pt x="17" y="80"/>
                  </a:cubicBezTo>
                  <a:cubicBezTo>
                    <a:pt x="7" y="80"/>
                    <a:pt x="0" y="73"/>
                    <a:pt x="0" y="64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3"/>
                    <a:pt x="2" y="21"/>
                    <a:pt x="4" y="21"/>
                  </a:cubicBezTo>
                  <a:cubicBezTo>
                    <a:pt x="6" y="21"/>
                    <a:pt x="8" y="23"/>
                    <a:pt x="8" y="26"/>
                  </a:cubicBezTo>
                  <a:cubicBezTo>
                    <a:pt x="8" y="64"/>
                    <a:pt x="8" y="64"/>
                    <a:pt x="8" y="64"/>
                  </a:cubicBezTo>
                  <a:cubicBezTo>
                    <a:pt x="8" y="69"/>
                    <a:pt x="12" y="72"/>
                    <a:pt x="17" y="72"/>
                  </a:cubicBezTo>
                  <a:cubicBezTo>
                    <a:pt x="83" y="72"/>
                    <a:pt x="83" y="72"/>
                    <a:pt x="83" y="72"/>
                  </a:cubicBezTo>
                  <a:cubicBezTo>
                    <a:pt x="88" y="72"/>
                    <a:pt x="92" y="69"/>
                    <a:pt x="92" y="64"/>
                  </a:cubicBezTo>
                  <a:cubicBezTo>
                    <a:pt x="92" y="25"/>
                    <a:pt x="92" y="25"/>
                    <a:pt x="92" y="25"/>
                  </a:cubicBezTo>
                  <a:cubicBezTo>
                    <a:pt x="92" y="23"/>
                    <a:pt x="91" y="21"/>
                    <a:pt x="91" y="19"/>
                  </a:cubicBezTo>
                  <a:cubicBezTo>
                    <a:pt x="88" y="13"/>
                    <a:pt x="82" y="9"/>
                    <a:pt x="75" y="9"/>
                  </a:cubicBezTo>
                  <a:cubicBezTo>
                    <a:pt x="24" y="9"/>
                    <a:pt x="24" y="9"/>
                    <a:pt x="24" y="9"/>
                  </a:cubicBezTo>
                  <a:cubicBezTo>
                    <a:pt x="22" y="9"/>
                    <a:pt x="20" y="9"/>
                    <a:pt x="18" y="10"/>
                  </a:cubicBezTo>
                  <a:cubicBezTo>
                    <a:pt x="16" y="11"/>
                    <a:pt x="14" y="10"/>
                    <a:pt x="13" y="8"/>
                  </a:cubicBezTo>
                  <a:cubicBezTo>
                    <a:pt x="12" y="6"/>
                    <a:pt x="13" y="3"/>
                    <a:pt x="15" y="2"/>
                  </a:cubicBezTo>
                  <a:cubicBezTo>
                    <a:pt x="18" y="1"/>
                    <a:pt x="21" y="0"/>
                    <a:pt x="24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86" y="0"/>
                    <a:pt x="95" y="7"/>
                    <a:pt x="98" y="17"/>
                  </a:cubicBezTo>
                  <a:cubicBezTo>
                    <a:pt x="99" y="19"/>
                    <a:pt x="100" y="22"/>
                    <a:pt x="100" y="25"/>
                  </a:cubicBezTo>
                  <a:cubicBezTo>
                    <a:pt x="100" y="64"/>
                    <a:pt x="100" y="64"/>
                    <a:pt x="100" y="64"/>
                  </a:cubicBezTo>
                  <a:cubicBezTo>
                    <a:pt x="100" y="73"/>
                    <a:pt x="92" y="80"/>
                    <a:pt x="83" y="8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95" name="Freeform 901">
              <a:extLst>
                <a:ext uri="{FF2B5EF4-FFF2-40B4-BE49-F238E27FC236}">
                  <a16:creationId xmlns:a16="http://schemas.microsoft.com/office/drawing/2014/main" id="{F2AFF268-3B6A-4519-F1A9-D2D2AC1E3A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4863" y="3768725"/>
              <a:ext cx="9525" cy="39688"/>
            </a:xfrm>
            <a:custGeom>
              <a:avLst/>
              <a:gdLst>
                <a:gd name="T0" fmla="*/ 4 w 9"/>
                <a:gd name="T1" fmla="*/ 41 h 41"/>
                <a:gd name="T2" fmla="*/ 0 w 9"/>
                <a:gd name="T3" fmla="*/ 36 h 41"/>
                <a:gd name="T4" fmla="*/ 0 w 9"/>
                <a:gd name="T5" fmla="*/ 5 h 41"/>
                <a:gd name="T6" fmla="*/ 4 w 9"/>
                <a:gd name="T7" fmla="*/ 0 h 41"/>
                <a:gd name="T8" fmla="*/ 9 w 9"/>
                <a:gd name="T9" fmla="*/ 5 h 41"/>
                <a:gd name="T10" fmla="*/ 9 w 9"/>
                <a:gd name="T11" fmla="*/ 36 h 41"/>
                <a:gd name="T12" fmla="*/ 4 w 9"/>
                <a:gd name="T13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41">
                  <a:moveTo>
                    <a:pt x="4" y="41"/>
                  </a:moveTo>
                  <a:cubicBezTo>
                    <a:pt x="2" y="41"/>
                    <a:pt x="0" y="39"/>
                    <a:pt x="0" y="36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9"/>
                    <a:pt x="7" y="41"/>
                    <a:pt x="4" y="4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96" name="Freeform 902">
              <a:extLst>
                <a:ext uri="{FF2B5EF4-FFF2-40B4-BE49-F238E27FC236}">
                  <a16:creationId xmlns:a16="http://schemas.microsoft.com/office/drawing/2014/main" id="{C135AFC5-5291-3211-5600-35D43EF419F3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55663" y="3760788"/>
              <a:ext cx="7938" cy="47625"/>
            </a:xfrm>
            <a:custGeom>
              <a:avLst/>
              <a:gdLst>
                <a:gd name="T0" fmla="*/ 4 w 9"/>
                <a:gd name="T1" fmla="*/ 48 h 48"/>
                <a:gd name="T2" fmla="*/ 0 w 9"/>
                <a:gd name="T3" fmla="*/ 43 h 48"/>
                <a:gd name="T4" fmla="*/ 0 w 9"/>
                <a:gd name="T5" fmla="*/ 4 h 48"/>
                <a:gd name="T6" fmla="*/ 4 w 9"/>
                <a:gd name="T7" fmla="*/ 0 h 48"/>
                <a:gd name="T8" fmla="*/ 9 w 9"/>
                <a:gd name="T9" fmla="*/ 4 h 48"/>
                <a:gd name="T10" fmla="*/ 9 w 9"/>
                <a:gd name="T11" fmla="*/ 43 h 48"/>
                <a:gd name="T12" fmla="*/ 4 w 9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48">
                  <a:moveTo>
                    <a:pt x="4" y="48"/>
                  </a:moveTo>
                  <a:cubicBezTo>
                    <a:pt x="2" y="48"/>
                    <a:pt x="0" y="46"/>
                    <a:pt x="0" y="4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43"/>
                    <a:pt x="9" y="43"/>
                    <a:pt x="9" y="43"/>
                  </a:cubicBezTo>
                  <a:cubicBezTo>
                    <a:pt x="9" y="46"/>
                    <a:pt x="7" y="48"/>
                    <a:pt x="4" y="4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97" name="Freeform 903">
              <a:extLst>
                <a:ext uri="{FF2B5EF4-FFF2-40B4-BE49-F238E27FC236}">
                  <a16:creationId xmlns:a16="http://schemas.microsoft.com/office/drawing/2014/main" id="{5ACD5BEA-A3EF-5714-4B6D-153CB015E3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369925" y="3619500"/>
              <a:ext cx="136525" cy="136525"/>
            </a:xfrm>
            <a:custGeom>
              <a:avLst/>
              <a:gdLst>
                <a:gd name="T0" fmla="*/ 70 w 139"/>
                <a:gd name="T1" fmla="*/ 139 h 139"/>
                <a:gd name="T2" fmla="*/ 0 w 139"/>
                <a:gd name="T3" fmla="*/ 70 h 139"/>
                <a:gd name="T4" fmla="*/ 70 w 139"/>
                <a:gd name="T5" fmla="*/ 0 h 139"/>
                <a:gd name="T6" fmla="*/ 139 w 139"/>
                <a:gd name="T7" fmla="*/ 70 h 139"/>
                <a:gd name="T8" fmla="*/ 70 w 139"/>
                <a:gd name="T9" fmla="*/ 139 h 139"/>
                <a:gd name="T10" fmla="*/ 70 w 139"/>
                <a:gd name="T11" fmla="*/ 8 h 139"/>
                <a:gd name="T12" fmla="*/ 8 w 139"/>
                <a:gd name="T13" fmla="*/ 70 h 139"/>
                <a:gd name="T14" fmla="*/ 70 w 139"/>
                <a:gd name="T15" fmla="*/ 131 h 139"/>
                <a:gd name="T16" fmla="*/ 131 w 139"/>
                <a:gd name="T17" fmla="*/ 70 h 139"/>
                <a:gd name="T18" fmla="*/ 70 w 139"/>
                <a:gd name="T19" fmla="*/ 8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9" h="139">
                  <a:moveTo>
                    <a:pt x="70" y="139"/>
                  </a:moveTo>
                  <a:cubicBezTo>
                    <a:pt x="31" y="139"/>
                    <a:pt x="0" y="108"/>
                    <a:pt x="0" y="70"/>
                  </a:cubicBezTo>
                  <a:cubicBezTo>
                    <a:pt x="0" y="31"/>
                    <a:pt x="31" y="0"/>
                    <a:pt x="70" y="0"/>
                  </a:cubicBezTo>
                  <a:cubicBezTo>
                    <a:pt x="108" y="0"/>
                    <a:pt x="139" y="31"/>
                    <a:pt x="139" y="70"/>
                  </a:cubicBezTo>
                  <a:cubicBezTo>
                    <a:pt x="139" y="108"/>
                    <a:pt x="108" y="139"/>
                    <a:pt x="70" y="139"/>
                  </a:cubicBezTo>
                  <a:close/>
                  <a:moveTo>
                    <a:pt x="70" y="8"/>
                  </a:moveTo>
                  <a:cubicBezTo>
                    <a:pt x="36" y="8"/>
                    <a:pt x="8" y="36"/>
                    <a:pt x="8" y="70"/>
                  </a:cubicBezTo>
                  <a:cubicBezTo>
                    <a:pt x="8" y="104"/>
                    <a:pt x="36" y="131"/>
                    <a:pt x="70" y="131"/>
                  </a:cubicBezTo>
                  <a:cubicBezTo>
                    <a:pt x="104" y="131"/>
                    <a:pt x="131" y="104"/>
                    <a:pt x="131" y="70"/>
                  </a:cubicBezTo>
                  <a:cubicBezTo>
                    <a:pt x="131" y="36"/>
                    <a:pt x="104" y="8"/>
                    <a:pt x="7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98" name="Freeform 904">
              <a:extLst>
                <a:ext uri="{FF2B5EF4-FFF2-40B4-BE49-F238E27FC236}">
                  <a16:creationId xmlns:a16="http://schemas.microsoft.com/office/drawing/2014/main" id="{2C9979D2-EA95-57AF-9A20-A66103FDF49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471525" y="3721100"/>
              <a:ext cx="74613" cy="73025"/>
            </a:xfrm>
            <a:custGeom>
              <a:avLst/>
              <a:gdLst>
                <a:gd name="T0" fmla="*/ 60 w 75"/>
                <a:gd name="T1" fmla="*/ 74 h 74"/>
                <a:gd name="T2" fmla="*/ 50 w 75"/>
                <a:gd name="T3" fmla="*/ 70 h 74"/>
                <a:gd name="T4" fmla="*/ 2 w 75"/>
                <a:gd name="T5" fmla="*/ 21 h 74"/>
                <a:gd name="T6" fmla="*/ 0 w 75"/>
                <a:gd name="T7" fmla="*/ 18 h 74"/>
                <a:gd name="T8" fmla="*/ 2 w 75"/>
                <a:gd name="T9" fmla="*/ 15 h 74"/>
                <a:gd name="T10" fmla="*/ 15 w 75"/>
                <a:gd name="T11" fmla="*/ 3 h 74"/>
                <a:gd name="T12" fmla="*/ 15 w 75"/>
                <a:gd name="T13" fmla="*/ 2 h 74"/>
                <a:gd name="T14" fmla="*/ 18 w 75"/>
                <a:gd name="T15" fmla="*/ 0 h 74"/>
                <a:gd name="T16" fmla="*/ 21 w 75"/>
                <a:gd name="T17" fmla="*/ 2 h 74"/>
                <a:gd name="T18" fmla="*/ 69 w 75"/>
                <a:gd name="T19" fmla="*/ 50 h 74"/>
                <a:gd name="T20" fmla="*/ 69 w 75"/>
                <a:gd name="T21" fmla="*/ 70 h 74"/>
                <a:gd name="T22" fmla="*/ 60 w 75"/>
                <a:gd name="T23" fmla="*/ 74 h 74"/>
                <a:gd name="T24" fmla="*/ 11 w 75"/>
                <a:gd name="T25" fmla="*/ 19 h 74"/>
                <a:gd name="T26" fmla="*/ 55 w 75"/>
                <a:gd name="T27" fmla="*/ 64 h 74"/>
                <a:gd name="T28" fmla="*/ 55 w 75"/>
                <a:gd name="T29" fmla="*/ 64 h 74"/>
                <a:gd name="T30" fmla="*/ 64 w 75"/>
                <a:gd name="T31" fmla="*/ 64 h 74"/>
                <a:gd name="T32" fmla="*/ 64 w 75"/>
                <a:gd name="T33" fmla="*/ 56 h 74"/>
                <a:gd name="T34" fmla="*/ 19 w 75"/>
                <a:gd name="T35" fmla="*/ 11 h 74"/>
                <a:gd name="T36" fmla="*/ 11 w 75"/>
                <a:gd name="T37" fmla="*/ 19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5" h="74">
                  <a:moveTo>
                    <a:pt x="60" y="74"/>
                  </a:moveTo>
                  <a:cubicBezTo>
                    <a:pt x="56" y="74"/>
                    <a:pt x="52" y="72"/>
                    <a:pt x="50" y="70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1" y="21"/>
                    <a:pt x="0" y="19"/>
                    <a:pt x="0" y="18"/>
                  </a:cubicBezTo>
                  <a:cubicBezTo>
                    <a:pt x="0" y="17"/>
                    <a:pt x="1" y="16"/>
                    <a:pt x="2" y="15"/>
                  </a:cubicBezTo>
                  <a:cubicBezTo>
                    <a:pt x="7" y="12"/>
                    <a:pt x="11" y="8"/>
                    <a:pt x="15" y="3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6" y="1"/>
                    <a:pt x="17" y="1"/>
                    <a:pt x="18" y="0"/>
                  </a:cubicBezTo>
                  <a:cubicBezTo>
                    <a:pt x="19" y="0"/>
                    <a:pt x="20" y="1"/>
                    <a:pt x="21" y="2"/>
                  </a:cubicBezTo>
                  <a:cubicBezTo>
                    <a:pt x="69" y="50"/>
                    <a:pt x="69" y="50"/>
                    <a:pt x="69" y="50"/>
                  </a:cubicBezTo>
                  <a:cubicBezTo>
                    <a:pt x="75" y="55"/>
                    <a:pt x="75" y="64"/>
                    <a:pt x="69" y="70"/>
                  </a:cubicBezTo>
                  <a:cubicBezTo>
                    <a:pt x="67" y="72"/>
                    <a:pt x="63" y="74"/>
                    <a:pt x="60" y="74"/>
                  </a:cubicBezTo>
                  <a:close/>
                  <a:moveTo>
                    <a:pt x="11" y="19"/>
                  </a:moveTo>
                  <a:cubicBezTo>
                    <a:pt x="55" y="64"/>
                    <a:pt x="55" y="64"/>
                    <a:pt x="55" y="64"/>
                  </a:cubicBezTo>
                  <a:cubicBezTo>
                    <a:pt x="55" y="64"/>
                    <a:pt x="55" y="64"/>
                    <a:pt x="55" y="64"/>
                  </a:cubicBezTo>
                  <a:cubicBezTo>
                    <a:pt x="58" y="66"/>
                    <a:pt x="61" y="66"/>
                    <a:pt x="64" y="64"/>
                  </a:cubicBezTo>
                  <a:cubicBezTo>
                    <a:pt x="66" y="62"/>
                    <a:pt x="66" y="58"/>
                    <a:pt x="64" y="56"/>
                  </a:cubicBezTo>
                  <a:cubicBezTo>
                    <a:pt x="19" y="11"/>
                    <a:pt x="19" y="11"/>
                    <a:pt x="19" y="11"/>
                  </a:cubicBezTo>
                  <a:cubicBezTo>
                    <a:pt x="16" y="14"/>
                    <a:pt x="14" y="17"/>
                    <a:pt x="11" y="1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699" name="Shape0_20200717_142313">
            <a:extLst>
              <a:ext uri="{FF2B5EF4-FFF2-40B4-BE49-F238E27FC236}">
                <a16:creationId xmlns:a16="http://schemas.microsoft.com/office/drawing/2014/main" id="{52970AE4-1085-625D-C825-3BF0FA1FE54E}"/>
              </a:ext>
            </a:extLst>
          </p:cNvPr>
          <p:cNvGrpSpPr>
            <a:grpSpLocks noChangeAspect="1"/>
          </p:cNvGrpSpPr>
          <p:nvPr/>
        </p:nvGrpSpPr>
        <p:grpSpPr>
          <a:xfrm>
            <a:off x="11100509" y="2571800"/>
            <a:ext cx="435432" cy="514604"/>
            <a:chOff x="14916150" y="3600450"/>
            <a:chExt cx="192088" cy="227013"/>
          </a:xfrm>
          <a:solidFill>
            <a:schemeClr val="accent1"/>
          </a:solidFill>
        </p:grpSpPr>
        <p:sp>
          <p:nvSpPr>
            <p:cNvPr id="700" name="Freeform 905">
              <a:extLst>
                <a:ext uri="{FF2B5EF4-FFF2-40B4-BE49-F238E27FC236}">
                  <a16:creationId xmlns:a16="http://schemas.microsoft.com/office/drawing/2014/main" id="{4196AB2C-89EA-D657-B364-517EDC472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16150" y="3600450"/>
              <a:ext cx="173038" cy="227013"/>
            </a:xfrm>
            <a:custGeom>
              <a:avLst/>
              <a:gdLst>
                <a:gd name="T0" fmla="*/ 164 w 178"/>
                <a:gd name="T1" fmla="*/ 231 h 231"/>
                <a:gd name="T2" fmla="*/ 15 w 178"/>
                <a:gd name="T3" fmla="*/ 231 h 231"/>
                <a:gd name="T4" fmla="*/ 0 w 178"/>
                <a:gd name="T5" fmla="*/ 216 h 231"/>
                <a:gd name="T6" fmla="*/ 0 w 178"/>
                <a:gd name="T7" fmla="*/ 15 h 231"/>
                <a:gd name="T8" fmla="*/ 15 w 178"/>
                <a:gd name="T9" fmla="*/ 0 h 231"/>
                <a:gd name="T10" fmla="*/ 164 w 178"/>
                <a:gd name="T11" fmla="*/ 0 h 231"/>
                <a:gd name="T12" fmla="*/ 178 w 178"/>
                <a:gd name="T13" fmla="*/ 15 h 231"/>
                <a:gd name="T14" fmla="*/ 178 w 178"/>
                <a:gd name="T15" fmla="*/ 184 h 231"/>
                <a:gd name="T16" fmla="*/ 174 w 178"/>
                <a:gd name="T17" fmla="*/ 188 h 231"/>
                <a:gd name="T18" fmla="*/ 170 w 178"/>
                <a:gd name="T19" fmla="*/ 184 h 231"/>
                <a:gd name="T20" fmla="*/ 170 w 178"/>
                <a:gd name="T21" fmla="*/ 15 h 231"/>
                <a:gd name="T22" fmla="*/ 164 w 178"/>
                <a:gd name="T23" fmla="*/ 9 h 231"/>
                <a:gd name="T24" fmla="*/ 15 w 178"/>
                <a:gd name="T25" fmla="*/ 9 h 231"/>
                <a:gd name="T26" fmla="*/ 8 w 178"/>
                <a:gd name="T27" fmla="*/ 15 h 231"/>
                <a:gd name="T28" fmla="*/ 8 w 178"/>
                <a:gd name="T29" fmla="*/ 216 h 231"/>
                <a:gd name="T30" fmla="*/ 15 w 178"/>
                <a:gd name="T31" fmla="*/ 223 h 231"/>
                <a:gd name="T32" fmla="*/ 164 w 178"/>
                <a:gd name="T33" fmla="*/ 223 h 231"/>
                <a:gd name="T34" fmla="*/ 170 w 178"/>
                <a:gd name="T35" fmla="*/ 216 h 231"/>
                <a:gd name="T36" fmla="*/ 174 w 178"/>
                <a:gd name="T37" fmla="*/ 212 h 231"/>
                <a:gd name="T38" fmla="*/ 178 w 178"/>
                <a:gd name="T39" fmla="*/ 216 h 231"/>
                <a:gd name="T40" fmla="*/ 164 w 178"/>
                <a:gd name="T41" fmla="*/ 231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8" h="231">
                  <a:moveTo>
                    <a:pt x="164" y="231"/>
                  </a:moveTo>
                  <a:cubicBezTo>
                    <a:pt x="15" y="231"/>
                    <a:pt x="15" y="231"/>
                    <a:pt x="15" y="231"/>
                  </a:cubicBezTo>
                  <a:cubicBezTo>
                    <a:pt x="7" y="231"/>
                    <a:pt x="0" y="225"/>
                    <a:pt x="0" y="216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172" y="0"/>
                    <a:pt x="178" y="7"/>
                    <a:pt x="178" y="15"/>
                  </a:cubicBezTo>
                  <a:cubicBezTo>
                    <a:pt x="178" y="184"/>
                    <a:pt x="178" y="184"/>
                    <a:pt x="178" y="184"/>
                  </a:cubicBezTo>
                  <a:cubicBezTo>
                    <a:pt x="178" y="187"/>
                    <a:pt x="177" y="188"/>
                    <a:pt x="174" y="188"/>
                  </a:cubicBezTo>
                  <a:cubicBezTo>
                    <a:pt x="172" y="188"/>
                    <a:pt x="170" y="187"/>
                    <a:pt x="170" y="184"/>
                  </a:cubicBezTo>
                  <a:cubicBezTo>
                    <a:pt x="170" y="15"/>
                    <a:pt x="170" y="15"/>
                    <a:pt x="170" y="15"/>
                  </a:cubicBezTo>
                  <a:cubicBezTo>
                    <a:pt x="170" y="12"/>
                    <a:pt x="167" y="9"/>
                    <a:pt x="164" y="9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1" y="9"/>
                    <a:pt x="8" y="12"/>
                    <a:pt x="8" y="15"/>
                  </a:cubicBezTo>
                  <a:cubicBezTo>
                    <a:pt x="8" y="216"/>
                    <a:pt x="8" y="216"/>
                    <a:pt x="8" y="216"/>
                  </a:cubicBezTo>
                  <a:cubicBezTo>
                    <a:pt x="8" y="220"/>
                    <a:pt x="11" y="223"/>
                    <a:pt x="15" y="223"/>
                  </a:cubicBezTo>
                  <a:cubicBezTo>
                    <a:pt x="164" y="223"/>
                    <a:pt x="164" y="223"/>
                    <a:pt x="164" y="223"/>
                  </a:cubicBezTo>
                  <a:cubicBezTo>
                    <a:pt x="167" y="223"/>
                    <a:pt x="170" y="220"/>
                    <a:pt x="170" y="216"/>
                  </a:cubicBezTo>
                  <a:cubicBezTo>
                    <a:pt x="170" y="214"/>
                    <a:pt x="172" y="212"/>
                    <a:pt x="174" y="212"/>
                  </a:cubicBezTo>
                  <a:cubicBezTo>
                    <a:pt x="177" y="212"/>
                    <a:pt x="178" y="214"/>
                    <a:pt x="178" y="216"/>
                  </a:cubicBezTo>
                  <a:cubicBezTo>
                    <a:pt x="178" y="225"/>
                    <a:pt x="172" y="231"/>
                    <a:pt x="164" y="23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01" name="Freeform 906">
              <a:extLst>
                <a:ext uri="{FF2B5EF4-FFF2-40B4-BE49-F238E27FC236}">
                  <a16:creationId xmlns:a16="http://schemas.microsoft.com/office/drawing/2014/main" id="{14B3244C-8E76-178B-CF9A-5230B61976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941550" y="3600450"/>
              <a:ext cx="123825" cy="26988"/>
            </a:xfrm>
            <a:custGeom>
              <a:avLst/>
              <a:gdLst>
                <a:gd name="T0" fmla="*/ 123 w 127"/>
                <a:gd name="T1" fmla="*/ 27 h 27"/>
                <a:gd name="T2" fmla="*/ 4 w 127"/>
                <a:gd name="T3" fmla="*/ 27 h 27"/>
                <a:gd name="T4" fmla="*/ 0 w 127"/>
                <a:gd name="T5" fmla="*/ 23 h 27"/>
                <a:gd name="T6" fmla="*/ 0 w 127"/>
                <a:gd name="T7" fmla="*/ 5 h 27"/>
                <a:gd name="T8" fmla="*/ 4 w 127"/>
                <a:gd name="T9" fmla="*/ 0 h 27"/>
                <a:gd name="T10" fmla="*/ 123 w 127"/>
                <a:gd name="T11" fmla="*/ 0 h 27"/>
                <a:gd name="T12" fmla="*/ 127 w 127"/>
                <a:gd name="T13" fmla="*/ 5 h 27"/>
                <a:gd name="T14" fmla="*/ 127 w 127"/>
                <a:gd name="T15" fmla="*/ 23 h 27"/>
                <a:gd name="T16" fmla="*/ 123 w 127"/>
                <a:gd name="T17" fmla="*/ 27 h 27"/>
                <a:gd name="T18" fmla="*/ 8 w 127"/>
                <a:gd name="T19" fmla="*/ 19 h 27"/>
                <a:gd name="T20" fmla="*/ 119 w 127"/>
                <a:gd name="T21" fmla="*/ 19 h 27"/>
                <a:gd name="T22" fmla="*/ 119 w 127"/>
                <a:gd name="T23" fmla="*/ 9 h 27"/>
                <a:gd name="T24" fmla="*/ 8 w 127"/>
                <a:gd name="T25" fmla="*/ 9 h 27"/>
                <a:gd name="T26" fmla="*/ 8 w 127"/>
                <a:gd name="T27" fmla="*/ 19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7" h="27">
                  <a:moveTo>
                    <a:pt x="123" y="27"/>
                  </a:moveTo>
                  <a:cubicBezTo>
                    <a:pt x="4" y="27"/>
                    <a:pt x="4" y="27"/>
                    <a:pt x="4" y="27"/>
                  </a:cubicBezTo>
                  <a:cubicBezTo>
                    <a:pt x="1" y="27"/>
                    <a:pt x="0" y="25"/>
                    <a:pt x="0" y="23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1" y="0"/>
                    <a:pt x="4" y="0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125" y="0"/>
                    <a:pt x="127" y="2"/>
                    <a:pt x="127" y="5"/>
                  </a:cubicBezTo>
                  <a:cubicBezTo>
                    <a:pt x="127" y="23"/>
                    <a:pt x="127" y="23"/>
                    <a:pt x="127" y="23"/>
                  </a:cubicBezTo>
                  <a:cubicBezTo>
                    <a:pt x="127" y="25"/>
                    <a:pt x="125" y="27"/>
                    <a:pt x="123" y="27"/>
                  </a:cubicBezTo>
                  <a:close/>
                  <a:moveTo>
                    <a:pt x="8" y="19"/>
                  </a:moveTo>
                  <a:cubicBezTo>
                    <a:pt x="119" y="19"/>
                    <a:pt x="119" y="19"/>
                    <a:pt x="119" y="19"/>
                  </a:cubicBezTo>
                  <a:cubicBezTo>
                    <a:pt x="119" y="9"/>
                    <a:pt x="119" y="9"/>
                    <a:pt x="119" y="9"/>
                  </a:cubicBezTo>
                  <a:cubicBezTo>
                    <a:pt x="8" y="9"/>
                    <a:pt x="8" y="9"/>
                    <a:pt x="8" y="9"/>
                  </a:cubicBezTo>
                  <a:lnTo>
                    <a:pt x="8" y="1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02" name="Freeform 907">
              <a:extLst>
                <a:ext uri="{FF2B5EF4-FFF2-40B4-BE49-F238E27FC236}">
                  <a16:creationId xmlns:a16="http://schemas.microsoft.com/office/drawing/2014/main" id="{F47229E3-5EBC-2F80-7679-23A93564F6F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979650" y="3675063"/>
              <a:ext cx="46038" cy="47625"/>
            </a:xfrm>
            <a:custGeom>
              <a:avLst/>
              <a:gdLst>
                <a:gd name="T0" fmla="*/ 23 w 46"/>
                <a:gd name="T1" fmla="*/ 47 h 47"/>
                <a:gd name="T2" fmla="*/ 0 w 46"/>
                <a:gd name="T3" fmla="*/ 23 h 47"/>
                <a:gd name="T4" fmla="*/ 23 w 46"/>
                <a:gd name="T5" fmla="*/ 0 h 47"/>
                <a:gd name="T6" fmla="*/ 46 w 46"/>
                <a:gd name="T7" fmla="*/ 23 h 47"/>
                <a:gd name="T8" fmla="*/ 23 w 46"/>
                <a:gd name="T9" fmla="*/ 47 h 47"/>
                <a:gd name="T10" fmla="*/ 23 w 46"/>
                <a:gd name="T11" fmla="*/ 8 h 47"/>
                <a:gd name="T12" fmla="*/ 8 w 46"/>
                <a:gd name="T13" fmla="*/ 23 h 47"/>
                <a:gd name="T14" fmla="*/ 23 w 46"/>
                <a:gd name="T15" fmla="*/ 38 h 47"/>
                <a:gd name="T16" fmla="*/ 38 w 46"/>
                <a:gd name="T17" fmla="*/ 23 h 47"/>
                <a:gd name="T18" fmla="*/ 23 w 46"/>
                <a:gd name="T19" fmla="*/ 8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6" h="47">
                  <a:moveTo>
                    <a:pt x="23" y="47"/>
                  </a:moveTo>
                  <a:cubicBezTo>
                    <a:pt x="10" y="47"/>
                    <a:pt x="0" y="36"/>
                    <a:pt x="0" y="23"/>
                  </a:cubicBezTo>
                  <a:cubicBezTo>
                    <a:pt x="0" y="11"/>
                    <a:pt x="10" y="0"/>
                    <a:pt x="23" y="0"/>
                  </a:cubicBezTo>
                  <a:cubicBezTo>
                    <a:pt x="35" y="0"/>
                    <a:pt x="46" y="11"/>
                    <a:pt x="46" y="23"/>
                  </a:cubicBezTo>
                  <a:cubicBezTo>
                    <a:pt x="46" y="36"/>
                    <a:pt x="35" y="47"/>
                    <a:pt x="23" y="47"/>
                  </a:cubicBezTo>
                  <a:close/>
                  <a:moveTo>
                    <a:pt x="23" y="8"/>
                  </a:moveTo>
                  <a:cubicBezTo>
                    <a:pt x="15" y="8"/>
                    <a:pt x="8" y="15"/>
                    <a:pt x="8" y="23"/>
                  </a:cubicBezTo>
                  <a:cubicBezTo>
                    <a:pt x="8" y="32"/>
                    <a:pt x="15" y="38"/>
                    <a:pt x="23" y="38"/>
                  </a:cubicBezTo>
                  <a:cubicBezTo>
                    <a:pt x="31" y="38"/>
                    <a:pt x="38" y="32"/>
                    <a:pt x="38" y="23"/>
                  </a:cubicBezTo>
                  <a:cubicBezTo>
                    <a:pt x="38" y="15"/>
                    <a:pt x="31" y="8"/>
                    <a:pt x="23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03" name="Freeform 908">
              <a:extLst>
                <a:ext uri="{FF2B5EF4-FFF2-40B4-BE49-F238E27FC236}">
                  <a16:creationId xmlns:a16="http://schemas.microsoft.com/office/drawing/2014/main" id="{57BD5EBE-6DA2-9408-A728-ACA08FAA3A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959013" y="3729038"/>
              <a:ext cx="87313" cy="14288"/>
            </a:xfrm>
            <a:custGeom>
              <a:avLst/>
              <a:gdLst>
                <a:gd name="T0" fmla="*/ 83 w 88"/>
                <a:gd name="T1" fmla="*/ 15 h 15"/>
                <a:gd name="T2" fmla="*/ 79 w 88"/>
                <a:gd name="T3" fmla="*/ 11 h 15"/>
                <a:gd name="T4" fmla="*/ 72 w 88"/>
                <a:gd name="T5" fmla="*/ 8 h 15"/>
                <a:gd name="T6" fmla="*/ 15 w 88"/>
                <a:gd name="T7" fmla="*/ 8 h 15"/>
                <a:gd name="T8" fmla="*/ 8 w 88"/>
                <a:gd name="T9" fmla="*/ 11 h 15"/>
                <a:gd name="T10" fmla="*/ 4 w 88"/>
                <a:gd name="T11" fmla="*/ 15 h 15"/>
                <a:gd name="T12" fmla="*/ 0 w 88"/>
                <a:gd name="T13" fmla="*/ 11 h 15"/>
                <a:gd name="T14" fmla="*/ 15 w 88"/>
                <a:gd name="T15" fmla="*/ 0 h 15"/>
                <a:gd name="T16" fmla="*/ 72 w 88"/>
                <a:gd name="T17" fmla="*/ 0 h 15"/>
                <a:gd name="T18" fmla="*/ 88 w 88"/>
                <a:gd name="T19" fmla="*/ 11 h 15"/>
                <a:gd name="T20" fmla="*/ 83 w 88"/>
                <a:gd name="T21" fmla="*/ 15 h 15"/>
                <a:gd name="T22" fmla="*/ 79 w 88"/>
                <a:gd name="T23" fmla="*/ 11 h 15"/>
                <a:gd name="T24" fmla="*/ 79 w 88"/>
                <a:gd name="T25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15">
                  <a:moveTo>
                    <a:pt x="83" y="15"/>
                  </a:moveTo>
                  <a:cubicBezTo>
                    <a:pt x="81" y="15"/>
                    <a:pt x="79" y="14"/>
                    <a:pt x="79" y="11"/>
                  </a:cubicBezTo>
                  <a:cubicBezTo>
                    <a:pt x="79" y="10"/>
                    <a:pt x="76" y="8"/>
                    <a:pt x="72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2" y="8"/>
                    <a:pt x="8" y="10"/>
                    <a:pt x="8" y="11"/>
                  </a:cubicBezTo>
                  <a:cubicBezTo>
                    <a:pt x="8" y="14"/>
                    <a:pt x="6" y="15"/>
                    <a:pt x="4" y="15"/>
                  </a:cubicBezTo>
                  <a:cubicBezTo>
                    <a:pt x="2" y="15"/>
                    <a:pt x="0" y="14"/>
                    <a:pt x="0" y="11"/>
                  </a:cubicBezTo>
                  <a:cubicBezTo>
                    <a:pt x="0" y="5"/>
                    <a:pt x="8" y="0"/>
                    <a:pt x="15" y="0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79" y="0"/>
                    <a:pt x="88" y="5"/>
                    <a:pt x="88" y="11"/>
                  </a:cubicBezTo>
                  <a:cubicBezTo>
                    <a:pt x="88" y="14"/>
                    <a:pt x="86" y="15"/>
                    <a:pt x="83" y="15"/>
                  </a:cubicBezTo>
                  <a:close/>
                  <a:moveTo>
                    <a:pt x="79" y="11"/>
                  </a:moveTo>
                  <a:cubicBezTo>
                    <a:pt x="79" y="11"/>
                    <a:pt x="79" y="11"/>
                    <a:pt x="79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04" name="Freeform 909">
              <a:extLst>
                <a:ext uri="{FF2B5EF4-FFF2-40B4-BE49-F238E27FC236}">
                  <a16:creationId xmlns:a16="http://schemas.microsoft.com/office/drawing/2014/main" id="{2075FC77-1D0B-83F3-8122-A4D78B1E9A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935200" y="3644900"/>
              <a:ext cx="136525" cy="136525"/>
            </a:xfrm>
            <a:custGeom>
              <a:avLst/>
              <a:gdLst>
                <a:gd name="T0" fmla="*/ 69 w 139"/>
                <a:gd name="T1" fmla="*/ 139 h 139"/>
                <a:gd name="T2" fmla="*/ 0 w 139"/>
                <a:gd name="T3" fmla="*/ 69 h 139"/>
                <a:gd name="T4" fmla="*/ 69 w 139"/>
                <a:gd name="T5" fmla="*/ 0 h 139"/>
                <a:gd name="T6" fmla="*/ 139 w 139"/>
                <a:gd name="T7" fmla="*/ 69 h 139"/>
                <a:gd name="T8" fmla="*/ 69 w 139"/>
                <a:gd name="T9" fmla="*/ 139 h 139"/>
                <a:gd name="T10" fmla="*/ 69 w 139"/>
                <a:gd name="T11" fmla="*/ 8 h 139"/>
                <a:gd name="T12" fmla="*/ 8 w 139"/>
                <a:gd name="T13" fmla="*/ 69 h 139"/>
                <a:gd name="T14" fmla="*/ 69 w 139"/>
                <a:gd name="T15" fmla="*/ 131 h 139"/>
                <a:gd name="T16" fmla="*/ 131 w 139"/>
                <a:gd name="T17" fmla="*/ 69 h 139"/>
                <a:gd name="T18" fmla="*/ 69 w 139"/>
                <a:gd name="T19" fmla="*/ 8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9" h="139">
                  <a:moveTo>
                    <a:pt x="69" y="139"/>
                  </a:moveTo>
                  <a:cubicBezTo>
                    <a:pt x="31" y="139"/>
                    <a:pt x="0" y="108"/>
                    <a:pt x="0" y="69"/>
                  </a:cubicBezTo>
                  <a:cubicBezTo>
                    <a:pt x="0" y="31"/>
                    <a:pt x="31" y="0"/>
                    <a:pt x="69" y="0"/>
                  </a:cubicBezTo>
                  <a:cubicBezTo>
                    <a:pt x="108" y="0"/>
                    <a:pt x="139" y="31"/>
                    <a:pt x="139" y="69"/>
                  </a:cubicBezTo>
                  <a:cubicBezTo>
                    <a:pt x="139" y="108"/>
                    <a:pt x="108" y="139"/>
                    <a:pt x="69" y="139"/>
                  </a:cubicBezTo>
                  <a:close/>
                  <a:moveTo>
                    <a:pt x="69" y="8"/>
                  </a:moveTo>
                  <a:cubicBezTo>
                    <a:pt x="35" y="8"/>
                    <a:pt x="8" y="35"/>
                    <a:pt x="8" y="69"/>
                  </a:cubicBezTo>
                  <a:cubicBezTo>
                    <a:pt x="8" y="103"/>
                    <a:pt x="35" y="131"/>
                    <a:pt x="69" y="131"/>
                  </a:cubicBezTo>
                  <a:cubicBezTo>
                    <a:pt x="103" y="131"/>
                    <a:pt x="131" y="103"/>
                    <a:pt x="131" y="69"/>
                  </a:cubicBezTo>
                  <a:cubicBezTo>
                    <a:pt x="131" y="35"/>
                    <a:pt x="103" y="8"/>
                    <a:pt x="6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05" name="Freeform 910">
              <a:extLst>
                <a:ext uri="{FF2B5EF4-FFF2-40B4-BE49-F238E27FC236}">
                  <a16:creationId xmlns:a16="http://schemas.microsoft.com/office/drawing/2014/main" id="{47ECA6D3-B0DD-E093-B696-74D9ED60D7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036800" y="3748088"/>
              <a:ext cx="71438" cy="71438"/>
            </a:xfrm>
            <a:custGeom>
              <a:avLst/>
              <a:gdLst>
                <a:gd name="T0" fmla="*/ 59 w 73"/>
                <a:gd name="T1" fmla="*/ 73 h 73"/>
                <a:gd name="T2" fmla="*/ 49 w 73"/>
                <a:gd name="T3" fmla="*/ 69 h 73"/>
                <a:gd name="T4" fmla="*/ 1 w 73"/>
                <a:gd name="T5" fmla="*/ 21 h 73"/>
                <a:gd name="T6" fmla="*/ 0 w 73"/>
                <a:gd name="T7" fmla="*/ 17 h 73"/>
                <a:gd name="T8" fmla="*/ 2 w 73"/>
                <a:gd name="T9" fmla="*/ 14 h 73"/>
                <a:gd name="T10" fmla="*/ 14 w 73"/>
                <a:gd name="T11" fmla="*/ 2 h 73"/>
                <a:gd name="T12" fmla="*/ 14 w 73"/>
                <a:gd name="T13" fmla="*/ 2 h 73"/>
                <a:gd name="T14" fmla="*/ 17 w 73"/>
                <a:gd name="T15" fmla="*/ 0 h 73"/>
                <a:gd name="T16" fmla="*/ 21 w 73"/>
                <a:gd name="T17" fmla="*/ 1 h 73"/>
                <a:gd name="T18" fmla="*/ 69 w 73"/>
                <a:gd name="T19" fmla="*/ 49 h 73"/>
                <a:gd name="T20" fmla="*/ 73 w 73"/>
                <a:gd name="T21" fmla="*/ 59 h 73"/>
                <a:gd name="T22" fmla="*/ 69 w 73"/>
                <a:gd name="T23" fmla="*/ 69 h 73"/>
                <a:gd name="T24" fmla="*/ 59 w 73"/>
                <a:gd name="T25" fmla="*/ 73 h 73"/>
                <a:gd name="T26" fmla="*/ 10 w 73"/>
                <a:gd name="T27" fmla="*/ 18 h 73"/>
                <a:gd name="T28" fmla="*/ 55 w 73"/>
                <a:gd name="T29" fmla="*/ 63 h 73"/>
                <a:gd name="T30" fmla="*/ 55 w 73"/>
                <a:gd name="T31" fmla="*/ 63 h 73"/>
                <a:gd name="T32" fmla="*/ 63 w 73"/>
                <a:gd name="T33" fmla="*/ 63 h 73"/>
                <a:gd name="T34" fmla="*/ 65 w 73"/>
                <a:gd name="T35" fmla="*/ 59 h 73"/>
                <a:gd name="T36" fmla="*/ 63 w 73"/>
                <a:gd name="T37" fmla="*/ 55 h 73"/>
                <a:gd name="T38" fmla="*/ 18 w 73"/>
                <a:gd name="T39" fmla="*/ 10 h 73"/>
                <a:gd name="T40" fmla="*/ 10 w 73"/>
                <a:gd name="T41" fmla="*/ 18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73" h="73">
                  <a:moveTo>
                    <a:pt x="59" y="73"/>
                  </a:moveTo>
                  <a:cubicBezTo>
                    <a:pt x="55" y="73"/>
                    <a:pt x="52" y="72"/>
                    <a:pt x="49" y="69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0" y="20"/>
                    <a:pt x="0" y="19"/>
                    <a:pt x="0" y="17"/>
                  </a:cubicBezTo>
                  <a:cubicBezTo>
                    <a:pt x="0" y="16"/>
                    <a:pt x="1" y="15"/>
                    <a:pt x="2" y="14"/>
                  </a:cubicBezTo>
                  <a:cubicBezTo>
                    <a:pt x="7" y="11"/>
                    <a:pt x="11" y="7"/>
                    <a:pt x="14" y="2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5" y="1"/>
                    <a:pt x="16" y="0"/>
                    <a:pt x="17" y="0"/>
                  </a:cubicBezTo>
                  <a:cubicBezTo>
                    <a:pt x="19" y="0"/>
                    <a:pt x="20" y="0"/>
                    <a:pt x="21" y="1"/>
                  </a:cubicBezTo>
                  <a:cubicBezTo>
                    <a:pt x="69" y="49"/>
                    <a:pt x="69" y="49"/>
                    <a:pt x="69" y="49"/>
                  </a:cubicBezTo>
                  <a:cubicBezTo>
                    <a:pt x="71" y="52"/>
                    <a:pt x="73" y="55"/>
                    <a:pt x="73" y="59"/>
                  </a:cubicBezTo>
                  <a:cubicBezTo>
                    <a:pt x="73" y="63"/>
                    <a:pt x="71" y="66"/>
                    <a:pt x="69" y="69"/>
                  </a:cubicBezTo>
                  <a:cubicBezTo>
                    <a:pt x="66" y="72"/>
                    <a:pt x="63" y="73"/>
                    <a:pt x="59" y="73"/>
                  </a:cubicBezTo>
                  <a:close/>
                  <a:moveTo>
                    <a:pt x="10" y="18"/>
                  </a:moveTo>
                  <a:cubicBezTo>
                    <a:pt x="55" y="63"/>
                    <a:pt x="55" y="63"/>
                    <a:pt x="55" y="63"/>
                  </a:cubicBezTo>
                  <a:cubicBezTo>
                    <a:pt x="55" y="63"/>
                    <a:pt x="55" y="63"/>
                    <a:pt x="55" y="63"/>
                  </a:cubicBezTo>
                  <a:cubicBezTo>
                    <a:pt x="57" y="65"/>
                    <a:pt x="61" y="65"/>
                    <a:pt x="63" y="63"/>
                  </a:cubicBezTo>
                  <a:cubicBezTo>
                    <a:pt x="64" y="62"/>
                    <a:pt x="65" y="61"/>
                    <a:pt x="65" y="59"/>
                  </a:cubicBezTo>
                  <a:cubicBezTo>
                    <a:pt x="65" y="57"/>
                    <a:pt x="64" y="56"/>
                    <a:pt x="63" y="55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6" y="13"/>
                    <a:pt x="13" y="16"/>
                    <a:pt x="10" y="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706" name="Shape15_20200717_142313">
            <a:extLst>
              <a:ext uri="{FF2B5EF4-FFF2-40B4-BE49-F238E27FC236}">
                <a16:creationId xmlns:a16="http://schemas.microsoft.com/office/drawing/2014/main" id="{7604C94C-6CC2-F7D4-100C-3B784B761208}"/>
              </a:ext>
            </a:extLst>
          </p:cNvPr>
          <p:cNvGrpSpPr>
            <a:grpSpLocks noChangeAspect="1"/>
          </p:cNvGrpSpPr>
          <p:nvPr/>
        </p:nvGrpSpPr>
        <p:grpSpPr>
          <a:xfrm>
            <a:off x="1902238" y="2552009"/>
            <a:ext cx="554186" cy="554186"/>
            <a:chOff x="14365288" y="3017838"/>
            <a:chExt cx="244475" cy="244475"/>
          </a:xfrm>
          <a:solidFill>
            <a:schemeClr val="accent1"/>
          </a:solidFill>
        </p:grpSpPr>
        <p:sp>
          <p:nvSpPr>
            <p:cNvPr id="707" name="Freeform 911">
              <a:extLst>
                <a:ext uri="{FF2B5EF4-FFF2-40B4-BE49-F238E27FC236}">
                  <a16:creationId xmlns:a16="http://schemas.microsoft.com/office/drawing/2014/main" id="{1B97D23B-1D0D-8D4E-C8CF-A3D302B7DBB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30375" y="3068638"/>
              <a:ext cx="60325" cy="88900"/>
            </a:xfrm>
            <a:custGeom>
              <a:avLst/>
              <a:gdLst>
                <a:gd name="T0" fmla="*/ 30 w 61"/>
                <a:gd name="T1" fmla="*/ 91 h 91"/>
                <a:gd name="T2" fmla="*/ 1 w 61"/>
                <a:gd name="T3" fmla="*/ 77 h 91"/>
                <a:gd name="T4" fmla="*/ 2 w 61"/>
                <a:gd name="T5" fmla="*/ 71 h 91"/>
                <a:gd name="T6" fmla="*/ 8 w 61"/>
                <a:gd name="T7" fmla="*/ 72 h 91"/>
                <a:gd name="T8" fmla="*/ 44 w 61"/>
                <a:gd name="T9" fmla="*/ 80 h 91"/>
                <a:gd name="T10" fmla="*/ 44 w 61"/>
                <a:gd name="T11" fmla="*/ 80 h 91"/>
                <a:gd name="T12" fmla="*/ 52 w 61"/>
                <a:gd name="T13" fmla="*/ 65 h 91"/>
                <a:gd name="T14" fmla="*/ 40 w 61"/>
                <a:gd name="T15" fmla="*/ 51 h 91"/>
                <a:gd name="T16" fmla="*/ 18 w 61"/>
                <a:gd name="T17" fmla="*/ 44 h 91"/>
                <a:gd name="T18" fmla="*/ 1 w 61"/>
                <a:gd name="T19" fmla="*/ 22 h 91"/>
                <a:gd name="T20" fmla="*/ 8 w 61"/>
                <a:gd name="T21" fmla="*/ 7 h 91"/>
                <a:gd name="T22" fmla="*/ 31 w 61"/>
                <a:gd name="T23" fmla="*/ 0 h 91"/>
                <a:gd name="T24" fmla="*/ 60 w 61"/>
                <a:gd name="T25" fmla="*/ 20 h 91"/>
                <a:gd name="T26" fmla="*/ 57 w 61"/>
                <a:gd name="T27" fmla="*/ 25 h 91"/>
                <a:gd name="T28" fmla="*/ 52 w 61"/>
                <a:gd name="T29" fmla="*/ 23 h 91"/>
                <a:gd name="T30" fmla="*/ 31 w 61"/>
                <a:gd name="T31" fmla="*/ 8 h 91"/>
                <a:gd name="T32" fmla="*/ 13 w 61"/>
                <a:gd name="T33" fmla="*/ 13 h 91"/>
                <a:gd name="T34" fmla="*/ 9 w 61"/>
                <a:gd name="T35" fmla="*/ 23 h 91"/>
                <a:gd name="T36" fmla="*/ 21 w 61"/>
                <a:gd name="T37" fmla="*/ 36 h 91"/>
                <a:gd name="T38" fmla="*/ 42 w 61"/>
                <a:gd name="T39" fmla="*/ 43 h 91"/>
                <a:gd name="T40" fmla="*/ 60 w 61"/>
                <a:gd name="T41" fmla="*/ 64 h 91"/>
                <a:gd name="T42" fmla="*/ 48 w 61"/>
                <a:gd name="T43" fmla="*/ 87 h 91"/>
                <a:gd name="T44" fmla="*/ 30 w 61"/>
                <a:gd name="T45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1" h="91">
                  <a:moveTo>
                    <a:pt x="30" y="91"/>
                  </a:moveTo>
                  <a:cubicBezTo>
                    <a:pt x="20" y="91"/>
                    <a:pt x="10" y="88"/>
                    <a:pt x="1" y="77"/>
                  </a:cubicBezTo>
                  <a:cubicBezTo>
                    <a:pt x="0" y="75"/>
                    <a:pt x="0" y="72"/>
                    <a:pt x="2" y="71"/>
                  </a:cubicBezTo>
                  <a:cubicBezTo>
                    <a:pt x="4" y="70"/>
                    <a:pt x="6" y="70"/>
                    <a:pt x="8" y="72"/>
                  </a:cubicBezTo>
                  <a:cubicBezTo>
                    <a:pt x="22" y="91"/>
                    <a:pt x="43" y="80"/>
                    <a:pt x="44" y="80"/>
                  </a:cubicBezTo>
                  <a:cubicBezTo>
                    <a:pt x="44" y="80"/>
                    <a:pt x="44" y="80"/>
                    <a:pt x="44" y="80"/>
                  </a:cubicBezTo>
                  <a:cubicBezTo>
                    <a:pt x="45" y="79"/>
                    <a:pt x="53" y="76"/>
                    <a:pt x="52" y="65"/>
                  </a:cubicBezTo>
                  <a:cubicBezTo>
                    <a:pt x="51" y="54"/>
                    <a:pt x="40" y="51"/>
                    <a:pt x="40" y="51"/>
                  </a:cubicBezTo>
                  <a:cubicBezTo>
                    <a:pt x="40" y="51"/>
                    <a:pt x="29" y="47"/>
                    <a:pt x="18" y="44"/>
                  </a:cubicBezTo>
                  <a:cubicBezTo>
                    <a:pt x="7" y="41"/>
                    <a:pt x="1" y="33"/>
                    <a:pt x="1" y="22"/>
                  </a:cubicBezTo>
                  <a:cubicBezTo>
                    <a:pt x="1" y="16"/>
                    <a:pt x="3" y="11"/>
                    <a:pt x="8" y="7"/>
                  </a:cubicBezTo>
                  <a:cubicBezTo>
                    <a:pt x="13" y="2"/>
                    <a:pt x="21" y="0"/>
                    <a:pt x="31" y="0"/>
                  </a:cubicBezTo>
                  <a:cubicBezTo>
                    <a:pt x="50" y="0"/>
                    <a:pt x="58" y="13"/>
                    <a:pt x="60" y="20"/>
                  </a:cubicBezTo>
                  <a:cubicBezTo>
                    <a:pt x="61" y="22"/>
                    <a:pt x="60" y="25"/>
                    <a:pt x="57" y="25"/>
                  </a:cubicBezTo>
                  <a:cubicBezTo>
                    <a:pt x="55" y="26"/>
                    <a:pt x="53" y="25"/>
                    <a:pt x="52" y="23"/>
                  </a:cubicBezTo>
                  <a:cubicBezTo>
                    <a:pt x="52" y="22"/>
                    <a:pt x="48" y="9"/>
                    <a:pt x="31" y="8"/>
                  </a:cubicBezTo>
                  <a:cubicBezTo>
                    <a:pt x="23" y="8"/>
                    <a:pt x="17" y="10"/>
                    <a:pt x="13" y="13"/>
                  </a:cubicBezTo>
                  <a:cubicBezTo>
                    <a:pt x="11" y="15"/>
                    <a:pt x="9" y="19"/>
                    <a:pt x="9" y="23"/>
                  </a:cubicBezTo>
                  <a:cubicBezTo>
                    <a:pt x="9" y="30"/>
                    <a:pt x="13" y="34"/>
                    <a:pt x="21" y="36"/>
                  </a:cubicBezTo>
                  <a:cubicBezTo>
                    <a:pt x="31" y="40"/>
                    <a:pt x="42" y="43"/>
                    <a:pt x="42" y="43"/>
                  </a:cubicBezTo>
                  <a:cubicBezTo>
                    <a:pt x="43" y="43"/>
                    <a:pt x="59" y="48"/>
                    <a:pt x="60" y="64"/>
                  </a:cubicBezTo>
                  <a:cubicBezTo>
                    <a:pt x="61" y="78"/>
                    <a:pt x="53" y="85"/>
                    <a:pt x="48" y="87"/>
                  </a:cubicBezTo>
                  <a:cubicBezTo>
                    <a:pt x="43" y="89"/>
                    <a:pt x="37" y="91"/>
                    <a:pt x="30" y="9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08" name="Freeform 912">
              <a:extLst>
                <a:ext uri="{FF2B5EF4-FFF2-40B4-BE49-F238E27FC236}">
                  <a16:creationId xmlns:a16="http://schemas.microsoft.com/office/drawing/2014/main" id="{4FCD3A5B-9AB2-CFC6-5839-100A03A220EA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57363" y="3051175"/>
              <a:ext cx="7938" cy="25400"/>
            </a:xfrm>
            <a:custGeom>
              <a:avLst/>
              <a:gdLst>
                <a:gd name="T0" fmla="*/ 4 w 8"/>
                <a:gd name="T1" fmla="*/ 25 h 25"/>
                <a:gd name="T2" fmla="*/ 0 w 8"/>
                <a:gd name="T3" fmla="*/ 21 h 25"/>
                <a:gd name="T4" fmla="*/ 0 w 8"/>
                <a:gd name="T5" fmla="*/ 4 h 25"/>
                <a:gd name="T6" fmla="*/ 4 w 8"/>
                <a:gd name="T7" fmla="*/ 0 h 25"/>
                <a:gd name="T8" fmla="*/ 8 w 8"/>
                <a:gd name="T9" fmla="*/ 4 h 25"/>
                <a:gd name="T10" fmla="*/ 8 w 8"/>
                <a:gd name="T11" fmla="*/ 21 h 25"/>
                <a:gd name="T12" fmla="*/ 4 w 8"/>
                <a:gd name="T13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25">
                  <a:moveTo>
                    <a:pt x="4" y="25"/>
                  </a:moveTo>
                  <a:cubicBezTo>
                    <a:pt x="2" y="25"/>
                    <a:pt x="0" y="24"/>
                    <a:pt x="0" y="2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24"/>
                    <a:pt x="6" y="25"/>
                    <a:pt x="4" y="2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09" name="Freeform 913">
              <a:extLst>
                <a:ext uri="{FF2B5EF4-FFF2-40B4-BE49-F238E27FC236}">
                  <a16:creationId xmlns:a16="http://schemas.microsoft.com/office/drawing/2014/main" id="{DF816643-6726-308F-109A-24D1318D87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57363" y="3151188"/>
              <a:ext cx="7938" cy="25400"/>
            </a:xfrm>
            <a:custGeom>
              <a:avLst/>
              <a:gdLst>
                <a:gd name="T0" fmla="*/ 4 w 8"/>
                <a:gd name="T1" fmla="*/ 26 h 26"/>
                <a:gd name="T2" fmla="*/ 0 w 8"/>
                <a:gd name="T3" fmla="*/ 22 h 26"/>
                <a:gd name="T4" fmla="*/ 0 w 8"/>
                <a:gd name="T5" fmla="*/ 4 h 26"/>
                <a:gd name="T6" fmla="*/ 4 w 8"/>
                <a:gd name="T7" fmla="*/ 0 h 26"/>
                <a:gd name="T8" fmla="*/ 8 w 8"/>
                <a:gd name="T9" fmla="*/ 4 h 26"/>
                <a:gd name="T10" fmla="*/ 8 w 8"/>
                <a:gd name="T11" fmla="*/ 22 h 26"/>
                <a:gd name="T12" fmla="*/ 4 w 8"/>
                <a:gd name="T13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26">
                  <a:moveTo>
                    <a:pt x="4" y="26"/>
                  </a:moveTo>
                  <a:cubicBezTo>
                    <a:pt x="2" y="26"/>
                    <a:pt x="0" y="24"/>
                    <a:pt x="0" y="2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6" y="26"/>
                    <a:pt x="4" y="2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10" name="Freeform 914">
              <a:extLst>
                <a:ext uri="{FF2B5EF4-FFF2-40B4-BE49-F238E27FC236}">
                  <a16:creationId xmlns:a16="http://schemas.microsoft.com/office/drawing/2014/main" id="{71D3E6F1-6DCA-C1FF-6147-5BF720A739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365288" y="3017838"/>
              <a:ext cx="190500" cy="190500"/>
            </a:xfrm>
            <a:custGeom>
              <a:avLst/>
              <a:gdLst>
                <a:gd name="T0" fmla="*/ 97 w 195"/>
                <a:gd name="T1" fmla="*/ 195 h 195"/>
                <a:gd name="T2" fmla="*/ 0 w 195"/>
                <a:gd name="T3" fmla="*/ 98 h 195"/>
                <a:gd name="T4" fmla="*/ 97 w 195"/>
                <a:gd name="T5" fmla="*/ 0 h 195"/>
                <a:gd name="T6" fmla="*/ 195 w 195"/>
                <a:gd name="T7" fmla="*/ 98 h 195"/>
                <a:gd name="T8" fmla="*/ 97 w 195"/>
                <a:gd name="T9" fmla="*/ 195 h 195"/>
                <a:gd name="T10" fmla="*/ 97 w 195"/>
                <a:gd name="T11" fmla="*/ 8 h 195"/>
                <a:gd name="T12" fmla="*/ 8 w 195"/>
                <a:gd name="T13" fmla="*/ 98 h 195"/>
                <a:gd name="T14" fmla="*/ 97 w 195"/>
                <a:gd name="T15" fmla="*/ 187 h 195"/>
                <a:gd name="T16" fmla="*/ 187 w 195"/>
                <a:gd name="T17" fmla="*/ 98 h 195"/>
                <a:gd name="T18" fmla="*/ 97 w 195"/>
                <a:gd name="T19" fmla="*/ 8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5" h="195">
                  <a:moveTo>
                    <a:pt x="97" y="195"/>
                  </a:moveTo>
                  <a:cubicBezTo>
                    <a:pt x="44" y="195"/>
                    <a:pt x="0" y="151"/>
                    <a:pt x="0" y="98"/>
                  </a:cubicBezTo>
                  <a:cubicBezTo>
                    <a:pt x="0" y="44"/>
                    <a:pt x="44" y="0"/>
                    <a:pt x="97" y="0"/>
                  </a:cubicBezTo>
                  <a:cubicBezTo>
                    <a:pt x="151" y="0"/>
                    <a:pt x="195" y="44"/>
                    <a:pt x="195" y="98"/>
                  </a:cubicBezTo>
                  <a:cubicBezTo>
                    <a:pt x="195" y="151"/>
                    <a:pt x="151" y="195"/>
                    <a:pt x="97" y="195"/>
                  </a:cubicBezTo>
                  <a:close/>
                  <a:moveTo>
                    <a:pt x="97" y="8"/>
                  </a:moveTo>
                  <a:cubicBezTo>
                    <a:pt x="48" y="8"/>
                    <a:pt x="8" y="48"/>
                    <a:pt x="8" y="98"/>
                  </a:cubicBezTo>
                  <a:cubicBezTo>
                    <a:pt x="8" y="147"/>
                    <a:pt x="48" y="187"/>
                    <a:pt x="97" y="187"/>
                  </a:cubicBezTo>
                  <a:cubicBezTo>
                    <a:pt x="147" y="187"/>
                    <a:pt x="187" y="147"/>
                    <a:pt x="187" y="98"/>
                  </a:cubicBezTo>
                  <a:cubicBezTo>
                    <a:pt x="187" y="48"/>
                    <a:pt x="147" y="8"/>
                    <a:pt x="97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11" name="Freeform 915">
              <a:extLst>
                <a:ext uri="{FF2B5EF4-FFF2-40B4-BE49-F238E27FC236}">
                  <a16:creationId xmlns:a16="http://schemas.microsoft.com/office/drawing/2014/main" id="{D46B82BD-BA40-A85D-0636-AB9CD78BB14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511338" y="3163888"/>
              <a:ext cx="98425" cy="98425"/>
            </a:xfrm>
            <a:custGeom>
              <a:avLst/>
              <a:gdLst>
                <a:gd name="T0" fmla="*/ 81 w 100"/>
                <a:gd name="T1" fmla="*/ 100 h 100"/>
                <a:gd name="T2" fmla="*/ 70 w 100"/>
                <a:gd name="T3" fmla="*/ 95 h 100"/>
                <a:gd name="T4" fmla="*/ 70 w 100"/>
                <a:gd name="T5" fmla="*/ 95 h 100"/>
                <a:gd name="T6" fmla="*/ 2 w 100"/>
                <a:gd name="T7" fmla="*/ 27 h 100"/>
                <a:gd name="T8" fmla="*/ 0 w 100"/>
                <a:gd name="T9" fmla="*/ 24 h 100"/>
                <a:gd name="T10" fmla="*/ 2 w 100"/>
                <a:gd name="T11" fmla="*/ 22 h 100"/>
                <a:gd name="T12" fmla="*/ 21 w 100"/>
                <a:gd name="T13" fmla="*/ 2 h 100"/>
                <a:gd name="T14" fmla="*/ 27 w 100"/>
                <a:gd name="T15" fmla="*/ 2 h 100"/>
                <a:gd name="T16" fmla="*/ 95 w 100"/>
                <a:gd name="T17" fmla="*/ 70 h 100"/>
                <a:gd name="T18" fmla="*/ 100 w 100"/>
                <a:gd name="T19" fmla="*/ 81 h 100"/>
                <a:gd name="T20" fmla="*/ 95 w 100"/>
                <a:gd name="T21" fmla="*/ 93 h 100"/>
                <a:gd name="T22" fmla="*/ 93 w 100"/>
                <a:gd name="T23" fmla="*/ 95 h 100"/>
                <a:gd name="T24" fmla="*/ 81 w 100"/>
                <a:gd name="T25" fmla="*/ 100 h 100"/>
                <a:gd name="T26" fmla="*/ 10 w 100"/>
                <a:gd name="T27" fmla="*/ 24 h 100"/>
                <a:gd name="T28" fmla="*/ 76 w 100"/>
                <a:gd name="T29" fmla="*/ 90 h 100"/>
                <a:gd name="T30" fmla="*/ 76 w 100"/>
                <a:gd name="T31" fmla="*/ 90 h 100"/>
                <a:gd name="T32" fmla="*/ 87 w 100"/>
                <a:gd name="T33" fmla="*/ 90 h 100"/>
                <a:gd name="T34" fmla="*/ 90 w 100"/>
                <a:gd name="T35" fmla="*/ 87 h 100"/>
                <a:gd name="T36" fmla="*/ 92 w 100"/>
                <a:gd name="T37" fmla="*/ 81 h 100"/>
                <a:gd name="T38" fmla="*/ 90 w 100"/>
                <a:gd name="T39" fmla="*/ 76 h 100"/>
                <a:gd name="T40" fmla="*/ 24 w 100"/>
                <a:gd name="T41" fmla="*/ 10 h 100"/>
                <a:gd name="T42" fmla="*/ 10 w 100"/>
                <a:gd name="T43" fmla="*/ 24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0" h="100">
                  <a:moveTo>
                    <a:pt x="81" y="100"/>
                  </a:moveTo>
                  <a:cubicBezTo>
                    <a:pt x="77" y="100"/>
                    <a:pt x="73" y="99"/>
                    <a:pt x="70" y="95"/>
                  </a:cubicBezTo>
                  <a:cubicBezTo>
                    <a:pt x="70" y="95"/>
                    <a:pt x="70" y="95"/>
                    <a:pt x="70" y="95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1" y="27"/>
                    <a:pt x="0" y="26"/>
                    <a:pt x="0" y="24"/>
                  </a:cubicBezTo>
                  <a:cubicBezTo>
                    <a:pt x="0" y="23"/>
                    <a:pt x="1" y="22"/>
                    <a:pt x="2" y="2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3" y="0"/>
                    <a:pt x="26" y="0"/>
                    <a:pt x="27" y="2"/>
                  </a:cubicBezTo>
                  <a:cubicBezTo>
                    <a:pt x="95" y="70"/>
                    <a:pt x="95" y="70"/>
                    <a:pt x="95" y="70"/>
                  </a:cubicBezTo>
                  <a:cubicBezTo>
                    <a:pt x="98" y="73"/>
                    <a:pt x="100" y="77"/>
                    <a:pt x="100" y="81"/>
                  </a:cubicBezTo>
                  <a:cubicBezTo>
                    <a:pt x="100" y="86"/>
                    <a:pt x="98" y="90"/>
                    <a:pt x="95" y="93"/>
                  </a:cubicBezTo>
                  <a:cubicBezTo>
                    <a:pt x="93" y="95"/>
                    <a:pt x="93" y="95"/>
                    <a:pt x="93" y="95"/>
                  </a:cubicBezTo>
                  <a:cubicBezTo>
                    <a:pt x="90" y="99"/>
                    <a:pt x="85" y="100"/>
                    <a:pt x="81" y="100"/>
                  </a:cubicBezTo>
                  <a:close/>
                  <a:moveTo>
                    <a:pt x="10" y="24"/>
                  </a:moveTo>
                  <a:cubicBezTo>
                    <a:pt x="76" y="90"/>
                    <a:pt x="76" y="90"/>
                    <a:pt x="76" y="90"/>
                  </a:cubicBezTo>
                  <a:cubicBezTo>
                    <a:pt x="76" y="90"/>
                    <a:pt x="76" y="90"/>
                    <a:pt x="76" y="90"/>
                  </a:cubicBezTo>
                  <a:cubicBezTo>
                    <a:pt x="79" y="93"/>
                    <a:pt x="84" y="93"/>
                    <a:pt x="87" y="90"/>
                  </a:cubicBezTo>
                  <a:cubicBezTo>
                    <a:pt x="90" y="87"/>
                    <a:pt x="90" y="87"/>
                    <a:pt x="90" y="87"/>
                  </a:cubicBezTo>
                  <a:cubicBezTo>
                    <a:pt x="91" y="85"/>
                    <a:pt x="92" y="83"/>
                    <a:pt x="92" y="81"/>
                  </a:cubicBezTo>
                  <a:cubicBezTo>
                    <a:pt x="92" y="79"/>
                    <a:pt x="91" y="77"/>
                    <a:pt x="90" y="76"/>
                  </a:cubicBezTo>
                  <a:cubicBezTo>
                    <a:pt x="24" y="10"/>
                    <a:pt x="24" y="10"/>
                    <a:pt x="24" y="10"/>
                  </a:cubicBezTo>
                  <a:lnTo>
                    <a:pt x="10" y="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712" name="Shape16_20200717_142313">
            <a:extLst>
              <a:ext uri="{FF2B5EF4-FFF2-40B4-BE49-F238E27FC236}">
                <a16:creationId xmlns:a16="http://schemas.microsoft.com/office/drawing/2014/main" id="{D0A82D0B-4B36-D03D-DC7A-3492A14C6097}"/>
              </a:ext>
            </a:extLst>
          </p:cNvPr>
          <p:cNvGrpSpPr>
            <a:grpSpLocks noChangeAspect="1"/>
          </p:cNvGrpSpPr>
          <p:nvPr/>
        </p:nvGrpSpPr>
        <p:grpSpPr>
          <a:xfrm>
            <a:off x="3107032" y="2598789"/>
            <a:ext cx="755708" cy="460626"/>
            <a:chOff x="14846300" y="3038475"/>
            <a:chExt cx="333376" cy="203201"/>
          </a:xfrm>
          <a:solidFill>
            <a:schemeClr val="accent1"/>
          </a:solidFill>
        </p:grpSpPr>
        <p:sp>
          <p:nvSpPr>
            <p:cNvPr id="713" name="Freeform 916">
              <a:extLst>
                <a:ext uri="{FF2B5EF4-FFF2-40B4-BE49-F238E27FC236}">
                  <a16:creationId xmlns:a16="http://schemas.microsoft.com/office/drawing/2014/main" id="{936FC305-BA55-B3E2-D47C-75B6B6DA2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46300" y="3233738"/>
              <a:ext cx="279400" cy="7938"/>
            </a:xfrm>
            <a:custGeom>
              <a:avLst/>
              <a:gdLst>
                <a:gd name="T0" fmla="*/ 281 w 285"/>
                <a:gd name="T1" fmla="*/ 8 h 8"/>
                <a:gd name="T2" fmla="*/ 4 w 285"/>
                <a:gd name="T3" fmla="*/ 8 h 8"/>
                <a:gd name="T4" fmla="*/ 0 w 285"/>
                <a:gd name="T5" fmla="*/ 4 h 8"/>
                <a:gd name="T6" fmla="*/ 4 w 285"/>
                <a:gd name="T7" fmla="*/ 0 h 8"/>
                <a:gd name="T8" fmla="*/ 281 w 285"/>
                <a:gd name="T9" fmla="*/ 0 h 8"/>
                <a:gd name="T10" fmla="*/ 285 w 285"/>
                <a:gd name="T11" fmla="*/ 4 h 8"/>
                <a:gd name="T12" fmla="*/ 281 w 285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5" h="8">
                  <a:moveTo>
                    <a:pt x="281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81" y="0"/>
                    <a:pt x="281" y="0"/>
                    <a:pt x="281" y="0"/>
                  </a:cubicBezTo>
                  <a:cubicBezTo>
                    <a:pt x="283" y="0"/>
                    <a:pt x="285" y="2"/>
                    <a:pt x="285" y="4"/>
                  </a:cubicBezTo>
                  <a:cubicBezTo>
                    <a:pt x="285" y="6"/>
                    <a:pt x="283" y="8"/>
                    <a:pt x="281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14" name="Freeform 917">
              <a:extLst>
                <a:ext uri="{FF2B5EF4-FFF2-40B4-BE49-F238E27FC236}">
                  <a16:creationId xmlns:a16="http://schemas.microsoft.com/office/drawing/2014/main" id="{7EA34BD2-ABF8-2919-E437-420577C3CD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863763" y="3135313"/>
              <a:ext cx="69850" cy="106363"/>
            </a:xfrm>
            <a:custGeom>
              <a:avLst/>
              <a:gdLst>
                <a:gd name="T0" fmla="*/ 66 w 71"/>
                <a:gd name="T1" fmla="*/ 108 h 108"/>
                <a:gd name="T2" fmla="*/ 4 w 71"/>
                <a:gd name="T3" fmla="*/ 108 h 108"/>
                <a:gd name="T4" fmla="*/ 0 w 71"/>
                <a:gd name="T5" fmla="*/ 104 h 108"/>
                <a:gd name="T6" fmla="*/ 0 w 71"/>
                <a:gd name="T7" fmla="*/ 4 h 108"/>
                <a:gd name="T8" fmla="*/ 4 w 71"/>
                <a:gd name="T9" fmla="*/ 0 h 108"/>
                <a:gd name="T10" fmla="*/ 66 w 71"/>
                <a:gd name="T11" fmla="*/ 0 h 108"/>
                <a:gd name="T12" fmla="*/ 71 w 71"/>
                <a:gd name="T13" fmla="*/ 4 h 108"/>
                <a:gd name="T14" fmla="*/ 71 w 71"/>
                <a:gd name="T15" fmla="*/ 104 h 108"/>
                <a:gd name="T16" fmla="*/ 66 w 71"/>
                <a:gd name="T17" fmla="*/ 108 h 108"/>
                <a:gd name="T18" fmla="*/ 8 w 71"/>
                <a:gd name="T19" fmla="*/ 100 h 108"/>
                <a:gd name="T20" fmla="*/ 62 w 71"/>
                <a:gd name="T21" fmla="*/ 100 h 108"/>
                <a:gd name="T22" fmla="*/ 62 w 71"/>
                <a:gd name="T23" fmla="*/ 8 h 108"/>
                <a:gd name="T24" fmla="*/ 8 w 71"/>
                <a:gd name="T25" fmla="*/ 8 h 108"/>
                <a:gd name="T26" fmla="*/ 8 w 71"/>
                <a:gd name="T27" fmla="*/ 10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1" h="108">
                  <a:moveTo>
                    <a:pt x="66" y="108"/>
                  </a:moveTo>
                  <a:cubicBezTo>
                    <a:pt x="4" y="108"/>
                    <a:pt x="4" y="108"/>
                    <a:pt x="4" y="108"/>
                  </a:cubicBezTo>
                  <a:cubicBezTo>
                    <a:pt x="2" y="108"/>
                    <a:pt x="0" y="106"/>
                    <a:pt x="0" y="10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9" y="0"/>
                    <a:pt x="71" y="2"/>
                    <a:pt x="71" y="4"/>
                  </a:cubicBezTo>
                  <a:cubicBezTo>
                    <a:pt x="71" y="104"/>
                    <a:pt x="71" y="104"/>
                    <a:pt x="71" y="104"/>
                  </a:cubicBezTo>
                  <a:cubicBezTo>
                    <a:pt x="71" y="106"/>
                    <a:pt x="69" y="108"/>
                    <a:pt x="66" y="108"/>
                  </a:cubicBezTo>
                  <a:close/>
                  <a:moveTo>
                    <a:pt x="8" y="100"/>
                  </a:moveTo>
                  <a:cubicBezTo>
                    <a:pt x="62" y="100"/>
                    <a:pt x="62" y="100"/>
                    <a:pt x="62" y="100"/>
                  </a:cubicBezTo>
                  <a:cubicBezTo>
                    <a:pt x="62" y="8"/>
                    <a:pt x="62" y="8"/>
                    <a:pt x="62" y="8"/>
                  </a:cubicBezTo>
                  <a:cubicBezTo>
                    <a:pt x="8" y="8"/>
                    <a:pt x="8" y="8"/>
                    <a:pt x="8" y="8"/>
                  </a:cubicBezTo>
                  <a:lnTo>
                    <a:pt x="8" y="10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15" name="Freeform 918">
              <a:extLst>
                <a:ext uri="{FF2B5EF4-FFF2-40B4-BE49-F238E27FC236}">
                  <a16:creationId xmlns:a16="http://schemas.microsoft.com/office/drawing/2014/main" id="{7BFEFF7A-3AB6-7919-7B65-D3F982C1F3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51075" y="3100388"/>
              <a:ext cx="69850" cy="141288"/>
            </a:xfrm>
            <a:custGeom>
              <a:avLst/>
              <a:gdLst>
                <a:gd name="T0" fmla="*/ 67 w 71"/>
                <a:gd name="T1" fmla="*/ 144 h 144"/>
                <a:gd name="T2" fmla="*/ 4 w 71"/>
                <a:gd name="T3" fmla="*/ 144 h 144"/>
                <a:gd name="T4" fmla="*/ 0 w 71"/>
                <a:gd name="T5" fmla="*/ 140 h 144"/>
                <a:gd name="T6" fmla="*/ 0 w 71"/>
                <a:gd name="T7" fmla="*/ 4 h 144"/>
                <a:gd name="T8" fmla="*/ 4 w 71"/>
                <a:gd name="T9" fmla="*/ 0 h 144"/>
                <a:gd name="T10" fmla="*/ 67 w 71"/>
                <a:gd name="T11" fmla="*/ 0 h 144"/>
                <a:gd name="T12" fmla="*/ 71 w 71"/>
                <a:gd name="T13" fmla="*/ 4 h 144"/>
                <a:gd name="T14" fmla="*/ 67 w 71"/>
                <a:gd name="T15" fmla="*/ 8 h 144"/>
                <a:gd name="T16" fmla="*/ 9 w 71"/>
                <a:gd name="T17" fmla="*/ 8 h 144"/>
                <a:gd name="T18" fmla="*/ 9 w 71"/>
                <a:gd name="T19" fmla="*/ 136 h 144"/>
                <a:gd name="T20" fmla="*/ 63 w 71"/>
                <a:gd name="T21" fmla="*/ 136 h 144"/>
                <a:gd name="T22" fmla="*/ 63 w 71"/>
                <a:gd name="T23" fmla="*/ 64 h 144"/>
                <a:gd name="T24" fmla="*/ 67 w 71"/>
                <a:gd name="T25" fmla="*/ 60 h 144"/>
                <a:gd name="T26" fmla="*/ 71 w 71"/>
                <a:gd name="T27" fmla="*/ 64 h 144"/>
                <a:gd name="T28" fmla="*/ 71 w 71"/>
                <a:gd name="T29" fmla="*/ 140 h 144"/>
                <a:gd name="T30" fmla="*/ 67 w 71"/>
                <a:gd name="T31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1" h="144">
                  <a:moveTo>
                    <a:pt x="67" y="144"/>
                  </a:moveTo>
                  <a:cubicBezTo>
                    <a:pt x="4" y="144"/>
                    <a:pt x="4" y="144"/>
                    <a:pt x="4" y="144"/>
                  </a:cubicBezTo>
                  <a:cubicBezTo>
                    <a:pt x="2" y="144"/>
                    <a:pt x="0" y="142"/>
                    <a:pt x="0" y="14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9" y="0"/>
                    <a:pt x="71" y="2"/>
                    <a:pt x="71" y="4"/>
                  </a:cubicBezTo>
                  <a:cubicBezTo>
                    <a:pt x="71" y="6"/>
                    <a:pt x="69" y="8"/>
                    <a:pt x="67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136"/>
                    <a:pt x="9" y="136"/>
                    <a:pt x="9" y="136"/>
                  </a:cubicBezTo>
                  <a:cubicBezTo>
                    <a:pt x="63" y="136"/>
                    <a:pt x="63" y="136"/>
                    <a:pt x="63" y="136"/>
                  </a:cubicBezTo>
                  <a:cubicBezTo>
                    <a:pt x="63" y="64"/>
                    <a:pt x="63" y="64"/>
                    <a:pt x="63" y="64"/>
                  </a:cubicBezTo>
                  <a:cubicBezTo>
                    <a:pt x="63" y="62"/>
                    <a:pt x="64" y="60"/>
                    <a:pt x="67" y="60"/>
                  </a:cubicBezTo>
                  <a:cubicBezTo>
                    <a:pt x="69" y="60"/>
                    <a:pt x="71" y="62"/>
                    <a:pt x="71" y="64"/>
                  </a:cubicBezTo>
                  <a:cubicBezTo>
                    <a:pt x="71" y="140"/>
                    <a:pt x="71" y="140"/>
                    <a:pt x="71" y="140"/>
                  </a:cubicBezTo>
                  <a:cubicBezTo>
                    <a:pt x="71" y="142"/>
                    <a:pt x="69" y="144"/>
                    <a:pt x="67" y="14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16" name="Freeform 919">
              <a:extLst>
                <a:ext uri="{FF2B5EF4-FFF2-40B4-BE49-F238E27FC236}">
                  <a16:creationId xmlns:a16="http://schemas.microsoft.com/office/drawing/2014/main" id="{3B529EDF-5D38-631A-90A4-0156A4DEB1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38388" y="3038475"/>
              <a:ext cx="69850" cy="49213"/>
            </a:xfrm>
            <a:custGeom>
              <a:avLst/>
              <a:gdLst>
                <a:gd name="T0" fmla="*/ 5 w 71"/>
                <a:gd name="T1" fmla="*/ 50 h 50"/>
                <a:gd name="T2" fmla="*/ 0 w 71"/>
                <a:gd name="T3" fmla="*/ 46 h 50"/>
                <a:gd name="T4" fmla="*/ 0 w 71"/>
                <a:gd name="T5" fmla="*/ 4 h 50"/>
                <a:gd name="T6" fmla="*/ 5 w 71"/>
                <a:gd name="T7" fmla="*/ 0 h 50"/>
                <a:gd name="T8" fmla="*/ 67 w 71"/>
                <a:gd name="T9" fmla="*/ 0 h 50"/>
                <a:gd name="T10" fmla="*/ 71 w 71"/>
                <a:gd name="T11" fmla="*/ 4 h 50"/>
                <a:gd name="T12" fmla="*/ 71 w 71"/>
                <a:gd name="T13" fmla="*/ 44 h 50"/>
                <a:gd name="T14" fmla="*/ 67 w 71"/>
                <a:gd name="T15" fmla="*/ 49 h 50"/>
                <a:gd name="T16" fmla="*/ 63 w 71"/>
                <a:gd name="T17" fmla="*/ 44 h 50"/>
                <a:gd name="T18" fmla="*/ 63 w 71"/>
                <a:gd name="T19" fmla="*/ 9 h 50"/>
                <a:gd name="T20" fmla="*/ 9 w 71"/>
                <a:gd name="T21" fmla="*/ 9 h 50"/>
                <a:gd name="T22" fmla="*/ 9 w 71"/>
                <a:gd name="T23" fmla="*/ 46 h 50"/>
                <a:gd name="T24" fmla="*/ 5 w 71"/>
                <a:gd name="T25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1" h="50">
                  <a:moveTo>
                    <a:pt x="5" y="50"/>
                  </a:moveTo>
                  <a:cubicBezTo>
                    <a:pt x="2" y="50"/>
                    <a:pt x="0" y="48"/>
                    <a:pt x="0" y="4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9" y="0"/>
                    <a:pt x="71" y="2"/>
                    <a:pt x="71" y="4"/>
                  </a:cubicBezTo>
                  <a:cubicBezTo>
                    <a:pt x="71" y="44"/>
                    <a:pt x="71" y="44"/>
                    <a:pt x="71" y="44"/>
                  </a:cubicBezTo>
                  <a:cubicBezTo>
                    <a:pt x="71" y="47"/>
                    <a:pt x="69" y="49"/>
                    <a:pt x="67" y="49"/>
                  </a:cubicBezTo>
                  <a:cubicBezTo>
                    <a:pt x="65" y="49"/>
                    <a:pt x="63" y="47"/>
                    <a:pt x="63" y="44"/>
                  </a:cubicBezTo>
                  <a:cubicBezTo>
                    <a:pt x="63" y="9"/>
                    <a:pt x="63" y="9"/>
                    <a:pt x="63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8"/>
                    <a:pt x="7" y="50"/>
                    <a:pt x="5" y="5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17" name="Freeform 920">
              <a:extLst>
                <a:ext uri="{FF2B5EF4-FFF2-40B4-BE49-F238E27FC236}">
                  <a16:creationId xmlns:a16="http://schemas.microsoft.com/office/drawing/2014/main" id="{BD375CB8-907C-AD99-7F6F-1C3F2B72E5D5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38388" y="3189288"/>
              <a:ext cx="69850" cy="52388"/>
            </a:xfrm>
            <a:custGeom>
              <a:avLst/>
              <a:gdLst>
                <a:gd name="T0" fmla="*/ 67 w 71"/>
                <a:gd name="T1" fmla="*/ 54 h 54"/>
                <a:gd name="T2" fmla="*/ 5 w 71"/>
                <a:gd name="T3" fmla="*/ 54 h 54"/>
                <a:gd name="T4" fmla="*/ 0 w 71"/>
                <a:gd name="T5" fmla="*/ 50 h 54"/>
                <a:gd name="T6" fmla="*/ 0 w 71"/>
                <a:gd name="T7" fmla="*/ 4 h 54"/>
                <a:gd name="T8" fmla="*/ 5 w 71"/>
                <a:gd name="T9" fmla="*/ 0 h 54"/>
                <a:gd name="T10" fmla="*/ 9 w 71"/>
                <a:gd name="T11" fmla="*/ 4 h 54"/>
                <a:gd name="T12" fmla="*/ 9 w 71"/>
                <a:gd name="T13" fmla="*/ 46 h 54"/>
                <a:gd name="T14" fmla="*/ 63 w 71"/>
                <a:gd name="T15" fmla="*/ 46 h 54"/>
                <a:gd name="T16" fmla="*/ 63 w 71"/>
                <a:gd name="T17" fmla="*/ 6 h 54"/>
                <a:gd name="T18" fmla="*/ 67 w 71"/>
                <a:gd name="T19" fmla="*/ 2 h 54"/>
                <a:gd name="T20" fmla="*/ 71 w 71"/>
                <a:gd name="T21" fmla="*/ 6 h 54"/>
                <a:gd name="T22" fmla="*/ 71 w 71"/>
                <a:gd name="T23" fmla="*/ 50 h 54"/>
                <a:gd name="T24" fmla="*/ 67 w 71"/>
                <a:gd name="T2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1" h="54">
                  <a:moveTo>
                    <a:pt x="67" y="54"/>
                  </a:moveTo>
                  <a:cubicBezTo>
                    <a:pt x="5" y="54"/>
                    <a:pt x="5" y="54"/>
                    <a:pt x="5" y="54"/>
                  </a:cubicBezTo>
                  <a:cubicBezTo>
                    <a:pt x="2" y="54"/>
                    <a:pt x="0" y="52"/>
                    <a:pt x="0" y="5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63" y="46"/>
                    <a:pt x="63" y="46"/>
                    <a:pt x="63" y="46"/>
                  </a:cubicBezTo>
                  <a:cubicBezTo>
                    <a:pt x="63" y="6"/>
                    <a:pt x="63" y="6"/>
                    <a:pt x="63" y="6"/>
                  </a:cubicBezTo>
                  <a:cubicBezTo>
                    <a:pt x="63" y="3"/>
                    <a:pt x="65" y="2"/>
                    <a:pt x="67" y="2"/>
                  </a:cubicBezTo>
                  <a:cubicBezTo>
                    <a:pt x="69" y="2"/>
                    <a:pt x="71" y="3"/>
                    <a:pt x="71" y="6"/>
                  </a:cubicBezTo>
                  <a:cubicBezTo>
                    <a:pt x="71" y="50"/>
                    <a:pt x="71" y="50"/>
                    <a:pt x="71" y="50"/>
                  </a:cubicBezTo>
                  <a:cubicBezTo>
                    <a:pt x="71" y="52"/>
                    <a:pt x="69" y="54"/>
                    <a:pt x="67" y="5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18" name="Freeform 921">
              <a:extLst>
                <a:ext uri="{FF2B5EF4-FFF2-40B4-BE49-F238E27FC236}">
                  <a16:creationId xmlns:a16="http://schemas.microsoft.com/office/drawing/2014/main" id="{574379F7-EE8A-C791-CE5F-77220CA7C67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008225" y="3071813"/>
              <a:ext cx="133350" cy="133350"/>
            </a:xfrm>
            <a:custGeom>
              <a:avLst/>
              <a:gdLst>
                <a:gd name="T0" fmla="*/ 68 w 137"/>
                <a:gd name="T1" fmla="*/ 137 h 137"/>
                <a:gd name="T2" fmla="*/ 0 w 137"/>
                <a:gd name="T3" fmla="*/ 68 h 137"/>
                <a:gd name="T4" fmla="*/ 68 w 137"/>
                <a:gd name="T5" fmla="*/ 0 h 137"/>
                <a:gd name="T6" fmla="*/ 137 w 137"/>
                <a:gd name="T7" fmla="*/ 68 h 137"/>
                <a:gd name="T8" fmla="*/ 68 w 137"/>
                <a:gd name="T9" fmla="*/ 137 h 137"/>
                <a:gd name="T10" fmla="*/ 68 w 137"/>
                <a:gd name="T11" fmla="*/ 8 h 137"/>
                <a:gd name="T12" fmla="*/ 8 w 137"/>
                <a:gd name="T13" fmla="*/ 68 h 137"/>
                <a:gd name="T14" fmla="*/ 68 w 137"/>
                <a:gd name="T15" fmla="*/ 128 h 137"/>
                <a:gd name="T16" fmla="*/ 128 w 137"/>
                <a:gd name="T17" fmla="*/ 68 h 137"/>
                <a:gd name="T18" fmla="*/ 68 w 137"/>
                <a:gd name="T19" fmla="*/ 8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7" h="137">
                  <a:moveTo>
                    <a:pt x="68" y="137"/>
                  </a:moveTo>
                  <a:cubicBezTo>
                    <a:pt x="30" y="137"/>
                    <a:pt x="0" y="106"/>
                    <a:pt x="0" y="68"/>
                  </a:cubicBezTo>
                  <a:cubicBezTo>
                    <a:pt x="0" y="30"/>
                    <a:pt x="30" y="0"/>
                    <a:pt x="68" y="0"/>
                  </a:cubicBezTo>
                  <a:cubicBezTo>
                    <a:pt x="106" y="0"/>
                    <a:pt x="137" y="30"/>
                    <a:pt x="137" y="68"/>
                  </a:cubicBezTo>
                  <a:cubicBezTo>
                    <a:pt x="137" y="106"/>
                    <a:pt x="106" y="137"/>
                    <a:pt x="68" y="137"/>
                  </a:cubicBezTo>
                  <a:close/>
                  <a:moveTo>
                    <a:pt x="68" y="8"/>
                  </a:moveTo>
                  <a:cubicBezTo>
                    <a:pt x="35" y="8"/>
                    <a:pt x="8" y="35"/>
                    <a:pt x="8" y="68"/>
                  </a:cubicBezTo>
                  <a:cubicBezTo>
                    <a:pt x="8" y="101"/>
                    <a:pt x="35" y="128"/>
                    <a:pt x="68" y="128"/>
                  </a:cubicBezTo>
                  <a:cubicBezTo>
                    <a:pt x="101" y="128"/>
                    <a:pt x="128" y="101"/>
                    <a:pt x="128" y="68"/>
                  </a:cubicBezTo>
                  <a:cubicBezTo>
                    <a:pt x="128" y="35"/>
                    <a:pt x="101" y="8"/>
                    <a:pt x="68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19" name="Freeform 922">
              <a:extLst>
                <a:ext uri="{FF2B5EF4-FFF2-40B4-BE49-F238E27FC236}">
                  <a16:creationId xmlns:a16="http://schemas.microsoft.com/office/drawing/2014/main" id="{0031F528-B853-C045-6F52-EF363BF667D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108238" y="3171825"/>
              <a:ext cx="71438" cy="69850"/>
            </a:xfrm>
            <a:custGeom>
              <a:avLst/>
              <a:gdLst>
                <a:gd name="T0" fmla="*/ 57 w 72"/>
                <a:gd name="T1" fmla="*/ 71 h 71"/>
                <a:gd name="T2" fmla="*/ 48 w 72"/>
                <a:gd name="T3" fmla="*/ 67 h 71"/>
                <a:gd name="T4" fmla="*/ 48 w 72"/>
                <a:gd name="T5" fmla="*/ 67 h 71"/>
                <a:gd name="T6" fmla="*/ 2 w 72"/>
                <a:gd name="T7" fmla="*/ 21 h 71"/>
                <a:gd name="T8" fmla="*/ 2 w 72"/>
                <a:gd name="T9" fmla="*/ 15 h 71"/>
                <a:gd name="T10" fmla="*/ 15 w 72"/>
                <a:gd name="T11" fmla="*/ 1 h 71"/>
                <a:gd name="T12" fmla="*/ 21 w 72"/>
                <a:gd name="T13" fmla="*/ 1 h 71"/>
                <a:gd name="T14" fmla="*/ 67 w 72"/>
                <a:gd name="T15" fmla="*/ 47 h 71"/>
                <a:gd name="T16" fmla="*/ 67 w 72"/>
                <a:gd name="T17" fmla="*/ 67 h 71"/>
                <a:gd name="T18" fmla="*/ 57 w 72"/>
                <a:gd name="T19" fmla="*/ 71 h 71"/>
                <a:gd name="T20" fmla="*/ 53 w 72"/>
                <a:gd name="T21" fmla="*/ 61 h 71"/>
                <a:gd name="T22" fmla="*/ 61 w 72"/>
                <a:gd name="T23" fmla="*/ 61 h 71"/>
                <a:gd name="T24" fmla="*/ 61 w 72"/>
                <a:gd name="T25" fmla="*/ 53 h 71"/>
                <a:gd name="T26" fmla="*/ 18 w 72"/>
                <a:gd name="T27" fmla="*/ 10 h 71"/>
                <a:gd name="T28" fmla="*/ 10 w 72"/>
                <a:gd name="T29" fmla="*/ 18 h 71"/>
                <a:gd name="T30" fmla="*/ 53 w 72"/>
                <a:gd name="T31" fmla="*/ 6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2" h="71">
                  <a:moveTo>
                    <a:pt x="57" y="71"/>
                  </a:moveTo>
                  <a:cubicBezTo>
                    <a:pt x="54" y="71"/>
                    <a:pt x="50" y="70"/>
                    <a:pt x="48" y="67"/>
                  </a:cubicBezTo>
                  <a:cubicBezTo>
                    <a:pt x="48" y="67"/>
                    <a:pt x="48" y="67"/>
                    <a:pt x="48" y="67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0" y="19"/>
                    <a:pt x="0" y="17"/>
                    <a:pt x="2" y="15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7" y="0"/>
                    <a:pt x="20" y="0"/>
                    <a:pt x="21" y="1"/>
                  </a:cubicBezTo>
                  <a:cubicBezTo>
                    <a:pt x="67" y="47"/>
                    <a:pt x="67" y="47"/>
                    <a:pt x="67" y="47"/>
                  </a:cubicBezTo>
                  <a:cubicBezTo>
                    <a:pt x="72" y="53"/>
                    <a:pt x="72" y="62"/>
                    <a:pt x="67" y="67"/>
                  </a:cubicBezTo>
                  <a:cubicBezTo>
                    <a:pt x="64" y="70"/>
                    <a:pt x="61" y="71"/>
                    <a:pt x="57" y="71"/>
                  </a:cubicBezTo>
                  <a:close/>
                  <a:moveTo>
                    <a:pt x="53" y="61"/>
                  </a:moveTo>
                  <a:cubicBezTo>
                    <a:pt x="56" y="63"/>
                    <a:pt x="59" y="63"/>
                    <a:pt x="61" y="61"/>
                  </a:cubicBezTo>
                  <a:cubicBezTo>
                    <a:pt x="63" y="59"/>
                    <a:pt x="63" y="55"/>
                    <a:pt x="61" y="53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0" y="18"/>
                    <a:pt x="10" y="18"/>
                    <a:pt x="10" y="18"/>
                  </a:cubicBezTo>
                  <a:cubicBezTo>
                    <a:pt x="53" y="61"/>
                    <a:pt x="53" y="61"/>
                    <a:pt x="53" y="6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20" name="Freeform 923">
              <a:extLst>
                <a:ext uri="{FF2B5EF4-FFF2-40B4-BE49-F238E27FC236}">
                  <a16:creationId xmlns:a16="http://schemas.microsoft.com/office/drawing/2014/main" id="{6BEB821E-CA82-C17C-42AF-58C2D6F8989F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54263" y="3106738"/>
              <a:ext cx="41275" cy="61913"/>
            </a:xfrm>
            <a:custGeom>
              <a:avLst/>
              <a:gdLst>
                <a:gd name="T0" fmla="*/ 21 w 43"/>
                <a:gd name="T1" fmla="*/ 63 h 63"/>
                <a:gd name="T2" fmla="*/ 1 w 43"/>
                <a:gd name="T3" fmla="*/ 53 h 63"/>
                <a:gd name="T4" fmla="*/ 2 w 43"/>
                <a:gd name="T5" fmla="*/ 47 h 63"/>
                <a:gd name="T6" fmla="*/ 8 w 43"/>
                <a:gd name="T7" fmla="*/ 48 h 63"/>
                <a:gd name="T8" fmla="*/ 29 w 43"/>
                <a:gd name="T9" fmla="*/ 53 h 63"/>
                <a:gd name="T10" fmla="*/ 30 w 43"/>
                <a:gd name="T11" fmla="*/ 53 h 63"/>
                <a:gd name="T12" fmla="*/ 34 w 43"/>
                <a:gd name="T13" fmla="*/ 45 h 63"/>
                <a:gd name="T14" fmla="*/ 27 w 43"/>
                <a:gd name="T15" fmla="*/ 36 h 63"/>
                <a:gd name="T16" fmla="*/ 13 w 43"/>
                <a:gd name="T17" fmla="*/ 32 h 63"/>
                <a:gd name="T18" fmla="*/ 0 w 43"/>
                <a:gd name="T19" fmla="*/ 16 h 63"/>
                <a:gd name="T20" fmla="*/ 21 w 43"/>
                <a:gd name="T21" fmla="*/ 0 h 63"/>
                <a:gd name="T22" fmla="*/ 22 w 43"/>
                <a:gd name="T23" fmla="*/ 0 h 63"/>
                <a:gd name="T24" fmla="*/ 42 w 43"/>
                <a:gd name="T25" fmla="*/ 15 h 63"/>
                <a:gd name="T26" fmla="*/ 39 w 43"/>
                <a:gd name="T27" fmla="*/ 20 h 63"/>
                <a:gd name="T28" fmla="*/ 34 w 43"/>
                <a:gd name="T29" fmla="*/ 17 h 63"/>
                <a:gd name="T30" fmla="*/ 22 w 43"/>
                <a:gd name="T31" fmla="*/ 9 h 63"/>
                <a:gd name="T32" fmla="*/ 21 w 43"/>
                <a:gd name="T33" fmla="*/ 9 h 63"/>
                <a:gd name="T34" fmla="*/ 9 w 43"/>
                <a:gd name="T35" fmla="*/ 17 h 63"/>
                <a:gd name="T36" fmla="*/ 15 w 43"/>
                <a:gd name="T37" fmla="*/ 24 h 63"/>
                <a:gd name="T38" fmla="*/ 29 w 43"/>
                <a:gd name="T39" fmla="*/ 29 h 63"/>
                <a:gd name="T40" fmla="*/ 42 w 43"/>
                <a:gd name="T41" fmla="*/ 44 h 63"/>
                <a:gd name="T42" fmla="*/ 33 w 43"/>
                <a:gd name="T43" fmla="*/ 60 h 63"/>
                <a:gd name="T44" fmla="*/ 21 w 43"/>
                <a:gd name="T45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3" h="63">
                  <a:moveTo>
                    <a:pt x="21" y="63"/>
                  </a:moveTo>
                  <a:cubicBezTo>
                    <a:pt x="14" y="63"/>
                    <a:pt x="7" y="61"/>
                    <a:pt x="1" y="53"/>
                  </a:cubicBezTo>
                  <a:cubicBezTo>
                    <a:pt x="0" y="51"/>
                    <a:pt x="0" y="49"/>
                    <a:pt x="2" y="47"/>
                  </a:cubicBezTo>
                  <a:cubicBezTo>
                    <a:pt x="4" y="46"/>
                    <a:pt x="6" y="46"/>
                    <a:pt x="8" y="48"/>
                  </a:cubicBezTo>
                  <a:cubicBezTo>
                    <a:pt x="16" y="60"/>
                    <a:pt x="29" y="53"/>
                    <a:pt x="29" y="53"/>
                  </a:cubicBezTo>
                  <a:cubicBezTo>
                    <a:pt x="29" y="53"/>
                    <a:pt x="30" y="53"/>
                    <a:pt x="30" y="53"/>
                  </a:cubicBezTo>
                  <a:cubicBezTo>
                    <a:pt x="30" y="52"/>
                    <a:pt x="34" y="50"/>
                    <a:pt x="34" y="45"/>
                  </a:cubicBezTo>
                  <a:cubicBezTo>
                    <a:pt x="33" y="38"/>
                    <a:pt x="27" y="36"/>
                    <a:pt x="27" y="36"/>
                  </a:cubicBezTo>
                  <a:cubicBezTo>
                    <a:pt x="27" y="36"/>
                    <a:pt x="20" y="34"/>
                    <a:pt x="13" y="32"/>
                  </a:cubicBezTo>
                  <a:cubicBezTo>
                    <a:pt x="3" y="29"/>
                    <a:pt x="0" y="22"/>
                    <a:pt x="0" y="16"/>
                  </a:cubicBezTo>
                  <a:cubicBezTo>
                    <a:pt x="1" y="13"/>
                    <a:pt x="2" y="0"/>
                    <a:pt x="21" y="0"/>
                  </a:cubicBezTo>
                  <a:cubicBezTo>
                    <a:pt x="21" y="0"/>
                    <a:pt x="22" y="0"/>
                    <a:pt x="22" y="0"/>
                  </a:cubicBezTo>
                  <a:cubicBezTo>
                    <a:pt x="35" y="1"/>
                    <a:pt x="41" y="10"/>
                    <a:pt x="42" y="15"/>
                  </a:cubicBezTo>
                  <a:cubicBezTo>
                    <a:pt x="43" y="17"/>
                    <a:pt x="41" y="19"/>
                    <a:pt x="39" y="20"/>
                  </a:cubicBezTo>
                  <a:cubicBezTo>
                    <a:pt x="37" y="20"/>
                    <a:pt x="35" y="19"/>
                    <a:pt x="34" y="17"/>
                  </a:cubicBezTo>
                  <a:cubicBezTo>
                    <a:pt x="34" y="16"/>
                    <a:pt x="31" y="9"/>
                    <a:pt x="22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13" y="9"/>
                    <a:pt x="9" y="11"/>
                    <a:pt x="9" y="17"/>
                  </a:cubicBezTo>
                  <a:cubicBezTo>
                    <a:pt x="9" y="20"/>
                    <a:pt x="9" y="23"/>
                    <a:pt x="15" y="24"/>
                  </a:cubicBezTo>
                  <a:cubicBezTo>
                    <a:pt x="22" y="26"/>
                    <a:pt x="29" y="29"/>
                    <a:pt x="29" y="29"/>
                  </a:cubicBezTo>
                  <a:cubicBezTo>
                    <a:pt x="30" y="29"/>
                    <a:pt x="41" y="32"/>
                    <a:pt x="42" y="44"/>
                  </a:cubicBezTo>
                  <a:cubicBezTo>
                    <a:pt x="43" y="53"/>
                    <a:pt x="37" y="59"/>
                    <a:pt x="33" y="60"/>
                  </a:cubicBezTo>
                  <a:cubicBezTo>
                    <a:pt x="30" y="62"/>
                    <a:pt x="26" y="63"/>
                    <a:pt x="21" y="6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21" name="Freeform 924">
              <a:extLst>
                <a:ext uri="{FF2B5EF4-FFF2-40B4-BE49-F238E27FC236}">
                  <a16:creationId xmlns:a16="http://schemas.microsoft.com/office/drawing/2014/main" id="{C58FAE65-0705-4CC5-443C-5BCBA50B66DC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71725" y="3095625"/>
              <a:ext cx="7938" cy="19050"/>
            </a:xfrm>
            <a:custGeom>
              <a:avLst/>
              <a:gdLst>
                <a:gd name="T0" fmla="*/ 4 w 8"/>
                <a:gd name="T1" fmla="*/ 20 h 20"/>
                <a:gd name="T2" fmla="*/ 0 w 8"/>
                <a:gd name="T3" fmla="*/ 16 h 20"/>
                <a:gd name="T4" fmla="*/ 0 w 8"/>
                <a:gd name="T5" fmla="*/ 4 h 20"/>
                <a:gd name="T6" fmla="*/ 4 w 8"/>
                <a:gd name="T7" fmla="*/ 0 h 20"/>
                <a:gd name="T8" fmla="*/ 8 w 8"/>
                <a:gd name="T9" fmla="*/ 4 h 20"/>
                <a:gd name="T10" fmla="*/ 8 w 8"/>
                <a:gd name="T11" fmla="*/ 16 h 20"/>
                <a:gd name="T12" fmla="*/ 4 w 8"/>
                <a:gd name="T13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20">
                  <a:moveTo>
                    <a:pt x="4" y="20"/>
                  </a:moveTo>
                  <a:cubicBezTo>
                    <a:pt x="1" y="20"/>
                    <a:pt x="0" y="18"/>
                    <a:pt x="0" y="1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8"/>
                    <a:pt x="6" y="20"/>
                    <a:pt x="4" y="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22" name="Freeform 925">
              <a:extLst>
                <a:ext uri="{FF2B5EF4-FFF2-40B4-BE49-F238E27FC236}">
                  <a16:creationId xmlns:a16="http://schemas.microsoft.com/office/drawing/2014/main" id="{2EE13C28-12EE-7684-D46A-58E595255A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71725" y="3162300"/>
              <a:ext cx="7938" cy="17463"/>
            </a:xfrm>
            <a:custGeom>
              <a:avLst/>
              <a:gdLst>
                <a:gd name="T0" fmla="*/ 4 w 8"/>
                <a:gd name="T1" fmla="*/ 19 h 19"/>
                <a:gd name="T2" fmla="*/ 0 w 8"/>
                <a:gd name="T3" fmla="*/ 15 h 19"/>
                <a:gd name="T4" fmla="*/ 0 w 8"/>
                <a:gd name="T5" fmla="*/ 4 h 19"/>
                <a:gd name="T6" fmla="*/ 4 w 8"/>
                <a:gd name="T7" fmla="*/ 0 h 19"/>
                <a:gd name="T8" fmla="*/ 8 w 8"/>
                <a:gd name="T9" fmla="*/ 4 h 19"/>
                <a:gd name="T10" fmla="*/ 8 w 8"/>
                <a:gd name="T11" fmla="*/ 15 h 19"/>
                <a:gd name="T12" fmla="*/ 4 w 8"/>
                <a:gd name="T1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19">
                  <a:moveTo>
                    <a:pt x="4" y="19"/>
                  </a:moveTo>
                  <a:cubicBezTo>
                    <a:pt x="1" y="19"/>
                    <a:pt x="0" y="17"/>
                    <a:pt x="0" y="1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1" y="0"/>
                    <a:pt x="4" y="0"/>
                  </a:cubicBezTo>
                  <a:cubicBezTo>
                    <a:pt x="6" y="0"/>
                    <a:pt x="8" y="1"/>
                    <a:pt x="8" y="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8" y="17"/>
                    <a:pt x="6" y="19"/>
                    <a:pt x="4" y="1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723" name="Shape17_20200717_142313">
            <a:extLst>
              <a:ext uri="{FF2B5EF4-FFF2-40B4-BE49-F238E27FC236}">
                <a16:creationId xmlns:a16="http://schemas.microsoft.com/office/drawing/2014/main" id="{791E6940-6CDE-DE7A-26A8-CD06F777AC36}"/>
              </a:ext>
            </a:extLst>
          </p:cNvPr>
          <p:cNvGrpSpPr>
            <a:grpSpLocks noChangeAspect="1"/>
          </p:cNvGrpSpPr>
          <p:nvPr/>
        </p:nvGrpSpPr>
        <p:grpSpPr>
          <a:xfrm>
            <a:off x="9577237" y="2625780"/>
            <a:ext cx="870866" cy="406644"/>
            <a:chOff x="14295438" y="3624263"/>
            <a:chExt cx="384175" cy="179387"/>
          </a:xfrm>
          <a:solidFill>
            <a:schemeClr val="accent1"/>
          </a:solidFill>
        </p:grpSpPr>
        <p:sp>
          <p:nvSpPr>
            <p:cNvPr id="724" name="Freeform 926">
              <a:extLst>
                <a:ext uri="{FF2B5EF4-FFF2-40B4-BE49-F238E27FC236}">
                  <a16:creationId xmlns:a16="http://schemas.microsoft.com/office/drawing/2014/main" id="{B01E51D3-5B6A-9CEB-CFA7-09D80C7E11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562138" y="3686175"/>
              <a:ext cx="92075" cy="92075"/>
            </a:xfrm>
            <a:custGeom>
              <a:avLst/>
              <a:gdLst>
                <a:gd name="T0" fmla="*/ 47 w 93"/>
                <a:gd name="T1" fmla="*/ 93 h 93"/>
                <a:gd name="T2" fmla="*/ 0 w 93"/>
                <a:gd name="T3" fmla="*/ 47 h 93"/>
                <a:gd name="T4" fmla="*/ 47 w 93"/>
                <a:gd name="T5" fmla="*/ 0 h 93"/>
                <a:gd name="T6" fmla="*/ 93 w 93"/>
                <a:gd name="T7" fmla="*/ 47 h 93"/>
                <a:gd name="T8" fmla="*/ 47 w 93"/>
                <a:gd name="T9" fmla="*/ 93 h 93"/>
                <a:gd name="T10" fmla="*/ 47 w 93"/>
                <a:gd name="T11" fmla="*/ 8 h 93"/>
                <a:gd name="T12" fmla="*/ 8 w 93"/>
                <a:gd name="T13" fmla="*/ 47 h 93"/>
                <a:gd name="T14" fmla="*/ 47 w 93"/>
                <a:gd name="T15" fmla="*/ 85 h 93"/>
                <a:gd name="T16" fmla="*/ 85 w 93"/>
                <a:gd name="T17" fmla="*/ 47 h 93"/>
                <a:gd name="T18" fmla="*/ 47 w 93"/>
                <a:gd name="T19" fmla="*/ 8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3" h="93">
                  <a:moveTo>
                    <a:pt x="47" y="93"/>
                  </a:moveTo>
                  <a:cubicBezTo>
                    <a:pt x="21" y="93"/>
                    <a:pt x="0" y="72"/>
                    <a:pt x="0" y="47"/>
                  </a:cubicBezTo>
                  <a:cubicBezTo>
                    <a:pt x="0" y="21"/>
                    <a:pt x="21" y="0"/>
                    <a:pt x="47" y="0"/>
                  </a:cubicBezTo>
                  <a:cubicBezTo>
                    <a:pt x="72" y="0"/>
                    <a:pt x="93" y="21"/>
                    <a:pt x="93" y="47"/>
                  </a:cubicBezTo>
                  <a:cubicBezTo>
                    <a:pt x="93" y="72"/>
                    <a:pt x="72" y="93"/>
                    <a:pt x="47" y="93"/>
                  </a:cubicBezTo>
                  <a:close/>
                  <a:moveTo>
                    <a:pt x="47" y="8"/>
                  </a:moveTo>
                  <a:cubicBezTo>
                    <a:pt x="25" y="8"/>
                    <a:pt x="8" y="25"/>
                    <a:pt x="8" y="47"/>
                  </a:cubicBezTo>
                  <a:cubicBezTo>
                    <a:pt x="8" y="68"/>
                    <a:pt x="25" y="85"/>
                    <a:pt x="47" y="85"/>
                  </a:cubicBezTo>
                  <a:cubicBezTo>
                    <a:pt x="68" y="85"/>
                    <a:pt x="85" y="68"/>
                    <a:pt x="85" y="47"/>
                  </a:cubicBezTo>
                  <a:cubicBezTo>
                    <a:pt x="85" y="25"/>
                    <a:pt x="68" y="8"/>
                    <a:pt x="47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25" name="Freeform 927">
              <a:extLst>
                <a:ext uri="{FF2B5EF4-FFF2-40B4-BE49-F238E27FC236}">
                  <a16:creationId xmlns:a16="http://schemas.microsoft.com/office/drawing/2014/main" id="{F885B762-6367-AF9B-365A-96C88B5BE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628813" y="3752850"/>
              <a:ext cx="50800" cy="50800"/>
            </a:xfrm>
            <a:custGeom>
              <a:avLst/>
              <a:gdLst>
                <a:gd name="T0" fmla="*/ 39 w 52"/>
                <a:gd name="T1" fmla="*/ 52 h 52"/>
                <a:gd name="T2" fmla="*/ 30 w 52"/>
                <a:gd name="T3" fmla="*/ 48 h 52"/>
                <a:gd name="T4" fmla="*/ 30 w 52"/>
                <a:gd name="T5" fmla="*/ 48 h 52"/>
                <a:gd name="T6" fmla="*/ 1 w 52"/>
                <a:gd name="T7" fmla="*/ 19 h 52"/>
                <a:gd name="T8" fmla="*/ 0 w 52"/>
                <a:gd name="T9" fmla="*/ 16 h 52"/>
                <a:gd name="T10" fmla="*/ 1 w 52"/>
                <a:gd name="T11" fmla="*/ 13 h 52"/>
                <a:gd name="T12" fmla="*/ 12 w 52"/>
                <a:gd name="T13" fmla="*/ 2 h 52"/>
                <a:gd name="T14" fmla="*/ 18 w 52"/>
                <a:gd name="T15" fmla="*/ 2 h 52"/>
                <a:gd name="T16" fmla="*/ 47 w 52"/>
                <a:gd name="T17" fmla="*/ 31 h 52"/>
                <a:gd name="T18" fmla="*/ 47 w 52"/>
                <a:gd name="T19" fmla="*/ 48 h 52"/>
                <a:gd name="T20" fmla="*/ 39 w 52"/>
                <a:gd name="T21" fmla="*/ 52 h 52"/>
                <a:gd name="T22" fmla="*/ 36 w 52"/>
                <a:gd name="T23" fmla="*/ 42 h 52"/>
                <a:gd name="T24" fmla="*/ 41 w 52"/>
                <a:gd name="T25" fmla="*/ 42 h 52"/>
                <a:gd name="T26" fmla="*/ 41 w 52"/>
                <a:gd name="T27" fmla="*/ 37 h 52"/>
                <a:gd name="T28" fmla="*/ 15 w 52"/>
                <a:gd name="T29" fmla="*/ 11 h 52"/>
                <a:gd name="T30" fmla="*/ 10 w 52"/>
                <a:gd name="T31" fmla="*/ 16 h 52"/>
                <a:gd name="T32" fmla="*/ 36 w 52"/>
                <a:gd name="T33" fmla="*/ 4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2" h="52">
                  <a:moveTo>
                    <a:pt x="39" y="52"/>
                  </a:moveTo>
                  <a:cubicBezTo>
                    <a:pt x="36" y="52"/>
                    <a:pt x="33" y="50"/>
                    <a:pt x="30" y="48"/>
                  </a:cubicBezTo>
                  <a:cubicBezTo>
                    <a:pt x="30" y="48"/>
                    <a:pt x="30" y="48"/>
                    <a:pt x="30" y="48"/>
                  </a:cubicBezTo>
                  <a:cubicBezTo>
                    <a:pt x="1" y="19"/>
                    <a:pt x="1" y="19"/>
                    <a:pt x="1" y="19"/>
                  </a:cubicBezTo>
                  <a:cubicBezTo>
                    <a:pt x="0" y="18"/>
                    <a:pt x="0" y="17"/>
                    <a:pt x="0" y="16"/>
                  </a:cubicBezTo>
                  <a:cubicBezTo>
                    <a:pt x="0" y="15"/>
                    <a:pt x="0" y="13"/>
                    <a:pt x="1" y="13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3" y="0"/>
                    <a:pt x="16" y="0"/>
                    <a:pt x="18" y="2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52" y="36"/>
                    <a:pt x="52" y="43"/>
                    <a:pt x="47" y="48"/>
                  </a:cubicBezTo>
                  <a:cubicBezTo>
                    <a:pt x="45" y="50"/>
                    <a:pt x="42" y="52"/>
                    <a:pt x="39" y="52"/>
                  </a:cubicBezTo>
                  <a:close/>
                  <a:moveTo>
                    <a:pt x="36" y="42"/>
                  </a:moveTo>
                  <a:cubicBezTo>
                    <a:pt x="38" y="44"/>
                    <a:pt x="40" y="44"/>
                    <a:pt x="41" y="42"/>
                  </a:cubicBezTo>
                  <a:cubicBezTo>
                    <a:pt x="43" y="41"/>
                    <a:pt x="43" y="39"/>
                    <a:pt x="41" y="37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36" y="42"/>
                    <a:pt x="36" y="42"/>
                    <a:pt x="36" y="4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26" name="Freeform 928">
              <a:extLst>
                <a:ext uri="{FF2B5EF4-FFF2-40B4-BE49-F238E27FC236}">
                  <a16:creationId xmlns:a16="http://schemas.microsoft.com/office/drawing/2014/main" id="{50EBDBC3-6362-F5BD-4ED4-0B15BF5BAD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41475" y="3654425"/>
              <a:ext cx="71438" cy="57150"/>
            </a:xfrm>
            <a:custGeom>
              <a:avLst/>
              <a:gdLst>
                <a:gd name="T0" fmla="*/ 50 w 73"/>
                <a:gd name="T1" fmla="*/ 58 h 58"/>
                <a:gd name="T2" fmla="*/ 50 w 73"/>
                <a:gd name="T3" fmla="*/ 58 h 58"/>
                <a:gd name="T4" fmla="*/ 46 w 73"/>
                <a:gd name="T5" fmla="*/ 56 h 58"/>
                <a:gd name="T6" fmla="*/ 36 w 73"/>
                <a:gd name="T7" fmla="*/ 30 h 58"/>
                <a:gd name="T8" fmla="*/ 27 w 73"/>
                <a:gd name="T9" fmla="*/ 55 h 58"/>
                <a:gd name="T10" fmla="*/ 23 w 73"/>
                <a:gd name="T11" fmla="*/ 58 h 58"/>
                <a:gd name="T12" fmla="*/ 23 w 73"/>
                <a:gd name="T13" fmla="*/ 58 h 58"/>
                <a:gd name="T14" fmla="*/ 19 w 73"/>
                <a:gd name="T15" fmla="*/ 55 h 58"/>
                <a:gd name="T16" fmla="*/ 1 w 73"/>
                <a:gd name="T17" fmla="*/ 7 h 58"/>
                <a:gd name="T18" fmla="*/ 4 w 73"/>
                <a:gd name="T19" fmla="*/ 2 h 58"/>
                <a:gd name="T20" fmla="*/ 9 w 73"/>
                <a:gd name="T21" fmla="*/ 4 h 58"/>
                <a:gd name="T22" fmla="*/ 23 w 73"/>
                <a:gd name="T23" fmla="*/ 42 h 58"/>
                <a:gd name="T24" fmla="*/ 32 w 73"/>
                <a:gd name="T25" fmla="*/ 16 h 58"/>
                <a:gd name="T26" fmla="*/ 36 w 73"/>
                <a:gd name="T27" fmla="*/ 14 h 58"/>
                <a:gd name="T28" fmla="*/ 36 w 73"/>
                <a:gd name="T29" fmla="*/ 14 h 58"/>
                <a:gd name="T30" fmla="*/ 40 w 73"/>
                <a:gd name="T31" fmla="*/ 16 h 58"/>
                <a:gd name="T32" fmla="*/ 50 w 73"/>
                <a:gd name="T33" fmla="*/ 42 h 58"/>
                <a:gd name="T34" fmla="*/ 64 w 73"/>
                <a:gd name="T35" fmla="*/ 3 h 58"/>
                <a:gd name="T36" fmla="*/ 70 w 73"/>
                <a:gd name="T37" fmla="*/ 1 h 58"/>
                <a:gd name="T38" fmla="*/ 72 w 73"/>
                <a:gd name="T39" fmla="*/ 6 h 58"/>
                <a:gd name="T40" fmla="*/ 53 w 73"/>
                <a:gd name="T41" fmla="*/ 56 h 58"/>
                <a:gd name="T42" fmla="*/ 50 w 73"/>
                <a:gd name="T43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3" h="58">
                  <a:moveTo>
                    <a:pt x="50" y="58"/>
                  </a:moveTo>
                  <a:cubicBezTo>
                    <a:pt x="50" y="58"/>
                    <a:pt x="50" y="58"/>
                    <a:pt x="50" y="58"/>
                  </a:cubicBezTo>
                  <a:cubicBezTo>
                    <a:pt x="48" y="58"/>
                    <a:pt x="46" y="57"/>
                    <a:pt x="46" y="56"/>
                  </a:cubicBezTo>
                  <a:cubicBezTo>
                    <a:pt x="36" y="30"/>
                    <a:pt x="36" y="30"/>
                    <a:pt x="36" y="30"/>
                  </a:cubicBezTo>
                  <a:cubicBezTo>
                    <a:pt x="27" y="55"/>
                    <a:pt x="27" y="55"/>
                    <a:pt x="27" y="55"/>
                  </a:cubicBezTo>
                  <a:cubicBezTo>
                    <a:pt x="27" y="57"/>
                    <a:pt x="25" y="58"/>
                    <a:pt x="23" y="58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2" y="58"/>
                    <a:pt x="20" y="57"/>
                    <a:pt x="19" y="55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5"/>
                    <a:pt x="1" y="2"/>
                    <a:pt x="4" y="2"/>
                  </a:cubicBezTo>
                  <a:cubicBezTo>
                    <a:pt x="6" y="1"/>
                    <a:pt x="8" y="2"/>
                    <a:pt x="9" y="4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33" y="15"/>
                    <a:pt x="35" y="14"/>
                    <a:pt x="36" y="14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8" y="14"/>
                    <a:pt x="40" y="15"/>
                    <a:pt x="40" y="16"/>
                  </a:cubicBezTo>
                  <a:cubicBezTo>
                    <a:pt x="50" y="42"/>
                    <a:pt x="50" y="42"/>
                    <a:pt x="50" y="42"/>
                  </a:cubicBezTo>
                  <a:cubicBezTo>
                    <a:pt x="64" y="3"/>
                    <a:pt x="64" y="3"/>
                    <a:pt x="64" y="3"/>
                  </a:cubicBezTo>
                  <a:cubicBezTo>
                    <a:pt x="65" y="1"/>
                    <a:pt x="68" y="0"/>
                    <a:pt x="70" y="1"/>
                  </a:cubicBezTo>
                  <a:cubicBezTo>
                    <a:pt x="72" y="2"/>
                    <a:pt x="73" y="4"/>
                    <a:pt x="72" y="6"/>
                  </a:cubicBezTo>
                  <a:cubicBezTo>
                    <a:pt x="53" y="56"/>
                    <a:pt x="53" y="56"/>
                    <a:pt x="53" y="56"/>
                  </a:cubicBezTo>
                  <a:cubicBezTo>
                    <a:pt x="53" y="57"/>
                    <a:pt x="51" y="58"/>
                    <a:pt x="50" y="5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27" name="Freeform 929">
              <a:extLst>
                <a:ext uri="{FF2B5EF4-FFF2-40B4-BE49-F238E27FC236}">
                  <a16:creationId xmlns:a16="http://schemas.microsoft.com/office/drawing/2014/main" id="{4B10F6CB-9878-61CB-A91B-37247EA9B0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22438" y="3654425"/>
              <a:ext cx="71438" cy="57150"/>
            </a:xfrm>
            <a:custGeom>
              <a:avLst/>
              <a:gdLst>
                <a:gd name="T0" fmla="*/ 50 w 73"/>
                <a:gd name="T1" fmla="*/ 58 h 58"/>
                <a:gd name="T2" fmla="*/ 50 w 73"/>
                <a:gd name="T3" fmla="*/ 58 h 58"/>
                <a:gd name="T4" fmla="*/ 46 w 73"/>
                <a:gd name="T5" fmla="*/ 56 h 58"/>
                <a:gd name="T6" fmla="*/ 36 w 73"/>
                <a:gd name="T7" fmla="*/ 30 h 58"/>
                <a:gd name="T8" fmla="*/ 27 w 73"/>
                <a:gd name="T9" fmla="*/ 55 h 58"/>
                <a:gd name="T10" fmla="*/ 23 w 73"/>
                <a:gd name="T11" fmla="*/ 58 h 58"/>
                <a:gd name="T12" fmla="*/ 19 w 73"/>
                <a:gd name="T13" fmla="*/ 55 h 58"/>
                <a:gd name="T14" fmla="*/ 1 w 73"/>
                <a:gd name="T15" fmla="*/ 7 h 58"/>
                <a:gd name="T16" fmla="*/ 4 w 73"/>
                <a:gd name="T17" fmla="*/ 2 h 58"/>
                <a:gd name="T18" fmla="*/ 9 w 73"/>
                <a:gd name="T19" fmla="*/ 4 h 58"/>
                <a:gd name="T20" fmla="*/ 23 w 73"/>
                <a:gd name="T21" fmla="*/ 42 h 58"/>
                <a:gd name="T22" fmla="*/ 32 w 73"/>
                <a:gd name="T23" fmla="*/ 16 h 58"/>
                <a:gd name="T24" fmla="*/ 36 w 73"/>
                <a:gd name="T25" fmla="*/ 14 h 58"/>
                <a:gd name="T26" fmla="*/ 36 w 73"/>
                <a:gd name="T27" fmla="*/ 14 h 58"/>
                <a:gd name="T28" fmla="*/ 40 w 73"/>
                <a:gd name="T29" fmla="*/ 16 h 58"/>
                <a:gd name="T30" fmla="*/ 50 w 73"/>
                <a:gd name="T31" fmla="*/ 42 h 58"/>
                <a:gd name="T32" fmla="*/ 64 w 73"/>
                <a:gd name="T33" fmla="*/ 3 h 58"/>
                <a:gd name="T34" fmla="*/ 70 w 73"/>
                <a:gd name="T35" fmla="*/ 1 h 58"/>
                <a:gd name="T36" fmla="*/ 72 w 73"/>
                <a:gd name="T37" fmla="*/ 6 h 58"/>
                <a:gd name="T38" fmla="*/ 53 w 73"/>
                <a:gd name="T39" fmla="*/ 56 h 58"/>
                <a:gd name="T40" fmla="*/ 50 w 73"/>
                <a:gd name="T41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73" h="58">
                  <a:moveTo>
                    <a:pt x="50" y="58"/>
                  </a:moveTo>
                  <a:cubicBezTo>
                    <a:pt x="50" y="58"/>
                    <a:pt x="50" y="58"/>
                    <a:pt x="50" y="58"/>
                  </a:cubicBezTo>
                  <a:cubicBezTo>
                    <a:pt x="48" y="58"/>
                    <a:pt x="46" y="57"/>
                    <a:pt x="46" y="56"/>
                  </a:cubicBezTo>
                  <a:cubicBezTo>
                    <a:pt x="36" y="30"/>
                    <a:pt x="36" y="30"/>
                    <a:pt x="36" y="30"/>
                  </a:cubicBezTo>
                  <a:cubicBezTo>
                    <a:pt x="27" y="55"/>
                    <a:pt x="27" y="55"/>
                    <a:pt x="27" y="55"/>
                  </a:cubicBezTo>
                  <a:cubicBezTo>
                    <a:pt x="27" y="57"/>
                    <a:pt x="25" y="58"/>
                    <a:pt x="23" y="58"/>
                  </a:cubicBezTo>
                  <a:cubicBezTo>
                    <a:pt x="21" y="58"/>
                    <a:pt x="20" y="57"/>
                    <a:pt x="19" y="55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5"/>
                    <a:pt x="1" y="2"/>
                    <a:pt x="4" y="2"/>
                  </a:cubicBezTo>
                  <a:cubicBezTo>
                    <a:pt x="6" y="1"/>
                    <a:pt x="8" y="2"/>
                    <a:pt x="9" y="4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33" y="15"/>
                    <a:pt x="35" y="14"/>
                    <a:pt x="36" y="14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8" y="14"/>
                    <a:pt x="40" y="15"/>
                    <a:pt x="40" y="16"/>
                  </a:cubicBezTo>
                  <a:cubicBezTo>
                    <a:pt x="50" y="42"/>
                    <a:pt x="50" y="42"/>
                    <a:pt x="50" y="42"/>
                  </a:cubicBezTo>
                  <a:cubicBezTo>
                    <a:pt x="64" y="3"/>
                    <a:pt x="64" y="3"/>
                    <a:pt x="64" y="3"/>
                  </a:cubicBezTo>
                  <a:cubicBezTo>
                    <a:pt x="65" y="1"/>
                    <a:pt x="68" y="0"/>
                    <a:pt x="70" y="1"/>
                  </a:cubicBezTo>
                  <a:cubicBezTo>
                    <a:pt x="72" y="2"/>
                    <a:pt x="73" y="4"/>
                    <a:pt x="72" y="6"/>
                  </a:cubicBezTo>
                  <a:cubicBezTo>
                    <a:pt x="53" y="56"/>
                    <a:pt x="53" y="56"/>
                    <a:pt x="53" y="56"/>
                  </a:cubicBezTo>
                  <a:cubicBezTo>
                    <a:pt x="53" y="57"/>
                    <a:pt x="51" y="58"/>
                    <a:pt x="50" y="5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28" name="Freeform 930">
              <a:extLst>
                <a:ext uri="{FF2B5EF4-FFF2-40B4-BE49-F238E27FC236}">
                  <a16:creationId xmlns:a16="http://schemas.microsoft.com/office/drawing/2014/main" id="{50FFF608-A628-6200-73C2-5FA2F13ED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01813" y="3654425"/>
              <a:ext cx="71438" cy="57150"/>
            </a:xfrm>
            <a:custGeom>
              <a:avLst/>
              <a:gdLst>
                <a:gd name="T0" fmla="*/ 50 w 73"/>
                <a:gd name="T1" fmla="*/ 58 h 58"/>
                <a:gd name="T2" fmla="*/ 50 w 73"/>
                <a:gd name="T3" fmla="*/ 58 h 58"/>
                <a:gd name="T4" fmla="*/ 46 w 73"/>
                <a:gd name="T5" fmla="*/ 56 h 58"/>
                <a:gd name="T6" fmla="*/ 36 w 73"/>
                <a:gd name="T7" fmla="*/ 30 h 58"/>
                <a:gd name="T8" fmla="*/ 27 w 73"/>
                <a:gd name="T9" fmla="*/ 55 h 58"/>
                <a:gd name="T10" fmla="*/ 23 w 73"/>
                <a:gd name="T11" fmla="*/ 58 h 58"/>
                <a:gd name="T12" fmla="*/ 19 w 73"/>
                <a:gd name="T13" fmla="*/ 55 h 58"/>
                <a:gd name="T14" fmla="*/ 1 w 73"/>
                <a:gd name="T15" fmla="*/ 7 h 58"/>
                <a:gd name="T16" fmla="*/ 4 w 73"/>
                <a:gd name="T17" fmla="*/ 2 h 58"/>
                <a:gd name="T18" fmla="*/ 9 w 73"/>
                <a:gd name="T19" fmla="*/ 4 h 58"/>
                <a:gd name="T20" fmla="*/ 23 w 73"/>
                <a:gd name="T21" fmla="*/ 42 h 58"/>
                <a:gd name="T22" fmla="*/ 33 w 73"/>
                <a:gd name="T23" fmla="*/ 16 h 58"/>
                <a:gd name="T24" fmla="*/ 36 w 73"/>
                <a:gd name="T25" fmla="*/ 14 h 58"/>
                <a:gd name="T26" fmla="*/ 36 w 73"/>
                <a:gd name="T27" fmla="*/ 14 h 58"/>
                <a:gd name="T28" fmla="*/ 40 w 73"/>
                <a:gd name="T29" fmla="*/ 16 h 58"/>
                <a:gd name="T30" fmla="*/ 50 w 73"/>
                <a:gd name="T31" fmla="*/ 42 h 58"/>
                <a:gd name="T32" fmla="*/ 65 w 73"/>
                <a:gd name="T33" fmla="*/ 3 h 58"/>
                <a:gd name="T34" fmla="*/ 70 w 73"/>
                <a:gd name="T35" fmla="*/ 1 h 58"/>
                <a:gd name="T36" fmla="*/ 72 w 73"/>
                <a:gd name="T37" fmla="*/ 6 h 58"/>
                <a:gd name="T38" fmla="*/ 53 w 73"/>
                <a:gd name="T39" fmla="*/ 56 h 58"/>
                <a:gd name="T40" fmla="*/ 50 w 73"/>
                <a:gd name="T41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73" h="58">
                  <a:moveTo>
                    <a:pt x="50" y="58"/>
                  </a:moveTo>
                  <a:cubicBezTo>
                    <a:pt x="50" y="58"/>
                    <a:pt x="50" y="58"/>
                    <a:pt x="50" y="58"/>
                  </a:cubicBezTo>
                  <a:cubicBezTo>
                    <a:pt x="48" y="58"/>
                    <a:pt x="46" y="57"/>
                    <a:pt x="46" y="56"/>
                  </a:cubicBezTo>
                  <a:cubicBezTo>
                    <a:pt x="36" y="30"/>
                    <a:pt x="36" y="30"/>
                    <a:pt x="36" y="30"/>
                  </a:cubicBezTo>
                  <a:cubicBezTo>
                    <a:pt x="27" y="55"/>
                    <a:pt x="27" y="55"/>
                    <a:pt x="27" y="55"/>
                  </a:cubicBezTo>
                  <a:cubicBezTo>
                    <a:pt x="27" y="57"/>
                    <a:pt x="25" y="58"/>
                    <a:pt x="23" y="58"/>
                  </a:cubicBezTo>
                  <a:cubicBezTo>
                    <a:pt x="22" y="58"/>
                    <a:pt x="20" y="57"/>
                    <a:pt x="19" y="55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5"/>
                    <a:pt x="1" y="2"/>
                    <a:pt x="4" y="2"/>
                  </a:cubicBezTo>
                  <a:cubicBezTo>
                    <a:pt x="6" y="1"/>
                    <a:pt x="8" y="2"/>
                    <a:pt x="9" y="4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33" y="16"/>
                    <a:pt x="33" y="16"/>
                    <a:pt x="33" y="16"/>
                  </a:cubicBezTo>
                  <a:cubicBezTo>
                    <a:pt x="33" y="15"/>
                    <a:pt x="35" y="14"/>
                    <a:pt x="36" y="14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8" y="14"/>
                    <a:pt x="40" y="15"/>
                    <a:pt x="40" y="16"/>
                  </a:cubicBezTo>
                  <a:cubicBezTo>
                    <a:pt x="50" y="42"/>
                    <a:pt x="50" y="42"/>
                    <a:pt x="50" y="42"/>
                  </a:cubicBezTo>
                  <a:cubicBezTo>
                    <a:pt x="65" y="3"/>
                    <a:pt x="65" y="3"/>
                    <a:pt x="65" y="3"/>
                  </a:cubicBezTo>
                  <a:cubicBezTo>
                    <a:pt x="65" y="1"/>
                    <a:pt x="68" y="0"/>
                    <a:pt x="70" y="1"/>
                  </a:cubicBezTo>
                  <a:cubicBezTo>
                    <a:pt x="72" y="2"/>
                    <a:pt x="73" y="4"/>
                    <a:pt x="72" y="6"/>
                  </a:cubicBezTo>
                  <a:cubicBezTo>
                    <a:pt x="53" y="56"/>
                    <a:pt x="53" y="56"/>
                    <a:pt x="53" y="56"/>
                  </a:cubicBezTo>
                  <a:cubicBezTo>
                    <a:pt x="53" y="57"/>
                    <a:pt x="51" y="58"/>
                    <a:pt x="50" y="5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29" name="Freeform 931">
              <a:extLst>
                <a:ext uri="{FF2B5EF4-FFF2-40B4-BE49-F238E27FC236}">
                  <a16:creationId xmlns:a16="http://schemas.microsoft.com/office/drawing/2014/main" id="{F01BC787-4986-2FB8-ACA9-34EE1EC1FCF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95438" y="3624263"/>
              <a:ext cx="323850" cy="119063"/>
            </a:xfrm>
            <a:custGeom>
              <a:avLst/>
              <a:gdLst>
                <a:gd name="T0" fmla="*/ 269 w 330"/>
                <a:gd name="T1" fmla="*/ 121 h 121"/>
                <a:gd name="T2" fmla="*/ 60 w 330"/>
                <a:gd name="T3" fmla="*/ 121 h 121"/>
                <a:gd name="T4" fmla="*/ 0 w 330"/>
                <a:gd name="T5" fmla="*/ 60 h 121"/>
                <a:gd name="T6" fmla="*/ 60 w 330"/>
                <a:gd name="T7" fmla="*/ 0 h 121"/>
                <a:gd name="T8" fmla="*/ 269 w 330"/>
                <a:gd name="T9" fmla="*/ 0 h 121"/>
                <a:gd name="T10" fmla="*/ 330 w 330"/>
                <a:gd name="T11" fmla="*/ 60 h 121"/>
                <a:gd name="T12" fmla="*/ 329 w 330"/>
                <a:gd name="T13" fmla="*/ 67 h 121"/>
                <a:gd name="T14" fmla="*/ 325 w 330"/>
                <a:gd name="T15" fmla="*/ 70 h 121"/>
                <a:gd name="T16" fmla="*/ 321 w 330"/>
                <a:gd name="T17" fmla="*/ 66 h 121"/>
                <a:gd name="T18" fmla="*/ 322 w 330"/>
                <a:gd name="T19" fmla="*/ 60 h 121"/>
                <a:gd name="T20" fmla="*/ 269 w 330"/>
                <a:gd name="T21" fmla="*/ 8 h 121"/>
                <a:gd name="T22" fmla="*/ 60 w 330"/>
                <a:gd name="T23" fmla="*/ 8 h 121"/>
                <a:gd name="T24" fmla="*/ 8 w 330"/>
                <a:gd name="T25" fmla="*/ 60 h 121"/>
                <a:gd name="T26" fmla="*/ 60 w 330"/>
                <a:gd name="T27" fmla="*/ 113 h 121"/>
                <a:gd name="T28" fmla="*/ 269 w 330"/>
                <a:gd name="T29" fmla="*/ 113 h 121"/>
                <a:gd name="T30" fmla="*/ 275 w 330"/>
                <a:gd name="T31" fmla="*/ 112 h 121"/>
                <a:gd name="T32" fmla="*/ 279 w 330"/>
                <a:gd name="T33" fmla="*/ 116 h 121"/>
                <a:gd name="T34" fmla="*/ 276 w 330"/>
                <a:gd name="T35" fmla="*/ 120 h 121"/>
                <a:gd name="T36" fmla="*/ 269 w 330"/>
                <a:gd name="T37" fmla="*/ 12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30" h="121">
                  <a:moveTo>
                    <a:pt x="269" y="121"/>
                  </a:moveTo>
                  <a:cubicBezTo>
                    <a:pt x="60" y="121"/>
                    <a:pt x="60" y="121"/>
                    <a:pt x="60" y="121"/>
                  </a:cubicBezTo>
                  <a:cubicBezTo>
                    <a:pt x="27" y="121"/>
                    <a:pt x="0" y="94"/>
                    <a:pt x="0" y="60"/>
                  </a:cubicBezTo>
                  <a:cubicBezTo>
                    <a:pt x="0" y="27"/>
                    <a:pt x="27" y="0"/>
                    <a:pt x="60" y="0"/>
                  </a:cubicBezTo>
                  <a:cubicBezTo>
                    <a:pt x="269" y="0"/>
                    <a:pt x="269" y="0"/>
                    <a:pt x="269" y="0"/>
                  </a:cubicBezTo>
                  <a:cubicBezTo>
                    <a:pt x="303" y="0"/>
                    <a:pt x="330" y="27"/>
                    <a:pt x="330" y="60"/>
                  </a:cubicBezTo>
                  <a:cubicBezTo>
                    <a:pt x="330" y="62"/>
                    <a:pt x="330" y="65"/>
                    <a:pt x="329" y="67"/>
                  </a:cubicBezTo>
                  <a:cubicBezTo>
                    <a:pt x="329" y="69"/>
                    <a:pt x="327" y="70"/>
                    <a:pt x="325" y="70"/>
                  </a:cubicBezTo>
                  <a:cubicBezTo>
                    <a:pt x="323" y="70"/>
                    <a:pt x="321" y="68"/>
                    <a:pt x="321" y="66"/>
                  </a:cubicBezTo>
                  <a:cubicBezTo>
                    <a:pt x="321" y="64"/>
                    <a:pt x="322" y="62"/>
                    <a:pt x="322" y="60"/>
                  </a:cubicBezTo>
                  <a:cubicBezTo>
                    <a:pt x="322" y="32"/>
                    <a:pt x="298" y="8"/>
                    <a:pt x="269" y="8"/>
                  </a:cubicBezTo>
                  <a:cubicBezTo>
                    <a:pt x="60" y="8"/>
                    <a:pt x="60" y="8"/>
                    <a:pt x="60" y="8"/>
                  </a:cubicBezTo>
                  <a:cubicBezTo>
                    <a:pt x="31" y="8"/>
                    <a:pt x="8" y="32"/>
                    <a:pt x="8" y="60"/>
                  </a:cubicBezTo>
                  <a:cubicBezTo>
                    <a:pt x="8" y="89"/>
                    <a:pt x="31" y="113"/>
                    <a:pt x="60" y="113"/>
                  </a:cubicBezTo>
                  <a:cubicBezTo>
                    <a:pt x="269" y="113"/>
                    <a:pt x="269" y="113"/>
                    <a:pt x="269" y="113"/>
                  </a:cubicBezTo>
                  <a:cubicBezTo>
                    <a:pt x="271" y="113"/>
                    <a:pt x="273" y="112"/>
                    <a:pt x="275" y="112"/>
                  </a:cubicBezTo>
                  <a:cubicBezTo>
                    <a:pt x="277" y="112"/>
                    <a:pt x="279" y="114"/>
                    <a:pt x="279" y="116"/>
                  </a:cubicBezTo>
                  <a:cubicBezTo>
                    <a:pt x="280" y="118"/>
                    <a:pt x="278" y="120"/>
                    <a:pt x="276" y="120"/>
                  </a:cubicBezTo>
                  <a:cubicBezTo>
                    <a:pt x="274" y="121"/>
                    <a:pt x="272" y="121"/>
                    <a:pt x="269" y="12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730" name="Shape18_20200717_142313">
            <a:extLst>
              <a:ext uri="{FF2B5EF4-FFF2-40B4-BE49-F238E27FC236}">
                <a16:creationId xmlns:a16="http://schemas.microsoft.com/office/drawing/2014/main" id="{B1A02951-0ECC-5299-B06D-A6177C2626D4}"/>
              </a:ext>
            </a:extLst>
          </p:cNvPr>
          <p:cNvGrpSpPr>
            <a:grpSpLocks noChangeAspect="1"/>
          </p:cNvGrpSpPr>
          <p:nvPr/>
        </p:nvGrpSpPr>
        <p:grpSpPr>
          <a:xfrm>
            <a:off x="551699" y="3972720"/>
            <a:ext cx="644152" cy="323876"/>
            <a:chOff x="12247563" y="4216400"/>
            <a:chExt cx="284163" cy="142875"/>
          </a:xfrm>
          <a:solidFill>
            <a:schemeClr val="accent1"/>
          </a:solidFill>
        </p:grpSpPr>
        <p:sp>
          <p:nvSpPr>
            <p:cNvPr id="731" name="Freeform 932">
              <a:extLst>
                <a:ext uri="{FF2B5EF4-FFF2-40B4-BE49-F238E27FC236}">
                  <a16:creationId xmlns:a16="http://schemas.microsoft.com/office/drawing/2014/main" id="{4BDB4927-CAB6-6F7D-9E47-7FEF645C35C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393613" y="4221163"/>
              <a:ext cx="107950" cy="109538"/>
            </a:xfrm>
            <a:custGeom>
              <a:avLst/>
              <a:gdLst>
                <a:gd name="T0" fmla="*/ 55 w 111"/>
                <a:gd name="T1" fmla="*/ 111 h 111"/>
                <a:gd name="T2" fmla="*/ 0 w 111"/>
                <a:gd name="T3" fmla="*/ 55 h 111"/>
                <a:gd name="T4" fmla="*/ 55 w 111"/>
                <a:gd name="T5" fmla="*/ 0 h 111"/>
                <a:gd name="T6" fmla="*/ 111 w 111"/>
                <a:gd name="T7" fmla="*/ 55 h 111"/>
                <a:gd name="T8" fmla="*/ 55 w 111"/>
                <a:gd name="T9" fmla="*/ 111 h 111"/>
                <a:gd name="T10" fmla="*/ 55 w 111"/>
                <a:gd name="T11" fmla="*/ 8 h 111"/>
                <a:gd name="T12" fmla="*/ 8 w 111"/>
                <a:gd name="T13" fmla="*/ 55 h 111"/>
                <a:gd name="T14" fmla="*/ 55 w 111"/>
                <a:gd name="T15" fmla="*/ 102 h 111"/>
                <a:gd name="T16" fmla="*/ 102 w 111"/>
                <a:gd name="T17" fmla="*/ 55 h 111"/>
                <a:gd name="T18" fmla="*/ 55 w 111"/>
                <a:gd name="T19" fmla="*/ 8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1" h="111">
                  <a:moveTo>
                    <a:pt x="55" y="111"/>
                  </a:moveTo>
                  <a:cubicBezTo>
                    <a:pt x="25" y="111"/>
                    <a:pt x="0" y="86"/>
                    <a:pt x="0" y="55"/>
                  </a:cubicBezTo>
                  <a:cubicBezTo>
                    <a:pt x="0" y="25"/>
                    <a:pt x="25" y="0"/>
                    <a:pt x="55" y="0"/>
                  </a:cubicBezTo>
                  <a:cubicBezTo>
                    <a:pt x="86" y="0"/>
                    <a:pt x="111" y="25"/>
                    <a:pt x="111" y="55"/>
                  </a:cubicBezTo>
                  <a:cubicBezTo>
                    <a:pt x="111" y="86"/>
                    <a:pt x="86" y="111"/>
                    <a:pt x="55" y="111"/>
                  </a:cubicBezTo>
                  <a:close/>
                  <a:moveTo>
                    <a:pt x="55" y="8"/>
                  </a:moveTo>
                  <a:cubicBezTo>
                    <a:pt x="29" y="8"/>
                    <a:pt x="8" y="29"/>
                    <a:pt x="8" y="55"/>
                  </a:cubicBezTo>
                  <a:cubicBezTo>
                    <a:pt x="8" y="81"/>
                    <a:pt x="29" y="102"/>
                    <a:pt x="55" y="102"/>
                  </a:cubicBezTo>
                  <a:cubicBezTo>
                    <a:pt x="81" y="102"/>
                    <a:pt x="102" y="81"/>
                    <a:pt x="102" y="55"/>
                  </a:cubicBezTo>
                  <a:cubicBezTo>
                    <a:pt x="102" y="29"/>
                    <a:pt x="81" y="8"/>
                    <a:pt x="55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32" name="Freeform 933">
              <a:extLst>
                <a:ext uri="{FF2B5EF4-FFF2-40B4-BE49-F238E27FC236}">
                  <a16:creationId xmlns:a16="http://schemas.microsoft.com/office/drawing/2014/main" id="{65D1C76D-0D05-A1F0-1959-538F1CB8B1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472988" y="4302125"/>
              <a:ext cx="58738" cy="57150"/>
            </a:xfrm>
            <a:custGeom>
              <a:avLst/>
              <a:gdLst>
                <a:gd name="T0" fmla="*/ 47 w 60"/>
                <a:gd name="T1" fmla="*/ 58 h 58"/>
                <a:gd name="T2" fmla="*/ 38 w 60"/>
                <a:gd name="T3" fmla="*/ 55 h 58"/>
                <a:gd name="T4" fmla="*/ 2 w 60"/>
                <a:gd name="T5" fmla="*/ 18 h 58"/>
                <a:gd name="T6" fmla="*/ 2 w 60"/>
                <a:gd name="T7" fmla="*/ 13 h 58"/>
                <a:gd name="T8" fmla="*/ 13 w 60"/>
                <a:gd name="T9" fmla="*/ 2 h 58"/>
                <a:gd name="T10" fmla="*/ 18 w 60"/>
                <a:gd name="T11" fmla="*/ 2 h 58"/>
                <a:gd name="T12" fmla="*/ 55 w 60"/>
                <a:gd name="T13" fmla="*/ 38 h 58"/>
                <a:gd name="T14" fmla="*/ 55 w 60"/>
                <a:gd name="T15" fmla="*/ 55 h 58"/>
                <a:gd name="T16" fmla="*/ 47 w 60"/>
                <a:gd name="T17" fmla="*/ 58 h 58"/>
                <a:gd name="T18" fmla="*/ 10 w 60"/>
                <a:gd name="T19" fmla="*/ 16 h 58"/>
                <a:gd name="T20" fmla="*/ 44 w 60"/>
                <a:gd name="T21" fmla="*/ 49 h 58"/>
                <a:gd name="T22" fmla="*/ 44 w 60"/>
                <a:gd name="T23" fmla="*/ 49 h 58"/>
                <a:gd name="T24" fmla="*/ 49 w 60"/>
                <a:gd name="T25" fmla="*/ 49 h 58"/>
                <a:gd name="T26" fmla="*/ 49 w 60"/>
                <a:gd name="T27" fmla="*/ 44 h 58"/>
                <a:gd name="T28" fmla="*/ 16 w 60"/>
                <a:gd name="T29" fmla="*/ 10 h 58"/>
                <a:gd name="T30" fmla="*/ 10 w 60"/>
                <a:gd name="T31" fmla="*/ 16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" h="58">
                  <a:moveTo>
                    <a:pt x="47" y="58"/>
                  </a:moveTo>
                  <a:cubicBezTo>
                    <a:pt x="44" y="58"/>
                    <a:pt x="41" y="57"/>
                    <a:pt x="38" y="55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0" y="17"/>
                    <a:pt x="0" y="14"/>
                    <a:pt x="2" y="13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4" y="0"/>
                    <a:pt x="17" y="0"/>
                    <a:pt x="18" y="2"/>
                  </a:cubicBezTo>
                  <a:cubicBezTo>
                    <a:pt x="55" y="38"/>
                    <a:pt x="55" y="38"/>
                    <a:pt x="55" y="38"/>
                  </a:cubicBezTo>
                  <a:cubicBezTo>
                    <a:pt x="60" y="43"/>
                    <a:pt x="60" y="50"/>
                    <a:pt x="55" y="55"/>
                  </a:cubicBezTo>
                  <a:cubicBezTo>
                    <a:pt x="53" y="57"/>
                    <a:pt x="50" y="58"/>
                    <a:pt x="47" y="58"/>
                  </a:cubicBezTo>
                  <a:close/>
                  <a:moveTo>
                    <a:pt x="10" y="16"/>
                  </a:moveTo>
                  <a:cubicBezTo>
                    <a:pt x="44" y="49"/>
                    <a:pt x="44" y="49"/>
                    <a:pt x="44" y="49"/>
                  </a:cubicBezTo>
                  <a:cubicBezTo>
                    <a:pt x="44" y="49"/>
                    <a:pt x="44" y="49"/>
                    <a:pt x="44" y="49"/>
                  </a:cubicBezTo>
                  <a:cubicBezTo>
                    <a:pt x="46" y="51"/>
                    <a:pt x="48" y="51"/>
                    <a:pt x="49" y="49"/>
                  </a:cubicBezTo>
                  <a:cubicBezTo>
                    <a:pt x="51" y="48"/>
                    <a:pt x="51" y="45"/>
                    <a:pt x="49" y="44"/>
                  </a:cubicBezTo>
                  <a:cubicBezTo>
                    <a:pt x="16" y="10"/>
                    <a:pt x="16" y="10"/>
                    <a:pt x="16" y="10"/>
                  </a:cubicBezTo>
                  <a:lnTo>
                    <a:pt x="10" y="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33" name="Freeform 934">
              <a:extLst>
                <a:ext uri="{FF2B5EF4-FFF2-40B4-BE49-F238E27FC236}">
                  <a16:creationId xmlns:a16="http://schemas.microsoft.com/office/drawing/2014/main" id="{A9B89C2C-9CF0-0BD6-2774-2AE07C5289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47563" y="4216400"/>
              <a:ext cx="7938" cy="120650"/>
            </a:xfrm>
            <a:custGeom>
              <a:avLst/>
              <a:gdLst>
                <a:gd name="T0" fmla="*/ 4 w 8"/>
                <a:gd name="T1" fmla="*/ 123 h 123"/>
                <a:gd name="T2" fmla="*/ 0 w 8"/>
                <a:gd name="T3" fmla="*/ 119 h 123"/>
                <a:gd name="T4" fmla="*/ 0 w 8"/>
                <a:gd name="T5" fmla="*/ 4 h 123"/>
                <a:gd name="T6" fmla="*/ 4 w 8"/>
                <a:gd name="T7" fmla="*/ 0 h 123"/>
                <a:gd name="T8" fmla="*/ 8 w 8"/>
                <a:gd name="T9" fmla="*/ 4 h 123"/>
                <a:gd name="T10" fmla="*/ 8 w 8"/>
                <a:gd name="T11" fmla="*/ 119 h 123"/>
                <a:gd name="T12" fmla="*/ 4 w 8"/>
                <a:gd name="T13" fmla="*/ 12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123">
                  <a:moveTo>
                    <a:pt x="4" y="123"/>
                  </a:moveTo>
                  <a:cubicBezTo>
                    <a:pt x="1" y="123"/>
                    <a:pt x="0" y="121"/>
                    <a:pt x="0" y="119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1" y="0"/>
                    <a:pt x="4" y="0"/>
                  </a:cubicBezTo>
                  <a:cubicBezTo>
                    <a:pt x="6" y="0"/>
                    <a:pt x="8" y="1"/>
                    <a:pt x="8" y="4"/>
                  </a:cubicBezTo>
                  <a:cubicBezTo>
                    <a:pt x="8" y="119"/>
                    <a:pt x="8" y="119"/>
                    <a:pt x="8" y="119"/>
                  </a:cubicBezTo>
                  <a:cubicBezTo>
                    <a:pt x="8" y="121"/>
                    <a:pt x="6" y="123"/>
                    <a:pt x="4" y="12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34" name="Freeform 935">
              <a:extLst>
                <a:ext uri="{FF2B5EF4-FFF2-40B4-BE49-F238E27FC236}">
                  <a16:creationId xmlns:a16="http://schemas.microsoft.com/office/drawing/2014/main" id="{D67BBE4F-31B5-2471-0A36-9671DAACE71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88838" y="4216400"/>
              <a:ext cx="7938" cy="120650"/>
            </a:xfrm>
            <a:custGeom>
              <a:avLst/>
              <a:gdLst>
                <a:gd name="T0" fmla="*/ 4 w 8"/>
                <a:gd name="T1" fmla="*/ 123 h 123"/>
                <a:gd name="T2" fmla="*/ 0 w 8"/>
                <a:gd name="T3" fmla="*/ 119 h 123"/>
                <a:gd name="T4" fmla="*/ 0 w 8"/>
                <a:gd name="T5" fmla="*/ 4 h 123"/>
                <a:gd name="T6" fmla="*/ 4 w 8"/>
                <a:gd name="T7" fmla="*/ 0 h 123"/>
                <a:gd name="T8" fmla="*/ 8 w 8"/>
                <a:gd name="T9" fmla="*/ 4 h 123"/>
                <a:gd name="T10" fmla="*/ 8 w 8"/>
                <a:gd name="T11" fmla="*/ 119 h 123"/>
                <a:gd name="T12" fmla="*/ 4 w 8"/>
                <a:gd name="T13" fmla="*/ 12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123">
                  <a:moveTo>
                    <a:pt x="4" y="123"/>
                  </a:moveTo>
                  <a:cubicBezTo>
                    <a:pt x="2" y="123"/>
                    <a:pt x="0" y="121"/>
                    <a:pt x="0" y="119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" y="0"/>
                    <a:pt x="8" y="1"/>
                    <a:pt x="8" y="4"/>
                  </a:cubicBezTo>
                  <a:cubicBezTo>
                    <a:pt x="8" y="119"/>
                    <a:pt x="8" y="119"/>
                    <a:pt x="8" y="119"/>
                  </a:cubicBezTo>
                  <a:cubicBezTo>
                    <a:pt x="8" y="121"/>
                    <a:pt x="6" y="123"/>
                    <a:pt x="4" y="12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35" name="Freeform 936">
              <a:extLst>
                <a:ext uri="{FF2B5EF4-FFF2-40B4-BE49-F238E27FC236}">
                  <a16:creationId xmlns:a16="http://schemas.microsoft.com/office/drawing/2014/main" id="{D3A14139-2AF9-9F30-BEA4-AB6550E6BB8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71375" y="4216400"/>
              <a:ext cx="9525" cy="120650"/>
            </a:xfrm>
            <a:custGeom>
              <a:avLst/>
              <a:gdLst>
                <a:gd name="T0" fmla="*/ 4 w 9"/>
                <a:gd name="T1" fmla="*/ 123 h 123"/>
                <a:gd name="T2" fmla="*/ 0 w 9"/>
                <a:gd name="T3" fmla="*/ 119 h 123"/>
                <a:gd name="T4" fmla="*/ 0 w 9"/>
                <a:gd name="T5" fmla="*/ 4 h 123"/>
                <a:gd name="T6" fmla="*/ 4 w 9"/>
                <a:gd name="T7" fmla="*/ 0 h 123"/>
                <a:gd name="T8" fmla="*/ 9 w 9"/>
                <a:gd name="T9" fmla="*/ 4 h 123"/>
                <a:gd name="T10" fmla="*/ 9 w 9"/>
                <a:gd name="T11" fmla="*/ 119 h 123"/>
                <a:gd name="T12" fmla="*/ 4 w 9"/>
                <a:gd name="T13" fmla="*/ 12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23">
                  <a:moveTo>
                    <a:pt x="4" y="123"/>
                  </a:moveTo>
                  <a:cubicBezTo>
                    <a:pt x="2" y="123"/>
                    <a:pt x="0" y="121"/>
                    <a:pt x="0" y="119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7" y="0"/>
                    <a:pt x="9" y="1"/>
                    <a:pt x="9" y="4"/>
                  </a:cubicBezTo>
                  <a:cubicBezTo>
                    <a:pt x="9" y="119"/>
                    <a:pt x="9" y="119"/>
                    <a:pt x="9" y="119"/>
                  </a:cubicBezTo>
                  <a:cubicBezTo>
                    <a:pt x="9" y="121"/>
                    <a:pt x="7" y="123"/>
                    <a:pt x="4" y="12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36" name="Freeform 937">
              <a:extLst>
                <a:ext uri="{FF2B5EF4-FFF2-40B4-BE49-F238E27FC236}">
                  <a16:creationId xmlns:a16="http://schemas.microsoft.com/office/drawing/2014/main" id="{E2E5EAB5-1DD9-6041-36EC-562F1C1F7C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31700" y="4216400"/>
              <a:ext cx="7938" cy="120650"/>
            </a:xfrm>
            <a:custGeom>
              <a:avLst/>
              <a:gdLst>
                <a:gd name="T0" fmla="*/ 4 w 8"/>
                <a:gd name="T1" fmla="*/ 123 h 123"/>
                <a:gd name="T2" fmla="*/ 0 w 8"/>
                <a:gd name="T3" fmla="*/ 119 h 123"/>
                <a:gd name="T4" fmla="*/ 0 w 8"/>
                <a:gd name="T5" fmla="*/ 4 h 123"/>
                <a:gd name="T6" fmla="*/ 4 w 8"/>
                <a:gd name="T7" fmla="*/ 0 h 123"/>
                <a:gd name="T8" fmla="*/ 8 w 8"/>
                <a:gd name="T9" fmla="*/ 4 h 123"/>
                <a:gd name="T10" fmla="*/ 8 w 8"/>
                <a:gd name="T11" fmla="*/ 119 h 123"/>
                <a:gd name="T12" fmla="*/ 4 w 8"/>
                <a:gd name="T13" fmla="*/ 12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123">
                  <a:moveTo>
                    <a:pt x="4" y="123"/>
                  </a:moveTo>
                  <a:cubicBezTo>
                    <a:pt x="2" y="123"/>
                    <a:pt x="0" y="121"/>
                    <a:pt x="0" y="119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" y="0"/>
                    <a:pt x="8" y="1"/>
                    <a:pt x="8" y="4"/>
                  </a:cubicBezTo>
                  <a:cubicBezTo>
                    <a:pt x="8" y="119"/>
                    <a:pt x="8" y="119"/>
                    <a:pt x="8" y="119"/>
                  </a:cubicBezTo>
                  <a:cubicBezTo>
                    <a:pt x="8" y="121"/>
                    <a:pt x="6" y="123"/>
                    <a:pt x="4" y="12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37" name="Freeform 938">
              <a:extLst>
                <a:ext uri="{FF2B5EF4-FFF2-40B4-BE49-F238E27FC236}">
                  <a16:creationId xmlns:a16="http://schemas.microsoft.com/office/drawing/2014/main" id="{D98B6478-ADF8-CC78-F378-DD68FD34BE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49163" y="4216400"/>
              <a:ext cx="7938" cy="120650"/>
            </a:xfrm>
            <a:custGeom>
              <a:avLst/>
              <a:gdLst>
                <a:gd name="T0" fmla="*/ 4 w 8"/>
                <a:gd name="T1" fmla="*/ 123 h 123"/>
                <a:gd name="T2" fmla="*/ 0 w 8"/>
                <a:gd name="T3" fmla="*/ 119 h 123"/>
                <a:gd name="T4" fmla="*/ 0 w 8"/>
                <a:gd name="T5" fmla="*/ 4 h 123"/>
                <a:gd name="T6" fmla="*/ 4 w 8"/>
                <a:gd name="T7" fmla="*/ 0 h 123"/>
                <a:gd name="T8" fmla="*/ 8 w 8"/>
                <a:gd name="T9" fmla="*/ 4 h 123"/>
                <a:gd name="T10" fmla="*/ 8 w 8"/>
                <a:gd name="T11" fmla="*/ 119 h 123"/>
                <a:gd name="T12" fmla="*/ 4 w 8"/>
                <a:gd name="T13" fmla="*/ 12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123">
                  <a:moveTo>
                    <a:pt x="4" y="123"/>
                  </a:moveTo>
                  <a:cubicBezTo>
                    <a:pt x="2" y="123"/>
                    <a:pt x="0" y="121"/>
                    <a:pt x="0" y="119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" y="0"/>
                    <a:pt x="8" y="1"/>
                    <a:pt x="8" y="4"/>
                  </a:cubicBezTo>
                  <a:cubicBezTo>
                    <a:pt x="8" y="119"/>
                    <a:pt x="8" y="119"/>
                    <a:pt x="8" y="119"/>
                  </a:cubicBezTo>
                  <a:cubicBezTo>
                    <a:pt x="8" y="121"/>
                    <a:pt x="6" y="123"/>
                    <a:pt x="4" y="12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38" name="Freeform 939">
              <a:extLst>
                <a:ext uri="{FF2B5EF4-FFF2-40B4-BE49-F238E27FC236}">
                  <a16:creationId xmlns:a16="http://schemas.microsoft.com/office/drawing/2014/main" id="{25005357-ADFB-CDEE-C8A7-D5F041E876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06300" y="4216400"/>
              <a:ext cx="7938" cy="120650"/>
            </a:xfrm>
            <a:custGeom>
              <a:avLst/>
              <a:gdLst>
                <a:gd name="T0" fmla="*/ 4 w 8"/>
                <a:gd name="T1" fmla="*/ 123 h 123"/>
                <a:gd name="T2" fmla="*/ 0 w 8"/>
                <a:gd name="T3" fmla="*/ 119 h 123"/>
                <a:gd name="T4" fmla="*/ 0 w 8"/>
                <a:gd name="T5" fmla="*/ 4 h 123"/>
                <a:gd name="T6" fmla="*/ 4 w 8"/>
                <a:gd name="T7" fmla="*/ 0 h 123"/>
                <a:gd name="T8" fmla="*/ 8 w 8"/>
                <a:gd name="T9" fmla="*/ 4 h 123"/>
                <a:gd name="T10" fmla="*/ 8 w 8"/>
                <a:gd name="T11" fmla="*/ 119 h 123"/>
                <a:gd name="T12" fmla="*/ 4 w 8"/>
                <a:gd name="T13" fmla="*/ 12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123">
                  <a:moveTo>
                    <a:pt x="4" y="123"/>
                  </a:moveTo>
                  <a:cubicBezTo>
                    <a:pt x="2" y="123"/>
                    <a:pt x="0" y="121"/>
                    <a:pt x="0" y="119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7" y="0"/>
                    <a:pt x="8" y="1"/>
                    <a:pt x="8" y="4"/>
                  </a:cubicBezTo>
                  <a:cubicBezTo>
                    <a:pt x="8" y="119"/>
                    <a:pt x="8" y="119"/>
                    <a:pt x="8" y="119"/>
                  </a:cubicBezTo>
                  <a:cubicBezTo>
                    <a:pt x="8" y="121"/>
                    <a:pt x="7" y="123"/>
                    <a:pt x="4" y="12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39" name="Freeform 940">
              <a:extLst>
                <a:ext uri="{FF2B5EF4-FFF2-40B4-BE49-F238E27FC236}">
                  <a16:creationId xmlns:a16="http://schemas.microsoft.com/office/drawing/2014/main" id="{E1C4C97F-54E4-1C29-C37E-900FB33F8A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72975" y="4216400"/>
              <a:ext cx="9525" cy="120650"/>
            </a:xfrm>
            <a:custGeom>
              <a:avLst/>
              <a:gdLst>
                <a:gd name="T0" fmla="*/ 4 w 9"/>
                <a:gd name="T1" fmla="*/ 123 h 123"/>
                <a:gd name="T2" fmla="*/ 0 w 9"/>
                <a:gd name="T3" fmla="*/ 119 h 123"/>
                <a:gd name="T4" fmla="*/ 0 w 9"/>
                <a:gd name="T5" fmla="*/ 4 h 123"/>
                <a:gd name="T6" fmla="*/ 4 w 9"/>
                <a:gd name="T7" fmla="*/ 0 h 123"/>
                <a:gd name="T8" fmla="*/ 9 w 9"/>
                <a:gd name="T9" fmla="*/ 4 h 123"/>
                <a:gd name="T10" fmla="*/ 9 w 9"/>
                <a:gd name="T11" fmla="*/ 119 h 123"/>
                <a:gd name="T12" fmla="*/ 4 w 9"/>
                <a:gd name="T13" fmla="*/ 12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23">
                  <a:moveTo>
                    <a:pt x="4" y="123"/>
                  </a:moveTo>
                  <a:cubicBezTo>
                    <a:pt x="2" y="123"/>
                    <a:pt x="0" y="121"/>
                    <a:pt x="0" y="119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7" y="0"/>
                    <a:pt x="9" y="1"/>
                    <a:pt x="9" y="4"/>
                  </a:cubicBezTo>
                  <a:cubicBezTo>
                    <a:pt x="9" y="119"/>
                    <a:pt x="9" y="119"/>
                    <a:pt x="9" y="119"/>
                  </a:cubicBezTo>
                  <a:cubicBezTo>
                    <a:pt x="9" y="121"/>
                    <a:pt x="7" y="123"/>
                    <a:pt x="4" y="12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40" name="Freeform 941">
              <a:extLst>
                <a:ext uri="{FF2B5EF4-FFF2-40B4-BE49-F238E27FC236}">
                  <a16:creationId xmlns:a16="http://schemas.microsoft.com/office/drawing/2014/main" id="{3D0EF77C-0AD2-030A-E627-194BC1B8401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19013" y="4316413"/>
              <a:ext cx="7938" cy="20638"/>
            </a:xfrm>
            <a:custGeom>
              <a:avLst/>
              <a:gdLst>
                <a:gd name="T0" fmla="*/ 4 w 8"/>
                <a:gd name="T1" fmla="*/ 21 h 21"/>
                <a:gd name="T2" fmla="*/ 0 w 8"/>
                <a:gd name="T3" fmla="*/ 17 h 21"/>
                <a:gd name="T4" fmla="*/ 0 w 8"/>
                <a:gd name="T5" fmla="*/ 4 h 21"/>
                <a:gd name="T6" fmla="*/ 4 w 8"/>
                <a:gd name="T7" fmla="*/ 0 h 21"/>
                <a:gd name="T8" fmla="*/ 8 w 8"/>
                <a:gd name="T9" fmla="*/ 4 h 21"/>
                <a:gd name="T10" fmla="*/ 8 w 8"/>
                <a:gd name="T11" fmla="*/ 17 h 21"/>
                <a:gd name="T12" fmla="*/ 4 w 8"/>
                <a:gd name="T13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21">
                  <a:moveTo>
                    <a:pt x="4" y="21"/>
                  </a:moveTo>
                  <a:cubicBezTo>
                    <a:pt x="1" y="21"/>
                    <a:pt x="0" y="19"/>
                    <a:pt x="0" y="17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17"/>
                    <a:pt x="8" y="17"/>
                    <a:pt x="8" y="17"/>
                  </a:cubicBezTo>
                  <a:cubicBezTo>
                    <a:pt x="8" y="19"/>
                    <a:pt x="6" y="21"/>
                    <a:pt x="4" y="2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41" name="Freeform 942">
              <a:extLst>
                <a:ext uri="{FF2B5EF4-FFF2-40B4-BE49-F238E27FC236}">
                  <a16:creationId xmlns:a16="http://schemas.microsoft.com/office/drawing/2014/main" id="{573E5444-C897-B72C-F0F4-BCA0B6C02B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19013" y="4216400"/>
              <a:ext cx="7938" cy="17463"/>
            </a:xfrm>
            <a:custGeom>
              <a:avLst/>
              <a:gdLst>
                <a:gd name="T0" fmla="*/ 4 w 8"/>
                <a:gd name="T1" fmla="*/ 17 h 17"/>
                <a:gd name="T2" fmla="*/ 0 w 8"/>
                <a:gd name="T3" fmla="*/ 13 h 17"/>
                <a:gd name="T4" fmla="*/ 0 w 8"/>
                <a:gd name="T5" fmla="*/ 4 h 17"/>
                <a:gd name="T6" fmla="*/ 4 w 8"/>
                <a:gd name="T7" fmla="*/ 0 h 17"/>
                <a:gd name="T8" fmla="*/ 8 w 8"/>
                <a:gd name="T9" fmla="*/ 4 h 17"/>
                <a:gd name="T10" fmla="*/ 8 w 8"/>
                <a:gd name="T11" fmla="*/ 13 h 17"/>
                <a:gd name="T12" fmla="*/ 4 w 8"/>
                <a:gd name="T13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17">
                  <a:moveTo>
                    <a:pt x="4" y="17"/>
                  </a:moveTo>
                  <a:cubicBezTo>
                    <a:pt x="1" y="17"/>
                    <a:pt x="0" y="15"/>
                    <a:pt x="0" y="1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1" y="0"/>
                    <a:pt x="4" y="0"/>
                  </a:cubicBezTo>
                  <a:cubicBezTo>
                    <a:pt x="6" y="0"/>
                    <a:pt x="8" y="1"/>
                    <a:pt x="8" y="4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8" y="15"/>
                    <a:pt x="6" y="17"/>
                    <a:pt x="4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42" name="Freeform 943">
              <a:extLst>
                <a:ext uri="{FF2B5EF4-FFF2-40B4-BE49-F238E27FC236}">
                  <a16:creationId xmlns:a16="http://schemas.microsoft.com/office/drawing/2014/main" id="{72898022-4026-697D-0581-C8F6AF2D3B7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99963" y="4297363"/>
              <a:ext cx="7938" cy="39688"/>
            </a:xfrm>
            <a:custGeom>
              <a:avLst/>
              <a:gdLst>
                <a:gd name="T0" fmla="*/ 4 w 8"/>
                <a:gd name="T1" fmla="*/ 40 h 40"/>
                <a:gd name="T2" fmla="*/ 0 w 8"/>
                <a:gd name="T3" fmla="*/ 36 h 40"/>
                <a:gd name="T4" fmla="*/ 0 w 8"/>
                <a:gd name="T5" fmla="*/ 4 h 40"/>
                <a:gd name="T6" fmla="*/ 4 w 8"/>
                <a:gd name="T7" fmla="*/ 0 h 40"/>
                <a:gd name="T8" fmla="*/ 8 w 8"/>
                <a:gd name="T9" fmla="*/ 4 h 40"/>
                <a:gd name="T10" fmla="*/ 8 w 8"/>
                <a:gd name="T11" fmla="*/ 36 h 40"/>
                <a:gd name="T12" fmla="*/ 4 w 8"/>
                <a:gd name="T1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40">
                  <a:moveTo>
                    <a:pt x="4" y="40"/>
                  </a:moveTo>
                  <a:cubicBezTo>
                    <a:pt x="2" y="40"/>
                    <a:pt x="0" y="38"/>
                    <a:pt x="0" y="3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36"/>
                    <a:pt x="8" y="36"/>
                    <a:pt x="8" y="36"/>
                  </a:cubicBezTo>
                  <a:cubicBezTo>
                    <a:pt x="8" y="38"/>
                    <a:pt x="6" y="40"/>
                    <a:pt x="4" y="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43" name="Freeform 944">
              <a:extLst>
                <a:ext uri="{FF2B5EF4-FFF2-40B4-BE49-F238E27FC236}">
                  <a16:creationId xmlns:a16="http://schemas.microsoft.com/office/drawing/2014/main" id="{20C19907-7049-4CF1-D0AD-5F158044054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99963" y="4216400"/>
              <a:ext cx="7938" cy="36513"/>
            </a:xfrm>
            <a:custGeom>
              <a:avLst/>
              <a:gdLst>
                <a:gd name="T0" fmla="*/ 4 w 8"/>
                <a:gd name="T1" fmla="*/ 37 h 37"/>
                <a:gd name="T2" fmla="*/ 0 w 8"/>
                <a:gd name="T3" fmla="*/ 33 h 37"/>
                <a:gd name="T4" fmla="*/ 0 w 8"/>
                <a:gd name="T5" fmla="*/ 4 h 37"/>
                <a:gd name="T6" fmla="*/ 4 w 8"/>
                <a:gd name="T7" fmla="*/ 0 h 37"/>
                <a:gd name="T8" fmla="*/ 8 w 8"/>
                <a:gd name="T9" fmla="*/ 4 h 37"/>
                <a:gd name="T10" fmla="*/ 8 w 8"/>
                <a:gd name="T11" fmla="*/ 33 h 37"/>
                <a:gd name="T12" fmla="*/ 4 w 8"/>
                <a:gd name="T13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37">
                  <a:moveTo>
                    <a:pt x="4" y="37"/>
                  </a:moveTo>
                  <a:cubicBezTo>
                    <a:pt x="2" y="37"/>
                    <a:pt x="0" y="35"/>
                    <a:pt x="0" y="3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" y="0"/>
                    <a:pt x="8" y="1"/>
                    <a:pt x="8" y="4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8" y="35"/>
                    <a:pt x="6" y="37"/>
                    <a:pt x="4" y="3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44" name="Freeform 945">
              <a:extLst>
                <a:ext uri="{FF2B5EF4-FFF2-40B4-BE49-F238E27FC236}">
                  <a16:creationId xmlns:a16="http://schemas.microsoft.com/office/drawing/2014/main" id="{E33EB82D-E733-8DD9-DB0C-0994D22552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34888" y="4321175"/>
              <a:ext cx="9525" cy="15875"/>
            </a:xfrm>
            <a:custGeom>
              <a:avLst/>
              <a:gdLst>
                <a:gd name="T0" fmla="*/ 5 w 9"/>
                <a:gd name="T1" fmla="*/ 16 h 16"/>
                <a:gd name="T2" fmla="*/ 0 w 9"/>
                <a:gd name="T3" fmla="*/ 12 h 16"/>
                <a:gd name="T4" fmla="*/ 0 w 9"/>
                <a:gd name="T5" fmla="*/ 5 h 16"/>
                <a:gd name="T6" fmla="*/ 5 w 9"/>
                <a:gd name="T7" fmla="*/ 0 h 16"/>
                <a:gd name="T8" fmla="*/ 9 w 9"/>
                <a:gd name="T9" fmla="*/ 5 h 16"/>
                <a:gd name="T10" fmla="*/ 9 w 9"/>
                <a:gd name="T11" fmla="*/ 12 h 16"/>
                <a:gd name="T12" fmla="*/ 5 w 9"/>
                <a:gd name="T13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6">
                  <a:moveTo>
                    <a:pt x="5" y="16"/>
                  </a:moveTo>
                  <a:cubicBezTo>
                    <a:pt x="2" y="16"/>
                    <a:pt x="0" y="14"/>
                    <a:pt x="0" y="12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9" y="14"/>
                    <a:pt x="7" y="16"/>
                    <a:pt x="5" y="1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45" name="Freeform 946">
              <a:extLst>
                <a:ext uri="{FF2B5EF4-FFF2-40B4-BE49-F238E27FC236}">
                  <a16:creationId xmlns:a16="http://schemas.microsoft.com/office/drawing/2014/main" id="{999197B5-0672-976D-3908-E9DBE881A9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34888" y="4216400"/>
              <a:ext cx="9525" cy="12700"/>
            </a:xfrm>
            <a:custGeom>
              <a:avLst/>
              <a:gdLst>
                <a:gd name="T0" fmla="*/ 5 w 9"/>
                <a:gd name="T1" fmla="*/ 13 h 13"/>
                <a:gd name="T2" fmla="*/ 0 w 9"/>
                <a:gd name="T3" fmla="*/ 9 h 13"/>
                <a:gd name="T4" fmla="*/ 0 w 9"/>
                <a:gd name="T5" fmla="*/ 4 h 13"/>
                <a:gd name="T6" fmla="*/ 5 w 9"/>
                <a:gd name="T7" fmla="*/ 0 h 13"/>
                <a:gd name="T8" fmla="*/ 9 w 9"/>
                <a:gd name="T9" fmla="*/ 4 h 13"/>
                <a:gd name="T10" fmla="*/ 9 w 9"/>
                <a:gd name="T11" fmla="*/ 9 h 13"/>
                <a:gd name="T12" fmla="*/ 5 w 9"/>
                <a:gd name="T13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3">
                  <a:moveTo>
                    <a:pt x="5" y="13"/>
                  </a:moveTo>
                  <a:cubicBezTo>
                    <a:pt x="2" y="13"/>
                    <a:pt x="0" y="11"/>
                    <a:pt x="0" y="9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5" y="0"/>
                  </a:cubicBezTo>
                  <a:cubicBezTo>
                    <a:pt x="7" y="0"/>
                    <a:pt x="9" y="1"/>
                    <a:pt x="9" y="4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11"/>
                    <a:pt x="7" y="13"/>
                    <a:pt x="5" y="1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746" name="Shape19_20200717_142313">
            <a:extLst>
              <a:ext uri="{FF2B5EF4-FFF2-40B4-BE49-F238E27FC236}">
                <a16:creationId xmlns:a16="http://schemas.microsoft.com/office/drawing/2014/main" id="{376889D3-E460-C092-5C7C-FF9E074ADC8D}"/>
              </a:ext>
            </a:extLst>
          </p:cNvPr>
          <p:cNvGrpSpPr>
            <a:grpSpLocks noChangeAspect="1"/>
          </p:cNvGrpSpPr>
          <p:nvPr/>
        </p:nvGrpSpPr>
        <p:grpSpPr>
          <a:xfrm>
            <a:off x="1886042" y="3843168"/>
            <a:ext cx="586578" cy="582978"/>
            <a:chOff x="12785725" y="4159250"/>
            <a:chExt cx="258763" cy="257176"/>
          </a:xfrm>
          <a:solidFill>
            <a:schemeClr val="accent1"/>
          </a:solidFill>
        </p:grpSpPr>
        <p:sp>
          <p:nvSpPr>
            <p:cNvPr id="747" name="Freeform 947">
              <a:extLst>
                <a:ext uri="{FF2B5EF4-FFF2-40B4-BE49-F238E27FC236}">
                  <a16:creationId xmlns:a16="http://schemas.microsoft.com/office/drawing/2014/main" id="{3A6F9964-0F86-E255-0143-74C77AF8FD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76213" y="4159250"/>
              <a:ext cx="7938" cy="25400"/>
            </a:xfrm>
            <a:custGeom>
              <a:avLst/>
              <a:gdLst>
                <a:gd name="T0" fmla="*/ 4 w 8"/>
                <a:gd name="T1" fmla="*/ 26 h 26"/>
                <a:gd name="T2" fmla="*/ 0 w 8"/>
                <a:gd name="T3" fmla="*/ 21 h 26"/>
                <a:gd name="T4" fmla="*/ 0 w 8"/>
                <a:gd name="T5" fmla="*/ 5 h 26"/>
                <a:gd name="T6" fmla="*/ 4 w 8"/>
                <a:gd name="T7" fmla="*/ 0 h 26"/>
                <a:gd name="T8" fmla="*/ 8 w 8"/>
                <a:gd name="T9" fmla="*/ 5 h 26"/>
                <a:gd name="T10" fmla="*/ 8 w 8"/>
                <a:gd name="T11" fmla="*/ 21 h 26"/>
                <a:gd name="T12" fmla="*/ 4 w 8"/>
                <a:gd name="T13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26">
                  <a:moveTo>
                    <a:pt x="4" y="26"/>
                  </a:moveTo>
                  <a:cubicBezTo>
                    <a:pt x="2" y="26"/>
                    <a:pt x="0" y="24"/>
                    <a:pt x="0" y="21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5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24"/>
                    <a:pt x="6" y="26"/>
                    <a:pt x="4" y="2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48" name="Freeform 948">
              <a:extLst>
                <a:ext uri="{FF2B5EF4-FFF2-40B4-BE49-F238E27FC236}">
                  <a16:creationId xmlns:a16="http://schemas.microsoft.com/office/drawing/2014/main" id="{BBB9CDCF-4B97-F53F-801A-20CD40EFB2D8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76213" y="4160838"/>
              <a:ext cx="7938" cy="14288"/>
            </a:xfrm>
            <a:custGeom>
              <a:avLst/>
              <a:gdLst>
                <a:gd name="T0" fmla="*/ 4 w 8"/>
                <a:gd name="T1" fmla="*/ 14 h 14"/>
                <a:gd name="T2" fmla="*/ 0 w 8"/>
                <a:gd name="T3" fmla="*/ 10 h 14"/>
                <a:gd name="T4" fmla="*/ 0 w 8"/>
                <a:gd name="T5" fmla="*/ 4 h 14"/>
                <a:gd name="T6" fmla="*/ 4 w 8"/>
                <a:gd name="T7" fmla="*/ 0 h 14"/>
                <a:gd name="T8" fmla="*/ 8 w 8"/>
                <a:gd name="T9" fmla="*/ 4 h 14"/>
                <a:gd name="T10" fmla="*/ 8 w 8"/>
                <a:gd name="T11" fmla="*/ 10 h 14"/>
                <a:gd name="T12" fmla="*/ 4 w 8"/>
                <a:gd name="T13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14">
                  <a:moveTo>
                    <a:pt x="4" y="14"/>
                  </a:moveTo>
                  <a:cubicBezTo>
                    <a:pt x="2" y="14"/>
                    <a:pt x="0" y="12"/>
                    <a:pt x="0" y="1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8" y="12"/>
                    <a:pt x="6" y="14"/>
                    <a:pt x="4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49" name="Freeform 949">
              <a:extLst>
                <a:ext uri="{FF2B5EF4-FFF2-40B4-BE49-F238E27FC236}">
                  <a16:creationId xmlns:a16="http://schemas.microsoft.com/office/drawing/2014/main" id="{534F3161-B90B-2262-4788-870FD95EAED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31763" y="4173538"/>
              <a:ext cx="11113" cy="12700"/>
            </a:xfrm>
            <a:custGeom>
              <a:avLst/>
              <a:gdLst>
                <a:gd name="T0" fmla="*/ 8 w 12"/>
                <a:gd name="T1" fmla="*/ 13 h 13"/>
                <a:gd name="T2" fmla="*/ 4 w 12"/>
                <a:gd name="T3" fmla="*/ 11 h 13"/>
                <a:gd name="T4" fmla="*/ 1 w 12"/>
                <a:gd name="T5" fmla="*/ 7 h 13"/>
                <a:gd name="T6" fmla="*/ 3 w 12"/>
                <a:gd name="T7" fmla="*/ 1 h 13"/>
                <a:gd name="T8" fmla="*/ 9 w 12"/>
                <a:gd name="T9" fmla="*/ 2 h 13"/>
                <a:gd name="T10" fmla="*/ 11 w 12"/>
                <a:gd name="T11" fmla="*/ 7 h 13"/>
                <a:gd name="T12" fmla="*/ 10 w 12"/>
                <a:gd name="T13" fmla="*/ 13 h 13"/>
                <a:gd name="T14" fmla="*/ 8 w 12"/>
                <a:gd name="T15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13">
                  <a:moveTo>
                    <a:pt x="8" y="13"/>
                  </a:moveTo>
                  <a:cubicBezTo>
                    <a:pt x="6" y="13"/>
                    <a:pt x="5" y="12"/>
                    <a:pt x="4" y="11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5"/>
                    <a:pt x="1" y="2"/>
                    <a:pt x="3" y="1"/>
                  </a:cubicBezTo>
                  <a:cubicBezTo>
                    <a:pt x="5" y="0"/>
                    <a:pt x="7" y="0"/>
                    <a:pt x="9" y="2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2" y="9"/>
                    <a:pt x="12" y="11"/>
                    <a:pt x="10" y="13"/>
                  </a:cubicBezTo>
                  <a:cubicBezTo>
                    <a:pt x="9" y="13"/>
                    <a:pt x="8" y="13"/>
                    <a:pt x="8" y="1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50" name="Freeform 950">
              <a:extLst>
                <a:ext uri="{FF2B5EF4-FFF2-40B4-BE49-F238E27FC236}">
                  <a16:creationId xmlns:a16="http://schemas.microsoft.com/office/drawing/2014/main" id="{1A8894D5-7E01-002D-F023-F0491CD42B2C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98425" y="4205288"/>
              <a:ext cx="14288" cy="11113"/>
            </a:xfrm>
            <a:custGeom>
              <a:avLst/>
              <a:gdLst>
                <a:gd name="T0" fmla="*/ 9 w 14"/>
                <a:gd name="T1" fmla="*/ 11 h 11"/>
                <a:gd name="T2" fmla="*/ 7 w 14"/>
                <a:gd name="T3" fmla="*/ 11 h 11"/>
                <a:gd name="T4" fmla="*/ 3 w 14"/>
                <a:gd name="T5" fmla="*/ 8 h 11"/>
                <a:gd name="T6" fmla="*/ 1 w 14"/>
                <a:gd name="T7" fmla="*/ 3 h 11"/>
                <a:gd name="T8" fmla="*/ 7 w 14"/>
                <a:gd name="T9" fmla="*/ 1 h 11"/>
                <a:gd name="T10" fmla="*/ 11 w 14"/>
                <a:gd name="T11" fmla="*/ 4 h 11"/>
                <a:gd name="T12" fmla="*/ 13 w 14"/>
                <a:gd name="T13" fmla="*/ 9 h 11"/>
                <a:gd name="T14" fmla="*/ 9 w 14"/>
                <a:gd name="T1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11">
                  <a:moveTo>
                    <a:pt x="9" y="11"/>
                  </a:moveTo>
                  <a:cubicBezTo>
                    <a:pt x="9" y="11"/>
                    <a:pt x="8" y="11"/>
                    <a:pt x="7" y="11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1" y="7"/>
                    <a:pt x="0" y="5"/>
                    <a:pt x="1" y="3"/>
                  </a:cubicBezTo>
                  <a:cubicBezTo>
                    <a:pt x="2" y="1"/>
                    <a:pt x="5" y="0"/>
                    <a:pt x="7" y="1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3" y="5"/>
                    <a:pt x="14" y="7"/>
                    <a:pt x="13" y="9"/>
                  </a:cubicBezTo>
                  <a:cubicBezTo>
                    <a:pt x="12" y="11"/>
                    <a:pt x="11" y="11"/>
                    <a:pt x="9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51" name="Freeform 951">
              <a:extLst>
                <a:ext uri="{FF2B5EF4-FFF2-40B4-BE49-F238E27FC236}">
                  <a16:creationId xmlns:a16="http://schemas.microsoft.com/office/drawing/2014/main" id="{7B29D2B4-2C44-CE66-E337-2F4FD3D45ECE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87313" y="4251325"/>
              <a:ext cx="14288" cy="7938"/>
            </a:xfrm>
            <a:custGeom>
              <a:avLst/>
              <a:gdLst>
                <a:gd name="T0" fmla="*/ 9 w 13"/>
                <a:gd name="T1" fmla="*/ 8 h 8"/>
                <a:gd name="T2" fmla="*/ 4 w 13"/>
                <a:gd name="T3" fmla="*/ 8 h 8"/>
                <a:gd name="T4" fmla="*/ 0 w 13"/>
                <a:gd name="T5" fmla="*/ 4 h 8"/>
                <a:gd name="T6" fmla="*/ 4 w 13"/>
                <a:gd name="T7" fmla="*/ 0 h 8"/>
                <a:gd name="T8" fmla="*/ 9 w 13"/>
                <a:gd name="T9" fmla="*/ 0 h 8"/>
                <a:gd name="T10" fmla="*/ 13 w 13"/>
                <a:gd name="T11" fmla="*/ 4 h 8"/>
                <a:gd name="T12" fmla="*/ 9 w 13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8">
                  <a:moveTo>
                    <a:pt x="9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1" y="8"/>
                    <a:pt x="0" y="6"/>
                    <a:pt x="0" y="4"/>
                  </a:cubicBezTo>
                  <a:cubicBezTo>
                    <a:pt x="0" y="2"/>
                    <a:pt x="1" y="0"/>
                    <a:pt x="4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1" y="0"/>
                    <a:pt x="13" y="2"/>
                    <a:pt x="13" y="4"/>
                  </a:cubicBezTo>
                  <a:cubicBezTo>
                    <a:pt x="13" y="6"/>
                    <a:pt x="11" y="8"/>
                    <a:pt x="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52" name="Freeform 952">
              <a:extLst>
                <a:ext uri="{FF2B5EF4-FFF2-40B4-BE49-F238E27FC236}">
                  <a16:creationId xmlns:a16="http://schemas.microsoft.com/office/drawing/2014/main" id="{89BEC9FD-8F88-ED99-C7CC-5C77BF0A3D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98425" y="4292600"/>
              <a:ext cx="14288" cy="9525"/>
            </a:xfrm>
            <a:custGeom>
              <a:avLst/>
              <a:gdLst>
                <a:gd name="T0" fmla="*/ 5 w 14"/>
                <a:gd name="T1" fmla="*/ 11 h 11"/>
                <a:gd name="T2" fmla="*/ 1 w 14"/>
                <a:gd name="T3" fmla="*/ 9 h 11"/>
                <a:gd name="T4" fmla="*/ 3 w 14"/>
                <a:gd name="T5" fmla="*/ 3 h 11"/>
                <a:gd name="T6" fmla="*/ 7 w 14"/>
                <a:gd name="T7" fmla="*/ 1 h 11"/>
                <a:gd name="T8" fmla="*/ 13 w 14"/>
                <a:gd name="T9" fmla="*/ 2 h 11"/>
                <a:gd name="T10" fmla="*/ 11 w 14"/>
                <a:gd name="T11" fmla="*/ 8 h 11"/>
                <a:gd name="T12" fmla="*/ 7 w 14"/>
                <a:gd name="T13" fmla="*/ 11 h 11"/>
                <a:gd name="T14" fmla="*/ 5 w 14"/>
                <a:gd name="T1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11">
                  <a:moveTo>
                    <a:pt x="5" y="11"/>
                  </a:moveTo>
                  <a:cubicBezTo>
                    <a:pt x="3" y="11"/>
                    <a:pt x="2" y="10"/>
                    <a:pt x="1" y="9"/>
                  </a:cubicBezTo>
                  <a:cubicBezTo>
                    <a:pt x="0" y="7"/>
                    <a:pt x="1" y="5"/>
                    <a:pt x="3" y="3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9" y="0"/>
                    <a:pt x="12" y="0"/>
                    <a:pt x="13" y="2"/>
                  </a:cubicBezTo>
                  <a:cubicBezTo>
                    <a:pt x="14" y="4"/>
                    <a:pt x="13" y="7"/>
                    <a:pt x="11" y="8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6" y="11"/>
                    <a:pt x="6" y="11"/>
                    <a:pt x="5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53" name="Freeform 953">
              <a:extLst>
                <a:ext uri="{FF2B5EF4-FFF2-40B4-BE49-F238E27FC236}">
                  <a16:creationId xmlns:a16="http://schemas.microsoft.com/office/drawing/2014/main" id="{F07E1EF1-AC5D-D01B-48F2-C8260032DCD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31763" y="4322763"/>
              <a:ext cx="11113" cy="12700"/>
            </a:xfrm>
            <a:custGeom>
              <a:avLst/>
              <a:gdLst>
                <a:gd name="T0" fmla="*/ 5 w 12"/>
                <a:gd name="T1" fmla="*/ 13 h 13"/>
                <a:gd name="T2" fmla="*/ 3 w 12"/>
                <a:gd name="T3" fmla="*/ 13 h 13"/>
                <a:gd name="T4" fmla="*/ 1 w 12"/>
                <a:gd name="T5" fmla="*/ 7 h 13"/>
                <a:gd name="T6" fmla="*/ 4 w 12"/>
                <a:gd name="T7" fmla="*/ 3 h 13"/>
                <a:gd name="T8" fmla="*/ 10 w 12"/>
                <a:gd name="T9" fmla="*/ 1 h 13"/>
                <a:gd name="T10" fmla="*/ 11 w 12"/>
                <a:gd name="T11" fmla="*/ 7 h 13"/>
                <a:gd name="T12" fmla="*/ 9 w 12"/>
                <a:gd name="T13" fmla="*/ 11 h 13"/>
                <a:gd name="T14" fmla="*/ 5 w 12"/>
                <a:gd name="T15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13">
                  <a:moveTo>
                    <a:pt x="5" y="13"/>
                  </a:moveTo>
                  <a:cubicBezTo>
                    <a:pt x="4" y="13"/>
                    <a:pt x="4" y="13"/>
                    <a:pt x="3" y="13"/>
                  </a:cubicBezTo>
                  <a:cubicBezTo>
                    <a:pt x="1" y="12"/>
                    <a:pt x="0" y="9"/>
                    <a:pt x="1" y="7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1"/>
                    <a:pt x="8" y="0"/>
                    <a:pt x="10" y="1"/>
                  </a:cubicBezTo>
                  <a:cubicBezTo>
                    <a:pt x="12" y="2"/>
                    <a:pt x="12" y="5"/>
                    <a:pt x="11" y="7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8" y="13"/>
                    <a:pt x="6" y="13"/>
                    <a:pt x="5" y="1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54" name="Freeform 954">
              <a:extLst>
                <a:ext uri="{FF2B5EF4-FFF2-40B4-BE49-F238E27FC236}">
                  <a16:creationId xmlns:a16="http://schemas.microsoft.com/office/drawing/2014/main" id="{9C90231B-9BCF-4AF0-CB27-6B27F6220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76213" y="4333875"/>
              <a:ext cx="7938" cy="12700"/>
            </a:xfrm>
            <a:custGeom>
              <a:avLst/>
              <a:gdLst>
                <a:gd name="T0" fmla="*/ 4 w 8"/>
                <a:gd name="T1" fmla="*/ 13 h 13"/>
                <a:gd name="T2" fmla="*/ 0 w 8"/>
                <a:gd name="T3" fmla="*/ 9 h 13"/>
                <a:gd name="T4" fmla="*/ 0 w 8"/>
                <a:gd name="T5" fmla="*/ 4 h 13"/>
                <a:gd name="T6" fmla="*/ 4 w 8"/>
                <a:gd name="T7" fmla="*/ 0 h 13"/>
                <a:gd name="T8" fmla="*/ 8 w 8"/>
                <a:gd name="T9" fmla="*/ 4 h 13"/>
                <a:gd name="T10" fmla="*/ 8 w 8"/>
                <a:gd name="T11" fmla="*/ 9 h 13"/>
                <a:gd name="T12" fmla="*/ 4 w 8"/>
                <a:gd name="T13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13">
                  <a:moveTo>
                    <a:pt x="4" y="13"/>
                  </a:moveTo>
                  <a:cubicBezTo>
                    <a:pt x="2" y="13"/>
                    <a:pt x="0" y="12"/>
                    <a:pt x="0" y="9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8" y="12"/>
                    <a:pt x="6" y="13"/>
                    <a:pt x="4" y="1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55" name="Freeform 955">
              <a:extLst>
                <a:ext uri="{FF2B5EF4-FFF2-40B4-BE49-F238E27FC236}">
                  <a16:creationId xmlns:a16="http://schemas.microsoft.com/office/drawing/2014/main" id="{6903C473-0ADB-DA36-142F-C03A5B95339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17488" y="4322763"/>
              <a:ext cx="11113" cy="12700"/>
            </a:xfrm>
            <a:custGeom>
              <a:avLst/>
              <a:gdLst>
                <a:gd name="T0" fmla="*/ 7 w 12"/>
                <a:gd name="T1" fmla="*/ 13 h 13"/>
                <a:gd name="T2" fmla="*/ 4 w 12"/>
                <a:gd name="T3" fmla="*/ 11 h 13"/>
                <a:gd name="T4" fmla="*/ 1 w 12"/>
                <a:gd name="T5" fmla="*/ 7 h 13"/>
                <a:gd name="T6" fmla="*/ 3 w 12"/>
                <a:gd name="T7" fmla="*/ 1 h 13"/>
                <a:gd name="T8" fmla="*/ 8 w 12"/>
                <a:gd name="T9" fmla="*/ 3 h 13"/>
                <a:gd name="T10" fmla="*/ 11 w 12"/>
                <a:gd name="T11" fmla="*/ 7 h 13"/>
                <a:gd name="T12" fmla="*/ 9 w 12"/>
                <a:gd name="T13" fmla="*/ 13 h 13"/>
                <a:gd name="T14" fmla="*/ 7 w 12"/>
                <a:gd name="T15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13">
                  <a:moveTo>
                    <a:pt x="7" y="13"/>
                  </a:moveTo>
                  <a:cubicBezTo>
                    <a:pt x="6" y="13"/>
                    <a:pt x="5" y="13"/>
                    <a:pt x="4" y="11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5"/>
                    <a:pt x="1" y="2"/>
                    <a:pt x="3" y="1"/>
                  </a:cubicBezTo>
                  <a:cubicBezTo>
                    <a:pt x="5" y="0"/>
                    <a:pt x="7" y="1"/>
                    <a:pt x="8" y="3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2" y="9"/>
                    <a:pt x="11" y="12"/>
                    <a:pt x="9" y="13"/>
                  </a:cubicBezTo>
                  <a:cubicBezTo>
                    <a:pt x="9" y="13"/>
                    <a:pt x="8" y="13"/>
                    <a:pt x="7" y="1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56" name="Freeform 956">
              <a:extLst>
                <a:ext uri="{FF2B5EF4-FFF2-40B4-BE49-F238E27FC236}">
                  <a16:creationId xmlns:a16="http://schemas.microsoft.com/office/drawing/2014/main" id="{3E191E7E-BA53-B775-277A-2B9C823115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47650" y="4292600"/>
              <a:ext cx="14288" cy="9525"/>
            </a:xfrm>
            <a:custGeom>
              <a:avLst/>
              <a:gdLst>
                <a:gd name="T0" fmla="*/ 10 w 14"/>
                <a:gd name="T1" fmla="*/ 11 h 11"/>
                <a:gd name="T2" fmla="*/ 7 w 14"/>
                <a:gd name="T3" fmla="*/ 11 h 11"/>
                <a:gd name="T4" fmla="*/ 3 w 14"/>
                <a:gd name="T5" fmla="*/ 8 h 11"/>
                <a:gd name="T6" fmla="*/ 1 w 14"/>
                <a:gd name="T7" fmla="*/ 2 h 11"/>
                <a:gd name="T8" fmla="*/ 7 w 14"/>
                <a:gd name="T9" fmla="*/ 1 h 11"/>
                <a:gd name="T10" fmla="*/ 12 w 14"/>
                <a:gd name="T11" fmla="*/ 3 h 11"/>
                <a:gd name="T12" fmla="*/ 13 w 14"/>
                <a:gd name="T13" fmla="*/ 9 h 11"/>
                <a:gd name="T14" fmla="*/ 10 w 14"/>
                <a:gd name="T1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11">
                  <a:moveTo>
                    <a:pt x="10" y="11"/>
                  </a:moveTo>
                  <a:cubicBezTo>
                    <a:pt x="9" y="11"/>
                    <a:pt x="8" y="11"/>
                    <a:pt x="7" y="11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1" y="7"/>
                    <a:pt x="0" y="4"/>
                    <a:pt x="1" y="2"/>
                  </a:cubicBezTo>
                  <a:cubicBezTo>
                    <a:pt x="3" y="0"/>
                    <a:pt x="5" y="0"/>
                    <a:pt x="7" y="1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4" y="5"/>
                    <a:pt x="14" y="7"/>
                    <a:pt x="13" y="9"/>
                  </a:cubicBezTo>
                  <a:cubicBezTo>
                    <a:pt x="12" y="10"/>
                    <a:pt x="11" y="11"/>
                    <a:pt x="10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57" name="Freeform 957">
              <a:extLst>
                <a:ext uri="{FF2B5EF4-FFF2-40B4-BE49-F238E27FC236}">
                  <a16:creationId xmlns:a16="http://schemas.microsoft.com/office/drawing/2014/main" id="{60D53F69-0C4A-E197-467D-A9973203A5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60350" y="4251325"/>
              <a:ext cx="12700" cy="7938"/>
            </a:xfrm>
            <a:custGeom>
              <a:avLst/>
              <a:gdLst>
                <a:gd name="T0" fmla="*/ 10 w 14"/>
                <a:gd name="T1" fmla="*/ 8 h 8"/>
                <a:gd name="T2" fmla="*/ 4 w 14"/>
                <a:gd name="T3" fmla="*/ 8 h 8"/>
                <a:gd name="T4" fmla="*/ 0 w 14"/>
                <a:gd name="T5" fmla="*/ 4 h 8"/>
                <a:gd name="T6" fmla="*/ 4 w 14"/>
                <a:gd name="T7" fmla="*/ 0 h 8"/>
                <a:gd name="T8" fmla="*/ 10 w 14"/>
                <a:gd name="T9" fmla="*/ 0 h 8"/>
                <a:gd name="T10" fmla="*/ 14 w 14"/>
                <a:gd name="T11" fmla="*/ 4 h 8"/>
                <a:gd name="T12" fmla="*/ 10 w 14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8">
                  <a:moveTo>
                    <a:pt x="10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2" y="0"/>
                    <a:pt x="14" y="2"/>
                    <a:pt x="14" y="4"/>
                  </a:cubicBezTo>
                  <a:cubicBezTo>
                    <a:pt x="14" y="6"/>
                    <a:pt x="12" y="8"/>
                    <a:pt x="1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58" name="Freeform 958">
              <a:extLst>
                <a:ext uri="{FF2B5EF4-FFF2-40B4-BE49-F238E27FC236}">
                  <a16:creationId xmlns:a16="http://schemas.microsoft.com/office/drawing/2014/main" id="{0AFC911F-35AF-D3AF-E01A-7E4688E8A3F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47650" y="4205288"/>
              <a:ext cx="14288" cy="11113"/>
            </a:xfrm>
            <a:custGeom>
              <a:avLst/>
              <a:gdLst>
                <a:gd name="T0" fmla="*/ 5 w 14"/>
                <a:gd name="T1" fmla="*/ 11 h 11"/>
                <a:gd name="T2" fmla="*/ 1 w 14"/>
                <a:gd name="T3" fmla="*/ 9 h 11"/>
                <a:gd name="T4" fmla="*/ 3 w 14"/>
                <a:gd name="T5" fmla="*/ 4 h 11"/>
                <a:gd name="T6" fmla="*/ 7 w 14"/>
                <a:gd name="T7" fmla="*/ 1 h 11"/>
                <a:gd name="T8" fmla="*/ 13 w 14"/>
                <a:gd name="T9" fmla="*/ 3 h 11"/>
                <a:gd name="T10" fmla="*/ 12 w 14"/>
                <a:gd name="T11" fmla="*/ 8 h 11"/>
                <a:gd name="T12" fmla="*/ 7 w 14"/>
                <a:gd name="T13" fmla="*/ 11 h 11"/>
                <a:gd name="T14" fmla="*/ 5 w 14"/>
                <a:gd name="T1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11">
                  <a:moveTo>
                    <a:pt x="5" y="11"/>
                  </a:moveTo>
                  <a:cubicBezTo>
                    <a:pt x="4" y="11"/>
                    <a:pt x="2" y="11"/>
                    <a:pt x="1" y="9"/>
                  </a:cubicBezTo>
                  <a:cubicBezTo>
                    <a:pt x="0" y="7"/>
                    <a:pt x="1" y="5"/>
                    <a:pt x="3" y="4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9" y="0"/>
                    <a:pt x="12" y="1"/>
                    <a:pt x="13" y="3"/>
                  </a:cubicBezTo>
                  <a:cubicBezTo>
                    <a:pt x="14" y="5"/>
                    <a:pt x="14" y="7"/>
                    <a:pt x="12" y="8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6" y="11"/>
                    <a:pt x="6" y="11"/>
                    <a:pt x="5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59" name="Freeform 959">
              <a:extLst>
                <a:ext uri="{FF2B5EF4-FFF2-40B4-BE49-F238E27FC236}">
                  <a16:creationId xmlns:a16="http://schemas.microsoft.com/office/drawing/2014/main" id="{FB64C76D-96F7-8585-71AE-1DA2F22C8F2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17488" y="4173538"/>
              <a:ext cx="11113" cy="12700"/>
            </a:xfrm>
            <a:custGeom>
              <a:avLst/>
              <a:gdLst>
                <a:gd name="T0" fmla="*/ 5 w 12"/>
                <a:gd name="T1" fmla="*/ 13 h 13"/>
                <a:gd name="T2" fmla="*/ 3 w 12"/>
                <a:gd name="T3" fmla="*/ 13 h 13"/>
                <a:gd name="T4" fmla="*/ 1 w 12"/>
                <a:gd name="T5" fmla="*/ 7 h 13"/>
                <a:gd name="T6" fmla="*/ 4 w 12"/>
                <a:gd name="T7" fmla="*/ 2 h 13"/>
                <a:gd name="T8" fmla="*/ 9 w 12"/>
                <a:gd name="T9" fmla="*/ 1 h 13"/>
                <a:gd name="T10" fmla="*/ 11 w 12"/>
                <a:gd name="T11" fmla="*/ 7 h 13"/>
                <a:gd name="T12" fmla="*/ 8 w 12"/>
                <a:gd name="T13" fmla="*/ 11 h 13"/>
                <a:gd name="T14" fmla="*/ 5 w 12"/>
                <a:gd name="T15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13">
                  <a:moveTo>
                    <a:pt x="5" y="13"/>
                  </a:moveTo>
                  <a:cubicBezTo>
                    <a:pt x="4" y="13"/>
                    <a:pt x="3" y="13"/>
                    <a:pt x="3" y="13"/>
                  </a:cubicBezTo>
                  <a:cubicBezTo>
                    <a:pt x="1" y="11"/>
                    <a:pt x="0" y="9"/>
                    <a:pt x="1" y="7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5" y="0"/>
                    <a:pt x="8" y="0"/>
                    <a:pt x="9" y="1"/>
                  </a:cubicBezTo>
                  <a:cubicBezTo>
                    <a:pt x="11" y="2"/>
                    <a:pt x="12" y="5"/>
                    <a:pt x="11" y="7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2"/>
                    <a:pt x="6" y="13"/>
                    <a:pt x="5" y="1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60" name="Freeform 960">
              <a:extLst>
                <a:ext uri="{FF2B5EF4-FFF2-40B4-BE49-F238E27FC236}">
                  <a16:creationId xmlns:a16="http://schemas.microsoft.com/office/drawing/2014/main" id="{29D6BBE3-07CB-89F9-3EA9-C89E61AF3D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76213" y="4160838"/>
              <a:ext cx="7938" cy="14288"/>
            </a:xfrm>
            <a:custGeom>
              <a:avLst/>
              <a:gdLst>
                <a:gd name="T0" fmla="*/ 4 w 8"/>
                <a:gd name="T1" fmla="*/ 14 h 14"/>
                <a:gd name="T2" fmla="*/ 0 w 8"/>
                <a:gd name="T3" fmla="*/ 10 h 14"/>
                <a:gd name="T4" fmla="*/ 0 w 8"/>
                <a:gd name="T5" fmla="*/ 4 h 14"/>
                <a:gd name="T6" fmla="*/ 4 w 8"/>
                <a:gd name="T7" fmla="*/ 0 h 14"/>
                <a:gd name="T8" fmla="*/ 8 w 8"/>
                <a:gd name="T9" fmla="*/ 4 h 14"/>
                <a:gd name="T10" fmla="*/ 8 w 8"/>
                <a:gd name="T11" fmla="*/ 10 h 14"/>
                <a:gd name="T12" fmla="*/ 4 w 8"/>
                <a:gd name="T13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14">
                  <a:moveTo>
                    <a:pt x="4" y="14"/>
                  </a:moveTo>
                  <a:cubicBezTo>
                    <a:pt x="2" y="14"/>
                    <a:pt x="0" y="12"/>
                    <a:pt x="0" y="1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8" y="12"/>
                    <a:pt x="6" y="14"/>
                    <a:pt x="4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61" name="Freeform 961">
              <a:extLst>
                <a:ext uri="{FF2B5EF4-FFF2-40B4-BE49-F238E27FC236}">
                  <a16:creationId xmlns:a16="http://schemas.microsoft.com/office/drawing/2014/main" id="{8874E46A-C3E5-B729-BFAC-920091DB62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85725" y="4251325"/>
              <a:ext cx="23813" cy="7938"/>
            </a:xfrm>
            <a:custGeom>
              <a:avLst/>
              <a:gdLst>
                <a:gd name="T0" fmla="*/ 21 w 25"/>
                <a:gd name="T1" fmla="*/ 8 h 8"/>
                <a:gd name="T2" fmla="*/ 4 w 25"/>
                <a:gd name="T3" fmla="*/ 8 h 8"/>
                <a:gd name="T4" fmla="*/ 0 w 25"/>
                <a:gd name="T5" fmla="*/ 4 h 8"/>
                <a:gd name="T6" fmla="*/ 4 w 25"/>
                <a:gd name="T7" fmla="*/ 0 h 8"/>
                <a:gd name="T8" fmla="*/ 21 w 25"/>
                <a:gd name="T9" fmla="*/ 0 h 8"/>
                <a:gd name="T10" fmla="*/ 25 w 25"/>
                <a:gd name="T11" fmla="*/ 4 h 8"/>
                <a:gd name="T12" fmla="*/ 21 w 25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8">
                  <a:moveTo>
                    <a:pt x="21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3" y="0"/>
                    <a:pt x="25" y="2"/>
                    <a:pt x="25" y="4"/>
                  </a:cubicBezTo>
                  <a:cubicBezTo>
                    <a:pt x="25" y="6"/>
                    <a:pt x="23" y="8"/>
                    <a:pt x="21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62" name="Freeform 962">
              <a:extLst>
                <a:ext uri="{FF2B5EF4-FFF2-40B4-BE49-F238E27FC236}">
                  <a16:creationId xmlns:a16="http://schemas.microsoft.com/office/drawing/2014/main" id="{C46DD624-EEE2-DFDC-9228-FFA088E6FB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76213" y="4325938"/>
              <a:ext cx="7938" cy="23813"/>
            </a:xfrm>
            <a:custGeom>
              <a:avLst/>
              <a:gdLst>
                <a:gd name="T0" fmla="*/ 4 w 8"/>
                <a:gd name="T1" fmla="*/ 25 h 25"/>
                <a:gd name="T2" fmla="*/ 0 w 8"/>
                <a:gd name="T3" fmla="*/ 21 h 25"/>
                <a:gd name="T4" fmla="*/ 0 w 8"/>
                <a:gd name="T5" fmla="*/ 4 h 25"/>
                <a:gd name="T6" fmla="*/ 4 w 8"/>
                <a:gd name="T7" fmla="*/ 0 h 25"/>
                <a:gd name="T8" fmla="*/ 8 w 8"/>
                <a:gd name="T9" fmla="*/ 4 h 25"/>
                <a:gd name="T10" fmla="*/ 8 w 8"/>
                <a:gd name="T11" fmla="*/ 21 h 25"/>
                <a:gd name="T12" fmla="*/ 4 w 8"/>
                <a:gd name="T13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25">
                  <a:moveTo>
                    <a:pt x="4" y="25"/>
                  </a:moveTo>
                  <a:cubicBezTo>
                    <a:pt x="2" y="25"/>
                    <a:pt x="0" y="23"/>
                    <a:pt x="0" y="2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23"/>
                    <a:pt x="6" y="25"/>
                    <a:pt x="4" y="2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63" name="Freeform 963">
              <a:extLst>
                <a:ext uri="{FF2B5EF4-FFF2-40B4-BE49-F238E27FC236}">
                  <a16:creationId xmlns:a16="http://schemas.microsoft.com/office/drawing/2014/main" id="{63A1C1BA-E767-6EC8-50B2-855328B8D3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50825" y="4251325"/>
              <a:ext cx="25400" cy="7938"/>
            </a:xfrm>
            <a:custGeom>
              <a:avLst/>
              <a:gdLst>
                <a:gd name="T0" fmla="*/ 21 w 26"/>
                <a:gd name="T1" fmla="*/ 8 h 8"/>
                <a:gd name="T2" fmla="*/ 5 w 26"/>
                <a:gd name="T3" fmla="*/ 8 h 8"/>
                <a:gd name="T4" fmla="*/ 0 w 26"/>
                <a:gd name="T5" fmla="*/ 4 h 8"/>
                <a:gd name="T6" fmla="*/ 5 w 26"/>
                <a:gd name="T7" fmla="*/ 0 h 8"/>
                <a:gd name="T8" fmla="*/ 21 w 26"/>
                <a:gd name="T9" fmla="*/ 0 h 8"/>
                <a:gd name="T10" fmla="*/ 26 w 26"/>
                <a:gd name="T11" fmla="*/ 4 h 8"/>
                <a:gd name="T12" fmla="*/ 21 w 26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8">
                  <a:moveTo>
                    <a:pt x="21" y="8"/>
                  </a:moveTo>
                  <a:cubicBezTo>
                    <a:pt x="5" y="8"/>
                    <a:pt x="5" y="8"/>
                    <a:pt x="5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4" y="0"/>
                    <a:pt x="26" y="2"/>
                    <a:pt x="26" y="4"/>
                  </a:cubicBezTo>
                  <a:cubicBezTo>
                    <a:pt x="26" y="6"/>
                    <a:pt x="24" y="8"/>
                    <a:pt x="21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64" name="Freeform 964">
              <a:extLst>
                <a:ext uri="{FF2B5EF4-FFF2-40B4-BE49-F238E27FC236}">
                  <a16:creationId xmlns:a16="http://schemas.microsoft.com/office/drawing/2014/main" id="{363D2C66-C6F5-DAAE-AC53-ADDB84230C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76213" y="4202113"/>
              <a:ext cx="30163" cy="69850"/>
            </a:xfrm>
            <a:custGeom>
              <a:avLst/>
              <a:gdLst>
                <a:gd name="T0" fmla="*/ 27 w 31"/>
                <a:gd name="T1" fmla="*/ 70 h 70"/>
                <a:gd name="T2" fmla="*/ 25 w 31"/>
                <a:gd name="T3" fmla="*/ 69 h 70"/>
                <a:gd name="T4" fmla="*/ 2 w 31"/>
                <a:gd name="T5" fmla="*/ 56 h 70"/>
                <a:gd name="T6" fmla="*/ 0 w 31"/>
                <a:gd name="T7" fmla="*/ 53 h 70"/>
                <a:gd name="T8" fmla="*/ 0 w 31"/>
                <a:gd name="T9" fmla="*/ 4 h 70"/>
                <a:gd name="T10" fmla="*/ 4 w 31"/>
                <a:gd name="T11" fmla="*/ 0 h 70"/>
                <a:gd name="T12" fmla="*/ 8 w 31"/>
                <a:gd name="T13" fmla="*/ 4 h 70"/>
                <a:gd name="T14" fmla="*/ 8 w 31"/>
                <a:gd name="T15" fmla="*/ 50 h 70"/>
                <a:gd name="T16" fmla="*/ 29 w 31"/>
                <a:gd name="T17" fmla="*/ 62 h 70"/>
                <a:gd name="T18" fmla="*/ 30 w 31"/>
                <a:gd name="T19" fmla="*/ 68 h 70"/>
                <a:gd name="T20" fmla="*/ 27 w 31"/>
                <a:gd name="T21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" h="70">
                  <a:moveTo>
                    <a:pt x="27" y="70"/>
                  </a:moveTo>
                  <a:cubicBezTo>
                    <a:pt x="26" y="70"/>
                    <a:pt x="25" y="70"/>
                    <a:pt x="25" y="69"/>
                  </a:cubicBezTo>
                  <a:cubicBezTo>
                    <a:pt x="2" y="56"/>
                    <a:pt x="2" y="56"/>
                    <a:pt x="2" y="56"/>
                  </a:cubicBezTo>
                  <a:cubicBezTo>
                    <a:pt x="1" y="56"/>
                    <a:pt x="0" y="54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" y="0"/>
                    <a:pt x="8" y="1"/>
                    <a:pt x="8" y="4"/>
                  </a:cubicBezTo>
                  <a:cubicBezTo>
                    <a:pt x="8" y="50"/>
                    <a:pt x="8" y="50"/>
                    <a:pt x="8" y="50"/>
                  </a:cubicBezTo>
                  <a:cubicBezTo>
                    <a:pt x="29" y="62"/>
                    <a:pt x="29" y="62"/>
                    <a:pt x="29" y="62"/>
                  </a:cubicBezTo>
                  <a:cubicBezTo>
                    <a:pt x="31" y="63"/>
                    <a:pt x="31" y="66"/>
                    <a:pt x="30" y="68"/>
                  </a:cubicBezTo>
                  <a:cubicBezTo>
                    <a:pt x="30" y="69"/>
                    <a:pt x="28" y="70"/>
                    <a:pt x="27" y="7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65" name="Freeform 965">
              <a:extLst>
                <a:ext uri="{FF2B5EF4-FFF2-40B4-BE49-F238E27FC236}">
                  <a16:creationId xmlns:a16="http://schemas.microsoft.com/office/drawing/2014/main" id="{E0F1298A-C7DA-5A64-483D-0D7D4B3D16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785725" y="4159250"/>
              <a:ext cx="190500" cy="190500"/>
            </a:xfrm>
            <a:custGeom>
              <a:avLst/>
              <a:gdLst>
                <a:gd name="T0" fmla="*/ 97 w 195"/>
                <a:gd name="T1" fmla="*/ 195 h 195"/>
                <a:gd name="T2" fmla="*/ 0 w 195"/>
                <a:gd name="T3" fmla="*/ 98 h 195"/>
                <a:gd name="T4" fmla="*/ 97 w 195"/>
                <a:gd name="T5" fmla="*/ 0 h 195"/>
                <a:gd name="T6" fmla="*/ 195 w 195"/>
                <a:gd name="T7" fmla="*/ 98 h 195"/>
                <a:gd name="T8" fmla="*/ 97 w 195"/>
                <a:gd name="T9" fmla="*/ 195 h 195"/>
                <a:gd name="T10" fmla="*/ 97 w 195"/>
                <a:gd name="T11" fmla="*/ 9 h 195"/>
                <a:gd name="T12" fmla="*/ 8 w 195"/>
                <a:gd name="T13" fmla="*/ 98 h 195"/>
                <a:gd name="T14" fmla="*/ 97 w 195"/>
                <a:gd name="T15" fmla="*/ 187 h 195"/>
                <a:gd name="T16" fmla="*/ 186 w 195"/>
                <a:gd name="T17" fmla="*/ 98 h 195"/>
                <a:gd name="T18" fmla="*/ 97 w 195"/>
                <a:gd name="T19" fmla="*/ 9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5" h="195">
                  <a:moveTo>
                    <a:pt x="97" y="195"/>
                  </a:moveTo>
                  <a:cubicBezTo>
                    <a:pt x="43" y="195"/>
                    <a:pt x="0" y="152"/>
                    <a:pt x="0" y="98"/>
                  </a:cubicBezTo>
                  <a:cubicBezTo>
                    <a:pt x="0" y="44"/>
                    <a:pt x="43" y="0"/>
                    <a:pt x="97" y="0"/>
                  </a:cubicBezTo>
                  <a:cubicBezTo>
                    <a:pt x="151" y="0"/>
                    <a:pt x="195" y="44"/>
                    <a:pt x="195" y="98"/>
                  </a:cubicBezTo>
                  <a:cubicBezTo>
                    <a:pt x="195" y="152"/>
                    <a:pt x="151" y="195"/>
                    <a:pt x="97" y="195"/>
                  </a:cubicBezTo>
                  <a:close/>
                  <a:moveTo>
                    <a:pt x="97" y="9"/>
                  </a:moveTo>
                  <a:cubicBezTo>
                    <a:pt x="48" y="9"/>
                    <a:pt x="8" y="49"/>
                    <a:pt x="8" y="98"/>
                  </a:cubicBezTo>
                  <a:cubicBezTo>
                    <a:pt x="8" y="147"/>
                    <a:pt x="48" y="187"/>
                    <a:pt x="97" y="187"/>
                  </a:cubicBezTo>
                  <a:cubicBezTo>
                    <a:pt x="146" y="187"/>
                    <a:pt x="186" y="147"/>
                    <a:pt x="186" y="98"/>
                  </a:cubicBezTo>
                  <a:cubicBezTo>
                    <a:pt x="186" y="49"/>
                    <a:pt x="146" y="9"/>
                    <a:pt x="97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66" name="Freeform 966">
              <a:extLst>
                <a:ext uri="{FF2B5EF4-FFF2-40B4-BE49-F238E27FC236}">
                  <a16:creationId xmlns:a16="http://schemas.microsoft.com/office/drawing/2014/main" id="{24013442-63FA-E3BF-1FF0-321311ADBA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957175" y="4332288"/>
              <a:ext cx="87313" cy="84138"/>
            </a:xfrm>
            <a:custGeom>
              <a:avLst/>
              <a:gdLst>
                <a:gd name="T0" fmla="*/ 66 w 88"/>
                <a:gd name="T1" fmla="*/ 86 h 86"/>
                <a:gd name="T2" fmla="*/ 51 w 88"/>
                <a:gd name="T3" fmla="*/ 80 h 86"/>
                <a:gd name="T4" fmla="*/ 51 w 88"/>
                <a:gd name="T5" fmla="*/ 80 h 86"/>
                <a:gd name="T6" fmla="*/ 8 w 88"/>
                <a:gd name="T7" fmla="*/ 37 h 86"/>
                <a:gd name="T8" fmla="*/ 8 w 88"/>
                <a:gd name="T9" fmla="*/ 8 h 86"/>
                <a:gd name="T10" fmla="*/ 37 w 88"/>
                <a:gd name="T11" fmla="*/ 8 h 86"/>
                <a:gd name="T12" fmla="*/ 80 w 88"/>
                <a:gd name="T13" fmla="*/ 51 h 86"/>
                <a:gd name="T14" fmla="*/ 80 w 88"/>
                <a:gd name="T15" fmla="*/ 80 h 86"/>
                <a:gd name="T16" fmla="*/ 66 w 88"/>
                <a:gd name="T17" fmla="*/ 86 h 86"/>
                <a:gd name="T18" fmla="*/ 57 w 88"/>
                <a:gd name="T19" fmla="*/ 74 h 86"/>
                <a:gd name="T20" fmla="*/ 74 w 88"/>
                <a:gd name="T21" fmla="*/ 74 h 86"/>
                <a:gd name="T22" fmla="*/ 74 w 88"/>
                <a:gd name="T23" fmla="*/ 57 h 86"/>
                <a:gd name="T24" fmla="*/ 31 w 88"/>
                <a:gd name="T25" fmla="*/ 14 h 86"/>
                <a:gd name="T26" fmla="*/ 14 w 88"/>
                <a:gd name="T27" fmla="*/ 14 h 86"/>
                <a:gd name="T28" fmla="*/ 14 w 88"/>
                <a:gd name="T29" fmla="*/ 31 h 86"/>
                <a:gd name="T30" fmla="*/ 57 w 88"/>
                <a:gd name="T31" fmla="*/ 74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8" h="86">
                  <a:moveTo>
                    <a:pt x="66" y="86"/>
                  </a:moveTo>
                  <a:cubicBezTo>
                    <a:pt x="60" y="86"/>
                    <a:pt x="55" y="84"/>
                    <a:pt x="51" y="80"/>
                  </a:cubicBezTo>
                  <a:cubicBezTo>
                    <a:pt x="51" y="80"/>
                    <a:pt x="51" y="80"/>
                    <a:pt x="51" y="80"/>
                  </a:cubicBezTo>
                  <a:cubicBezTo>
                    <a:pt x="8" y="37"/>
                    <a:pt x="8" y="37"/>
                    <a:pt x="8" y="37"/>
                  </a:cubicBezTo>
                  <a:cubicBezTo>
                    <a:pt x="0" y="29"/>
                    <a:pt x="0" y="16"/>
                    <a:pt x="8" y="8"/>
                  </a:cubicBezTo>
                  <a:cubicBezTo>
                    <a:pt x="16" y="0"/>
                    <a:pt x="29" y="0"/>
                    <a:pt x="37" y="8"/>
                  </a:cubicBezTo>
                  <a:cubicBezTo>
                    <a:pt x="80" y="51"/>
                    <a:pt x="80" y="51"/>
                    <a:pt x="80" y="51"/>
                  </a:cubicBezTo>
                  <a:cubicBezTo>
                    <a:pt x="88" y="59"/>
                    <a:pt x="88" y="72"/>
                    <a:pt x="80" y="80"/>
                  </a:cubicBezTo>
                  <a:cubicBezTo>
                    <a:pt x="76" y="84"/>
                    <a:pt x="71" y="86"/>
                    <a:pt x="66" y="86"/>
                  </a:cubicBezTo>
                  <a:close/>
                  <a:moveTo>
                    <a:pt x="57" y="74"/>
                  </a:moveTo>
                  <a:cubicBezTo>
                    <a:pt x="62" y="79"/>
                    <a:pt x="70" y="79"/>
                    <a:pt x="74" y="74"/>
                  </a:cubicBezTo>
                  <a:cubicBezTo>
                    <a:pt x="79" y="69"/>
                    <a:pt x="79" y="61"/>
                    <a:pt x="74" y="57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26" y="9"/>
                    <a:pt x="19" y="9"/>
                    <a:pt x="14" y="14"/>
                  </a:cubicBezTo>
                  <a:cubicBezTo>
                    <a:pt x="9" y="18"/>
                    <a:pt x="9" y="26"/>
                    <a:pt x="14" y="31"/>
                  </a:cubicBezTo>
                  <a:cubicBezTo>
                    <a:pt x="57" y="74"/>
                    <a:pt x="57" y="74"/>
                    <a:pt x="57" y="7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67" name="Freeform 967">
              <a:extLst>
                <a:ext uri="{FF2B5EF4-FFF2-40B4-BE49-F238E27FC236}">
                  <a16:creationId xmlns:a16="http://schemas.microsoft.com/office/drawing/2014/main" id="{344C1F2D-3629-4FD8-DBF7-5B929B2222F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41300" y="4314825"/>
              <a:ext cx="31750" cy="31750"/>
            </a:xfrm>
            <a:custGeom>
              <a:avLst/>
              <a:gdLst>
                <a:gd name="T0" fmla="*/ 28 w 33"/>
                <a:gd name="T1" fmla="*/ 33 h 33"/>
                <a:gd name="T2" fmla="*/ 25 w 33"/>
                <a:gd name="T3" fmla="*/ 32 h 33"/>
                <a:gd name="T4" fmla="*/ 1 w 33"/>
                <a:gd name="T5" fmla="*/ 8 h 33"/>
                <a:gd name="T6" fmla="*/ 1 w 33"/>
                <a:gd name="T7" fmla="*/ 2 h 33"/>
                <a:gd name="T8" fmla="*/ 7 w 33"/>
                <a:gd name="T9" fmla="*/ 2 h 33"/>
                <a:gd name="T10" fmla="*/ 31 w 33"/>
                <a:gd name="T11" fmla="*/ 26 h 33"/>
                <a:gd name="T12" fmla="*/ 31 w 33"/>
                <a:gd name="T13" fmla="*/ 32 h 33"/>
                <a:gd name="T14" fmla="*/ 28 w 33"/>
                <a:gd name="T15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33">
                  <a:moveTo>
                    <a:pt x="28" y="33"/>
                  </a:moveTo>
                  <a:cubicBezTo>
                    <a:pt x="27" y="33"/>
                    <a:pt x="26" y="32"/>
                    <a:pt x="25" y="32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6"/>
                    <a:pt x="0" y="3"/>
                    <a:pt x="1" y="2"/>
                  </a:cubicBezTo>
                  <a:cubicBezTo>
                    <a:pt x="3" y="0"/>
                    <a:pt x="5" y="0"/>
                    <a:pt x="7" y="2"/>
                  </a:cubicBezTo>
                  <a:cubicBezTo>
                    <a:pt x="31" y="26"/>
                    <a:pt x="31" y="26"/>
                    <a:pt x="31" y="26"/>
                  </a:cubicBezTo>
                  <a:cubicBezTo>
                    <a:pt x="33" y="27"/>
                    <a:pt x="33" y="30"/>
                    <a:pt x="31" y="32"/>
                  </a:cubicBezTo>
                  <a:cubicBezTo>
                    <a:pt x="30" y="32"/>
                    <a:pt x="29" y="33"/>
                    <a:pt x="28" y="3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768" name="Shape20_20200717_142313">
            <a:extLst>
              <a:ext uri="{FF2B5EF4-FFF2-40B4-BE49-F238E27FC236}">
                <a16:creationId xmlns:a16="http://schemas.microsoft.com/office/drawing/2014/main" id="{BED79695-DCFD-DB6A-99D7-E6D8ADC73B72}"/>
              </a:ext>
            </a:extLst>
          </p:cNvPr>
          <p:cNvGrpSpPr>
            <a:grpSpLocks noChangeAspect="1"/>
          </p:cNvGrpSpPr>
          <p:nvPr/>
        </p:nvGrpSpPr>
        <p:grpSpPr>
          <a:xfrm>
            <a:off x="3162810" y="3879155"/>
            <a:ext cx="644154" cy="511004"/>
            <a:chOff x="13296900" y="4175125"/>
            <a:chExt cx="284163" cy="225426"/>
          </a:xfrm>
          <a:solidFill>
            <a:schemeClr val="accent1"/>
          </a:solidFill>
        </p:grpSpPr>
        <p:sp>
          <p:nvSpPr>
            <p:cNvPr id="769" name="Freeform 968">
              <a:extLst>
                <a:ext uri="{FF2B5EF4-FFF2-40B4-BE49-F238E27FC236}">
                  <a16:creationId xmlns:a16="http://schemas.microsoft.com/office/drawing/2014/main" id="{D6B95932-3698-4A7A-31B7-7B6D2AAEE4C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462000" y="4192588"/>
              <a:ext cx="92075" cy="92075"/>
            </a:xfrm>
            <a:custGeom>
              <a:avLst/>
              <a:gdLst>
                <a:gd name="T0" fmla="*/ 47 w 95"/>
                <a:gd name="T1" fmla="*/ 95 h 95"/>
                <a:gd name="T2" fmla="*/ 0 w 95"/>
                <a:gd name="T3" fmla="*/ 47 h 95"/>
                <a:gd name="T4" fmla="*/ 47 w 95"/>
                <a:gd name="T5" fmla="*/ 0 h 95"/>
                <a:gd name="T6" fmla="*/ 95 w 95"/>
                <a:gd name="T7" fmla="*/ 47 h 95"/>
                <a:gd name="T8" fmla="*/ 47 w 95"/>
                <a:gd name="T9" fmla="*/ 95 h 95"/>
                <a:gd name="T10" fmla="*/ 47 w 95"/>
                <a:gd name="T11" fmla="*/ 8 h 95"/>
                <a:gd name="T12" fmla="*/ 8 w 95"/>
                <a:gd name="T13" fmla="*/ 47 h 95"/>
                <a:gd name="T14" fmla="*/ 47 w 95"/>
                <a:gd name="T15" fmla="*/ 87 h 95"/>
                <a:gd name="T16" fmla="*/ 86 w 95"/>
                <a:gd name="T17" fmla="*/ 47 h 95"/>
                <a:gd name="T18" fmla="*/ 47 w 95"/>
                <a:gd name="T19" fmla="*/ 8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5" h="95">
                  <a:moveTo>
                    <a:pt x="47" y="95"/>
                  </a:moveTo>
                  <a:cubicBezTo>
                    <a:pt x="21" y="95"/>
                    <a:pt x="0" y="74"/>
                    <a:pt x="0" y="47"/>
                  </a:cubicBezTo>
                  <a:cubicBezTo>
                    <a:pt x="0" y="21"/>
                    <a:pt x="21" y="0"/>
                    <a:pt x="47" y="0"/>
                  </a:cubicBezTo>
                  <a:cubicBezTo>
                    <a:pt x="73" y="0"/>
                    <a:pt x="95" y="21"/>
                    <a:pt x="95" y="47"/>
                  </a:cubicBezTo>
                  <a:cubicBezTo>
                    <a:pt x="95" y="74"/>
                    <a:pt x="73" y="95"/>
                    <a:pt x="47" y="95"/>
                  </a:cubicBezTo>
                  <a:close/>
                  <a:moveTo>
                    <a:pt x="47" y="8"/>
                  </a:moveTo>
                  <a:cubicBezTo>
                    <a:pt x="25" y="8"/>
                    <a:pt x="8" y="26"/>
                    <a:pt x="8" y="47"/>
                  </a:cubicBezTo>
                  <a:cubicBezTo>
                    <a:pt x="8" y="69"/>
                    <a:pt x="25" y="87"/>
                    <a:pt x="47" y="87"/>
                  </a:cubicBezTo>
                  <a:cubicBezTo>
                    <a:pt x="69" y="87"/>
                    <a:pt x="86" y="69"/>
                    <a:pt x="86" y="47"/>
                  </a:cubicBezTo>
                  <a:cubicBezTo>
                    <a:pt x="86" y="26"/>
                    <a:pt x="69" y="8"/>
                    <a:pt x="47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70" name="Freeform 969">
              <a:extLst>
                <a:ext uri="{FF2B5EF4-FFF2-40B4-BE49-F238E27FC236}">
                  <a16:creationId xmlns:a16="http://schemas.microsoft.com/office/drawing/2014/main" id="{6851108F-DD64-E7F0-BB08-82201B2DD7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528675" y="4259263"/>
              <a:ext cx="52388" cy="50800"/>
            </a:xfrm>
            <a:custGeom>
              <a:avLst/>
              <a:gdLst>
                <a:gd name="T0" fmla="*/ 40 w 54"/>
                <a:gd name="T1" fmla="*/ 53 h 53"/>
                <a:gd name="T2" fmla="*/ 31 w 54"/>
                <a:gd name="T3" fmla="*/ 49 h 53"/>
                <a:gd name="T4" fmla="*/ 31 w 54"/>
                <a:gd name="T5" fmla="*/ 49 h 53"/>
                <a:gd name="T6" fmla="*/ 1 w 54"/>
                <a:gd name="T7" fmla="*/ 20 h 53"/>
                <a:gd name="T8" fmla="*/ 0 w 54"/>
                <a:gd name="T9" fmla="*/ 17 h 53"/>
                <a:gd name="T10" fmla="*/ 1 w 54"/>
                <a:gd name="T11" fmla="*/ 14 h 53"/>
                <a:gd name="T12" fmla="*/ 14 w 54"/>
                <a:gd name="T13" fmla="*/ 1 h 53"/>
                <a:gd name="T14" fmla="*/ 19 w 54"/>
                <a:gd name="T15" fmla="*/ 1 h 53"/>
                <a:gd name="T16" fmla="*/ 49 w 54"/>
                <a:gd name="T17" fmla="*/ 31 h 53"/>
                <a:gd name="T18" fmla="*/ 49 w 54"/>
                <a:gd name="T19" fmla="*/ 49 h 53"/>
                <a:gd name="T20" fmla="*/ 40 w 54"/>
                <a:gd name="T21" fmla="*/ 53 h 53"/>
                <a:gd name="T22" fmla="*/ 10 w 54"/>
                <a:gd name="T23" fmla="*/ 17 h 53"/>
                <a:gd name="T24" fmla="*/ 36 w 54"/>
                <a:gd name="T25" fmla="*/ 43 h 53"/>
                <a:gd name="T26" fmla="*/ 36 w 54"/>
                <a:gd name="T27" fmla="*/ 43 h 53"/>
                <a:gd name="T28" fmla="*/ 43 w 54"/>
                <a:gd name="T29" fmla="*/ 43 h 53"/>
                <a:gd name="T30" fmla="*/ 43 w 54"/>
                <a:gd name="T31" fmla="*/ 37 h 53"/>
                <a:gd name="T32" fmla="*/ 17 w 54"/>
                <a:gd name="T33" fmla="*/ 10 h 53"/>
                <a:gd name="T34" fmla="*/ 10 w 54"/>
                <a:gd name="T35" fmla="*/ 17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4" h="53">
                  <a:moveTo>
                    <a:pt x="40" y="53"/>
                  </a:moveTo>
                  <a:cubicBezTo>
                    <a:pt x="36" y="53"/>
                    <a:pt x="33" y="52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19"/>
                    <a:pt x="0" y="18"/>
                    <a:pt x="0" y="17"/>
                  </a:cubicBezTo>
                  <a:cubicBezTo>
                    <a:pt x="0" y="16"/>
                    <a:pt x="0" y="15"/>
                    <a:pt x="1" y="14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5" y="0"/>
                    <a:pt x="18" y="0"/>
                    <a:pt x="19" y="1"/>
                  </a:cubicBezTo>
                  <a:cubicBezTo>
                    <a:pt x="49" y="31"/>
                    <a:pt x="49" y="31"/>
                    <a:pt x="49" y="31"/>
                  </a:cubicBezTo>
                  <a:cubicBezTo>
                    <a:pt x="54" y="36"/>
                    <a:pt x="54" y="44"/>
                    <a:pt x="49" y="49"/>
                  </a:cubicBezTo>
                  <a:cubicBezTo>
                    <a:pt x="46" y="52"/>
                    <a:pt x="43" y="53"/>
                    <a:pt x="40" y="53"/>
                  </a:cubicBezTo>
                  <a:close/>
                  <a:moveTo>
                    <a:pt x="10" y="17"/>
                  </a:moveTo>
                  <a:cubicBezTo>
                    <a:pt x="36" y="43"/>
                    <a:pt x="36" y="43"/>
                    <a:pt x="36" y="43"/>
                  </a:cubicBezTo>
                  <a:cubicBezTo>
                    <a:pt x="36" y="43"/>
                    <a:pt x="36" y="43"/>
                    <a:pt x="36" y="43"/>
                  </a:cubicBezTo>
                  <a:cubicBezTo>
                    <a:pt x="38" y="45"/>
                    <a:pt x="41" y="45"/>
                    <a:pt x="43" y="43"/>
                  </a:cubicBezTo>
                  <a:cubicBezTo>
                    <a:pt x="45" y="42"/>
                    <a:pt x="45" y="39"/>
                    <a:pt x="43" y="37"/>
                  </a:cubicBezTo>
                  <a:cubicBezTo>
                    <a:pt x="17" y="10"/>
                    <a:pt x="17" y="10"/>
                    <a:pt x="17" y="10"/>
                  </a:cubicBezTo>
                  <a:lnTo>
                    <a:pt x="10" y="1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71" name="Freeform 970">
              <a:extLst>
                <a:ext uri="{FF2B5EF4-FFF2-40B4-BE49-F238E27FC236}">
                  <a16:creationId xmlns:a16="http://schemas.microsoft.com/office/drawing/2014/main" id="{06E1D51B-DA86-3511-D394-454698328A0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96900" y="4175125"/>
              <a:ext cx="254000" cy="190500"/>
            </a:xfrm>
            <a:custGeom>
              <a:avLst/>
              <a:gdLst>
                <a:gd name="T0" fmla="*/ 237 w 259"/>
                <a:gd name="T1" fmla="*/ 194 h 194"/>
                <a:gd name="T2" fmla="*/ 22 w 259"/>
                <a:gd name="T3" fmla="*/ 194 h 194"/>
                <a:gd name="T4" fmla="*/ 0 w 259"/>
                <a:gd name="T5" fmla="*/ 172 h 194"/>
                <a:gd name="T6" fmla="*/ 0 w 259"/>
                <a:gd name="T7" fmla="*/ 22 h 194"/>
                <a:gd name="T8" fmla="*/ 22 w 259"/>
                <a:gd name="T9" fmla="*/ 0 h 194"/>
                <a:gd name="T10" fmla="*/ 237 w 259"/>
                <a:gd name="T11" fmla="*/ 0 h 194"/>
                <a:gd name="T12" fmla="*/ 259 w 259"/>
                <a:gd name="T13" fmla="*/ 18 h 194"/>
                <a:gd name="T14" fmla="*/ 255 w 259"/>
                <a:gd name="T15" fmla="*/ 23 h 194"/>
                <a:gd name="T16" fmla="*/ 250 w 259"/>
                <a:gd name="T17" fmla="*/ 20 h 194"/>
                <a:gd name="T18" fmla="*/ 237 w 259"/>
                <a:gd name="T19" fmla="*/ 8 h 194"/>
                <a:gd name="T20" fmla="*/ 22 w 259"/>
                <a:gd name="T21" fmla="*/ 8 h 194"/>
                <a:gd name="T22" fmla="*/ 8 w 259"/>
                <a:gd name="T23" fmla="*/ 22 h 194"/>
                <a:gd name="T24" fmla="*/ 8 w 259"/>
                <a:gd name="T25" fmla="*/ 172 h 194"/>
                <a:gd name="T26" fmla="*/ 22 w 259"/>
                <a:gd name="T27" fmla="*/ 186 h 194"/>
                <a:gd name="T28" fmla="*/ 237 w 259"/>
                <a:gd name="T29" fmla="*/ 186 h 194"/>
                <a:gd name="T30" fmla="*/ 251 w 259"/>
                <a:gd name="T31" fmla="*/ 172 h 194"/>
                <a:gd name="T32" fmla="*/ 251 w 259"/>
                <a:gd name="T33" fmla="*/ 141 h 194"/>
                <a:gd name="T34" fmla="*/ 255 w 259"/>
                <a:gd name="T35" fmla="*/ 136 h 194"/>
                <a:gd name="T36" fmla="*/ 259 w 259"/>
                <a:gd name="T37" fmla="*/ 141 h 194"/>
                <a:gd name="T38" fmla="*/ 259 w 259"/>
                <a:gd name="T39" fmla="*/ 172 h 194"/>
                <a:gd name="T40" fmla="*/ 237 w 259"/>
                <a:gd name="T41" fmla="*/ 19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9" h="194">
                  <a:moveTo>
                    <a:pt x="237" y="194"/>
                  </a:moveTo>
                  <a:cubicBezTo>
                    <a:pt x="22" y="194"/>
                    <a:pt x="22" y="194"/>
                    <a:pt x="22" y="194"/>
                  </a:cubicBezTo>
                  <a:cubicBezTo>
                    <a:pt x="10" y="194"/>
                    <a:pt x="0" y="184"/>
                    <a:pt x="0" y="17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0"/>
                    <a:pt x="10" y="0"/>
                    <a:pt x="22" y="0"/>
                  </a:cubicBezTo>
                  <a:cubicBezTo>
                    <a:pt x="237" y="0"/>
                    <a:pt x="237" y="0"/>
                    <a:pt x="237" y="0"/>
                  </a:cubicBezTo>
                  <a:cubicBezTo>
                    <a:pt x="247" y="0"/>
                    <a:pt x="256" y="8"/>
                    <a:pt x="259" y="18"/>
                  </a:cubicBezTo>
                  <a:cubicBezTo>
                    <a:pt x="259" y="20"/>
                    <a:pt x="258" y="22"/>
                    <a:pt x="255" y="23"/>
                  </a:cubicBezTo>
                  <a:cubicBezTo>
                    <a:pt x="253" y="23"/>
                    <a:pt x="251" y="22"/>
                    <a:pt x="250" y="20"/>
                  </a:cubicBezTo>
                  <a:cubicBezTo>
                    <a:pt x="249" y="13"/>
                    <a:pt x="243" y="8"/>
                    <a:pt x="237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14" y="8"/>
                    <a:pt x="8" y="15"/>
                    <a:pt x="8" y="22"/>
                  </a:cubicBezTo>
                  <a:cubicBezTo>
                    <a:pt x="8" y="172"/>
                    <a:pt x="8" y="172"/>
                    <a:pt x="8" y="172"/>
                  </a:cubicBezTo>
                  <a:cubicBezTo>
                    <a:pt x="8" y="180"/>
                    <a:pt x="14" y="186"/>
                    <a:pt x="22" y="186"/>
                  </a:cubicBezTo>
                  <a:cubicBezTo>
                    <a:pt x="237" y="186"/>
                    <a:pt x="237" y="186"/>
                    <a:pt x="237" y="186"/>
                  </a:cubicBezTo>
                  <a:cubicBezTo>
                    <a:pt x="244" y="186"/>
                    <a:pt x="251" y="180"/>
                    <a:pt x="251" y="172"/>
                  </a:cubicBezTo>
                  <a:cubicBezTo>
                    <a:pt x="251" y="141"/>
                    <a:pt x="251" y="141"/>
                    <a:pt x="251" y="141"/>
                  </a:cubicBezTo>
                  <a:cubicBezTo>
                    <a:pt x="251" y="138"/>
                    <a:pt x="253" y="136"/>
                    <a:pt x="255" y="136"/>
                  </a:cubicBezTo>
                  <a:cubicBezTo>
                    <a:pt x="257" y="136"/>
                    <a:pt x="259" y="138"/>
                    <a:pt x="259" y="141"/>
                  </a:cubicBezTo>
                  <a:cubicBezTo>
                    <a:pt x="259" y="172"/>
                    <a:pt x="259" y="172"/>
                    <a:pt x="259" y="172"/>
                  </a:cubicBezTo>
                  <a:cubicBezTo>
                    <a:pt x="259" y="184"/>
                    <a:pt x="249" y="194"/>
                    <a:pt x="237" y="19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72" name="Freeform 971">
              <a:extLst>
                <a:ext uri="{FF2B5EF4-FFF2-40B4-BE49-F238E27FC236}">
                  <a16:creationId xmlns:a16="http://schemas.microsoft.com/office/drawing/2014/main" id="{DECC83B9-CBF3-E11E-5CF4-E35662C6C1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328650" y="4302125"/>
              <a:ext cx="31750" cy="33338"/>
            </a:xfrm>
            <a:custGeom>
              <a:avLst/>
              <a:gdLst>
                <a:gd name="T0" fmla="*/ 16 w 33"/>
                <a:gd name="T1" fmla="*/ 33 h 33"/>
                <a:gd name="T2" fmla="*/ 0 w 33"/>
                <a:gd name="T3" fmla="*/ 16 h 33"/>
                <a:gd name="T4" fmla="*/ 16 w 33"/>
                <a:gd name="T5" fmla="*/ 0 h 33"/>
                <a:gd name="T6" fmla="*/ 33 w 33"/>
                <a:gd name="T7" fmla="*/ 16 h 33"/>
                <a:gd name="T8" fmla="*/ 16 w 33"/>
                <a:gd name="T9" fmla="*/ 33 h 33"/>
                <a:gd name="T10" fmla="*/ 16 w 33"/>
                <a:gd name="T11" fmla="*/ 8 h 33"/>
                <a:gd name="T12" fmla="*/ 8 w 33"/>
                <a:gd name="T13" fmla="*/ 16 h 33"/>
                <a:gd name="T14" fmla="*/ 16 w 33"/>
                <a:gd name="T15" fmla="*/ 25 h 33"/>
                <a:gd name="T16" fmla="*/ 25 w 33"/>
                <a:gd name="T17" fmla="*/ 16 h 33"/>
                <a:gd name="T18" fmla="*/ 16 w 33"/>
                <a:gd name="T19" fmla="*/ 8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33">
                  <a:moveTo>
                    <a:pt x="16" y="33"/>
                  </a:moveTo>
                  <a:cubicBezTo>
                    <a:pt x="7" y="33"/>
                    <a:pt x="0" y="2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25" y="0"/>
                    <a:pt x="33" y="7"/>
                    <a:pt x="33" y="16"/>
                  </a:cubicBezTo>
                  <a:cubicBezTo>
                    <a:pt x="33" y="26"/>
                    <a:pt x="25" y="33"/>
                    <a:pt x="16" y="33"/>
                  </a:cubicBezTo>
                  <a:close/>
                  <a:moveTo>
                    <a:pt x="16" y="8"/>
                  </a:moveTo>
                  <a:cubicBezTo>
                    <a:pt x="12" y="8"/>
                    <a:pt x="8" y="12"/>
                    <a:pt x="8" y="16"/>
                  </a:cubicBezTo>
                  <a:cubicBezTo>
                    <a:pt x="8" y="21"/>
                    <a:pt x="12" y="25"/>
                    <a:pt x="16" y="25"/>
                  </a:cubicBezTo>
                  <a:cubicBezTo>
                    <a:pt x="21" y="25"/>
                    <a:pt x="25" y="21"/>
                    <a:pt x="25" y="16"/>
                  </a:cubicBezTo>
                  <a:cubicBezTo>
                    <a:pt x="25" y="12"/>
                    <a:pt x="21" y="8"/>
                    <a:pt x="16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73" name="Freeform 972">
              <a:extLst>
                <a:ext uri="{FF2B5EF4-FFF2-40B4-BE49-F238E27FC236}">
                  <a16:creationId xmlns:a16="http://schemas.microsoft.com/office/drawing/2014/main" id="{1F95A5B5-9248-2A8D-9185-E2ECB969E61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374688" y="4251325"/>
              <a:ext cx="33338" cy="31750"/>
            </a:xfrm>
            <a:custGeom>
              <a:avLst/>
              <a:gdLst>
                <a:gd name="T0" fmla="*/ 17 w 33"/>
                <a:gd name="T1" fmla="*/ 33 h 33"/>
                <a:gd name="T2" fmla="*/ 0 w 33"/>
                <a:gd name="T3" fmla="*/ 16 h 33"/>
                <a:gd name="T4" fmla="*/ 17 w 33"/>
                <a:gd name="T5" fmla="*/ 0 h 33"/>
                <a:gd name="T6" fmla="*/ 33 w 33"/>
                <a:gd name="T7" fmla="*/ 16 h 33"/>
                <a:gd name="T8" fmla="*/ 17 w 33"/>
                <a:gd name="T9" fmla="*/ 33 h 33"/>
                <a:gd name="T10" fmla="*/ 17 w 33"/>
                <a:gd name="T11" fmla="*/ 8 h 33"/>
                <a:gd name="T12" fmla="*/ 8 w 33"/>
                <a:gd name="T13" fmla="*/ 16 h 33"/>
                <a:gd name="T14" fmla="*/ 17 w 33"/>
                <a:gd name="T15" fmla="*/ 25 h 33"/>
                <a:gd name="T16" fmla="*/ 25 w 33"/>
                <a:gd name="T17" fmla="*/ 16 h 33"/>
                <a:gd name="T18" fmla="*/ 17 w 33"/>
                <a:gd name="T19" fmla="*/ 8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33">
                  <a:moveTo>
                    <a:pt x="17" y="33"/>
                  </a:moveTo>
                  <a:cubicBezTo>
                    <a:pt x="8" y="33"/>
                    <a:pt x="0" y="25"/>
                    <a:pt x="0" y="16"/>
                  </a:cubicBezTo>
                  <a:cubicBezTo>
                    <a:pt x="0" y="7"/>
                    <a:pt x="8" y="0"/>
                    <a:pt x="17" y="0"/>
                  </a:cubicBezTo>
                  <a:cubicBezTo>
                    <a:pt x="26" y="0"/>
                    <a:pt x="33" y="7"/>
                    <a:pt x="33" y="16"/>
                  </a:cubicBezTo>
                  <a:cubicBezTo>
                    <a:pt x="33" y="25"/>
                    <a:pt x="26" y="33"/>
                    <a:pt x="17" y="33"/>
                  </a:cubicBezTo>
                  <a:close/>
                  <a:moveTo>
                    <a:pt x="17" y="8"/>
                  </a:moveTo>
                  <a:cubicBezTo>
                    <a:pt x="12" y="8"/>
                    <a:pt x="8" y="12"/>
                    <a:pt x="8" y="16"/>
                  </a:cubicBezTo>
                  <a:cubicBezTo>
                    <a:pt x="8" y="21"/>
                    <a:pt x="12" y="25"/>
                    <a:pt x="17" y="25"/>
                  </a:cubicBezTo>
                  <a:cubicBezTo>
                    <a:pt x="21" y="25"/>
                    <a:pt x="25" y="21"/>
                    <a:pt x="25" y="16"/>
                  </a:cubicBezTo>
                  <a:cubicBezTo>
                    <a:pt x="25" y="12"/>
                    <a:pt x="21" y="8"/>
                    <a:pt x="17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74" name="Freeform 973">
              <a:extLst>
                <a:ext uri="{FF2B5EF4-FFF2-40B4-BE49-F238E27FC236}">
                  <a16:creationId xmlns:a16="http://schemas.microsoft.com/office/drawing/2014/main" id="{2C66A985-F876-F4A9-10A0-05F21190425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436600" y="4284663"/>
              <a:ext cx="33338" cy="33338"/>
            </a:xfrm>
            <a:custGeom>
              <a:avLst/>
              <a:gdLst>
                <a:gd name="T0" fmla="*/ 16 w 33"/>
                <a:gd name="T1" fmla="*/ 33 h 33"/>
                <a:gd name="T2" fmla="*/ 0 w 33"/>
                <a:gd name="T3" fmla="*/ 16 h 33"/>
                <a:gd name="T4" fmla="*/ 16 w 33"/>
                <a:gd name="T5" fmla="*/ 0 h 33"/>
                <a:gd name="T6" fmla="*/ 33 w 33"/>
                <a:gd name="T7" fmla="*/ 16 h 33"/>
                <a:gd name="T8" fmla="*/ 16 w 33"/>
                <a:gd name="T9" fmla="*/ 33 h 33"/>
                <a:gd name="T10" fmla="*/ 16 w 33"/>
                <a:gd name="T11" fmla="*/ 8 h 33"/>
                <a:gd name="T12" fmla="*/ 8 w 33"/>
                <a:gd name="T13" fmla="*/ 16 h 33"/>
                <a:gd name="T14" fmla="*/ 16 w 33"/>
                <a:gd name="T15" fmla="*/ 24 h 33"/>
                <a:gd name="T16" fmla="*/ 24 w 33"/>
                <a:gd name="T17" fmla="*/ 16 h 33"/>
                <a:gd name="T18" fmla="*/ 16 w 33"/>
                <a:gd name="T19" fmla="*/ 8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33">
                  <a:moveTo>
                    <a:pt x="16" y="33"/>
                  </a:moveTo>
                  <a:cubicBezTo>
                    <a:pt x="7" y="33"/>
                    <a:pt x="0" y="25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25" y="0"/>
                    <a:pt x="33" y="7"/>
                    <a:pt x="33" y="16"/>
                  </a:cubicBezTo>
                  <a:cubicBezTo>
                    <a:pt x="33" y="25"/>
                    <a:pt x="25" y="33"/>
                    <a:pt x="16" y="33"/>
                  </a:cubicBezTo>
                  <a:close/>
                  <a:moveTo>
                    <a:pt x="16" y="8"/>
                  </a:moveTo>
                  <a:cubicBezTo>
                    <a:pt x="11" y="8"/>
                    <a:pt x="8" y="12"/>
                    <a:pt x="8" y="16"/>
                  </a:cubicBezTo>
                  <a:cubicBezTo>
                    <a:pt x="8" y="21"/>
                    <a:pt x="11" y="24"/>
                    <a:pt x="16" y="24"/>
                  </a:cubicBezTo>
                  <a:cubicBezTo>
                    <a:pt x="21" y="24"/>
                    <a:pt x="24" y="21"/>
                    <a:pt x="24" y="16"/>
                  </a:cubicBezTo>
                  <a:cubicBezTo>
                    <a:pt x="24" y="12"/>
                    <a:pt x="21" y="8"/>
                    <a:pt x="16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75" name="Freeform 974">
              <a:extLst>
                <a:ext uri="{FF2B5EF4-FFF2-40B4-BE49-F238E27FC236}">
                  <a16:creationId xmlns:a16="http://schemas.microsoft.com/office/drawing/2014/main" id="{F6D22303-AEDD-E0A6-1E64-CAC2D7A5EE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492163" y="4222750"/>
              <a:ext cx="31750" cy="31750"/>
            </a:xfrm>
            <a:custGeom>
              <a:avLst/>
              <a:gdLst>
                <a:gd name="T0" fmla="*/ 16 w 33"/>
                <a:gd name="T1" fmla="*/ 33 h 33"/>
                <a:gd name="T2" fmla="*/ 0 w 33"/>
                <a:gd name="T3" fmla="*/ 16 h 33"/>
                <a:gd name="T4" fmla="*/ 16 w 33"/>
                <a:gd name="T5" fmla="*/ 0 h 33"/>
                <a:gd name="T6" fmla="*/ 33 w 33"/>
                <a:gd name="T7" fmla="*/ 16 h 33"/>
                <a:gd name="T8" fmla="*/ 16 w 33"/>
                <a:gd name="T9" fmla="*/ 33 h 33"/>
                <a:gd name="T10" fmla="*/ 16 w 33"/>
                <a:gd name="T11" fmla="*/ 8 h 33"/>
                <a:gd name="T12" fmla="*/ 8 w 33"/>
                <a:gd name="T13" fmla="*/ 16 h 33"/>
                <a:gd name="T14" fmla="*/ 16 w 33"/>
                <a:gd name="T15" fmla="*/ 25 h 33"/>
                <a:gd name="T16" fmla="*/ 25 w 33"/>
                <a:gd name="T17" fmla="*/ 16 h 33"/>
                <a:gd name="T18" fmla="*/ 16 w 33"/>
                <a:gd name="T19" fmla="*/ 8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33">
                  <a:moveTo>
                    <a:pt x="16" y="33"/>
                  </a:moveTo>
                  <a:cubicBezTo>
                    <a:pt x="7" y="33"/>
                    <a:pt x="0" y="2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25" y="0"/>
                    <a:pt x="33" y="7"/>
                    <a:pt x="33" y="16"/>
                  </a:cubicBezTo>
                  <a:cubicBezTo>
                    <a:pt x="33" y="26"/>
                    <a:pt x="25" y="33"/>
                    <a:pt x="16" y="33"/>
                  </a:cubicBezTo>
                  <a:close/>
                  <a:moveTo>
                    <a:pt x="16" y="8"/>
                  </a:moveTo>
                  <a:cubicBezTo>
                    <a:pt x="12" y="8"/>
                    <a:pt x="8" y="12"/>
                    <a:pt x="8" y="16"/>
                  </a:cubicBezTo>
                  <a:cubicBezTo>
                    <a:pt x="8" y="21"/>
                    <a:pt x="12" y="25"/>
                    <a:pt x="16" y="25"/>
                  </a:cubicBezTo>
                  <a:cubicBezTo>
                    <a:pt x="21" y="25"/>
                    <a:pt x="25" y="21"/>
                    <a:pt x="25" y="16"/>
                  </a:cubicBezTo>
                  <a:cubicBezTo>
                    <a:pt x="25" y="12"/>
                    <a:pt x="21" y="8"/>
                    <a:pt x="16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76" name="Freeform 975">
              <a:extLst>
                <a:ext uri="{FF2B5EF4-FFF2-40B4-BE49-F238E27FC236}">
                  <a16:creationId xmlns:a16="http://schemas.microsoft.com/office/drawing/2014/main" id="{7760F967-D860-4608-922B-2501E7FCFB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3347700" y="4268788"/>
              <a:ext cx="39688" cy="44450"/>
            </a:xfrm>
            <a:custGeom>
              <a:avLst/>
              <a:gdLst>
                <a:gd name="T0" fmla="*/ 5 w 40"/>
                <a:gd name="T1" fmla="*/ 45 h 45"/>
                <a:gd name="T2" fmla="*/ 2 w 40"/>
                <a:gd name="T3" fmla="*/ 44 h 45"/>
                <a:gd name="T4" fmla="*/ 1 w 40"/>
                <a:gd name="T5" fmla="*/ 38 h 45"/>
                <a:gd name="T6" fmla="*/ 32 w 40"/>
                <a:gd name="T7" fmla="*/ 2 h 45"/>
                <a:gd name="T8" fmla="*/ 38 w 40"/>
                <a:gd name="T9" fmla="*/ 2 h 45"/>
                <a:gd name="T10" fmla="*/ 38 w 40"/>
                <a:gd name="T11" fmla="*/ 8 h 45"/>
                <a:gd name="T12" fmla="*/ 8 w 40"/>
                <a:gd name="T13" fmla="*/ 44 h 45"/>
                <a:gd name="T14" fmla="*/ 5 w 40"/>
                <a:gd name="T15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5">
                  <a:moveTo>
                    <a:pt x="5" y="45"/>
                  </a:moveTo>
                  <a:cubicBezTo>
                    <a:pt x="4" y="45"/>
                    <a:pt x="3" y="45"/>
                    <a:pt x="2" y="44"/>
                  </a:cubicBezTo>
                  <a:cubicBezTo>
                    <a:pt x="0" y="43"/>
                    <a:pt x="0" y="40"/>
                    <a:pt x="1" y="38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3" y="1"/>
                    <a:pt x="36" y="0"/>
                    <a:pt x="38" y="2"/>
                  </a:cubicBezTo>
                  <a:cubicBezTo>
                    <a:pt x="39" y="3"/>
                    <a:pt x="40" y="6"/>
                    <a:pt x="38" y="8"/>
                  </a:cubicBezTo>
                  <a:cubicBezTo>
                    <a:pt x="8" y="44"/>
                    <a:pt x="8" y="44"/>
                    <a:pt x="8" y="44"/>
                  </a:cubicBezTo>
                  <a:cubicBezTo>
                    <a:pt x="7" y="45"/>
                    <a:pt x="6" y="45"/>
                    <a:pt x="5" y="4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77" name="Freeform 976">
              <a:extLst>
                <a:ext uri="{FF2B5EF4-FFF2-40B4-BE49-F238E27FC236}">
                  <a16:creationId xmlns:a16="http://schemas.microsoft.com/office/drawing/2014/main" id="{99840032-637A-3687-3DF4-EDAF257CFD9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398500" y="4267200"/>
              <a:ext cx="47625" cy="30163"/>
            </a:xfrm>
            <a:custGeom>
              <a:avLst/>
              <a:gdLst>
                <a:gd name="T0" fmla="*/ 45 w 49"/>
                <a:gd name="T1" fmla="*/ 31 h 31"/>
                <a:gd name="T2" fmla="*/ 43 w 49"/>
                <a:gd name="T3" fmla="*/ 31 h 31"/>
                <a:gd name="T4" fmla="*/ 2 w 49"/>
                <a:gd name="T5" fmla="*/ 8 h 31"/>
                <a:gd name="T6" fmla="*/ 1 w 49"/>
                <a:gd name="T7" fmla="*/ 2 h 31"/>
                <a:gd name="T8" fmla="*/ 6 w 49"/>
                <a:gd name="T9" fmla="*/ 1 h 31"/>
                <a:gd name="T10" fmla="*/ 47 w 49"/>
                <a:gd name="T11" fmla="*/ 24 h 31"/>
                <a:gd name="T12" fmla="*/ 48 w 49"/>
                <a:gd name="T13" fmla="*/ 29 h 31"/>
                <a:gd name="T14" fmla="*/ 45 w 49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" h="31">
                  <a:moveTo>
                    <a:pt x="45" y="31"/>
                  </a:moveTo>
                  <a:cubicBezTo>
                    <a:pt x="44" y="31"/>
                    <a:pt x="43" y="31"/>
                    <a:pt x="43" y="31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0" y="7"/>
                    <a:pt x="0" y="4"/>
                    <a:pt x="1" y="2"/>
                  </a:cubicBezTo>
                  <a:cubicBezTo>
                    <a:pt x="2" y="0"/>
                    <a:pt x="4" y="0"/>
                    <a:pt x="6" y="1"/>
                  </a:cubicBezTo>
                  <a:cubicBezTo>
                    <a:pt x="47" y="24"/>
                    <a:pt x="47" y="24"/>
                    <a:pt x="47" y="24"/>
                  </a:cubicBezTo>
                  <a:cubicBezTo>
                    <a:pt x="49" y="25"/>
                    <a:pt x="49" y="27"/>
                    <a:pt x="48" y="29"/>
                  </a:cubicBezTo>
                  <a:cubicBezTo>
                    <a:pt x="48" y="30"/>
                    <a:pt x="46" y="31"/>
                    <a:pt x="45" y="3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78" name="Freeform 977">
              <a:extLst>
                <a:ext uri="{FF2B5EF4-FFF2-40B4-BE49-F238E27FC236}">
                  <a16:creationId xmlns:a16="http://schemas.microsoft.com/office/drawing/2014/main" id="{CF86F9A5-1E00-647A-7E2C-B2D80BF74DA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55650" y="4243388"/>
              <a:ext cx="49213" cy="50800"/>
            </a:xfrm>
            <a:custGeom>
              <a:avLst/>
              <a:gdLst>
                <a:gd name="T0" fmla="*/ 4 w 50"/>
                <a:gd name="T1" fmla="*/ 52 h 52"/>
                <a:gd name="T2" fmla="*/ 2 w 50"/>
                <a:gd name="T3" fmla="*/ 51 h 52"/>
                <a:gd name="T4" fmla="*/ 1 w 50"/>
                <a:gd name="T5" fmla="*/ 45 h 52"/>
                <a:gd name="T6" fmla="*/ 42 w 50"/>
                <a:gd name="T7" fmla="*/ 1 h 52"/>
                <a:gd name="T8" fmla="*/ 48 w 50"/>
                <a:gd name="T9" fmla="*/ 1 h 52"/>
                <a:gd name="T10" fmla="*/ 48 w 50"/>
                <a:gd name="T11" fmla="*/ 7 h 52"/>
                <a:gd name="T12" fmla="*/ 7 w 50"/>
                <a:gd name="T13" fmla="*/ 51 h 52"/>
                <a:gd name="T14" fmla="*/ 4 w 50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2">
                  <a:moveTo>
                    <a:pt x="4" y="52"/>
                  </a:moveTo>
                  <a:cubicBezTo>
                    <a:pt x="3" y="52"/>
                    <a:pt x="2" y="52"/>
                    <a:pt x="2" y="51"/>
                  </a:cubicBezTo>
                  <a:cubicBezTo>
                    <a:pt x="0" y="49"/>
                    <a:pt x="0" y="47"/>
                    <a:pt x="1" y="45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4" y="0"/>
                    <a:pt x="46" y="0"/>
                    <a:pt x="48" y="1"/>
                  </a:cubicBezTo>
                  <a:cubicBezTo>
                    <a:pt x="50" y="3"/>
                    <a:pt x="50" y="5"/>
                    <a:pt x="48" y="7"/>
                  </a:cubicBezTo>
                  <a:cubicBezTo>
                    <a:pt x="7" y="51"/>
                    <a:pt x="7" y="51"/>
                    <a:pt x="7" y="51"/>
                  </a:cubicBezTo>
                  <a:cubicBezTo>
                    <a:pt x="7" y="52"/>
                    <a:pt x="5" y="52"/>
                    <a:pt x="4" y="5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79" name="Freeform 978">
              <a:extLst>
                <a:ext uri="{FF2B5EF4-FFF2-40B4-BE49-F238E27FC236}">
                  <a16:creationId xmlns:a16="http://schemas.microsoft.com/office/drawing/2014/main" id="{C3C49081-0D17-285A-BB89-C3814306B2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3358813" y="4357688"/>
              <a:ext cx="130175" cy="42863"/>
            </a:xfrm>
            <a:custGeom>
              <a:avLst/>
              <a:gdLst>
                <a:gd name="T0" fmla="*/ 128 w 133"/>
                <a:gd name="T1" fmla="*/ 43 h 43"/>
                <a:gd name="T2" fmla="*/ 126 w 133"/>
                <a:gd name="T3" fmla="*/ 42 h 43"/>
                <a:gd name="T4" fmla="*/ 66 w 133"/>
                <a:gd name="T5" fmla="*/ 9 h 43"/>
                <a:gd name="T6" fmla="*/ 7 w 133"/>
                <a:gd name="T7" fmla="*/ 42 h 43"/>
                <a:gd name="T8" fmla="*/ 1 w 133"/>
                <a:gd name="T9" fmla="*/ 41 h 43"/>
                <a:gd name="T10" fmla="*/ 3 w 133"/>
                <a:gd name="T11" fmla="*/ 35 h 43"/>
                <a:gd name="T12" fmla="*/ 64 w 133"/>
                <a:gd name="T13" fmla="*/ 1 h 43"/>
                <a:gd name="T14" fmla="*/ 68 w 133"/>
                <a:gd name="T15" fmla="*/ 1 h 43"/>
                <a:gd name="T16" fmla="*/ 130 w 133"/>
                <a:gd name="T17" fmla="*/ 35 h 43"/>
                <a:gd name="T18" fmla="*/ 132 w 133"/>
                <a:gd name="T19" fmla="*/ 41 h 43"/>
                <a:gd name="T20" fmla="*/ 128 w 133"/>
                <a:gd name="T21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3" h="43">
                  <a:moveTo>
                    <a:pt x="128" y="43"/>
                  </a:moveTo>
                  <a:cubicBezTo>
                    <a:pt x="128" y="43"/>
                    <a:pt x="127" y="43"/>
                    <a:pt x="126" y="42"/>
                  </a:cubicBezTo>
                  <a:cubicBezTo>
                    <a:pt x="66" y="9"/>
                    <a:pt x="66" y="9"/>
                    <a:pt x="66" y="9"/>
                  </a:cubicBezTo>
                  <a:cubicBezTo>
                    <a:pt x="7" y="42"/>
                    <a:pt x="7" y="42"/>
                    <a:pt x="7" y="42"/>
                  </a:cubicBezTo>
                  <a:cubicBezTo>
                    <a:pt x="5" y="43"/>
                    <a:pt x="2" y="43"/>
                    <a:pt x="1" y="41"/>
                  </a:cubicBezTo>
                  <a:cubicBezTo>
                    <a:pt x="0" y="39"/>
                    <a:pt x="1" y="36"/>
                    <a:pt x="3" y="35"/>
                  </a:cubicBezTo>
                  <a:cubicBezTo>
                    <a:pt x="64" y="1"/>
                    <a:pt x="64" y="1"/>
                    <a:pt x="64" y="1"/>
                  </a:cubicBezTo>
                  <a:cubicBezTo>
                    <a:pt x="66" y="0"/>
                    <a:pt x="67" y="0"/>
                    <a:pt x="68" y="1"/>
                  </a:cubicBezTo>
                  <a:cubicBezTo>
                    <a:pt x="130" y="35"/>
                    <a:pt x="130" y="35"/>
                    <a:pt x="130" y="35"/>
                  </a:cubicBezTo>
                  <a:cubicBezTo>
                    <a:pt x="132" y="36"/>
                    <a:pt x="133" y="39"/>
                    <a:pt x="132" y="41"/>
                  </a:cubicBezTo>
                  <a:cubicBezTo>
                    <a:pt x="131" y="42"/>
                    <a:pt x="130" y="43"/>
                    <a:pt x="128" y="4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780" name="Shape21_20200717_142313">
            <a:extLst>
              <a:ext uri="{FF2B5EF4-FFF2-40B4-BE49-F238E27FC236}">
                <a16:creationId xmlns:a16="http://schemas.microsoft.com/office/drawing/2014/main" id="{762A1AB7-9AC7-F8B7-B8ED-AD4A504AE079}"/>
              </a:ext>
            </a:extLst>
          </p:cNvPr>
          <p:cNvGrpSpPr>
            <a:grpSpLocks noChangeAspect="1"/>
          </p:cNvGrpSpPr>
          <p:nvPr/>
        </p:nvGrpSpPr>
        <p:grpSpPr>
          <a:xfrm>
            <a:off x="4511549" y="3855767"/>
            <a:ext cx="557786" cy="557780"/>
            <a:chOff x="13839825" y="4164013"/>
            <a:chExt cx="246063" cy="246062"/>
          </a:xfrm>
          <a:solidFill>
            <a:schemeClr val="accent1"/>
          </a:solidFill>
        </p:grpSpPr>
        <p:sp>
          <p:nvSpPr>
            <p:cNvPr id="781" name="Freeform 979">
              <a:extLst>
                <a:ext uri="{FF2B5EF4-FFF2-40B4-BE49-F238E27FC236}">
                  <a16:creationId xmlns:a16="http://schemas.microsoft.com/office/drawing/2014/main" id="{62F03487-0B40-A79A-A073-EDFFD6AE56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839825" y="4164013"/>
              <a:ext cx="192088" cy="192088"/>
            </a:xfrm>
            <a:custGeom>
              <a:avLst/>
              <a:gdLst>
                <a:gd name="T0" fmla="*/ 97 w 195"/>
                <a:gd name="T1" fmla="*/ 195 h 195"/>
                <a:gd name="T2" fmla="*/ 0 w 195"/>
                <a:gd name="T3" fmla="*/ 98 h 195"/>
                <a:gd name="T4" fmla="*/ 97 w 195"/>
                <a:gd name="T5" fmla="*/ 0 h 195"/>
                <a:gd name="T6" fmla="*/ 195 w 195"/>
                <a:gd name="T7" fmla="*/ 98 h 195"/>
                <a:gd name="T8" fmla="*/ 97 w 195"/>
                <a:gd name="T9" fmla="*/ 195 h 195"/>
                <a:gd name="T10" fmla="*/ 97 w 195"/>
                <a:gd name="T11" fmla="*/ 9 h 195"/>
                <a:gd name="T12" fmla="*/ 8 w 195"/>
                <a:gd name="T13" fmla="*/ 98 h 195"/>
                <a:gd name="T14" fmla="*/ 97 w 195"/>
                <a:gd name="T15" fmla="*/ 187 h 195"/>
                <a:gd name="T16" fmla="*/ 186 w 195"/>
                <a:gd name="T17" fmla="*/ 98 h 195"/>
                <a:gd name="T18" fmla="*/ 97 w 195"/>
                <a:gd name="T19" fmla="*/ 9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5" h="195">
                  <a:moveTo>
                    <a:pt x="97" y="195"/>
                  </a:moveTo>
                  <a:cubicBezTo>
                    <a:pt x="43" y="195"/>
                    <a:pt x="0" y="152"/>
                    <a:pt x="0" y="98"/>
                  </a:cubicBezTo>
                  <a:cubicBezTo>
                    <a:pt x="0" y="44"/>
                    <a:pt x="43" y="0"/>
                    <a:pt x="97" y="0"/>
                  </a:cubicBezTo>
                  <a:cubicBezTo>
                    <a:pt x="151" y="0"/>
                    <a:pt x="195" y="44"/>
                    <a:pt x="195" y="98"/>
                  </a:cubicBezTo>
                  <a:cubicBezTo>
                    <a:pt x="195" y="152"/>
                    <a:pt x="151" y="195"/>
                    <a:pt x="97" y="195"/>
                  </a:cubicBezTo>
                  <a:close/>
                  <a:moveTo>
                    <a:pt x="97" y="9"/>
                  </a:moveTo>
                  <a:cubicBezTo>
                    <a:pt x="48" y="9"/>
                    <a:pt x="8" y="49"/>
                    <a:pt x="8" y="98"/>
                  </a:cubicBezTo>
                  <a:cubicBezTo>
                    <a:pt x="8" y="147"/>
                    <a:pt x="48" y="187"/>
                    <a:pt x="97" y="187"/>
                  </a:cubicBezTo>
                  <a:cubicBezTo>
                    <a:pt x="146" y="187"/>
                    <a:pt x="186" y="147"/>
                    <a:pt x="186" y="98"/>
                  </a:cubicBezTo>
                  <a:cubicBezTo>
                    <a:pt x="186" y="49"/>
                    <a:pt x="146" y="9"/>
                    <a:pt x="97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82" name="Freeform 980">
              <a:extLst>
                <a:ext uri="{FF2B5EF4-FFF2-40B4-BE49-F238E27FC236}">
                  <a16:creationId xmlns:a16="http://schemas.microsoft.com/office/drawing/2014/main" id="{7D51D7C4-DE27-9F9B-2024-FCB384254A8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987463" y="4311650"/>
              <a:ext cx="98425" cy="98425"/>
            </a:xfrm>
            <a:custGeom>
              <a:avLst/>
              <a:gdLst>
                <a:gd name="T0" fmla="*/ 81 w 101"/>
                <a:gd name="T1" fmla="*/ 101 h 101"/>
                <a:gd name="T2" fmla="*/ 69 w 101"/>
                <a:gd name="T3" fmla="*/ 96 h 101"/>
                <a:gd name="T4" fmla="*/ 69 w 101"/>
                <a:gd name="T5" fmla="*/ 96 h 101"/>
                <a:gd name="T6" fmla="*/ 1 w 101"/>
                <a:gd name="T7" fmla="*/ 28 h 101"/>
                <a:gd name="T8" fmla="*/ 1 w 101"/>
                <a:gd name="T9" fmla="*/ 22 h 101"/>
                <a:gd name="T10" fmla="*/ 21 w 101"/>
                <a:gd name="T11" fmla="*/ 2 h 101"/>
                <a:gd name="T12" fmla="*/ 27 w 101"/>
                <a:gd name="T13" fmla="*/ 2 h 101"/>
                <a:gd name="T14" fmla="*/ 95 w 101"/>
                <a:gd name="T15" fmla="*/ 70 h 101"/>
                <a:gd name="T16" fmla="*/ 95 w 101"/>
                <a:gd name="T17" fmla="*/ 93 h 101"/>
                <a:gd name="T18" fmla="*/ 92 w 101"/>
                <a:gd name="T19" fmla="*/ 96 h 101"/>
                <a:gd name="T20" fmla="*/ 81 w 101"/>
                <a:gd name="T21" fmla="*/ 101 h 101"/>
                <a:gd name="T22" fmla="*/ 10 w 101"/>
                <a:gd name="T23" fmla="*/ 25 h 101"/>
                <a:gd name="T24" fmla="*/ 75 w 101"/>
                <a:gd name="T25" fmla="*/ 90 h 101"/>
                <a:gd name="T26" fmla="*/ 75 w 101"/>
                <a:gd name="T27" fmla="*/ 90 h 101"/>
                <a:gd name="T28" fmla="*/ 86 w 101"/>
                <a:gd name="T29" fmla="*/ 90 h 101"/>
                <a:gd name="T30" fmla="*/ 89 w 101"/>
                <a:gd name="T31" fmla="*/ 87 h 101"/>
                <a:gd name="T32" fmla="*/ 89 w 101"/>
                <a:gd name="T33" fmla="*/ 76 h 101"/>
                <a:gd name="T34" fmla="*/ 24 w 101"/>
                <a:gd name="T35" fmla="*/ 11 h 101"/>
                <a:gd name="T36" fmla="*/ 10 w 101"/>
                <a:gd name="T37" fmla="*/ 25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1" h="101">
                  <a:moveTo>
                    <a:pt x="81" y="101"/>
                  </a:moveTo>
                  <a:cubicBezTo>
                    <a:pt x="77" y="101"/>
                    <a:pt x="72" y="99"/>
                    <a:pt x="69" y="96"/>
                  </a:cubicBezTo>
                  <a:cubicBezTo>
                    <a:pt x="69" y="96"/>
                    <a:pt x="69" y="96"/>
                    <a:pt x="69" y="96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0" y="26"/>
                    <a:pt x="0" y="24"/>
                    <a:pt x="1" y="2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3" y="0"/>
                    <a:pt x="25" y="0"/>
                    <a:pt x="27" y="2"/>
                  </a:cubicBezTo>
                  <a:cubicBezTo>
                    <a:pt x="95" y="70"/>
                    <a:pt x="95" y="70"/>
                    <a:pt x="95" y="70"/>
                  </a:cubicBezTo>
                  <a:cubicBezTo>
                    <a:pt x="101" y="76"/>
                    <a:pt x="101" y="87"/>
                    <a:pt x="95" y="93"/>
                  </a:cubicBezTo>
                  <a:cubicBezTo>
                    <a:pt x="92" y="96"/>
                    <a:pt x="92" y="96"/>
                    <a:pt x="92" y="96"/>
                  </a:cubicBezTo>
                  <a:cubicBezTo>
                    <a:pt x="89" y="99"/>
                    <a:pt x="85" y="101"/>
                    <a:pt x="81" y="101"/>
                  </a:cubicBezTo>
                  <a:close/>
                  <a:moveTo>
                    <a:pt x="10" y="25"/>
                  </a:moveTo>
                  <a:cubicBezTo>
                    <a:pt x="75" y="90"/>
                    <a:pt x="75" y="90"/>
                    <a:pt x="75" y="90"/>
                  </a:cubicBezTo>
                  <a:cubicBezTo>
                    <a:pt x="75" y="90"/>
                    <a:pt x="75" y="90"/>
                    <a:pt x="75" y="90"/>
                  </a:cubicBezTo>
                  <a:cubicBezTo>
                    <a:pt x="78" y="93"/>
                    <a:pt x="83" y="93"/>
                    <a:pt x="86" y="90"/>
                  </a:cubicBezTo>
                  <a:cubicBezTo>
                    <a:pt x="89" y="87"/>
                    <a:pt x="89" y="87"/>
                    <a:pt x="89" y="87"/>
                  </a:cubicBezTo>
                  <a:cubicBezTo>
                    <a:pt x="92" y="84"/>
                    <a:pt x="92" y="79"/>
                    <a:pt x="89" y="76"/>
                  </a:cubicBezTo>
                  <a:cubicBezTo>
                    <a:pt x="24" y="11"/>
                    <a:pt x="24" y="11"/>
                    <a:pt x="24" y="11"/>
                  </a:cubicBezTo>
                  <a:lnTo>
                    <a:pt x="10" y="2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83" name="Freeform 981">
              <a:extLst>
                <a:ext uri="{FF2B5EF4-FFF2-40B4-BE49-F238E27FC236}">
                  <a16:creationId xmlns:a16="http://schemas.microsoft.com/office/drawing/2014/main" id="{900D14E1-E3E9-4281-A3CB-CBF5B936A9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874750" y="4195763"/>
              <a:ext cx="122238" cy="117475"/>
            </a:xfrm>
            <a:custGeom>
              <a:avLst/>
              <a:gdLst>
                <a:gd name="T0" fmla="*/ 95 w 124"/>
                <a:gd name="T1" fmla="*/ 119 h 120"/>
                <a:gd name="T2" fmla="*/ 91 w 124"/>
                <a:gd name="T3" fmla="*/ 118 h 120"/>
                <a:gd name="T4" fmla="*/ 62 w 124"/>
                <a:gd name="T5" fmla="*/ 101 h 120"/>
                <a:gd name="T6" fmla="*/ 34 w 124"/>
                <a:gd name="T7" fmla="*/ 118 h 120"/>
                <a:gd name="T8" fmla="*/ 34 w 124"/>
                <a:gd name="T9" fmla="*/ 118 h 120"/>
                <a:gd name="T10" fmla="*/ 24 w 124"/>
                <a:gd name="T11" fmla="*/ 118 h 120"/>
                <a:gd name="T12" fmla="*/ 21 w 124"/>
                <a:gd name="T13" fmla="*/ 109 h 120"/>
                <a:gd name="T14" fmla="*/ 28 w 124"/>
                <a:gd name="T15" fmla="*/ 75 h 120"/>
                <a:gd name="T16" fmla="*/ 4 w 124"/>
                <a:gd name="T17" fmla="*/ 55 h 120"/>
                <a:gd name="T18" fmla="*/ 1 w 124"/>
                <a:gd name="T19" fmla="*/ 46 h 120"/>
                <a:gd name="T20" fmla="*/ 8 w 124"/>
                <a:gd name="T21" fmla="*/ 40 h 120"/>
                <a:gd name="T22" fmla="*/ 39 w 124"/>
                <a:gd name="T23" fmla="*/ 36 h 120"/>
                <a:gd name="T24" fmla="*/ 54 w 124"/>
                <a:gd name="T25" fmla="*/ 5 h 120"/>
                <a:gd name="T26" fmla="*/ 62 w 124"/>
                <a:gd name="T27" fmla="*/ 0 h 120"/>
                <a:gd name="T28" fmla="*/ 70 w 124"/>
                <a:gd name="T29" fmla="*/ 5 h 120"/>
                <a:gd name="T30" fmla="*/ 85 w 124"/>
                <a:gd name="T31" fmla="*/ 36 h 120"/>
                <a:gd name="T32" fmla="*/ 116 w 124"/>
                <a:gd name="T33" fmla="*/ 40 h 120"/>
                <a:gd name="T34" fmla="*/ 123 w 124"/>
                <a:gd name="T35" fmla="*/ 46 h 120"/>
                <a:gd name="T36" fmla="*/ 120 w 124"/>
                <a:gd name="T37" fmla="*/ 55 h 120"/>
                <a:gd name="T38" fmla="*/ 96 w 124"/>
                <a:gd name="T39" fmla="*/ 75 h 120"/>
                <a:gd name="T40" fmla="*/ 103 w 124"/>
                <a:gd name="T41" fmla="*/ 109 h 120"/>
                <a:gd name="T42" fmla="*/ 100 w 124"/>
                <a:gd name="T43" fmla="*/ 118 h 120"/>
                <a:gd name="T44" fmla="*/ 95 w 124"/>
                <a:gd name="T45" fmla="*/ 119 h 120"/>
                <a:gd name="T46" fmla="*/ 62 w 124"/>
                <a:gd name="T47" fmla="*/ 92 h 120"/>
                <a:gd name="T48" fmla="*/ 64 w 124"/>
                <a:gd name="T49" fmla="*/ 93 h 120"/>
                <a:gd name="T50" fmla="*/ 95 w 124"/>
                <a:gd name="T51" fmla="*/ 111 h 120"/>
                <a:gd name="T52" fmla="*/ 95 w 124"/>
                <a:gd name="T53" fmla="*/ 111 h 120"/>
                <a:gd name="T54" fmla="*/ 95 w 124"/>
                <a:gd name="T55" fmla="*/ 111 h 120"/>
                <a:gd name="T56" fmla="*/ 87 w 124"/>
                <a:gd name="T57" fmla="*/ 74 h 120"/>
                <a:gd name="T58" fmla="*/ 89 w 124"/>
                <a:gd name="T59" fmla="*/ 70 h 120"/>
                <a:gd name="T60" fmla="*/ 115 w 124"/>
                <a:gd name="T61" fmla="*/ 48 h 120"/>
                <a:gd name="T62" fmla="*/ 115 w 124"/>
                <a:gd name="T63" fmla="*/ 48 h 120"/>
                <a:gd name="T64" fmla="*/ 115 w 124"/>
                <a:gd name="T65" fmla="*/ 48 h 120"/>
                <a:gd name="T66" fmla="*/ 82 w 124"/>
                <a:gd name="T67" fmla="*/ 44 h 120"/>
                <a:gd name="T68" fmla="*/ 78 w 124"/>
                <a:gd name="T69" fmla="*/ 42 h 120"/>
                <a:gd name="T70" fmla="*/ 62 w 124"/>
                <a:gd name="T71" fmla="*/ 9 h 120"/>
                <a:gd name="T72" fmla="*/ 62 w 124"/>
                <a:gd name="T73" fmla="*/ 9 h 120"/>
                <a:gd name="T74" fmla="*/ 46 w 124"/>
                <a:gd name="T75" fmla="*/ 42 h 120"/>
                <a:gd name="T76" fmla="*/ 43 w 124"/>
                <a:gd name="T77" fmla="*/ 44 h 120"/>
                <a:gd name="T78" fmla="*/ 9 w 124"/>
                <a:gd name="T79" fmla="*/ 48 h 120"/>
                <a:gd name="T80" fmla="*/ 9 w 124"/>
                <a:gd name="T81" fmla="*/ 48 h 120"/>
                <a:gd name="T82" fmla="*/ 9 w 124"/>
                <a:gd name="T83" fmla="*/ 48 h 120"/>
                <a:gd name="T84" fmla="*/ 35 w 124"/>
                <a:gd name="T85" fmla="*/ 70 h 120"/>
                <a:gd name="T86" fmla="*/ 37 w 124"/>
                <a:gd name="T87" fmla="*/ 74 h 120"/>
                <a:gd name="T88" fmla="*/ 29 w 124"/>
                <a:gd name="T89" fmla="*/ 111 h 120"/>
                <a:gd name="T90" fmla="*/ 29 w 124"/>
                <a:gd name="T91" fmla="*/ 111 h 120"/>
                <a:gd name="T92" fmla="*/ 29 w 124"/>
                <a:gd name="T93" fmla="*/ 111 h 120"/>
                <a:gd name="T94" fmla="*/ 29 w 124"/>
                <a:gd name="T95" fmla="*/ 111 h 120"/>
                <a:gd name="T96" fmla="*/ 60 w 124"/>
                <a:gd name="T97" fmla="*/ 93 h 120"/>
                <a:gd name="T98" fmla="*/ 62 w 124"/>
                <a:gd name="T99" fmla="*/ 92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24" h="120">
                  <a:moveTo>
                    <a:pt x="95" y="119"/>
                  </a:moveTo>
                  <a:cubicBezTo>
                    <a:pt x="93" y="119"/>
                    <a:pt x="92" y="119"/>
                    <a:pt x="91" y="118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34" y="118"/>
                    <a:pt x="34" y="118"/>
                    <a:pt x="34" y="118"/>
                  </a:cubicBezTo>
                  <a:cubicBezTo>
                    <a:pt x="34" y="118"/>
                    <a:pt x="34" y="118"/>
                    <a:pt x="34" y="118"/>
                  </a:cubicBezTo>
                  <a:cubicBezTo>
                    <a:pt x="31" y="120"/>
                    <a:pt x="27" y="120"/>
                    <a:pt x="24" y="118"/>
                  </a:cubicBezTo>
                  <a:cubicBezTo>
                    <a:pt x="21" y="116"/>
                    <a:pt x="20" y="112"/>
                    <a:pt x="21" y="109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4" y="55"/>
                    <a:pt x="4" y="55"/>
                    <a:pt x="4" y="55"/>
                  </a:cubicBezTo>
                  <a:cubicBezTo>
                    <a:pt x="1" y="53"/>
                    <a:pt x="0" y="49"/>
                    <a:pt x="1" y="46"/>
                  </a:cubicBezTo>
                  <a:cubicBezTo>
                    <a:pt x="2" y="43"/>
                    <a:pt x="5" y="40"/>
                    <a:pt x="8" y="40"/>
                  </a:cubicBezTo>
                  <a:cubicBezTo>
                    <a:pt x="39" y="36"/>
                    <a:pt x="39" y="36"/>
                    <a:pt x="39" y="36"/>
                  </a:cubicBezTo>
                  <a:cubicBezTo>
                    <a:pt x="54" y="5"/>
                    <a:pt x="54" y="5"/>
                    <a:pt x="54" y="5"/>
                  </a:cubicBezTo>
                  <a:cubicBezTo>
                    <a:pt x="56" y="2"/>
                    <a:pt x="59" y="0"/>
                    <a:pt x="62" y="0"/>
                  </a:cubicBezTo>
                  <a:cubicBezTo>
                    <a:pt x="65" y="0"/>
                    <a:pt x="68" y="2"/>
                    <a:pt x="70" y="5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116" y="40"/>
                    <a:pt x="116" y="40"/>
                    <a:pt x="116" y="40"/>
                  </a:cubicBezTo>
                  <a:cubicBezTo>
                    <a:pt x="119" y="40"/>
                    <a:pt x="122" y="43"/>
                    <a:pt x="123" y="46"/>
                  </a:cubicBezTo>
                  <a:cubicBezTo>
                    <a:pt x="124" y="49"/>
                    <a:pt x="123" y="53"/>
                    <a:pt x="120" y="55"/>
                  </a:cubicBezTo>
                  <a:cubicBezTo>
                    <a:pt x="96" y="75"/>
                    <a:pt x="96" y="75"/>
                    <a:pt x="96" y="75"/>
                  </a:cubicBezTo>
                  <a:cubicBezTo>
                    <a:pt x="103" y="109"/>
                    <a:pt x="103" y="109"/>
                    <a:pt x="103" y="109"/>
                  </a:cubicBezTo>
                  <a:cubicBezTo>
                    <a:pt x="104" y="112"/>
                    <a:pt x="103" y="116"/>
                    <a:pt x="100" y="118"/>
                  </a:cubicBezTo>
                  <a:cubicBezTo>
                    <a:pt x="98" y="119"/>
                    <a:pt x="97" y="119"/>
                    <a:pt x="95" y="119"/>
                  </a:cubicBezTo>
                  <a:close/>
                  <a:moveTo>
                    <a:pt x="62" y="92"/>
                  </a:moveTo>
                  <a:cubicBezTo>
                    <a:pt x="63" y="92"/>
                    <a:pt x="64" y="92"/>
                    <a:pt x="64" y="93"/>
                  </a:cubicBezTo>
                  <a:cubicBezTo>
                    <a:pt x="95" y="111"/>
                    <a:pt x="95" y="111"/>
                    <a:pt x="95" y="111"/>
                  </a:cubicBezTo>
                  <a:cubicBezTo>
                    <a:pt x="95" y="111"/>
                    <a:pt x="95" y="111"/>
                    <a:pt x="95" y="111"/>
                  </a:cubicBezTo>
                  <a:cubicBezTo>
                    <a:pt x="95" y="111"/>
                    <a:pt x="95" y="111"/>
                    <a:pt x="95" y="111"/>
                  </a:cubicBezTo>
                  <a:cubicBezTo>
                    <a:pt x="87" y="74"/>
                    <a:pt x="87" y="74"/>
                    <a:pt x="87" y="74"/>
                  </a:cubicBezTo>
                  <a:cubicBezTo>
                    <a:pt x="87" y="73"/>
                    <a:pt x="88" y="71"/>
                    <a:pt x="89" y="70"/>
                  </a:cubicBezTo>
                  <a:cubicBezTo>
                    <a:pt x="115" y="48"/>
                    <a:pt x="115" y="48"/>
                    <a:pt x="115" y="48"/>
                  </a:cubicBezTo>
                  <a:cubicBezTo>
                    <a:pt x="115" y="48"/>
                    <a:pt x="115" y="48"/>
                    <a:pt x="115" y="48"/>
                  </a:cubicBezTo>
                  <a:cubicBezTo>
                    <a:pt x="115" y="48"/>
                    <a:pt x="115" y="48"/>
                    <a:pt x="115" y="48"/>
                  </a:cubicBezTo>
                  <a:cubicBezTo>
                    <a:pt x="82" y="44"/>
                    <a:pt x="82" y="44"/>
                    <a:pt x="82" y="44"/>
                  </a:cubicBezTo>
                  <a:cubicBezTo>
                    <a:pt x="80" y="44"/>
                    <a:pt x="79" y="43"/>
                    <a:pt x="78" y="42"/>
                  </a:cubicBezTo>
                  <a:cubicBezTo>
                    <a:pt x="62" y="9"/>
                    <a:pt x="62" y="9"/>
                    <a:pt x="62" y="9"/>
                  </a:cubicBezTo>
                  <a:cubicBezTo>
                    <a:pt x="62" y="9"/>
                    <a:pt x="62" y="9"/>
                    <a:pt x="62" y="9"/>
                  </a:cubicBezTo>
                  <a:cubicBezTo>
                    <a:pt x="46" y="42"/>
                    <a:pt x="46" y="42"/>
                    <a:pt x="46" y="42"/>
                  </a:cubicBezTo>
                  <a:cubicBezTo>
                    <a:pt x="45" y="43"/>
                    <a:pt x="44" y="44"/>
                    <a:pt x="43" y="44"/>
                  </a:cubicBezTo>
                  <a:cubicBezTo>
                    <a:pt x="9" y="48"/>
                    <a:pt x="9" y="48"/>
                    <a:pt x="9" y="48"/>
                  </a:cubicBezTo>
                  <a:cubicBezTo>
                    <a:pt x="9" y="48"/>
                    <a:pt x="9" y="48"/>
                    <a:pt x="9" y="48"/>
                  </a:cubicBezTo>
                  <a:cubicBezTo>
                    <a:pt x="9" y="48"/>
                    <a:pt x="9" y="48"/>
                    <a:pt x="9" y="48"/>
                  </a:cubicBezTo>
                  <a:cubicBezTo>
                    <a:pt x="35" y="70"/>
                    <a:pt x="35" y="70"/>
                    <a:pt x="35" y="70"/>
                  </a:cubicBezTo>
                  <a:cubicBezTo>
                    <a:pt x="37" y="71"/>
                    <a:pt x="37" y="73"/>
                    <a:pt x="37" y="74"/>
                  </a:cubicBezTo>
                  <a:cubicBezTo>
                    <a:pt x="29" y="111"/>
                    <a:pt x="29" y="111"/>
                    <a:pt x="29" y="111"/>
                  </a:cubicBezTo>
                  <a:cubicBezTo>
                    <a:pt x="29" y="111"/>
                    <a:pt x="29" y="111"/>
                    <a:pt x="29" y="111"/>
                  </a:cubicBezTo>
                  <a:cubicBezTo>
                    <a:pt x="29" y="111"/>
                    <a:pt x="29" y="111"/>
                    <a:pt x="29" y="111"/>
                  </a:cubicBezTo>
                  <a:cubicBezTo>
                    <a:pt x="29" y="111"/>
                    <a:pt x="29" y="111"/>
                    <a:pt x="29" y="111"/>
                  </a:cubicBezTo>
                  <a:cubicBezTo>
                    <a:pt x="60" y="93"/>
                    <a:pt x="60" y="93"/>
                    <a:pt x="60" y="93"/>
                  </a:cubicBezTo>
                  <a:cubicBezTo>
                    <a:pt x="61" y="92"/>
                    <a:pt x="61" y="92"/>
                    <a:pt x="62" y="9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784" name="Shape22_20200717_142313">
            <a:extLst>
              <a:ext uri="{FF2B5EF4-FFF2-40B4-BE49-F238E27FC236}">
                <a16:creationId xmlns:a16="http://schemas.microsoft.com/office/drawing/2014/main" id="{A6566BA2-5EA1-AE41-2E14-EA9BFAC19F6B}"/>
              </a:ext>
            </a:extLst>
          </p:cNvPr>
          <p:cNvGrpSpPr>
            <a:grpSpLocks noChangeAspect="1"/>
          </p:cNvGrpSpPr>
          <p:nvPr/>
        </p:nvGrpSpPr>
        <p:grpSpPr>
          <a:xfrm>
            <a:off x="7119064" y="3850367"/>
            <a:ext cx="564982" cy="568582"/>
            <a:chOff x="14887575" y="4162425"/>
            <a:chExt cx="249238" cy="250825"/>
          </a:xfrm>
          <a:solidFill>
            <a:schemeClr val="accent1"/>
          </a:solidFill>
        </p:grpSpPr>
        <p:sp>
          <p:nvSpPr>
            <p:cNvPr id="785" name="Freeform 982">
              <a:extLst>
                <a:ext uri="{FF2B5EF4-FFF2-40B4-BE49-F238E27FC236}">
                  <a16:creationId xmlns:a16="http://schemas.microsoft.com/office/drawing/2014/main" id="{78546A2E-F065-630E-3C90-8EDF298ACEC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000288" y="4227513"/>
              <a:ext cx="106363" cy="106363"/>
            </a:xfrm>
            <a:custGeom>
              <a:avLst/>
              <a:gdLst>
                <a:gd name="T0" fmla="*/ 54 w 108"/>
                <a:gd name="T1" fmla="*/ 109 h 109"/>
                <a:gd name="T2" fmla="*/ 0 w 108"/>
                <a:gd name="T3" fmla="*/ 54 h 109"/>
                <a:gd name="T4" fmla="*/ 54 w 108"/>
                <a:gd name="T5" fmla="*/ 0 h 109"/>
                <a:gd name="T6" fmla="*/ 108 w 108"/>
                <a:gd name="T7" fmla="*/ 54 h 109"/>
                <a:gd name="T8" fmla="*/ 54 w 108"/>
                <a:gd name="T9" fmla="*/ 109 h 109"/>
                <a:gd name="T10" fmla="*/ 54 w 108"/>
                <a:gd name="T11" fmla="*/ 8 h 109"/>
                <a:gd name="T12" fmla="*/ 8 w 108"/>
                <a:gd name="T13" fmla="*/ 54 h 109"/>
                <a:gd name="T14" fmla="*/ 54 w 108"/>
                <a:gd name="T15" fmla="*/ 101 h 109"/>
                <a:gd name="T16" fmla="*/ 100 w 108"/>
                <a:gd name="T17" fmla="*/ 54 h 109"/>
                <a:gd name="T18" fmla="*/ 54 w 108"/>
                <a:gd name="T19" fmla="*/ 8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8" h="109">
                  <a:moveTo>
                    <a:pt x="54" y="109"/>
                  </a:moveTo>
                  <a:cubicBezTo>
                    <a:pt x="24" y="109"/>
                    <a:pt x="0" y="84"/>
                    <a:pt x="0" y="54"/>
                  </a:cubicBezTo>
                  <a:cubicBezTo>
                    <a:pt x="0" y="24"/>
                    <a:pt x="24" y="0"/>
                    <a:pt x="54" y="0"/>
                  </a:cubicBezTo>
                  <a:cubicBezTo>
                    <a:pt x="84" y="0"/>
                    <a:pt x="108" y="24"/>
                    <a:pt x="108" y="54"/>
                  </a:cubicBezTo>
                  <a:cubicBezTo>
                    <a:pt x="108" y="84"/>
                    <a:pt x="84" y="109"/>
                    <a:pt x="54" y="109"/>
                  </a:cubicBezTo>
                  <a:close/>
                  <a:moveTo>
                    <a:pt x="54" y="8"/>
                  </a:moveTo>
                  <a:cubicBezTo>
                    <a:pt x="29" y="8"/>
                    <a:pt x="8" y="29"/>
                    <a:pt x="8" y="54"/>
                  </a:cubicBezTo>
                  <a:cubicBezTo>
                    <a:pt x="8" y="80"/>
                    <a:pt x="29" y="101"/>
                    <a:pt x="54" y="101"/>
                  </a:cubicBezTo>
                  <a:cubicBezTo>
                    <a:pt x="79" y="101"/>
                    <a:pt x="100" y="80"/>
                    <a:pt x="100" y="54"/>
                  </a:cubicBezTo>
                  <a:cubicBezTo>
                    <a:pt x="100" y="29"/>
                    <a:pt x="79" y="8"/>
                    <a:pt x="54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86" name="Freeform 983">
              <a:extLst>
                <a:ext uri="{FF2B5EF4-FFF2-40B4-BE49-F238E27FC236}">
                  <a16:creationId xmlns:a16="http://schemas.microsoft.com/office/drawing/2014/main" id="{3C7B8304-38F5-2218-9446-27D1923FF04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078075" y="4305300"/>
              <a:ext cx="58738" cy="58738"/>
            </a:xfrm>
            <a:custGeom>
              <a:avLst/>
              <a:gdLst>
                <a:gd name="T0" fmla="*/ 46 w 59"/>
                <a:gd name="T1" fmla="*/ 60 h 60"/>
                <a:gd name="T2" fmla="*/ 36 w 59"/>
                <a:gd name="T3" fmla="*/ 56 h 60"/>
                <a:gd name="T4" fmla="*/ 36 w 59"/>
                <a:gd name="T5" fmla="*/ 56 h 60"/>
                <a:gd name="T6" fmla="*/ 1 w 59"/>
                <a:gd name="T7" fmla="*/ 21 h 60"/>
                <a:gd name="T8" fmla="*/ 1 w 59"/>
                <a:gd name="T9" fmla="*/ 15 h 60"/>
                <a:gd name="T10" fmla="*/ 15 w 59"/>
                <a:gd name="T11" fmla="*/ 2 h 60"/>
                <a:gd name="T12" fmla="*/ 21 w 59"/>
                <a:gd name="T13" fmla="*/ 2 h 60"/>
                <a:gd name="T14" fmla="*/ 55 w 59"/>
                <a:gd name="T15" fmla="*/ 36 h 60"/>
                <a:gd name="T16" fmla="*/ 59 w 59"/>
                <a:gd name="T17" fmla="*/ 46 h 60"/>
                <a:gd name="T18" fmla="*/ 55 w 59"/>
                <a:gd name="T19" fmla="*/ 56 h 60"/>
                <a:gd name="T20" fmla="*/ 46 w 59"/>
                <a:gd name="T21" fmla="*/ 60 h 60"/>
                <a:gd name="T22" fmla="*/ 42 w 59"/>
                <a:gd name="T23" fmla="*/ 50 h 60"/>
                <a:gd name="T24" fmla="*/ 49 w 59"/>
                <a:gd name="T25" fmla="*/ 50 h 60"/>
                <a:gd name="T26" fmla="*/ 49 w 59"/>
                <a:gd name="T27" fmla="*/ 42 h 60"/>
                <a:gd name="T28" fmla="*/ 18 w 59"/>
                <a:gd name="T29" fmla="*/ 11 h 60"/>
                <a:gd name="T30" fmla="*/ 10 w 59"/>
                <a:gd name="T31" fmla="*/ 18 h 60"/>
                <a:gd name="T32" fmla="*/ 42 w 59"/>
                <a:gd name="T33" fmla="*/ 5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9" h="60">
                  <a:moveTo>
                    <a:pt x="46" y="60"/>
                  </a:moveTo>
                  <a:cubicBezTo>
                    <a:pt x="42" y="60"/>
                    <a:pt x="39" y="58"/>
                    <a:pt x="36" y="56"/>
                  </a:cubicBezTo>
                  <a:cubicBezTo>
                    <a:pt x="36" y="56"/>
                    <a:pt x="36" y="56"/>
                    <a:pt x="36" y="56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0" y="20"/>
                    <a:pt x="0" y="17"/>
                    <a:pt x="1" y="15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6" y="0"/>
                    <a:pt x="19" y="0"/>
                    <a:pt x="21" y="2"/>
                  </a:cubicBezTo>
                  <a:cubicBezTo>
                    <a:pt x="55" y="36"/>
                    <a:pt x="55" y="36"/>
                    <a:pt x="55" y="36"/>
                  </a:cubicBezTo>
                  <a:cubicBezTo>
                    <a:pt x="58" y="39"/>
                    <a:pt x="59" y="42"/>
                    <a:pt x="59" y="46"/>
                  </a:cubicBezTo>
                  <a:cubicBezTo>
                    <a:pt x="59" y="50"/>
                    <a:pt x="58" y="53"/>
                    <a:pt x="55" y="56"/>
                  </a:cubicBezTo>
                  <a:cubicBezTo>
                    <a:pt x="53" y="58"/>
                    <a:pt x="49" y="60"/>
                    <a:pt x="46" y="60"/>
                  </a:cubicBezTo>
                  <a:close/>
                  <a:moveTo>
                    <a:pt x="42" y="50"/>
                  </a:moveTo>
                  <a:cubicBezTo>
                    <a:pt x="44" y="52"/>
                    <a:pt x="47" y="52"/>
                    <a:pt x="49" y="50"/>
                  </a:cubicBezTo>
                  <a:cubicBezTo>
                    <a:pt x="52" y="48"/>
                    <a:pt x="52" y="44"/>
                    <a:pt x="49" y="42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10" y="18"/>
                    <a:pt x="10" y="18"/>
                    <a:pt x="10" y="18"/>
                  </a:cubicBezTo>
                  <a:lnTo>
                    <a:pt x="42" y="5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87" name="Freeform 984">
              <a:extLst>
                <a:ext uri="{FF2B5EF4-FFF2-40B4-BE49-F238E27FC236}">
                  <a16:creationId xmlns:a16="http://schemas.microsoft.com/office/drawing/2014/main" id="{F9295161-C09A-51C1-3DD8-42C6E51D69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17738" y="4200525"/>
              <a:ext cx="144463" cy="6350"/>
            </a:xfrm>
            <a:custGeom>
              <a:avLst/>
              <a:gdLst>
                <a:gd name="T0" fmla="*/ 142 w 146"/>
                <a:gd name="T1" fmla="*/ 8 h 8"/>
                <a:gd name="T2" fmla="*/ 4 w 146"/>
                <a:gd name="T3" fmla="*/ 8 h 8"/>
                <a:gd name="T4" fmla="*/ 0 w 146"/>
                <a:gd name="T5" fmla="*/ 4 h 8"/>
                <a:gd name="T6" fmla="*/ 4 w 146"/>
                <a:gd name="T7" fmla="*/ 0 h 8"/>
                <a:gd name="T8" fmla="*/ 142 w 146"/>
                <a:gd name="T9" fmla="*/ 0 h 8"/>
                <a:gd name="T10" fmla="*/ 146 w 146"/>
                <a:gd name="T11" fmla="*/ 4 h 8"/>
                <a:gd name="T12" fmla="*/ 142 w 146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6" h="8">
                  <a:moveTo>
                    <a:pt x="142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42" y="0"/>
                    <a:pt x="142" y="0"/>
                    <a:pt x="142" y="0"/>
                  </a:cubicBezTo>
                  <a:cubicBezTo>
                    <a:pt x="144" y="0"/>
                    <a:pt x="146" y="1"/>
                    <a:pt x="146" y="4"/>
                  </a:cubicBezTo>
                  <a:cubicBezTo>
                    <a:pt x="146" y="6"/>
                    <a:pt x="144" y="8"/>
                    <a:pt x="142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88" name="Freeform 985">
              <a:extLst>
                <a:ext uri="{FF2B5EF4-FFF2-40B4-BE49-F238E27FC236}">
                  <a16:creationId xmlns:a16="http://schemas.microsoft.com/office/drawing/2014/main" id="{6E7F8705-CF36-CA96-FB8C-B7994F4912C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17738" y="4233863"/>
              <a:ext cx="117475" cy="6350"/>
            </a:xfrm>
            <a:custGeom>
              <a:avLst/>
              <a:gdLst>
                <a:gd name="T0" fmla="*/ 115 w 119"/>
                <a:gd name="T1" fmla="*/ 8 h 8"/>
                <a:gd name="T2" fmla="*/ 4 w 119"/>
                <a:gd name="T3" fmla="*/ 8 h 8"/>
                <a:gd name="T4" fmla="*/ 0 w 119"/>
                <a:gd name="T5" fmla="*/ 4 h 8"/>
                <a:gd name="T6" fmla="*/ 4 w 119"/>
                <a:gd name="T7" fmla="*/ 0 h 8"/>
                <a:gd name="T8" fmla="*/ 115 w 119"/>
                <a:gd name="T9" fmla="*/ 0 h 8"/>
                <a:gd name="T10" fmla="*/ 119 w 119"/>
                <a:gd name="T11" fmla="*/ 4 h 8"/>
                <a:gd name="T12" fmla="*/ 115 w 119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9" h="8">
                  <a:moveTo>
                    <a:pt x="115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15" y="0"/>
                    <a:pt x="115" y="0"/>
                    <a:pt x="115" y="0"/>
                  </a:cubicBezTo>
                  <a:cubicBezTo>
                    <a:pt x="117" y="0"/>
                    <a:pt x="119" y="2"/>
                    <a:pt x="119" y="4"/>
                  </a:cubicBezTo>
                  <a:cubicBezTo>
                    <a:pt x="119" y="6"/>
                    <a:pt x="117" y="8"/>
                    <a:pt x="115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89" name="Freeform 986">
              <a:extLst>
                <a:ext uri="{FF2B5EF4-FFF2-40B4-BE49-F238E27FC236}">
                  <a16:creationId xmlns:a16="http://schemas.microsoft.com/office/drawing/2014/main" id="{0435B0FF-8DFB-2F4D-4128-27C0B77335AF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17738" y="4267200"/>
              <a:ext cx="90488" cy="7938"/>
            </a:xfrm>
            <a:custGeom>
              <a:avLst/>
              <a:gdLst>
                <a:gd name="T0" fmla="*/ 87 w 91"/>
                <a:gd name="T1" fmla="*/ 8 h 8"/>
                <a:gd name="T2" fmla="*/ 4 w 91"/>
                <a:gd name="T3" fmla="*/ 8 h 8"/>
                <a:gd name="T4" fmla="*/ 0 w 91"/>
                <a:gd name="T5" fmla="*/ 4 h 8"/>
                <a:gd name="T6" fmla="*/ 4 w 91"/>
                <a:gd name="T7" fmla="*/ 0 h 8"/>
                <a:gd name="T8" fmla="*/ 87 w 91"/>
                <a:gd name="T9" fmla="*/ 0 h 8"/>
                <a:gd name="T10" fmla="*/ 91 w 91"/>
                <a:gd name="T11" fmla="*/ 4 h 8"/>
                <a:gd name="T12" fmla="*/ 87 w 91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1" h="8">
                  <a:moveTo>
                    <a:pt x="87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7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90" y="0"/>
                    <a:pt x="91" y="2"/>
                    <a:pt x="91" y="4"/>
                  </a:cubicBezTo>
                  <a:cubicBezTo>
                    <a:pt x="91" y="7"/>
                    <a:pt x="90" y="8"/>
                    <a:pt x="87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90" name="Freeform 987">
              <a:extLst>
                <a:ext uri="{FF2B5EF4-FFF2-40B4-BE49-F238E27FC236}">
                  <a16:creationId xmlns:a16="http://schemas.microsoft.com/office/drawing/2014/main" id="{EE998830-2969-C15E-DAB2-040EE9C7FD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17738" y="4300538"/>
              <a:ext cx="95250" cy="7938"/>
            </a:xfrm>
            <a:custGeom>
              <a:avLst/>
              <a:gdLst>
                <a:gd name="T0" fmla="*/ 93 w 97"/>
                <a:gd name="T1" fmla="*/ 8 h 8"/>
                <a:gd name="T2" fmla="*/ 4 w 97"/>
                <a:gd name="T3" fmla="*/ 8 h 8"/>
                <a:gd name="T4" fmla="*/ 0 w 97"/>
                <a:gd name="T5" fmla="*/ 4 h 8"/>
                <a:gd name="T6" fmla="*/ 4 w 97"/>
                <a:gd name="T7" fmla="*/ 0 h 8"/>
                <a:gd name="T8" fmla="*/ 93 w 97"/>
                <a:gd name="T9" fmla="*/ 0 h 8"/>
                <a:gd name="T10" fmla="*/ 97 w 97"/>
                <a:gd name="T11" fmla="*/ 4 h 8"/>
                <a:gd name="T12" fmla="*/ 93 w 97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7" h="8">
                  <a:moveTo>
                    <a:pt x="93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95" y="0"/>
                    <a:pt x="97" y="1"/>
                    <a:pt x="97" y="4"/>
                  </a:cubicBezTo>
                  <a:cubicBezTo>
                    <a:pt x="97" y="6"/>
                    <a:pt x="95" y="8"/>
                    <a:pt x="93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91" name="Freeform 988">
              <a:extLst>
                <a:ext uri="{FF2B5EF4-FFF2-40B4-BE49-F238E27FC236}">
                  <a16:creationId xmlns:a16="http://schemas.microsoft.com/office/drawing/2014/main" id="{3BD1B6D9-9970-09C2-D850-D5A27762E3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17738" y="4333875"/>
              <a:ext cx="106363" cy="7938"/>
            </a:xfrm>
            <a:custGeom>
              <a:avLst/>
              <a:gdLst>
                <a:gd name="T0" fmla="*/ 104 w 108"/>
                <a:gd name="T1" fmla="*/ 8 h 8"/>
                <a:gd name="T2" fmla="*/ 4 w 108"/>
                <a:gd name="T3" fmla="*/ 8 h 8"/>
                <a:gd name="T4" fmla="*/ 0 w 108"/>
                <a:gd name="T5" fmla="*/ 4 h 8"/>
                <a:gd name="T6" fmla="*/ 4 w 108"/>
                <a:gd name="T7" fmla="*/ 0 h 8"/>
                <a:gd name="T8" fmla="*/ 104 w 108"/>
                <a:gd name="T9" fmla="*/ 0 h 8"/>
                <a:gd name="T10" fmla="*/ 108 w 108"/>
                <a:gd name="T11" fmla="*/ 4 h 8"/>
                <a:gd name="T12" fmla="*/ 104 w 108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8" h="8">
                  <a:moveTo>
                    <a:pt x="104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106" y="0"/>
                    <a:pt x="108" y="2"/>
                    <a:pt x="108" y="4"/>
                  </a:cubicBezTo>
                  <a:cubicBezTo>
                    <a:pt x="108" y="6"/>
                    <a:pt x="106" y="8"/>
                    <a:pt x="104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92" name="Freeform 989">
              <a:extLst>
                <a:ext uri="{FF2B5EF4-FFF2-40B4-BE49-F238E27FC236}">
                  <a16:creationId xmlns:a16="http://schemas.microsoft.com/office/drawing/2014/main" id="{50C51FE9-57E8-746C-E8D1-97CDB9FD92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17738" y="4367213"/>
              <a:ext cx="144463" cy="7938"/>
            </a:xfrm>
            <a:custGeom>
              <a:avLst/>
              <a:gdLst>
                <a:gd name="T0" fmla="*/ 142 w 146"/>
                <a:gd name="T1" fmla="*/ 8 h 8"/>
                <a:gd name="T2" fmla="*/ 4 w 146"/>
                <a:gd name="T3" fmla="*/ 8 h 8"/>
                <a:gd name="T4" fmla="*/ 0 w 146"/>
                <a:gd name="T5" fmla="*/ 4 h 8"/>
                <a:gd name="T6" fmla="*/ 4 w 146"/>
                <a:gd name="T7" fmla="*/ 0 h 8"/>
                <a:gd name="T8" fmla="*/ 142 w 146"/>
                <a:gd name="T9" fmla="*/ 0 h 8"/>
                <a:gd name="T10" fmla="*/ 146 w 146"/>
                <a:gd name="T11" fmla="*/ 4 h 8"/>
                <a:gd name="T12" fmla="*/ 142 w 146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6" h="8">
                  <a:moveTo>
                    <a:pt x="142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7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42" y="0"/>
                    <a:pt x="142" y="0"/>
                    <a:pt x="142" y="0"/>
                  </a:cubicBezTo>
                  <a:cubicBezTo>
                    <a:pt x="144" y="0"/>
                    <a:pt x="146" y="2"/>
                    <a:pt x="146" y="4"/>
                  </a:cubicBezTo>
                  <a:cubicBezTo>
                    <a:pt x="146" y="7"/>
                    <a:pt x="144" y="8"/>
                    <a:pt x="142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93" name="Freeform 990">
              <a:extLst>
                <a:ext uri="{FF2B5EF4-FFF2-40B4-BE49-F238E27FC236}">
                  <a16:creationId xmlns:a16="http://schemas.microsoft.com/office/drawing/2014/main" id="{749DC18B-164D-FB48-C6D7-DB6DBE0FD9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87575" y="4162425"/>
              <a:ext cx="204788" cy="250825"/>
            </a:xfrm>
            <a:custGeom>
              <a:avLst/>
              <a:gdLst>
                <a:gd name="T0" fmla="*/ 192 w 209"/>
                <a:gd name="T1" fmla="*/ 255 h 255"/>
                <a:gd name="T2" fmla="*/ 16 w 209"/>
                <a:gd name="T3" fmla="*/ 255 h 255"/>
                <a:gd name="T4" fmla="*/ 0 w 209"/>
                <a:gd name="T5" fmla="*/ 239 h 255"/>
                <a:gd name="T6" fmla="*/ 0 w 209"/>
                <a:gd name="T7" fmla="*/ 16 h 255"/>
                <a:gd name="T8" fmla="*/ 16 w 209"/>
                <a:gd name="T9" fmla="*/ 0 h 255"/>
                <a:gd name="T10" fmla="*/ 192 w 209"/>
                <a:gd name="T11" fmla="*/ 0 h 255"/>
                <a:gd name="T12" fmla="*/ 209 w 209"/>
                <a:gd name="T13" fmla="*/ 16 h 255"/>
                <a:gd name="T14" fmla="*/ 209 w 209"/>
                <a:gd name="T15" fmla="*/ 63 h 255"/>
                <a:gd name="T16" fmla="*/ 204 w 209"/>
                <a:gd name="T17" fmla="*/ 67 h 255"/>
                <a:gd name="T18" fmla="*/ 200 w 209"/>
                <a:gd name="T19" fmla="*/ 63 h 255"/>
                <a:gd name="T20" fmla="*/ 200 w 209"/>
                <a:gd name="T21" fmla="*/ 16 h 255"/>
                <a:gd name="T22" fmla="*/ 192 w 209"/>
                <a:gd name="T23" fmla="*/ 8 h 255"/>
                <a:gd name="T24" fmla="*/ 16 w 209"/>
                <a:gd name="T25" fmla="*/ 8 h 255"/>
                <a:gd name="T26" fmla="*/ 8 w 209"/>
                <a:gd name="T27" fmla="*/ 16 h 255"/>
                <a:gd name="T28" fmla="*/ 8 w 209"/>
                <a:gd name="T29" fmla="*/ 239 h 255"/>
                <a:gd name="T30" fmla="*/ 16 w 209"/>
                <a:gd name="T31" fmla="*/ 247 h 255"/>
                <a:gd name="T32" fmla="*/ 192 w 209"/>
                <a:gd name="T33" fmla="*/ 247 h 255"/>
                <a:gd name="T34" fmla="*/ 200 w 209"/>
                <a:gd name="T35" fmla="*/ 239 h 255"/>
                <a:gd name="T36" fmla="*/ 200 w 209"/>
                <a:gd name="T37" fmla="*/ 196 h 255"/>
                <a:gd name="T38" fmla="*/ 204 w 209"/>
                <a:gd name="T39" fmla="*/ 192 h 255"/>
                <a:gd name="T40" fmla="*/ 209 w 209"/>
                <a:gd name="T41" fmla="*/ 196 h 255"/>
                <a:gd name="T42" fmla="*/ 209 w 209"/>
                <a:gd name="T43" fmla="*/ 239 h 255"/>
                <a:gd name="T44" fmla="*/ 192 w 209"/>
                <a:gd name="T45" fmla="*/ 255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09" h="255">
                  <a:moveTo>
                    <a:pt x="192" y="255"/>
                  </a:moveTo>
                  <a:cubicBezTo>
                    <a:pt x="16" y="255"/>
                    <a:pt x="16" y="255"/>
                    <a:pt x="16" y="255"/>
                  </a:cubicBezTo>
                  <a:cubicBezTo>
                    <a:pt x="7" y="255"/>
                    <a:pt x="0" y="248"/>
                    <a:pt x="0" y="239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201" y="0"/>
                    <a:pt x="209" y="7"/>
                    <a:pt x="209" y="16"/>
                  </a:cubicBezTo>
                  <a:cubicBezTo>
                    <a:pt x="209" y="63"/>
                    <a:pt x="209" y="63"/>
                    <a:pt x="209" y="63"/>
                  </a:cubicBezTo>
                  <a:cubicBezTo>
                    <a:pt x="209" y="65"/>
                    <a:pt x="207" y="67"/>
                    <a:pt x="204" y="67"/>
                  </a:cubicBezTo>
                  <a:cubicBezTo>
                    <a:pt x="202" y="67"/>
                    <a:pt x="200" y="65"/>
                    <a:pt x="200" y="63"/>
                  </a:cubicBezTo>
                  <a:cubicBezTo>
                    <a:pt x="200" y="16"/>
                    <a:pt x="200" y="16"/>
                    <a:pt x="200" y="16"/>
                  </a:cubicBezTo>
                  <a:cubicBezTo>
                    <a:pt x="200" y="11"/>
                    <a:pt x="197" y="8"/>
                    <a:pt x="192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1" y="8"/>
                    <a:pt x="8" y="11"/>
                    <a:pt x="8" y="16"/>
                  </a:cubicBezTo>
                  <a:cubicBezTo>
                    <a:pt x="8" y="239"/>
                    <a:pt x="8" y="239"/>
                    <a:pt x="8" y="239"/>
                  </a:cubicBezTo>
                  <a:cubicBezTo>
                    <a:pt x="8" y="244"/>
                    <a:pt x="11" y="247"/>
                    <a:pt x="16" y="247"/>
                  </a:cubicBezTo>
                  <a:cubicBezTo>
                    <a:pt x="192" y="247"/>
                    <a:pt x="192" y="247"/>
                    <a:pt x="192" y="247"/>
                  </a:cubicBezTo>
                  <a:cubicBezTo>
                    <a:pt x="197" y="247"/>
                    <a:pt x="200" y="244"/>
                    <a:pt x="200" y="239"/>
                  </a:cubicBezTo>
                  <a:cubicBezTo>
                    <a:pt x="200" y="196"/>
                    <a:pt x="200" y="196"/>
                    <a:pt x="200" y="196"/>
                  </a:cubicBezTo>
                  <a:cubicBezTo>
                    <a:pt x="200" y="194"/>
                    <a:pt x="202" y="192"/>
                    <a:pt x="204" y="192"/>
                  </a:cubicBezTo>
                  <a:cubicBezTo>
                    <a:pt x="207" y="192"/>
                    <a:pt x="209" y="194"/>
                    <a:pt x="209" y="196"/>
                  </a:cubicBezTo>
                  <a:cubicBezTo>
                    <a:pt x="209" y="239"/>
                    <a:pt x="209" y="239"/>
                    <a:pt x="209" y="239"/>
                  </a:cubicBezTo>
                  <a:cubicBezTo>
                    <a:pt x="209" y="248"/>
                    <a:pt x="201" y="255"/>
                    <a:pt x="192" y="25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794" name="Shape23_20200717_142313">
            <a:extLst>
              <a:ext uri="{FF2B5EF4-FFF2-40B4-BE49-F238E27FC236}">
                <a16:creationId xmlns:a16="http://schemas.microsoft.com/office/drawing/2014/main" id="{E51298A6-B920-F1C3-2F3C-AAEA53B2A655}"/>
              </a:ext>
            </a:extLst>
          </p:cNvPr>
          <p:cNvGrpSpPr>
            <a:grpSpLocks noChangeAspect="1"/>
          </p:cNvGrpSpPr>
          <p:nvPr/>
        </p:nvGrpSpPr>
        <p:grpSpPr>
          <a:xfrm>
            <a:off x="5781119" y="3871957"/>
            <a:ext cx="629756" cy="525400"/>
            <a:chOff x="14349413" y="4171950"/>
            <a:chExt cx="277812" cy="231776"/>
          </a:xfrm>
          <a:solidFill>
            <a:schemeClr val="accent1"/>
          </a:solidFill>
        </p:grpSpPr>
        <p:sp>
          <p:nvSpPr>
            <p:cNvPr id="795" name="Freeform 991">
              <a:extLst>
                <a:ext uri="{FF2B5EF4-FFF2-40B4-BE49-F238E27FC236}">
                  <a16:creationId xmlns:a16="http://schemas.microsoft.com/office/drawing/2014/main" id="{96BA789F-B4DA-E058-6E42-912AB5A5E0F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393863" y="4171950"/>
              <a:ext cx="180975" cy="180975"/>
            </a:xfrm>
            <a:custGeom>
              <a:avLst/>
              <a:gdLst>
                <a:gd name="T0" fmla="*/ 93 w 185"/>
                <a:gd name="T1" fmla="*/ 185 h 185"/>
                <a:gd name="T2" fmla="*/ 0 w 185"/>
                <a:gd name="T3" fmla="*/ 93 h 185"/>
                <a:gd name="T4" fmla="*/ 93 w 185"/>
                <a:gd name="T5" fmla="*/ 0 h 185"/>
                <a:gd name="T6" fmla="*/ 185 w 185"/>
                <a:gd name="T7" fmla="*/ 93 h 185"/>
                <a:gd name="T8" fmla="*/ 93 w 185"/>
                <a:gd name="T9" fmla="*/ 185 h 185"/>
                <a:gd name="T10" fmla="*/ 93 w 185"/>
                <a:gd name="T11" fmla="*/ 8 h 185"/>
                <a:gd name="T12" fmla="*/ 8 w 185"/>
                <a:gd name="T13" fmla="*/ 93 h 185"/>
                <a:gd name="T14" fmla="*/ 93 w 185"/>
                <a:gd name="T15" fmla="*/ 177 h 185"/>
                <a:gd name="T16" fmla="*/ 177 w 185"/>
                <a:gd name="T17" fmla="*/ 93 h 185"/>
                <a:gd name="T18" fmla="*/ 93 w 185"/>
                <a:gd name="T19" fmla="*/ 8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5" h="185">
                  <a:moveTo>
                    <a:pt x="93" y="185"/>
                  </a:moveTo>
                  <a:cubicBezTo>
                    <a:pt x="41" y="185"/>
                    <a:pt x="0" y="144"/>
                    <a:pt x="0" y="93"/>
                  </a:cubicBezTo>
                  <a:cubicBezTo>
                    <a:pt x="0" y="42"/>
                    <a:pt x="41" y="0"/>
                    <a:pt x="93" y="0"/>
                  </a:cubicBezTo>
                  <a:cubicBezTo>
                    <a:pt x="144" y="0"/>
                    <a:pt x="185" y="42"/>
                    <a:pt x="185" y="93"/>
                  </a:cubicBezTo>
                  <a:cubicBezTo>
                    <a:pt x="185" y="144"/>
                    <a:pt x="144" y="185"/>
                    <a:pt x="93" y="185"/>
                  </a:cubicBezTo>
                  <a:close/>
                  <a:moveTo>
                    <a:pt x="93" y="8"/>
                  </a:moveTo>
                  <a:cubicBezTo>
                    <a:pt x="46" y="8"/>
                    <a:pt x="8" y="46"/>
                    <a:pt x="8" y="93"/>
                  </a:cubicBezTo>
                  <a:cubicBezTo>
                    <a:pt x="8" y="139"/>
                    <a:pt x="46" y="177"/>
                    <a:pt x="93" y="177"/>
                  </a:cubicBezTo>
                  <a:cubicBezTo>
                    <a:pt x="139" y="177"/>
                    <a:pt x="177" y="139"/>
                    <a:pt x="177" y="93"/>
                  </a:cubicBezTo>
                  <a:cubicBezTo>
                    <a:pt x="177" y="46"/>
                    <a:pt x="139" y="8"/>
                    <a:pt x="93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96" name="Freeform 992">
              <a:extLst>
                <a:ext uri="{FF2B5EF4-FFF2-40B4-BE49-F238E27FC236}">
                  <a16:creationId xmlns:a16="http://schemas.microsoft.com/office/drawing/2014/main" id="{9290AE3E-6E1F-6894-CFD9-EB48BE86310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531975" y="4310063"/>
              <a:ext cx="95250" cy="93663"/>
            </a:xfrm>
            <a:custGeom>
              <a:avLst/>
              <a:gdLst>
                <a:gd name="T0" fmla="*/ 77 w 97"/>
                <a:gd name="T1" fmla="*/ 95 h 95"/>
                <a:gd name="T2" fmla="*/ 65 w 97"/>
                <a:gd name="T3" fmla="*/ 90 h 95"/>
                <a:gd name="T4" fmla="*/ 2 w 97"/>
                <a:gd name="T5" fmla="*/ 27 h 95"/>
                <a:gd name="T6" fmla="*/ 2 w 97"/>
                <a:gd name="T7" fmla="*/ 21 h 95"/>
                <a:gd name="T8" fmla="*/ 21 w 97"/>
                <a:gd name="T9" fmla="*/ 2 h 95"/>
                <a:gd name="T10" fmla="*/ 26 w 97"/>
                <a:gd name="T11" fmla="*/ 2 h 95"/>
                <a:gd name="T12" fmla="*/ 90 w 97"/>
                <a:gd name="T13" fmla="*/ 65 h 95"/>
                <a:gd name="T14" fmla="*/ 90 w 97"/>
                <a:gd name="T15" fmla="*/ 90 h 95"/>
                <a:gd name="T16" fmla="*/ 77 w 97"/>
                <a:gd name="T17" fmla="*/ 95 h 95"/>
                <a:gd name="T18" fmla="*/ 11 w 97"/>
                <a:gd name="T19" fmla="*/ 24 h 95"/>
                <a:gd name="T20" fmla="*/ 71 w 97"/>
                <a:gd name="T21" fmla="*/ 84 h 95"/>
                <a:gd name="T22" fmla="*/ 71 w 97"/>
                <a:gd name="T23" fmla="*/ 84 h 95"/>
                <a:gd name="T24" fmla="*/ 84 w 97"/>
                <a:gd name="T25" fmla="*/ 84 h 95"/>
                <a:gd name="T26" fmla="*/ 84 w 97"/>
                <a:gd name="T27" fmla="*/ 71 h 95"/>
                <a:gd name="T28" fmla="*/ 24 w 97"/>
                <a:gd name="T29" fmla="*/ 11 h 95"/>
                <a:gd name="T30" fmla="*/ 11 w 97"/>
                <a:gd name="T31" fmla="*/ 24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95">
                  <a:moveTo>
                    <a:pt x="77" y="95"/>
                  </a:moveTo>
                  <a:cubicBezTo>
                    <a:pt x="73" y="95"/>
                    <a:pt x="68" y="93"/>
                    <a:pt x="65" y="90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0" y="25"/>
                    <a:pt x="0" y="22"/>
                    <a:pt x="2" y="21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2" y="0"/>
                    <a:pt x="25" y="0"/>
                    <a:pt x="26" y="2"/>
                  </a:cubicBezTo>
                  <a:cubicBezTo>
                    <a:pt x="90" y="65"/>
                    <a:pt x="90" y="65"/>
                    <a:pt x="90" y="65"/>
                  </a:cubicBezTo>
                  <a:cubicBezTo>
                    <a:pt x="97" y="72"/>
                    <a:pt x="97" y="83"/>
                    <a:pt x="90" y="90"/>
                  </a:cubicBezTo>
                  <a:cubicBezTo>
                    <a:pt x="87" y="93"/>
                    <a:pt x="82" y="95"/>
                    <a:pt x="77" y="95"/>
                  </a:cubicBezTo>
                  <a:close/>
                  <a:moveTo>
                    <a:pt x="11" y="24"/>
                  </a:moveTo>
                  <a:cubicBezTo>
                    <a:pt x="71" y="84"/>
                    <a:pt x="71" y="84"/>
                    <a:pt x="71" y="84"/>
                  </a:cubicBezTo>
                  <a:cubicBezTo>
                    <a:pt x="71" y="84"/>
                    <a:pt x="71" y="84"/>
                    <a:pt x="71" y="84"/>
                  </a:cubicBezTo>
                  <a:cubicBezTo>
                    <a:pt x="74" y="88"/>
                    <a:pt x="80" y="88"/>
                    <a:pt x="84" y="84"/>
                  </a:cubicBezTo>
                  <a:cubicBezTo>
                    <a:pt x="88" y="81"/>
                    <a:pt x="88" y="75"/>
                    <a:pt x="84" y="71"/>
                  </a:cubicBezTo>
                  <a:cubicBezTo>
                    <a:pt x="24" y="11"/>
                    <a:pt x="24" y="11"/>
                    <a:pt x="24" y="11"/>
                  </a:cubicBezTo>
                  <a:lnTo>
                    <a:pt x="11" y="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97" name="Freeform 993">
              <a:extLst>
                <a:ext uri="{FF2B5EF4-FFF2-40B4-BE49-F238E27FC236}">
                  <a16:creationId xmlns:a16="http://schemas.microsoft.com/office/drawing/2014/main" id="{E662848F-B703-A2EC-56AC-E7E84890B6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82763" y="4240213"/>
              <a:ext cx="38100" cy="36513"/>
            </a:xfrm>
            <a:custGeom>
              <a:avLst/>
              <a:gdLst>
                <a:gd name="T0" fmla="*/ 34 w 38"/>
                <a:gd name="T1" fmla="*/ 38 h 38"/>
                <a:gd name="T2" fmla="*/ 30 w 38"/>
                <a:gd name="T3" fmla="*/ 34 h 38"/>
                <a:gd name="T4" fmla="*/ 30 w 38"/>
                <a:gd name="T5" fmla="*/ 8 h 38"/>
                <a:gd name="T6" fmla="*/ 4 w 38"/>
                <a:gd name="T7" fmla="*/ 8 h 38"/>
                <a:gd name="T8" fmla="*/ 0 w 38"/>
                <a:gd name="T9" fmla="*/ 4 h 38"/>
                <a:gd name="T10" fmla="*/ 4 w 38"/>
                <a:gd name="T11" fmla="*/ 0 h 38"/>
                <a:gd name="T12" fmla="*/ 34 w 38"/>
                <a:gd name="T13" fmla="*/ 0 h 38"/>
                <a:gd name="T14" fmla="*/ 38 w 38"/>
                <a:gd name="T15" fmla="*/ 4 h 38"/>
                <a:gd name="T16" fmla="*/ 38 w 38"/>
                <a:gd name="T17" fmla="*/ 34 h 38"/>
                <a:gd name="T18" fmla="*/ 34 w 38"/>
                <a:gd name="T19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" h="38">
                  <a:moveTo>
                    <a:pt x="34" y="38"/>
                  </a:moveTo>
                  <a:cubicBezTo>
                    <a:pt x="32" y="38"/>
                    <a:pt x="30" y="37"/>
                    <a:pt x="30" y="34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7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6" y="0"/>
                    <a:pt x="38" y="2"/>
                    <a:pt x="38" y="4"/>
                  </a:cubicBezTo>
                  <a:cubicBezTo>
                    <a:pt x="38" y="34"/>
                    <a:pt x="38" y="34"/>
                    <a:pt x="38" y="34"/>
                  </a:cubicBezTo>
                  <a:cubicBezTo>
                    <a:pt x="38" y="37"/>
                    <a:pt x="36" y="38"/>
                    <a:pt x="34" y="3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98" name="Freeform 994">
              <a:extLst>
                <a:ext uri="{FF2B5EF4-FFF2-40B4-BE49-F238E27FC236}">
                  <a16:creationId xmlns:a16="http://schemas.microsoft.com/office/drawing/2014/main" id="{F6698FB3-7B7F-90F7-FD36-785D0DBC039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49413" y="4240213"/>
              <a:ext cx="171450" cy="101600"/>
            </a:xfrm>
            <a:custGeom>
              <a:avLst/>
              <a:gdLst>
                <a:gd name="T0" fmla="*/ 4 w 176"/>
                <a:gd name="T1" fmla="*/ 103 h 103"/>
                <a:gd name="T2" fmla="*/ 1 w 176"/>
                <a:gd name="T3" fmla="*/ 102 h 103"/>
                <a:gd name="T4" fmla="*/ 1 w 176"/>
                <a:gd name="T5" fmla="*/ 96 h 103"/>
                <a:gd name="T6" fmla="*/ 68 w 176"/>
                <a:gd name="T7" fmla="*/ 29 h 103"/>
                <a:gd name="T8" fmla="*/ 74 w 176"/>
                <a:gd name="T9" fmla="*/ 29 h 103"/>
                <a:gd name="T10" fmla="*/ 107 w 176"/>
                <a:gd name="T11" fmla="*/ 62 h 103"/>
                <a:gd name="T12" fmla="*/ 168 w 176"/>
                <a:gd name="T13" fmla="*/ 1 h 103"/>
                <a:gd name="T14" fmla="*/ 174 w 176"/>
                <a:gd name="T15" fmla="*/ 1 h 103"/>
                <a:gd name="T16" fmla="*/ 174 w 176"/>
                <a:gd name="T17" fmla="*/ 7 h 103"/>
                <a:gd name="T18" fmla="*/ 110 w 176"/>
                <a:gd name="T19" fmla="*/ 71 h 103"/>
                <a:gd name="T20" fmla="*/ 104 w 176"/>
                <a:gd name="T21" fmla="*/ 71 h 103"/>
                <a:gd name="T22" fmla="*/ 71 w 176"/>
                <a:gd name="T23" fmla="*/ 38 h 103"/>
                <a:gd name="T24" fmla="*/ 7 w 176"/>
                <a:gd name="T25" fmla="*/ 102 h 103"/>
                <a:gd name="T26" fmla="*/ 4 w 176"/>
                <a:gd name="T27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6" h="103">
                  <a:moveTo>
                    <a:pt x="4" y="103"/>
                  </a:moveTo>
                  <a:cubicBezTo>
                    <a:pt x="3" y="103"/>
                    <a:pt x="2" y="103"/>
                    <a:pt x="1" y="102"/>
                  </a:cubicBezTo>
                  <a:cubicBezTo>
                    <a:pt x="0" y="100"/>
                    <a:pt x="0" y="98"/>
                    <a:pt x="1" y="96"/>
                  </a:cubicBezTo>
                  <a:cubicBezTo>
                    <a:pt x="68" y="29"/>
                    <a:pt x="68" y="29"/>
                    <a:pt x="68" y="29"/>
                  </a:cubicBezTo>
                  <a:cubicBezTo>
                    <a:pt x="70" y="27"/>
                    <a:pt x="73" y="27"/>
                    <a:pt x="74" y="29"/>
                  </a:cubicBezTo>
                  <a:cubicBezTo>
                    <a:pt x="107" y="62"/>
                    <a:pt x="107" y="62"/>
                    <a:pt x="107" y="62"/>
                  </a:cubicBezTo>
                  <a:cubicBezTo>
                    <a:pt x="168" y="1"/>
                    <a:pt x="168" y="1"/>
                    <a:pt x="168" y="1"/>
                  </a:cubicBezTo>
                  <a:cubicBezTo>
                    <a:pt x="170" y="0"/>
                    <a:pt x="172" y="0"/>
                    <a:pt x="174" y="1"/>
                  </a:cubicBezTo>
                  <a:cubicBezTo>
                    <a:pt x="176" y="3"/>
                    <a:pt x="176" y="6"/>
                    <a:pt x="174" y="7"/>
                  </a:cubicBezTo>
                  <a:cubicBezTo>
                    <a:pt x="110" y="71"/>
                    <a:pt x="110" y="71"/>
                    <a:pt x="110" y="71"/>
                  </a:cubicBezTo>
                  <a:cubicBezTo>
                    <a:pt x="109" y="72"/>
                    <a:pt x="106" y="72"/>
                    <a:pt x="104" y="71"/>
                  </a:cubicBezTo>
                  <a:cubicBezTo>
                    <a:pt x="71" y="38"/>
                    <a:pt x="71" y="38"/>
                    <a:pt x="71" y="38"/>
                  </a:cubicBezTo>
                  <a:cubicBezTo>
                    <a:pt x="7" y="102"/>
                    <a:pt x="7" y="102"/>
                    <a:pt x="7" y="102"/>
                  </a:cubicBezTo>
                  <a:cubicBezTo>
                    <a:pt x="6" y="103"/>
                    <a:pt x="5" y="103"/>
                    <a:pt x="4" y="10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3288974363"/>
      </p:ext>
    </p:extLst>
  </p:cSld>
  <p:clrMapOvr>
    <a:masterClrMapping/>
  </p:clrMapOvr>
</p:sld>
</file>

<file path=ppt/slides/slide2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899A4A-0EB2-FBAB-E839-370F455570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01800C1-BA4F-2D07-9324-A021D54BBE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01800C1-BA4F-2D07-9324-A021D54BBE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321D9DD-B882-54A3-91C6-B1E5FA90A3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207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9DACB3A-13FD-05CB-E190-29CB2607EC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Icons </a:t>
            </a:r>
          </a:p>
        </p:txBody>
      </p:sp>
      <p:grpSp>
        <p:nvGrpSpPr>
          <p:cNvPr id="30" name="Shape1_20200717_154352">
            <a:extLst>
              <a:ext uri="{FF2B5EF4-FFF2-40B4-BE49-F238E27FC236}">
                <a16:creationId xmlns:a16="http://schemas.microsoft.com/office/drawing/2014/main" id="{C86732AC-0373-2D29-876E-0AB99E786E11}"/>
              </a:ext>
            </a:extLst>
          </p:cNvPr>
          <p:cNvGrpSpPr>
            <a:grpSpLocks noChangeAspect="1"/>
          </p:cNvGrpSpPr>
          <p:nvPr/>
        </p:nvGrpSpPr>
        <p:grpSpPr>
          <a:xfrm>
            <a:off x="9692580" y="2635302"/>
            <a:ext cx="615530" cy="415789"/>
            <a:chOff x="-3501027" y="3942620"/>
            <a:chExt cx="615530" cy="415789"/>
          </a:xfrm>
          <a:solidFill>
            <a:schemeClr val="accent1"/>
          </a:solidFill>
        </p:grpSpPr>
        <p:sp>
          <p:nvSpPr>
            <p:cNvPr id="300" name="Freeform 5">
              <a:extLst>
                <a:ext uri="{FF2B5EF4-FFF2-40B4-BE49-F238E27FC236}">
                  <a16:creationId xmlns:a16="http://schemas.microsoft.com/office/drawing/2014/main" id="{DA13D876-274A-97B8-1449-BB36235809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501027" y="3942620"/>
              <a:ext cx="615530" cy="415787"/>
            </a:xfrm>
            <a:custGeom>
              <a:avLst/>
              <a:gdLst>
                <a:gd name="T0" fmla="*/ 241 w 245"/>
                <a:gd name="T1" fmla="*/ 164 h 164"/>
                <a:gd name="T2" fmla="*/ 4 w 245"/>
                <a:gd name="T3" fmla="*/ 164 h 164"/>
                <a:gd name="T4" fmla="*/ 0 w 245"/>
                <a:gd name="T5" fmla="*/ 160 h 164"/>
                <a:gd name="T6" fmla="*/ 0 w 245"/>
                <a:gd name="T7" fmla="*/ 4 h 164"/>
                <a:gd name="T8" fmla="*/ 4 w 245"/>
                <a:gd name="T9" fmla="*/ 0 h 164"/>
                <a:gd name="T10" fmla="*/ 241 w 245"/>
                <a:gd name="T11" fmla="*/ 0 h 164"/>
                <a:gd name="T12" fmla="*/ 245 w 245"/>
                <a:gd name="T13" fmla="*/ 4 h 164"/>
                <a:gd name="T14" fmla="*/ 245 w 245"/>
                <a:gd name="T15" fmla="*/ 160 h 164"/>
                <a:gd name="T16" fmla="*/ 241 w 245"/>
                <a:gd name="T17" fmla="*/ 164 h 164"/>
                <a:gd name="T18" fmla="*/ 8 w 245"/>
                <a:gd name="T19" fmla="*/ 156 h 164"/>
                <a:gd name="T20" fmla="*/ 237 w 245"/>
                <a:gd name="T21" fmla="*/ 156 h 164"/>
                <a:gd name="T22" fmla="*/ 237 w 245"/>
                <a:gd name="T23" fmla="*/ 8 h 164"/>
                <a:gd name="T24" fmla="*/ 8 w 245"/>
                <a:gd name="T25" fmla="*/ 8 h 164"/>
                <a:gd name="T26" fmla="*/ 8 w 245"/>
                <a:gd name="T27" fmla="*/ 156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5" h="164">
                  <a:moveTo>
                    <a:pt x="241" y="164"/>
                  </a:moveTo>
                  <a:cubicBezTo>
                    <a:pt x="4" y="164"/>
                    <a:pt x="4" y="164"/>
                    <a:pt x="4" y="164"/>
                  </a:cubicBezTo>
                  <a:cubicBezTo>
                    <a:pt x="2" y="164"/>
                    <a:pt x="0" y="162"/>
                    <a:pt x="0" y="16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243" y="0"/>
                    <a:pt x="245" y="2"/>
                    <a:pt x="245" y="4"/>
                  </a:cubicBezTo>
                  <a:cubicBezTo>
                    <a:pt x="245" y="160"/>
                    <a:pt x="245" y="160"/>
                    <a:pt x="245" y="160"/>
                  </a:cubicBezTo>
                  <a:cubicBezTo>
                    <a:pt x="245" y="162"/>
                    <a:pt x="243" y="164"/>
                    <a:pt x="241" y="164"/>
                  </a:cubicBezTo>
                  <a:close/>
                  <a:moveTo>
                    <a:pt x="8" y="156"/>
                  </a:moveTo>
                  <a:cubicBezTo>
                    <a:pt x="237" y="156"/>
                    <a:pt x="237" y="156"/>
                    <a:pt x="237" y="156"/>
                  </a:cubicBezTo>
                  <a:cubicBezTo>
                    <a:pt x="237" y="8"/>
                    <a:pt x="237" y="8"/>
                    <a:pt x="237" y="8"/>
                  </a:cubicBezTo>
                  <a:cubicBezTo>
                    <a:pt x="8" y="8"/>
                    <a:pt x="8" y="8"/>
                    <a:pt x="8" y="8"/>
                  </a:cubicBezTo>
                  <a:lnTo>
                    <a:pt x="8" y="15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01" name="Freeform 6">
              <a:extLst>
                <a:ext uri="{FF2B5EF4-FFF2-40B4-BE49-F238E27FC236}">
                  <a16:creationId xmlns:a16="http://schemas.microsoft.com/office/drawing/2014/main" id="{F36D2927-489B-8D63-B922-275DC35F585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501027" y="3942620"/>
              <a:ext cx="615530" cy="293497"/>
            </a:xfrm>
            <a:custGeom>
              <a:avLst/>
              <a:gdLst>
                <a:gd name="T0" fmla="*/ 122 w 245"/>
                <a:gd name="T1" fmla="*/ 116 h 116"/>
                <a:gd name="T2" fmla="*/ 120 w 245"/>
                <a:gd name="T3" fmla="*/ 115 h 116"/>
                <a:gd name="T4" fmla="*/ 1 w 245"/>
                <a:gd name="T5" fmla="*/ 7 h 116"/>
                <a:gd name="T6" fmla="*/ 0 w 245"/>
                <a:gd name="T7" fmla="*/ 3 h 116"/>
                <a:gd name="T8" fmla="*/ 4 w 245"/>
                <a:gd name="T9" fmla="*/ 0 h 116"/>
                <a:gd name="T10" fmla="*/ 241 w 245"/>
                <a:gd name="T11" fmla="*/ 0 h 116"/>
                <a:gd name="T12" fmla="*/ 245 w 245"/>
                <a:gd name="T13" fmla="*/ 3 h 116"/>
                <a:gd name="T14" fmla="*/ 244 w 245"/>
                <a:gd name="T15" fmla="*/ 7 h 116"/>
                <a:gd name="T16" fmla="*/ 125 w 245"/>
                <a:gd name="T17" fmla="*/ 115 h 116"/>
                <a:gd name="T18" fmla="*/ 122 w 245"/>
                <a:gd name="T19" fmla="*/ 116 h 116"/>
                <a:gd name="T20" fmla="*/ 15 w 245"/>
                <a:gd name="T21" fmla="*/ 8 h 116"/>
                <a:gd name="T22" fmla="*/ 122 w 245"/>
                <a:gd name="T23" fmla="*/ 107 h 116"/>
                <a:gd name="T24" fmla="*/ 230 w 245"/>
                <a:gd name="T25" fmla="*/ 8 h 116"/>
                <a:gd name="T26" fmla="*/ 15 w 245"/>
                <a:gd name="T27" fmla="*/ 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5" h="116">
                  <a:moveTo>
                    <a:pt x="122" y="116"/>
                  </a:moveTo>
                  <a:cubicBezTo>
                    <a:pt x="121" y="116"/>
                    <a:pt x="120" y="116"/>
                    <a:pt x="120" y="115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6"/>
                    <a:pt x="0" y="4"/>
                    <a:pt x="0" y="3"/>
                  </a:cubicBezTo>
                  <a:cubicBezTo>
                    <a:pt x="1" y="1"/>
                    <a:pt x="2" y="0"/>
                    <a:pt x="4" y="0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243" y="0"/>
                    <a:pt x="244" y="1"/>
                    <a:pt x="245" y="3"/>
                  </a:cubicBezTo>
                  <a:cubicBezTo>
                    <a:pt x="245" y="4"/>
                    <a:pt x="245" y="6"/>
                    <a:pt x="244" y="7"/>
                  </a:cubicBezTo>
                  <a:cubicBezTo>
                    <a:pt x="125" y="115"/>
                    <a:pt x="125" y="115"/>
                    <a:pt x="125" y="115"/>
                  </a:cubicBezTo>
                  <a:cubicBezTo>
                    <a:pt x="124" y="116"/>
                    <a:pt x="123" y="116"/>
                    <a:pt x="122" y="116"/>
                  </a:cubicBezTo>
                  <a:close/>
                  <a:moveTo>
                    <a:pt x="15" y="8"/>
                  </a:moveTo>
                  <a:cubicBezTo>
                    <a:pt x="122" y="107"/>
                    <a:pt x="122" y="107"/>
                    <a:pt x="122" y="107"/>
                  </a:cubicBezTo>
                  <a:cubicBezTo>
                    <a:pt x="230" y="8"/>
                    <a:pt x="230" y="8"/>
                    <a:pt x="230" y="8"/>
                  </a:cubicBezTo>
                  <a:lnTo>
                    <a:pt x="15" y="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02" name="Freeform 7">
              <a:extLst>
                <a:ext uri="{FF2B5EF4-FFF2-40B4-BE49-F238E27FC236}">
                  <a16:creationId xmlns:a16="http://schemas.microsoft.com/office/drawing/2014/main" id="{8A1F3AF6-FFCA-7AAC-D4E0-5CDBFDAFA3DD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01027" y="4158667"/>
              <a:ext cx="615530" cy="199742"/>
            </a:xfrm>
            <a:custGeom>
              <a:avLst/>
              <a:gdLst>
                <a:gd name="T0" fmla="*/ 241 w 245"/>
                <a:gd name="T1" fmla="*/ 79 h 79"/>
                <a:gd name="T2" fmla="*/ 4 w 245"/>
                <a:gd name="T3" fmla="*/ 79 h 79"/>
                <a:gd name="T4" fmla="*/ 0 w 245"/>
                <a:gd name="T5" fmla="*/ 76 h 79"/>
                <a:gd name="T6" fmla="*/ 2 w 245"/>
                <a:gd name="T7" fmla="*/ 72 h 79"/>
                <a:gd name="T8" fmla="*/ 95 w 245"/>
                <a:gd name="T9" fmla="*/ 2 h 79"/>
                <a:gd name="T10" fmla="*/ 101 w 245"/>
                <a:gd name="T11" fmla="*/ 2 h 79"/>
                <a:gd name="T12" fmla="*/ 100 w 245"/>
                <a:gd name="T13" fmla="*/ 8 h 79"/>
                <a:gd name="T14" fmla="*/ 16 w 245"/>
                <a:gd name="T15" fmla="*/ 71 h 79"/>
                <a:gd name="T16" fmla="*/ 229 w 245"/>
                <a:gd name="T17" fmla="*/ 71 h 79"/>
                <a:gd name="T18" fmla="*/ 146 w 245"/>
                <a:gd name="T19" fmla="*/ 9 h 79"/>
                <a:gd name="T20" fmla="*/ 145 w 245"/>
                <a:gd name="T21" fmla="*/ 3 h 79"/>
                <a:gd name="T22" fmla="*/ 151 w 245"/>
                <a:gd name="T23" fmla="*/ 2 h 79"/>
                <a:gd name="T24" fmla="*/ 243 w 245"/>
                <a:gd name="T25" fmla="*/ 72 h 79"/>
                <a:gd name="T26" fmla="*/ 245 w 245"/>
                <a:gd name="T27" fmla="*/ 76 h 79"/>
                <a:gd name="T28" fmla="*/ 241 w 245"/>
                <a:gd name="T29" fmla="*/ 7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45" h="79">
                  <a:moveTo>
                    <a:pt x="241" y="79"/>
                  </a:moveTo>
                  <a:cubicBezTo>
                    <a:pt x="4" y="79"/>
                    <a:pt x="4" y="79"/>
                    <a:pt x="4" y="79"/>
                  </a:cubicBezTo>
                  <a:cubicBezTo>
                    <a:pt x="2" y="79"/>
                    <a:pt x="1" y="78"/>
                    <a:pt x="0" y="76"/>
                  </a:cubicBezTo>
                  <a:cubicBezTo>
                    <a:pt x="0" y="75"/>
                    <a:pt x="0" y="73"/>
                    <a:pt x="2" y="72"/>
                  </a:cubicBezTo>
                  <a:cubicBezTo>
                    <a:pt x="95" y="2"/>
                    <a:pt x="95" y="2"/>
                    <a:pt x="95" y="2"/>
                  </a:cubicBezTo>
                  <a:cubicBezTo>
                    <a:pt x="97" y="0"/>
                    <a:pt x="100" y="1"/>
                    <a:pt x="101" y="2"/>
                  </a:cubicBezTo>
                  <a:cubicBezTo>
                    <a:pt x="103" y="4"/>
                    <a:pt x="102" y="7"/>
                    <a:pt x="100" y="8"/>
                  </a:cubicBezTo>
                  <a:cubicBezTo>
                    <a:pt x="16" y="71"/>
                    <a:pt x="16" y="71"/>
                    <a:pt x="16" y="71"/>
                  </a:cubicBezTo>
                  <a:cubicBezTo>
                    <a:pt x="229" y="71"/>
                    <a:pt x="229" y="71"/>
                    <a:pt x="229" y="71"/>
                  </a:cubicBezTo>
                  <a:cubicBezTo>
                    <a:pt x="146" y="9"/>
                    <a:pt x="146" y="9"/>
                    <a:pt x="146" y="9"/>
                  </a:cubicBezTo>
                  <a:cubicBezTo>
                    <a:pt x="144" y="8"/>
                    <a:pt x="143" y="5"/>
                    <a:pt x="145" y="3"/>
                  </a:cubicBezTo>
                  <a:cubicBezTo>
                    <a:pt x="146" y="1"/>
                    <a:pt x="149" y="1"/>
                    <a:pt x="151" y="2"/>
                  </a:cubicBezTo>
                  <a:cubicBezTo>
                    <a:pt x="243" y="72"/>
                    <a:pt x="243" y="72"/>
                    <a:pt x="243" y="72"/>
                  </a:cubicBezTo>
                  <a:cubicBezTo>
                    <a:pt x="245" y="73"/>
                    <a:pt x="245" y="75"/>
                    <a:pt x="245" y="76"/>
                  </a:cubicBezTo>
                  <a:cubicBezTo>
                    <a:pt x="244" y="78"/>
                    <a:pt x="243" y="79"/>
                    <a:pt x="241" y="7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1" name="Shape2_20200717_154352">
            <a:extLst>
              <a:ext uri="{FF2B5EF4-FFF2-40B4-BE49-F238E27FC236}">
                <a16:creationId xmlns:a16="http://schemas.microsoft.com/office/drawing/2014/main" id="{8723E173-BCFB-B7D6-AF85-6292C8F234AA}"/>
              </a:ext>
            </a:extLst>
          </p:cNvPr>
          <p:cNvGrpSpPr>
            <a:grpSpLocks noChangeAspect="1"/>
          </p:cNvGrpSpPr>
          <p:nvPr/>
        </p:nvGrpSpPr>
        <p:grpSpPr>
          <a:xfrm>
            <a:off x="5804700" y="2604152"/>
            <a:ext cx="611452" cy="521772"/>
            <a:chOff x="-7516232" y="3865170"/>
            <a:chExt cx="611452" cy="521772"/>
          </a:xfrm>
          <a:solidFill>
            <a:schemeClr val="accent1"/>
          </a:solidFill>
        </p:grpSpPr>
        <p:sp>
          <p:nvSpPr>
            <p:cNvPr id="296" name="Freeform 8">
              <a:extLst>
                <a:ext uri="{FF2B5EF4-FFF2-40B4-BE49-F238E27FC236}">
                  <a16:creationId xmlns:a16="http://schemas.microsoft.com/office/drawing/2014/main" id="{BD830E1C-4450-0AAF-03A1-5776361211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516232" y="3865170"/>
              <a:ext cx="611452" cy="521772"/>
            </a:xfrm>
            <a:custGeom>
              <a:avLst/>
              <a:gdLst>
                <a:gd name="T0" fmla="*/ 195 w 242"/>
                <a:gd name="T1" fmla="*/ 207 h 207"/>
                <a:gd name="T2" fmla="*/ 185 w 242"/>
                <a:gd name="T3" fmla="*/ 203 h 207"/>
                <a:gd name="T4" fmla="*/ 147 w 242"/>
                <a:gd name="T5" fmla="*/ 164 h 207"/>
                <a:gd name="T6" fmla="*/ 13 w 242"/>
                <a:gd name="T7" fmla="*/ 164 h 207"/>
                <a:gd name="T8" fmla="*/ 0 w 242"/>
                <a:gd name="T9" fmla="*/ 151 h 207"/>
                <a:gd name="T10" fmla="*/ 0 w 242"/>
                <a:gd name="T11" fmla="*/ 13 h 207"/>
                <a:gd name="T12" fmla="*/ 13 w 242"/>
                <a:gd name="T13" fmla="*/ 0 h 207"/>
                <a:gd name="T14" fmla="*/ 229 w 242"/>
                <a:gd name="T15" fmla="*/ 0 h 207"/>
                <a:gd name="T16" fmla="*/ 242 w 242"/>
                <a:gd name="T17" fmla="*/ 13 h 207"/>
                <a:gd name="T18" fmla="*/ 242 w 242"/>
                <a:gd name="T19" fmla="*/ 151 h 207"/>
                <a:gd name="T20" fmla="*/ 229 w 242"/>
                <a:gd name="T21" fmla="*/ 164 h 207"/>
                <a:gd name="T22" fmla="*/ 208 w 242"/>
                <a:gd name="T23" fmla="*/ 164 h 207"/>
                <a:gd name="T24" fmla="*/ 208 w 242"/>
                <a:gd name="T25" fmla="*/ 193 h 207"/>
                <a:gd name="T26" fmla="*/ 200 w 242"/>
                <a:gd name="T27" fmla="*/ 206 h 207"/>
                <a:gd name="T28" fmla="*/ 195 w 242"/>
                <a:gd name="T29" fmla="*/ 207 h 207"/>
                <a:gd name="T30" fmla="*/ 13 w 242"/>
                <a:gd name="T31" fmla="*/ 8 h 207"/>
                <a:gd name="T32" fmla="*/ 8 w 242"/>
                <a:gd name="T33" fmla="*/ 13 h 207"/>
                <a:gd name="T34" fmla="*/ 8 w 242"/>
                <a:gd name="T35" fmla="*/ 151 h 207"/>
                <a:gd name="T36" fmla="*/ 13 w 242"/>
                <a:gd name="T37" fmla="*/ 156 h 207"/>
                <a:gd name="T38" fmla="*/ 148 w 242"/>
                <a:gd name="T39" fmla="*/ 156 h 207"/>
                <a:gd name="T40" fmla="*/ 151 w 242"/>
                <a:gd name="T41" fmla="*/ 157 h 207"/>
                <a:gd name="T42" fmla="*/ 191 w 242"/>
                <a:gd name="T43" fmla="*/ 197 h 207"/>
                <a:gd name="T44" fmla="*/ 197 w 242"/>
                <a:gd name="T45" fmla="*/ 198 h 207"/>
                <a:gd name="T46" fmla="*/ 200 w 242"/>
                <a:gd name="T47" fmla="*/ 193 h 207"/>
                <a:gd name="T48" fmla="*/ 200 w 242"/>
                <a:gd name="T49" fmla="*/ 160 h 207"/>
                <a:gd name="T50" fmla="*/ 204 w 242"/>
                <a:gd name="T51" fmla="*/ 156 h 207"/>
                <a:gd name="T52" fmla="*/ 229 w 242"/>
                <a:gd name="T53" fmla="*/ 156 h 207"/>
                <a:gd name="T54" fmla="*/ 234 w 242"/>
                <a:gd name="T55" fmla="*/ 151 h 207"/>
                <a:gd name="T56" fmla="*/ 234 w 242"/>
                <a:gd name="T57" fmla="*/ 13 h 207"/>
                <a:gd name="T58" fmla="*/ 229 w 242"/>
                <a:gd name="T59" fmla="*/ 8 h 207"/>
                <a:gd name="T60" fmla="*/ 13 w 242"/>
                <a:gd name="T61" fmla="*/ 8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42" h="207">
                  <a:moveTo>
                    <a:pt x="195" y="207"/>
                  </a:moveTo>
                  <a:cubicBezTo>
                    <a:pt x="191" y="207"/>
                    <a:pt x="188" y="206"/>
                    <a:pt x="185" y="203"/>
                  </a:cubicBezTo>
                  <a:cubicBezTo>
                    <a:pt x="147" y="164"/>
                    <a:pt x="147" y="164"/>
                    <a:pt x="147" y="164"/>
                  </a:cubicBezTo>
                  <a:cubicBezTo>
                    <a:pt x="13" y="164"/>
                    <a:pt x="13" y="164"/>
                    <a:pt x="13" y="164"/>
                  </a:cubicBezTo>
                  <a:cubicBezTo>
                    <a:pt x="6" y="164"/>
                    <a:pt x="0" y="158"/>
                    <a:pt x="0" y="15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29" y="0"/>
                    <a:pt x="229" y="0"/>
                    <a:pt x="229" y="0"/>
                  </a:cubicBezTo>
                  <a:cubicBezTo>
                    <a:pt x="236" y="0"/>
                    <a:pt x="242" y="6"/>
                    <a:pt x="242" y="13"/>
                  </a:cubicBezTo>
                  <a:cubicBezTo>
                    <a:pt x="242" y="151"/>
                    <a:pt x="242" y="151"/>
                    <a:pt x="242" y="151"/>
                  </a:cubicBezTo>
                  <a:cubicBezTo>
                    <a:pt x="242" y="158"/>
                    <a:pt x="236" y="164"/>
                    <a:pt x="229" y="164"/>
                  </a:cubicBezTo>
                  <a:cubicBezTo>
                    <a:pt x="208" y="164"/>
                    <a:pt x="208" y="164"/>
                    <a:pt x="208" y="164"/>
                  </a:cubicBezTo>
                  <a:cubicBezTo>
                    <a:pt x="208" y="193"/>
                    <a:pt x="208" y="193"/>
                    <a:pt x="208" y="193"/>
                  </a:cubicBezTo>
                  <a:cubicBezTo>
                    <a:pt x="208" y="199"/>
                    <a:pt x="205" y="204"/>
                    <a:pt x="200" y="206"/>
                  </a:cubicBezTo>
                  <a:cubicBezTo>
                    <a:pt x="198" y="207"/>
                    <a:pt x="197" y="207"/>
                    <a:pt x="195" y="207"/>
                  </a:cubicBezTo>
                  <a:close/>
                  <a:moveTo>
                    <a:pt x="13" y="8"/>
                  </a:moveTo>
                  <a:cubicBezTo>
                    <a:pt x="10" y="8"/>
                    <a:pt x="8" y="10"/>
                    <a:pt x="8" y="13"/>
                  </a:cubicBezTo>
                  <a:cubicBezTo>
                    <a:pt x="8" y="151"/>
                    <a:pt x="8" y="151"/>
                    <a:pt x="8" y="151"/>
                  </a:cubicBezTo>
                  <a:cubicBezTo>
                    <a:pt x="8" y="154"/>
                    <a:pt x="10" y="156"/>
                    <a:pt x="13" y="156"/>
                  </a:cubicBezTo>
                  <a:cubicBezTo>
                    <a:pt x="148" y="156"/>
                    <a:pt x="148" y="156"/>
                    <a:pt x="148" y="156"/>
                  </a:cubicBezTo>
                  <a:cubicBezTo>
                    <a:pt x="149" y="156"/>
                    <a:pt x="150" y="156"/>
                    <a:pt x="151" y="157"/>
                  </a:cubicBezTo>
                  <a:cubicBezTo>
                    <a:pt x="191" y="197"/>
                    <a:pt x="191" y="197"/>
                    <a:pt x="191" y="197"/>
                  </a:cubicBezTo>
                  <a:cubicBezTo>
                    <a:pt x="193" y="199"/>
                    <a:pt x="196" y="199"/>
                    <a:pt x="197" y="198"/>
                  </a:cubicBezTo>
                  <a:cubicBezTo>
                    <a:pt x="198" y="198"/>
                    <a:pt x="200" y="197"/>
                    <a:pt x="200" y="193"/>
                  </a:cubicBezTo>
                  <a:cubicBezTo>
                    <a:pt x="200" y="160"/>
                    <a:pt x="200" y="160"/>
                    <a:pt x="200" y="160"/>
                  </a:cubicBezTo>
                  <a:cubicBezTo>
                    <a:pt x="200" y="158"/>
                    <a:pt x="202" y="156"/>
                    <a:pt x="204" y="156"/>
                  </a:cubicBezTo>
                  <a:cubicBezTo>
                    <a:pt x="229" y="156"/>
                    <a:pt x="229" y="156"/>
                    <a:pt x="229" y="156"/>
                  </a:cubicBezTo>
                  <a:cubicBezTo>
                    <a:pt x="232" y="156"/>
                    <a:pt x="234" y="154"/>
                    <a:pt x="234" y="151"/>
                  </a:cubicBezTo>
                  <a:cubicBezTo>
                    <a:pt x="234" y="13"/>
                    <a:pt x="234" y="13"/>
                    <a:pt x="234" y="13"/>
                  </a:cubicBezTo>
                  <a:cubicBezTo>
                    <a:pt x="234" y="10"/>
                    <a:pt x="232" y="8"/>
                    <a:pt x="229" y="8"/>
                  </a:cubicBezTo>
                  <a:lnTo>
                    <a:pt x="13" y="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97" name="Freeform 9">
              <a:extLst>
                <a:ext uri="{FF2B5EF4-FFF2-40B4-BE49-F238E27FC236}">
                  <a16:creationId xmlns:a16="http://schemas.microsoft.com/office/drawing/2014/main" id="{59215B49-515C-DFCB-0F0C-EAF939FF1020}"/>
                </a:ext>
              </a:extLst>
            </p:cNvPr>
            <p:cNvSpPr>
              <a:spLocks/>
            </p:cNvSpPr>
            <p:nvPr/>
          </p:nvSpPr>
          <p:spPr bwMode="auto">
            <a:xfrm>
              <a:off x="-7393942" y="3979308"/>
              <a:ext cx="256811" cy="20383"/>
            </a:xfrm>
            <a:custGeom>
              <a:avLst/>
              <a:gdLst>
                <a:gd name="T0" fmla="*/ 98 w 102"/>
                <a:gd name="T1" fmla="*/ 8 h 8"/>
                <a:gd name="T2" fmla="*/ 4 w 102"/>
                <a:gd name="T3" fmla="*/ 8 h 8"/>
                <a:gd name="T4" fmla="*/ 0 w 102"/>
                <a:gd name="T5" fmla="*/ 4 h 8"/>
                <a:gd name="T6" fmla="*/ 4 w 102"/>
                <a:gd name="T7" fmla="*/ 0 h 8"/>
                <a:gd name="T8" fmla="*/ 98 w 102"/>
                <a:gd name="T9" fmla="*/ 0 h 8"/>
                <a:gd name="T10" fmla="*/ 102 w 102"/>
                <a:gd name="T11" fmla="*/ 4 h 8"/>
                <a:gd name="T12" fmla="*/ 98 w 102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2" h="8">
                  <a:moveTo>
                    <a:pt x="98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100" y="0"/>
                    <a:pt x="102" y="2"/>
                    <a:pt x="102" y="4"/>
                  </a:cubicBezTo>
                  <a:cubicBezTo>
                    <a:pt x="102" y="6"/>
                    <a:pt x="100" y="8"/>
                    <a:pt x="98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98" name="Freeform 10">
              <a:extLst>
                <a:ext uri="{FF2B5EF4-FFF2-40B4-BE49-F238E27FC236}">
                  <a16:creationId xmlns:a16="http://schemas.microsoft.com/office/drawing/2014/main" id="{5732FF96-B925-BD62-316A-226FA53EA304}"/>
                </a:ext>
              </a:extLst>
            </p:cNvPr>
            <p:cNvSpPr>
              <a:spLocks/>
            </p:cNvSpPr>
            <p:nvPr/>
          </p:nvSpPr>
          <p:spPr bwMode="auto">
            <a:xfrm>
              <a:off x="-7393942" y="4060835"/>
              <a:ext cx="366871" cy="20383"/>
            </a:xfrm>
            <a:custGeom>
              <a:avLst/>
              <a:gdLst>
                <a:gd name="T0" fmla="*/ 142 w 146"/>
                <a:gd name="T1" fmla="*/ 8 h 8"/>
                <a:gd name="T2" fmla="*/ 4 w 146"/>
                <a:gd name="T3" fmla="*/ 8 h 8"/>
                <a:gd name="T4" fmla="*/ 0 w 146"/>
                <a:gd name="T5" fmla="*/ 4 h 8"/>
                <a:gd name="T6" fmla="*/ 4 w 146"/>
                <a:gd name="T7" fmla="*/ 0 h 8"/>
                <a:gd name="T8" fmla="*/ 142 w 146"/>
                <a:gd name="T9" fmla="*/ 0 h 8"/>
                <a:gd name="T10" fmla="*/ 146 w 146"/>
                <a:gd name="T11" fmla="*/ 4 h 8"/>
                <a:gd name="T12" fmla="*/ 142 w 146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6" h="8">
                  <a:moveTo>
                    <a:pt x="142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42" y="0"/>
                    <a:pt x="142" y="0"/>
                    <a:pt x="142" y="0"/>
                  </a:cubicBezTo>
                  <a:cubicBezTo>
                    <a:pt x="144" y="0"/>
                    <a:pt x="146" y="1"/>
                    <a:pt x="146" y="4"/>
                  </a:cubicBezTo>
                  <a:cubicBezTo>
                    <a:pt x="146" y="6"/>
                    <a:pt x="144" y="8"/>
                    <a:pt x="142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99" name="Freeform 11">
              <a:extLst>
                <a:ext uri="{FF2B5EF4-FFF2-40B4-BE49-F238E27FC236}">
                  <a16:creationId xmlns:a16="http://schemas.microsoft.com/office/drawing/2014/main" id="{CB11CC0E-E2E0-A95A-DDFA-96E2C2B20E06}"/>
                </a:ext>
              </a:extLst>
            </p:cNvPr>
            <p:cNvSpPr>
              <a:spLocks/>
            </p:cNvSpPr>
            <p:nvPr/>
          </p:nvSpPr>
          <p:spPr bwMode="auto">
            <a:xfrm>
              <a:off x="-7393942" y="4146437"/>
              <a:ext cx="366871" cy="20383"/>
            </a:xfrm>
            <a:custGeom>
              <a:avLst/>
              <a:gdLst>
                <a:gd name="T0" fmla="*/ 142 w 146"/>
                <a:gd name="T1" fmla="*/ 8 h 8"/>
                <a:gd name="T2" fmla="*/ 4 w 146"/>
                <a:gd name="T3" fmla="*/ 8 h 8"/>
                <a:gd name="T4" fmla="*/ 0 w 146"/>
                <a:gd name="T5" fmla="*/ 4 h 8"/>
                <a:gd name="T6" fmla="*/ 4 w 146"/>
                <a:gd name="T7" fmla="*/ 0 h 8"/>
                <a:gd name="T8" fmla="*/ 142 w 146"/>
                <a:gd name="T9" fmla="*/ 0 h 8"/>
                <a:gd name="T10" fmla="*/ 146 w 146"/>
                <a:gd name="T11" fmla="*/ 4 h 8"/>
                <a:gd name="T12" fmla="*/ 142 w 146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6" h="8">
                  <a:moveTo>
                    <a:pt x="142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42" y="0"/>
                    <a:pt x="142" y="0"/>
                    <a:pt x="142" y="0"/>
                  </a:cubicBezTo>
                  <a:cubicBezTo>
                    <a:pt x="144" y="0"/>
                    <a:pt x="146" y="1"/>
                    <a:pt x="146" y="4"/>
                  </a:cubicBezTo>
                  <a:cubicBezTo>
                    <a:pt x="146" y="6"/>
                    <a:pt x="144" y="8"/>
                    <a:pt x="142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2" name="Shape3_20200717_154352">
            <a:extLst>
              <a:ext uri="{FF2B5EF4-FFF2-40B4-BE49-F238E27FC236}">
                <a16:creationId xmlns:a16="http://schemas.microsoft.com/office/drawing/2014/main" id="{8B2E7D7C-8787-C61C-4A12-305085DAEBFC}"/>
              </a:ext>
            </a:extLst>
          </p:cNvPr>
          <p:cNvGrpSpPr>
            <a:grpSpLocks noChangeAspect="1"/>
          </p:cNvGrpSpPr>
          <p:nvPr/>
        </p:nvGrpSpPr>
        <p:grpSpPr>
          <a:xfrm>
            <a:off x="8459539" y="1184303"/>
            <a:ext cx="493239" cy="639988"/>
            <a:chOff x="-8820664" y="2393608"/>
            <a:chExt cx="493239" cy="639988"/>
          </a:xfrm>
          <a:solidFill>
            <a:schemeClr val="accent1"/>
          </a:solidFill>
        </p:grpSpPr>
        <p:sp>
          <p:nvSpPr>
            <p:cNvPr id="288" name="Freeform 12">
              <a:extLst>
                <a:ext uri="{FF2B5EF4-FFF2-40B4-BE49-F238E27FC236}">
                  <a16:creationId xmlns:a16="http://schemas.microsoft.com/office/drawing/2014/main" id="{7CABC6F1-3E9B-5E9E-E758-FF5B66675B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8820664" y="2393608"/>
              <a:ext cx="493239" cy="639988"/>
            </a:xfrm>
            <a:custGeom>
              <a:avLst/>
              <a:gdLst>
                <a:gd name="T0" fmla="*/ 176 w 196"/>
                <a:gd name="T1" fmla="*/ 254 h 254"/>
                <a:gd name="T2" fmla="*/ 20 w 196"/>
                <a:gd name="T3" fmla="*/ 254 h 254"/>
                <a:gd name="T4" fmla="*/ 0 w 196"/>
                <a:gd name="T5" fmla="*/ 234 h 254"/>
                <a:gd name="T6" fmla="*/ 0 w 196"/>
                <a:gd name="T7" fmla="*/ 20 h 254"/>
                <a:gd name="T8" fmla="*/ 20 w 196"/>
                <a:gd name="T9" fmla="*/ 0 h 254"/>
                <a:gd name="T10" fmla="*/ 176 w 196"/>
                <a:gd name="T11" fmla="*/ 0 h 254"/>
                <a:gd name="T12" fmla="*/ 196 w 196"/>
                <a:gd name="T13" fmla="*/ 20 h 254"/>
                <a:gd name="T14" fmla="*/ 196 w 196"/>
                <a:gd name="T15" fmla="*/ 234 h 254"/>
                <a:gd name="T16" fmla="*/ 176 w 196"/>
                <a:gd name="T17" fmla="*/ 254 h 254"/>
                <a:gd name="T18" fmla="*/ 20 w 196"/>
                <a:gd name="T19" fmla="*/ 8 h 254"/>
                <a:gd name="T20" fmla="*/ 8 w 196"/>
                <a:gd name="T21" fmla="*/ 20 h 254"/>
                <a:gd name="T22" fmla="*/ 8 w 196"/>
                <a:gd name="T23" fmla="*/ 234 h 254"/>
                <a:gd name="T24" fmla="*/ 20 w 196"/>
                <a:gd name="T25" fmla="*/ 245 h 254"/>
                <a:gd name="T26" fmla="*/ 176 w 196"/>
                <a:gd name="T27" fmla="*/ 245 h 254"/>
                <a:gd name="T28" fmla="*/ 188 w 196"/>
                <a:gd name="T29" fmla="*/ 234 h 254"/>
                <a:gd name="T30" fmla="*/ 188 w 196"/>
                <a:gd name="T31" fmla="*/ 20 h 254"/>
                <a:gd name="T32" fmla="*/ 176 w 196"/>
                <a:gd name="T33" fmla="*/ 8 h 254"/>
                <a:gd name="T34" fmla="*/ 20 w 196"/>
                <a:gd name="T35" fmla="*/ 8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6" h="254">
                  <a:moveTo>
                    <a:pt x="176" y="254"/>
                  </a:moveTo>
                  <a:cubicBezTo>
                    <a:pt x="20" y="254"/>
                    <a:pt x="20" y="254"/>
                    <a:pt x="20" y="254"/>
                  </a:cubicBezTo>
                  <a:cubicBezTo>
                    <a:pt x="9" y="254"/>
                    <a:pt x="0" y="245"/>
                    <a:pt x="0" y="234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176" y="0"/>
                    <a:pt x="176" y="0"/>
                    <a:pt x="176" y="0"/>
                  </a:cubicBezTo>
                  <a:cubicBezTo>
                    <a:pt x="187" y="0"/>
                    <a:pt x="196" y="9"/>
                    <a:pt x="196" y="20"/>
                  </a:cubicBezTo>
                  <a:cubicBezTo>
                    <a:pt x="196" y="234"/>
                    <a:pt x="196" y="234"/>
                    <a:pt x="196" y="234"/>
                  </a:cubicBezTo>
                  <a:cubicBezTo>
                    <a:pt x="196" y="245"/>
                    <a:pt x="187" y="254"/>
                    <a:pt x="176" y="254"/>
                  </a:cubicBezTo>
                  <a:close/>
                  <a:moveTo>
                    <a:pt x="20" y="8"/>
                  </a:moveTo>
                  <a:cubicBezTo>
                    <a:pt x="13" y="8"/>
                    <a:pt x="8" y="13"/>
                    <a:pt x="8" y="20"/>
                  </a:cubicBezTo>
                  <a:cubicBezTo>
                    <a:pt x="8" y="234"/>
                    <a:pt x="8" y="234"/>
                    <a:pt x="8" y="234"/>
                  </a:cubicBezTo>
                  <a:cubicBezTo>
                    <a:pt x="8" y="240"/>
                    <a:pt x="13" y="245"/>
                    <a:pt x="20" y="245"/>
                  </a:cubicBezTo>
                  <a:cubicBezTo>
                    <a:pt x="176" y="245"/>
                    <a:pt x="176" y="245"/>
                    <a:pt x="176" y="245"/>
                  </a:cubicBezTo>
                  <a:cubicBezTo>
                    <a:pt x="183" y="245"/>
                    <a:pt x="188" y="240"/>
                    <a:pt x="188" y="234"/>
                  </a:cubicBezTo>
                  <a:cubicBezTo>
                    <a:pt x="188" y="20"/>
                    <a:pt x="188" y="20"/>
                    <a:pt x="188" y="20"/>
                  </a:cubicBezTo>
                  <a:cubicBezTo>
                    <a:pt x="188" y="13"/>
                    <a:pt x="183" y="8"/>
                    <a:pt x="176" y="8"/>
                  </a:cubicBezTo>
                  <a:lnTo>
                    <a:pt x="20" y="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9" name="Freeform 13">
              <a:extLst>
                <a:ext uri="{FF2B5EF4-FFF2-40B4-BE49-F238E27FC236}">
                  <a16:creationId xmlns:a16="http://schemas.microsoft.com/office/drawing/2014/main" id="{C4D4F518-E08A-821D-D773-4F67E638173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8755442" y="2393608"/>
              <a:ext cx="362796" cy="85605"/>
            </a:xfrm>
            <a:custGeom>
              <a:avLst/>
              <a:gdLst>
                <a:gd name="T0" fmla="*/ 139 w 144"/>
                <a:gd name="T1" fmla="*/ 33 h 33"/>
                <a:gd name="T2" fmla="*/ 5 w 144"/>
                <a:gd name="T3" fmla="*/ 33 h 33"/>
                <a:gd name="T4" fmla="*/ 0 w 144"/>
                <a:gd name="T5" fmla="*/ 28 h 33"/>
                <a:gd name="T6" fmla="*/ 0 w 144"/>
                <a:gd name="T7" fmla="*/ 4 h 33"/>
                <a:gd name="T8" fmla="*/ 5 w 144"/>
                <a:gd name="T9" fmla="*/ 0 h 33"/>
                <a:gd name="T10" fmla="*/ 139 w 144"/>
                <a:gd name="T11" fmla="*/ 0 h 33"/>
                <a:gd name="T12" fmla="*/ 144 w 144"/>
                <a:gd name="T13" fmla="*/ 4 h 33"/>
                <a:gd name="T14" fmla="*/ 144 w 144"/>
                <a:gd name="T15" fmla="*/ 28 h 33"/>
                <a:gd name="T16" fmla="*/ 139 w 144"/>
                <a:gd name="T17" fmla="*/ 33 h 33"/>
                <a:gd name="T18" fmla="*/ 9 w 144"/>
                <a:gd name="T19" fmla="*/ 24 h 33"/>
                <a:gd name="T20" fmla="*/ 135 w 144"/>
                <a:gd name="T21" fmla="*/ 24 h 33"/>
                <a:gd name="T22" fmla="*/ 135 w 144"/>
                <a:gd name="T23" fmla="*/ 8 h 33"/>
                <a:gd name="T24" fmla="*/ 9 w 144"/>
                <a:gd name="T25" fmla="*/ 8 h 33"/>
                <a:gd name="T26" fmla="*/ 9 w 144"/>
                <a:gd name="T27" fmla="*/ 24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4" h="33">
                  <a:moveTo>
                    <a:pt x="139" y="33"/>
                  </a:moveTo>
                  <a:cubicBezTo>
                    <a:pt x="5" y="33"/>
                    <a:pt x="5" y="33"/>
                    <a:pt x="5" y="33"/>
                  </a:cubicBezTo>
                  <a:cubicBezTo>
                    <a:pt x="2" y="33"/>
                    <a:pt x="0" y="31"/>
                    <a:pt x="0" y="28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139" y="0"/>
                    <a:pt x="139" y="0"/>
                    <a:pt x="139" y="0"/>
                  </a:cubicBezTo>
                  <a:cubicBezTo>
                    <a:pt x="142" y="0"/>
                    <a:pt x="144" y="2"/>
                    <a:pt x="144" y="4"/>
                  </a:cubicBezTo>
                  <a:cubicBezTo>
                    <a:pt x="144" y="28"/>
                    <a:pt x="144" y="28"/>
                    <a:pt x="144" y="28"/>
                  </a:cubicBezTo>
                  <a:cubicBezTo>
                    <a:pt x="144" y="31"/>
                    <a:pt x="142" y="33"/>
                    <a:pt x="139" y="33"/>
                  </a:cubicBezTo>
                  <a:close/>
                  <a:moveTo>
                    <a:pt x="9" y="24"/>
                  </a:moveTo>
                  <a:cubicBezTo>
                    <a:pt x="135" y="24"/>
                    <a:pt x="135" y="24"/>
                    <a:pt x="135" y="24"/>
                  </a:cubicBezTo>
                  <a:cubicBezTo>
                    <a:pt x="135" y="8"/>
                    <a:pt x="135" y="8"/>
                    <a:pt x="135" y="8"/>
                  </a:cubicBezTo>
                  <a:cubicBezTo>
                    <a:pt x="9" y="8"/>
                    <a:pt x="9" y="8"/>
                    <a:pt x="9" y="8"/>
                  </a:cubicBezTo>
                  <a:lnTo>
                    <a:pt x="9" y="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90" name="Freeform 14">
              <a:extLst>
                <a:ext uri="{FF2B5EF4-FFF2-40B4-BE49-F238E27FC236}">
                  <a16:creationId xmlns:a16="http://schemas.microsoft.com/office/drawing/2014/main" id="{4950DA20-98A8-8533-F459-D3B408EBCD85}"/>
                </a:ext>
              </a:extLst>
            </p:cNvPr>
            <p:cNvSpPr>
              <a:spLocks/>
            </p:cNvSpPr>
            <p:nvPr/>
          </p:nvSpPr>
          <p:spPr bwMode="auto">
            <a:xfrm>
              <a:off x="-8726906" y="2572967"/>
              <a:ext cx="101910" cy="73374"/>
            </a:xfrm>
            <a:custGeom>
              <a:avLst/>
              <a:gdLst>
                <a:gd name="T0" fmla="*/ 15 w 40"/>
                <a:gd name="T1" fmla="*/ 30 h 30"/>
                <a:gd name="T2" fmla="*/ 12 w 40"/>
                <a:gd name="T3" fmla="*/ 28 h 30"/>
                <a:gd name="T4" fmla="*/ 1 w 40"/>
                <a:gd name="T5" fmla="*/ 18 h 30"/>
                <a:gd name="T6" fmla="*/ 1 w 40"/>
                <a:gd name="T7" fmla="*/ 12 h 30"/>
                <a:gd name="T8" fmla="*/ 7 w 40"/>
                <a:gd name="T9" fmla="*/ 12 h 30"/>
                <a:gd name="T10" fmla="*/ 15 w 40"/>
                <a:gd name="T11" fmla="*/ 20 h 30"/>
                <a:gd name="T12" fmla="*/ 33 w 40"/>
                <a:gd name="T13" fmla="*/ 2 h 30"/>
                <a:gd name="T14" fmla="*/ 38 w 40"/>
                <a:gd name="T15" fmla="*/ 2 h 30"/>
                <a:gd name="T16" fmla="*/ 38 w 40"/>
                <a:gd name="T17" fmla="*/ 8 h 30"/>
                <a:gd name="T18" fmla="*/ 18 w 40"/>
                <a:gd name="T19" fmla="*/ 28 h 30"/>
                <a:gd name="T20" fmla="*/ 15 w 40"/>
                <a:gd name="T2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0" h="30">
                  <a:moveTo>
                    <a:pt x="15" y="30"/>
                  </a:moveTo>
                  <a:cubicBezTo>
                    <a:pt x="14" y="30"/>
                    <a:pt x="13" y="29"/>
                    <a:pt x="12" y="28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0" y="16"/>
                    <a:pt x="0" y="14"/>
                    <a:pt x="1" y="12"/>
                  </a:cubicBezTo>
                  <a:cubicBezTo>
                    <a:pt x="3" y="11"/>
                    <a:pt x="6" y="11"/>
                    <a:pt x="7" y="12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4" y="0"/>
                    <a:pt x="37" y="0"/>
                    <a:pt x="38" y="2"/>
                  </a:cubicBezTo>
                  <a:cubicBezTo>
                    <a:pt x="40" y="4"/>
                    <a:pt x="40" y="6"/>
                    <a:pt x="38" y="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7" y="29"/>
                    <a:pt x="16" y="30"/>
                    <a:pt x="15" y="3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91" name="Freeform 15">
              <a:extLst>
                <a:ext uri="{FF2B5EF4-FFF2-40B4-BE49-F238E27FC236}">
                  <a16:creationId xmlns:a16="http://schemas.microsoft.com/office/drawing/2014/main" id="{F2B19719-0DB0-58DA-AD63-5D705B13139E}"/>
                </a:ext>
              </a:extLst>
            </p:cNvPr>
            <p:cNvSpPr>
              <a:spLocks/>
            </p:cNvSpPr>
            <p:nvPr/>
          </p:nvSpPr>
          <p:spPr bwMode="auto">
            <a:xfrm>
              <a:off x="-8726906" y="2703410"/>
              <a:ext cx="101910" cy="73374"/>
            </a:xfrm>
            <a:custGeom>
              <a:avLst/>
              <a:gdLst>
                <a:gd name="T0" fmla="*/ 15 w 40"/>
                <a:gd name="T1" fmla="*/ 29 h 29"/>
                <a:gd name="T2" fmla="*/ 12 w 40"/>
                <a:gd name="T3" fmla="*/ 28 h 29"/>
                <a:gd name="T4" fmla="*/ 1 w 40"/>
                <a:gd name="T5" fmla="*/ 18 h 29"/>
                <a:gd name="T6" fmla="*/ 1 w 40"/>
                <a:gd name="T7" fmla="*/ 12 h 29"/>
                <a:gd name="T8" fmla="*/ 7 w 40"/>
                <a:gd name="T9" fmla="*/ 12 h 29"/>
                <a:gd name="T10" fmla="*/ 15 w 40"/>
                <a:gd name="T11" fmla="*/ 19 h 29"/>
                <a:gd name="T12" fmla="*/ 33 w 40"/>
                <a:gd name="T13" fmla="*/ 2 h 29"/>
                <a:gd name="T14" fmla="*/ 38 w 40"/>
                <a:gd name="T15" fmla="*/ 2 h 29"/>
                <a:gd name="T16" fmla="*/ 38 w 40"/>
                <a:gd name="T17" fmla="*/ 7 h 29"/>
                <a:gd name="T18" fmla="*/ 18 w 40"/>
                <a:gd name="T19" fmla="*/ 28 h 29"/>
                <a:gd name="T20" fmla="*/ 15 w 40"/>
                <a:gd name="T21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0" h="29">
                  <a:moveTo>
                    <a:pt x="15" y="29"/>
                  </a:moveTo>
                  <a:cubicBezTo>
                    <a:pt x="14" y="29"/>
                    <a:pt x="13" y="29"/>
                    <a:pt x="12" y="28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0" y="16"/>
                    <a:pt x="0" y="14"/>
                    <a:pt x="1" y="12"/>
                  </a:cubicBezTo>
                  <a:cubicBezTo>
                    <a:pt x="3" y="10"/>
                    <a:pt x="6" y="10"/>
                    <a:pt x="7" y="12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4" y="0"/>
                    <a:pt x="37" y="0"/>
                    <a:pt x="38" y="2"/>
                  </a:cubicBezTo>
                  <a:cubicBezTo>
                    <a:pt x="40" y="3"/>
                    <a:pt x="40" y="6"/>
                    <a:pt x="38" y="7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7" y="29"/>
                    <a:pt x="16" y="29"/>
                    <a:pt x="15" y="2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92" name="Freeform 16">
              <a:extLst>
                <a:ext uri="{FF2B5EF4-FFF2-40B4-BE49-F238E27FC236}">
                  <a16:creationId xmlns:a16="http://schemas.microsoft.com/office/drawing/2014/main" id="{06A1E8AE-45C3-107B-4871-C5AE91B60DB3}"/>
                </a:ext>
              </a:extLst>
            </p:cNvPr>
            <p:cNvSpPr>
              <a:spLocks/>
            </p:cNvSpPr>
            <p:nvPr/>
          </p:nvSpPr>
          <p:spPr bwMode="auto">
            <a:xfrm>
              <a:off x="-8726906" y="2833853"/>
              <a:ext cx="101910" cy="73374"/>
            </a:xfrm>
            <a:custGeom>
              <a:avLst/>
              <a:gdLst>
                <a:gd name="T0" fmla="*/ 15 w 40"/>
                <a:gd name="T1" fmla="*/ 29 h 29"/>
                <a:gd name="T2" fmla="*/ 12 w 40"/>
                <a:gd name="T3" fmla="*/ 28 h 29"/>
                <a:gd name="T4" fmla="*/ 1 w 40"/>
                <a:gd name="T5" fmla="*/ 18 h 29"/>
                <a:gd name="T6" fmla="*/ 1 w 40"/>
                <a:gd name="T7" fmla="*/ 12 h 29"/>
                <a:gd name="T8" fmla="*/ 7 w 40"/>
                <a:gd name="T9" fmla="*/ 12 h 29"/>
                <a:gd name="T10" fmla="*/ 15 w 40"/>
                <a:gd name="T11" fmla="*/ 19 h 29"/>
                <a:gd name="T12" fmla="*/ 33 w 40"/>
                <a:gd name="T13" fmla="*/ 1 h 29"/>
                <a:gd name="T14" fmla="*/ 38 w 40"/>
                <a:gd name="T15" fmla="*/ 1 h 29"/>
                <a:gd name="T16" fmla="*/ 38 w 40"/>
                <a:gd name="T17" fmla="*/ 7 h 29"/>
                <a:gd name="T18" fmla="*/ 18 w 40"/>
                <a:gd name="T19" fmla="*/ 28 h 29"/>
                <a:gd name="T20" fmla="*/ 15 w 40"/>
                <a:gd name="T21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0" h="29">
                  <a:moveTo>
                    <a:pt x="15" y="29"/>
                  </a:moveTo>
                  <a:cubicBezTo>
                    <a:pt x="14" y="29"/>
                    <a:pt x="13" y="29"/>
                    <a:pt x="12" y="28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0" y="16"/>
                    <a:pt x="0" y="13"/>
                    <a:pt x="1" y="12"/>
                  </a:cubicBezTo>
                  <a:cubicBezTo>
                    <a:pt x="3" y="10"/>
                    <a:pt x="6" y="10"/>
                    <a:pt x="7" y="12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33" y="1"/>
                    <a:pt x="33" y="1"/>
                    <a:pt x="33" y="1"/>
                  </a:cubicBezTo>
                  <a:cubicBezTo>
                    <a:pt x="34" y="0"/>
                    <a:pt x="37" y="0"/>
                    <a:pt x="38" y="1"/>
                  </a:cubicBezTo>
                  <a:cubicBezTo>
                    <a:pt x="40" y="3"/>
                    <a:pt x="40" y="6"/>
                    <a:pt x="38" y="7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7" y="29"/>
                    <a:pt x="16" y="29"/>
                    <a:pt x="15" y="2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93" name="Freeform 17">
              <a:extLst>
                <a:ext uri="{FF2B5EF4-FFF2-40B4-BE49-F238E27FC236}">
                  <a16:creationId xmlns:a16="http://schemas.microsoft.com/office/drawing/2014/main" id="{731059DE-299F-FE6A-A86B-706979AC33AC}"/>
                </a:ext>
              </a:extLst>
            </p:cNvPr>
            <p:cNvSpPr>
              <a:spLocks/>
            </p:cNvSpPr>
            <p:nvPr/>
          </p:nvSpPr>
          <p:spPr bwMode="auto">
            <a:xfrm>
              <a:off x="-8588310" y="2621883"/>
              <a:ext cx="171207" cy="24458"/>
            </a:xfrm>
            <a:custGeom>
              <a:avLst/>
              <a:gdLst>
                <a:gd name="T0" fmla="*/ 63 w 67"/>
                <a:gd name="T1" fmla="*/ 9 h 9"/>
                <a:gd name="T2" fmla="*/ 4 w 67"/>
                <a:gd name="T3" fmla="*/ 9 h 9"/>
                <a:gd name="T4" fmla="*/ 0 w 67"/>
                <a:gd name="T5" fmla="*/ 5 h 9"/>
                <a:gd name="T6" fmla="*/ 4 w 67"/>
                <a:gd name="T7" fmla="*/ 0 h 9"/>
                <a:gd name="T8" fmla="*/ 63 w 67"/>
                <a:gd name="T9" fmla="*/ 0 h 9"/>
                <a:gd name="T10" fmla="*/ 67 w 67"/>
                <a:gd name="T11" fmla="*/ 5 h 9"/>
                <a:gd name="T12" fmla="*/ 63 w 67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" h="9">
                  <a:moveTo>
                    <a:pt x="63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1" y="9"/>
                    <a:pt x="0" y="7"/>
                    <a:pt x="0" y="5"/>
                  </a:cubicBezTo>
                  <a:cubicBezTo>
                    <a:pt x="0" y="2"/>
                    <a:pt x="1" y="0"/>
                    <a:pt x="4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5" y="0"/>
                    <a:pt x="67" y="2"/>
                    <a:pt x="67" y="5"/>
                  </a:cubicBezTo>
                  <a:cubicBezTo>
                    <a:pt x="67" y="7"/>
                    <a:pt x="65" y="9"/>
                    <a:pt x="63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94" name="Freeform 18">
              <a:extLst>
                <a:ext uri="{FF2B5EF4-FFF2-40B4-BE49-F238E27FC236}">
                  <a16:creationId xmlns:a16="http://schemas.microsoft.com/office/drawing/2014/main" id="{CF3145D6-69C7-E7A3-317A-1B0B3456EEDE}"/>
                </a:ext>
              </a:extLst>
            </p:cNvPr>
            <p:cNvSpPr>
              <a:spLocks/>
            </p:cNvSpPr>
            <p:nvPr/>
          </p:nvSpPr>
          <p:spPr bwMode="auto">
            <a:xfrm>
              <a:off x="-8588310" y="2756404"/>
              <a:ext cx="171207" cy="20383"/>
            </a:xfrm>
            <a:custGeom>
              <a:avLst/>
              <a:gdLst>
                <a:gd name="T0" fmla="*/ 63 w 67"/>
                <a:gd name="T1" fmla="*/ 8 h 8"/>
                <a:gd name="T2" fmla="*/ 4 w 67"/>
                <a:gd name="T3" fmla="*/ 8 h 8"/>
                <a:gd name="T4" fmla="*/ 0 w 67"/>
                <a:gd name="T5" fmla="*/ 4 h 8"/>
                <a:gd name="T6" fmla="*/ 4 w 67"/>
                <a:gd name="T7" fmla="*/ 0 h 8"/>
                <a:gd name="T8" fmla="*/ 63 w 67"/>
                <a:gd name="T9" fmla="*/ 0 h 8"/>
                <a:gd name="T10" fmla="*/ 67 w 67"/>
                <a:gd name="T11" fmla="*/ 4 h 8"/>
                <a:gd name="T12" fmla="*/ 63 w 67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" h="8">
                  <a:moveTo>
                    <a:pt x="63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1" y="8"/>
                    <a:pt x="0" y="7"/>
                    <a:pt x="0" y="4"/>
                  </a:cubicBezTo>
                  <a:cubicBezTo>
                    <a:pt x="0" y="2"/>
                    <a:pt x="1" y="0"/>
                    <a:pt x="4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5" y="0"/>
                    <a:pt x="67" y="2"/>
                    <a:pt x="67" y="4"/>
                  </a:cubicBezTo>
                  <a:cubicBezTo>
                    <a:pt x="67" y="7"/>
                    <a:pt x="65" y="8"/>
                    <a:pt x="63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95" name="Freeform 19">
              <a:extLst>
                <a:ext uri="{FF2B5EF4-FFF2-40B4-BE49-F238E27FC236}">
                  <a16:creationId xmlns:a16="http://schemas.microsoft.com/office/drawing/2014/main" id="{7896BD85-61DD-F650-A561-38CC40150EA2}"/>
                </a:ext>
              </a:extLst>
            </p:cNvPr>
            <p:cNvSpPr>
              <a:spLocks/>
            </p:cNvSpPr>
            <p:nvPr/>
          </p:nvSpPr>
          <p:spPr bwMode="auto">
            <a:xfrm>
              <a:off x="-8588310" y="2886847"/>
              <a:ext cx="171207" cy="20383"/>
            </a:xfrm>
            <a:custGeom>
              <a:avLst/>
              <a:gdLst>
                <a:gd name="T0" fmla="*/ 63 w 67"/>
                <a:gd name="T1" fmla="*/ 8 h 8"/>
                <a:gd name="T2" fmla="*/ 4 w 67"/>
                <a:gd name="T3" fmla="*/ 8 h 8"/>
                <a:gd name="T4" fmla="*/ 0 w 67"/>
                <a:gd name="T5" fmla="*/ 4 h 8"/>
                <a:gd name="T6" fmla="*/ 4 w 67"/>
                <a:gd name="T7" fmla="*/ 0 h 8"/>
                <a:gd name="T8" fmla="*/ 63 w 67"/>
                <a:gd name="T9" fmla="*/ 0 h 8"/>
                <a:gd name="T10" fmla="*/ 67 w 67"/>
                <a:gd name="T11" fmla="*/ 4 h 8"/>
                <a:gd name="T12" fmla="*/ 63 w 67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" h="8">
                  <a:moveTo>
                    <a:pt x="63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1" y="8"/>
                    <a:pt x="0" y="6"/>
                    <a:pt x="0" y="4"/>
                  </a:cubicBezTo>
                  <a:cubicBezTo>
                    <a:pt x="0" y="2"/>
                    <a:pt x="1" y="0"/>
                    <a:pt x="4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5" y="0"/>
                    <a:pt x="67" y="2"/>
                    <a:pt x="67" y="4"/>
                  </a:cubicBezTo>
                  <a:cubicBezTo>
                    <a:pt x="67" y="6"/>
                    <a:pt x="65" y="8"/>
                    <a:pt x="63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3" name="Shape4_20200717_154352">
            <a:extLst>
              <a:ext uri="{FF2B5EF4-FFF2-40B4-BE49-F238E27FC236}">
                <a16:creationId xmlns:a16="http://schemas.microsoft.com/office/drawing/2014/main" id="{22462872-20C7-0108-80DE-62CC02C0C585}"/>
              </a:ext>
            </a:extLst>
          </p:cNvPr>
          <p:cNvGrpSpPr>
            <a:grpSpLocks noChangeAspect="1"/>
          </p:cNvGrpSpPr>
          <p:nvPr/>
        </p:nvGrpSpPr>
        <p:grpSpPr>
          <a:xfrm>
            <a:off x="11106675" y="1186342"/>
            <a:ext cx="387254" cy="623682"/>
            <a:chOff x="-6065052" y="2401761"/>
            <a:chExt cx="387254" cy="623682"/>
          </a:xfrm>
          <a:solidFill>
            <a:schemeClr val="accent1"/>
          </a:solidFill>
        </p:grpSpPr>
        <p:sp>
          <p:nvSpPr>
            <p:cNvPr id="282" name="Freeform 20">
              <a:extLst>
                <a:ext uri="{FF2B5EF4-FFF2-40B4-BE49-F238E27FC236}">
                  <a16:creationId xmlns:a16="http://schemas.microsoft.com/office/drawing/2014/main" id="{C05B729F-EF7D-7EE2-5C69-8E72BD621E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065052" y="2401761"/>
              <a:ext cx="387254" cy="623682"/>
            </a:xfrm>
            <a:custGeom>
              <a:avLst/>
              <a:gdLst>
                <a:gd name="T0" fmla="*/ 132 w 154"/>
                <a:gd name="T1" fmla="*/ 248 h 248"/>
                <a:gd name="T2" fmla="*/ 22 w 154"/>
                <a:gd name="T3" fmla="*/ 248 h 248"/>
                <a:gd name="T4" fmla="*/ 0 w 154"/>
                <a:gd name="T5" fmla="*/ 226 h 248"/>
                <a:gd name="T6" fmla="*/ 0 w 154"/>
                <a:gd name="T7" fmla="*/ 22 h 248"/>
                <a:gd name="T8" fmla="*/ 22 w 154"/>
                <a:gd name="T9" fmla="*/ 0 h 248"/>
                <a:gd name="T10" fmla="*/ 132 w 154"/>
                <a:gd name="T11" fmla="*/ 0 h 248"/>
                <a:gd name="T12" fmla="*/ 154 w 154"/>
                <a:gd name="T13" fmla="*/ 22 h 248"/>
                <a:gd name="T14" fmla="*/ 154 w 154"/>
                <a:gd name="T15" fmla="*/ 226 h 248"/>
                <a:gd name="T16" fmla="*/ 132 w 154"/>
                <a:gd name="T17" fmla="*/ 248 h 248"/>
                <a:gd name="T18" fmla="*/ 22 w 154"/>
                <a:gd name="T19" fmla="*/ 8 h 248"/>
                <a:gd name="T20" fmla="*/ 8 w 154"/>
                <a:gd name="T21" fmla="*/ 22 h 248"/>
                <a:gd name="T22" fmla="*/ 8 w 154"/>
                <a:gd name="T23" fmla="*/ 226 h 248"/>
                <a:gd name="T24" fmla="*/ 22 w 154"/>
                <a:gd name="T25" fmla="*/ 240 h 248"/>
                <a:gd name="T26" fmla="*/ 132 w 154"/>
                <a:gd name="T27" fmla="*/ 240 h 248"/>
                <a:gd name="T28" fmla="*/ 146 w 154"/>
                <a:gd name="T29" fmla="*/ 226 h 248"/>
                <a:gd name="T30" fmla="*/ 146 w 154"/>
                <a:gd name="T31" fmla="*/ 22 h 248"/>
                <a:gd name="T32" fmla="*/ 132 w 154"/>
                <a:gd name="T33" fmla="*/ 8 h 248"/>
                <a:gd name="T34" fmla="*/ 22 w 154"/>
                <a:gd name="T35" fmla="*/ 8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4" h="248">
                  <a:moveTo>
                    <a:pt x="132" y="248"/>
                  </a:moveTo>
                  <a:cubicBezTo>
                    <a:pt x="22" y="248"/>
                    <a:pt x="22" y="248"/>
                    <a:pt x="22" y="248"/>
                  </a:cubicBezTo>
                  <a:cubicBezTo>
                    <a:pt x="10" y="248"/>
                    <a:pt x="0" y="238"/>
                    <a:pt x="0" y="226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0"/>
                    <a:pt x="10" y="0"/>
                    <a:pt x="22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45" y="0"/>
                    <a:pt x="154" y="10"/>
                    <a:pt x="154" y="22"/>
                  </a:cubicBezTo>
                  <a:cubicBezTo>
                    <a:pt x="154" y="226"/>
                    <a:pt x="154" y="226"/>
                    <a:pt x="154" y="226"/>
                  </a:cubicBezTo>
                  <a:cubicBezTo>
                    <a:pt x="154" y="238"/>
                    <a:pt x="145" y="248"/>
                    <a:pt x="132" y="248"/>
                  </a:cubicBezTo>
                  <a:close/>
                  <a:moveTo>
                    <a:pt x="22" y="8"/>
                  </a:moveTo>
                  <a:cubicBezTo>
                    <a:pt x="14" y="8"/>
                    <a:pt x="8" y="14"/>
                    <a:pt x="8" y="22"/>
                  </a:cubicBezTo>
                  <a:cubicBezTo>
                    <a:pt x="8" y="226"/>
                    <a:pt x="8" y="226"/>
                    <a:pt x="8" y="226"/>
                  </a:cubicBezTo>
                  <a:cubicBezTo>
                    <a:pt x="8" y="233"/>
                    <a:pt x="14" y="240"/>
                    <a:pt x="22" y="240"/>
                  </a:cubicBezTo>
                  <a:cubicBezTo>
                    <a:pt x="132" y="240"/>
                    <a:pt x="132" y="240"/>
                    <a:pt x="132" y="240"/>
                  </a:cubicBezTo>
                  <a:cubicBezTo>
                    <a:pt x="140" y="240"/>
                    <a:pt x="146" y="233"/>
                    <a:pt x="146" y="226"/>
                  </a:cubicBezTo>
                  <a:cubicBezTo>
                    <a:pt x="146" y="22"/>
                    <a:pt x="146" y="22"/>
                    <a:pt x="146" y="22"/>
                  </a:cubicBezTo>
                  <a:cubicBezTo>
                    <a:pt x="146" y="14"/>
                    <a:pt x="140" y="8"/>
                    <a:pt x="132" y="8"/>
                  </a:cubicBezTo>
                  <a:lnTo>
                    <a:pt x="22" y="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3" name="Freeform 21">
              <a:extLst>
                <a:ext uri="{FF2B5EF4-FFF2-40B4-BE49-F238E27FC236}">
                  <a16:creationId xmlns:a16="http://schemas.microsoft.com/office/drawing/2014/main" id="{57FBADDB-DE10-B284-0092-A57BB3D87E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065052" y="2487365"/>
              <a:ext cx="387254" cy="440245"/>
            </a:xfrm>
            <a:custGeom>
              <a:avLst/>
              <a:gdLst>
                <a:gd name="T0" fmla="*/ 150 w 154"/>
                <a:gd name="T1" fmla="*/ 174 h 174"/>
                <a:gd name="T2" fmla="*/ 4 w 154"/>
                <a:gd name="T3" fmla="*/ 174 h 174"/>
                <a:gd name="T4" fmla="*/ 0 w 154"/>
                <a:gd name="T5" fmla="*/ 170 h 174"/>
                <a:gd name="T6" fmla="*/ 0 w 154"/>
                <a:gd name="T7" fmla="*/ 4 h 174"/>
                <a:gd name="T8" fmla="*/ 4 w 154"/>
                <a:gd name="T9" fmla="*/ 0 h 174"/>
                <a:gd name="T10" fmla="*/ 150 w 154"/>
                <a:gd name="T11" fmla="*/ 0 h 174"/>
                <a:gd name="T12" fmla="*/ 154 w 154"/>
                <a:gd name="T13" fmla="*/ 4 h 174"/>
                <a:gd name="T14" fmla="*/ 154 w 154"/>
                <a:gd name="T15" fmla="*/ 170 h 174"/>
                <a:gd name="T16" fmla="*/ 150 w 154"/>
                <a:gd name="T17" fmla="*/ 174 h 174"/>
                <a:gd name="T18" fmla="*/ 8 w 154"/>
                <a:gd name="T19" fmla="*/ 166 h 174"/>
                <a:gd name="T20" fmla="*/ 146 w 154"/>
                <a:gd name="T21" fmla="*/ 166 h 174"/>
                <a:gd name="T22" fmla="*/ 146 w 154"/>
                <a:gd name="T23" fmla="*/ 8 h 174"/>
                <a:gd name="T24" fmla="*/ 8 w 154"/>
                <a:gd name="T25" fmla="*/ 8 h 174"/>
                <a:gd name="T26" fmla="*/ 8 w 154"/>
                <a:gd name="T27" fmla="*/ 166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4" h="174">
                  <a:moveTo>
                    <a:pt x="150" y="174"/>
                  </a:moveTo>
                  <a:cubicBezTo>
                    <a:pt x="4" y="174"/>
                    <a:pt x="4" y="174"/>
                    <a:pt x="4" y="174"/>
                  </a:cubicBezTo>
                  <a:cubicBezTo>
                    <a:pt x="2" y="174"/>
                    <a:pt x="0" y="173"/>
                    <a:pt x="0" y="17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50" y="0"/>
                    <a:pt x="150" y="0"/>
                    <a:pt x="150" y="0"/>
                  </a:cubicBezTo>
                  <a:cubicBezTo>
                    <a:pt x="153" y="0"/>
                    <a:pt x="154" y="2"/>
                    <a:pt x="154" y="4"/>
                  </a:cubicBezTo>
                  <a:cubicBezTo>
                    <a:pt x="154" y="170"/>
                    <a:pt x="154" y="170"/>
                    <a:pt x="154" y="170"/>
                  </a:cubicBezTo>
                  <a:cubicBezTo>
                    <a:pt x="154" y="173"/>
                    <a:pt x="153" y="174"/>
                    <a:pt x="150" y="174"/>
                  </a:cubicBezTo>
                  <a:close/>
                  <a:moveTo>
                    <a:pt x="8" y="166"/>
                  </a:moveTo>
                  <a:cubicBezTo>
                    <a:pt x="146" y="166"/>
                    <a:pt x="146" y="166"/>
                    <a:pt x="146" y="166"/>
                  </a:cubicBezTo>
                  <a:cubicBezTo>
                    <a:pt x="146" y="8"/>
                    <a:pt x="146" y="8"/>
                    <a:pt x="146" y="8"/>
                  </a:cubicBezTo>
                  <a:cubicBezTo>
                    <a:pt x="8" y="8"/>
                    <a:pt x="8" y="8"/>
                    <a:pt x="8" y="8"/>
                  </a:cubicBezTo>
                  <a:lnTo>
                    <a:pt x="8" y="16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4" name="Freeform 22">
              <a:extLst>
                <a:ext uri="{FF2B5EF4-FFF2-40B4-BE49-F238E27FC236}">
                  <a16:creationId xmlns:a16="http://schemas.microsoft.com/office/drawing/2014/main" id="{C6EDD70A-5C95-2443-871B-9A921AF7A75E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14226" y="2446602"/>
              <a:ext cx="85605" cy="20383"/>
            </a:xfrm>
            <a:custGeom>
              <a:avLst/>
              <a:gdLst>
                <a:gd name="T0" fmla="*/ 31 w 35"/>
                <a:gd name="T1" fmla="*/ 8 h 8"/>
                <a:gd name="T2" fmla="*/ 4 w 35"/>
                <a:gd name="T3" fmla="*/ 8 h 8"/>
                <a:gd name="T4" fmla="*/ 0 w 35"/>
                <a:gd name="T5" fmla="*/ 4 h 8"/>
                <a:gd name="T6" fmla="*/ 4 w 35"/>
                <a:gd name="T7" fmla="*/ 0 h 8"/>
                <a:gd name="T8" fmla="*/ 31 w 35"/>
                <a:gd name="T9" fmla="*/ 0 h 8"/>
                <a:gd name="T10" fmla="*/ 35 w 35"/>
                <a:gd name="T11" fmla="*/ 4 h 8"/>
                <a:gd name="T12" fmla="*/ 31 w 35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8">
                  <a:moveTo>
                    <a:pt x="31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1" y="8"/>
                    <a:pt x="0" y="6"/>
                    <a:pt x="0" y="4"/>
                  </a:cubicBezTo>
                  <a:cubicBezTo>
                    <a:pt x="0" y="2"/>
                    <a:pt x="1" y="0"/>
                    <a:pt x="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3" y="0"/>
                    <a:pt x="35" y="2"/>
                    <a:pt x="35" y="4"/>
                  </a:cubicBezTo>
                  <a:cubicBezTo>
                    <a:pt x="35" y="6"/>
                    <a:pt x="33" y="8"/>
                    <a:pt x="31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5" name="Freeform 23">
              <a:extLst>
                <a:ext uri="{FF2B5EF4-FFF2-40B4-BE49-F238E27FC236}">
                  <a16:creationId xmlns:a16="http://schemas.microsoft.com/office/drawing/2014/main" id="{337457D3-3CFF-8A4C-09A4-087059766C1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85693" y="2956144"/>
              <a:ext cx="28536" cy="24458"/>
            </a:xfrm>
            <a:custGeom>
              <a:avLst/>
              <a:gdLst>
                <a:gd name="T0" fmla="*/ 8 w 12"/>
                <a:gd name="T1" fmla="*/ 9 h 9"/>
                <a:gd name="T2" fmla="*/ 4 w 12"/>
                <a:gd name="T3" fmla="*/ 9 h 9"/>
                <a:gd name="T4" fmla="*/ 0 w 12"/>
                <a:gd name="T5" fmla="*/ 5 h 9"/>
                <a:gd name="T6" fmla="*/ 4 w 12"/>
                <a:gd name="T7" fmla="*/ 0 h 9"/>
                <a:gd name="T8" fmla="*/ 8 w 12"/>
                <a:gd name="T9" fmla="*/ 0 h 9"/>
                <a:gd name="T10" fmla="*/ 12 w 12"/>
                <a:gd name="T11" fmla="*/ 5 h 9"/>
                <a:gd name="T12" fmla="*/ 8 w 12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9">
                  <a:moveTo>
                    <a:pt x="8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11" y="0"/>
                    <a:pt x="12" y="2"/>
                    <a:pt x="12" y="5"/>
                  </a:cubicBezTo>
                  <a:cubicBezTo>
                    <a:pt x="12" y="7"/>
                    <a:pt x="11" y="9"/>
                    <a:pt x="8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6" name="Freeform 24">
              <a:extLst>
                <a:ext uri="{FF2B5EF4-FFF2-40B4-BE49-F238E27FC236}">
                  <a16:creationId xmlns:a16="http://schemas.microsoft.com/office/drawing/2014/main" id="{B736A0B2-9437-3E1C-B7FC-447A1C90EFB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999830" y="2585197"/>
              <a:ext cx="256811" cy="256811"/>
            </a:xfrm>
            <a:custGeom>
              <a:avLst/>
              <a:gdLst>
                <a:gd name="T0" fmla="*/ 51 w 102"/>
                <a:gd name="T1" fmla="*/ 102 h 102"/>
                <a:gd name="T2" fmla="*/ 0 w 102"/>
                <a:gd name="T3" fmla="*/ 51 h 102"/>
                <a:gd name="T4" fmla="*/ 51 w 102"/>
                <a:gd name="T5" fmla="*/ 0 h 102"/>
                <a:gd name="T6" fmla="*/ 102 w 102"/>
                <a:gd name="T7" fmla="*/ 51 h 102"/>
                <a:gd name="T8" fmla="*/ 51 w 102"/>
                <a:gd name="T9" fmla="*/ 102 h 102"/>
                <a:gd name="T10" fmla="*/ 51 w 102"/>
                <a:gd name="T11" fmla="*/ 8 h 102"/>
                <a:gd name="T12" fmla="*/ 8 w 102"/>
                <a:gd name="T13" fmla="*/ 51 h 102"/>
                <a:gd name="T14" fmla="*/ 51 w 102"/>
                <a:gd name="T15" fmla="*/ 94 h 102"/>
                <a:gd name="T16" fmla="*/ 94 w 102"/>
                <a:gd name="T17" fmla="*/ 51 h 102"/>
                <a:gd name="T18" fmla="*/ 51 w 102"/>
                <a:gd name="T19" fmla="*/ 8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2" h="102">
                  <a:moveTo>
                    <a:pt x="51" y="102"/>
                  </a:moveTo>
                  <a:cubicBezTo>
                    <a:pt x="23" y="102"/>
                    <a:pt x="0" y="79"/>
                    <a:pt x="0" y="51"/>
                  </a:cubicBezTo>
                  <a:cubicBezTo>
                    <a:pt x="0" y="23"/>
                    <a:pt x="23" y="0"/>
                    <a:pt x="51" y="0"/>
                  </a:cubicBezTo>
                  <a:cubicBezTo>
                    <a:pt x="79" y="0"/>
                    <a:pt x="102" y="23"/>
                    <a:pt x="102" y="51"/>
                  </a:cubicBezTo>
                  <a:cubicBezTo>
                    <a:pt x="102" y="79"/>
                    <a:pt x="79" y="102"/>
                    <a:pt x="51" y="102"/>
                  </a:cubicBezTo>
                  <a:close/>
                  <a:moveTo>
                    <a:pt x="51" y="8"/>
                  </a:moveTo>
                  <a:cubicBezTo>
                    <a:pt x="28" y="8"/>
                    <a:pt x="8" y="27"/>
                    <a:pt x="8" y="51"/>
                  </a:cubicBezTo>
                  <a:cubicBezTo>
                    <a:pt x="8" y="74"/>
                    <a:pt x="28" y="94"/>
                    <a:pt x="51" y="94"/>
                  </a:cubicBezTo>
                  <a:cubicBezTo>
                    <a:pt x="75" y="94"/>
                    <a:pt x="94" y="74"/>
                    <a:pt x="94" y="51"/>
                  </a:cubicBezTo>
                  <a:cubicBezTo>
                    <a:pt x="94" y="27"/>
                    <a:pt x="75" y="8"/>
                    <a:pt x="51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7" name="Freeform 25">
              <a:extLst>
                <a:ext uri="{FF2B5EF4-FFF2-40B4-BE49-F238E27FC236}">
                  <a16:creationId xmlns:a16="http://schemas.microsoft.com/office/drawing/2014/main" id="{75775256-482A-2563-3498-129661581DB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34609" y="2670799"/>
              <a:ext cx="138596" cy="93757"/>
            </a:xfrm>
            <a:custGeom>
              <a:avLst/>
              <a:gdLst>
                <a:gd name="T0" fmla="*/ 22 w 56"/>
                <a:gd name="T1" fmla="*/ 38 h 38"/>
                <a:gd name="T2" fmla="*/ 19 w 56"/>
                <a:gd name="T3" fmla="*/ 37 h 38"/>
                <a:gd name="T4" fmla="*/ 2 w 56"/>
                <a:gd name="T5" fmla="*/ 19 h 38"/>
                <a:gd name="T6" fmla="*/ 2 w 56"/>
                <a:gd name="T7" fmla="*/ 14 h 38"/>
                <a:gd name="T8" fmla="*/ 7 w 56"/>
                <a:gd name="T9" fmla="*/ 14 h 38"/>
                <a:gd name="T10" fmla="*/ 22 w 56"/>
                <a:gd name="T11" fmla="*/ 28 h 38"/>
                <a:gd name="T12" fmla="*/ 49 w 56"/>
                <a:gd name="T13" fmla="*/ 2 h 38"/>
                <a:gd name="T14" fmla="*/ 55 w 56"/>
                <a:gd name="T15" fmla="*/ 2 h 38"/>
                <a:gd name="T16" fmla="*/ 55 w 56"/>
                <a:gd name="T17" fmla="*/ 8 h 38"/>
                <a:gd name="T18" fmla="*/ 25 w 56"/>
                <a:gd name="T19" fmla="*/ 37 h 38"/>
                <a:gd name="T20" fmla="*/ 22 w 56"/>
                <a:gd name="T21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6" h="38">
                  <a:moveTo>
                    <a:pt x="22" y="38"/>
                  </a:moveTo>
                  <a:cubicBezTo>
                    <a:pt x="21" y="38"/>
                    <a:pt x="20" y="38"/>
                    <a:pt x="19" y="37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0" y="18"/>
                    <a:pt x="0" y="15"/>
                    <a:pt x="2" y="14"/>
                  </a:cubicBezTo>
                  <a:cubicBezTo>
                    <a:pt x="3" y="12"/>
                    <a:pt x="6" y="12"/>
                    <a:pt x="7" y="14"/>
                  </a:cubicBezTo>
                  <a:cubicBezTo>
                    <a:pt x="22" y="28"/>
                    <a:pt x="22" y="28"/>
                    <a:pt x="22" y="28"/>
                  </a:cubicBezTo>
                  <a:cubicBezTo>
                    <a:pt x="49" y="2"/>
                    <a:pt x="49" y="2"/>
                    <a:pt x="49" y="2"/>
                  </a:cubicBezTo>
                  <a:cubicBezTo>
                    <a:pt x="50" y="0"/>
                    <a:pt x="53" y="0"/>
                    <a:pt x="55" y="2"/>
                  </a:cubicBezTo>
                  <a:cubicBezTo>
                    <a:pt x="56" y="3"/>
                    <a:pt x="56" y="6"/>
                    <a:pt x="55" y="8"/>
                  </a:cubicBezTo>
                  <a:cubicBezTo>
                    <a:pt x="25" y="37"/>
                    <a:pt x="25" y="37"/>
                    <a:pt x="25" y="37"/>
                  </a:cubicBezTo>
                  <a:cubicBezTo>
                    <a:pt x="24" y="38"/>
                    <a:pt x="23" y="38"/>
                    <a:pt x="22" y="3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4" name="Shape5_20200717_154352">
            <a:extLst>
              <a:ext uri="{FF2B5EF4-FFF2-40B4-BE49-F238E27FC236}">
                <a16:creationId xmlns:a16="http://schemas.microsoft.com/office/drawing/2014/main" id="{69D0F111-8968-259D-699C-58A21DAB80B2}"/>
              </a:ext>
            </a:extLst>
          </p:cNvPr>
          <p:cNvGrpSpPr>
            <a:grpSpLocks noChangeAspect="1"/>
          </p:cNvGrpSpPr>
          <p:nvPr/>
        </p:nvGrpSpPr>
        <p:grpSpPr>
          <a:xfrm>
            <a:off x="8474710" y="2575617"/>
            <a:ext cx="631833" cy="627759"/>
            <a:chOff x="-4846222" y="3836635"/>
            <a:chExt cx="631833" cy="627759"/>
          </a:xfrm>
          <a:solidFill>
            <a:schemeClr val="accent1"/>
          </a:solidFill>
        </p:grpSpPr>
        <p:sp>
          <p:nvSpPr>
            <p:cNvPr id="280" name="Freeform 26">
              <a:extLst>
                <a:ext uri="{FF2B5EF4-FFF2-40B4-BE49-F238E27FC236}">
                  <a16:creationId xmlns:a16="http://schemas.microsoft.com/office/drawing/2014/main" id="{81DFA8BC-DB0F-B456-41A3-5D5209BD06C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846222" y="3836635"/>
              <a:ext cx="489162" cy="489162"/>
            </a:xfrm>
            <a:custGeom>
              <a:avLst/>
              <a:gdLst>
                <a:gd name="T0" fmla="*/ 97 w 195"/>
                <a:gd name="T1" fmla="*/ 194 h 194"/>
                <a:gd name="T2" fmla="*/ 0 w 195"/>
                <a:gd name="T3" fmla="*/ 97 h 194"/>
                <a:gd name="T4" fmla="*/ 97 w 195"/>
                <a:gd name="T5" fmla="*/ 0 h 194"/>
                <a:gd name="T6" fmla="*/ 195 w 195"/>
                <a:gd name="T7" fmla="*/ 97 h 194"/>
                <a:gd name="T8" fmla="*/ 97 w 195"/>
                <a:gd name="T9" fmla="*/ 194 h 194"/>
                <a:gd name="T10" fmla="*/ 97 w 195"/>
                <a:gd name="T11" fmla="*/ 8 h 194"/>
                <a:gd name="T12" fmla="*/ 8 w 195"/>
                <a:gd name="T13" fmla="*/ 97 h 194"/>
                <a:gd name="T14" fmla="*/ 97 w 195"/>
                <a:gd name="T15" fmla="*/ 186 h 194"/>
                <a:gd name="T16" fmla="*/ 186 w 195"/>
                <a:gd name="T17" fmla="*/ 97 h 194"/>
                <a:gd name="T18" fmla="*/ 97 w 195"/>
                <a:gd name="T19" fmla="*/ 8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5" h="194">
                  <a:moveTo>
                    <a:pt x="97" y="194"/>
                  </a:moveTo>
                  <a:cubicBezTo>
                    <a:pt x="43" y="194"/>
                    <a:pt x="0" y="151"/>
                    <a:pt x="0" y="97"/>
                  </a:cubicBezTo>
                  <a:cubicBezTo>
                    <a:pt x="0" y="43"/>
                    <a:pt x="43" y="0"/>
                    <a:pt x="97" y="0"/>
                  </a:cubicBezTo>
                  <a:cubicBezTo>
                    <a:pt x="151" y="0"/>
                    <a:pt x="195" y="43"/>
                    <a:pt x="195" y="97"/>
                  </a:cubicBezTo>
                  <a:cubicBezTo>
                    <a:pt x="195" y="151"/>
                    <a:pt x="151" y="194"/>
                    <a:pt x="97" y="194"/>
                  </a:cubicBezTo>
                  <a:close/>
                  <a:moveTo>
                    <a:pt x="97" y="8"/>
                  </a:moveTo>
                  <a:cubicBezTo>
                    <a:pt x="48" y="8"/>
                    <a:pt x="8" y="48"/>
                    <a:pt x="8" y="97"/>
                  </a:cubicBezTo>
                  <a:cubicBezTo>
                    <a:pt x="8" y="146"/>
                    <a:pt x="48" y="186"/>
                    <a:pt x="97" y="186"/>
                  </a:cubicBezTo>
                  <a:cubicBezTo>
                    <a:pt x="146" y="186"/>
                    <a:pt x="186" y="146"/>
                    <a:pt x="186" y="97"/>
                  </a:cubicBezTo>
                  <a:cubicBezTo>
                    <a:pt x="186" y="48"/>
                    <a:pt x="146" y="8"/>
                    <a:pt x="97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1" name="Freeform 27">
              <a:extLst>
                <a:ext uri="{FF2B5EF4-FFF2-40B4-BE49-F238E27FC236}">
                  <a16:creationId xmlns:a16="http://schemas.microsoft.com/office/drawing/2014/main" id="{4010261C-19A2-9D85-CCC0-00AD0F6C601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467123" y="4215736"/>
              <a:ext cx="252734" cy="248658"/>
            </a:xfrm>
            <a:custGeom>
              <a:avLst/>
              <a:gdLst>
                <a:gd name="T0" fmla="*/ 81 w 101"/>
                <a:gd name="T1" fmla="*/ 99 h 99"/>
                <a:gd name="T2" fmla="*/ 68 w 101"/>
                <a:gd name="T3" fmla="*/ 94 h 99"/>
                <a:gd name="T4" fmla="*/ 1 w 101"/>
                <a:gd name="T5" fmla="*/ 27 h 99"/>
                <a:gd name="T6" fmla="*/ 1 w 101"/>
                <a:gd name="T7" fmla="*/ 21 h 99"/>
                <a:gd name="T8" fmla="*/ 21 w 101"/>
                <a:gd name="T9" fmla="*/ 1 h 99"/>
                <a:gd name="T10" fmla="*/ 27 w 101"/>
                <a:gd name="T11" fmla="*/ 1 h 99"/>
                <a:gd name="T12" fmla="*/ 94 w 101"/>
                <a:gd name="T13" fmla="*/ 68 h 99"/>
                <a:gd name="T14" fmla="*/ 94 w 101"/>
                <a:gd name="T15" fmla="*/ 94 h 99"/>
                <a:gd name="T16" fmla="*/ 81 w 101"/>
                <a:gd name="T17" fmla="*/ 99 h 99"/>
                <a:gd name="T18" fmla="*/ 74 w 101"/>
                <a:gd name="T19" fmla="*/ 88 h 99"/>
                <a:gd name="T20" fmla="*/ 88 w 101"/>
                <a:gd name="T21" fmla="*/ 88 h 99"/>
                <a:gd name="T22" fmla="*/ 88 w 101"/>
                <a:gd name="T23" fmla="*/ 74 h 99"/>
                <a:gd name="T24" fmla="*/ 24 w 101"/>
                <a:gd name="T25" fmla="*/ 10 h 99"/>
                <a:gd name="T26" fmla="*/ 10 w 101"/>
                <a:gd name="T27" fmla="*/ 24 h 99"/>
                <a:gd name="T28" fmla="*/ 74 w 101"/>
                <a:gd name="T29" fmla="*/ 88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1" h="99">
                  <a:moveTo>
                    <a:pt x="81" y="99"/>
                  </a:moveTo>
                  <a:cubicBezTo>
                    <a:pt x="76" y="99"/>
                    <a:pt x="71" y="97"/>
                    <a:pt x="68" y="94"/>
                  </a:cubicBezTo>
                  <a:cubicBezTo>
                    <a:pt x="1" y="27"/>
                    <a:pt x="1" y="27"/>
                    <a:pt x="1" y="27"/>
                  </a:cubicBezTo>
                  <a:cubicBezTo>
                    <a:pt x="0" y="25"/>
                    <a:pt x="0" y="23"/>
                    <a:pt x="1" y="21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23" y="0"/>
                    <a:pt x="25" y="0"/>
                    <a:pt x="27" y="1"/>
                  </a:cubicBezTo>
                  <a:cubicBezTo>
                    <a:pt x="94" y="68"/>
                    <a:pt x="94" y="68"/>
                    <a:pt x="94" y="68"/>
                  </a:cubicBezTo>
                  <a:cubicBezTo>
                    <a:pt x="101" y="75"/>
                    <a:pt x="101" y="86"/>
                    <a:pt x="94" y="94"/>
                  </a:cubicBezTo>
                  <a:cubicBezTo>
                    <a:pt x="90" y="97"/>
                    <a:pt x="86" y="99"/>
                    <a:pt x="81" y="99"/>
                  </a:cubicBezTo>
                  <a:close/>
                  <a:moveTo>
                    <a:pt x="74" y="88"/>
                  </a:moveTo>
                  <a:cubicBezTo>
                    <a:pt x="78" y="91"/>
                    <a:pt x="84" y="91"/>
                    <a:pt x="88" y="88"/>
                  </a:cubicBezTo>
                  <a:cubicBezTo>
                    <a:pt x="92" y="84"/>
                    <a:pt x="92" y="78"/>
                    <a:pt x="88" y="74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10" y="24"/>
                    <a:pt x="10" y="24"/>
                    <a:pt x="10" y="24"/>
                  </a:cubicBezTo>
                  <a:lnTo>
                    <a:pt x="74" y="8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5" name="Shape6_20200717_154352">
            <a:extLst>
              <a:ext uri="{FF2B5EF4-FFF2-40B4-BE49-F238E27FC236}">
                <a16:creationId xmlns:a16="http://schemas.microsoft.com/office/drawing/2014/main" id="{715813D8-3674-C289-AD53-98C1B18500B6}"/>
              </a:ext>
            </a:extLst>
          </p:cNvPr>
          <p:cNvGrpSpPr>
            <a:grpSpLocks noChangeAspect="1"/>
          </p:cNvGrpSpPr>
          <p:nvPr/>
        </p:nvGrpSpPr>
        <p:grpSpPr>
          <a:xfrm>
            <a:off x="7006149" y="1214877"/>
            <a:ext cx="790812" cy="623683"/>
            <a:chOff x="-2253665" y="962811"/>
            <a:chExt cx="790812" cy="623683"/>
          </a:xfrm>
          <a:solidFill>
            <a:schemeClr val="accent1"/>
          </a:solidFill>
        </p:grpSpPr>
        <p:sp>
          <p:nvSpPr>
            <p:cNvPr id="273" name="Freeform 28">
              <a:extLst>
                <a:ext uri="{FF2B5EF4-FFF2-40B4-BE49-F238E27FC236}">
                  <a16:creationId xmlns:a16="http://schemas.microsoft.com/office/drawing/2014/main" id="{2ECBD53B-4A47-31DF-04BF-F04FB66991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253665" y="962811"/>
              <a:ext cx="790812" cy="538078"/>
            </a:xfrm>
            <a:custGeom>
              <a:avLst/>
              <a:gdLst>
                <a:gd name="T0" fmla="*/ 289 w 315"/>
                <a:gd name="T1" fmla="*/ 213 h 213"/>
                <a:gd name="T2" fmla="*/ 25 w 315"/>
                <a:gd name="T3" fmla="*/ 213 h 213"/>
                <a:gd name="T4" fmla="*/ 0 w 315"/>
                <a:gd name="T5" fmla="*/ 187 h 213"/>
                <a:gd name="T6" fmla="*/ 0 w 315"/>
                <a:gd name="T7" fmla="*/ 26 h 213"/>
                <a:gd name="T8" fmla="*/ 25 w 315"/>
                <a:gd name="T9" fmla="*/ 0 h 213"/>
                <a:gd name="T10" fmla="*/ 289 w 315"/>
                <a:gd name="T11" fmla="*/ 0 h 213"/>
                <a:gd name="T12" fmla="*/ 315 w 315"/>
                <a:gd name="T13" fmla="*/ 26 h 213"/>
                <a:gd name="T14" fmla="*/ 315 w 315"/>
                <a:gd name="T15" fmla="*/ 187 h 213"/>
                <a:gd name="T16" fmla="*/ 289 w 315"/>
                <a:gd name="T17" fmla="*/ 213 h 213"/>
                <a:gd name="T18" fmla="*/ 25 w 315"/>
                <a:gd name="T19" fmla="*/ 8 h 213"/>
                <a:gd name="T20" fmla="*/ 8 w 315"/>
                <a:gd name="T21" fmla="*/ 26 h 213"/>
                <a:gd name="T22" fmla="*/ 8 w 315"/>
                <a:gd name="T23" fmla="*/ 187 h 213"/>
                <a:gd name="T24" fmla="*/ 25 w 315"/>
                <a:gd name="T25" fmla="*/ 205 h 213"/>
                <a:gd name="T26" fmla="*/ 289 w 315"/>
                <a:gd name="T27" fmla="*/ 205 h 213"/>
                <a:gd name="T28" fmla="*/ 306 w 315"/>
                <a:gd name="T29" fmla="*/ 187 h 213"/>
                <a:gd name="T30" fmla="*/ 306 w 315"/>
                <a:gd name="T31" fmla="*/ 26 h 213"/>
                <a:gd name="T32" fmla="*/ 289 w 315"/>
                <a:gd name="T33" fmla="*/ 8 h 213"/>
                <a:gd name="T34" fmla="*/ 25 w 315"/>
                <a:gd name="T35" fmla="*/ 8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15" h="213">
                  <a:moveTo>
                    <a:pt x="289" y="213"/>
                  </a:moveTo>
                  <a:cubicBezTo>
                    <a:pt x="25" y="213"/>
                    <a:pt x="25" y="213"/>
                    <a:pt x="25" y="213"/>
                  </a:cubicBezTo>
                  <a:cubicBezTo>
                    <a:pt x="11" y="213"/>
                    <a:pt x="0" y="202"/>
                    <a:pt x="0" y="187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1"/>
                    <a:pt x="11" y="0"/>
                    <a:pt x="25" y="0"/>
                  </a:cubicBezTo>
                  <a:cubicBezTo>
                    <a:pt x="289" y="0"/>
                    <a:pt x="289" y="0"/>
                    <a:pt x="289" y="0"/>
                  </a:cubicBezTo>
                  <a:cubicBezTo>
                    <a:pt x="303" y="0"/>
                    <a:pt x="315" y="11"/>
                    <a:pt x="315" y="26"/>
                  </a:cubicBezTo>
                  <a:cubicBezTo>
                    <a:pt x="315" y="187"/>
                    <a:pt x="315" y="187"/>
                    <a:pt x="315" y="187"/>
                  </a:cubicBezTo>
                  <a:cubicBezTo>
                    <a:pt x="315" y="202"/>
                    <a:pt x="303" y="213"/>
                    <a:pt x="289" y="213"/>
                  </a:cubicBezTo>
                  <a:close/>
                  <a:moveTo>
                    <a:pt x="25" y="8"/>
                  </a:moveTo>
                  <a:cubicBezTo>
                    <a:pt x="16" y="8"/>
                    <a:pt x="8" y="16"/>
                    <a:pt x="8" y="26"/>
                  </a:cubicBezTo>
                  <a:cubicBezTo>
                    <a:pt x="8" y="187"/>
                    <a:pt x="8" y="187"/>
                    <a:pt x="8" y="187"/>
                  </a:cubicBezTo>
                  <a:cubicBezTo>
                    <a:pt x="8" y="197"/>
                    <a:pt x="16" y="205"/>
                    <a:pt x="25" y="205"/>
                  </a:cubicBezTo>
                  <a:cubicBezTo>
                    <a:pt x="289" y="205"/>
                    <a:pt x="289" y="205"/>
                    <a:pt x="289" y="205"/>
                  </a:cubicBezTo>
                  <a:cubicBezTo>
                    <a:pt x="299" y="205"/>
                    <a:pt x="306" y="197"/>
                    <a:pt x="306" y="187"/>
                  </a:cubicBezTo>
                  <a:cubicBezTo>
                    <a:pt x="306" y="26"/>
                    <a:pt x="306" y="26"/>
                    <a:pt x="306" y="26"/>
                  </a:cubicBezTo>
                  <a:cubicBezTo>
                    <a:pt x="306" y="16"/>
                    <a:pt x="299" y="8"/>
                    <a:pt x="289" y="8"/>
                  </a:cubicBezTo>
                  <a:lnTo>
                    <a:pt x="25" y="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4" name="Freeform 29">
              <a:extLst>
                <a:ext uri="{FF2B5EF4-FFF2-40B4-BE49-F238E27FC236}">
                  <a16:creationId xmlns:a16="http://schemas.microsoft.com/office/drawing/2014/main" id="{F8347CA6-282D-88A5-6BC3-32DDA1510E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253665" y="1407132"/>
              <a:ext cx="790812" cy="93757"/>
            </a:xfrm>
            <a:custGeom>
              <a:avLst/>
              <a:gdLst>
                <a:gd name="T0" fmla="*/ 290 w 315"/>
                <a:gd name="T1" fmla="*/ 37 h 37"/>
                <a:gd name="T2" fmla="*/ 25 w 315"/>
                <a:gd name="T3" fmla="*/ 37 h 37"/>
                <a:gd name="T4" fmla="*/ 0 w 315"/>
                <a:gd name="T5" fmla="*/ 12 h 37"/>
                <a:gd name="T6" fmla="*/ 0 w 315"/>
                <a:gd name="T7" fmla="*/ 4 h 37"/>
                <a:gd name="T8" fmla="*/ 4 w 315"/>
                <a:gd name="T9" fmla="*/ 0 h 37"/>
                <a:gd name="T10" fmla="*/ 311 w 315"/>
                <a:gd name="T11" fmla="*/ 0 h 37"/>
                <a:gd name="T12" fmla="*/ 315 w 315"/>
                <a:gd name="T13" fmla="*/ 4 h 37"/>
                <a:gd name="T14" fmla="*/ 315 w 315"/>
                <a:gd name="T15" fmla="*/ 12 h 37"/>
                <a:gd name="T16" fmla="*/ 290 w 315"/>
                <a:gd name="T17" fmla="*/ 37 h 37"/>
                <a:gd name="T18" fmla="*/ 8 w 315"/>
                <a:gd name="T19" fmla="*/ 8 h 37"/>
                <a:gd name="T20" fmla="*/ 8 w 315"/>
                <a:gd name="T21" fmla="*/ 12 h 37"/>
                <a:gd name="T22" fmla="*/ 25 w 315"/>
                <a:gd name="T23" fmla="*/ 29 h 37"/>
                <a:gd name="T24" fmla="*/ 290 w 315"/>
                <a:gd name="T25" fmla="*/ 29 h 37"/>
                <a:gd name="T26" fmla="*/ 306 w 315"/>
                <a:gd name="T27" fmla="*/ 12 h 37"/>
                <a:gd name="T28" fmla="*/ 306 w 315"/>
                <a:gd name="T29" fmla="*/ 8 h 37"/>
                <a:gd name="T30" fmla="*/ 8 w 315"/>
                <a:gd name="T31" fmla="*/ 8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15" h="37">
                  <a:moveTo>
                    <a:pt x="290" y="37"/>
                  </a:moveTo>
                  <a:cubicBezTo>
                    <a:pt x="25" y="37"/>
                    <a:pt x="25" y="37"/>
                    <a:pt x="25" y="37"/>
                  </a:cubicBezTo>
                  <a:cubicBezTo>
                    <a:pt x="11" y="37"/>
                    <a:pt x="0" y="26"/>
                    <a:pt x="0" y="1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4" y="0"/>
                  </a:cubicBezTo>
                  <a:cubicBezTo>
                    <a:pt x="311" y="0"/>
                    <a:pt x="311" y="0"/>
                    <a:pt x="311" y="0"/>
                  </a:cubicBezTo>
                  <a:cubicBezTo>
                    <a:pt x="313" y="0"/>
                    <a:pt x="315" y="2"/>
                    <a:pt x="315" y="4"/>
                  </a:cubicBezTo>
                  <a:cubicBezTo>
                    <a:pt x="315" y="12"/>
                    <a:pt x="315" y="12"/>
                    <a:pt x="315" y="12"/>
                  </a:cubicBezTo>
                  <a:cubicBezTo>
                    <a:pt x="315" y="26"/>
                    <a:pt x="303" y="37"/>
                    <a:pt x="290" y="37"/>
                  </a:cubicBezTo>
                  <a:close/>
                  <a:moveTo>
                    <a:pt x="8" y="8"/>
                  </a:moveTo>
                  <a:cubicBezTo>
                    <a:pt x="8" y="12"/>
                    <a:pt x="8" y="12"/>
                    <a:pt x="8" y="12"/>
                  </a:cubicBezTo>
                  <a:cubicBezTo>
                    <a:pt x="8" y="21"/>
                    <a:pt x="15" y="29"/>
                    <a:pt x="25" y="29"/>
                  </a:cubicBezTo>
                  <a:cubicBezTo>
                    <a:pt x="290" y="29"/>
                    <a:pt x="290" y="29"/>
                    <a:pt x="290" y="29"/>
                  </a:cubicBezTo>
                  <a:cubicBezTo>
                    <a:pt x="299" y="29"/>
                    <a:pt x="306" y="21"/>
                    <a:pt x="306" y="12"/>
                  </a:cubicBezTo>
                  <a:cubicBezTo>
                    <a:pt x="306" y="8"/>
                    <a:pt x="306" y="8"/>
                    <a:pt x="306" y="8"/>
                  </a:cubicBezTo>
                  <a:lnTo>
                    <a:pt x="8" y="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5" name="Freeform 30">
              <a:extLst>
                <a:ext uri="{FF2B5EF4-FFF2-40B4-BE49-F238E27FC236}">
                  <a16:creationId xmlns:a16="http://schemas.microsoft.com/office/drawing/2014/main" id="{0EF39ED5-5447-2A20-70CB-760B826E75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911251" y="1480506"/>
              <a:ext cx="105985" cy="105985"/>
            </a:xfrm>
            <a:custGeom>
              <a:avLst/>
              <a:gdLst>
                <a:gd name="T0" fmla="*/ 38 w 42"/>
                <a:gd name="T1" fmla="*/ 43 h 43"/>
                <a:gd name="T2" fmla="*/ 5 w 42"/>
                <a:gd name="T3" fmla="*/ 43 h 43"/>
                <a:gd name="T4" fmla="*/ 0 w 42"/>
                <a:gd name="T5" fmla="*/ 39 h 43"/>
                <a:gd name="T6" fmla="*/ 0 w 42"/>
                <a:gd name="T7" fmla="*/ 4 h 43"/>
                <a:gd name="T8" fmla="*/ 5 w 42"/>
                <a:gd name="T9" fmla="*/ 0 h 43"/>
                <a:gd name="T10" fmla="*/ 38 w 42"/>
                <a:gd name="T11" fmla="*/ 0 h 43"/>
                <a:gd name="T12" fmla="*/ 42 w 42"/>
                <a:gd name="T13" fmla="*/ 4 h 43"/>
                <a:gd name="T14" fmla="*/ 42 w 42"/>
                <a:gd name="T15" fmla="*/ 39 h 43"/>
                <a:gd name="T16" fmla="*/ 38 w 42"/>
                <a:gd name="T17" fmla="*/ 43 h 43"/>
                <a:gd name="T18" fmla="*/ 9 w 42"/>
                <a:gd name="T19" fmla="*/ 35 h 43"/>
                <a:gd name="T20" fmla="*/ 34 w 42"/>
                <a:gd name="T21" fmla="*/ 35 h 43"/>
                <a:gd name="T22" fmla="*/ 34 w 42"/>
                <a:gd name="T23" fmla="*/ 8 h 43"/>
                <a:gd name="T24" fmla="*/ 9 w 42"/>
                <a:gd name="T25" fmla="*/ 8 h 43"/>
                <a:gd name="T26" fmla="*/ 9 w 42"/>
                <a:gd name="T27" fmla="*/ 35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2" h="43">
                  <a:moveTo>
                    <a:pt x="38" y="43"/>
                  </a:moveTo>
                  <a:cubicBezTo>
                    <a:pt x="5" y="43"/>
                    <a:pt x="5" y="43"/>
                    <a:pt x="5" y="43"/>
                  </a:cubicBezTo>
                  <a:cubicBezTo>
                    <a:pt x="2" y="43"/>
                    <a:pt x="0" y="42"/>
                    <a:pt x="0" y="39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40" y="0"/>
                    <a:pt x="42" y="2"/>
                    <a:pt x="42" y="4"/>
                  </a:cubicBezTo>
                  <a:cubicBezTo>
                    <a:pt x="42" y="39"/>
                    <a:pt x="42" y="39"/>
                    <a:pt x="42" y="39"/>
                  </a:cubicBezTo>
                  <a:cubicBezTo>
                    <a:pt x="42" y="42"/>
                    <a:pt x="40" y="43"/>
                    <a:pt x="38" y="43"/>
                  </a:cubicBezTo>
                  <a:close/>
                  <a:moveTo>
                    <a:pt x="9" y="35"/>
                  </a:moveTo>
                  <a:cubicBezTo>
                    <a:pt x="34" y="35"/>
                    <a:pt x="34" y="35"/>
                    <a:pt x="34" y="35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9" y="8"/>
                    <a:pt x="9" y="8"/>
                    <a:pt x="9" y="8"/>
                  </a:cubicBezTo>
                  <a:lnTo>
                    <a:pt x="9" y="3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6" name="Freeform 31">
              <a:extLst>
                <a:ext uri="{FF2B5EF4-FFF2-40B4-BE49-F238E27FC236}">
                  <a16:creationId xmlns:a16="http://schemas.microsoft.com/office/drawing/2014/main" id="{40EA0829-A2FD-5615-83F5-B793C3993322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88703" y="1566111"/>
              <a:ext cx="260886" cy="20383"/>
            </a:xfrm>
            <a:custGeom>
              <a:avLst/>
              <a:gdLst>
                <a:gd name="T0" fmla="*/ 100 w 104"/>
                <a:gd name="T1" fmla="*/ 8 h 8"/>
                <a:gd name="T2" fmla="*/ 4 w 104"/>
                <a:gd name="T3" fmla="*/ 8 h 8"/>
                <a:gd name="T4" fmla="*/ 0 w 104"/>
                <a:gd name="T5" fmla="*/ 4 h 8"/>
                <a:gd name="T6" fmla="*/ 4 w 104"/>
                <a:gd name="T7" fmla="*/ 0 h 8"/>
                <a:gd name="T8" fmla="*/ 100 w 104"/>
                <a:gd name="T9" fmla="*/ 0 h 8"/>
                <a:gd name="T10" fmla="*/ 104 w 104"/>
                <a:gd name="T11" fmla="*/ 4 h 8"/>
                <a:gd name="T12" fmla="*/ 100 w 104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4" h="8">
                  <a:moveTo>
                    <a:pt x="100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7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3" y="0"/>
                    <a:pt x="104" y="2"/>
                    <a:pt x="104" y="4"/>
                  </a:cubicBezTo>
                  <a:cubicBezTo>
                    <a:pt x="104" y="7"/>
                    <a:pt x="103" y="8"/>
                    <a:pt x="10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7" name="Freeform 32">
              <a:extLst>
                <a:ext uri="{FF2B5EF4-FFF2-40B4-BE49-F238E27FC236}">
                  <a16:creationId xmlns:a16="http://schemas.microsoft.com/office/drawing/2014/main" id="{F996EB38-2E0F-92CA-7C9E-1AE083C0AEC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029467" y="1028033"/>
              <a:ext cx="269039" cy="264964"/>
            </a:xfrm>
            <a:custGeom>
              <a:avLst/>
              <a:gdLst>
                <a:gd name="T0" fmla="*/ 53 w 106"/>
                <a:gd name="T1" fmla="*/ 106 h 106"/>
                <a:gd name="T2" fmla="*/ 0 w 106"/>
                <a:gd name="T3" fmla="*/ 53 h 106"/>
                <a:gd name="T4" fmla="*/ 53 w 106"/>
                <a:gd name="T5" fmla="*/ 0 h 106"/>
                <a:gd name="T6" fmla="*/ 106 w 106"/>
                <a:gd name="T7" fmla="*/ 53 h 106"/>
                <a:gd name="T8" fmla="*/ 53 w 106"/>
                <a:gd name="T9" fmla="*/ 106 h 106"/>
                <a:gd name="T10" fmla="*/ 53 w 106"/>
                <a:gd name="T11" fmla="*/ 8 h 106"/>
                <a:gd name="T12" fmla="*/ 8 w 106"/>
                <a:gd name="T13" fmla="*/ 53 h 106"/>
                <a:gd name="T14" fmla="*/ 53 w 106"/>
                <a:gd name="T15" fmla="*/ 97 h 106"/>
                <a:gd name="T16" fmla="*/ 97 w 106"/>
                <a:gd name="T17" fmla="*/ 53 h 106"/>
                <a:gd name="T18" fmla="*/ 53 w 106"/>
                <a:gd name="T19" fmla="*/ 8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6" h="106">
                  <a:moveTo>
                    <a:pt x="53" y="106"/>
                  </a:moveTo>
                  <a:cubicBezTo>
                    <a:pt x="24" y="106"/>
                    <a:pt x="0" y="82"/>
                    <a:pt x="0" y="53"/>
                  </a:cubicBezTo>
                  <a:cubicBezTo>
                    <a:pt x="0" y="24"/>
                    <a:pt x="24" y="0"/>
                    <a:pt x="53" y="0"/>
                  </a:cubicBezTo>
                  <a:cubicBezTo>
                    <a:pt x="82" y="0"/>
                    <a:pt x="106" y="24"/>
                    <a:pt x="106" y="53"/>
                  </a:cubicBezTo>
                  <a:cubicBezTo>
                    <a:pt x="106" y="82"/>
                    <a:pt x="82" y="106"/>
                    <a:pt x="53" y="106"/>
                  </a:cubicBezTo>
                  <a:close/>
                  <a:moveTo>
                    <a:pt x="53" y="8"/>
                  </a:moveTo>
                  <a:cubicBezTo>
                    <a:pt x="28" y="8"/>
                    <a:pt x="8" y="28"/>
                    <a:pt x="8" y="53"/>
                  </a:cubicBezTo>
                  <a:cubicBezTo>
                    <a:pt x="8" y="77"/>
                    <a:pt x="28" y="97"/>
                    <a:pt x="53" y="97"/>
                  </a:cubicBezTo>
                  <a:cubicBezTo>
                    <a:pt x="78" y="97"/>
                    <a:pt x="97" y="77"/>
                    <a:pt x="97" y="53"/>
                  </a:cubicBezTo>
                  <a:cubicBezTo>
                    <a:pt x="97" y="28"/>
                    <a:pt x="78" y="8"/>
                    <a:pt x="53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8" name="Freeform 33">
              <a:extLst>
                <a:ext uri="{FF2B5EF4-FFF2-40B4-BE49-F238E27FC236}">
                  <a16:creationId xmlns:a16="http://schemas.microsoft.com/office/drawing/2014/main" id="{CC1A59FB-EE37-FD70-363E-F4C5C171E9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833802" y="1219620"/>
              <a:ext cx="146749" cy="146748"/>
            </a:xfrm>
            <a:custGeom>
              <a:avLst/>
              <a:gdLst>
                <a:gd name="T0" fmla="*/ 45 w 58"/>
                <a:gd name="T1" fmla="*/ 58 h 58"/>
                <a:gd name="T2" fmla="*/ 36 w 58"/>
                <a:gd name="T3" fmla="*/ 54 h 58"/>
                <a:gd name="T4" fmla="*/ 36 w 58"/>
                <a:gd name="T5" fmla="*/ 54 h 58"/>
                <a:gd name="T6" fmla="*/ 2 w 58"/>
                <a:gd name="T7" fmla="*/ 20 h 58"/>
                <a:gd name="T8" fmla="*/ 2 w 58"/>
                <a:gd name="T9" fmla="*/ 14 h 58"/>
                <a:gd name="T10" fmla="*/ 14 w 58"/>
                <a:gd name="T11" fmla="*/ 2 h 58"/>
                <a:gd name="T12" fmla="*/ 20 w 58"/>
                <a:gd name="T13" fmla="*/ 2 h 58"/>
                <a:gd name="T14" fmla="*/ 54 w 58"/>
                <a:gd name="T15" fmla="*/ 36 h 58"/>
                <a:gd name="T16" fmla="*/ 58 w 58"/>
                <a:gd name="T17" fmla="*/ 44 h 58"/>
                <a:gd name="T18" fmla="*/ 54 w 58"/>
                <a:gd name="T19" fmla="*/ 53 h 58"/>
                <a:gd name="T20" fmla="*/ 53 w 58"/>
                <a:gd name="T21" fmla="*/ 54 h 58"/>
                <a:gd name="T22" fmla="*/ 45 w 58"/>
                <a:gd name="T23" fmla="*/ 58 h 58"/>
                <a:gd name="T24" fmla="*/ 41 w 58"/>
                <a:gd name="T25" fmla="*/ 48 h 58"/>
                <a:gd name="T26" fmla="*/ 48 w 58"/>
                <a:gd name="T27" fmla="*/ 48 h 58"/>
                <a:gd name="T28" fmla="*/ 48 w 58"/>
                <a:gd name="T29" fmla="*/ 48 h 58"/>
                <a:gd name="T30" fmla="*/ 49 w 58"/>
                <a:gd name="T31" fmla="*/ 44 h 58"/>
                <a:gd name="T32" fmla="*/ 48 w 58"/>
                <a:gd name="T33" fmla="*/ 41 h 58"/>
                <a:gd name="T34" fmla="*/ 17 w 58"/>
                <a:gd name="T35" fmla="*/ 10 h 58"/>
                <a:gd name="T36" fmla="*/ 10 w 58"/>
                <a:gd name="T37" fmla="*/ 17 h 58"/>
                <a:gd name="T38" fmla="*/ 41 w 58"/>
                <a:gd name="T39" fmla="*/ 4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8" h="58">
                  <a:moveTo>
                    <a:pt x="45" y="58"/>
                  </a:moveTo>
                  <a:cubicBezTo>
                    <a:pt x="41" y="58"/>
                    <a:pt x="38" y="56"/>
                    <a:pt x="36" y="54"/>
                  </a:cubicBezTo>
                  <a:cubicBezTo>
                    <a:pt x="36" y="54"/>
                    <a:pt x="36" y="54"/>
                    <a:pt x="36" y="54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0" y="18"/>
                    <a:pt x="0" y="16"/>
                    <a:pt x="2" y="14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6" y="0"/>
                    <a:pt x="18" y="0"/>
                    <a:pt x="20" y="2"/>
                  </a:cubicBezTo>
                  <a:cubicBezTo>
                    <a:pt x="54" y="36"/>
                    <a:pt x="54" y="36"/>
                    <a:pt x="54" y="36"/>
                  </a:cubicBezTo>
                  <a:cubicBezTo>
                    <a:pt x="56" y="38"/>
                    <a:pt x="58" y="41"/>
                    <a:pt x="58" y="44"/>
                  </a:cubicBezTo>
                  <a:cubicBezTo>
                    <a:pt x="58" y="48"/>
                    <a:pt x="56" y="51"/>
                    <a:pt x="54" y="53"/>
                  </a:cubicBezTo>
                  <a:cubicBezTo>
                    <a:pt x="53" y="54"/>
                    <a:pt x="53" y="54"/>
                    <a:pt x="53" y="54"/>
                  </a:cubicBezTo>
                  <a:cubicBezTo>
                    <a:pt x="51" y="56"/>
                    <a:pt x="48" y="58"/>
                    <a:pt x="45" y="58"/>
                  </a:cubicBezTo>
                  <a:close/>
                  <a:moveTo>
                    <a:pt x="41" y="48"/>
                  </a:moveTo>
                  <a:cubicBezTo>
                    <a:pt x="43" y="50"/>
                    <a:pt x="46" y="50"/>
                    <a:pt x="48" y="48"/>
                  </a:cubicBezTo>
                  <a:cubicBezTo>
                    <a:pt x="48" y="48"/>
                    <a:pt x="48" y="48"/>
                    <a:pt x="48" y="48"/>
                  </a:cubicBezTo>
                  <a:cubicBezTo>
                    <a:pt x="49" y="47"/>
                    <a:pt x="49" y="46"/>
                    <a:pt x="49" y="44"/>
                  </a:cubicBezTo>
                  <a:cubicBezTo>
                    <a:pt x="49" y="43"/>
                    <a:pt x="49" y="42"/>
                    <a:pt x="48" y="41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0" y="17"/>
                    <a:pt x="10" y="17"/>
                    <a:pt x="10" y="17"/>
                  </a:cubicBezTo>
                  <a:lnTo>
                    <a:pt x="41" y="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9" name="Freeform 34">
              <a:extLst>
                <a:ext uri="{FF2B5EF4-FFF2-40B4-BE49-F238E27FC236}">
                  <a16:creationId xmlns:a16="http://schemas.microsoft.com/office/drawing/2014/main" id="{EC6A779B-E50D-A85D-C144-F55B9B03DB67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56092" y="1117713"/>
              <a:ext cx="126368" cy="89680"/>
            </a:xfrm>
            <a:custGeom>
              <a:avLst/>
              <a:gdLst>
                <a:gd name="T0" fmla="*/ 19 w 50"/>
                <a:gd name="T1" fmla="*/ 35 h 35"/>
                <a:gd name="T2" fmla="*/ 16 w 50"/>
                <a:gd name="T3" fmla="*/ 34 h 35"/>
                <a:gd name="T4" fmla="*/ 2 w 50"/>
                <a:gd name="T5" fmla="*/ 20 h 35"/>
                <a:gd name="T6" fmla="*/ 2 w 50"/>
                <a:gd name="T7" fmla="*/ 14 h 35"/>
                <a:gd name="T8" fmla="*/ 8 w 50"/>
                <a:gd name="T9" fmla="*/ 14 h 35"/>
                <a:gd name="T10" fmla="*/ 19 w 50"/>
                <a:gd name="T11" fmla="*/ 25 h 35"/>
                <a:gd name="T12" fmla="*/ 42 w 50"/>
                <a:gd name="T13" fmla="*/ 1 h 35"/>
                <a:gd name="T14" fmla="*/ 48 w 50"/>
                <a:gd name="T15" fmla="*/ 1 h 35"/>
                <a:gd name="T16" fmla="*/ 48 w 50"/>
                <a:gd name="T17" fmla="*/ 7 h 35"/>
                <a:gd name="T18" fmla="*/ 21 w 50"/>
                <a:gd name="T19" fmla="*/ 34 h 35"/>
                <a:gd name="T20" fmla="*/ 19 w 50"/>
                <a:gd name="T21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0" h="35">
                  <a:moveTo>
                    <a:pt x="19" y="35"/>
                  </a:moveTo>
                  <a:cubicBezTo>
                    <a:pt x="17" y="35"/>
                    <a:pt x="16" y="34"/>
                    <a:pt x="16" y="34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0" y="18"/>
                    <a:pt x="0" y="16"/>
                    <a:pt x="2" y="14"/>
                  </a:cubicBezTo>
                  <a:cubicBezTo>
                    <a:pt x="4" y="13"/>
                    <a:pt x="6" y="13"/>
                    <a:pt x="8" y="14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4" y="0"/>
                    <a:pt x="46" y="0"/>
                    <a:pt x="48" y="1"/>
                  </a:cubicBezTo>
                  <a:cubicBezTo>
                    <a:pt x="50" y="3"/>
                    <a:pt x="50" y="5"/>
                    <a:pt x="48" y="7"/>
                  </a:cubicBezTo>
                  <a:cubicBezTo>
                    <a:pt x="21" y="34"/>
                    <a:pt x="21" y="34"/>
                    <a:pt x="21" y="34"/>
                  </a:cubicBezTo>
                  <a:cubicBezTo>
                    <a:pt x="21" y="34"/>
                    <a:pt x="20" y="35"/>
                    <a:pt x="19" y="3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6" name="Shape7_20200717_154352">
            <a:extLst>
              <a:ext uri="{FF2B5EF4-FFF2-40B4-BE49-F238E27FC236}">
                <a16:creationId xmlns:a16="http://schemas.microsoft.com/office/drawing/2014/main" id="{55CC8A3A-E9B7-48D4-A347-05A31F3EAAAA}"/>
              </a:ext>
            </a:extLst>
          </p:cNvPr>
          <p:cNvGrpSpPr>
            <a:grpSpLocks noChangeAspect="1"/>
          </p:cNvGrpSpPr>
          <p:nvPr/>
        </p:nvGrpSpPr>
        <p:grpSpPr>
          <a:xfrm>
            <a:off x="5851000" y="1210800"/>
            <a:ext cx="586997" cy="635912"/>
            <a:chOff x="-3488800" y="958734"/>
            <a:chExt cx="586997" cy="635912"/>
          </a:xfrm>
          <a:solidFill>
            <a:schemeClr val="accent1"/>
          </a:solidFill>
        </p:grpSpPr>
        <p:sp>
          <p:nvSpPr>
            <p:cNvPr id="264" name="Freeform 35">
              <a:extLst>
                <a:ext uri="{FF2B5EF4-FFF2-40B4-BE49-F238E27FC236}">
                  <a16:creationId xmlns:a16="http://schemas.microsoft.com/office/drawing/2014/main" id="{A1A0792A-C61E-7FD4-1484-A3D8681109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350204" y="1101407"/>
              <a:ext cx="309802" cy="493239"/>
            </a:xfrm>
            <a:custGeom>
              <a:avLst/>
              <a:gdLst>
                <a:gd name="T0" fmla="*/ 61 w 123"/>
                <a:gd name="T1" fmla="*/ 196 h 196"/>
                <a:gd name="T2" fmla="*/ 35 w 123"/>
                <a:gd name="T3" fmla="*/ 171 h 196"/>
                <a:gd name="T4" fmla="*/ 35 w 123"/>
                <a:gd name="T5" fmla="*/ 168 h 196"/>
                <a:gd name="T6" fmla="*/ 12 w 123"/>
                <a:gd name="T7" fmla="*/ 96 h 196"/>
                <a:gd name="T8" fmla="*/ 2 w 123"/>
                <a:gd name="T9" fmla="*/ 56 h 196"/>
                <a:gd name="T10" fmla="*/ 56 w 123"/>
                <a:gd name="T11" fmla="*/ 2 h 196"/>
                <a:gd name="T12" fmla="*/ 103 w 123"/>
                <a:gd name="T13" fmla="*/ 17 h 196"/>
                <a:gd name="T14" fmla="*/ 123 w 123"/>
                <a:gd name="T15" fmla="*/ 62 h 196"/>
                <a:gd name="T16" fmla="*/ 112 w 123"/>
                <a:gd name="T17" fmla="*/ 97 h 196"/>
                <a:gd name="T18" fmla="*/ 88 w 123"/>
                <a:gd name="T19" fmla="*/ 171 h 196"/>
                <a:gd name="T20" fmla="*/ 61 w 123"/>
                <a:gd name="T21" fmla="*/ 196 h 196"/>
                <a:gd name="T22" fmla="*/ 63 w 123"/>
                <a:gd name="T23" fmla="*/ 10 h 196"/>
                <a:gd name="T24" fmla="*/ 56 w 123"/>
                <a:gd name="T25" fmla="*/ 10 h 196"/>
                <a:gd name="T26" fmla="*/ 10 w 123"/>
                <a:gd name="T27" fmla="*/ 56 h 196"/>
                <a:gd name="T28" fmla="*/ 19 w 123"/>
                <a:gd name="T29" fmla="*/ 92 h 196"/>
                <a:gd name="T30" fmla="*/ 43 w 123"/>
                <a:gd name="T31" fmla="*/ 168 h 196"/>
                <a:gd name="T32" fmla="*/ 44 w 123"/>
                <a:gd name="T33" fmla="*/ 171 h 196"/>
                <a:gd name="T34" fmla="*/ 61 w 123"/>
                <a:gd name="T35" fmla="*/ 188 h 196"/>
                <a:gd name="T36" fmla="*/ 79 w 123"/>
                <a:gd name="T37" fmla="*/ 171 h 196"/>
                <a:gd name="T38" fmla="*/ 106 w 123"/>
                <a:gd name="T39" fmla="*/ 93 h 196"/>
                <a:gd name="T40" fmla="*/ 115 w 123"/>
                <a:gd name="T41" fmla="*/ 62 h 196"/>
                <a:gd name="T42" fmla="*/ 98 w 123"/>
                <a:gd name="T43" fmla="*/ 23 h 196"/>
                <a:gd name="T44" fmla="*/ 63 w 123"/>
                <a:gd name="T45" fmla="*/ 10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3" h="196">
                  <a:moveTo>
                    <a:pt x="61" y="196"/>
                  </a:moveTo>
                  <a:cubicBezTo>
                    <a:pt x="47" y="196"/>
                    <a:pt x="36" y="185"/>
                    <a:pt x="35" y="171"/>
                  </a:cubicBezTo>
                  <a:cubicBezTo>
                    <a:pt x="35" y="168"/>
                    <a:pt x="35" y="168"/>
                    <a:pt x="35" y="168"/>
                  </a:cubicBezTo>
                  <a:cubicBezTo>
                    <a:pt x="34" y="143"/>
                    <a:pt x="26" y="118"/>
                    <a:pt x="12" y="96"/>
                  </a:cubicBezTo>
                  <a:cubicBezTo>
                    <a:pt x="4" y="84"/>
                    <a:pt x="0" y="70"/>
                    <a:pt x="2" y="56"/>
                  </a:cubicBezTo>
                  <a:cubicBezTo>
                    <a:pt x="5" y="28"/>
                    <a:pt x="28" y="5"/>
                    <a:pt x="56" y="2"/>
                  </a:cubicBezTo>
                  <a:cubicBezTo>
                    <a:pt x="73" y="0"/>
                    <a:pt x="90" y="5"/>
                    <a:pt x="103" y="17"/>
                  </a:cubicBezTo>
                  <a:cubicBezTo>
                    <a:pt x="116" y="29"/>
                    <a:pt x="123" y="45"/>
                    <a:pt x="123" y="62"/>
                  </a:cubicBezTo>
                  <a:cubicBezTo>
                    <a:pt x="123" y="75"/>
                    <a:pt x="120" y="87"/>
                    <a:pt x="112" y="97"/>
                  </a:cubicBezTo>
                  <a:cubicBezTo>
                    <a:pt x="97" y="119"/>
                    <a:pt x="89" y="145"/>
                    <a:pt x="88" y="171"/>
                  </a:cubicBezTo>
                  <a:cubicBezTo>
                    <a:pt x="87" y="185"/>
                    <a:pt x="76" y="196"/>
                    <a:pt x="61" y="196"/>
                  </a:cubicBezTo>
                  <a:close/>
                  <a:moveTo>
                    <a:pt x="63" y="10"/>
                  </a:moveTo>
                  <a:cubicBezTo>
                    <a:pt x="61" y="10"/>
                    <a:pt x="58" y="10"/>
                    <a:pt x="56" y="10"/>
                  </a:cubicBezTo>
                  <a:cubicBezTo>
                    <a:pt x="32" y="13"/>
                    <a:pt x="13" y="32"/>
                    <a:pt x="10" y="56"/>
                  </a:cubicBezTo>
                  <a:cubicBezTo>
                    <a:pt x="9" y="69"/>
                    <a:pt x="12" y="81"/>
                    <a:pt x="19" y="92"/>
                  </a:cubicBezTo>
                  <a:cubicBezTo>
                    <a:pt x="34" y="114"/>
                    <a:pt x="42" y="141"/>
                    <a:pt x="43" y="168"/>
                  </a:cubicBezTo>
                  <a:cubicBezTo>
                    <a:pt x="44" y="171"/>
                    <a:pt x="44" y="171"/>
                    <a:pt x="44" y="171"/>
                  </a:cubicBezTo>
                  <a:cubicBezTo>
                    <a:pt x="44" y="180"/>
                    <a:pt x="52" y="188"/>
                    <a:pt x="61" y="188"/>
                  </a:cubicBezTo>
                  <a:cubicBezTo>
                    <a:pt x="71" y="188"/>
                    <a:pt x="79" y="180"/>
                    <a:pt x="79" y="171"/>
                  </a:cubicBezTo>
                  <a:cubicBezTo>
                    <a:pt x="80" y="143"/>
                    <a:pt x="90" y="116"/>
                    <a:pt x="106" y="93"/>
                  </a:cubicBezTo>
                  <a:cubicBezTo>
                    <a:pt x="112" y="84"/>
                    <a:pt x="115" y="73"/>
                    <a:pt x="115" y="62"/>
                  </a:cubicBezTo>
                  <a:cubicBezTo>
                    <a:pt x="115" y="48"/>
                    <a:pt x="109" y="33"/>
                    <a:pt x="98" y="23"/>
                  </a:cubicBezTo>
                  <a:cubicBezTo>
                    <a:pt x="88" y="14"/>
                    <a:pt x="76" y="10"/>
                    <a:pt x="6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5" name="Freeform 36">
              <a:extLst>
                <a:ext uri="{FF2B5EF4-FFF2-40B4-BE49-F238E27FC236}">
                  <a16:creationId xmlns:a16="http://schemas.microsoft.com/office/drawing/2014/main" id="{E52E570D-C52B-61D2-AED3-E2FBAC70B42B}"/>
                </a:ext>
              </a:extLst>
            </p:cNvPr>
            <p:cNvSpPr>
              <a:spLocks/>
            </p:cNvSpPr>
            <p:nvPr/>
          </p:nvSpPr>
          <p:spPr bwMode="auto">
            <a:xfrm>
              <a:off x="-3264599" y="1447895"/>
              <a:ext cx="138596" cy="32611"/>
            </a:xfrm>
            <a:custGeom>
              <a:avLst/>
              <a:gdLst>
                <a:gd name="T0" fmla="*/ 28 w 56"/>
                <a:gd name="T1" fmla="*/ 14 h 14"/>
                <a:gd name="T2" fmla="*/ 2 w 56"/>
                <a:gd name="T3" fmla="*/ 8 h 14"/>
                <a:gd name="T4" fmla="*/ 1 w 56"/>
                <a:gd name="T5" fmla="*/ 2 h 14"/>
                <a:gd name="T6" fmla="*/ 6 w 56"/>
                <a:gd name="T7" fmla="*/ 1 h 14"/>
                <a:gd name="T8" fmla="*/ 6 w 56"/>
                <a:gd name="T9" fmla="*/ 1 h 14"/>
                <a:gd name="T10" fmla="*/ 50 w 56"/>
                <a:gd name="T11" fmla="*/ 1 h 14"/>
                <a:gd name="T12" fmla="*/ 55 w 56"/>
                <a:gd name="T13" fmla="*/ 3 h 14"/>
                <a:gd name="T14" fmla="*/ 53 w 56"/>
                <a:gd name="T15" fmla="*/ 8 h 14"/>
                <a:gd name="T16" fmla="*/ 28 w 56"/>
                <a:gd name="T17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14">
                  <a:moveTo>
                    <a:pt x="28" y="14"/>
                  </a:moveTo>
                  <a:cubicBezTo>
                    <a:pt x="13" y="14"/>
                    <a:pt x="3" y="8"/>
                    <a:pt x="2" y="8"/>
                  </a:cubicBezTo>
                  <a:cubicBezTo>
                    <a:pt x="0" y="7"/>
                    <a:pt x="0" y="4"/>
                    <a:pt x="1" y="2"/>
                  </a:cubicBezTo>
                  <a:cubicBezTo>
                    <a:pt x="2" y="0"/>
                    <a:pt x="4" y="0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7" y="1"/>
                    <a:pt x="26" y="12"/>
                    <a:pt x="50" y="1"/>
                  </a:cubicBezTo>
                  <a:cubicBezTo>
                    <a:pt x="52" y="0"/>
                    <a:pt x="54" y="1"/>
                    <a:pt x="55" y="3"/>
                  </a:cubicBezTo>
                  <a:cubicBezTo>
                    <a:pt x="56" y="5"/>
                    <a:pt x="55" y="7"/>
                    <a:pt x="53" y="8"/>
                  </a:cubicBezTo>
                  <a:cubicBezTo>
                    <a:pt x="44" y="12"/>
                    <a:pt x="35" y="14"/>
                    <a:pt x="28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6" name="Freeform 37">
              <a:extLst>
                <a:ext uri="{FF2B5EF4-FFF2-40B4-BE49-F238E27FC236}">
                  <a16:creationId xmlns:a16="http://schemas.microsoft.com/office/drawing/2014/main" id="{F41227A7-FDBC-6590-1CCC-0BE3DAE42E6C}"/>
                </a:ext>
              </a:extLst>
            </p:cNvPr>
            <p:cNvSpPr>
              <a:spLocks/>
            </p:cNvSpPr>
            <p:nvPr/>
          </p:nvSpPr>
          <p:spPr bwMode="auto">
            <a:xfrm>
              <a:off x="-3203455" y="958734"/>
              <a:ext cx="20383" cy="101910"/>
            </a:xfrm>
            <a:custGeom>
              <a:avLst/>
              <a:gdLst>
                <a:gd name="T0" fmla="*/ 4 w 9"/>
                <a:gd name="T1" fmla="*/ 41 h 41"/>
                <a:gd name="T2" fmla="*/ 0 w 9"/>
                <a:gd name="T3" fmla="*/ 37 h 41"/>
                <a:gd name="T4" fmla="*/ 0 w 9"/>
                <a:gd name="T5" fmla="*/ 4 h 41"/>
                <a:gd name="T6" fmla="*/ 4 w 9"/>
                <a:gd name="T7" fmla="*/ 0 h 41"/>
                <a:gd name="T8" fmla="*/ 9 w 9"/>
                <a:gd name="T9" fmla="*/ 4 h 41"/>
                <a:gd name="T10" fmla="*/ 9 w 9"/>
                <a:gd name="T11" fmla="*/ 37 h 41"/>
                <a:gd name="T12" fmla="*/ 4 w 9"/>
                <a:gd name="T13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41">
                  <a:moveTo>
                    <a:pt x="4" y="41"/>
                  </a:moveTo>
                  <a:cubicBezTo>
                    <a:pt x="2" y="41"/>
                    <a:pt x="0" y="40"/>
                    <a:pt x="0" y="37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9" y="40"/>
                    <a:pt x="7" y="41"/>
                    <a:pt x="4" y="4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7" name="Freeform 38">
              <a:extLst>
                <a:ext uri="{FF2B5EF4-FFF2-40B4-BE49-F238E27FC236}">
                  <a16:creationId xmlns:a16="http://schemas.microsoft.com/office/drawing/2014/main" id="{5F7342A6-FCE4-A9EF-CFFB-AB3EA796564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390967" y="1023955"/>
              <a:ext cx="77452" cy="85605"/>
            </a:xfrm>
            <a:custGeom>
              <a:avLst/>
              <a:gdLst>
                <a:gd name="T0" fmla="*/ 25 w 30"/>
                <a:gd name="T1" fmla="*/ 34 h 34"/>
                <a:gd name="T2" fmla="*/ 22 w 30"/>
                <a:gd name="T3" fmla="*/ 33 h 34"/>
                <a:gd name="T4" fmla="*/ 1 w 30"/>
                <a:gd name="T5" fmla="*/ 8 h 34"/>
                <a:gd name="T6" fmla="*/ 1 w 30"/>
                <a:gd name="T7" fmla="*/ 2 h 34"/>
                <a:gd name="T8" fmla="*/ 7 w 30"/>
                <a:gd name="T9" fmla="*/ 2 h 34"/>
                <a:gd name="T10" fmla="*/ 28 w 30"/>
                <a:gd name="T11" fmla="*/ 28 h 34"/>
                <a:gd name="T12" fmla="*/ 28 w 30"/>
                <a:gd name="T13" fmla="*/ 33 h 34"/>
                <a:gd name="T14" fmla="*/ 25 w 30"/>
                <a:gd name="T15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" h="34">
                  <a:moveTo>
                    <a:pt x="25" y="34"/>
                  </a:moveTo>
                  <a:cubicBezTo>
                    <a:pt x="24" y="34"/>
                    <a:pt x="23" y="34"/>
                    <a:pt x="22" y="33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6"/>
                    <a:pt x="0" y="3"/>
                    <a:pt x="1" y="2"/>
                  </a:cubicBezTo>
                  <a:cubicBezTo>
                    <a:pt x="3" y="0"/>
                    <a:pt x="6" y="1"/>
                    <a:pt x="7" y="2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30" y="29"/>
                    <a:pt x="30" y="32"/>
                    <a:pt x="28" y="33"/>
                  </a:cubicBezTo>
                  <a:cubicBezTo>
                    <a:pt x="27" y="34"/>
                    <a:pt x="26" y="34"/>
                    <a:pt x="25" y="3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8" name="Freeform 39">
              <a:extLst>
                <a:ext uri="{FF2B5EF4-FFF2-40B4-BE49-F238E27FC236}">
                  <a16:creationId xmlns:a16="http://schemas.microsoft.com/office/drawing/2014/main" id="{CC22DC40-2580-10BB-7032-8DD960E534EA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88800" y="1195162"/>
              <a:ext cx="105985" cy="36688"/>
            </a:xfrm>
            <a:custGeom>
              <a:avLst/>
              <a:gdLst>
                <a:gd name="T0" fmla="*/ 36 w 41"/>
                <a:gd name="T1" fmla="*/ 14 h 14"/>
                <a:gd name="T2" fmla="*/ 36 w 41"/>
                <a:gd name="T3" fmla="*/ 14 h 14"/>
                <a:gd name="T4" fmla="*/ 3 w 41"/>
                <a:gd name="T5" fmla="*/ 9 h 14"/>
                <a:gd name="T6" fmla="*/ 0 w 41"/>
                <a:gd name="T7" fmla="*/ 4 h 14"/>
                <a:gd name="T8" fmla="*/ 5 w 41"/>
                <a:gd name="T9" fmla="*/ 1 h 14"/>
                <a:gd name="T10" fmla="*/ 37 w 41"/>
                <a:gd name="T11" fmla="*/ 6 h 14"/>
                <a:gd name="T12" fmla="*/ 41 w 41"/>
                <a:gd name="T13" fmla="*/ 11 h 14"/>
                <a:gd name="T14" fmla="*/ 36 w 41"/>
                <a:gd name="T1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" h="14">
                  <a:moveTo>
                    <a:pt x="36" y="14"/>
                  </a:moveTo>
                  <a:cubicBezTo>
                    <a:pt x="36" y="14"/>
                    <a:pt x="36" y="14"/>
                    <a:pt x="36" y="14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1" y="8"/>
                    <a:pt x="0" y="6"/>
                    <a:pt x="0" y="4"/>
                  </a:cubicBezTo>
                  <a:cubicBezTo>
                    <a:pt x="0" y="2"/>
                    <a:pt x="3" y="0"/>
                    <a:pt x="5" y="1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9" y="7"/>
                    <a:pt x="41" y="9"/>
                    <a:pt x="41" y="11"/>
                  </a:cubicBezTo>
                  <a:cubicBezTo>
                    <a:pt x="40" y="13"/>
                    <a:pt x="38" y="14"/>
                    <a:pt x="36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9" name="Freeform 40">
              <a:extLst>
                <a:ext uri="{FF2B5EF4-FFF2-40B4-BE49-F238E27FC236}">
                  <a16:creationId xmlns:a16="http://schemas.microsoft.com/office/drawing/2014/main" id="{9BE53A3E-EB2E-6F8D-2AF7-CF2065F41C5F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56189" y="1345988"/>
              <a:ext cx="97832" cy="65222"/>
            </a:xfrm>
            <a:custGeom>
              <a:avLst/>
              <a:gdLst>
                <a:gd name="T0" fmla="*/ 5 w 38"/>
                <a:gd name="T1" fmla="*/ 26 h 26"/>
                <a:gd name="T2" fmla="*/ 1 w 38"/>
                <a:gd name="T3" fmla="*/ 24 h 26"/>
                <a:gd name="T4" fmla="*/ 3 w 38"/>
                <a:gd name="T5" fmla="*/ 18 h 26"/>
                <a:gd name="T6" fmla="*/ 31 w 38"/>
                <a:gd name="T7" fmla="*/ 2 h 26"/>
                <a:gd name="T8" fmla="*/ 37 w 38"/>
                <a:gd name="T9" fmla="*/ 3 h 26"/>
                <a:gd name="T10" fmla="*/ 35 w 38"/>
                <a:gd name="T11" fmla="*/ 9 h 26"/>
                <a:gd name="T12" fmla="*/ 7 w 38"/>
                <a:gd name="T13" fmla="*/ 25 h 26"/>
                <a:gd name="T14" fmla="*/ 5 w 38"/>
                <a:gd name="T1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26">
                  <a:moveTo>
                    <a:pt x="5" y="26"/>
                  </a:moveTo>
                  <a:cubicBezTo>
                    <a:pt x="3" y="26"/>
                    <a:pt x="2" y="25"/>
                    <a:pt x="1" y="24"/>
                  </a:cubicBezTo>
                  <a:cubicBezTo>
                    <a:pt x="0" y="22"/>
                    <a:pt x="1" y="19"/>
                    <a:pt x="3" y="18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33" y="0"/>
                    <a:pt x="36" y="1"/>
                    <a:pt x="37" y="3"/>
                  </a:cubicBezTo>
                  <a:cubicBezTo>
                    <a:pt x="38" y="5"/>
                    <a:pt x="37" y="8"/>
                    <a:pt x="35" y="9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6" y="25"/>
                    <a:pt x="5" y="26"/>
                    <a:pt x="5" y="2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0" name="Freeform 41">
              <a:extLst>
                <a:ext uri="{FF2B5EF4-FFF2-40B4-BE49-F238E27FC236}">
                  <a16:creationId xmlns:a16="http://schemas.microsoft.com/office/drawing/2014/main" id="{B64C0051-9098-F42B-CBF5-CE150596DF0B}"/>
                </a:ext>
              </a:extLst>
            </p:cNvPr>
            <p:cNvSpPr>
              <a:spLocks/>
            </p:cNvSpPr>
            <p:nvPr/>
          </p:nvSpPr>
          <p:spPr bwMode="auto">
            <a:xfrm>
              <a:off x="-3028171" y="1345988"/>
              <a:ext cx="93757" cy="65222"/>
            </a:xfrm>
            <a:custGeom>
              <a:avLst/>
              <a:gdLst>
                <a:gd name="T0" fmla="*/ 33 w 38"/>
                <a:gd name="T1" fmla="*/ 26 h 26"/>
                <a:gd name="T2" fmla="*/ 31 w 38"/>
                <a:gd name="T3" fmla="*/ 25 h 26"/>
                <a:gd name="T4" fmla="*/ 3 w 38"/>
                <a:gd name="T5" fmla="*/ 9 h 26"/>
                <a:gd name="T6" fmla="*/ 1 w 38"/>
                <a:gd name="T7" fmla="*/ 3 h 26"/>
                <a:gd name="T8" fmla="*/ 7 w 38"/>
                <a:gd name="T9" fmla="*/ 2 h 26"/>
                <a:gd name="T10" fmla="*/ 35 w 38"/>
                <a:gd name="T11" fmla="*/ 18 h 26"/>
                <a:gd name="T12" fmla="*/ 37 w 38"/>
                <a:gd name="T13" fmla="*/ 24 h 26"/>
                <a:gd name="T14" fmla="*/ 33 w 38"/>
                <a:gd name="T1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26">
                  <a:moveTo>
                    <a:pt x="33" y="26"/>
                  </a:moveTo>
                  <a:cubicBezTo>
                    <a:pt x="33" y="26"/>
                    <a:pt x="32" y="25"/>
                    <a:pt x="31" y="25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1" y="8"/>
                    <a:pt x="0" y="5"/>
                    <a:pt x="1" y="3"/>
                  </a:cubicBezTo>
                  <a:cubicBezTo>
                    <a:pt x="2" y="1"/>
                    <a:pt x="5" y="0"/>
                    <a:pt x="7" y="2"/>
                  </a:cubicBezTo>
                  <a:cubicBezTo>
                    <a:pt x="35" y="18"/>
                    <a:pt x="35" y="18"/>
                    <a:pt x="35" y="18"/>
                  </a:cubicBezTo>
                  <a:cubicBezTo>
                    <a:pt x="37" y="19"/>
                    <a:pt x="38" y="22"/>
                    <a:pt x="37" y="24"/>
                  </a:cubicBezTo>
                  <a:cubicBezTo>
                    <a:pt x="36" y="25"/>
                    <a:pt x="35" y="26"/>
                    <a:pt x="33" y="2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1" name="Freeform 42">
              <a:extLst>
                <a:ext uri="{FF2B5EF4-FFF2-40B4-BE49-F238E27FC236}">
                  <a16:creationId xmlns:a16="http://schemas.microsoft.com/office/drawing/2014/main" id="{6650FFAB-1DBB-5C15-0668-F538A0CF3A7A}"/>
                </a:ext>
              </a:extLst>
            </p:cNvPr>
            <p:cNvSpPr>
              <a:spLocks/>
            </p:cNvSpPr>
            <p:nvPr/>
          </p:nvSpPr>
          <p:spPr bwMode="auto">
            <a:xfrm>
              <a:off x="-3003713" y="1195162"/>
              <a:ext cx="101910" cy="36688"/>
            </a:xfrm>
            <a:custGeom>
              <a:avLst/>
              <a:gdLst>
                <a:gd name="T0" fmla="*/ 4 w 41"/>
                <a:gd name="T1" fmla="*/ 14 h 14"/>
                <a:gd name="T2" fmla="*/ 0 w 41"/>
                <a:gd name="T3" fmla="*/ 11 h 14"/>
                <a:gd name="T4" fmla="*/ 4 w 41"/>
                <a:gd name="T5" fmla="*/ 6 h 14"/>
                <a:gd name="T6" fmla="*/ 36 w 41"/>
                <a:gd name="T7" fmla="*/ 1 h 14"/>
                <a:gd name="T8" fmla="*/ 41 w 41"/>
                <a:gd name="T9" fmla="*/ 4 h 14"/>
                <a:gd name="T10" fmla="*/ 38 w 41"/>
                <a:gd name="T11" fmla="*/ 9 h 14"/>
                <a:gd name="T12" fmla="*/ 5 w 41"/>
                <a:gd name="T13" fmla="*/ 14 h 14"/>
                <a:gd name="T14" fmla="*/ 4 w 41"/>
                <a:gd name="T1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" h="14">
                  <a:moveTo>
                    <a:pt x="4" y="14"/>
                  </a:moveTo>
                  <a:cubicBezTo>
                    <a:pt x="3" y="14"/>
                    <a:pt x="1" y="13"/>
                    <a:pt x="0" y="11"/>
                  </a:cubicBezTo>
                  <a:cubicBezTo>
                    <a:pt x="0" y="9"/>
                    <a:pt x="2" y="7"/>
                    <a:pt x="4" y="6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8" y="0"/>
                    <a:pt x="41" y="2"/>
                    <a:pt x="41" y="4"/>
                  </a:cubicBezTo>
                  <a:cubicBezTo>
                    <a:pt x="41" y="6"/>
                    <a:pt x="40" y="8"/>
                    <a:pt x="38" y="9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4"/>
                    <a:pt x="5" y="14"/>
                    <a:pt x="4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2" name="Freeform 43">
              <a:extLst>
                <a:ext uri="{FF2B5EF4-FFF2-40B4-BE49-F238E27FC236}">
                  <a16:creationId xmlns:a16="http://schemas.microsoft.com/office/drawing/2014/main" id="{89DE8D09-885D-5E9F-5AEB-B1F9E655ED13}"/>
                </a:ext>
              </a:extLst>
            </p:cNvPr>
            <p:cNvSpPr>
              <a:spLocks/>
            </p:cNvSpPr>
            <p:nvPr/>
          </p:nvSpPr>
          <p:spPr bwMode="auto">
            <a:xfrm>
              <a:off x="-3073012" y="1023955"/>
              <a:ext cx="73374" cy="85605"/>
            </a:xfrm>
            <a:custGeom>
              <a:avLst/>
              <a:gdLst>
                <a:gd name="T0" fmla="*/ 5 w 30"/>
                <a:gd name="T1" fmla="*/ 34 h 34"/>
                <a:gd name="T2" fmla="*/ 2 w 30"/>
                <a:gd name="T3" fmla="*/ 33 h 34"/>
                <a:gd name="T4" fmla="*/ 2 w 30"/>
                <a:gd name="T5" fmla="*/ 28 h 34"/>
                <a:gd name="T6" fmla="*/ 23 w 30"/>
                <a:gd name="T7" fmla="*/ 2 h 34"/>
                <a:gd name="T8" fmla="*/ 28 w 30"/>
                <a:gd name="T9" fmla="*/ 2 h 34"/>
                <a:gd name="T10" fmla="*/ 29 w 30"/>
                <a:gd name="T11" fmla="*/ 8 h 34"/>
                <a:gd name="T12" fmla="*/ 8 w 30"/>
                <a:gd name="T13" fmla="*/ 33 h 34"/>
                <a:gd name="T14" fmla="*/ 5 w 30"/>
                <a:gd name="T15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" h="34">
                  <a:moveTo>
                    <a:pt x="5" y="34"/>
                  </a:moveTo>
                  <a:cubicBezTo>
                    <a:pt x="4" y="34"/>
                    <a:pt x="3" y="34"/>
                    <a:pt x="2" y="33"/>
                  </a:cubicBezTo>
                  <a:cubicBezTo>
                    <a:pt x="0" y="32"/>
                    <a:pt x="0" y="29"/>
                    <a:pt x="2" y="28"/>
                  </a:cubicBezTo>
                  <a:cubicBezTo>
                    <a:pt x="23" y="2"/>
                    <a:pt x="23" y="2"/>
                    <a:pt x="23" y="2"/>
                  </a:cubicBezTo>
                  <a:cubicBezTo>
                    <a:pt x="24" y="1"/>
                    <a:pt x="27" y="0"/>
                    <a:pt x="28" y="2"/>
                  </a:cubicBezTo>
                  <a:cubicBezTo>
                    <a:pt x="30" y="3"/>
                    <a:pt x="30" y="6"/>
                    <a:pt x="29" y="8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7" y="34"/>
                    <a:pt x="6" y="34"/>
                    <a:pt x="5" y="3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7" name="Shape8_20200717_154352">
            <a:extLst>
              <a:ext uri="{FF2B5EF4-FFF2-40B4-BE49-F238E27FC236}">
                <a16:creationId xmlns:a16="http://schemas.microsoft.com/office/drawing/2014/main" id="{5A979016-3E97-CFCA-F979-27FF2E58FC22}"/>
              </a:ext>
            </a:extLst>
          </p:cNvPr>
          <p:cNvGrpSpPr>
            <a:grpSpLocks noChangeAspect="1"/>
          </p:cNvGrpSpPr>
          <p:nvPr/>
        </p:nvGrpSpPr>
        <p:grpSpPr>
          <a:xfrm>
            <a:off x="9633905" y="1259716"/>
            <a:ext cx="811192" cy="550308"/>
            <a:chOff x="-7618139" y="2373227"/>
            <a:chExt cx="811192" cy="550308"/>
          </a:xfrm>
          <a:solidFill>
            <a:schemeClr val="accent1"/>
          </a:solidFill>
        </p:grpSpPr>
        <p:sp>
          <p:nvSpPr>
            <p:cNvPr id="259" name="Freeform 44">
              <a:extLst>
                <a:ext uri="{FF2B5EF4-FFF2-40B4-BE49-F238E27FC236}">
                  <a16:creationId xmlns:a16="http://schemas.microsoft.com/office/drawing/2014/main" id="{13864EE3-2A46-852A-0975-579442F18E4E}"/>
                </a:ext>
              </a:extLst>
            </p:cNvPr>
            <p:cNvSpPr>
              <a:spLocks/>
            </p:cNvSpPr>
            <p:nvPr/>
          </p:nvSpPr>
          <p:spPr bwMode="auto">
            <a:xfrm>
              <a:off x="-7304262" y="2585197"/>
              <a:ext cx="497315" cy="338338"/>
            </a:xfrm>
            <a:custGeom>
              <a:avLst/>
              <a:gdLst>
                <a:gd name="T0" fmla="*/ 97 w 197"/>
                <a:gd name="T1" fmla="*/ 135 h 135"/>
                <a:gd name="T2" fmla="*/ 1 w 197"/>
                <a:gd name="T3" fmla="*/ 86 h 135"/>
                <a:gd name="T4" fmla="*/ 3 w 197"/>
                <a:gd name="T5" fmla="*/ 81 h 135"/>
                <a:gd name="T6" fmla="*/ 9 w 197"/>
                <a:gd name="T7" fmla="*/ 83 h 135"/>
                <a:gd name="T8" fmla="*/ 97 w 197"/>
                <a:gd name="T9" fmla="*/ 127 h 135"/>
                <a:gd name="T10" fmla="*/ 153 w 197"/>
                <a:gd name="T11" fmla="*/ 115 h 135"/>
                <a:gd name="T12" fmla="*/ 156 w 197"/>
                <a:gd name="T13" fmla="*/ 114 h 135"/>
                <a:gd name="T14" fmla="*/ 184 w 197"/>
                <a:gd name="T15" fmla="*/ 121 h 135"/>
                <a:gd name="T16" fmla="*/ 178 w 197"/>
                <a:gd name="T17" fmla="*/ 98 h 135"/>
                <a:gd name="T18" fmla="*/ 179 w 197"/>
                <a:gd name="T19" fmla="*/ 95 h 135"/>
                <a:gd name="T20" fmla="*/ 189 w 197"/>
                <a:gd name="T21" fmla="*/ 67 h 135"/>
                <a:gd name="T22" fmla="*/ 122 w 197"/>
                <a:gd name="T23" fmla="*/ 9 h 135"/>
                <a:gd name="T24" fmla="*/ 119 w 197"/>
                <a:gd name="T25" fmla="*/ 4 h 135"/>
                <a:gd name="T26" fmla="*/ 123 w 197"/>
                <a:gd name="T27" fmla="*/ 1 h 135"/>
                <a:gd name="T28" fmla="*/ 197 w 197"/>
                <a:gd name="T29" fmla="*/ 67 h 135"/>
                <a:gd name="T30" fmla="*/ 186 w 197"/>
                <a:gd name="T31" fmla="*/ 98 h 135"/>
                <a:gd name="T32" fmla="*/ 193 w 197"/>
                <a:gd name="T33" fmla="*/ 126 h 135"/>
                <a:gd name="T34" fmla="*/ 192 w 197"/>
                <a:gd name="T35" fmla="*/ 130 h 135"/>
                <a:gd name="T36" fmla="*/ 188 w 197"/>
                <a:gd name="T37" fmla="*/ 131 h 135"/>
                <a:gd name="T38" fmla="*/ 155 w 197"/>
                <a:gd name="T39" fmla="*/ 123 h 135"/>
                <a:gd name="T40" fmla="*/ 97 w 197"/>
                <a:gd name="T41" fmla="*/ 135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7" h="135">
                  <a:moveTo>
                    <a:pt x="97" y="135"/>
                  </a:moveTo>
                  <a:cubicBezTo>
                    <a:pt x="53" y="135"/>
                    <a:pt x="13" y="115"/>
                    <a:pt x="1" y="86"/>
                  </a:cubicBezTo>
                  <a:cubicBezTo>
                    <a:pt x="0" y="84"/>
                    <a:pt x="1" y="81"/>
                    <a:pt x="3" y="81"/>
                  </a:cubicBezTo>
                  <a:cubicBezTo>
                    <a:pt x="5" y="80"/>
                    <a:pt x="8" y="81"/>
                    <a:pt x="9" y="83"/>
                  </a:cubicBezTo>
                  <a:cubicBezTo>
                    <a:pt x="20" y="109"/>
                    <a:pt x="56" y="127"/>
                    <a:pt x="97" y="127"/>
                  </a:cubicBezTo>
                  <a:cubicBezTo>
                    <a:pt x="117" y="127"/>
                    <a:pt x="137" y="123"/>
                    <a:pt x="153" y="115"/>
                  </a:cubicBezTo>
                  <a:cubicBezTo>
                    <a:pt x="154" y="114"/>
                    <a:pt x="155" y="114"/>
                    <a:pt x="156" y="114"/>
                  </a:cubicBezTo>
                  <a:cubicBezTo>
                    <a:pt x="184" y="121"/>
                    <a:pt x="184" y="121"/>
                    <a:pt x="184" y="121"/>
                  </a:cubicBezTo>
                  <a:cubicBezTo>
                    <a:pt x="178" y="98"/>
                    <a:pt x="178" y="98"/>
                    <a:pt x="178" y="98"/>
                  </a:cubicBezTo>
                  <a:cubicBezTo>
                    <a:pt x="178" y="97"/>
                    <a:pt x="178" y="96"/>
                    <a:pt x="179" y="95"/>
                  </a:cubicBezTo>
                  <a:cubicBezTo>
                    <a:pt x="186" y="86"/>
                    <a:pt x="189" y="77"/>
                    <a:pt x="189" y="67"/>
                  </a:cubicBezTo>
                  <a:cubicBezTo>
                    <a:pt x="189" y="40"/>
                    <a:pt x="162" y="16"/>
                    <a:pt x="122" y="9"/>
                  </a:cubicBezTo>
                  <a:cubicBezTo>
                    <a:pt x="120" y="8"/>
                    <a:pt x="118" y="6"/>
                    <a:pt x="119" y="4"/>
                  </a:cubicBezTo>
                  <a:cubicBezTo>
                    <a:pt x="119" y="2"/>
                    <a:pt x="121" y="0"/>
                    <a:pt x="123" y="1"/>
                  </a:cubicBezTo>
                  <a:cubicBezTo>
                    <a:pt x="167" y="9"/>
                    <a:pt x="197" y="36"/>
                    <a:pt x="197" y="67"/>
                  </a:cubicBezTo>
                  <a:cubicBezTo>
                    <a:pt x="197" y="78"/>
                    <a:pt x="194" y="89"/>
                    <a:pt x="186" y="98"/>
                  </a:cubicBezTo>
                  <a:cubicBezTo>
                    <a:pt x="193" y="126"/>
                    <a:pt x="193" y="126"/>
                    <a:pt x="193" y="126"/>
                  </a:cubicBezTo>
                  <a:cubicBezTo>
                    <a:pt x="194" y="127"/>
                    <a:pt x="193" y="129"/>
                    <a:pt x="192" y="130"/>
                  </a:cubicBezTo>
                  <a:cubicBezTo>
                    <a:pt x="191" y="131"/>
                    <a:pt x="190" y="131"/>
                    <a:pt x="188" y="131"/>
                  </a:cubicBezTo>
                  <a:cubicBezTo>
                    <a:pt x="155" y="123"/>
                    <a:pt x="155" y="123"/>
                    <a:pt x="155" y="123"/>
                  </a:cubicBezTo>
                  <a:cubicBezTo>
                    <a:pt x="138" y="131"/>
                    <a:pt x="118" y="135"/>
                    <a:pt x="97" y="13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0" name="Freeform 45">
              <a:extLst>
                <a:ext uri="{FF2B5EF4-FFF2-40B4-BE49-F238E27FC236}">
                  <a16:creationId xmlns:a16="http://schemas.microsoft.com/office/drawing/2014/main" id="{ACCF57CE-3838-4611-7525-124BB6B0409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618139" y="2373227"/>
              <a:ext cx="631835" cy="428018"/>
            </a:xfrm>
            <a:custGeom>
              <a:avLst/>
              <a:gdLst>
                <a:gd name="T0" fmla="*/ 125 w 250"/>
                <a:gd name="T1" fmla="*/ 170 h 170"/>
                <a:gd name="T2" fmla="*/ 53 w 250"/>
                <a:gd name="T3" fmla="*/ 154 h 170"/>
                <a:gd name="T4" fmla="*/ 11 w 250"/>
                <a:gd name="T5" fmla="*/ 164 h 170"/>
                <a:gd name="T6" fmla="*/ 7 w 250"/>
                <a:gd name="T7" fmla="*/ 163 h 170"/>
                <a:gd name="T8" fmla="*/ 6 w 250"/>
                <a:gd name="T9" fmla="*/ 159 h 170"/>
                <a:gd name="T10" fmla="*/ 15 w 250"/>
                <a:gd name="T11" fmla="*/ 124 h 170"/>
                <a:gd name="T12" fmla="*/ 0 w 250"/>
                <a:gd name="T13" fmla="*/ 85 h 170"/>
                <a:gd name="T14" fmla="*/ 125 w 250"/>
                <a:gd name="T15" fmla="*/ 0 h 170"/>
                <a:gd name="T16" fmla="*/ 250 w 250"/>
                <a:gd name="T17" fmla="*/ 85 h 170"/>
                <a:gd name="T18" fmla="*/ 125 w 250"/>
                <a:gd name="T19" fmla="*/ 170 h 170"/>
                <a:gd name="T20" fmla="*/ 53 w 250"/>
                <a:gd name="T21" fmla="*/ 145 h 170"/>
                <a:gd name="T22" fmla="*/ 55 w 250"/>
                <a:gd name="T23" fmla="*/ 146 h 170"/>
                <a:gd name="T24" fmla="*/ 125 w 250"/>
                <a:gd name="T25" fmla="*/ 161 h 170"/>
                <a:gd name="T26" fmla="*/ 242 w 250"/>
                <a:gd name="T27" fmla="*/ 85 h 170"/>
                <a:gd name="T28" fmla="*/ 125 w 250"/>
                <a:gd name="T29" fmla="*/ 8 h 170"/>
                <a:gd name="T30" fmla="*/ 9 w 250"/>
                <a:gd name="T31" fmla="*/ 85 h 170"/>
                <a:gd name="T32" fmla="*/ 22 w 250"/>
                <a:gd name="T33" fmla="*/ 120 h 170"/>
                <a:gd name="T34" fmla="*/ 23 w 250"/>
                <a:gd name="T35" fmla="*/ 124 h 170"/>
                <a:gd name="T36" fmla="*/ 15 w 250"/>
                <a:gd name="T37" fmla="*/ 155 h 170"/>
                <a:gd name="T38" fmla="*/ 52 w 250"/>
                <a:gd name="T39" fmla="*/ 145 h 170"/>
                <a:gd name="T40" fmla="*/ 53 w 250"/>
                <a:gd name="T41" fmla="*/ 145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0" h="170">
                  <a:moveTo>
                    <a:pt x="125" y="170"/>
                  </a:moveTo>
                  <a:cubicBezTo>
                    <a:pt x="99" y="170"/>
                    <a:pt x="74" y="164"/>
                    <a:pt x="53" y="154"/>
                  </a:cubicBezTo>
                  <a:cubicBezTo>
                    <a:pt x="11" y="164"/>
                    <a:pt x="11" y="164"/>
                    <a:pt x="11" y="164"/>
                  </a:cubicBezTo>
                  <a:cubicBezTo>
                    <a:pt x="9" y="165"/>
                    <a:pt x="8" y="164"/>
                    <a:pt x="7" y="163"/>
                  </a:cubicBezTo>
                  <a:cubicBezTo>
                    <a:pt x="6" y="162"/>
                    <a:pt x="5" y="161"/>
                    <a:pt x="6" y="159"/>
                  </a:cubicBezTo>
                  <a:cubicBezTo>
                    <a:pt x="15" y="124"/>
                    <a:pt x="15" y="124"/>
                    <a:pt x="15" y="124"/>
                  </a:cubicBezTo>
                  <a:cubicBezTo>
                    <a:pt x="5" y="112"/>
                    <a:pt x="0" y="99"/>
                    <a:pt x="0" y="85"/>
                  </a:cubicBezTo>
                  <a:cubicBezTo>
                    <a:pt x="0" y="38"/>
                    <a:pt x="56" y="0"/>
                    <a:pt x="125" y="0"/>
                  </a:cubicBezTo>
                  <a:cubicBezTo>
                    <a:pt x="194" y="0"/>
                    <a:pt x="250" y="38"/>
                    <a:pt x="250" y="85"/>
                  </a:cubicBezTo>
                  <a:cubicBezTo>
                    <a:pt x="250" y="132"/>
                    <a:pt x="194" y="170"/>
                    <a:pt x="125" y="170"/>
                  </a:cubicBezTo>
                  <a:close/>
                  <a:moveTo>
                    <a:pt x="53" y="145"/>
                  </a:moveTo>
                  <a:cubicBezTo>
                    <a:pt x="54" y="145"/>
                    <a:pt x="54" y="145"/>
                    <a:pt x="55" y="146"/>
                  </a:cubicBezTo>
                  <a:cubicBezTo>
                    <a:pt x="75" y="156"/>
                    <a:pt x="100" y="161"/>
                    <a:pt x="125" y="161"/>
                  </a:cubicBezTo>
                  <a:cubicBezTo>
                    <a:pt x="189" y="161"/>
                    <a:pt x="242" y="127"/>
                    <a:pt x="242" y="85"/>
                  </a:cubicBezTo>
                  <a:cubicBezTo>
                    <a:pt x="242" y="43"/>
                    <a:pt x="189" y="8"/>
                    <a:pt x="125" y="8"/>
                  </a:cubicBezTo>
                  <a:cubicBezTo>
                    <a:pt x="61" y="8"/>
                    <a:pt x="9" y="43"/>
                    <a:pt x="9" y="85"/>
                  </a:cubicBezTo>
                  <a:cubicBezTo>
                    <a:pt x="9" y="97"/>
                    <a:pt x="13" y="110"/>
                    <a:pt x="22" y="120"/>
                  </a:cubicBezTo>
                  <a:cubicBezTo>
                    <a:pt x="23" y="122"/>
                    <a:pt x="23" y="123"/>
                    <a:pt x="23" y="124"/>
                  </a:cubicBezTo>
                  <a:cubicBezTo>
                    <a:pt x="15" y="155"/>
                    <a:pt x="15" y="155"/>
                    <a:pt x="15" y="155"/>
                  </a:cubicBezTo>
                  <a:cubicBezTo>
                    <a:pt x="52" y="145"/>
                    <a:pt x="52" y="145"/>
                    <a:pt x="52" y="145"/>
                  </a:cubicBezTo>
                  <a:cubicBezTo>
                    <a:pt x="52" y="145"/>
                    <a:pt x="53" y="145"/>
                    <a:pt x="53" y="14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1" name="Freeform 46">
              <a:extLst>
                <a:ext uri="{FF2B5EF4-FFF2-40B4-BE49-F238E27FC236}">
                  <a16:creationId xmlns:a16="http://schemas.microsoft.com/office/drawing/2014/main" id="{A55DD7EB-7BFF-EA1E-9462-B661C03049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349100" y="2540356"/>
              <a:ext cx="93757" cy="97832"/>
            </a:xfrm>
            <a:custGeom>
              <a:avLst/>
              <a:gdLst>
                <a:gd name="T0" fmla="*/ 19 w 38"/>
                <a:gd name="T1" fmla="*/ 38 h 38"/>
                <a:gd name="T2" fmla="*/ 0 w 38"/>
                <a:gd name="T3" fmla="*/ 19 h 38"/>
                <a:gd name="T4" fmla="*/ 19 w 38"/>
                <a:gd name="T5" fmla="*/ 0 h 38"/>
                <a:gd name="T6" fmla="*/ 38 w 38"/>
                <a:gd name="T7" fmla="*/ 19 h 38"/>
                <a:gd name="T8" fmla="*/ 19 w 38"/>
                <a:gd name="T9" fmla="*/ 38 h 38"/>
                <a:gd name="T10" fmla="*/ 19 w 38"/>
                <a:gd name="T11" fmla="*/ 8 h 38"/>
                <a:gd name="T12" fmla="*/ 8 w 38"/>
                <a:gd name="T13" fmla="*/ 19 h 38"/>
                <a:gd name="T14" fmla="*/ 19 w 38"/>
                <a:gd name="T15" fmla="*/ 30 h 38"/>
                <a:gd name="T16" fmla="*/ 30 w 38"/>
                <a:gd name="T17" fmla="*/ 19 h 38"/>
                <a:gd name="T18" fmla="*/ 19 w 38"/>
                <a:gd name="T19" fmla="*/ 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" h="38">
                  <a:moveTo>
                    <a:pt x="19" y="38"/>
                  </a:moveTo>
                  <a:cubicBezTo>
                    <a:pt x="9" y="38"/>
                    <a:pt x="0" y="29"/>
                    <a:pt x="0" y="19"/>
                  </a:cubicBezTo>
                  <a:cubicBezTo>
                    <a:pt x="0" y="8"/>
                    <a:pt x="9" y="0"/>
                    <a:pt x="19" y="0"/>
                  </a:cubicBezTo>
                  <a:cubicBezTo>
                    <a:pt x="30" y="0"/>
                    <a:pt x="38" y="8"/>
                    <a:pt x="38" y="19"/>
                  </a:cubicBezTo>
                  <a:cubicBezTo>
                    <a:pt x="38" y="29"/>
                    <a:pt x="30" y="38"/>
                    <a:pt x="19" y="38"/>
                  </a:cubicBezTo>
                  <a:close/>
                  <a:moveTo>
                    <a:pt x="19" y="8"/>
                  </a:moveTo>
                  <a:cubicBezTo>
                    <a:pt x="13" y="8"/>
                    <a:pt x="8" y="13"/>
                    <a:pt x="8" y="19"/>
                  </a:cubicBezTo>
                  <a:cubicBezTo>
                    <a:pt x="8" y="25"/>
                    <a:pt x="13" y="30"/>
                    <a:pt x="19" y="30"/>
                  </a:cubicBezTo>
                  <a:cubicBezTo>
                    <a:pt x="25" y="30"/>
                    <a:pt x="30" y="25"/>
                    <a:pt x="30" y="19"/>
                  </a:cubicBezTo>
                  <a:cubicBezTo>
                    <a:pt x="30" y="13"/>
                    <a:pt x="25" y="8"/>
                    <a:pt x="1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2" name="Freeform 47">
              <a:extLst>
                <a:ext uri="{FF2B5EF4-FFF2-40B4-BE49-F238E27FC236}">
                  <a16:creationId xmlns:a16="http://schemas.microsoft.com/office/drawing/2014/main" id="{82D4E024-CFA5-C224-7DEC-56A41727149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491774" y="2540356"/>
              <a:ext cx="97832" cy="97832"/>
            </a:xfrm>
            <a:custGeom>
              <a:avLst/>
              <a:gdLst>
                <a:gd name="T0" fmla="*/ 19 w 38"/>
                <a:gd name="T1" fmla="*/ 38 h 38"/>
                <a:gd name="T2" fmla="*/ 0 w 38"/>
                <a:gd name="T3" fmla="*/ 19 h 38"/>
                <a:gd name="T4" fmla="*/ 19 w 38"/>
                <a:gd name="T5" fmla="*/ 0 h 38"/>
                <a:gd name="T6" fmla="*/ 38 w 38"/>
                <a:gd name="T7" fmla="*/ 19 h 38"/>
                <a:gd name="T8" fmla="*/ 19 w 38"/>
                <a:gd name="T9" fmla="*/ 38 h 38"/>
                <a:gd name="T10" fmla="*/ 19 w 38"/>
                <a:gd name="T11" fmla="*/ 8 h 38"/>
                <a:gd name="T12" fmla="*/ 8 w 38"/>
                <a:gd name="T13" fmla="*/ 19 h 38"/>
                <a:gd name="T14" fmla="*/ 19 w 38"/>
                <a:gd name="T15" fmla="*/ 30 h 38"/>
                <a:gd name="T16" fmla="*/ 29 w 38"/>
                <a:gd name="T17" fmla="*/ 19 h 38"/>
                <a:gd name="T18" fmla="*/ 19 w 38"/>
                <a:gd name="T19" fmla="*/ 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" h="38">
                  <a:moveTo>
                    <a:pt x="19" y="38"/>
                  </a:moveTo>
                  <a:cubicBezTo>
                    <a:pt x="8" y="38"/>
                    <a:pt x="0" y="29"/>
                    <a:pt x="0" y="19"/>
                  </a:cubicBezTo>
                  <a:cubicBezTo>
                    <a:pt x="0" y="8"/>
                    <a:pt x="8" y="0"/>
                    <a:pt x="19" y="0"/>
                  </a:cubicBezTo>
                  <a:cubicBezTo>
                    <a:pt x="29" y="0"/>
                    <a:pt x="38" y="8"/>
                    <a:pt x="38" y="19"/>
                  </a:cubicBezTo>
                  <a:cubicBezTo>
                    <a:pt x="38" y="29"/>
                    <a:pt x="29" y="38"/>
                    <a:pt x="19" y="38"/>
                  </a:cubicBezTo>
                  <a:close/>
                  <a:moveTo>
                    <a:pt x="19" y="8"/>
                  </a:moveTo>
                  <a:cubicBezTo>
                    <a:pt x="13" y="8"/>
                    <a:pt x="8" y="13"/>
                    <a:pt x="8" y="19"/>
                  </a:cubicBezTo>
                  <a:cubicBezTo>
                    <a:pt x="8" y="25"/>
                    <a:pt x="13" y="30"/>
                    <a:pt x="19" y="30"/>
                  </a:cubicBezTo>
                  <a:cubicBezTo>
                    <a:pt x="25" y="30"/>
                    <a:pt x="29" y="25"/>
                    <a:pt x="29" y="19"/>
                  </a:cubicBezTo>
                  <a:cubicBezTo>
                    <a:pt x="29" y="13"/>
                    <a:pt x="25" y="8"/>
                    <a:pt x="1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3" name="Freeform 48">
              <a:extLst>
                <a:ext uri="{FF2B5EF4-FFF2-40B4-BE49-F238E27FC236}">
                  <a16:creationId xmlns:a16="http://schemas.microsoft.com/office/drawing/2014/main" id="{3C3DC751-159C-2ADA-46A1-11630070D02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206430" y="2540356"/>
              <a:ext cx="97832" cy="97832"/>
            </a:xfrm>
            <a:custGeom>
              <a:avLst/>
              <a:gdLst>
                <a:gd name="T0" fmla="*/ 19 w 38"/>
                <a:gd name="T1" fmla="*/ 38 h 38"/>
                <a:gd name="T2" fmla="*/ 0 w 38"/>
                <a:gd name="T3" fmla="*/ 19 h 38"/>
                <a:gd name="T4" fmla="*/ 19 w 38"/>
                <a:gd name="T5" fmla="*/ 0 h 38"/>
                <a:gd name="T6" fmla="*/ 38 w 38"/>
                <a:gd name="T7" fmla="*/ 19 h 38"/>
                <a:gd name="T8" fmla="*/ 19 w 38"/>
                <a:gd name="T9" fmla="*/ 38 h 38"/>
                <a:gd name="T10" fmla="*/ 19 w 38"/>
                <a:gd name="T11" fmla="*/ 8 h 38"/>
                <a:gd name="T12" fmla="*/ 8 w 38"/>
                <a:gd name="T13" fmla="*/ 19 h 38"/>
                <a:gd name="T14" fmla="*/ 19 w 38"/>
                <a:gd name="T15" fmla="*/ 30 h 38"/>
                <a:gd name="T16" fmla="*/ 29 w 38"/>
                <a:gd name="T17" fmla="*/ 19 h 38"/>
                <a:gd name="T18" fmla="*/ 19 w 38"/>
                <a:gd name="T19" fmla="*/ 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" h="38">
                  <a:moveTo>
                    <a:pt x="19" y="38"/>
                  </a:moveTo>
                  <a:cubicBezTo>
                    <a:pt x="8" y="38"/>
                    <a:pt x="0" y="29"/>
                    <a:pt x="0" y="19"/>
                  </a:cubicBezTo>
                  <a:cubicBezTo>
                    <a:pt x="0" y="8"/>
                    <a:pt x="8" y="0"/>
                    <a:pt x="19" y="0"/>
                  </a:cubicBezTo>
                  <a:cubicBezTo>
                    <a:pt x="29" y="0"/>
                    <a:pt x="38" y="8"/>
                    <a:pt x="38" y="19"/>
                  </a:cubicBezTo>
                  <a:cubicBezTo>
                    <a:pt x="38" y="29"/>
                    <a:pt x="29" y="38"/>
                    <a:pt x="19" y="38"/>
                  </a:cubicBezTo>
                  <a:close/>
                  <a:moveTo>
                    <a:pt x="19" y="8"/>
                  </a:moveTo>
                  <a:cubicBezTo>
                    <a:pt x="13" y="8"/>
                    <a:pt x="8" y="13"/>
                    <a:pt x="8" y="19"/>
                  </a:cubicBezTo>
                  <a:cubicBezTo>
                    <a:pt x="8" y="25"/>
                    <a:pt x="13" y="30"/>
                    <a:pt x="19" y="30"/>
                  </a:cubicBezTo>
                  <a:cubicBezTo>
                    <a:pt x="24" y="30"/>
                    <a:pt x="29" y="25"/>
                    <a:pt x="29" y="19"/>
                  </a:cubicBezTo>
                  <a:cubicBezTo>
                    <a:pt x="29" y="13"/>
                    <a:pt x="24" y="8"/>
                    <a:pt x="1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8" name="Shape9_20200717_154352">
            <a:extLst>
              <a:ext uri="{FF2B5EF4-FFF2-40B4-BE49-F238E27FC236}">
                <a16:creationId xmlns:a16="http://schemas.microsoft.com/office/drawing/2014/main" id="{69982DAA-361B-A861-3451-6D515B5236DB}"/>
              </a:ext>
            </a:extLst>
          </p:cNvPr>
          <p:cNvGrpSpPr>
            <a:grpSpLocks noChangeAspect="1"/>
          </p:cNvGrpSpPr>
          <p:nvPr/>
        </p:nvGrpSpPr>
        <p:grpSpPr>
          <a:xfrm>
            <a:off x="530941" y="2530049"/>
            <a:ext cx="656291" cy="603299"/>
            <a:chOff x="-4862528" y="2413991"/>
            <a:chExt cx="656291" cy="603299"/>
          </a:xfrm>
          <a:solidFill>
            <a:schemeClr val="accent1"/>
          </a:solidFill>
        </p:grpSpPr>
        <p:sp>
          <p:nvSpPr>
            <p:cNvPr id="234" name="Freeform 49">
              <a:extLst>
                <a:ext uri="{FF2B5EF4-FFF2-40B4-BE49-F238E27FC236}">
                  <a16:creationId xmlns:a16="http://schemas.microsoft.com/office/drawing/2014/main" id="{6687B8DF-7B75-8705-C2D3-0D00F7129282}"/>
                </a:ext>
              </a:extLst>
            </p:cNvPr>
            <p:cNvSpPr>
              <a:spLocks/>
            </p:cNvSpPr>
            <p:nvPr/>
          </p:nvSpPr>
          <p:spPr bwMode="auto">
            <a:xfrm>
              <a:off x="-4520114" y="2413991"/>
              <a:ext cx="171207" cy="118215"/>
            </a:xfrm>
            <a:custGeom>
              <a:avLst/>
              <a:gdLst>
                <a:gd name="T0" fmla="*/ 61 w 67"/>
                <a:gd name="T1" fmla="*/ 48 h 48"/>
                <a:gd name="T2" fmla="*/ 59 w 67"/>
                <a:gd name="T3" fmla="*/ 48 h 48"/>
                <a:gd name="T4" fmla="*/ 57 w 67"/>
                <a:gd name="T5" fmla="*/ 43 h 48"/>
                <a:gd name="T6" fmla="*/ 59 w 67"/>
                <a:gd name="T7" fmla="*/ 33 h 48"/>
                <a:gd name="T8" fmla="*/ 34 w 67"/>
                <a:gd name="T9" fmla="*/ 8 h 48"/>
                <a:gd name="T10" fmla="*/ 9 w 67"/>
                <a:gd name="T11" fmla="*/ 33 h 48"/>
                <a:gd name="T12" fmla="*/ 4 w 67"/>
                <a:gd name="T13" fmla="*/ 37 h 48"/>
                <a:gd name="T14" fmla="*/ 0 w 67"/>
                <a:gd name="T15" fmla="*/ 33 h 48"/>
                <a:gd name="T16" fmla="*/ 34 w 67"/>
                <a:gd name="T17" fmla="*/ 0 h 48"/>
                <a:gd name="T18" fmla="*/ 67 w 67"/>
                <a:gd name="T19" fmla="*/ 33 h 48"/>
                <a:gd name="T20" fmla="*/ 65 w 67"/>
                <a:gd name="T21" fmla="*/ 46 h 48"/>
                <a:gd name="T22" fmla="*/ 61 w 67"/>
                <a:gd name="T2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7" h="48">
                  <a:moveTo>
                    <a:pt x="61" y="48"/>
                  </a:moveTo>
                  <a:cubicBezTo>
                    <a:pt x="60" y="48"/>
                    <a:pt x="60" y="48"/>
                    <a:pt x="59" y="48"/>
                  </a:cubicBezTo>
                  <a:cubicBezTo>
                    <a:pt x="57" y="47"/>
                    <a:pt x="56" y="45"/>
                    <a:pt x="57" y="43"/>
                  </a:cubicBezTo>
                  <a:cubicBezTo>
                    <a:pt x="58" y="40"/>
                    <a:pt x="59" y="36"/>
                    <a:pt x="59" y="33"/>
                  </a:cubicBezTo>
                  <a:cubicBezTo>
                    <a:pt x="59" y="19"/>
                    <a:pt x="48" y="8"/>
                    <a:pt x="34" y="8"/>
                  </a:cubicBezTo>
                  <a:cubicBezTo>
                    <a:pt x="20" y="8"/>
                    <a:pt x="9" y="19"/>
                    <a:pt x="9" y="33"/>
                  </a:cubicBezTo>
                  <a:cubicBezTo>
                    <a:pt x="9" y="35"/>
                    <a:pt x="7" y="37"/>
                    <a:pt x="4" y="37"/>
                  </a:cubicBezTo>
                  <a:cubicBezTo>
                    <a:pt x="2" y="37"/>
                    <a:pt x="0" y="35"/>
                    <a:pt x="0" y="33"/>
                  </a:cubicBezTo>
                  <a:cubicBezTo>
                    <a:pt x="0" y="15"/>
                    <a:pt x="15" y="0"/>
                    <a:pt x="34" y="0"/>
                  </a:cubicBezTo>
                  <a:cubicBezTo>
                    <a:pt x="52" y="0"/>
                    <a:pt x="67" y="15"/>
                    <a:pt x="67" y="33"/>
                  </a:cubicBezTo>
                  <a:cubicBezTo>
                    <a:pt x="67" y="37"/>
                    <a:pt x="66" y="42"/>
                    <a:pt x="65" y="46"/>
                  </a:cubicBezTo>
                  <a:cubicBezTo>
                    <a:pt x="64" y="48"/>
                    <a:pt x="62" y="48"/>
                    <a:pt x="61" y="4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5" name="Freeform 50">
              <a:extLst>
                <a:ext uri="{FF2B5EF4-FFF2-40B4-BE49-F238E27FC236}">
                  <a16:creationId xmlns:a16="http://schemas.microsoft.com/office/drawing/2014/main" id="{4C798EB6-FE4B-1C74-93FE-21D9AA96768F}"/>
                </a:ext>
              </a:extLst>
            </p:cNvPr>
            <p:cNvSpPr>
              <a:spLocks/>
            </p:cNvSpPr>
            <p:nvPr/>
          </p:nvSpPr>
          <p:spPr bwMode="auto">
            <a:xfrm>
              <a:off x="-4520114" y="2890922"/>
              <a:ext cx="171207" cy="126368"/>
            </a:xfrm>
            <a:custGeom>
              <a:avLst/>
              <a:gdLst>
                <a:gd name="T0" fmla="*/ 34 w 67"/>
                <a:gd name="T1" fmla="*/ 50 h 50"/>
                <a:gd name="T2" fmla="*/ 0 w 67"/>
                <a:gd name="T3" fmla="*/ 16 h 50"/>
                <a:gd name="T4" fmla="*/ 4 w 67"/>
                <a:gd name="T5" fmla="*/ 12 h 50"/>
                <a:gd name="T6" fmla="*/ 9 w 67"/>
                <a:gd name="T7" fmla="*/ 16 h 50"/>
                <a:gd name="T8" fmla="*/ 34 w 67"/>
                <a:gd name="T9" fmla="*/ 42 h 50"/>
                <a:gd name="T10" fmla="*/ 59 w 67"/>
                <a:gd name="T11" fmla="*/ 16 h 50"/>
                <a:gd name="T12" fmla="*/ 57 w 67"/>
                <a:gd name="T13" fmla="*/ 7 h 50"/>
                <a:gd name="T14" fmla="*/ 59 w 67"/>
                <a:gd name="T15" fmla="*/ 1 h 50"/>
                <a:gd name="T16" fmla="*/ 65 w 67"/>
                <a:gd name="T17" fmla="*/ 3 h 50"/>
                <a:gd name="T18" fmla="*/ 67 w 67"/>
                <a:gd name="T19" fmla="*/ 16 h 50"/>
                <a:gd name="T20" fmla="*/ 34 w 67"/>
                <a:gd name="T21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7" h="50">
                  <a:moveTo>
                    <a:pt x="34" y="50"/>
                  </a:moveTo>
                  <a:cubicBezTo>
                    <a:pt x="15" y="50"/>
                    <a:pt x="0" y="35"/>
                    <a:pt x="0" y="16"/>
                  </a:cubicBezTo>
                  <a:cubicBezTo>
                    <a:pt x="0" y="14"/>
                    <a:pt x="2" y="12"/>
                    <a:pt x="4" y="12"/>
                  </a:cubicBezTo>
                  <a:cubicBezTo>
                    <a:pt x="7" y="12"/>
                    <a:pt x="9" y="14"/>
                    <a:pt x="9" y="16"/>
                  </a:cubicBezTo>
                  <a:cubicBezTo>
                    <a:pt x="9" y="30"/>
                    <a:pt x="20" y="42"/>
                    <a:pt x="34" y="42"/>
                  </a:cubicBezTo>
                  <a:cubicBezTo>
                    <a:pt x="48" y="42"/>
                    <a:pt x="59" y="30"/>
                    <a:pt x="59" y="16"/>
                  </a:cubicBezTo>
                  <a:cubicBezTo>
                    <a:pt x="59" y="13"/>
                    <a:pt x="58" y="10"/>
                    <a:pt x="57" y="7"/>
                  </a:cubicBezTo>
                  <a:cubicBezTo>
                    <a:pt x="56" y="5"/>
                    <a:pt x="57" y="2"/>
                    <a:pt x="59" y="1"/>
                  </a:cubicBezTo>
                  <a:cubicBezTo>
                    <a:pt x="61" y="0"/>
                    <a:pt x="64" y="1"/>
                    <a:pt x="65" y="3"/>
                  </a:cubicBezTo>
                  <a:cubicBezTo>
                    <a:pt x="66" y="8"/>
                    <a:pt x="67" y="12"/>
                    <a:pt x="67" y="16"/>
                  </a:cubicBezTo>
                  <a:cubicBezTo>
                    <a:pt x="67" y="35"/>
                    <a:pt x="52" y="50"/>
                    <a:pt x="34" y="5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6" name="Freeform 51">
              <a:extLst>
                <a:ext uri="{FF2B5EF4-FFF2-40B4-BE49-F238E27FC236}">
                  <a16:creationId xmlns:a16="http://schemas.microsoft.com/office/drawing/2014/main" id="{AB4D939C-778B-1B18-674F-6E120DB58894}"/>
                </a:ext>
              </a:extLst>
            </p:cNvPr>
            <p:cNvSpPr>
              <a:spLocks/>
            </p:cNvSpPr>
            <p:nvPr/>
          </p:nvSpPr>
          <p:spPr bwMode="auto">
            <a:xfrm>
              <a:off x="-4369291" y="2703410"/>
              <a:ext cx="163054" cy="248658"/>
            </a:xfrm>
            <a:custGeom>
              <a:avLst/>
              <a:gdLst>
                <a:gd name="T0" fmla="*/ 4 w 65"/>
                <a:gd name="T1" fmla="*/ 99 h 99"/>
                <a:gd name="T2" fmla="*/ 0 w 65"/>
                <a:gd name="T3" fmla="*/ 95 h 99"/>
                <a:gd name="T4" fmla="*/ 4 w 65"/>
                <a:gd name="T5" fmla="*/ 91 h 99"/>
                <a:gd name="T6" fmla="*/ 55 w 65"/>
                <a:gd name="T7" fmla="*/ 32 h 99"/>
                <a:gd name="T8" fmla="*/ 47 w 65"/>
                <a:gd name="T9" fmla="*/ 7 h 99"/>
                <a:gd name="T10" fmla="*/ 49 w 65"/>
                <a:gd name="T11" fmla="*/ 1 h 99"/>
                <a:gd name="T12" fmla="*/ 54 w 65"/>
                <a:gd name="T13" fmla="*/ 2 h 99"/>
                <a:gd name="T14" fmla="*/ 63 w 65"/>
                <a:gd name="T15" fmla="*/ 31 h 99"/>
                <a:gd name="T16" fmla="*/ 48 w 65"/>
                <a:gd name="T17" fmla="*/ 77 h 99"/>
                <a:gd name="T18" fmla="*/ 4 w 65"/>
                <a:gd name="T19" fmla="*/ 99 h 99"/>
                <a:gd name="T20" fmla="*/ 4 w 65"/>
                <a:gd name="T21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5" h="99">
                  <a:moveTo>
                    <a:pt x="4" y="99"/>
                  </a:moveTo>
                  <a:cubicBezTo>
                    <a:pt x="2" y="99"/>
                    <a:pt x="0" y="98"/>
                    <a:pt x="0" y="95"/>
                  </a:cubicBezTo>
                  <a:cubicBezTo>
                    <a:pt x="0" y="93"/>
                    <a:pt x="2" y="91"/>
                    <a:pt x="4" y="91"/>
                  </a:cubicBezTo>
                  <a:cubicBezTo>
                    <a:pt x="34" y="89"/>
                    <a:pt x="57" y="62"/>
                    <a:pt x="55" y="32"/>
                  </a:cubicBezTo>
                  <a:cubicBezTo>
                    <a:pt x="55" y="23"/>
                    <a:pt x="52" y="14"/>
                    <a:pt x="47" y="7"/>
                  </a:cubicBezTo>
                  <a:cubicBezTo>
                    <a:pt x="46" y="5"/>
                    <a:pt x="47" y="2"/>
                    <a:pt x="49" y="1"/>
                  </a:cubicBezTo>
                  <a:cubicBezTo>
                    <a:pt x="50" y="0"/>
                    <a:pt x="53" y="0"/>
                    <a:pt x="54" y="2"/>
                  </a:cubicBezTo>
                  <a:cubicBezTo>
                    <a:pt x="59" y="11"/>
                    <a:pt x="63" y="21"/>
                    <a:pt x="63" y="31"/>
                  </a:cubicBezTo>
                  <a:cubicBezTo>
                    <a:pt x="65" y="48"/>
                    <a:pt x="59" y="64"/>
                    <a:pt x="48" y="77"/>
                  </a:cubicBezTo>
                  <a:cubicBezTo>
                    <a:pt x="37" y="90"/>
                    <a:pt x="21" y="98"/>
                    <a:pt x="4" y="99"/>
                  </a:cubicBezTo>
                  <a:cubicBezTo>
                    <a:pt x="4" y="99"/>
                    <a:pt x="4" y="99"/>
                    <a:pt x="4" y="9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7" name="Freeform 52">
              <a:extLst>
                <a:ext uri="{FF2B5EF4-FFF2-40B4-BE49-F238E27FC236}">
                  <a16:creationId xmlns:a16="http://schemas.microsoft.com/office/drawing/2014/main" id="{3BAAEBFC-AD59-E6D7-5571-FC74BB4CC3C4}"/>
                </a:ext>
              </a:extLst>
            </p:cNvPr>
            <p:cNvSpPr>
              <a:spLocks/>
            </p:cNvSpPr>
            <p:nvPr/>
          </p:nvSpPr>
          <p:spPr bwMode="auto">
            <a:xfrm>
              <a:off x="-4369291" y="2466982"/>
              <a:ext cx="126368" cy="150826"/>
            </a:xfrm>
            <a:custGeom>
              <a:avLst/>
              <a:gdLst>
                <a:gd name="T0" fmla="*/ 37 w 50"/>
                <a:gd name="T1" fmla="*/ 59 h 59"/>
                <a:gd name="T2" fmla="*/ 35 w 50"/>
                <a:gd name="T3" fmla="*/ 59 h 59"/>
                <a:gd name="T4" fmla="*/ 33 w 50"/>
                <a:gd name="T5" fmla="*/ 53 h 59"/>
                <a:gd name="T6" fmla="*/ 18 w 50"/>
                <a:gd name="T7" fmla="*/ 12 h 59"/>
                <a:gd name="T8" fmla="*/ 4 w 50"/>
                <a:gd name="T9" fmla="*/ 9 h 59"/>
                <a:gd name="T10" fmla="*/ 0 w 50"/>
                <a:gd name="T11" fmla="*/ 5 h 59"/>
                <a:gd name="T12" fmla="*/ 4 w 50"/>
                <a:gd name="T13" fmla="*/ 0 h 59"/>
                <a:gd name="T14" fmla="*/ 22 w 50"/>
                <a:gd name="T15" fmla="*/ 4 h 59"/>
                <a:gd name="T16" fmla="*/ 41 w 50"/>
                <a:gd name="T17" fmla="*/ 57 h 59"/>
                <a:gd name="T18" fmla="*/ 37 w 50"/>
                <a:gd name="T19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" h="59">
                  <a:moveTo>
                    <a:pt x="37" y="59"/>
                  </a:moveTo>
                  <a:cubicBezTo>
                    <a:pt x="36" y="59"/>
                    <a:pt x="36" y="59"/>
                    <a:pt x="35" y="59"/>
                  </a:cubicBezTo>
                  <a:cubicBezTo>
                    <a:pt x="33" y="58"/>
                    <a:pt x="32" y="56"/>
                    <a:pt x="33" y="53"/>
                  </a:cubicBezTo>
                  <a:cubicBezTo>
                    <a:pt x="41" y="38"/>
                    <a:pt x="34" y="19"/>
                    <a:pt x="18" y="12"/>
                  </a:cubicBezTo>
                  <a:cubicBezTo>
                    <a:pt x="14" y="10"/>
                    <a:pt x="9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2"/>
                    <a:pt x="1" y="1"/>
                    <a:pt x="4" y="0"/>
                  </a:cubicBezTo>
                  <a:cubicBezTo>
                    <a:pt x="10" y="0"/>
                    <a:pt x="16" y="2"/>
                    <a:pt x="22" y="4"/>
                  </a:cubicBezTo>
                  <a:cubicBezTo>
                    <a:pt x="42" y="14"/>
                    <a:pt x="50" y="37"/>
                    <a:pt x="41" y="57"/>
                  </a:cubicBezTo>
                  <a:cubicBezTo>
                    <a:pt x="40" y="59"/>
                    <a:pt x="38" y="59"/>
                    <a:pt x="37" y="5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8" name="Freeform 53">
              <a:extLst>
                <a:ext uri="{FF2B5EF4-FFF2-40B4-BE49-F238E27FC236}">
                  <a16:creationId xmlns:a16="http://schemas.microsoft.com/office/drawing/2014/main" id="{58EEEBA2-4F00-87D5-826D-3DDEC83EDC61}"/>
                </a:ext>
              </a:extLst>
            </p:cNvPr>
            <p:cNvSpPr>
              <a:spLocks/>
            </p:cNvSpPr>
            <p:nvPr/>
          </p:nvSpPr>
          <p:spPr bwMode="auto">
            <a:xfrm>
              <a:off x="-4275534" y="2560739"/>
              <a:ext cx="57069" cy="195665"/>
            </a:xfrm>
            <a:custGeom>
              <a:avLst/>
              <a:gdLst>
                <a:gd name="T0" fmla="*/ 5 w 23"/>
                <a:gd name="T1" fmla="*/ 78 h 78"/>
                <a:gd name="T2" fmla="*/ 2 w 23"/>
                <a:gd name="T3" fmla="*/ 77 h 78"/>
                <a:gd name="T4" fmla="*/ 2 w 23"/>
                <a:gd name="T5" fmla="*/ 71 h 78"/>
                <a:gd name="T6" fmla="*/ 2 w 23"/>
                <a:gd name="T7" fmla="*/ 8 h 78"/>
                <a:gd name="T8" fmla="*/ 2 w 23"/>
                <a:gd name="T9" fmla="*/ 2 h 78"/>
                <a:gd name="T10" fmla="*/ 8 w 23"/>
                <a:gd name="T11" fmla="*/ 2 h 78"/>
                <a:gd name="T12" fmla="*/ 23 w 23"/>
                <a:gd name="T13" fmla="*/ 39 h 78"/>
                <a:gd name="T14" fmla="*/ 8 w 23"/>
                <a:gd name="T15" fmla="*/ 77 h 78"/>
                <a:gd name="T16" fmla="*/ 5 w 23"/>
                <a:gd name="T17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" h="78">
                  <a:moveTo>
                    <a:pt x="5" y="78"/>
                  </a:moveTo>
                  <a:cubicBezTo>
                    <a:pt x="4" y="78"/>
                    <a:pt x="3" y="78"/>
                    <a:pt x="2" y="77"/>
                  </a:cubicBezTo>
                  <a:cubicBezTo>
                    <a:pt x="0" y="75"/>
                    <a:pt x="0" y="73"/>
                    <a:pt x="2" y="71"/>
                  </a:cubicBezTo>
                  <a:cubicBezTo>
                    <a:pt x="19" y="54"/>
                    <a:pt x="19" y="25"/>
                    <a:pt x="2" y="8"/>
                  </a:cubicBezTo>
                  <a:cubicBezTo>
                    <a:pt x="0" y="6"/>
                    <a:pt x="0" y="4"/>
                    <a:pt x="2" y="2"/>
                  </a:cubicBezTo>
                  <a:cubicBezTo>
                    <a:pt x="4" y="0"/>
                    <a:pt x="6" y="0"/>
                    <a:pt x="8" y="2"/>
                  </a:cubicBezTo>
                  <a:cubicBezTo>
                    <a:pt x="18" y="12"/>
                    <a:pt x="23" y="25"/>
                    <a:pt x="23" y="39"/>
                  </a:cubicBezTo>
                  <a:cubicBezTo>
                    <a:pt x="23" y="54"/>
                    <a:pt x="18" y="67"/>
                    <a:pt x="8" y="77"/>
                  </a:cubicBezTo>
                  <a:cubicBezTo>
                    <a:pt x="7" y="78"/>
                    <a:pt x="6" y="78"/>
                    <a:pt x="5" y="7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9" name="Freeform 54">
              <a:extLst>
                <a:ext uri="{FF2B5EF4-FFF2-40B4-BE49-F238E27FC236}">
                  <a16:creationId xmlns:a16="http://schemas.microsoft.com/office/drawing/2014/main" id="{30519124-6436-941B-7D15-7746399BC766}"/>
                </a:ext>
              </a:extLst>
            </p:cNvPr>
            <p:cNvSpPr>
              <a:spLocks/>
            </p:cNvSpPr>
            <p:nvPr/>
          </p:nvSpPr>
          <p:spPr bwMode="auto">
            <a:xfrm>
              <a:off x="-4520114" y="2487365"/>
              <a:ext cx="24458" cy="456551"/>
            </a:xfrm>
            <a:custGeom>
              <a:avLst/>
              <a:gdLst>
                <a:gd name="T0" fmla="*/ 4 w 9"/>
                <a:gd name="T1" fmla="*/ 182 h 182"/>
                <a:gd name="T2" fmla="*/ 0 w 9"/>
                <a:gd name="T3" fmla="*/ 178 h 182"/>
                <a:gd name="T4" fmla="*/ 0 w 9"/>
                <a:gd name="T5" fmla="*/ 4 h 182"/>
                <a:gd name="T6" fmla="*/ 4 w 9"/>
                <a:gd name="T7" fmla="*/ 0 h 182"/>
                <a:gd name="T8" fmla="*/ 9 w 9"/>
                <a:gd name="T9" fmla="*/ 4 h 182"/>
                <a:gd name="T10" fmla="*/ 9 w 9"/>
                <a:gd name="T11" fmla="*/ 178 h 182"/>
                <a:gd name="T12" fmla="*/ 4 w 9"/>
                <a:gd name="T13" fmla="*/ 182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82">
                  <a:moveTo>
                    <a:pt x="4" y="182"/>
                  </a:moveTo>
                  <a:cubicBezTo>
                    <a:pt x="2" y="182"/>
                    <a:pt x="0" y="180"/>
                    <a:pt x="0" y="178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178"/>
                    <a:pt x="9" y="178"/>
                    <a:pt x="9" y="178"/>
                  </a:cubicBezTo>
                  <a:cubicBezTo>
                    <a:pt x="9" y="180"/>
                    <a:pt x="7" y="182"/>
                    <a:pt x="4" y="18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0" name="Freeform 55">
              <a:extLst>
                <a:ext uri="{FF2B5EF4-FFF2-40B4-BE49-F238E27FC236}">
                  <a16:creationId xmlns:a16="http://schemas.microsoft.com/office/drawing/2014/main" id="{55631E4E-842A-DF41-07E8-1F2890B3A795}"/>
                </a:ext>
              </a:extLst>
            </p:cNvPr>
            <p:cNvSpPr>
              <a:spLocks/>
            </p:cNvSpPr>
            <p:nvPr/>
          </p:nvSpPr>
          <p:spPr bwMode="auto">
            <a:xfrm>
              <a:off x="-4446740" y="2544434"/>
              <a:ext cx="44841" cy="134521"/>
            </a:xfrm>
            <a:custGeom>
              <a:avLst/>
              <a:gdLst>
                <a:gd name="T0" fmla="*/ 5 w 18"/>
                <a:gd name="T1" fmla="*/ 54 h 54"/>
                <a:gd name="T2" fmla="*/ 2 w 18"/>
                <a:gd name="T3" fmla="*/ 53 h 54"/>
                <a:gd name="T4" fmla="*/ 2 w 18"/>
                <a:gd name="T5" fmla="*/ 47 h 54"/>
                <a:gd name="T6" fmla="*/ 10 w 18"/>
                <a:gd name="T7" fmla="*/ 27 h 54"/>
                <a:gd name="T8" fmla="*/ 2 w 18"/>
                <a:gd name="T9" fmla="*/ 7 h 54"/>
                <a:gd name="T10" fmla="*/ 2 w 18"/>
                <a:gd name="T11" fmla="*/ 1 h 54"/>
                <a:gd name="T12" fmla="*/ 8 w 18"/>
                <a:gd name="T13" fmla="*/ 1 h 54"/>
                <a:gd name="T14" fmla="*/ 18 w 18"/>
                <a:gd name="T15" fmla="*/ 27 h 54"/>
                <a:gd name="T16" fmla="*/ 8 w 18"/>
                <a:gd name="T17" fmla="*/ 53 h 54"/>
                <a:gd name="T18" fmla="*/ 5 w 18"/>
                <a:gd name="T19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54">
                  <a:moveTo>
                    <a:pt x="5" y="54"/>
                  </a:moveTo>
                  <a:cubicBezTo>
                    <a:pt x="4" y="54"/>
                    <a:pt x="3" y="53"/>
                    <a:pt x="2" y="53"/>
                  </a:cubicBezTo>
                  <a:cubicBezTo>
                    <a:pt x="0" y="51"/>
                    <a:pt x="0" y="48"/>
                    <a:pt x="2" y="47"/>
                  </a:cubicBezTo>
                  <a:cubicBezTo>
                    <a:pt x="7" y="41"/>
                    <a:pt x="10" y="34"/>
                    <a:pt x="10" y="27"/>
                  </a:cubicBezTo>
                  <a:cubicBezTo>
                    <a:pt x="10" y="19"/>
                    <a:pt x="7" y="12"/>
                    <a:pt x="2" y="7"/>
                  </a:cubicBezTo>
                  <a:cubicBezTo>
                    <a:pt x="0" y="5"/>
                    <a:pt x="0" y="3"/>
                    <a:pt x="2" y="1"/>
                  </a:cubicBezTo>
                  <a:cubicBezTo>
                    <a:pt x="3" y="0"/>
                    <a:pt x="6" y="0"/>
                    <a:pt x="8" y="1"/>
                  </a:cubicBezTo>
                  <a:cubicBezTo>
                    <a:pt x="15" y="8"/>
                    <a:pt x="18" y="17"/>
                    <a:pt x="18" y="27"/>
                  </a:cubicBezTo>
                  <a:cubicBezTo>
                    <a:pt x="18" y="37"/>
                    <a:pt x="15" y="46"/>
                    <a:pt x="8" y="53"/>
                  </a:cubicBezTo>
                  <a:cubicBezTo>
                    <a:pt x="7" y="53"/>
                    <a:pt x="6" y="54"/>
                    <a:pt x="5" y="5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1" name="Freeform 56">
              <a:extLst>
                <a:ext uri="{FF2B5EF4-FFF2-40B4-BE49-F238E27FC236}">
                  <a16:creationId xmlns:a16="http://schemas.microsoft.com/office/drawing/2014/main" id="{8B179422-7918-59F9-301B-DA3E3719200E}"/>
                </a:ext>
              </a:extLst>
            </p:cNvPr>
            <p:cNvSpPr>
              <a:spLocks/>
            </p:cNvSpPr>
            <p:nvPr/>
          </p:nvSpPr>
          <p:spPr bwMode="auto">
            <a:xfrm>
              <a:off x="-4414129" y="2597425"/>
              <a:ext cx="57069" cy="77452"/>
            </a:xfrm>
            <a:custGeom>
              <a:avLst/>
              <a:gdLst>
                <a:gd name="T0" fmla="*/ 18 w 23"/>
                <a:gd name="T1" fmla="*/ 31 h 31"/>
                <a:gd name="T2" fmla="*/ 14 w 23"/>
                <a:gd name="T3" fmla="*/ 27 h 31"/>
                <a:gd name="T4" fmla="*/ 4 w 23"/>
                <a:gd name="T5" fmla="*/ 9 h 31"/>
                <a:gd name="T6" fmla="*/ 0 w 23"/>
                <a:gd name="T7" fmla="*/ 4 h 31"/>
                <a:gd name="T8" fmla="*/ 5 w 23"/>
                <a:gd name="T9" fmla="*/ 1 h 31"/>
                <a:gd name="T10" fmla="*/ 22 w 23"/>
                <a:gd name="T11" fmla="*/ 26 h 31"/>
                <a:gd name="T12" fmla="*/ 19 w 23"/>
                <a:gd name="T13" fmla="*/ 31 h 31"/>
                <a:gd name="T14" fmla="*/ 18 w 23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31">
                  <a:moveTo>
                    <a:pt x="18" y="31"/>
                  </a:moveTo>
                  <a:cubicBezTo>
                    <a:pt x="16" y="31"/>
                    <a:pt x="14" y="29"/>
                    <a:pt x="14" y="27"/>
                  </a:cubicBezTo>
                  <a:cubicBezTo>
                    <a:pt x="12" y="11"/>
                    <a:pt x="4" y="9"/>
                    <a:pt x="4" y="9"/>
                  </a:cubicBezTo>
                  <a:cubicBezTo>
                    <a:pt x="1" y="8"/>
                    <a:pt x="0" y="6"/>
                    <a:pt x="0" y="4"/>
                  </a:cubicBezTo>
                  <a:cubicBezTo>
                    <a:pt x="1" y="2"/>
                    <a:pt x="3" y="0"/>
                    <a:pt x="5" y="1"/>
                  </a:cubicBezTo>
                  <a:cubicBezTo>
                    <a:pt x="6" y="1"/>
                    <a:pt x="20" y="4"/>
                    <a:pt x="22" y="26"/>
                  </a:cubicBezTo>
                  <a:cubicBezTo>
                    <a:pt x="23" y="29"/>
                    <a:pt x="21" y="31"/>
                    <a:pt x="19" y="31"/>
                  </a:cubicBezTo>
                  <a:cubicBezTo>
                    <a:pt x="18" y="31"/>
                    <a:pt x="18" y="31"/>
                    <a:pt x="18" y="3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2" name="Freeform 57">
              <a:extLst>
                <a:ext uri="{FF2B5EF4-FFF2-40B4-BE49-F238E27FC236}">
                  <a16:creationId xmlns:a16="http://schemas.microsoft.com/office/drawing/2014/main" id="{1554D153-A5BB-7C48-2DEA-56C8260705B2}"/>
                </a:ext>
              </a:extLst>
            </p:cNvPr>
            <p:cNvSpPr>
              <a:spLocks/>
            </p:cNvSpPr>
            <p:nvPr/>
          </p:nvSpPr>
          <p:spPr bwMode="auto">
            <a:xfrm>
              <a:off x="-4373366" y="2768632"/>
              <a:ext cx="52994" cy="97832"/>
            </a:xfrm>
            <a:custGeom>
              <a:avLst/>
              <a:gdLst>
                <a:gd name="T0" fmla="*/ 5 w 21"/>
                <a:gd name="T1" fmla="*/ 38 h 38"/>
                <a:gd name="T2" fmla="*/ 1 w 21"/>
                <a:gd name="T3" fmla="*/ 36 h 38"/>
                <a:gd name="T4" fmla="*/ 3 w 21"/>
                <a:gd name="T5" fmla="*/ 30 h 38"/>
                <a:gd name="T6" fmla="*/ 11 w 21"/>
                <a:gd name="T7" fmla="*/ 20 h 38"/>
                <a:gd name="T8" fmla="*/ 10 w 21"/>
                <a:gd name="T9" fmla="*/ 7 h 38"/>
                <a:gd name="T10" fmla="*/ 12 w 21"/>
                <a:gd name="T11" fmla="*/ 1 h 38"/>
                <a:gd name="T12" fmla="*/ 17 w 21"/>
                <a:gd name="T13" fmla="*/ 3 h 38"/>
                <a:gd name="T14" fmla="*/ 19 w 21"/>
                <a:gd name="T15" fmla="*/ 22 h 38"/>
                <a:gd name="T16" fmla="*/ 7 w 21"/>
                <a:gd name="T17" fmla="*/ 38 h 38"/>
                <a:gd name="T18" fmla="*/ 5 w 21"/>
                <a:gd name="T19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8">
                  <a:moveTo>
                    <a:pt x="5" y="38"/>
                  </a:moveTo>
                  <a:cubicBezTo>
                    <a:pt x="3" y="38"/>
                    <a:pt x="2" y="37"/>
                    <a:pt x="1" y="36"/>
                  </a:cubicBezTo>
                  <a:cubicBezTo>
                    <a:pt x="0" y="34"/>
                    <a:pt x="1" y="31"/>
                    <a:pt x="3" y="30"/>
                  </a:cubicBezTo>
                  <a:cubicBezTo>
                    <a:pt x="7" y="28"/>
                    <a:pt x="10" y="24"/>
                    <a:pt x="11" y="20"/>
                  </a:cubicBezTo>
                  <a:cubicBezTo>
                    <a:pt x="13" y="16"/>
                    <a:pt x="12" y="11"/>
                    <a:pt x="10" y="7"/>
                  </a:cubicBezTo>
                  <a:cubicBezTo>
                    <a:pt x="9" y="5"/>
                    <a:pt x="10" y="2"/>
                    <a:pt x="12" y="1"/>
                  </a:cubicBezTo>
                  <a:cubicBezTo>
                    <a:pt x="14" y="0"/>
                    <a:pt x="16" y="1"/>
                    <a:pt x="17" y="3"/>
                  </a:cubicBezTo>
                  <a:cubicBezTo>
                    <a:pt x="21" y="9"/>
                    <a:pt x="21" y="16"/>
                    <a:pt x="19" y="22"/>
                  </a:cubicBezTo>
                  <a:cubicBezTo>
                    <a:pt x="17" y="29"/>
                    <a:pt x="13" y="34"/>
                    <a:pt x="7" y="38"/>
                  </a:cubicBezTo>
                  <a:cubicBezTo>
                    <a:pt x="6" y="38"/>
                    <a:pt x="5" y="38"/>
                    <a:pt x="5" y="3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3" name="Freeform 58">
              <a:extLst>
                <a:ext uri="{FF2B5EF4-FFF2-40B4-BE49-F238E27FC236}">
                  <a16:creationId xmlns:a16="http://schemas.microsoft.com/office/drawing/2014/main" id="{7D3BB6BF-30B3-8C45-0645-2D6C2E12EA23}"/>
                </a:ext>
              </a:extLst>
            </p:cNvPr>
            <p:cNvSpPr>
              <a:spLocks/>
            </p:cNvSpPr>
            <p:nvPr/>
          </p:nvSpPr>
          <p:spPr bwMode="auto">
            <a:xfrm>
              <a:off x="-4340755" y="2784937"/>
              <a:ext cx="52994" cy="48916"/>
            </a:xfrm>
            <a:custGeom>
              <a:avLst/>
              <a:gdLst>
                <a:gd name="T0" fmla="*/ 5 w 22"/>
                <a:gd name="T1" fmla="*/ 20 h 20"/>
                <a:gd name="T2" fmla="*/ 4 w 22"/>
                <a:gd name="T3" fmla="*/ 20 h 20"/>
                <a:gd name="T4" fmla="*/ 1 w 22"/>
                <a:gd name="T5" fmla="*/ 15 h 20"/>
                <a:gd name="T6" fmla="*/ 5 w 22"/>
                <a:gd name="T7" fmla="*/ 12 h 20"/>
                <a:gd name="T8" fmla="*/ 14 w 22"/>
                <a:gd name="T9" fmla="*/ 3 h 20"/>
                <a:gd name="T10" fmla="*/ 19 w 22"/>
                <a:gd name="T11" fmla="*/ 0 h 20"/>
                <a:gd name="T12" fmla="*/ 22 w 22"/>
                <a:gd name="T13" fmla="*/ 6 h 20"/>
                <a:gd name="T14" fmla="*/ 5 w 22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0">
                  <a:moveTo>
                    <a:pt x="5" y="20"/>
                  </a:moveTo>
                  <a:cubicBezTo>
                    <a:pt x="4" y="20"/>
                    <a:pt x="4" y="20"/>
                    <a:pt x="4" y="20"/>
                  </a:cubicBezTo>
                  <a:cubicBezTo>
                    <a:pt x="2" y="20"/>
                    <a:pt x="0" y="17"/>
                    <a:pt x="1" y="15"/>
                  </a:cubicBezTo>
                  <a:cubicBezTo>
                    <a:pt x="1" y="13"/>
                    <a:pt x="3" y="11"/>
                    <a:pt x="5" y="12"/>
                  </a:cubicBezTo>
                  <a:cubicBezTo>
                    <a:pt x="5" y="12"/>
                    <a:pt x="10" y="11"/>
                    <a:pt x="14" y="3"/>
                  </a:cubicBezTo>
                  <a:cubicBezTo>
                    <a:pt x="15" y="1"/>
                    <a:pt x="17" y="0"/>
                    <a:pt x="19" y="0"/>
                  </a:cubicBezTo>
                  <a:cubicBezTo>
                    <a:pt x="21" y="1"/>
                    <a:pt x="22" y="4"/>
                    <a:pt x="22" y="6"/>
                  </a:cubicBezTo>
                  <a:cubicBezTo>
                    <a:pt x="16" y="19"/>
                    <a:pt x="7" y="20"/>
                    <a:pt x="5" y="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4" name="Freeform 59">
              <a:extLst>
                <a:ext uri="{FF2B5EF4-FFF2-40B4-BE49-F238E27FC236}">
                  <a16:creationId xmlns:a16="http://schemas.microsoft.com/office/drawing/2014/main" id="{A7657099-FF46-97E7-EA10-60863A313945}"/>
                </a:ext>
              </a:extLst>
            </p:cNvPr>
            <p:cNvSpPr>
              <a:spLocks/>
            </p:cNvSpPr>
            <p:nvPr/>
          </p:nvSpPr>
          <p:spPr bwMode="auto">
            <a:xfrm>
              <a:off x="-4340755" y="2650419"/>
              <a:ext cx="57069" cy="81527"/>
            </a:xfrm>
            <a:custGeom>
              <a:avLst/>
              <a:gdLst>
                <a:gd name="T0" fmla="*/ 5 w 23"/>
                <a:gd name="T1" fmla="*/ 33 h 33"/>
                <a:gd name="T2" fmla="*/ 1 w 23"/>
                <a:gd name="T3" fmla="*/ 31 h 33"/>
                <a:gd name="T4" fmla="*/ 3 w 23"/>
                <a:gd name="T5" fmla="*/ 26 h 33"/>
                <a:gd name="T6" fmla="*/ 10 w 23"/>
                <a:gd name="T7" fmla="*/ 6 h 33"/>
                <a:gd name="T8" fmla="*/ 11 w 23"/>
                <a:gd name="T9" fmla="*/ 1 h 33"/>
                <a:gd name="T10" fmla="*/ 17 w 23"/>
                <a:gd name="T11" fmla="*/ 3 h 33"/>
                <a:gd name="T12" fmla="*/ 7 w 23"/>
                <a:gd name="T13" fmla="*/ 33 h 33"/>
                <a:gd name="T14" fmla="*/ 5 w 23"/>
                <a:gd name="T15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33">
                  <a:moveTo>
                    <a:pt x="5" y="33"/>
                  </a:moveTo>
                  <a:cubicBezTo>
                    <a:pt x="4" y="33"/>
                    <a:pt x="2" y="32"/>
                    <a:pt x="1" y="31"/>
                  </a:cubicBezTo>
                  <a:cubicBezTo>
                    <a:pt x="0" y="29"/>
                    <a:pt x="1" y="27"/>
                    <a:pt x="3" y="26"/>
                  </a:cubicBezTo>
                  <a:cubicBezTo>
                    <a:pt x="15" y="18"/>
                    <a:pt x="10" y="8"/>
                    <a:pt x="10" y="6"/>
                  </a:cubicBezTo>
                  <a:cubicBezTo>
                    <a:pt x="9" y="4"/>
                    <a:pt x="9" y="2"/>
                    <a:pt x="11" y="1"/>
                  </a:cubicBezTo>
                  <a:cubicBezTo>
                    <a:pt x="13" y="0"/>
                    <a:pt x="16" y="1"/>
                    <a:pt x="17" y="3"/>
                  </a:cubicBezTo>
                  <a:cubicBezTo>
                    <a:pt x="20" y="9"/>
                    <a:pt x="23" y="24"/>
                    <a:pt x="7" y="33"/>
                  </a:cubicBezTo>
                  <a:cubicBezTo>
                    <a:pt x="6" y="33"/>
                    <a:pt x="6" y="33"/>
                    <a:pt x="5" y="3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5" name="Freeform 60">
              <a:extLst>
                <a:ext uri="{FF2B5EF4-FFF2-40B4-BE49-F238E27FC236}">
                  <a16:creationId xmlns:a16="http://schemas.microsoft.com/office/drawing/2014/main" id="{7C07EC89-10C3-7C2E-A22D-B10D1A8C3F97}"/>
                </a:ext>
              </a:extLst>
            </p:cNvPr>
            <p:cNvSpPr>
              <a:spLocks/>
            </p:cNvSpPr>
            <p:nvPr/>
          </p:nvSpPr>
          <p:spPr bwMode="auto">
            <a:xfrm>
              <a:off x="-4442665" y="2740099"/>
              <a:ext cx="61147" cy="81527"/>
            </a:xfrm>
            <a:custGeom>
              <a:avLst/>
              <a:gdLst>
                <a:gd name="T0" fmla="*/ 20 w 25"/>
                <a:gd name="T1" fmla="*/ 32 h 32"/>
                <a:gd name="T2" fmla="*/ 19 w 25"/>
                <a:gd name="T3" fmla="*/ 32 h 32"/>
                <a:gd name="T4" fmla="*/ 5 w 25"/>
                <a:gd name="T5" fmla="*/ 4 h 32"/>
                <a:gd name="T6" fmla="*/ 10 w 25"/>
                <a:gd name="T7" fmla="*/ 1 h 32"/>
                <a:gd name="T8" fmla="*/ 13 w 25"/>
                <a:gd name="T9" fmla="*/ 6 h 32"/>
                <a:gd name="T10" fmla="*/ 21 w 25"/>
                <a:gd name="T11" fmla="*/ 24 h 32"/>
                <a:gd name="T12" fmla="*/ 24 w 25"/>
                <a:gd name="T13" fmla="*/ 29 h 32"/>
                <a:gd name="T14" fmla="*/ 20 w 25"/>
                <a:gd name="T1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32">
                  <a:moveTo>
                    <a:pt x="20" y="32"/>
                  </a:moveTo>
                  <a:cubicBezTo>
                    <a:pt x="20" y="32"/>
                    <a:pt x="19" y="32"/>
                    <a:pt x="19" y="32"/>
                  </a:cubicBezTo>
                  <a:cubicBezTo>
                    <a:pt x="12" y="30"/>
                    <a:pt x="0" y="21"/>
                    <a:pt x="5" y="4"/>
                  </a:cubicBezTo>
                  <a:cubicBezTo>
                    <a:pt x="5" y="2"/>
                    <a:pt x="7" y="0"/>
                    <a:pt x="10" y="1"/>
                  </a:cubicBezTo>
                  <a:cubicBezTo>
                    <a:pt x="12" y="1"/>
                    <a:pt x="13" y="4"/>
                    <a:pt x="13" y="6"/>
                  </a:cubicBezTo>
                  <a:cubicBezTo>
                    <a:pt x="9" y="20"/>
                    <a:pt x="20" y="24"/>
                    <a:pt x="21" y="24"/>
                  </a:cubicBezTo>
                  <a:cubicBezTo>
                    <a:pt x="23" y="25"/>
                    <a:pt x="25" y="27"/>
                    <a:pt x="24" y="29"/>
                  </a:cubicBezTo>
                  <a:cubicBezTo>
                    <a:pt x="23" y="31"/>
                    <a:pt x="22" y="32"/>
                    <a:pt x="20" y="3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6" name="Freeform 61">
              <a:extLst>
                <a:ext uri="{FF2B5EF4-FFF2-40B4-BE49-F238E27FC236}">
                  <a16:creationId xmlns:a16="http://schemas.microsoft.com/office/drawing/2014/main" id="{C1CB120C-86E0-3896-BBD1-914689CEB953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15779" y="2890922"/>
              <a:ext cx="167132" cy="126368"/>
            </a:xfrm>
            <a:custGeom>
              <a:avLst/>
              <a:gdLst>
                <a:gd name="T0" fmla="*/ 34 w 67"/>
                <a:gd name="T1" fmla="*/ 50 h 50"/>
                <a:gd name="T2" fmla="*/ 0 w 67"/>
                <a:gd name="T3" fmla="*/ 16 h 50"/>
                <a:gd name="T4" fmla="*/ 3 w 67"/>
                <a:gd name="T5" fmla="*/ 3 h 50"/>
                <a:gd name="T6" fmla="*/ 8 w 67"/>
                <a:gd name="T7" fmla="*/ 1 h 50"/>
                <a:gd name="T8" fmla="*/ 11 w 67"/>
                <a:gd name="T9" fmla="*/ 7 h 50"/>
                <a:gd name="T10" fmla="*/ 9 w 67"/>
                <a:gd name="T11" fmla="*/ 16 h 50"/>
                <a:gd name="T12" fmla="*/ 34 w 67"/>
                <a:gd name="T13" fmla="*/ 42 h 50"/>
                <a:gd name="T14" fmla="*/ 59 w 67"/>
                <a:gd name="T15" fmla="*/ 16 h 50"/>
                <a:gd name="T16" fmla="*/ 63 w 67"/>
                <a:gd name="T17" fmla="*/ 12 h 50"/>
                <a:gd name="T18" fmla="*/ 67 w 67"/>
                <a:gd name="T19" fmla="*/ 16 h 50"/>
                <a:gd name="T20" fmla="*/ 34 w 67"/>
                <a:gd name="T21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7" h="50">
                  <a:moveTo>
                    <a:pt x="34" y="50"/>
                  </a:moveTo>
                  <a:cubicBezTo>
                    <a:pt x="15" y="50"/>
                    <a:pt x="0" y="35"/>
                    <a:pt x="0" y="16"/>
                  </a:cubicBezTo>
                  <a:cubicBezTo>
                    <a:pt x="0" y="12"/>
                    <a:pt x="1" y="8"/>
                    <a:pt x="3" y="3"/>
                  </a:cubicBezTo>
                  <a:cubicBezTo>
                    <a:pt x="4" y="1"/>
                    <a:pt x="6" y="0"/>
                    <a:pt x="8" y="1"/>
                  </a:cubicBezTo>
                  <a:cubicBezTo>
                    <a:pt x="11" y="2"/>
                    <a:pt x="12" y="5"/>
                    <a:pt x="11" y="7"/>
                  </a:cubicBezTo>
                  <a:cubicBezTo>
                    <a:pt x="9" y="10"/>
                    <a:pt x="9" y="13"/>
                    <a:pt x="9" y="16"/>
                  </a:cubicBezTo>
                  <a:cubicBezTo>
                    <a:pt x="9" y="30"/>
                    <a:pt x="20" y="42"/>
                    <a:pt x="34" y="42"/>
                  </a:cubicBezTo>
                  <a:cubicBezTo>
                    <a:pt x="48" y="42"/>
                    <a:pt x="59" y="30"/>
                    <a:pt x="59" y="16"/>
                  </a:cubicBezTo>
                  <a:cubicBezTo>
                    <a:pt x="59" y="14"/>
                    <a:pt x="61" y="12"/>
                    <a:pt x="63" y="12"/>
                  </a:cubicBezTo>
                  <a:cubicBezTo>
                    <a:pt x="65" y="12"/>
                    <a:pt x="67" y="14"/>
                    <a:pt x="67" y="16"/>
                  </a:cubicBezTo>
                  <a:cubicBezTo>
                    <a:pt x="67" y="35"/>
                    <a:pt x="52" y="50"/>
                    <a:pt x="34" y="5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7" name="Freeform 62">
              <a:extLst>
                <a:ext uri="{FF2B5EF4-FFF2-40B4-BE49-F238E27FC236}">
                  <a16:creationId xmlns:a16="http://schemas.microsoft.com/office/drawing/2014/main" id="{38B3BCAA-BBC0-88BD-8C34-2B7200C8108A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15779" y="2413991"/>
              <a:ext cx="167132" cy="118215"/>
            </a:xfrm>
            <a:custGeom>
              <a:avLst/>
              <a:gdLst>
                <a:gd name="T0" fmla="*/ 7 w 67"/>
                <a:gd name="T1" fmla="*/ 48 h 48"/>
                <a:gd name="T2" fmla="*/ 3 w 67"/>
                <a:gd name="T3" fmla="*/ 46 h 48"/>
                <a:gd name="T4" fmla="*/ 0 w 67"/>
                <a:gd name="T5" fmla="*/ 33 h 48"/>
                <a:gd name="T6" fmla="*/ 34 w 67"/>
                <a:gd name="T7" fmla="*/ 0 h 48"/>
                <a:gd name="T8" fmla="*/ 67 w 67"/>
                <a:gd name="T9" fmla="*/ 33 h 48"/>
                <a:gd name="T10" fmla="*/ 63 w 67"/>
                <a:gd name="T11" fmla="*/ 37 h 48"/>
                <a:gd name="T12" fmla="*/ 59 w 67"/>
                <a:gd name="T13" fmla="*/ 33 h 48"/>
                <a:gd name="T14" fmla="*/ 34 w 67"/>
                <a:gd name="T15" fmla="*/ 8 h 48"/>
                <a:gd name="T16" fmla="*/ 9 w 67"/>
                <a:gd name="T17" fmla="*/ 33 h 48"/>
                <a:gd name="T18" fmla="*/ 11 w 67"/>
                <a:gd name="T19" fmla="*/ 43 h 48"/>
                <a:gd name="T20" fmla="*/ 8 w 67"/>
                <a:gd name="T21" fmla="*/ 48 h 48"/>
                <a:gd name="T22" fmla="*/ 7 w 67"/>
                <a:gd name="T2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7" h="48">
                  <a:moveTo>
                    <a:pt x="7" y="48"/>
                  </a:moveTo>
                  <a:cubicBezTo>
                    <a:pt x="5" y="48"/>
                    <a:pt x="4" y="48"/>
                    <a:pt x="3" y="46"/>
                  </a:cubicBezTo>
                  <a:cubicBezTo>
                    <a:pt x="1" y="42"/>
                    <a:pt x="0" y="37"/>
                    <a:pt x="0" y="33"/>
                  </a:cubicBezTo>
                  <a:cubicBezTo>
                    <a:pt x="0" y="15"/>
                    <a:pt x="15" y="0"/>
                    <a:pt x="34" y="0"/>
                  </a:cubicBezTo>
                  <a:cubicBezTo>
                    <a:pt x="52" y="0"/>
                    <a:pt x="67" y="15"/>
                    <a:pt x="67" y="33"/>
                  </a:cubicBezTo>
                  <a:cubicBezTo>
                    <a:pt x="67" y="35"/>
                    <a:pt x="65" y="37"/>
                    <a:pt x="63" y="37"/>
                  </a:cubicBezTo>
                  <a:cubicBezTo>
                    <a:pt x="61" y="37"/>
                    <a:pt x="59" y="35"/>
                    <a:pt x="59" y="33"/>
                  </a:cubicBezTo>
                  <a:cubicBezTo>
                    <a:pt x="59" y="19"/>
                    <a:pt x="48" y="8"/>
                    <a:pt x="34" y="8"/>
                  </a:cubicBezTo>
                  <a:cubicBezTo>
                    <a:pt x="20" y="8"/>
                    <a:pt x="9" y="19"/>
                    <a:pt x="9" y="33"/>
                  </a:cubicBezTo>
                  <a:cubicBezTo>
                    <a:pt x="9" y="36"/>
                    <a:pt x="9" y="40"/>
                    <a:pt x="11" y="43"/>
                  </a:cubicBezTo>
                  <a:cubicBezTo>
                    <a:pt x="12" y="45"/>
                    <a:pt x="11" y="47"/>
                    <a:pt x="8" y="48"/>
                  </a:cubicBezTo>
                  <a:cubicBezTo>
                    <a:pt x="8" y="48"/>
                    <a:pt x="7" y="48"/>
                    <a:pt x="7" y="4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8" name="Freeform 63">
              <a:extLst>
                <a:ext uri="{FF2B5EF4-FFF2-40B4-BE49-F238E27FC236}">
                  <a16:creationId xmlns:a16="http://schemas.microsoft.com/office/drawing/2014/main" id="{F65EA37A-F0A3-8392-CCB3-47FAF4724076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62528" y="2475135"/>
              <a:ext cx="163054" cy="248658"/>
            </a:xfrm>
            <a:custGeom>
              <a:avLst/>
              <a:gdLst>
                <a:gd name="T0" fmla="*/ 14 w 65"/>
                <a:gd name="T1" fmla="*/ 99 h 99"/>
                <a:gd name="T2" fmla="*/ 10 w 65"/>
                <a:gd name="T3" fmla="*/ 97 h 99"/>
                <a:gd name="T4" fmla="*/ 1 w 65"/>
                <a:gd name="T5" fmla="*/ 68 h 99"/>
                <a:gd name="T6" fmla="*/ 17 w 65"/>
                <a:gd name="T7" fmla="*/ 22 h 99"/>
                <a:gd name="T8" fmla="*/ 60 w 65"/>
                <a:gd name="T9" fmla="*/ 0 h 99"/>
                <a:gd name="T10" fmla="*/ 65 w 65"/>
                <a:gd name="T11" fmla="*/ 4 h 99"/>
                <a:gd name="T12" fmla="*/ 61 w 65"/>
                <a:gd name="T13" fmla="*/ 9 h 99"/>
                <a:gd name="T14" fmla="*/ 9 w 65"/>
                <a:gd name="T15" fmla="*/ 68 h 99"/>
                <a:gd name="T16" fmla="*/ 17 w 65"/>
                <a:gd name="T17" fmla="*/ 93 h 99"/>
                <a:gd name="T18" fmla="*/ 16 w 65"/>
                <a:gd name="T19" fmla="*/ 99 h 99"/>
                <a:gd name="T20" fmla="*/ 14 w 65"/>
                <a:gd name="T21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5" h="99">
                  <a:moveTo>
                    <a:pt x="14" y="99"/>
                  </a:moveTo>
                  <a:cubicBezTo>
                    <a:pt x="13" y="99"/>
                    <a:pt x="11" y="98"/>
                    <a:pt x="10" y="97"/>
                  </a:cubicBezTo>
                  <a:cubicBezTo>
                    <a:pt x="5" y="89"/>
                    <a:pt x="2" y="79"/>
                    <a:pt x="1" y="68"/>
                  </a:cubicBezTo>
                  <a:cubicBezTo>
                    <a:pt x="0" y="52"/>
                    <a:pt x="5" y="35"/>
                    <a:pt x="17" y="22"/>
                  </a:cubicBezTo>
                  <a:cubicBezTo>
                    <a:pt x="28" y="9"/>
                    <a:pt x="43" y="2"/>
                    <a:pt x="60" y="0"/>
                  </a:cubicBezTo>
                  <a:cubicBezTo>
                    <a:pt x="62" y="0"/>
                    <a:pt x="64" y="2"/>
                    <a:pt x="65" y="4"/>
                  </a:cubicBezTo>
                  <a:cubicBezTo>
                    <a:pt x="65" y="6"/>
                    <a:pt x="63" y="8"/>
                    <a:pt x="61" y="9"/>
                  </a:cubicBezTo>
                  <a:cubicBezTo>
                    <a:pt x="30" y="11"/>
                    <a:pt x="7" y="37"/>
                    <a:pt x="9" y="68"/>
                  </a:cubicBezTo>
                  <a:cubicBezTo>
                    <a:pt x="10" y="77"/>
                    <a:pt x="13" y="85"/>
                    <a:pt x="17" y="93"/>
                  </a:cubicBezTo>
                  <a:cubicBezTo>
                    <a:pt x="19" y="95"/>
                    <a:pt x="18" y="97"/>
                    <a:pt x="16" y="99"/>
                  </a:cubicBezTo>
                  <a:cubicBezTo>
                    <a:pt x="15" y="99"/>
                    <a:pt x="15" y="99"/>
                    <a:pt x="14" y="9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9" name="Freeform 64">
              <a:extLst>
                <a:ext uri="{FF2B5EF4-FFF2-40B4-BE49-F238E27FC236}">
                  <a16:creationId xmlns:a16="http://schemas.microsoft.com/office/drawing/2014/main" id="{BB38A93E-164C-B5F5-0EF0-8EBC498177A0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21764" y="2809395"/>
              <a:ext cx="122290" cy="150826"/>
            </a:xfrm>
            <a:custGeom>
              <a:avLst/>
              <a:gdLst>
                <a:gd name="T0" fmla="*/ 45 w 50"/>
                <a:gd name="T1" fmla="*/ 60 h 60"/>
                <a:gd name="T2" fmla="*/ 28 w 50"/>
                <a:gd name="T3" fmla="*/ 56 h 60"/>
                <a:gd name="T4" fmla="*/ 9 w 50"/>
                <a:gd name="T5" fmla="*/ 3 h 60"/>
                <a:gd name="T6" fmla="*/ 15 w 50"/>
                <a:gd name="T7" fmla="*/ 1 h 60"/>
                <a:gd name="T8" fmla="*/ 17 w 50"/>
                <a:gd name="T9" fmla="*/ 7 h 60"/>
                <a:gd name="T10" fmla="*/ 31 w 50"/>
                <a:gd name="T11" fmla="*/ 49 h 60"/>
                <a:gd name="T12" fmla="*/ 46 w 50"/>
                <a:gd name="T13" fmla="*/ 52 h 60"/>
                <a:gd name="T14" fmla="*/ 50 w 50"/>
                <a:gd name="T15" fmla="*/ 56 h 60"/>
                <a:gd name="T16" fmla="*/ 46 w 50"/>
                <a:gd name="T17" fmla="*/ 60 h 60"/>
                <a:gd name="T18" fmla="*/ 45 w 50"/>
                <a:gd name="T19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" h="60">
                  <a:moveTo>
                    <a:pt x="45" y="60"/>
                  </a:moveTo>
                  <a:cubicBezTo>
                    <a:pt x="39" y="60"/>
                    <a:pt x="33" y="59"/>
                    <a:pt x="28" y="56"/>
                  </a:cubicBezTo>
                  <a:cubicBezTo>
                    <a:pt x="8" y="47"/>
                    <a:pt x="0" y="23"/>
                    <a:pt x="9" y="3"/>
                  </a:cubicBezTo>
                  <a:cubicBezTo>
                    <a:pt x="10" y="1"/>
                    <a:pt x="13" y="0"/>
                    <a:pt x="15" y="1"/>
                  </a:cubicBezTo>
                  <a:cubicBezTo>
                    <a:pt x="17" y="2"/>
                    <a:pt x="18" y="5"/>
                    <a:pt x="17" y="7"/>
                  </a:cubicBezTo>
                  <a:cubicBezTo>
                    <a:pt x="9" y="22"/>
                    <a:pt x="16" y="41"/>
                    <a:pt x="31" y="49"/>
                  </a:cubicBezTo>
                  <a:cubicBezTo>
                    <a:pt x="36" y="51"/>
                    <a:pt x="41" y="52"/>
                    <a:pt x="46" y="52"/>
                  </a:cubicBezTo>
                  <a:cubicBezTo>
                    <a:pt x="48" y="52"/>
                    <a:pt x="50" y="53"/>
                    <a:pt x="50" y="56"/>
                  </a:cubicBezTo>
                  <a:cubicBezTo>
                    <a:pt x="50" y="58"/>
                    <a:pt x="48" y="60"/>
                    <a:pt x="46" y="60"/>
                  </a:cubicBezTo>
                  <a:cubicBezTo>
                    <a:pt x="45" y="60"/>
                    <a:pt x="45" y="60"/>
                    <a:pt x="45" y="6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0" name="Freeform 65">
              <a:extLst>
                <a:ext uri="{FF2B5EF4-FFF2-40B4-BE49-F238E27FC236}">
                  <a16:creationId xmlns:a16="http://schemas.microsoft.com/office/drawing/2014/main" id="{16A73833-BFE4-0306-9CC5-E4D6705A67E4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62528" y="2670799"/>
              <a:ext cx="73374" cy="195665"/>
            </a:xfrm>
            <a:custGeom>
              <a:avLst/>
              <a:gdLst>
                <a:gd name="T0" fmla="*/ 24 w 28"/>
                <a:gd name="T1" fmla="*/ 78 h 78"/>
                <a:gd name="T2" fmla="*/ 21 w 28"/>
                <a:gd name="T3" fmla="*/ 76 h 78"/>
                <a:gd name="T4" fmla="*/ 21 w 28"/>
                <a:gd name="T5" fmla="*/ 2 h 78"/>
                <a:gd name="T6" fmla="*/ 27 w 28"/>
                <a:gd name="T7" fmla="*/ 2 h 78"/>
                <a:gd name="T8" fmla="*/ 27 w 28"/>
                <a:gd name="T9" fmla="*/ 7 h 78"/>
                <a:gd name="T10" fmla="*/ 27 w 28"/>
                <a:gd name="T11" fmla="*/ 71 h 78"/>
                <a:gd name="T12" fmla="*/ 27 w 28"/>
                <a:gd name="T13" fmla="*/ 76 h 78"/>
                <a:gd name="T14" fmla="*/ 24 w 28"/>
                <a:gd name="T1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" h="78">
                  <a:moveTo>
                    <a:pt x="24" y="78"/>
                  </a:moveTo>
                  <a:cubicBezTo>
                    <a:pt x="23" y="78"/>
                    <a:pt x="22" y="77"/>
                    <a:pt x="21" y="76"/>
                  </a:cubicBezTo>
                  <a:cubicBezTo>
                    <a:pt x="0" y="56"/>
                    <a:pt x="0" y="22"/>
                    <a:pt x="21" y="2"/>
                  </a:cubicBezTo>
                  <a:cubicBezTo>
                    <a:pt x="22" y="0"/>
                    <a:pt x="25" y="0"/>
                    <a:pt x="27" y="2"/>
                  </a:cubicBezTo>
                  <a:cubicBezTo>
                    <a:pt x="28" y="3"/>
                    <a:pt x="28" y="6"/>
                    <a:pt x="27" y="7"/>
                  </a:cubicBezTo>
                  <a:cubicBezTo>
                    <a:pt x="9" y="25"/>
                    <a:pt x="9" y="53"/>
                    <a:pt x="27" y="71"/>
                  </a:cubicBezTo>
                  <a:cubicBezTo>
                    <a:pt x="28" y="72"/>
                    <a:pt x="28" y="75"/>
                    <a:pt x="27" y="76"/>
                  </a:cubicBezTo>
                  <a:cubicBezTo>
                    <a:pt x="26" y="77"/>
                    <a:pt x="25" y="78"/>
                    <a:pt x="24" y="7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1" name="Freeform 66">
              <a:extLst>
                <a:ext uri="{FF2B5EF4-FFF2-40B4-BE49-F238E27FC236}">
                  <a16:creationId xmlns:a16="http://schemas.microsoft.com/office/drawing/2014/main" id="{1B6CC15E-0879-5FB8-496F-2606450922AD}"/>
                </a:ext>
              </a:extLst>
            </p:cNvPr>
            <p:cNvSpPr>
              <a:spLocks/>
            </p:cNvSpPr>
            <p:nvPr/>
          </p:nvSpPr>
          <p:spPr bwMode="auto">
            <a:xfrm>
              <a:off x="-4569031" y="2483288"/>
              <a:ext cx="20383" cy="460628"/>
            </a:xfrm>
            <a:custGeom>
              <a:avLst/>
              <a:gdLst>
                <a:gd name="T0" fmla="*/ 4 w 8"/>
                <a:gd name="T1" fmla="*/ 183 h 183"/>
                <a:gd name="T2" fmla="*/ 0 w 8"/>
                <a:gd name="T3" fmla="*/ 179 h 183"/>
                <a:gd name="T4" fmla="*/ 0 w 8"/>
                <a:gd name="T5" fmla="*/ 5 h 183"/>
                <a:gd name="T6" fmla="*/ 4 w 8"/>
                <a:gd name="T7" fmla="*/ 0 h 183"/>
                <a:gd name="T8" fmla="*/ 8 w 8"/>
                <a:gd name="T9" fmla="*/ 5 h 183"/>
                <a:gd name="T10" fmla="*/ 8 w 8"/>
                <a:gd name="T11" fmla="*/ 179 h 183"/>
                <a:gd name="T12" fmla="*/ 4 w 8"/>
                <a:gd name="T13" fmla="*/ 183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183">
                  <a:moveTo>
                    <a:pt x="4" y="183"/>
                  </a:moveTo>
                  <a:cubicBezTo>
                    <a:pt x="2" y="183"/>
                    <a:pt x="0" y="181"/>
                    <a:pt x="0" y="179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5"/>
                  </a:cubicBezTo>
                  <a:cubicBezTo>
                    <a:pt x="8" y="179"/>
                    <a:pt x="8" y="179"/>
                    <a:pt x="8" y="179"/>
                  </a:cubicBezTo>
                  <a:cubicBezTo>
                    <a:pt x="8" y="181"/>
                    <a:pt x="6" y="183"/>
                    <a:pt x="4" y="18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2" name="Freeform 67">
              <a:extLst>
                <a:ext uri="{FF2B5EF4-FFF2-40B4-BE49-F238E27FC236}">
                  <a16:creationId xmlns:a16="http://schemas.microsoft.com/office/drawing/2014/main" id="{E73E57DA-AE11-702D-6C34-3742FCFCA1D3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40237" y="2727868"/>
              <a:ext cx="57069" cy="138596"/>
            </a:xfrm>
            <a:custGeom>
              <a:avLst/>
              <a:gdLst>
                <a:gd name="T0" fmla="*/ 17 w 22"/>
                <a:gd name="T1" fmla="*/ 55 h 55"/>
                <a:gd name="T2" fmla="*/ 14 w 22"/>
                <a:gd name="T3" fmla="*/ 53 h 55"/>
                <a:gd name="T4" fmla="*/ 14 w 22"/>
                <a:gd name="T5" fmla="*/ 2 h 55"/>
                <a:gd name="T6" fmla="*/ 20 w 22"/>
                <a:gd name="T7" fmla="*/ 2 h 55"/>
                <a:gd name="T8" fmla="*/ 20 w 22"/>
                <a:gd name="T9" fmla="*/ 8 h 55"/>
                <a:gd name="T10" fmla="*/ 20 w 22"/>
                <a:gd name="T11" fmla="*/ 48 h 55"/>
                <a:gd name="T12" fmla="*/ 20 w 22"/>
                <a:gd name="T13" fmla="*/ 53 h 55"/>
                <a:gd name="T14" fmla="*/ 17 w 22"/>
                <a:gd name="T15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55">
                  <a:moveTo>
                    <a:pt x="17" y="55"/>
                  </a:moveTo>
                  <a:cubicBezTo>
                    <a:pt x="16" y="55"/>
                    <a:pt x="15" y="54"/>
                    <a:pt x="14" y="53"/>
                  </a:cubicBezTo>
                  <a:cubicBezTo>
                    <a:pt x="0" y="39"/>
                    <a:pt x="0" y="16"/>
                    <a:pt x="14" y="2"/>
                  </a:cubicBezTo>
                  <a:cubicBezTo>
                    <a:pt x="16" y="0"/>
                    <a:pt x="19" y="0"/>
                    <a:pt x="20" y="2"/>
                  </a:cubicBezTo>
                  <a:cubicBezTo>
                    <a:pt x="22" y="3"/>
                    <a:pt x="22" y="6"/>
                    <a:pt x="20" y="8"/>
                  </a:cubicBezTo>
                  <a:cubicBezTo>
                    <a:pt x="9" y="19"/>
                    <a:pt x="9" y="37"/>
                    <a:pt x="20" y="48"/>
                  </a:cubicBezTo>
                  <a:cubicBezTo>
                    <a:pt x="22" y="49"/>
                    <a:pt x="22" y="52"/>
                    <a:pt x="20" y="53"/>
                  </a:cubicBezTo>
                  <a:cubicBezTo>
                    <a:pt x="20" y="54"/>
                    <a:pt x="18" y="55"/>
                    <a:pt x="17" y="5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3" name="Freeform 68">
              <a:extLst>
                <a:ext uri="{FF2B5EF4-FFF2-40B4-BE49-F238E27FC236}">
                  <a16:creationId xmlns:a16="http://schemas.microsoft.com/office/drawing/2014/main" id="{8AF64950-ECD5-3681-4933-930E9F5CCC09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68773" y="2727868"/>
              <a:ext cx="52994" cy="81527"/>
            </a:xfrm>
            <a:custGeom>
              <a:avLst/>
              <a:gdLst>
                <a:gd name="T0" fmla="*/ 18 w 22"/>
                <a:gd name="T1" fmla="*/ 31 h 31"/>
                <a:gd name="T2" fmla="*/ 17 w 22"/>
                <a:gd name="T3" fmla="*/ 31 h 31"/>
                <a:gd name="T4" fmla="*/ 0 w 22"/>
                <a:gd name="T5" fmla="*/ 5 h 31"/>
                <a:gd name="T6" fmla="*/ 4 w 22"/>
                <a:gd name="T7" fmla="*/ 1 h 31"/>
                <a:gd name="T8" fmla="*/ 8 w 22"/>
                <a:gd name="T9" fmla="*/ 4 h 31"/>
                <a:gd name="T10" fmla="*/ 19 w 22"/>
                <a:gd name="T11" fmla="*/ 23 h 31"/>
                <a:gd name="T12" fmla="*/ 22 w 22"/>
                <a:gd name="T13" fmla="*/ 27 h 31"/>
                <a:gd name="T14" fmla="*/ 18 w 22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31">
                  <a:moveTo>
                    <a:pt x="18" y="31"/>
                  </a:moveTo>
                  <a:cubicBezTo>
                    <a:pt x="18" y="31"/>
                    <a:pt x="17" y="31"/>
                    <a:pt x="17" y="31"/>
                  </a:cubicBezTo>
                  <a:cubicBezTo>
                    <a:pt x="16" y="31"/>
                    <a:pt x="2" y="28"/>
                    <a:pt x="0" y="5"/>
                  </a:cubicBezTo>
                  <a:cubicBezTo>
                    <a:pt x="0" y="3"/>
                    <a:pt x="1" y="1"/>
                    <a:pt x="4" y="1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10" y="20"/>
                    <a:pt x="18" y="22"/>
                    <a:pt x="19" y="23"/>
                  </a:cubicBezTo>
                  <a:cubicBezTo>
                    <a:pt x="21" y="23"/>
                    <a:pt x="22" y="25"/>
                    <a:pt x="22" y="27"/>
                  </a:cubicBezTo>
                  <a:cubicBezTo>
                    <a:pt x="21" y="29"/>
                    <a:pt x="20" y="31"/>
                    <a:pt x="18" y="3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4" name="Freeform 69">
              <a:extLst>
                <a:ext uri="{FF2B5EF4-FFF2-40B4-BE49-F238E27FC236}">
                  <a16:creationId xmlns:a16="http://schemas.microsoft.com/office/drawing/2014/main" id="{A10E1D3C-1B3D-1C13-357F-55FF2E4BEAEE}"/>
                </a:ext>
              </a:extLst>
            </p:cNvPr>
            <p:cNvSpPr>
              <a:spLocks/>
            </p:cNvSpPr>
            <p:nvPr/>
          </p:nvSpPr>
          <p:spPr bwMode="auto">
            <a:xfrm>
              <a:off x="-4658710" y="2519976"/>
              <a:ext cx="52994" cy="93757"/>
            </a:xfrm>
            <a:custGeom>
              <a:avLst/>
              <a:gdLst>
                <a:gd name="T0" fmla="*/ 7 w 21"/>
                <a:gd name="T1" fmla="*/ 38 h 38"/>
                <a:gd name="T2" fmla="*/ 4 w 21"/>
                <a:gd name="T3" fmla="*/ 36 h 38"/>
                <a:gd name="T4" fmla="*/ 2 w 21"/>
                <a:gd name="T5" fmla="*/ 16 h 38"/>
                <a:gd name="T6" fmla="*/ 14 w 21"/>
                <a:gd name="T7" fmla="*/ 1 h 38"/>
                <a:gd name="T8" fmla="*/ 20 w 21"/>
                <a:gd name="T9" fmla="*/ 3 h 38"/>
                <a:gd name="T10" fmla="*/ 18 w 21"/>
                <a:gd name="T11" fmla="*/ 8 h 38"/>
                <a:gd name="T12" fmla="*/ 10 w 21"/>
                <a:gd name="T13" fmla="*/ 19 h 38"/>
                <a:gd name="T14" fmla="*/ 11 w 21"/>
                <a:gd name="T15" fmla="*/ 32 h 38"/>
                <a:gd name="T16" fmla="*/ 9 w 21"/>
                <a:gd name="T17" fmla="*/ 37 h 38"/>
                <a:gd name="T18" fmla="*/ 7 w 21"/>
                <a:gd name="T19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8">
                  <a:moveTo>
                    <a:pt x="7" y="38"/>
                  </a:moveTo>
                  <a:cubicBezTo>
                    <a:pt x="6" y="38"/>
                    <a:pt x="5" y="37"/>
                    <a:pt x="4" y="36"/>
                  </a:cubicBezTo>
                  <a:cubicBezTo>
                    <a:pt x="1" y="30"/>
                    <a:pt x="0" y="23"/>
                    <a:pt x="2" y="16"/>
                  </a:cubicBezTo>
                  <a:cubicBezTo>
                    <a:pt x="4" y="10"/>
                    <a:pt x="8" y="4"/>
                    <a:pt x="14" y="1"/>
                  </a:cubicBezTo>
                  <a:cubicBezTo>
                    <a:pt x="16" y="0"/>
                    <a:pt x="19" y="1"/>
                    <a:pt x="20" y="3"/>
                  </a:cubicBezTo>
                  <a:cubicBezTo>
                    <a:pt x="21" y="5"/>
                    <a:pt x="20" y="7"/>
                    <a:pt x="18" y="8"/>
                  </a:cubicBezTo>
                  <a:cubicBezTo>
                    <a:pt x="14" y="10"/>
                    <a:pt x="11" y="14"/>
                    <a:pt x="10" y="19"/>
                  </a:cubicBezTo>
                  <a:cubicBezTo>
                    <a:pt x="8" y="23"/>
                    <a:pt x="9" y="28"/>
                    <a:pt x="11" y="32"/>
                  </a:cubicBezTo>
                  <a:cubicBezTo>
                    <a:pt x="12" y="34"/>
                    <a:pt x="11" y="36"/>
                    <a:pt x="9" y="37"/>
                  </a:cubicBezTo>
                  <a:cubicBezTo>
                    <a:pt x="9" y="38"/>
                    <a:pt x="8" y="38"/>
                    <a:pt x="7" y="3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5" name="Freeform 70">
              <a:extLst>
                <a:ext uri="{FF2B5EF4-FFF2-40B4-BE49-F238E27FC236}">
                  <a16:creationId xmlns:a16="http://schemas.microsoft.com/office/drawing/2014/main" id="{C3282AE7-438C-9E17-A22A-C8AAB5423971}"/>
                </a:ext>
              </a:extLst>
            </p:cNvPr>
            <p:cNvSpPr>
              <a:spLocks/>
            </p:cNvSpPr>
            <p:nvPr/>
          </p:nvSpPr>
          <p:spPr bwMode="auto">
            <a:xfrm>
              <a:off x="-4691321" y="2548509"/>
              <a:ext cx="57069" cy="48916"/>
            </a:xfrm>
            <a:custGeom>
              <a:avLst/>
              <a:gdLst>
                <a:gd name="T0" fmla="*/ 4 w 22"/>
                <a:gd name="T1" fmla="*/ 20 h 20"/>
                <a:gd name="T2" fmla="*/ 3 w 22"/>
                <a:gd name="T3" fmla="*/ 20 h 20"/>
                <a:gd name="T4" fmla="*/ 1 w 22"/>
                <a:gd name="T5" fmla="*/ 15 h 20"/>
                <a:gd name="T6" fmla="*/ 18 w 22"/>
                <a:gd name="T7" fmla="*/ 1 h 20"/>
                <a:gd name="T8" fmla="*/ 22 w 22"/>
                <a:gd name="T9" fmla="*/ 5 h 20"/>
                <a:gd name="T10" fmla="*/ 17 w 22"/>
                <a:gd name="T11" fmla="*/ 9 h 20"/>
                <a:gd name="T12" fmla="*/ 8 w 22"/>
                <a:gd name="T13" fmla="*/ 18 h 20"/>
                <a:gd name="T14" fmla="*/ 4 w 22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0">
                  <a:moveTo>
                    <a:pt x="4" y="20"/>
                  </a:moveTo>
                  <a:cubicBezTo>
                    <a:pt x="4" y="20"/>
                    <a:pt x="3" y="20"/>
                    <a:pt x="3" y="20"/>
                  </a:cubicBezTo>
                  <a:cubicBezTo>
                    <a:pt x="1" y="19"/>
                    <a:pt x="0" y="17"/>
                    <a:pt x="1" y="15"/>
                  </a:cubicBezTo>
                  <a:cubicBezTo>
                    <a:pt x="7" y="0"/>
                    <a:pt x="17" y="1"/>
                    <a:pt x="18" y="1"/>
                  </a:cubicBezTo>
                  <a:cubicBezTo>
                    <a:pt x="20" y="1"/>
                    <a:pt x="22" y="3"/>
                    <a:pt x="22" y="5"/>
                  </a:cubicBezTo>
                  <a:cubicBezTo>
                    <a:pt x="21" y="8"/>
                    <a:pt x="19" y="9"/>
                    <a:pt x="17" y="9"/>
                  </a:cubicBezTo>
                  <a:cubicBezTo>
                    <a:pt x="17" y="9"/>
                    <a:pt x="12" y="9"/>
                    <a:pt x="8" y="18"/>
                  </a:cubicBezTo>
                  <a:cubicBezTo>
                    <a:pt x="7" y="19"/>
                    <a:pt x="6" y="20"/>
                    <a:pt x="4" y="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6" name="Freeform 71">
              <a:extLst>
                <a:ext uri="{FF2B5EF4-FFF2-40B4-BE49-F238E27FC236}">
                  <a16:creationId xmlns:a16="http://schemas.microsoft.com/office/drawing/2014/main" id="{75BFEF23-66FD-FFF2-2D39-2827452ACC5C}"/>
                </a:ext>
              </a:extLst>
            </p:cNvPr>
            <p:cNvSpPr>
              <a:spLocks/>
            </p:cNvSpPr>
            <p:nvPr/>
          </p:nvSpPr>
          <p:spPr bwMode="auto">
            <a:xfrm>
              <a:off x="-4679093" y="2650419"/>
              <a:ext cx="61147" cy="85605"/>
            </a:xfrm>
            <a:custGeom>
              <a:avLst/>
              <a:gdLst>
                <a:gd name="T0" fmla="*/ 10 w 23"/>
                <a:gd name="T1" fmla="*/ 33 h 33"/>
                <a:gd name="T2" fmla="*/ 6 w 23"/>
                <a:gd name="T3" fmla="*/ 31 h 33"/>
                <a:gd name="T4" fmla="*/ 16 w 23"/>
                <a:gd name="T5" fmla="*/ 1 h 33"/>
                <a:gd name="T6" fmla="*/ 22 w 23"/>
                <a:gd name="T7" fmla="*/ 3 h 33"/>
                <a:gd name="T8" fmla="*/ 20 w 23"/>
                <a:gd name="T9" fmla="*/ 8 h 33"/>
                <a:gd name="T10" fmla="*/ 14 w 23"/>
                <a:gd name="T11" fmla="*/ 27 h 33"/>
                <a:gd name="T12" fmla="*/ 12 w 23"/>
                <a:gd name="T13" fmla="*/ 33 h 33"/>
                <a:gd name="T14" fmla="*/ 10 w 23"/>
                <a:gd name="T15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33">
                  <a:moveTo>
                    <a:pt x="10" y="33"/>
                  </a:moveTo>
                  <a:cubicBezTo>
                    <a:pt x="8" y="33"/>
                    <a:pt x="7" y="32"/>
                    <a:pt x="6" y="31"/>
                  </a:cubicBezTo>
                  <a:cubicBezTo>
                    <a:pt x="3" y="25"/>
                    <a:pt x="0" y="10"/>
                    <a:pt x="16" y="1"/>
                  </a:cubicBezTo>
                  <a:cubicBezTo>
                    <a:pt x="18" y="0"/>
                    <a:pt x="21" y="1"/>
                    <a:pt x="22" y="3"/>
                  </a:cubicBezTo>
                  <a:cubicBezTo>
                    <a:pt x="23" y="4"/>
                    <a:pt x="22" y="7"/>
                    <a:pt x="20" y="8"/>
                  </a:cubicBezTo>
                  <a:cubicBezTo>
                    <a:pt x="8" y="15"/>
                    <a:pt x="13" y="26"/>
                    <a:pt x="14" y="27"/>
                  </a:cubicBezTo>
                  <a:cubicBezTo>
                    <a:pt x="15" y="29"/>
                    <a:pt x="14" y="32"/>
                    <a:pt x="12" y="33"/>
                  </a:cubicBezTo>
                  <a:cubicBezTo>
                    <a:pt x="11" y="33"/>
                    <a:pt x="11" y="33"/>
                    <a:pt x="10" y="3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7" name="Freeform 72">
              <a:extLst>
                <a:ext uri="{FF2B5EF4-FFF2-40B4-BE49-F238E27FC236}">
                  <a16:creationId xmlns:a16="http://schemas.microsoft.com/office/drawing/2014/main" id="{27420C2C-E8EA-0D4A-9877-8579D077718C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64695" y="2585197"/>
              <a:ext cx="65222" cy="77452"/>
            </a:xfrm>
            <a:custGeom>
              <a:avLst/>
              <a:gdLst>
                <a:gd name="T0" fmla="*/ 16 w 25"/>
                <a:gd name="T1" fmla="*/ 32 h 32"/>
                <a:gd name="T2" fmla="*/ 15 w 25"/>
                <a:gd name="T3" fmla="*/ 32 h 32"/>
                <a:gd name="T4" fmla="*/ 12 w 25"/>
                <a:gd name="T5" fmla="*/ 27 h 32"/>
                <a:gd name="T6" fmla="*/ 3 w 25"/>
                <a:gd name="T7" fmla="*/ 9 h 32"/>
                <a:gd name="T8" fmla="*/ 0 w 25"/>
                <a:gd name="T9" fmla="*/ 3 h 32"/>
                <a:gd name="T10" fmla="*/ 6 w 25"/>
                <a:gd name="T11" fmla="*/ 1 h 32"/>
                <a:gd name="T12" fmla="*/ 20 w 25"/>
                <a:gd name="T13" fmla="*/ 29 h 32"/>
                <a:gd name="T14" fmla="*/ 16 w 25"/>
                <a:gd name="T1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32">
                  <a:moveTo>
                    <a:pt x="16" y="32"/>
                  </a:moveTo>
                  <a:cubicBezTo>
                    <a:pt x="16" y="32"/>
                    <a:pt x="15" y="32"/>
                    <a:pt x="15" y="32"/>
                  </a:cubicBezTo>
                  <a:cubicBezTo>
                    <a:pt x="13" y="31"/>
                    <a:pt x="11" y="29"/>
                    <a:pt x="12" y="27"/>
                  </a:cubicBezTo>
                  <a:cubicBezTo>
                    <a:pt x="16" y="13"/>
                    <a:pt x="4" y="9"/>
                    <a:pt x="3" y="9"/>
                  </a:cubicBezTo>
                  <a:cubicBezTo>
                    <a:pt x="1" y="8"/>
                    <a:pt x="0" y="6"/>
                    <a:pt x="0" y="3"/>
                  </a:cubicBezTo>
                  <a:cubicBezTo>
                    <a:pt x="1" y="1"/>
                    <a:pt x="3" y="0"/>
                    <a:pt x="6" y="1"/>
                  </a:cubicBezTo>
                  <a:cubicBezTo>
                    <a:pt x="13" y="3"/>
                    <a:pt x="25" y="12"/>
                    <a:pt x="20" y="29"/>
                  </a:cubicBezTo>
                  <a:cubicBezTo>
                    <a:pt x="19" y="31"/>
                    <a:pt x="18" y="32"/>
                    <a:pt x="16" y="3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8" name="Freeform 73">
              <a:extLst>
                <a:ext uri="{FF2B5EF4-FFF2-40B4-BE49-F238E27FC236}">
                  <a16:creationId xmlns:a16="http://schemas.microsoft.com/office/drawing/2014/main" id="{03000F9E-FDAD-0B88-727F-2DADF210477B}"/>
                </a:ext>
              </a:extLst>
            </p:cNvPr>
            <p:cNvSpPr>
              <a:spLocks/>
            </p:cNvSpPr>
            <p:nvPr/>
          </p:nvSpPr>
          <p:spPr bwMode="auto">
            <a:xfrm>
              <a:off x="-4662788" y="2821626"/>
              <a:ext cx="57069" cy="44841"/>
            </a:xfrm>
            <a:custGeom>
              <a:avLst/>
              <a:gdLst>
                <a:gd name="T0" fmla="*/ 18 w 22"/>
                <a:gd name="T1" fmla="*/ 18 h 18"/>
                <a:gd name="T2" fmla="*/ 14 w 22"/>
                <a:gd name="T3" fmla="*/ 14 h 18"/>
                <a:gd name="T4" fmla="*/ 4 w 22"/>
                <a:gd name="T5" fmla="*/ 8 h 18"/>
                <a:gd name="T6" fmla="*/ 0 w 22"/>
                <a:gd name="T7" fmla="*/ 3 h 18"/>
                <a:gd name="T8" fmla="*/ 5 w 22"/>
                <a:gd name="T9" fmla="*/ 0 h 18"/>
                <a:gd name="T10" fmla="*/ 22 w 22"/>
                <a:gd name="T11" fmla="*/ 12 h 18"/>
                <a:gd name="T12" fmla="*/ 19 w 22"/>
                <a:gd name="T13" fmla="*/ 17 h 18"/>
                <a:gd name="T14" fmla="*/ 18 w 22"/>
                <a:gd name="T1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18">
                  <a:moveTo>
                    <a:pt x="18" y="18"/>
                  </a:moveTo>
                  <a:cubicBezTo>
                    <a:pt x="16" y="18"/>
                    <a:pt x="14" y="16"/>
                    <a:pt x="14" y="14"/>
                  </a:cubicBezTo>
                  <a:cubicBezTo>
                    <a:pt x="13" y="11"/>
                    <a:pt x="7" y="9"/>
                    <a:pt x="4" y="8"/>
                  </a:cubicBezTo>
                  <a:cubicBezTo>
                    <a:pt x="1" y="8"/>
                    <a:pt x="0" y="5"/>
                    <a:pt x="0" y="3"/>
                  </a:cubicBezTo>
                  <a:cubicBezTo>
                    <a:pt x="1" y="1"/>
                    <a:pt x="3" y="0"/>
                    <a:pt x="5" y="0"/>
                  </a:cubicBezTo>
                  <a:cubicBezTo>
                    <a:pt x="7" y="0"/>
                    <a:pt x="19" y="3"/>
                    <a:pt x="22" y="12"/>
                  </a:cubicBezTo>
                  <a:cubicBezTo>
                    <a:pt x="22" y="15"/>
                    <a:pt x="21" y="17"/>
                    <a:pt x="19" y="17"/>
                  </a:cubicBezTo>
                  <a:cubicBezTo>
                    <a:pt x="18" y="18"/>
                    <a:pt x="18" y="18"/>
                    <a:pt x="18" y="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9" name="Shape10_20200717_154352">
            <a:extLst>
              <a:ext uri="{FF2B5EF4-FFF2-40B4-BE49-F238E27FC236}">
                <a16:creationId xmlns:a16="http://schemas.microsoft.com/office/drawing/2014/main" id="{291DB3C9-763D-694B-8B57-8DFB5A6AE4ED}"/>
              </a:ext>
            </a:extLst>
          </p:cNvPr>
          <p:cNvGrpSpPr>
            <a:grpSpLocks noChangeAspect="1"/>
          </p:cNvGrpSpPr>
          <p:nvPr/>
        </p:nvGrpSpPr>
        <p:grpSpPr>
          <a:xfrm>
            <a:off x="553359" y="1178189"/>
            <a:ext cx="660369" cy="701131"/>
            <a:chOff x="-8902191" y="926123"/>
            <a:chExt cx="660369" cy="701131"/>
          </a:xfrm>
          <a:solidFill>
            <a:schemeClr val="accent1"/>
          </a:solidFill>
        </p:grpSpPr>
        <p:sp>
          <p:nvSpPr>
            <p:cNvPr id="213" name="Freeform 74">
              <a:extLst>
                <a:ext uri="{FF2B5EF4-FFF2-40B4-BE49-F238E27FC236}">
                  <a16:creationId xmlns:a16="http://schemas.microsoft.com/office/drawing/2014/main" id="{CC3600EB-B15B-4D9C-DBBF-04A38AD99290}"/>
                </a:ext>
              </a:extLst>
            </p:cNvPr>
            <p:cNvSpPr>
              <a:spLocks/>
            </p:cNvSpPr>
            <p:nvPr/>
          </p:nvSpPr>
          <p:spPr bwMode="auto">
            <a:xfrm>
              <a:off x="-8898113" y="1272614"/>
              <a:ext cx="216048" cy="203817"/>
            </a:xfrm>
            <a:custGeom>
              <a:avLst/>
              <a:gdLst>
                <a:gd name="T0" fmla="*/ 19 w 86"/>
                <a:gd name="T1" fmla="*/ 82 h 82"/>
                <a:gd name="T2" fmla="*/ 16 w 86"/>
                <a:gd name="T3" fmla="*/ 80 h 82"/>
                <a:gd name="T4" fmla="*/ 22 w 86"/>
                <a:gd name="T5" fmla="*/ 13 h 82"/>
                <a:gd name="T6" fmla="*/ 56 w 86"/>
                <a:gd name="T7" fmla="*/ 1 h 82"/>
                <a:gd name="T8" fmla="*/ 85 w 86"/>
                <a:gd name="T9" fmla="*/ 16 h 82"/>
                <a:gd name="T10" fmla="*/ 84 w 86"/>
                <a:gd name="T11" fmla="*/ 22 h 82"/>
                <a:gd name="T12" fmla="*/ 78 w 86"/>
                <a:gd name="T13" fmla="*/ 21 h 82"/>
                <a:gd name="T14" fmla="*/ 55 w 86"/>
                <a:gd name="T15" fmla="*/ 9 h 82"/>
                <a:gd name="T16" fmla="*/ 28 w 86"/>
                <a:gd name="T17" fmla="*/ 19 h 82"/>
                <a:gd name="T18" fmla="*/ 22 w 86"/>
                <a:gd name="T19" fmla="*/ 75 h 82"/>
                <a:gd name="T20" fmla="*/ 22 w 86"/>
                <a:gd name="T21" fmla="*/ 81 h 82"/>
                <a:gd name="T22" fmla="*/ 19 w 86"/>
                <a:gd name="T23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6" h="82">
                  <a:moveTo>
                    <a:pt x="19" y="82"/>
                  </a:moveTo>
                  <a:cubicBezTo>
                    <a:pt x="18" y="82"/>
                    <a:pt x="17" y="81"/>
                    <a:pt x="16" y="80"/>
                  </a:cubicBezTo>
                  <a:cubicBezTo>
                    <a:pt x="0" y="61"/>
                    <a:pt x="3" y="31"/>
                    <a:pt x="22" y="13"/>
                  </a:cubicBezTo>
                  <a:cubicBezTo>
                    <a:pt x="31" y="4"/>
                    <a:pt x="43" y="0"/>
                    <a:pt x="56" y="1"/>
                  </a:cubicBezTo>
                  <a:cubicBezTo>
                    <a:pt x="67" y="2"/>
                    <a:pt x="77" y="7"/>
                    <a:pt x="85" y="16"/>
                  </a:cubicBezTo>
                  <a:cubicBezTo>
                    <a:pt x="86" y="18"/>
                    <a:pt x="86" y="20"/>
                    <a:pt x="84" y="22"/>
                  </a:cubicBezTo>
                  <a:cubicBezTo>
                    <a:pt x="82" y="23"/>
                    <a:pt x="80" y="23"/>
                    <a:pt x="78" y="21"/>
                  </a:cubicBezTo>
                  <a:cubicBezTo>
                    <a:pt x="72" y="14"/>
                    <a:pt x="64" y="10"/>
                    <a:pt x="55" y="9"/>
                  </a:cubicBezTo>
                  <a:cubicBezTo>
                    <a:pt x="45" y="8"/>
                    <a:pt x="35" y="12"/>
                    <a:pt x="28" y="19"/>
                  </a:cubicBezTo>
                  <a:cubicBezTo>
                    <a:pt x="12" y="34"/>
                    <a:pt x="9" y="59"/>
                    <a:pt x="22" y="75"/>
                  </a:cubicBezTo>
                  <a:cubicBezTo>
                    <a:pt x="24" y="77"/>
                    <a:pt x="23" y="79"/>
                    <a:pt x="22" y="81"/>
                  </a:cubicBezTo>
                  <a:cubicBezTo>
                    <a:pt x="21" y="81"/>
                    <a:pt x="20" y="82"/>
                    <a:pt x="19" y="8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4" name="Freeform 75">
              <a:extLst>
                <a:ext uri="{FF2B5EF4-FFF2-40B4-BE49-F238E27FC236}">
                  <a16:creationId xmlns:a16="http://schemas.microsoft.com/office/drawing/2014/main" id="{2F204F42-D516-4CAA-2850-C633867AFE4E}"/>
                </a:ext>
              </a:extLst>
            </p:cNvPr>
            <p:cNvSpPr>
              <a:spLocks/>
            </p:cNvSpPr>
            <p:nvPr/>
          </p:nvSpPr>
          <p:spPr bwMode="auto">
            <a:xfrm>
              <a:off x="-8510861" y="1264461"/>
              <a:ext cx="211970" cy="138596"/>
            </a:xfrm>
            <a:custGeom>
              <a:avLst/>
              <a:gdLst>
                <a:gd name="T0" fmla="*/ 79 w 84"/>
                <a:gd name="T1" fmla="*/ 55 h 55"/>
                <a:gd name="T2" fmla="*/ 75 w 84"/>
                <a:gd name="T3" fmla="*/ 51 h 55"/>
                <a:gd name="T4" fmla="*/ 49 w 84"/>
                <a:gd name="T5" fmla="*/ 15 h 55"/>
                <a:gd name="T6" fmla="*/ 7 w 84"/>
                <a:gd name="T7" fmla="*/ 23 h 55"/>
                <a:gd name="T8" fmla="*/ 1 w 84"/>
                <a:gd name="T9" fmla="*/ 23 h 55"/>
                <a:gd name="T10" fmla="*/ 2 w 84"/>
                <a:gd name="T11" fmla="*/ 17 h 55"/>
                <a:gd name="T12" fmla="*/ 52 w 84"/>
                <a:gd name="T13" fmla="*/ 8 h 55"/>
                <a:gd name="T14" fmla="*/ 84 w 84"/>
                <a:gd name="T15" fmla="*/ 50 h 55"/>
                <a:gd name="T16" fmla="*/ 80 w 84"/>
                <a:gd name="T17" fmla="*/ 55 h 55"/>
                <a:gd name="T18" fmla="*/ 79 w 84"/>
                <a:gd name="T19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55">
                  <a:moveTo>
                    <a:pt x="79" y="55"/>
                  </a:moveTo>
                  <a:cubicBezTo>
                    <a:pt x="77" y="55"/>
                    <a:pt x="76" y="53"/>
                    <a:pt x="75" y="51"/>
                  </a:cubicBezTo>
                  <a:cubicBezTo>
                    <a:pt x="73" y="35"/>
                    <a:pt x="63" y="21"/>
                    <a:pt x="49" y="15"/>
                  </a:cubicBezTo>
                  <a:cubicBezTo>
                    <a:pt x="34" y="9"/>
                    <a:pt x="19" y="12"/>
                    <a:pt x="7" y="23"/>
                  </a:cubicBezTo>
                  <a:cubicBezTo>
                    <a:pt x="6" y="25"/>
                    <a:pt x="3" y="25"/>
                    <a:pt x="1" y="23"/>
                  </a:cubicBezTo>
                  <a:cubicBezTo>
                    <a:pt x="0" y="21"/>
                    <a:pt x="0" y="19"/>
                    <a:pt x="2" y="17"/>
                  </a:cubicBezTo>
                  <a:cubicBezTo>
                    <a:pt x="15" y="4"/>
                    <a:pt x="34" y="0"/>
                    <a:pt x="52" y="8"/>
                  </a:cubicBezTo>
                  <a:cubicBezTo>
                    <a:pt x="69" y="15"/>
                    <a:pt x="81" y="31"/>
                    <a:pt x="84" y="50"/>
                  </a:cubicBezTo>
                  <a:cubicBezTo>
                    <a:pt x="84" y="52"/>
                    <a:pt x="82" y="54"/>
                    <a:pt x="80" y="55"/>
                  </a:cubicBezTo>
                  <a:cubicBezTo>
                    <a:pt x="80" y="55"/>
                    <a:pt x="80" y="55"/>
                    <a:pt x="79" y="5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5" name="Freeform 76">
              <a:extLst>
                <a:ext uri="{FF2B5EF4-FFF2-40B4-BE49-F238E27FC236}">
                  <a16:creationId xmlns:a16="http://schemas.microsoft.com/office/drawing/2014/main" id="{DE85F73F-9F0C-63B3-0073-37B3F65774D3}"/>
                </a:ext>
              </a:extLst>
            </p:cNvPr>
            <p:cNvSpPr>
              <a:spLocks/>
            </p:cNvSpPr>
            <p:nvPr/>
          </p:nvSpPr>
          <p:spPr bwMode="auto">
            <a:xfrm>
              <a:off x="-8718754" y="1219620"/>
              <a:ext cx="81527" cy="77452"/>
            </a:xfrm>
            <a:custGeom>
              <a:avLst/>
              <a:gdLst>
                <a:gd name="T0" fmla="*/ 5 w 33"/>
                <a:gd name="T1" fmla="*/ 30 h 30"/>
                <a:gd name="T2" fmla="*/ 2 w 33"/>
                <a:gd name="T3" fmla="*/ 29 h 30"/>
                <a:gd name="T4" fmla="*/ 1 w 33"/>
                <a:gd name="T5" fmla="*/ 24 h 30"/>
                <a:gd name="T6" fmla="*/ 22 w 33"/>
                <a:gd name="T7" fmla="*/ 3 h 30"/>
                <a:gd name="T8" fmla="*/ 27 w 33"/>
                <a:gd name="T9" fmla="*/ 1 h 30"/>
                <a:gd name="T10" fmla="*/ 32 w 33"/>
                <a:gd name="T11" fmla="*/ 3 h 30"/>
                <a:gd name="T12" fmla="*/ 30 w 33"/>
                <a:gd name="T13" fmla="*/ 8 h 30"/>
                <a:gd name="T14" fmla="*/ 26 w 33"/>
                <a:gd name="T15" fmla="*/ 11 h 30"/>
                <a:gd name="T16" fmla="*/ 8 w 33"/>
                <a:gd name="T17" fmla="*/ 28 h 30"/>
                <a:gd name="T18" fmla="*/ 5 w 33"/>
                <a:gd name="T19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30">
                  <a:moveTo>
                    <a:pt x="5" y="30"/>
                  </a:moveTo>
                  <a:cubicBezTo>
                    <a:pt x="4" y="30"/>
                    <a:pt x="3" y="30"/>
                    <a:pt x="2" y="29"/>
                  </a:cubicBezTo>
                  <a:cubicBezTo>
                    <a:pt x="0" y="28"/>
                    <a:pt x="0" y="26"/>
                    <a:pt x="1" y="24"/>
                  </a:cubicBezTo>
                  <a:cubicBezTo>
                    <a:pt x="6" y="15"/>
                    <a:pt x="14" y="8"/>
                    <a:pt x="22" y="3"/>
                  </a:cubicBezTo>
                  <a:cubicBezTo>
                    <a:pt x="23" y="3"/>
                    <a:pt x="25" y="2"/>
                    <a:pt x="27" y="1"/>
                  </a:cubicBezTo>
                  <a:cubicBezTo>
                    <a:pt x="29" y="0"/>
                    <a:pt x="31" y="1"/>
                    <a:pt x="32" y="3"/>
                  </a:cubicBezTo>
                  <a:cubicBezTo>
                    <a:pt x="33" y="5"/>
                    <a:pt x="32" y="7"/>
                    <a:pt x="30" y="8"/>
                  </a:cubicBezTo>
                  <a:cubicBezTo>
                    <a:pt x="29" y="9"/>
                    <a:pt x="27" y="10"/>
                    <a:pt x="26" y="11"/>
                  </a:cubicBezTo>
                  <a:cubicBezTo>
                    <a:pt x="19" y="15"/>
                    <a:pt x="13" y="21"/>
                    <a:pt x="8" y="28"/>
                  </a:cubicBezTo>
                  <a:cubicBezTo>
                    <a:pt x="7" y="29"/>
                    <a:pt x="6" y="30"/>
                    <a:pt x="5" y="3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6" name="Freeform 77">
              <a:extLst>
                <a:ext uri="{FF2B5EF4-FFF2-40B4-BE49-F238E27FC236}">
                  <a16:creationId xmlns:a16="http://schemas.microsoft.com/office/drawing/2014/main" id="{D1DA0235-1A73-3F5B-AC7E-290DC63F8099}"/>
                </a:ext>
              </a:extLst>
            </p:cNvPr>
            <p:cNvSpPr>
              <a:spLocks/>
            </p:cNvSpPr>
            <p:nvPr/>
          </p:nvSpPr>
          <p:spPr bwMode="auto">
            <a:xfrm>
              <a:off x="-8535319" y="1223698"/>
              <a:ext cx="77452" cy="81527"/>
            </a:xfrm>
            <a:custGeom>
              <a:avLst/>
              <a:gdLst>
                <a:gd name="T0" fmla="*/ 26 w 31"/>
                <a:gd name="T1" fmla="*/ 32 h 32"/>
                <a:gd name="T2" fmla="*/ 22 w 31"/>
                <a:gd name="T3" fmla="*/ 30 h 32"/>
                <a:gd name="T4" fmla="*/ 3 w 31"/>
                <a:gd name="T5" fmla="*/ 8 h 32"/>
                <a:gd name="T6" fmla="*/ 1 w 31"/>
                <a:gd name="T7" fmla="*/ 2 h 32"/>
                <a:gd name="T8" fmla="*/ 7 w 31"/>
                <a:gd name="T9" fmla="*/ 1 h 32"/>
                <a:gd name="T10" fmla="*/ 30 w 31"/>
                <a:gd name="T11" fmla="*/ 26 h 32"/>
                <a:gd name="T12" fmla="*/ 28 w 31"/>
                <a:gd name="T13" fmla="*/ 31 h 32"/>
                <a:gd name="T14" fmla="*/ 26 w 31"/>
                <a:gd name="T1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1" h="32">
                  <a:moveTo>
                    <a:pt x="26" y="32"/>
                  </a:moveTo>
                  <a:cubicBezTo>
                    <a:pt x="24" y="32"/>
                    <a:pt x="23" y="31"/>
                    <a:pt x="22" y="30"/>
                  </a:cubicBezTo>
                  <a:cubicBezTo>
                    <a:pt x="18" y="20"/>
                    <a:pt x="11" y="13"/>
                    <a:pt x="3" y="8"/>
                  </a:cubicBezTo>
                  <a:cubicBezTo>
                    <a:pt x="1" y="7"/>
                    <a:pt x="0" y="4"/>
                    <a:pt x="1" y="2"/>
                  </a:cubicBezTo>
                  <a:cubicBezTo>
                    <a:pt x="2" y="1"/>
                    <a:pt x="5" y="0"/>
                    <a:pt x="7" y="1"/>
                  </a:cubicBezTo>
                  <a:cubicBezTo>
                    <a:pt x="16" y="7"/>
                    <a:pt x="24" y="15"/>
                    <a:pt x="30" y="26"/>
                  </a:cubicBezTo>
                  <a:cubicBezTo>
                    <a:pt x="31" y="28"/>
                    <a:pt x="30" y="30"/>
                    <a:pt x="28" y="31"/>
                  </a:cubicBezTo>
                  <a:cubicBezTo>
                    <a:pt x="27" y="32"/>
                    <a:pt x="26" y="32"/>
                    <a:pt x="26" y="3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7" name="Freeform 78">
              <a:extLst>
                <a:ext uri="{FF2B5EF4-FFF2-40B4-BE49-F238E27FC236}">
                  <a16:creationId xmlns:a16="http://schemas.microsoft.com/office/drawing/2014/main" id="{DAA0BCEF-0944-840A-1A35-92F9F318BBAD}"/>
                </a:ext>
              </a:extLst>
            </p:cNvPr>
            <p:cNvSpPr>
              <a:spLocks/>
            </p:cNvSpPr>
            <p:nvPr/>
          </p:nvSpPr>
          <p:spPr bwMode="auto">
            <a:xfrm>
              <a:off x="-8649457" y="1378599"/>
              <a:ext cx="407635" cy="199742"/>
            </a:xfrm>
            <a:custGeom>
              <a:avLst/>
              <a:gdLst>
                <a:gd name="T0" fmla="*/ 125 w 161"/>
                <a:gd name="T1" fmla="*/ 79 h 79"/>
                <a:gd name="T2" fmla="*/ 28 w 161"/>
                <a:gd name="T3" fmla="*/ 79 h 79"/>
                <a:gd name="T4" fmla="*/ 1 w 161"/>
                <a:gd name="T5" fmla="*/ 66 h 79"/>
                <a:gd name="T6" fmla="*/ 2 w 161"/>
                <a:gd name="T7" fmla="*/ 60 h 79"/>
                <a:gd name="T8" fmla="*/ 8 w 161"/>
                <a:gd name="T9" fmla="*/ 61 h 79"/>
                <a:gd name="T10" fmla="*/ 28 w 161"/>
                <a:gd name="T11" fmla="*/ 70 h 79"/>
                <a:gd name="T12" fmla="*/ 125 w 161"/>
                <a:gd name="T13" fmla="*/ 70 h 79"/>
                <a:gd name="T14" fmla="*/ 153 w 161"/>
                <a:gd name="T15" fmla="*/ 39 h 79"/>
                <a:gd name="T16" fmla="*/ 142 w 161"/>
                <a:gd name="T17" fmla="*/ 16 h 79"/>
                <a:gd name="T18" fmla="*/ 121 w 161"/>
                <a:gd name="T19" fmla="*/ 9 h 79"/>
                <a:gd name="T20" fmla="*/ 116 w 161"/>
                <a:gd name="T21" fmla="*/ 5 h 79"/>
                <a:gd name="T22" fmla="*/ 120 w 161"/>
                <a:gd name="T23" fmla="*/ 1 h 79"/>
                <a:gd name="T24" fmla="*/ 148 w 161"/>
                <a:gd name="T25" fmla="*/ 10 h 79"/>
                <a:gd name="T26" fmla="*/ 161 w 161"/>
                <a:gd name="T27" fmla="*/ 39 h 79"/>
                <a:gd name="T28" fmla="*/ 125 w 161"/>
                <a:gd name="T29" fmla="*/ 7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61" h="79">
                  <a:moveTo>
                    <a:pt x="125" y="79"/>
                  </a:moveTo>
                  <a:cubicBezTo>
                    <a:pt x="28" y="79"/>
                    <a:pt x="28" y="79"/>
                    <a:pt x="28" y="79"/>
                  </a:cubicBezTo>
                  <a:cubicBezTo>
                    <a:pt x="18" y="79"/>
                    <a:pt x="8" y="74"/>
                    <a:pt x="1" y="66"/>
                  </a:cubicBezTo>
                  <a:cubicBezTo>
                    <a:pt x="0" y="64"/>
                    <a:pt x="0" y="62"/>
                    <a:pt x="2" y="60"/>
                  </a:cubicBezTo>
                  <a:cubicBezTo>
                    <a:pt x="4" y="59"/>
                    <a:pt x="6" y="59"/>
                    <a:pt x="8" y="61"/>
                  </a:cubicBezTo>
                  <a:cubicBezTo>
                    <a:pt x="13" y="67"/>
                    <a:pt x="20" y="70"/>
                    <a:pt x="28" y="70"/>
                  </a:cubicBezTo>
                  <a:cubicBezTo>
                    <a:pt x="125" y="70"/>
                    <a:pt x="125" y="70"/>
                    <a:pt x="125" y="70"/>
                  </a:cubicBezTo>
                  <a:cubicBezTo>
                    <a:pt x="140" y="70"/>
                    <a:pt x="153" y="56"/>
                    <a:pt x="153" y="39"/>
                  </a:cubicBezTo>
                  <a:cubicBezTo>
                    <a:pt x="153" y="31"/>
                    <a:pt x="149" y="22"/>
                    <a:pt x="142" y="16"/>
                  </a:cubicBezTo>
                  <a:cubicBezTo>
                    <a:pt x="136" y="11"/>
                    <a:pt x="129" y="8"/>
                    <a:pt x="121" y="9"/>
                  </a:cubicBezTo>
                  <a:cubicBezTo>
                    <a:pt x="119" y="9"/>
                    <a:pt x="117" y="7"/>
                    <a:pt x="116" y="5"/>
                  </a:cubicBezTo>
                  <a:cubicBezTo>
                    <a:pt x="116" y="3"/>
                    <a:pt x="118" y="1"/>
                    <a:pt x="120" y="1"/>
                  </a:cubicBezTo>
                  <a:cubicBezTo>
                    <a:pt x="130" y="0"/>
                    <a:pt x="140" y="3"/>
                    <a:pt x="148" y="10"/>
                  </a:cubicBezTo>
                  <a:cubicBezTo>
                    <a:pt x="156" y="18"/>
                    <a:pt x="161" y="29"/>
                    <a:pt x="161" y="39"/>
                  </a:cubicBezTo>
                  <a:cubicBezTo>
                    <a:pt x="161" y="61"/>
                    <a:pt x="145" y="79"/>
                    <a:pt x="125" y="7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8" name="Freeform 79">
              <a:extLst>
                <a:ext uri="{FF2B5EF4-FFF2-40B4-BE49-F238E27FC236}">
                  <a16:creationId xmlns:a16="http://schemas.microsoft.com/office/drawing/2014/main" id="{D72AF00B-85CD-63B1-1A6C-54A99D6D5D28}"/>
                </a:ext>
              </a:extLst>
            </p:cNvPr>
            <p:cNvSpPr>
              <a:spLocks/>
            </p:cNvSpPr>
            <p:nvPr/>
          </p:nvSpPr>
          <p:spPr bwMode="auto">
            <a:xfrm>
              <a:off x="-8902191" y="1447895"/>
              <a:ext cx="379102" cy="179359"/>
            </a:xfrm>
            <a:custGeom>
              <a:avLst/>
              <a:gdLst>
                <a:gd name="T0" fmla="*/ 120 w 151"/>
                <a:gd name="T1" fmla="*/ 71 h 71"/>
                <a:gd name="T2" fmla="*/ 33 w 151"/>
                <a:gd name="T3" fmla="*/ 71 h 71"/>
                <a:gd name="T4" fmla="*/ 0 w 151"/>
                <a:gd name="T5" fmla="*/ 36 h 71"/>
                <a:gd name="T6" fmla="*/ 30 w 151"/>
                <a:gd name="T7" fmla="*/ 0 h 71"/>
                <a:gd name="T8" fmla="*/ 34 w 151"/>
                <a:gd name="T9" fmla="*/ 4 h 71"/>
                <a:gd name="T10" fmla="*/ 31 w 151"/>
                <a:gd name="T11" fmla="*/ 8 h 71"/>
                <a:gd name="T12" fmla="*/ 8 w 151"/>
                <a:gd name="T13" fmla="*/ 36 h 71"/>
                <a:gd name="T14" fmla="*/ 33 w 151"/>
                <a:gd name="T15" fmla="*/ 63 h 71"/>
                <a:gd name="T16" fmla="*/ 120 w 151"/>
                <a:gd name="T17" fmla="*/ 63 h 71"/>
                <a:gd name="T18" fmla="*/ 142 w 151"/>
                <a:gd name="T19" fmla="*/ 47 h 71"/>
                <a:gd name="T20" fmla="*/ 148 w 151"/>
                <a:gd name="T21" fmla="*/ 45 h 71"/>
                <a:gd name="T22" fmla="*/ 150 w 151"/>
                <a:gd name="T23" fmla="*/ 50 h 71"/>
                <a:gd name="T24" fmla="*/ 120 w 151"/>
                <a:gd name="T25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1" h="71">
                  <a:moveTo>
                    <a:pt x="120" y="71"/>
                  </a:moveTo>
                  <a:cubicBezTo>
                    <a:pt x="33" y="71"/>
                    <a:pt x="33" y="71"/>
                    <a:pt x="33" y="71"/>
                  </a:cubicBezTo>
                  <a:cubicBezTo>
                    <a:pt x="15" y="71"/>
                    <a:pt x="0" y="55"/>
                    <a:pt x="0" y="36"/>
                  </a:cubicBezTo>
                  <a:cubicBezTo>
                    <a:pt x="0" y="17"/>
                    <a:pt x="13" y="2"/>
                    <a:pt x="30" y="0"/>
                  </a:cubicBezTo>
                  <a:cubicBezTo>
                    <a:pt x="32" y="0"/>
                    <a:pt x="34" y="2"/>
                    <a:pt x="34" y="4"/>
                  </a:cubicBezTo>
                  <a:cubicBezTo>
                    <a:pt x="35" y="6"/>
                    <a:pt x="33" y="8"/>
                    <a:pt x="31" y="8"/>
                  </a:cubicBezTo>
                  <a:cubicBezTo>
                    <a:pt x="18" y="10"/>
                    <a:pt x="8" y="21"/>
                    <a:pt x="8" y="36"/>
                  </a:cubicBezTo>
                  <a:cubicBezTo>
                    <a:pt x="8" y="51"/>
                    <a:pt x="19" y="63"/>
                    <a:pt x="33" y="63"/>
                  </a:cubicBezTo>
                  <a:cubicBezTo>
                    <a:pt x="120" y="63"/>
                    <a:pt x="120" y="63"/>
                    <a:pt x="120" y="63"/>
                  </a:cubicBezTo>
                  <a:cubicBezTo>
                    <a:pt x="129" y="63"/>
                    <a:pt x="138" y="57"/>
                    <a:pt x="142" y="47"/>
                  </a:cubicBezTo>
                  <a:cubicBezTo>
                    <a:pt x="143" y="45"/>
                    <a:pt x="146" y="44"/>
                    <a:pt x="148" y="45"/>
                  </a:cubicBezTo>
                  <a:cubicBezTo>
                    <a:pt x="150" y="46"/>
                    <a:pt x="151" y="48"/>
                    <a:pt x="150" y="50"/>
                  </a:cubicBezTo>
                  <a:cubicBezTo>
                    <a:pt x="144" y="63"/>
                    <a:pt x="133" y="71"/>
                    <a:pt x="120" y="7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9" name="Freeform 80">
              <a:extLst>
                <a:ext uri="{FF2B5EF4-FFF2-40B4-BE49-F238E27FC236}">
                  <a16:creationId xmlns:a16="http://schemas.microsoft.com/office/drawing/2014/main" id="{DBF75E6D-3331-F9D8-0D42-EAA74ABD1731}"/>
                </a:ext>
              </a:extLst>
            </p:cNvPr>
            <p:cNvSpPr>
              <a:spLocks/>
            </p:cNvSpPr>
            <p:nvPr/>
          </p:nvSpPr>
          <p:spPr bwMode="auto">
            <a:xfrm>
              <a:off x="-8445639" y="1411210"/>
              <a:ext cx="52994" cy="69299"/>
            </a:xfrm>
            <a:custGeom>
              <a:avLst/>
              <a:gdLst>
                <a:gd name="T0" fmla="*/ 4 w 22"/>
                <a:gd name="T1" fmla="*/ 27 h 27"/>
                <a:gd name="T2" fmla="*/ 3 w 22"/>
                <a:gd name="T3" fmla="*/ 27 h 27"/>
                <a:gd name="T4" fmla="*/ 0 w 22"/>
                <a:gd name="T5" fmla="*/ 23 h 27"/>
                <a:gd name="T6" fmla="*/ 15 w 22"/>
                <a:gd name="T7" fmla="*/ 1 h 27"/>
                <a:gd name="T8" fmla="*/ 21 w 22"/>
                <a:gd name="T9" fmla="*/ 3 h 27"/>
                <a:gd name="T10" fmla="*/ 19 w 22"/>
                <a:gd name="T11" fmla="*/ 9 h 27"/>
                <a:gd name="T12" fmla="*/ 8 w 22"/>
                <a:gd name="T13" fmla="*/ 23 h 27"/>
                <a:gd name="T14" fmla="*/ 4 w 22"/>
                <a:gd name="T15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7">
                  <a:moveTo>
                    <a:pt x="4" y="27"/>
                  </a:moveTo>
                  <a:cubicBezTo>
                    <a:pt x="4" y="27"/>
                    <a:pt x="4" y="27"/>
                    <a:pt x="3" y="27"/>
                  </a:cubicBezTo>
                  <a:cubicBezTo>
                    <a:pt x="1" y="27"/>
                    <a:pt x="0" y="25"/>
                    <a:pt x="0" y="23"/>
                  </a:cubicBezTo>
                  <a:cubicBezTo>
                    <a:pt x="1" y="7"/>
                    <a:pt x="15" y="1"/>
                    <a:pt x="15" y="1"/>
                  </a:cubicBezTo>
                  <a:cubicBezTo>
                    <a:pt x="18" y="0"/>
                    <a:pt x="20" y="1"/>
                    <a:pt x="21" y="3"/>
                  </a:cubicBezTo>
                  <a:cubicBezTo>
                    <a:pt x="22" y="6"/>
                    <a:pt x="21" y="8"/>
                    <a:pt x="19" y="9"/>
                  </a:cubicBezTo>
                  <a:cubicBezTo>
                    <a:pt x="18" y="9"/>
                    <a:pt x="9" y="13"/>
                    <a:pt x="8" y="23"/>
                  </a:cubicBezTo>
                  <a:cubicBezTo>
                    <a:pt x="8" y="25"/>
                    <a:pt x="6" y="27"/>
                    <a:pt x="4" y="2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0" name="Freeform 81">
              <a:extLst>
                <a:ext uri="{FF2B5EF4-FFF2-40B4-BE49-F238E27FC236}">
                  <a16:creationId xmlns:a16="http://schemas.microsoft.com/office/drawing/2014/main" id="{CDB14014-D4C2-C76C-5EBD-43285C1DDB02}"/>
                </a:ext>
              </a:extLst>
            </p:cNvPr>
            <p:cNvSpPr>
              <a:spLocks/>
            </p:cNvSpPr>
            <p:nvPr/>
          </p:nvSpPr>
          <p:spPr bwMode="auto">
            <a:xfrm>
              <a:off x="-8796205" y="1362293"/>
              <a:ext cx="69299" cy="73374"/>
            </a:xfrm>
            <a:custGeom>
              <a:avLst/>
              <a:gdLst>
                <a:gd name="T0" fmla="*/ 4 w 27"/>
                <a:gd name="T1" fmla="*/ 28 h 28"/>
                <a:gd name="T2" fmla="*/ 0 w 27"/>
                <a:gd name="T3" fmla="*/ 24 h 28"/>
                <a:gd name="T4" fmla="*/ 22 w 27"/>
                <a:gd name="T5" fmla="*/ 0 h 28"/>
                <a:gd name="T6" fmla="*/ 27 w 27"/>
                <a:gd name="T7" fmla="*/ 4 h 28"/>
                <a:gd name="T8" fmla="*/ 23 w 27"/>
                <a:gd name="T9" fmla="*/ 8 h 28"/>
                <a:gd name="T10" fmla="*/ 8 w 27"/>
                <a:gd name="T11" fmla="*/ 24 h 28"/>
                <a:gd name="T12" fmla="*/ 4 w 27"/>
                <a:gd name="T13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28">
                  <a:moveTo>
                    <a:pt x="4" y="28"/>
                  </a:moveTo>
                  <a:cubicBezTo>
                    <a:pt x="2" y="28"/>
                    <a:pt x="0" y="26"/>
                    <a:pt x="0" y="24"/>
                  </a:cubicBezTo>
                  <a:cubicBezTo>
                    <a:pt x="0" y="7"/>
                    <a:pt x="15" y="1"/>
                    <a:pt x="22" y="0"/>
                  </a:cubicBezTo>
                  <a:cubicBezTo>
                    <a:pt x="25" y="0"/>
                    <a:pt x="27" y="1"/>
                    <a:pt x="27" y="4"/>
                  </a:cubicBezTo>
                  <a:cubicBezTo>
                    <a:pt x="27" y="6"/>
                    <a:pt x="26" y="8"/>
                    <a:pt x="23" y="8"/>
                  </a:cubicBezTo>
                  <a:cubicBezTo>
                    <a:pt x="22" y="8"/>
                    <a:pt x="8" y="10"/>
                    <a:pt x="8" y="24"/>
                  </a:cubicBezTo>
                  <a:cubicBezTo>
                    <a:pt x="8" y="26"/>
                    <a:pt x="7" y="28"/>
                    <a:pt x="4" y="2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1" name="Freeform 82">
              <a:extLst>
                <a:ext uri="{FF2B5EF4-FFF2-40B4-BE49-F238E27FC236}">
                  <a16:creationId xmlns:a16="http://schemas.microsoft.com/office/drawing/2014/main" id="{F6286FAF-469B-DC4E-DF52-71122BE674A1}"/>
                </a:ext>
              </a:extLst>
            </p:cNvPr>
            <p:cNvSpPr>
              <a:spLocks/>
            </p:cNvSpPr>
            <p:nvPr/>
          </p:nvSpPr>
          <p:spPr bwMode="auto">
            <a:xfrm>
              <a:off x="-8686143" y="1366368"/>
              <a:ext cx="89680" cy="93757"/>
            </a:xfrm>
            <a:custGeom>
              <a:avLst/>
              <a:gdLst>
                <a:gd name="T0" fmla="*/ 23 w 36"/>
                <a:gd name="T1" fmla="*/ 37 h 37"/>
                <a:gd name="T2" fmla="*/ 10 w 36"/>
                <a:gd name="T3" fmla="*/ 32 h 37"/>
                <a:gd name="T4" fmla="*/ 4 w 36"/>
                <a:gd name="T5" fmla="*/ 3 h 37"/>
                <a:gd name="T6" fmla="*/ 9 w 36"/>
                <a:gd name="T7" fmla="*/ 0 h 37"/>
                <a:gd name="T8" fmla="*/ 12 w 36"/>
                <a:gd name="T9" fmla="*/ 5 h 37"/>
                <a:gd name="T10" fmla="*/ 12 w 36"/>
                <a:gd name="T11" fmla="*/ 5 h 37"/>
                <a:gd name="T12" fmla="*/ 16 w 36"/>
                <a:gd name="T13" fmla="*/ 26 h 37"/>
                <a:gd name="T14" fmla="*/ 31 w 36"/>
                <a:gd name="T15" fmla="*/ 28 h 37"/>
                <a:gd name="T16" fmla="*/ 36 w 36"/>
                <a:gd name="T17" fmla="*/ 31 h 37"/>
                <a:gd name="T18" fmla="*/ 33 w 36"/>
                <a:gd name="T19" fmla="*/ 36 h 37"/>
                <a:gd name="T20" fmla="*/ 23 w 36"/>
                <a:gd name="T21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" h="37">
                  <a:moveTo>
                    <a:pt x="23" y="37"/>
                  </a:moveTo>
                  <a:cubicBezTo>
                    <a:pt x="18" y="37"/>
                    <a:pt x="14" y="35"/>
                    <a:pt x="10" y="32"/>
                  </a:cubicBezTo>
                  <a:cubicBezTo>
                    <a:pt x="0" y="23"/>
                    <a:pt x="4" y="4"/>
                    <a:pt x="4" y="3"/>
                  </a:cubicBezTo>
                  <a:cubicBezTo>
                    <a:pt x="4" y="1"/>
                    <a:pt x="6" y="0"/>
                    <a:pt x="9" y="0"/>
                  </a:cubicBezTo>
                  <a:cubicBezTo>
                    <a:pt x="11" y="0"/>
                    <a:pt x="12" y="3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1" y="9"/>
                    <a:pt x="10" y="21"/>
                    <a:pt x="16" y="26"/>
                  </a:cubicBezTo>
                  <a:cubicBezTo>
                    <a:pt x="19" y="29"/>
                    <a:pt x="24" y="29"/>
                    <a:pt x="31" y="28"/>
                  </a:cubicBezTo>
                  <a:cubicBezTo>
                    <a:pt x="33" y="27"/>
                    <a:pt x="35" y="28"/>
                    <a:pt x="36" y="31"/>
                  </a:cubicBezTo>
                  <a:cubicBezTo>
                    <a:pt x="36" y="33"/>
                    <a:pt x="35" y="35"/>
                    <a:pt x="33" y="36"/>
                  </a:cubicBezTo>
                  <a:cubicBezTo>
                    <a:pt x="29" y="36"/>
                    <a:pt x="26" y="37"/>
                    <a:pt x="23" y="3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2" name="Freeform 83">
              <a:extLst>
                <a:ext uri="{FF2B5EF4-FFF2-40B4-BE49-F238E27FC236}">
                  <a16:creationId xmlns:a16="http://schemas.microsoft.com/office/drawing/2014/main" id="{DE780503-CE7B-6B38-5B65-E99DF1CBD408}"/>
                </a:ext>
              </a:extLst>
            </p:cNvPr>
            <p:cNvSpPr>
              <a:spLocks/>
            </p:cNvSpPr>
            <p:nvPr/>
          </p:nvSpPr>
          <p:spPr bwMode="auto">
            <a:xfrm>
              <a:off x="-8686143" y="1423437"/>
              <a:ext cx="97832" cy="73374"/>
            </a:xfrm>
            <a:custGeom>
              <a:avLst/>
              <a:gdLst>
                <a:gd name="T0" fmla="*/ 4 w 39"/>
                <a:gd name="T1" fmla="*/ 28 h 28"/>
                <a:gd name="T2" fmla="*/ 2 w 39"/>
                <a:gd name="T3" fmla="*/ 27 h 28"/>
                <a:gd name="T4" fmla="*/ 1 w 39"/>
                <a:gd name="T5" fmla="*/ 22 h 28"/>
                <a:gd name="T6" fmla="*/ 36 w 39"/>
                <a:gd name="T7" fmla="*/ 6 h 28"/>
                <a:gd name="T8" fmla="*/ 38 w 39"/>
                <a:gd name="T9" fmla="*/ 11 h 28"/>
                <a:gd name="T10" fmla="*/ 33 w 39"/>
                <a:gd name="T11" fmla="*/ 13 h 28"/>
                <a:gd name="T12" fmla="*/ 8 w 39"/>
                <a:gd name="T13" fmla="*/ 26 h 28"/>
                <a:gd name="T14" fmla="*/ 4 w 39"/>
                <a:gd name="T1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28">
                  <a:moveTo>
                    <a:pt x="4" y="28"/>
                  </a:moveTo>
                  <a:cubicBezTo>
                    <a:pt x="4" y="28"/>
                    <a:pt x="3" y="28"/>
                    <a:pt x="2" y="27"/>
                  </a:cubicBezTo>
                  <a:cubicBezTo>
                    <a:pt x="0" y="26"/>
                    <a:pt x="0" y="24"/>
                    <a:pt x="1" y="22"/>
                  </a:cubicBezTo>
                  <a:cubicBezTo>
                    <a:pt x="2" y="21"/>
                    <a:pt x="15" y="0"/>
                    <a:pt x="36" y="6"/>
                  </a:cubicBezTo>
                  <a:cubicBezTo>
                    <a:pt x="38" y="6"/>
                    <a:pt x="39" y="8"/>
                    <a:pt x="38" y="11"/>
                  </a:cubicBezTo>
                  <a:cubicBezTo>
                    <a:pt x="38" y="13"/>
                    <a:pt x="36" y="14"/>
                    <a:pt x="33" y="13"/>
                  </a:cubicBezTo>
                  <a:cubicBezTo>
                    <a:pt x="19" y="9"/>
                    <a:pt x="8" y="26"/>
                    <a:pt x="8" y="26"/>
                  </a:cubicBezTo>
                  <a:cubicBezTo>
                    <a:pt x="7" y="27"/>
                    <a:pt x="6" y="28"/>
                    <a:pt x="4" y="2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3" name="Freeform 84">
              <a:extLst>
                <a:ext uri="{FF2B5EF4-FFF2-40B4-BE49-F238E27FC236}">
                  <a16:creationId xmlns:a16="http://schemas.microsoft.com/office/drawing/2014/main" id="{3941D923-C3A7-919F-A808-28B385A9D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-8808433" y="1509042"/>
              <a:ext cx="73374" cy="52994"/>
            </a:xfrm>
            <a:custGeom>
              <a:avLst/>
              <a:gdLst>
                <a:gd name="T0" fmla="*/ 18 w 29"/>
                <a:gd name="T1" fmla="*/ 20 h 20"/>
                <a:gd name="T2" fmla="*/ 4 w 29"/>
                <a:gd name="T3" fmla="*/ 14 h 20"/>
                <a:gd name="T4" fmla="*/ 2 w 29"/>
                <a:gd name="T5" fmla="*/ 3 h 20"/>
                <a:gd name="T6" fmla="*/ 7 w 29"/>
                <a:gd name="T7" fmla="*/ 1 h 20"/>
                <a:gd name="T8" fmla="*/ 10 w 29"/>
                <a:gd name="T9" fmla="*/ 6 h 20"/>
                <a:gd name="T10" fmla="*/ 10 w 29"/>
                <a:gd name="T11" fmla="*/ 9 h 20"/>
                <a:gd name="T12" fmla="*/ 24 w 29"/>
                <a:gd name="T13" fmla="*/ 11 h 20"/>
                <a:gd name="T14" fmla="*/ 29 w 29"/>
                <a:gd name="T15" fmla="*/ 15 h 20"/>
                <a:gd name="T16" fmla="*/ 25 w 29"/>
                <a:gd name="T17" fmla="*/ 19 h 20"/>
                <a:gd name="T18" fmla="*/ 18 w 29"/>
                <a:gd name="T19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20">
                  <a:moveTo>
                    <a:pt x="18" y="20"/>
                  </a:moveTo>
                  <a:cubicBezTo>
                    <a:pt x="11" y="20"/>
                    <a:pt x="6" y="18"/>
                    <a:pt x="4" y="14"/>
                  </a:cubicBezTo>
                  <a:cubicBezTo>
                    <a:pt x="0" y="10"/>
                    <a:pt x="2" y="4"/>
                    <a:pt x="2" y="3"/>
                  </a:cubicBezTo>
                  <a:cubicBezTo>
                    <a:pt x="3" y="1"/>
                    <a:pt x="5" y="0"/>
                    <a:pt x="7" y="1"/>
                  </a:cubicBezTo>
                  <a:cubicBezTo>
                    <a:pt x="9" y="2"/>
                    <a:pt x="11" y="4"/>
                    <a:pt x="10" y="6"/>
                  </a:cubicBezTo>
                  <a:cubicBezTo>
                    <a:pt x="10" y="6"/>
                    <a:pt x="9" y="8"/>
                    <a:pt x="10" y="9"/>
                  </a:cubicBezTo>
                  <a:cubicBezTo>
                    <a:pt x="11" y="10"/>
                    <a:pt x="14" y="12"/>
                    <a:pt x="24" y="11"/>
                  </a:cubicBezTo>
                  <a:cubicBezTo>
                    <a:pt x="26" y="11"/>
                    <a:pt x="28" y="12"/>
                    <a:pt x="29" y="15"/>
                  </a:cubicBezTo>
                  <a:cubicBezTo>
                    <a:pt x="29" y="17"/>
                    <a:pt x="27" y="19"/>
                    <a:pt x="25" y="19"/>
                  </a:cubicBezTo>
                  <a:cubicBezTo>
                    <a:pt x="23" y="20"/>
                    <a:pt x="20" y="20"/>
                    <a:pt x="18" y="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4" name="Freeform 85">
              <a:extLst>
                <a:ext uri="{FF2B5EF4-FFF2-40B4-BE49-F238E27FC236}">
                  <a16:creationId xmlns:a16="http://schemas.microsoft.com/office/drawing/2014/main" id="{80FDAEB6-E326-42E0-CF19-2359EEC16E3B}"/>
                </a:ext>
              </a:extLst>
            </p:cNvPr>
            <p:cNvSpPr>
              <a:spLocks/>
            </p:cNvSpPr>
            <p:nvPr/>
          </p:nvSpPr>
          <p:spPr bwMode="auto">
            <a:xfrm>
              <a:off x="-8563852" y="1341910"/>
              <a:ext cx="105985" cy="101910"/>
            </a:xfrm>
            <a:custGeom>
              <a:avLst/>
              <a:gdLst>
                <a:gd name="T0" fmla="*/ 14 w 41"/>
                <a:gd name="T1" fmla="*/ 41 h 41"/>
                <a:gd name="T2" fmla="*/ 2 w 41"/>
                <a:gd name="T3" fmla="*/ 36 h 41"/>
                <a:gd name="T4" fmla="*/ 1 w 41"/>
                <a:gd name="T5" fmla="*/ 30 h 41"/>
                <a:gd name="T6" fmla="*/ 7 w 41"/>
                <a:gd name="T7" fmla="*/ 29 h 41"/>
                <a:gd name="T8" fmla="*/ 16 w 41"/>
                <a:gd name="T9" fmla="*/ 32 h 41"/>
                <a:gd name="T10" fmla="*/ 33 w 41"/>
                <a:gd name="T11" fmla="*/ 4 h 41"/>
                <a:gd name="T12" fmla="*/ 38 w 41"/>
                <a:gd name="T13" fmla="*/ 1 h 41"/>
                <a:gd name="T14" fmla="*/ 41 w 41"/>
                <a:gd name="T15" fmla="*/ 6 h 41"/>
                <a:gd name="T16" fmla="*/ 19 w 41"/>
                <a:gd name="T17" fmla="*/ 40 h 41"/>
                <a:gd name="T18" fmla="*/ 14 w 41"/>
                <a:gd name="T19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41">
                  <a:moveTo>
                    <a:pt x="14" y="41"/>
                  </a:moveTo>
                  <a:cubicBezTo>
                    <a:pt x="10" y="41"/>
                    <a:pt x="6" y="39"/>
                    <a:pt x="2" y="36"/>
                  </a:cubicBezTo>
                  <a:cubicBezTo>
                    <a:pt x="0" y="35"/>
                    <a:pt x="0" y="32"/>
                    <a:pt x="1" y="30"/>
                  </a:cubicBezTo>
                  <a:cubicBezTo>
                    <a:pt x="3" y="28"/>
                    <a:pt x="5" y="28"/>
                    <a:pt x="7" y="29"/>
                  </a:cubicBezTo>
                  <a:cubicBezTo>
                    <a:pt x="12" y="33"/>
                    <a:pt x="15" y="32"/>
                    <a:pt x="16" y="32"/>
                  </a:cubicBezTo>
                  <a:cubicBezTo>
                    <a:pt x="25" y="29"/>
                    <a:pt x="31" y="10"/>
                    <a:pt x="33" y="4"/>
                  </a:cubicBezTo>
                  <a:cubicBezTo>
                    <a:pt x="33" y="2"/>
                    <a:pt x="35" y="0"/>
                    <a:pt x="38" y="1"/>
                  </a:cubicBezTo>
                  <a:cubicBezTo>
                    <a:pt x="40" y="2"/>
                    <a:pt x="41" y="4"/>
                    <a:pt x="41" y="6"/>
                  </a:cubicBezTo>
                  <a:cubicBezTo>
                    <a:pt x="40" y="9"/>
                    <a:pt x="33" y="35"/>
                    <a:pt x="19" y="40"/>
                  </a:cubicBezTo>
                  <a:cubicBezTo>
                    <a:pt x="17" y="40"/>
                    <a:pt x="15" y="41"/>
                    <a:pt x="14" y="4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5" name="Freeform 86">
              <a:extLst>
                <a:ext uri="{FF2B5EF4-FFF2-40B4-BE49-F238E27FC236}">
                  <a16:creationId xmlns:a16="http://schemas.microsoft.com/office/drawing/2014/main" id="{46271EE7-2E1A-D9B4-372C-64E73567149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8694295" y="1019880"/>
              <a:ext cx="216048" cy="342413"/>
            </a:xfrm>
            <a:custGeom>
              <a:avLst/>
              <a:gdLst>
                <a:gd name="T0" fmla="*/ 43 w 87"/>
                <a:gd name="T1" fmla="*/ 136 h 136"/>
                <a:gd name="T2" fmla="*/ 24 w 87"/>
                <a:gd name="T3" fmla="*/ 118 h 136"/>
                <a:gd name="T4" fmla="*/ 24 w 87"/>
                <a:gd name="T5" fmla="*/ 116 h 136"/>
                <a:gd name="T6" fmla="*/ 8 w 87"/>
                <a:gd name="T7" fmla="*/ 67 h 136"/>
                <a:gd name="T8" fmla="*/ 1 w 87"/>
                <a:gd name="T9" fmla="*/ 39 h 136"/>
                <a:gd name="T10" fmla="*/ 39 w 87"/>
                <a:gd name="T11" fmla="*/ 1 h 136"/>
                <a:gd name="T12" fmla="*/ 73 w 87"/>
                <a:gd name="T13" fmla="*/ 12 h 136"/>
                <a:gd name="T14" fmla="*/ 87 w 87"/>
                <a:gd name="T15" fmla="*/ 44 h 136"/>
                <a:gd name="T16" fmla="*/ 79 w 87"/>
                <a:gd name="T17" fmla="*/ 68 h 136"/>
                <a:gd name="T18" fmla="*/ 63 w 87"/>
                <a:gd name="T19" fmla="*/ 118 h 136"/>
                <a:gd name="T20" fmla="*/ 43 w 87"/>
                <a:gd name="T21" fmla="*/ 136 h 136"/>
                <a:gd name="T22" fmla="*/ 44 w 87"/>
                <a:gd name="T23" fmla="*/ 9 h 136"/>
                <a:gd name="T24" fmla="*/ 40 w 87"/>
                <a:gd name="T25" fmla="*/ 9 h 136"/>
                <a:gd name="T26" fmla="*/ 10 w 87"/>
                <a:gd name="T27" fmla="*/ 40 h 136"/>
                <a:gd name="T28" fmla="*/ 15 w 87"/>
                <a:gd name="T29" fmla="*/ 63 h 136"/>
                <a:gd name="T30" fmla="*/ 32 w 87"/>
                <a:gd name="T31" fmla="*/ 116 h 136"/>
                <a:gd name="T32" fmla="*/ 32 w 87"/>
                <a:gd name="T33" fmla="*/ 118 h 136"/>
                <a:gd name="T34" fmla="*/ 43 w 87"/>
                <a:gd name="T35" fmla="*/ 128 h 136"/>
                <a:gd name="T36" fmla="*/ 54 w 87"/>
                <a:gd name="T37" fmla="*/ 118 h 136"/>
                <a:gd name="T38" fmla="*/ 73 w 87"/>
                <a:gd name="T39" fmla="*/ 64 h 136"/>
                <a:gd name="T40" fmla="*/ 79 w 87"/>
                <a:gd name="T41" fmla="*/ 44 h 136"/>
                <a:gd name="T42" fmla="*/ 67 w 87"/>
                <a:gd name="T43" fmla="*/ 18 h 136"/>
                <a:gd name="T44" fmla="*/ 44 w 87"/>
                <a:gd name="T45" fmla="*/ 9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7" h="136">
                  <a:moveTo>
                    <a:pt x="43" y="136"/>
                  </a:moveTo>
                  <a:cubicBezTo>
                    <a:pt x="33" y="136"/>
                    <a:pt x="25" y="128"/>
                    <a:pt x="24" y="118"/>
                  </a:cubicBezTo>
                  <a:cubicBezTo>
                    <a:pt x="24" y="116"/>
                    <a:pt x="24" y="116"/>
                    <a:pt x="24" y="116"/>
                  </a:cubicBezTo>
                  <a:cubicBezTo>
                    <a:pt x="24" y="99"/>
                    <a:pt x="18" y="82"/>
                    <a:pt x="8" y="67"/>
                  </a:cubicBezTo>
                  <a:cubicBezTo>
                    <a:pt x="3" y="59"/>
                    <a:pt x="0" y="49"/>
                    <a:pt x="1" y="39"/>
                  </a:cubicBezTo>
                  <a:cubicBezTo>
                    <a:pt x="4" y="19"/>
                    <a:pt x="20" y="3"/>
                    <a:pt x="39" y="1"/>
                  </a:cubicBezTo>
                  <a:cubicBezTo>
                    <a:pt x="51" y="0"/>
                    <a:pt x="64" y="4"/>
                    <a:pt x="73" y="12"/>
                  </a:cubicBezTo>
                  <a:cubicBezTo>
                    <a:pt x="82" y="20"/>
                    <a:pt x="87" y="31"/>
                    <a:pt x="87" y="44"/>
                  </a:cubicBezTo>
                  <a:cubicBezTo>
                    <a:pt x="87" y="53"/>
                    <a:pt x="84" y="61"/>
                    <a:pt x="79" y="68"/>
                  </a:cubicBezTo>
                  <a:cubicBezTo>
                    <a:pt x="69" y="83"/>
                    <a:pt x="63" y="100"/>
                    <a:pt x="63" y="118"/>
                  </a:cubicBezTo>
                  <a:cubicBezTo>
                    <a:pt x="62" y="128"/>
                    <a:pt x="54" y="136"/>
                    <a:pt x="43" y="136"/>
                  </a:cubicBezTo>
                  <a:close/>
                  <a:moveTo>
                    <a:pt x="44" y="9"/>
                  </a:moveTo>
                  <a:cubicBezTo>
                    <a:pt x="43" y="9"/>
                    <a:pt x="41" y="9"/>
                    <a:pt x="40" y="9"/>
                  </a:cubicBezTo>
                  <a:cubicBezTo>
                    <a:pt x="24" y="11"/>
                    <a:pt x="11" y="24"/>
                    <a:pt x="10" y="40"/>
                  </a:cubicBezTo>
                  <a:cubicBezTo>
                    <a:pt x="9" y="48"/>
                    <a:pt x="11" y="56"/>
                    <a:pt x="15" y="63"/>
                  </a:cubicBezTo>
                  <a:cubicBezTo>
                    <a:pt x="26" y="79"/>
                    <a:pt x="32" y="97"/>
                    <a:pt x="32" y="116"/>
                  </a:cubicBezTo>
                  <a:cubicBezTo>
                    <a:pt x="32" y="118"/>
                    <a:pt x="32" y="118"/>
                    <a:pt x="32" y="118"/>
                  </a:cubicBezTo>
                  <a:cubicBezTo>
                    <a:pt x="33" y="124"/>
                    <a:pt x="37" y="128"/>
                    <a:pt x="43" y="128"/>
                  </a:cubicBezTo>
                  <a:cubicBezTo>
                    <a:pt x="49" y="128"/>
                    <a:pt x="54" y="124"/>
                    <a:pt x="54" y="118"/>
                  </a:cubicBezTo>
                  <a:cubicBezTo>
                    <a:pt x="55" y="98"/>
                    <a:pt x="61" y="80"/>
                    <a:pt x="73" y="64"/>
                  </a:cubicBezTo>
                  <a:cubicBezTo>
                    <a:pt x="77" y="58"/>
                    <a:pt x="79" y="51"/>
                    <a:pt x="79" y="44"/>
                  </a:cubicBezTo>
                  <a:cubicBezTo>
                    <a:pt x="79" y="34"/>
                    <a:pt x="75" y="24"/>
                    <a:pt x="67" y="18"/>
                  </a:cubicBezTo>
                  <a:cubicBezTo>
                    <a:pt x="61" y="12"/>
                    <a:pt x="53" y="9"/>
                    <a:pt x="44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6" name="Freeform 87">
              <a:extLst>
                <a:ext uri="{FF2B5EF4-FFF2-40B4-BE49-F238E27FC236}">
                  <a16:creationId xmlns:a16="http://schemas.microsoft.com/office/drawing/2014/main" id="{06DB6D3F-B765-3ADC-1875-45F58F2C0ED8}"/>
                </a:ext>
              </a:extLst>
            </p:cNvPr>
            <p:cNvSpPr>
              <a:spLocks/>
            </p:cNvSpPr>
            <p:nvPr/>
          </p:nvSpPr>
          <p:spPr bwMode="auto">
            <a:xfrm>
              <a:off x="-8637227" y="1256308"/>
              <a:ext cx="105985" cy="32611"/>
            </a:xfrm>
            <a:custGeom>
              <a:avLst/>
              <a:gdLst>
                <a:gd name="T0" fmla="*/ 21 w 42"/>
                <a:gd name="T1" fmla="*/ 12 h 12"/>
                <a:gd name="T2" fmla="*/ 3 w 42"/>
                <a:gd name="T3" fmla="*/ 8 h 12"/>
                <a:gd name="T4" fmla="*/ 1 w 42"/>
                <a:gd name="T5" fmla="*/ 2 h 12"/>
                <a:gd name="T6" fmla="*/ 7 w 42"/>
                <a:gd name="T7" fmla="*/ 1 h 12"/>
                <a:gd name="T8" fmla="*/ 35 w 42"/>
                <a:gd name="T9" fmla="*/ 1 h 12"/>
                <a:gd name="T10" fmla="*/ 41 w 42"/>
                <a:gd name="T11" fmla="*/ 3 h 12"/>
                <a:gd name="T12" fmla="*/ 39 w 42"/>
                <a:gd name="T13" fmla="*/ 8 h 12"/>
                <a:gd name="T14" fmla="*/ 21 w 42"/>
                <a:gd name="T1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" h="12">
                  <a:moveTo>
                    <a:pt x="21" y="12"/>
                  </a:moveTo>
                  <a:cubicBezTo>
                    <a:pt x="10" y="12"/>
                    <a:pt x="3" y="8"/>
                    <a:pt x="3" y="8"/>
                  </a:cubicBezTo>
                  <a:cubicBezTo>
                    <a:pt x="1" y="7"/>
                    <a:pt x="0" y="4"/>
                    <a:pt x="1" y="2"/>
                  </a:cubicBezTo>
                  <a:cubicBezTo>
                    <a:pt x="2" y="0"/>
                    <a:pt x="5" y="0"/>
                    <a:pt x="7" y="1"/>
                  </a:cubicBezTo>
                  <a:cubicBezTo>
                    <a:pt x="7" y="1"/>
                    <a:pt x="20" y="8"/>
                    <a:pt x="35" y="1"/>
                  </a:cubicBezTo>
                  <a:cubicBezTo>
                    <a:pt x="37" y="0"/>
                    <a:pt x="40" y="1"/>
                    <a:pt x="41" y="3"/>
                  </a:cubicBezTo>
                  <a:cubicBezTo>
                    <a:pt x="42" y="5"/>
                    <a:pt x="41" y="7"/>
                    <a:pt x="39" y="8"/>
                  </a:cubicBezTo>
                  <a:cubicBezTo>
                    <a:pt x="32" y="11"/>
                    <a:pt x="26" y="12"/>
                    <a:pt x="21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7" name="Freeform 88">
              <a:extLst>
                <a:ext uri="{FF2B5EF4-FFF2-40B4-BE49-F238E27FC236}">
                  <a16:creationId xmlns:a16="http://schemas.microsoft.com/office/drawing/2014/main" id="{4D97EC47-5F7C-919F-0430-0F60B4086D63}"/>
                </a:ext>
              </a:extLst>
            </p:cNvPr>
            <p:cNvSpPr>
              <a:spLocks/>
            </p:cNvSpPr>
            <p:nvPr/>
          </p:nvSpPr>
          <p:spPr bwMode="auto">
            <a:xfrm>
              <a:off x="-8596463" y="926123"/>
              <a:ext cx="20383" cy="52994"/>
            </a:xfrm>
            <a:custGeom>
              <a:avLst/>
              <a:gdLst>
                <a:gd name="T0" fmla="*/ 4 w 8"/>
                <a:gd name="T1" fmla="*/ 22 h 22"/>
                <a:gd name="T2" fmla="*/ 0 w 8"/>
                <a:gd name="T3" fmla="*/ 18 h 22"/>
                <a:gd name="T4" fmla="*/ 0 w 8"/>
                <a:gd name="T5" fmla="*/ 4 h 22"/>
                <a:gd name="T6" fmla="*/ 4 w 8"/>
                <a:gd name="T7" fmla="*/ 0 h 22"/>
                <a:gd name="T8" fmla="*/ 8 w 8"/>
                <a:gd name="T9" fmla="*/ 4 h 22"/>
                <a:gd name="T10" fmla="*/ 8 w 8"/>
                <a:gd name="T11" fmla="*/ 18 h 22"/>
                <a:gd name="T12" fmla="*/ 4 w 8"/>
                <a:gd name="T1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22">
                  <a:moveTo>
                    <a:pt x="4" y="22"/>
                  </a:moveTo>
                  <a:cubicBezTo>
                    <a:pt x="2" y="22"/>
                    <a:pt x="0" y="20"/>
                    <a:pt x="0" y="18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8" y="20"/>
                    <a:pt x="6" y="22"/>
                    <a:pt x="4" y="2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8" name="Freeform 89">
              <a:extLst>
                <a:ext uri="{FF2B5EF4-FFF2-40B4-BE49-F238E27FC236}">
                  <a16:creationId xmlns:a16="http://schemas.microsoft.com/office/drawing/2014/main" id="{96FB497D-654C-2B5C-B54D-ADC0B12B1457}"/>
                </a:ext>
              </a:extLst>
            </p:cNvPr>
            <p:cNvSpPr>
              <a:spLocks/>
            </p:cNvSpPr>
            <p:nvPr/>
          </p:nvSpPr>
          <p:spPr bwMode="auto">
            <a:xfrm>
              <a:off x="-8718754" y="970964"/>
              <a:ext cx="44841" cy="48916"/>
            </a:xfrm>
            <a:custGeom>
              <a:avLst/>
              <a:gdLst>
                <a:gd name="T0" fmla="*/ 13 w 18"/>
                <a:gd name="T1" fmla="*/ 19 h 19"/>
                <a:gd name="T2" fmla="*/ 10 w 18"/>
                <a:gd name="T3" fmla="*/ 17 h 19"/>
                <a:gd name="T4" fmla="*/ 1 w 18"/>
                <a:gd name="T5" fmla="*/ 7 h 19"/>
                <a:gd name="T6" fmla="*/ 2 w 18"/>
                <a:gd name="T7" fmla="*/ 1 h 19"/>
                <a:gd name="T8" fmla="*/ 8 w 18"/>
                <a:gd name="T9" fmla="*/ 2 h 19"/>
                <a:gd name="T10" fmla="*/ 16 w 18"/>
                <a:gd name="T11" fmla="*/ 12 h 19"/>
                <a:gd name="T12" fmla="*/ 16 w 18"/>
                <a:gd name="T13" fmla="*/ 18 h 19"/>
                <a:gd name="T14" fmla="*/ 13 w 18"/>
                <a:gd name="T1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9">
                  <a:moveTo>
                    <a:pt x="13" y="19"/>
                  </a:moveTo>
                  <a:cubicBezTo>
                    <a:pt x="12" y="19"/>
                    <a:pt x="11" y="18"/>
                    <a:pt x="10" y="1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5"/>
                    <a:pt x="0" y="3"/>
                    <a:pt x="2" y="1"/>
                  </a:cubicBezTo>
                  <a:cubicBezTo>
                    <a:pt x="4" y="0"/>
                    <a:pt x="6" y="0"/>
                    <a:pt x="8" y="2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8" y="14"/>
                    <a:pt x="18" y="17"/>
                    <a:pt x="16" y="18"/>
                  </a:cubicBezTo>
                  <a:cubicBezTo>
                    <a:pt x="15" y="19"/>
                    <a:pt x="14" y="19"/>
                    <a:pt x="13" y="1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9" name="Freeform 90">
              <a:extLst>
                <a:ext uri="{FF2B5EF4-FFF2-40B4-BE49-F238E27FC236}">
                  <a16:creationId xmlns:a16="http://schemas.microsoft.com/office/drawing/2014/main" id="{BC24C3E3-4A7F-FC9F-FC8C-EE0B3569BA25}"/>
                </a:ext>
              </a:extLst>
            </p:cNvPr>
            <p:cNvSpPr>
              <a:spLocks/>
            </p:cNvSpPr>
            <p:nvPr/>
          </p:nvSpPr>
          <p:spPr bwMode="auto">
            <a:xfrm>
              <a:off x="-8788053" y="1085102"/>
              <a:ext cx="57069" cy="28536"/>
            </a:xfrm>
            <a:custGeom>
              <a:avLst/>
              <a:gdLst>
                <a:gd name="T0" fmla="*/ 18 w 22"/>
                <a:gd name="T1" fmla="*/ 11 h 11"/>
                <a:gd name="T2" fmla="*/ 17 w 22"/>
                <a:gd name="T3" fmla="*/ 11 h 11"/>
                <a:gd name="T4" fmla="*/ 4 w 22"/>
                <a:gd name="T5" fmla="*/ 8 h 11"/>
                <a:gd name="T6" fmla="*/ 0 w 22"/>
                <a:gd name="T7" fmla="*/ 3 h 11"/>
                <a:gd name="T8" fmla="*/ 5 w 22"/>
                <a:gd name="T9" fmla="*/ 0 h 11"/>
                <a:gd name="T10" fmla="*/ 18 w 22"/>
                <a:gd name="T11" fmla="*/ 2 h 11"/>
                <a:gd name="T12" fmla="*/ 22 w 22"/>
                <a:gd name="T13" fmla="*/ 7 h 11"/>
                <a:gd name="T14" fmla="*/ 18 w 22"/>
                <a:gd name="T1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11">
                  <a:moveTo>
                    <a:pt x="18" y="11"/>
                  </a:moveTo>
                  <a:cubicBezTo>
                    <a:pt x="17" y="11"/>
                    <a:pt x="17" y="11"/>
                    <a:pt x="17" y="11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1" y="8"/>
                    <a:pt x="0" y="6"/>
                    <a:pt x="0" y="3"/>
                  </a:cubicBezTo>
                  <a:cubicBezTo>
                    <a:pt x="1" y="1"/>
                    <a:pt x="3" y="0"/>
                    <a:pt x="5" y="0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20" y="3"/>
                    <a:pt x="22" y="5"/>
                    <a:pt x="22" y="7"/>
                  </a:cubicBezTo>
                  <a:cubicBezTo>
                    <a:pt x="21" y="9"/>
                    <a:pt x="19" y="11"/>
                    <a:pt x="18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0" name="Freeform 91">
              <a:extLst>
                <a:ext uri="{FF2B5EF4-FFF2-40B4-BE49-F238E27FC236}">
                  <a16:creationId xmlns:a16="http://schemas.microsoft.com/office/drawing/2014/main" id="{AB840FC0-93DC-B0D6-1343-C6ED7B28E87D}"/>
                </a:ext>
              </a:extLst>
            </p:cNvPr>
            <p:cNvSpPr>
              <a:spLocks/>
            </p:cNvSpPr>
            <p:nvPr/>
          </p:nvSpPr>
          <p:spPr bwMode="auto">
            <a:xfrm>
              <a:off x="-8763595" y="1199240"/>
              <a:ext cx="52994" cy="40763"/>
            </a:xfrm>
            <a:custGeom>
              <a:avLst/>
              <a:gdLst>
                <a:gd name="T0" fmla="*/ 4 w 21"/>
                <a:gd name="T1" fmla="*/ 15 h 15"/>
                <a:gd name="T2" fmla="*/ 1 w 21"/>
                <a:gd name="T3" fmla="*/ 13 h 15"/>
                <a:gd name="T4" fmla="*/ 2 w 21"/>
                <a:gd name="T5" fmla="*/ 7 h 15"/>
                <a:gd name="T6" fmla="*/ 14 w 21"/>
                <a:gd name="T7" fmla="*/ 1 h 15"/>
                <a:gd name="T8" fmla="*/ 20 w 21"/>
                <a:gd name="T9" fmla="*/ 2 h 15"/>
                <a:gd name="T10" fmla="*/ 18 w 21"/>
                <a:gd name="T11" fmla="*/ 8 h 15"/>
                <a:gd name="T12" fmla="*/ 6 w 21"/>
                <a:gd name="T13" fmla="*/ 15 h 15"/>
                <a:gd name="T14" fmla="*/ 4 w 21"/>
                <a:gd name="T1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15">
                  <a:moveTo>
                    <a:pt x="4" y="15"/>
                  </a:moveTo>
                  <a:cubicBezTo>
                    <a:pt x="3" y="15"/>
                    <a:pt x="2" y="14"/>
                    <a:pt x="1" y="13"/>
                  </a:cubicBezTo>
                  <a:cubicBezTo>
                    <a:pt x="0" y="11"/>
                    <a:pt x="0" y="9"/>
                    <a:pt x="2" y="7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6" y="0"/>
                    <a:pt x="18" y="0"/>
                    <a:pt x="20" y="2"/>
                  </a:cubicBezTo>
                  <a:cubicBezTo>
                    <a:pt x="21" y="4"/>
                    <a:pt x="20" y="7"/>
                    <a:pt x="18" y="8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5" y="15"/>
                    <a:pt x="4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1" name="Freeform 92">
              <a:extLst>
                <a:ext uri="{FF2B5EF4-FFF2-40B4-BE49-F238E27FC236}">
                  <a16:creationId xmlns:a16="http://schemas.microsoft.com/office/drawing/2014/main" id="{116EB94C-CEC3-CE8D-7301-8185577D5D26}"/>
                </a:ext>
              </a:extLst>
            </p:cNvPr>
            <p:cNvSpPr>
              <a:spLocks/>
            </p:cNvSpPr>
            <p:nvPr/>
          </p:nvSpPr>
          <p:spPr bwMode="auto">
            <a:xfrm>
              <a:off x="-8457867" y="1199240"/>
              <a:ext cx="52994" cy="40763"/>
            </a:xfrm>
            <a:custGeom>
              <a:avLst/>
              <a:gdLst>
                <a:gd name="T0" fmla="*/ 17 w 22"/>
                <a:gd name="T1" fmla="*/ 15 h 15"/>
                <a:gd name="T2" fmla="*/ 15 w 22"/>
                <a:gd name="T3" fmla="*/ 15 h 15"/>
                <a:gd name="T4" fmla="*/ 3 w 22"/>
                <a:gd name="T5" fmla="*/ 8 h 15"/>
                <a:gd name="T6" fmla="*/ 2 w 22"/>
                <a:gd name="T7" fmla="*/ 2 h 15"/>
                <a:gd name="T8" fmla="*/ 7 w 22"/>
                <a:gd name="T9" fmla="*/ 1 h 15"/>
                <a:gd name="T10" fmla="*/ 19 w 22"/>
                <a:gd name="T11" fmla="*/ 7 h 15"/>
                <a:gd name="T12" fmla="*/ 20 w 22"/>
                <a:gd name="T13" fmla="*/ 13 h 15"/>
                <a:gd name="T14" fmla="*/ 17 w 22"/>
                <a:gd name="T1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15">
                  <a:moveTo>
                    <a:pt x="17" y="15"/>
                  </a:moveTo>
                  <a:cubicBezTo>
                    <a:pt x="16" y="15"/>
                    <a:pt x="15" y="15"/>
                    <a:pt x="15" y="15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1" y="7"/>
                    <a:pt x="0" y="4"/>
                    <a:pt x="2" y="2"/>
                  </a:cubicBezTo>
                  <a:cubicBezTo>
                    <a:pt x="3" y="0"/>
                    <a:pt x="5" y="0"/>
                    <a:pt x="7" y="1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21" y="9"/>
                    <a:pt x="22" y="11"/>
                    <a:pt x="20" y="13"/>
                  </a:cubicBezTo>
                  <a:cubicBezTo>
                    <a:pt x="20" y="14"/>
                    <a:pt x="18" y="15"/>
                    <a:pt x="17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2" name="Freeform 93">
              <a:extLst>
                <a:ext uri="{FF2B5EF4-FFF2-40B4-BE49-F238E27FC236}">
                  <a16:creationId xmlns:a16="http://schemas.microsoft.com/office/drawing/2014/main" id="{C6E40E95-237C-8378-5CE2-C3549F1DC077}"/>
                </a:ext>
              </a:extLst>
            </p:cNvPr>
            <p:cNvSpPr>
              <a:spLocks/>
            </p:cNvSpPr>
            <p:nvPr/>
          </p:nvSpPr>
          <p:spPr bwMode="auto">
            <a:xfrm>
              <a:off x="-8437487" y="1085102"/>
              <a:ext cx="52994" cy="28536"/>
            </a:xfrm>
            <a:custGeom>
              <a:avLst/>
              <a:gdLst>
                <a:gd name="T0" fmla="*/ 5 w 22"/>
                <a:gd name="T1" fmla="*/ 11 h 11"/>
                <a:gd name="T2" fmla="*/ 1 w 22"/>
                <a:gd name="T3" fmla="*/ 7 h 11"/>
                <a:gd name="T4" fmla="*/ 4 w 22"/>
                <a:gd name="T5" fmla="*/ 2 h 11"/>
                <a:gd name="T6" fmla="*/ 17 w 22"/>
                <a:gd name="T7" fmla="*/ 0 h 11"/>
                <a:gd name="T8" fmla="*/ 22 w 22"/>
                <a:gd name="T9" fmla="*/ 3 h 11"/>
                <a:gd name="T10" fmla="*/ 19 w 22"/>
                <a:gd name="T11" fmla="*/ 8 h 11"/>
                <a:gd name="T12" fmla="*/ 5 w 22"/>
                <a:gd name="T13" fmla="*/ 11 h 11"/>
                <a:gd name="T14" fmla="*/ 5 w 22"/>
                <a:gd name="T1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11">
                  <a:moveTo>
                    <a:pt x="5" y="11"/>
                  </a:moveTo>
                  <a:cubicBezTo>
                    <a:pt x="3" y="11"/>
                    <a:pt x="1" y="9"/>
                    <a:pt x="1" y="7"/>
                  </a:cubicBezTo>
                  <a:cubicBezTo>
                    <a:pt x="0" y="5"/>
                    <a:pt x="2" y="3"/>
                    <a:pt x="4" y="2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20" y="0"/>
                    <a:pt x="22" y="1"/>
                    <a:pt x="22" y="3"/>
                  </a:cubicBezTo>
                  <a:cubicBezTo>
                    <a:pt x="22" y="6"/>
                    <a:pt x="21" y="8"/>
                    <a:pt x="19" y="8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11"/>
                    <a:pt x="5" y="11"/>
                    <a:pt x="5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3" name="Freeform 94">
              <a:extLst>
                <a:ext uri="{FF2B5EF4-FFF2-40B4-BE49-F238E27FC236}">
                  <a16:creationId xmlns:a16="http://schemas.microsoft.com/office/drawing/2014/main" id="{1ACDE309-4DB3-8FF1-EE53-D3B3B0AAD5F6}"/>
                </a:ext>
              </a:extLst>
            </p:cNvPr>
            <p:cNvSpPr>
              <a:spLocks/>
            </p:cNvSpPr>
            <p:nvPr/>
          </p:nvSpPr>
          <p:spPr bwMode="auto">
            <a:xfrm>
              <a:off x="-8494556" y="970964"/>
              <a:ext cx="44841" cy="48916"/>
            </a:xfrm>
            <a:custGeom>
              <a:avLst/>
              <a:gdLst>
                <a:gd name="T0" fmla="*/ 5 w 18"/>
                <a:gd name="T1" fmla="*/ 19 h 19"/>
                <a:gd name="T2" fmla="*/ 2 w 18"/>
                <a:gd name="T3" fmla="*/ 18 h 19"/>
                <a:gd name="T4" fmla="*/ 2 w 18"/>
                <a:gd name="T5" fmla="*/ 12 h 19"/>
                <a:gd name="T6" fmla="*/ 10 w 18"/>
                <a:gd name="T7" fmla="*/ 2 h 19"/>
                <a:gd name="T8" fmla="*/ 16 w 18"/>
                <a:gd name="T9" fmla="*/ 1 h 19"/>
                <a:gd name="T10" fmla="*/ 17 w 18"/>
                <a:gd name="T11" fmla="*/ 7 h 19"/>
                <a:gd name="T12" fmla="*/ 8 w 18"/>
                <a:gd name="T13" fmla="*/ 17 h 19"/>
                <a:gd name="T14" fmla="*/ 5 w 18"/>
                <a:gd name="T1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9">
                  <a:moveTo>
                    <a:pt x="5" y="19"/>
                  </a:moveTo>
                  <a:cubicBezTo>
                    <a:pt x="4" y="19"/>
                    <a:pt x="3" y="19"/>
                    <a:pt x="2" y="18"/>
                  </a:cubicBezTo>
                  <a:cubicBezTo>
                    <a:pt x="1" y="17"/>
                    <a:pt x="0" y="14"/>
                    <a:pt x="2" y="1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2" y="0"/>
                    <a:pt x="15" y="0"/>
                    <a:pt x="16" y="1"/>
                  </a:cubicBezTo>
                  <a:cubicBezTo>
                    <a:pt x="18" y="3"/>
                    <a:pt x="18" y="5"/>
                    <a:pt x="17" y="7"/>
                  </a:cubicBezTo>
                  <a:cubicBezTo>
                    <a:pt x="8" y="17"/>
                    <a:pt x="8" y="17"/>
                    <a:pt x="8" y="17"/>
                  </a:cubicBezTo>
                  <a:cubicBezTo>
                    <a:pt x="7" y="18"/>
                    <a:pt x="6" y="19"/>
                    <a:pt x="5" y="1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0" name="Shape11_20200717_154352">
            <a:extLst>
              <a:ext uri="{FF2B5EF4-FFF2-40B4-BE49-F238E27FC236}">
                <a16:creationId xmlns:a16="http://schemas.microsoft.com/office/drawing/2014/main" id="{A9B088A3-E160-E94A-E203-0129026581D0}"/>
              </a:ext>
            </a:extLst>
          </p:cNvPr>
          <p:cNvGrpSpPr>
            <a:grpSpLocks noChangeAspect="1"/>
          </p:cNvGrpSpPr>
          <p:nvPr/>
        </p:nvGrpSpPr>
        <p:grpSpPr>
          <a:xfrm>
            <a:off x="1973968" y="3837428"/>
            <a:ext cx="542156" cy="676674"/>
            <a:chOff x="-7479544" y="5251128"/>
            <a:chExt cx="542156" cy="676674"/>
          </a:xfrm>
          <a:solidFill>
            <a:schemeClr val="accent1"/>
          </a:solidFill>
        </p:grpSpPr>
        <p:sp>
          <p:nvSpPr>
            <p:cNvPr id="201" name="Freeform 95">
              <a:extLst>
                <a:ext uri="{FF2B5EF4-FFF2-40B4-BE49-F238E27FC236}">
                  <a16:creationId xmlns:a16="http://schemas.microsoft.com/office/drawing/2014/main" id="{158C8194-043F-B31B-92CD-874FAAA03BE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479544" y="5683221"/>
              <a:ext cx="101910" cy="244581"/>
            </a:xfrm>
            <a:custGeom>
              <a:avLst/>
              <a:gdLst>
                <a:gd name="T0" fmla="*/ 28 w 40"/>
                <a:gd name="T1" fmla="*/ 97 h 97"/>
                <a:gd name="T2" fmla="*/ 12 w 40"/>
                <a:gd name="T3" fmla="*/ 97 h 97"/>
                <a:gd name="T4" fmla="*/ 0 w 40"/>
                <a:gd name="T5" fmla="*/ 85 h 97"/>
                <a:gd name="T6" fmla="*/ 0 w 40"/>
                <a:gd name="T7" fmla="*/ 12 h 97"/>
                <a:gd name="T8" fmla="*/ 12 w 40"/>
                <a:gd name="T9" fmla="*/ 0 h 97"/>
                <a:gd name="T10" fmla="*/ 28 w 40"/>
                <a:gd name="T11" fmla="*/ 0 h 97"/>
                <a:gd name="T12" fmla="*/ 40 w 40"/>
                <a:gd name="T13" fmla="*/ 12 h 97"/>
                <a:gd name="T14" fmla="*/ 40 w 40"/>
                <a:gd name="T15" fmla="*/ 85 h 97"/>
                <a:gd name="T16" fmla="*/ 28 w 40"/>
                <a:gd name="T17" fmla="*/ 97 h 97"/>
                <a:gd name="T18" fmla="*/ 12 w 40"/>
                <a:gd name="T19" fmla="*/ 8 h 97"/>
                <a:gd name="T20" fmla="*/ 8 w 40"/>
                <a:gd name="T21" fmla="*/ 12 h 97"/>
                <a:gd name="T22" fmla="*/ 8 w 40"/>
                <a:gd name="T23" fmla="*/ 85 h 97"/>
                <a:gd name="T24" fmla="*/ 12 w 40"/>
                <a:gd name="T25" fmla="*/ 89 h 97"/>
                <a:gd name="T26" fmla="*/ 28 w 40"/>
                <a:gd name="T27" fmla="*/ 89 h 97"/>
                <a:gd name="T28" fmla="*/ 32 w 40"/>
                <a:gd name="T29" fmla="*/ 85 h 97"/>
                <a:gd name="T30" fmla="*/ 32 w 40"/>
                <a:gd name="T31" fmla="*/ 12 h 97"/>
                <a:gd name="T32" fmla="*/ 28 w 40"/>
                <a:gd name="T33" fmla="*/ 8 h 97"/>
                <a:gd name="T34" fmla="*/ 12 w 40"/>
                <a:gd name="T35" fmla="*/ 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0" h="97">
                  <a:moveTo>
                    <a:pt x="28" y="97"/>
                  </a:moveTo>
                  <a:cubicBezTo>
                    <a:pt x="12" y="97"/>
                    <a:pt x="12" y="97"/>
                    <a:pt x="12" y="97"/>
                  </a:cubicBezTo>
                  <a:cubicBezTo>
                    <a:pt x="6" y="97"/>
                    <a:pt x="0" y="92"/>
                    <a:pt x="0" y="85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6" y="0"/>
                    <a:pt x="12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35" y="0"/>
                    <a:pt x="40" y="5"/>
                    <a:pt x="40" y="12"/>
                  </a:cubicBezTo>
                  <a:cubicBezTo>
                    <a:pt x="40" y="85"/>
                    <a:pt x="40" y="85"/>
                    <a:pt x="40" y="85"/>
                  </a:cubicBezTo>
                  <a:cubicBezTo>
                    <a:pt x="40" y="92"/>
                    <a:pt x="35" y="97"/>
                    <a:pt x="28" y="97"/>
                  </a:cubicBezTo>
                  <a:close/>
                  <a:moveTo>
                    <a:pt x="12" y="8"/>
                  </a:moveTo>
                  <a:cubicBezTo>
                    <a:pt x="10" y="8"/>
                    <a:pt x="8" y="10"/>
                    <a:pt x="8" y="12"/>
                  </a:cubicBezTo>
                  <a:cubicBezTo>
                    <a:pt x="8" y="85"/>
                    <a:pt x="8" y="85"/>
                    <a:pt x="8" y="85"/>
                  </a:cubicBezTo>
                  <a:cubicBezTo>
                    <a:pt x="8" y="87"/>
                    <a:pt x="10" y="89"/>
                    <a:pt x="12" y="89"/>
                  </a:cubicBezTo>
                  <a:cubicBezTo>
                    <a:pt x="28" y="89"/>
                    <a:pt x="28" y="89"/>
                    <a:pt x="28" y="89"/>
                  </a:cubicBezTo>
                  <a:cubicBezTo>
                    <a:pt x="30" y="89"/>
                    <a:pt x="32" y="87"/>
                    <a:pt x="32" y="85"/>
                  </a:cubicBezTo>
                  <a:cubicBezTo>
                    <a:pt x="32" y="12"/>
                    <a:pt x="32" y="12"/>
                    <a:pt x="32" y="12"/>
                  </a:cubicBezTo>
                  <a:cubicBezTo>
                    <a:pt x="32" y="10"/>
                    <a:pt x="30" y="8"/>
                    <a:pt x="28" y="8"/>
                  </a:cubicBezTo>
                  <a:lnTo>
                    <a:pt x="12" y="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2" name="Freeform 96">
              <a:extLst>
                <a:ext uri="{FF2B5EF4-FFF2-40B4-BE49-F238E27FC236}">
                  <a16:creationId xmlns:a16="http://schemas.microsoft.com/office/drawing/2014/main" id="{1ACF673D-C4AA-B060-337B-F5D1D8AC458D}"/>
                </a:ext>
              </a:extLst>
            </p:cNvPr>
            <p:cNvSpPr>
              <a:spLocks/>
            </p:cNvSpPr>
            <p:nvPr/>
          </p:nvSpPr>
          <p:spPr bwMode="auto">
            <a:xfrm>
              <a:off x="-7398017" y="5699527"/>
              <a:ext cx="342413" cy="97832"/>
            </a:xfrm>
            <a:custGeom>
              <a:avLst/>
              <a:gdLst>
                <a:gd name="T0" fmla="*/ 56 w 137"/>
                <a:gd name="T1" fmla="*/ 39 h 39"/>
                <a:gd name="T2" fmla="*/ 52 w 137"/>
                <a:gd name="T3" fmla="*/ 36 h 39"/>
                <a:gd name="T4" fmla="*/ 55 w 137"/>
                <a:gd name="T5" fmla="*/ 31 h 39"/>
                <a:gd name="T6" fmla="*/ 78 w 137"/>
                <a:gd name="T7" fmla="*/ 24 h 39"/>
                <a:gd name="T8" fmla="*/ 80 w 137"/>
                <a:gd name="T9" fmla="*/ 24 h 39"/>
                <a:gd name="T10" fmla="*/ 123 w 137"/>
                <a:gd name="T11" fmla="*/ 30 h 39"/>
                <a:gd name="T12" fmla="*/ 127 w 137"/>
                <a:gd name="T13" fmla="*/ 26 h 39"/>
                <a:gd name="T14" fmla="*/ 128 w 137"/>
                <a:gd name="T15" fmla="*/ 25 h 39"/>
                <a:gd name="T16" fmla="*/ 125 w 137"/>
                <a:gd name="T17" fmla="*/ 20 h 39"/>
                <a:gd name="T18" fmla="*/ 77 w 137"/>
                <a:gd name="T19" fmla="*/ 8 h 39"/>
                <a:gd name="T20" fmla="*/ 5 w 137"/>
                <a:gd name="T21" fmla="*/ 22 h 39"/>
                <a:gd name="T22" fmla="*/ 0 w 137"/>
                <a:gd name="T23" fmla="*/ 18 h 39"/>
                <a:gd name="T24" fmla="*/ 3 w 137"/>
                <a:gd name="T25" fmla="*/ 13 h 39"/>
                <a:gd name="T26" fmla="*/ 76 w 137"/>
                <a:gd name="T27" fmla="*/ 0 h 39"/>
                <a:gd name="T28" fmla="*/ 78 w 137"/>
                <a:gd name="T29" fmla="*/ 0 h 39"/>
                <a:gd name="T30" fmla="*/ 126 w 137"/>
                <a:gd name="T31" fmla="*/ 12 h 39"/>
                <a:gd name="T32" fmla="*/ 136 w 137"/>
                <a:gd name="T33" fmla="*/ 27 h 39"/>
                <a:gd name="T34" fmla="*/ 135 w 137"/>
                <a:gd name="T35" fmla="*/ 28 h 39"/>
                <a:gd name="T36" fmla="*/ 121 w 137"/>
                <a:gd name="T37" fmla="*/ 38 h 39"/>
                <a:gd name="T38" fmla="*/ 79 w 137"/>
                <a:gd name="T39" fmla="*/ 32 h 39"/>
                <a:gd name="T40" fmla="*/ 57 w 137"/>
                <a:gd name="T41" fmla="*/ 39 h 39"/>
                <a:gd name="T42" fmla="*/ 56 w 137"/>
                <a:gd name="T43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37" h="39">
                  <a:moveTo>
                    <a:pt x="56" y="39"/>
                  </a:moveTo>
                  <a:cubicBezTo>
                    <a:pt x="54" y="39"/>
                    <a:pt x="53" y="38"/>
                    <a:pt x="52" y="36"/>
                  </a:cubicBezTo>
                  <a:cubicBezTo>
                    <a:pt x="52" y="34"/>
                    <a:pt x="53" y="32"/>
                    <a:pt x="55" y="31"/>
                  </a:cubicBezTo>
                  <a:cubicBezTo>
                    <a:pt x="78" y="24"/>
                    <a:pt x="78" y="24"/>
                    <a:pt x="78" y="24"/>
                  </a:cubicBezTo>
                  <a:cubicBezTo>
                    <a:pt x="78" y="24"/>
                    <a:pt x="79" y="24"/>
                    <a:pt x="80" y="24"/>
                  </a:cubicBezTo>
                  <a:cubicBezTo>
                    <a:pt x="123" y="30"/>
                    <a:pt x="123" y="30"/>
                    <a:pt x="123" y="30"/>
                  </a:cubicBezTo>
                  <a:cubicBezTo>
                    <a:pt x="125" y="30"/>
                    <a:pt x="127" y="29"/>
                    <a:pt x="127" y="26"/>
                  </a:cubicBezTo>
                  <a:cubicBezTo>
                    <a:pt x="128" y="25"/>
                    <a:pt x="128" y="25"/>
                    <a:pt x="128" y="25"/>
                  </a:cubicBezTo>
                  <a:cubicBezTo>
                    <a:pt x="128" y="22"/>
                    <a:pt x="127" y="20"/>
                    <a:pt x="125" y="20"/>
                  </a:cubicBezTo>
                  <a:cubicBezTo>
                    <a:pt x="77" y="8"/>
                    <a:pt x="77" y="8"/>
                    <a:pt x="77" y="8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3" y="22"/>
                    <a:pt x="0" y="21"/>
                    <a:pt x="0" y="18"/>
                  </a:cubicBezTo>
                  <a:cubicBezTo>
                    <a:pt x="0" y="16"/>
                    <a:pt x="1" y="14"/>
                    <a:pt x="3" y="13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77" y="0"/>
                    <a:pt x="77" y="0"/>
                    <a:pt x="78" y="0"/>
                  </a:cubicBezTo>
                  <a:cubicBezTo>
                    <a:pt x="126" y="12"/>
                    <a:pt x="126" y="12"/>
                    <a:pt x="126" y="12"/>
                  </a:cubicBezTo>
                  <a:cubicBezTo>
                    <a:pt x="133" y="13"/>
                    <a:pt x="137" y="20"/>
                    <a:pt x="136" y="27"/>
                  </a:cubicBezTo>
                  <a:cubicBezTo>
                    <a:pt x="135" y="28"/>
                    <a:pt x="135" y="28"/>
                    <a:pt x="135" y="28"/>
                  </a:cubicBezTo>
                  <a:cubicBezTo>
                    <a:pt x="134" y="35"/>
                    <a:pt x="128" y="39"/>
                    <a:pt x="121" y="38"/>
                  </a:cubicBezTo>
                  <a:cubicBezTo>
                    <a:pt x="79" y="32"/>
                    <a:pt x="79" y="32"/>
                    <a:pt x="79" y="32"/>
                  </a:cubicBezTo>
                  <a:cubicBezTo>
                    <a:pt x="57" y="39"/>
                    <a:pt x="57" y="39"/>
                    <a:pt x="57" y="39"/>
                  </a:cubicBezTo>
                  <a:cubicBezTo>
                    <a:pt x="57" y="39"/>
                    <a:pt x="57" y="39"/>
                    <a:pt x="56" y="3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3" name="Freeform 97">
              <a:extLst>
                <a:ext uri="{FF2B5EF4-FFF2-40B4-BE49-F238E27FC236}">
                  <a16:creationId xmlns:a16="http://schemas.microsoft.com/office/drawing/2014/main" id="{18A42CAF-FD86-BE43-A899-AFAB98C06557}"/>
                </a:ext>
              </a:extLst>
            </p:cNvPr>
            <p:cNvSpPr>
              <a:spLocks/>
            </p:cNvSpPr>
            <p:nvPr/>
          </p:nvSpPr>
          <p:spPr bwMode="auto">
            <a:xfrm>
              <a:off x="-7398017" y="5776976"/>
              <a:ext cx="460629" cy="105985"/>
            </a:xfrm>
            <a:custGeom>
              <a:avLst/>
              <a:gdLst>
                <a:gd name="T0" fmla="*/ 53 w 183"/>
                <a:gd name="T1" fmla="*/ 43 h 43"/>
                <a:gd name="T2" fmla="*/ 4 w 183"/>
                <a:gd name="T3" fmla="*/ 40 h 43"/>
                <a:gd name="T4" fmla="*/ 0 w 183"/>
                <a:gd name="T5" fmla="*/ 35 h 43"/>
                <a:gd name="T6" fmla="*/ 5 w 183"/>
                <a:gd name="T7" fmla="*/ 32 h 43"/>
                <a:gd name="T8" fmla="*/ 162 w 183"/>
                <a:gd name="T9" fmla="*/ 20 h 43"/>
                <a:gd name="T10" fmla="*/ 171 w 183"/>
                <a:gd name="T11" fmla="*/ 18 h 43"/>
                <a:gd name="T12" fmla="*/ 174 w 183"/>
                <a:gd name="T13" fmla="*/ 14 h 43"/>
                <a:gd name="T14" fmla="*/ 171 w 183"/>
                <a:gd name="T15" fmla="*/ 10 h 43"/>
                <a:gd name="T16" fmla="*/ 169 w 183"/>
                <a:gd name="T17" fmla="*/ 9 h 43"/>
                <a:gd name="T18" fmla="*/ 122 w 183"/>
                <a:gd name="T19" fmla="*/ 8 h 43"/>
                <a:gd name="T20" fmla="*/ 118 w 183"/>
                <a:gd name="T21" fmla="*/ 4 h 43"/>
                <a:gd name="T22" fmla="*/ 122 w 183"/>
                <a:gd name="T23" fmla="*/ 0 h 43"/>
                <a:gd name="T24" fmla="*/ 170 w 183"/>
                <a:gd name="T25" fmla="*/ 1 h 43"/>
                <a:gd name="T26" fmla="*/ 170 w 183"/>
                <a:gd name="T27" fmla="*/ 1 h 43"/>
                <a:gd name="T28" fmla="*/ 175 w 183"/>
                <a:gd name="T29" fmla="*/ 2 h 43"/>
                <a:gd name="T30" fmla="*/ 182 w 183"/>
                <a:gd name="T31" fmla="*/ 15 h 43"/>
                <a:gd name="T32" fmla="*/ 173 w 183"/>
                <a:gd name="T33" fmla="*/ 26 h 43"/>
                <a:gd name="T34" fmla="*/ 164 w 183"/>
                <a:gd name="T35" fmla="*/ 28 h 43"/>
                <a:gd name="T36" fmla="*/ 53 w 183"/>
                <a:gd name="T37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3" h="43">
                  <a:moveTo>
                    <a:pt x="53" y="43"/>
                  </a:moveTo>
                  <a:cubicBezTo>
                    <a:pt x="37" y="43"/>
                    <a:pt x="20" y="42"/>
                    <a:pt x="4" y="40"/>
                  </a:cubicBezTo>
                  <a:cubicBezTo>
                    <a:pt x="1" y="40"/>
                    <a:pt x="0" y="38"/>
                    <a:pt x="0" y="35"/>
                  </a:cubicBezTo>
                  <a:cubicBezTo>
                    <a:pt x="0" y="33"/>
                    <a:pt x="2" y="31"/>
                    <a:pt x="5" y="32"/>
                  </a:cubicBezTo>
                  <a:cubicBezTo>
                    <a:pt x="57" y="38"/>
                    <a:pt x="110" y="34"/>
                    <a:pt x="162" y="20"/>
                  </a:cubicBezTo>
                  <a:cubicBezTo>
                    <a:pt x="171" y="18"/>
                    <a:pt x="171" y="18"/>
                    <a:pt x="171" y="18"/>
                  </a:cubicBezTo>
                  <a:cubicBezTo>
                    <a:pt x="173" y="17"/>
                    <a:pt x="174" y="15"/>
                    <a:pt x="174" y="14"/>
                  </a:cubicBezTo>
                  <a:cubicBezTo>
                    <a:pt x="174" y="13"/>
                    <a:pt x="174" y="11"/>
                    <a:pt x="171" y="10"/>
                  </a:cubicBezTo>
                  <a:cubicBezTo>
                    <a:pt x="171" y="9"/>
                    <a:pt x="170" y="9"/>
                    <a:pt x="169" y="9"/>
                  </a:cubicBezTo>
                  <a:cubicBezTo>
                    <a:pt x="122" y="8"/>
                    <a:pt x="122" y="8"/>
                    <a:pt x="122" y="8"/>
                  </a:cubicBezTo>
                  <a:cubicBezTo>
                    <a:pt x="120" y="8"/>
                    <a:pt x="118" y="6"/>
                    <a:pt x="118" y="4"/>
                  </a:cubicBezTo>
                  <a:cubicBezTo>
                    <a:pt x="118" y="1"/>
                    <a:pt x="120" y="0"/>
                    <a:pt x="122" y="0"/>
                  </a:cubicBezTo>
                  <a:cubicBezTo>
                    <a:pt x="170" y="1"/>
                    <a:pt x="170" y="1"/>
                    <a:pt x="170" y="1"/>
                  </a:cubicBezTo>
                  <a:cubicBezTo>
                    <a:pt x="170" y="1"/>
                    <a:pt x="170" y="1"/>
                    <a:pt x="170" y="1"/>
                  </a:cubicBezTo>
                  <a:cubicBezTo>
                    <a:pt x="172" y="1"/>
                    <a:pt x="174" y="1"/>
                    <a:pt x="175" y="2"/>
                  </a:cubicBezTo>
                  <a:cubicBezTo>
                    <a:pt x="180" y="5"/>
                    <a:pt x="183" y="10"/>
                    <a:pt x="182" y="15"/>
                  </a:cubicBezTo>
                  <a:cubicBezTo>
                    <a:pt x="181" y="20"/>
                    <a:pt x="178" y="24"/>
                    <a:pt x="173" y="26"/>
                  </a:cubicBezTo>
                  <a:cubicBezTo>
                    <a:pt x="164" y="28"/>
                    <a:pt x="164" y="28"/>
                    <a:pt x="164" y="28"/>
                  </a:cubicBezTo>
                  <a:cubicBezTo>
                    <a:pt x="128" y="38"/>
                    <a:pt x="91" y="43"/>
                    <a:pt x="53" y="4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4" name="Freeform 98">
              <a:extLst>
                <a:ext uri="{FF2B5EF4-FFF2-40B4-BE49-F238E27FC236}">
                  <a16:creationId xmlns:a16="http://schemas.microsoft.com/office/drawing/2014/main" id="{615920BC-F8EF-7033-6FB7-F20ACAFFB04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308337" y="5328578"/>
              <a:ext cx="191590" cy="297575"/>
            </a:xfrm>
            <a:custGeom>
              <a:avLst/>
              <a:gdLst>
                <a:gd name="T0" fmla="*/ 37 w 75"/>
                <a:gd name="T1" fmla="*/ 118 h 118"/>
                <a:gd name="T2" fmla="*/ 20 w 75"/>
                <a:gd name="T3" fmla="*/ 101 h 118"/>
                <a:gd name="T4" fmla="*/ 20 w 75"/>
                <a:gd name="T5" fmla="*/ 100 h 118"/>
                <a:gd name="T6" fmla="*/ 7 w 75"/>
                <a:gd name="T7" fmla="*/ 59 h 118"/>
                <a:gd name="T8" fmla="*/ 1 w 75"/>
                <a:gd name="T9" fmla="*/ 34 h 118"/>
                <a:gd name="T10" fmla="*/ 34 w 75"/>
                <a:gd name="T11" fmla="*/ 1 h 118"/>
                <a:gd name="T12" fmla="*/ 63 w 75"/>
                <a:gd name="T13" fmla="*/ 10 h 118"/>
                <a:gd name="T14" fmla="*/ 75 w 75"/>
                <a:gd name="T15" fmla="*/ 38 h 118"/>
                <a:gd name="T16" fmla="*/ 69 w 75"/>
                <a:gd name="T17" fmla="*/ 59 h 118"/>
                <a:gd name="T18" fmla="*/ 54 w 75"/>
                <a:gd name="T19" fmla="*/ 101 h 118"/>
                <a:gd name="T20" fmla="*/ 37 w 75"/>
                <a:gd name="T21" fmla="*/ 118 h 118"/>
                <a:gd name="T22" fmla="*/ 38 w 75"/>
                <a:gd name="T23" fmla="*/ 9 h 118"/>
                <a:gd name="T24" fmla="*/ 35 w 75"/>
                <a:gd name="T25" fmla="*/ 9 h 118"/>
                <a:gd name="T26" fmla="*/ 9 w 75"/>
                <a:gd name="T27" fmla="*/ 35 h 118"/>
                <a:gd name="T28" fmla="*/ 14 w 75"/>
                <a:gd name="T29" fmla="*/ 54 h 118"/>
                <a:gd name="T30" fmla="*/ 29 w 75"/>
                <a:gd name="T31" fmla="*/ 99 h 118"/>
                <a:gd name="T32" fmla="*/ 29 w 75"/>
                <a:gd name="T33" fmla="*/ 101 h 118"/>
                <a:gd name="T34" fmla="*/ 37 w 75"/>
                <a:gd name="T35" fmla="*/ 109 h 118"/>
                <a:gd name="T36" fmla="*/ 46 w 75"/>
                <a:gd name="T37" fmla="*/ 101 h 118"/>
                <a:gd name="T38" fmla="*/ 62 w 75"/>
                <a:gd name="T39" fmla="*/ 55 h 118"/>
                <a:gd name="T40" fmla="*/ 67 w 75"/>
                <a:gd name="T41" fmla="*/ 38 h 118"/>
                <a:gd name="T42" fmla="*/ 57 w 75"/>
                <a:gd name="T43" fmla="*/ 17 h 118"/>
                <a:gd name="T44" fmla="*/ 38 w 75"/>
                <a:gd name="T45" fmla="*/ 9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5" h="118">
                  <a:moveTo>
                    <a:pt x="37" y="118"/>
                  </a:moveTo>
                  <a:cubicBezTo>
                    <a:pt x="28" y="118"/>
                    <a:pt x="21" y="111"/>
                    <a:pt x="20" y="101"/>
                  </a:cubicBezTo>
                  <a:cubicBezTo>
                    <a:pt x="20" y="100"/>
                    <a:pt x="20" y="100"/>
                    <a:pt x="20" y="100"/>
                  </a:cubicBezTo>
                  <a:cubicBezTo>
                    <a:pt x="20" y="85"/>
                    <a:pt x="15" y="71"/>
                    <a:pt x="7" y="59"/>
                  </a:cubicBezTo>
                  <a:cubicBezTo>
                    <a:pt x="2" y="51"/>
                    <a:pt x="0" y="43"/>
                    <a:pt x="1" y="34"/>
                  </a:cubicBezTo>
                  <a:cubicBezTo>
                    <a:pt x="3" y="17"/>
                    <a:pt x="17" y="3"/>
                    <a:pt x="34" y="1"/>
                  </a:cubicBezTo>
                  <a:cubicBezTo>
                    <a:pt x="44" y="0"/>
                    <a:pt x="55" y="3"/>
                    <a:pt x="63" y="10"/>
                  </a:cubicBezTo>
                  <a:cubicBezTo>
                    <a:pt x="71" y="17"/>
                    <a:pt x="75" y="28"/>
                    <a:pt x="75" y="38"/>
                  </a:cubicBezTo>
                  <a:cubicBezTo>
                    <a:pt x="75" y="46"/>
                    <a:pt x="73" y="53"/>
                    <a:pt x="69" y="59"/>
                  </a:cubicBezTo>
                  <a:cubicBezTo>
                    <a:pt x="60" y="72"/>
                    <a:pt x="55" y="86"/>
                    <a:pt x="54" y="101"/>
                  </a:cubicBezTo>
                  <a:cubicBezTo>
                    <a:pt x="54" y="111"/>
                    <a:pt x="47" y="118"/>
                    <a:pt x="37" y="118"/>
                  </a:cubicBezTo>
                  <a:close/>
                  <a:moveTo>
                    <a:pt x="38" y="9"/>
                  </a:moveTo>
                  <a:cubicBezTo>
                    <a:pt x="37" y="9"/>
                    <a:pt x="36" y="9"/>
                    <a:pt x="35" y="9"/>
                  </a:cubicBezTo>
                  <a:cubicBezTo>
                    <a:pt x="21" y="11"/>
                    <a:pt x="11" y="22"/>
                    <a:pt x="9" y="35"/>
                  </a:cubicBezTo>
                  <a:cubicBezTo>
                    <a:pt x="8" y="42"/>
                    <a:pt x="10" y="48"/>
                    <a:pt x="14" y="54"/>
                  </a:cubicBezTo>
                  <a:cubicBezTo>
                    <a:pt x="23" y="68"/>
                    <a:pt x="28" y="83"/>
                    <a:pt x="29" y="99"/>
                  </a:cubicBezTo>
                  <a:cubicBezTo>
                    <a:pt x="29" y="101"/>
                    <a:pt x="29" y="101"/>
                    <a:pt x="29" y="101"/>
                  </a:cubicBezTo>
                  <a:cubicBezTo>
                    <a:pt x="29" y="106"/>
                    <a:pt x="33" y="109"/>
                    <a:pt x="37" y="109"/>
                  </a:cubicBezTo>
                  <a:cubicBezTo>
                    <a:pt x="42" y="109"/>
                    <a:pt x="46" y="106"/>
                    <a:pt x="46" y="101"/>
                  </a:cubicBezTo>
                  <a:cubicBezTo>
                    <a:pt x="47" y="85"/>
                    <a:pt x="52" y="68"/>
                    <a:pt x="62" y="55"/>
                  </a:cubicBezTo>
                  <a:cubicBezTo>
                    <a:pt x="65" y="50"/>
                    <a:pt x="67" y="44"/>
                    <a:pt x="67" y="38"/>
                  </a:cubicBezTo>
                  <a:cubicBezTo>
                    <a:pt x="67" y="30"/>
                    <a:pt x="63" y="22"/>
                    <a:pt x="57" y="17"/>
                  </a:cubicBezTo>
                  <a:cubicBezTo>
                    <a:pt x="52" y="12"/>
                    <a:pt x="45" y="9"/>
                    <a:pt x="38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5" name="Freeform 99">
              <a:extLst>
                <a:ext uri="{FF2B5EF4-FFF2-40B4-BE49-F238E27FC236}">
                  <a16:creationId xmlns:a16="http://schemas.microsoft.com/office/drawing/2014/main" id="{58DB2110-00CE-01A7-FBAA-FBEE23E06036}"/>
                </a:ext>
              </a:extLst>
            </p:cNvPr>
            <p:cNvSpPr>
              <a:spLocks/>
            </p:cNvSpPr>
            <p:nvPr/>
          </p:nvSpPr>
          <p:spPr bwMode="auto">
            <a:xfrm>
              <a:off x="-7259421" y="5532395"/>
              <a:ext cx="93757" cy="28536"/>
            </a:xfrm>
            <a:custGeom>
              <a:avLst/>
              <a:gdLst>
                <a:gd name="T0" fmla="*/ 18 w 37"/>
                <a:gd name="T1" fmla="*/ 12 h 12"/>
                <a:gd name="T2" fmla="*/ 3 w 37"/>
                <a:gd name="T3" fmla="*/ 8 h 12"/>
                <a:gd name="T4" fmla="*/ 1 w 37"/>
                <a:gd name="T5" fmla="*/ 3 h 12"/>
                <a:gd name="T6" fmla="*/ 7 w 37"/>
                <a:gd name="T7" fmla="*/ 1 h 12"/>
                <a:gd name="T8" fmla="*/ 31 w 37"/>
                <a:gd name="T9" fmla="*/ 1 h 12"/>
                <a:gd name="T10" fmla="*/ 36 w 37"/>
                <a:gd name="T11" fmla="*/ 3 h 12"/>
                <a:gd name="T12" fmla="*/ 34 w 37"/>
                <a:gd name="T13" fmla="*/ 8 h 12"/>
                <a:gd name="T14" fmla="*/ 18 w 37"/>
                <a:gd name="T1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" h="12">
                  <a:moveTo>
                    <a:pt x="18" y="12"/>
                  </a:moveTo>
                  <a:cubicBezTo>
                    <a:pt x="9" y="12"/>
                    <a:pt x="3" y="8"/>
                    <a:pt x="3" y="8"/>
                  </a:cubicBezTo>
                  <a:cubicBezTo>
                    <a:pt x="1" y="7"/>
                    <a:pt x="0" y="5"/>
                    <a:pt x="1" y="3"/>
                  </a:cubicBezTo>
                  <a:cubicBezTo>
                    <a:pt x="2" y="1"/>
                    <a:pt x="5" y="0"/>
                    <a:pt x="7" y="1"/>
                  </a:cubicBezTo>
                  <a:cubicBezTo>
                    <a:pt x="7" y="1"/>
                    <a:pt x="18" y="7"/>
                    <a:pt x="31" y="1"/>
                  </a:cubicBezTo>
                  <a:cubicBezTo>
                    <a:pt x="33" y="0"/>
                    <a:pt x="35" y="1"/>
                    <a:pt x="36" y="3"/>
                  </a:cubicBezTo>
                  <a:cubicBezTo>
                    <a:pt x="37" y="5"/>
                    <a:pt x="36" y="7"/>
                    <a:pt x="34" y="8"/>
                  </a:cubicBezTo>
                  <a:cubicBezTo>
                    <a:pt x="28" y="11"/>
                    <a:pt x="23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6" name="Freeform 100">
              <a:extLst>
                <a:ext uri="{FF2B5EF4-FFF2-40B4-BE49-F238E27FC236}">
                  <a16:creationId xmlns:a16="http://schemas.microsoft.com/office/drawing/2014/main" id="{CC0598FE-D3B6-AD63-8AE7-46AD4FAAEBBD}"/>
                </a:ext>
              </a:extLst>
            </p:cNvPr>
            <p:cNvSpPr>
              <a:spLocks/>
            </p:cNvSpPr>
            <p:nvPr/>
          </p:nvSpPr>
          <p:spPr bwMode="auto">
            <a:xfrm>
              <a:off x="-7222735" y="5251128"/>
              <a:ext cx="20383" cy="48916"/>
            </a:xfrm>
            <a:custGeom>
              <a:avLst/>
              <a:gdLst>
                <a:gd name="T0" fmla="*/ 4 w 8"/>
                <a:gd name="T1" fmla="*/ 20 h 20"/>
                <a:gd name="T2" fmla="*/ 0 w 8"/>
                <a:gd name="T3" fmla="*/ 16 h 20"/>
                <a:gd name="T4" fmla="*/ 0 w 8"/>
                <a:gd name="T5" fmla="*/ 4 h 20"/>
                <a:gd name="T6" fmla="*/ 4 w 8"/>
                <a:gd name="T7" fmla="*/ 0 h 20"/>
                <a:gd name="T8" fmla="*/ 8 w 8"/>
                <a:gd name="T9" fmla="*/ 4 h 20"/>
                <a:gd name="T10" fmla="*/ 8 w 8"/>
                <a:gd name="T11" fmla="*/ 16 h 20"/>
                <a:gd name="T12" fmla="*/ 4 w 8"/>
                <a:gd name="T13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20">
                  <a:moveTo>
                    <a:pt x="4" y="20"/>
                  </a:moveTo>
                  <a:cubicBezTo>
                    <a:pt x="2" y="20"/>
                    <a:pt x="0" y="18"/>
                    <a:pt x="0" y="1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8"/>
                    <a:pt x="6" y="20"/>
                    <a:pt x="4" y="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7" name="Freeform 101">
              <a:extLst>
                <a:ext uri="{FF2B5EF4-FFF2-40B4-BE49-F238E27FC236}">
                  <a16:creationId xmlns:a16="http://schemas.microsoft.com/office/drawing/2014/main" id="{97E4A711-D0BC-0CBB-C3EC-3EAC4B543057}"/>
                </a:ext>
              </a:extLst>
            </p:cNvPr>
            <p:cNvSpPr>
              <a:spLocks/>
            </p:cNvSpPr>
            <p:nvPr/>
          </p:nvSpPr>
          <p:spPr bwMode="auto">
            <a:xfrm>
              <a:off x="-7328720" y="5287814"/>
              <a:ext cx="40763" cy="44841"/>
            </a:xfrm>
            <a:custGeom>
              <a:avLst/>
              <a:gdLst>
                <a:gd name="T0" fmla="*/ 12 w 17"/>
                <a:gd name="T1" fmla="*/ 18 h 18"/>
                <a:gd name="T2" fmla="*/ 9 w 17"/>
                <a:gd name="T3" fmla="*/ 16 h 18"/>
                <a:gd name="T4" fmla="*/ 2 w 17"/>
                <a:gd name="T5" fmla="*/ 7 h 18"/>
                <a:gd name="T6" fmla="*/ 2 w 17"/>
                <a:gd name="T7" fmla="*/ 2 h 18"/>
                <a:gd name="T8" fmla="*/ 8 w 17"/>
                <a:gd name="T9" fmla="*/ 2 h 18"/>
                <a:gd name="T10" fmla="*/ 15 w 17"/>
                <a:gd name="T11" fmla="*/ 11 h 18"/>
                <a:gd name="T12" fmla="*/ 15 w 17"/>
                <a:gd name="T13" fmla="*/ 17 h 18"/>
                <a:gd name="T14" fmla="*/ 12 w 17"/>
                <a:gd name="T1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18">
                  <a:moveTo>
                    <a:pt x="12" y="18"/>
                  </a:moveTo>
                  <a:cubicBezTo>
                    <a:pt x="11" y="18"/>
                    <a:pt x="10" y="17"/>
                    <a:pt x="9" y="16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0" y="6"/>
                    <a:pt x="0" y="3"/>
                    <a:pt x="2" y="2"/>
                  </a:cubicBezTo>
                  <a:cubicBezTo>
                    <a:pt x="4" y="0"/>
                    <a:pt x="7" y="0"/>
                    <a:pt x="8" y="2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7" y="13"/>
                    <a:pt x="17" y="15"/>
                    <a:pt x="15" y="17"/>
                  </a:cubicBezTo>
                  <a:cubicBezTo>
                    <a:pt x="14" y="17"/>
                    <a:pt x="13" y="18"/>
                    <a:pt x="12" y="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8" name="Freeform 102">
              <a:extLst>
                <a:ext uri="{FF2B5EF4-FFF2-40B4-BE49-F238E27FC236}">
                  <a16:creationId xmlns:a16="http://schemas.microsoft.com/office/drawing/2014/main" id="{A370C4CA-8CCD-F668-1A4D-368B7ACEC49E}"/>
                </a:ext>
              </a:extLst>
            </p:cNvPr>
            <p:cNvSpPr>
              <a:spLocks/>
            </p:cNvSpPr>
            <p:nvPr/>
          </p:nvSpPr>
          <p:spPr bwMode="auto">
            <a:xfrm>
              <a:off x="-7385789" y="5385647"/>
              <a:ext cx="52994" cy="28536"/>
            </a:xfrm>
            <a:custGeom>
              <a:avLst/>
              <a:gdLst>
                <a:gd name="T0" fmla="*/ 16 w 20"/>
                <a:gd name="T1" fmla="*/ 11 h 11"/>
                <a:gd name="T2" fmla="*/ 15 w 20"/>
                <a:gd name="T3" fmla="*/ 11 h 11"/>
                <a:gd name="T4" fmla="*/ 4 w 20"/>
                <a:gd name="T5" fmla="*/ 9 h 11"/>
                <a:gd name="T6" fmla="*/ 0 w 20"/>
                <a:gd name="T7" fmla="*/ 4 h 11"/>
                <a:gd name="T8" fmla="*/ 5 w 20"/>
                <a:gd name="T9" fmla="*/ 1 h 11"/>
                <a:gd name="T10" fmla="*/ 16 w 20"/>
                <a:gd name="T11" fmla="*/ 3 h 11"/>
                <a:gd name="T12" fmla="*/ 20 w 20"/>
                <a:gd name="T13" fmla="*/ 7 h 11"/>
                <a:gd name="T14" fmla="*/ 16 w 20"/>
                <a:gd name="T1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11">
                  <a:moveTo>
                    <a:pt x="16" y="11"/>
                  </a:moveTo>
                  <a:cubicBezTo>
                    <a:pt x="15" y="11"/>
                    <a:pt x="15" y="11"/>
                    <a:pt x="15" y="11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1" y="8"/>
                    <a:pt x="0" y="6"/>
                    <a:pt x="0" y="4"/>
                  </a:cubicBezTo>
                  <a:cubicBezTo>
                    <a:pt x="1" y="2"/>
                    <a:pt x="3" y="0"/>
                    <a:pt x="5" y="1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9" y="3"/>
                    <a:pt x="20" y="5"/>
                    <a:pt x="20" y="7"/>
                  </a:cubicBezTo>
                  <a:cubicBezTo>
                    <a:pt x="19" y="9"/>
                    <a:pt x="18" y="11"/>
                    <a:pt x="16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9" name="Freeform 103">
              <a:extLst>
                <a:ext uri="{FF2B5EF4-FFF2-40B4-BE49-F238E27FC236}">
                  <a16:creationId xmlns:a16="http://schemas.microsoft.com/office/drawing/2014/main" id="{B031643C-D6AB-DD2B-8169-00BE107A73A5}"/>
                </a:ext>
              </a:extLst>
            </p:cNvPr>
            <p:cNvSpPr>
              <a:spLocks/>
            </p:cNvSpPr>
            <p:nvPr/>
          </p:nvSpPr>
          <p:spPr bwMode="auto">
            <a:xfrm>
              <a:off x="-7365406" y="5479404"/>
              <a:ext cx="48916" cy="40763"/>
            </a:xfrm>
            <a:custGeom>
              <a:avLst/>
              <a:gdLst>
                <a:gd name="T0" fmla="*/ 5 w 20"/>
                <a:gd name="T1" fmla="*/ 15 h 15"/>
                <a:gd name="T2" fmla="*/ 2 w 20"/>
                <a:gd name="T3" fmla="*/ 13 h 15"/>
                <a:gd name="T4" fmla="*/ 3 w 20"/>
                <a:gd name="T5" fmla="*/ 7 h 15"/>
                <a:gd name="T6" fmla="*/ 13 w 20"/>
                <a:gd name="T7" fmla="*/ 1 h 15"/>
                <a:gd name="T8" fmla="*/ 19 w 20"/>
                <a:gd name="T9" fmla="*/ 3 h 15"/>
                <a:gd name="T10" fmla="*/ 17 w 20"/>
                <a:gd name="T11" fmla="*/ 9 h 15"/>
                <a:gd name="T12" fmla="*/ 7 w 20"/>
                <a:gd name="T13" fmla="*/ 14 h 15"/>
                <a:gd name="T14" fmla="*/ 5 w 20"/>
                <a:gd name="T1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15">
                  <a:moveTo>
                    <a:pt x="5" y="15"/>
                  </a:moveTo>
                  <a:cubicBezTo>
                    <a:pt x="4" y="15"/>
                    <a:pt x="2" y="14"/>
                    <a:pt x="2" y="13"/>
                  </a:cubicBezTo>
                  <a:cubicBezTo>
                    <a:pt x="0" y="11"/>
                    <a:pt x="1" y="8"/>
                    <a:pt x="3" y="7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5" y="0"/>
                    <a:pt x="18" y="1"/>
                    <a:pt x="19" y="3"/>
                  </a:cubicBezTo>
                  <a:cubicBezTo>
                    <a:pt x="20" y="5"/>
                    <a:pt x="19" y="7"/>
                    <a:pt x="17" y="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5"/>
                    <a:pt x="6" y="15"/>
                    <a:pt x="5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0" name="Freeform 104">
              <a:extLst>
                <a:ext uri="{FF2B5EF4-FFF2-40B4-BE49-F238E27FC236}">
                  <a16:creationId xmlns:a16="http://schemas.microsoft.com/office/drawing/2014/main" id="{7AD4DD73-3D5A-8A1B-6A22-2E20EE7664FE}"/>
                </a:ext>
              </a:extLst>
            </p:cNvPr>
            <p:cNvSpPr>
              <a:spLocks/>
            </p:cNvSpPr>
            <p:nvPr/>
          </p:nvSpPr>
          <p:spPr bwMode="auto">
            <a:xfrm>
              <a:off x="-7104520" y="5479404"/>
              <a:ext cx="48916" cy="40763"/>
            </a:xfrm>
            <a:custGeom>
              <a:avLst/>
              <a:gdLst>
                <a:gd name="T0" fmla="*/ 15 w 19"/>
                <a:gd name="T1" fmla="*/ 15 h 15"/>
                <a:gd name="T2" fmla="*/ 13 w 19"/>
                <a:gd name="T3" fmla="*/ 14 h 15"/>
                <a:gd name="T4" fmla="*/ 3 w 19"/>
                <a:gd name="T5" fmla="*/ 9 h 15"/>
                <a:gd name="T6" fmla="*/ 1 w 19"/>
                <a:gd name="T7" fmla="*/ 3 h 15"/>
                <a:gd name="T8" fmla="*/ 7 w 19"/>
                <a:gd name="T9" fmla="*/ 1 h 15"/>
                <a:gd name="T10" fmla="*/ 17 w 19"/>
                <a:gd name="T11" fmla="*/ 7 h 15"/>
                <a:gd name="T12" fmla="*/ 18 w 19"/>
                <a:gd name="T13" fmla="*/ 13 h 15"/>
                <a:gd name="T14" fmla="*/ 15 w 19"/>
                <a:gd name="T1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" h="15">
                  <a:moveTo>
                    <a:pt x="15" y="15"/>
                  </a:moveTo>
                  <a:cubicBezTo>
                    <a:pt x="14" y="15"/>
                    <a:pt x="13" y="15"/>
                    <a:pt x="13" y="14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1" y="7"/>
                    <a:pt x="0" y="5"/>
                    <a:pt x="1" y="3"/>
                  </a:cubicBezTo>
                  <a:cubicBezTo>
                    <a:pt x="2" y="1"/>
                    <a:pt x="5" y="0"/>
                    <a:pt x="7" y="1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9" y="8"/>
                    <a:pt x="19" y="11"/>
                    <a:pt x="18" y="13"/>
                  </a:cubicBezTo>
                  <a:cubicBezTo>
                    <a:pt x="18" y="14"/>
                    <a:pt x="16" y="15"/>
                    <a:pt x="15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1" name="Freeform 105">
              <a:extLst>
                <a:ext uri="{FF2B5EF4-FFF2-40B4-BE49-F238E27FC236}">
                  <a16:creationId xmlns:a16="http://schemas.microsoft.com/office/drawing/2014/main" id="{2D0B0E2F-46B6-6B2E-A526-EAB96C9BFDB6}"/>
                </a:ext>
              </a:extLst>
            </p:cNvPr>
            <p:cNvSpPr>
              <a:spLocks/>
            </p:cNvSpPr>
            <p:nvPr/>
          </p:nvSpPr>
          <p:spPr bwMode="auto">
            <a:xfrm>
              <a:off x="-7088214" y="5385647"/>
              <a:ext cx="48916" cy="28536"/>
            </a:xfrm>
            <a:custGeom>
              <a:avLst/>
              <a:gdLst>
                <a:gd name="T0" fmla="*/ 4 w 20"/>
                <a:gd name="T1" fmla="*/ 11 h 11"/>
                <a:gd name="T2" fmla="*/ 0 w 20"/>
                <a:gd name="T3" fmla="*/ 7 h 11"/>
                <a:gd name="T4" fmla="*/ 4 w 20"/>
                <a:gd name="T5" fmla="*/ 3 h 11"/>
                <a:gd name="T6" fmla="*/ 15 w 20"/>
                <a:gd name="T7" fmla="*/ 1 h 11"/>
                <a:gd name="T8" fmla="*/ 20 w 20"/>
                <a:gd name="T9" fmla="*/ 4 h 11"/>
                <a:gd name="T10" fmla="*/ 16 w 20"/>
                <a:gd name="T11" fmla="*/ 9 h 11"/>
                <a:gd name="T12" fmla="*/ 5 w 20"/>
                <a:gd name="T13" fmla="*/ 11 h 11"/>
                <a:gd name="T14" fmla="*/ 4 w 20"/>
                <a:gd name="T1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11">
                  <a:moveTo>
                    <a:pt x="4" y="11"/>
                  </a:moveTo>
                  <a:cubicBezTo>
                    <a:pt x="2" y="11"/>
                    <a:pt x="1" y="9"/>
                    <a:pt x="0" y="7"/>
                  </a:cubicBezTo>
                  <a:cubicBezTo>
                    <a:pt x="0" y="5"/>
                    <a:pt x="1" y="3"/>
                    <a:pt x="4" y="3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7" y="0"/>
                    <a:pt x="19" y="2"/>
                    <a:pt x="20" y="4"/>
                  </a:cubicBezTo>
                  <a:cubicBezTo>
                    <a:pt x="20" y="6"/>
                    <a:pt x="19" y="8"/>
                    <a:pt x="16" y="9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11"/>
                    <a:pt x="5" y="11"/>
                    <a:pt x="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2" name="Freeform 106">
              <a:extLst>
                <a:ext uri="{FF2B5EF4-FFF2-40B4-BE49-F238E27FC236}">
                  <a16:creationId xmlns:a16="http://schemas.microsoft.com/office/drawing/2014/main" id="{E94F588B-1EFD-6A3A-E1C5-EADC5B277C55}"/>
                </a:ext>
              </a:extLst>
            </p:cNvPr>
            <p:cNvSpPr>
              <a:spLocks/>
            </p:cNvSpPr>
            <p:nvPr/>
          </p:nvSpPr>
          <p:spPr bwMode="auto">
            <a:xfrm>
              <a:off x="-7137130" y="5287814"/>
              <a:ext cx="44841" cy="44841"/>
            </a:xfrm>
            <a:custGeom>
              <a:avLst/>
              <a:gdLst>
                <a:gd name="T0" fmla="*/ 5 w 17"/>
                <a:gd name="T1" fmla="*/ 18 h 18"/>
                <a:gd name="T2" fmla="*/ 2 w 17"/>
                <a:gd name="T3" fmla="*/ 17 h 18"/>
                <a:gd name="T4" fmla="*/ 2 w 17"/>
                <a:gd name="T5" fmla="*/ 11 h 18"/>
                <a:gd name="T6" fmla="*/ 9 w 17"/>
                <a:gd name="T7" fmla="*/ 2 h 18"/>
                <a:gd name="T8" fmla="*/ 15 w 17"/>
                <a:gd name="T9" fmla="*/ 2 h 18"/>
                <a:gd name="T10" fmla="*/ 15 w 17"/>
                <a:gd name="T11" fmla="*/ 7 h 18"/>
                <a:gd name="T12" fmla="*/ 8 w 17"/>
                <a:gd name="T13" fmla="*/ 16 h 18"/>
                <a:gd name="T14" fmla="*/ 5 w 17"/>
                <a:gd name="T1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18">
                  <a:moveTo>
                    <a:pt x="5" y="18"/>
                  </a:moveTo>
                  <a:cubicBezTo>
                    <a:pt x="4" y="18"/>
                    <a:pt x="3" y="17"/>
                    <a:pt x="2" y="17"/>
                  </a:cubicBezTo>
                  <a:cubicBezTo>
                    <a:pt x="0" y="15"/>
                    <a:pt x="0" y="13"/>
                    <a:pt x="2" y="11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10" y="0"/>
                    <a:pt x="13" y="0"/>
                    <a:pt x="15" y="2"/>
                  </a:cubicBezTo>
                  <a:cubicBezTo>
                    <a:pt x="17" y="3"/>
                    <a:pt x="17" y="6"/>
                    <a:pt x="15" y="7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7" y="17"/>
                    <a:pt x="6" y="18"/>
                    <a:pt x="5" y="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1" name="Shape12_20200717_154352">
            <a:extLst>
              <a:ext uri="{FF2B5EF4-FFF2-40B4-BE49-F238E27FC236}">
                <a16:creationId xmlns:a16="http://schemas.microsoft.com/office/drawing/2014/main" id="{786E210B-CDBC-1AE2-DF75-B0D64A9BCA7B}"/>
              </a:ext>
            </a:extLst>
          </p:cNvPr>
          <p:cNvGrpSpPr>
            <a:grpSpLocks noChangeAspect="1"/>
          </p:cNvGrpSpPr>
          <p:nvPr/>
        </p:nvGrpSpPr>
        <p:grpSpPr>
          <a:xfrm>
            <a:off x="11074461" y="2472248"/>
            <a:ext cx="521773" cy="741897"/>
            <a:chOff x="-2119146" y="3779566"/>
            <a:chExt cx="521773" cy="741897"/>
          </a:xfrm>
          <a:solidFill>
            <a:schemeClr val="accent1"/>
          </a:solidFill>
        </p:grpSpPr>
        <p:sp>
          <p:nvSpPr>
            <p:cNvPr id="197" name="Freeform 107">
              <a:extLst>
                <a:ext uri="{FF2B5EF4-FFF2-40B4-BE49-F238E27FC236}">
                  <a16:creationId xmlns:a16="http://schemas.microsoft.com/office/drawing/2014/main" id="{4F2D26DD-8C92-2637-4263-B2D063569C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119146" y="3779566"/>
              <a:ext cx="521773" cy="521772"/>
            </a:xfrm>
            <a:custGeom>
              <a:avLst/>
              <a:gdLst>
                <a:gd name="T0" fmla="*/ 80 w 207"/>
                <a:gd name="T1" fmla="*/ 192 h 207"/>
                <a:gd name="T2" fmla="*/ 39 w 207"/>
                <a:gd name="T3" fmla="*/ 168 h 207"/>
                <a:gd name="T4" fmla="*/ 14 w 207"/>
                <a:gd name="T5" fmla="*/ 155 h 207"/>
                <a:gd name="T6" fmla="*/ 0 w 207"/>
                <a:gd name="T7" fmla="*/ 104 h 207"/>
                <a:gd name="T8" fmla="*/ 14 w 207"/>
                <a:gd name="T9" fmla="*/ 52 h 207"/>
                <a:gd name="T10" fmla="*/ 39 w 207"/>
                <a:gd name="T11" fmla="*/ 39 h 207"/>
                <a:gd name="T12" fmla="*/ 79 w 207"/>
                <a:gd name="T13" fmla="*/ 16 h 207"/>
                <a:gd name="T14" fmla="*/ 127 w 207"/>
                <a:gd name="T15" fmla="*/ 16 h 207"/>
                <a:gd name="T16" fmla="*/ 168 w 207"/>
                <a:gd name="T17" fmla="*/ 39 h 207"/>
                <a:gd name="T18" fmla="*/ 193 w 207"/>
                <a:gd name="T19" fmla="*/ 52 h 207"/>
                <a:gd name="T20" fmla="*/ 207 w 207"/>
                <a:gd name="T21" fmla="*/ 104 h 207"/>
                <a:gd name="T22" fmla="*/ 193 w 207"/>
                <a:gd name="T23" fmla="*/ 155 h 207"/>
                <a:gd name="T24" fmla="*/ 168 w 207"/>
                <a:gd name="T25" fmla="*/ 168 h 207"/>
                <a:gd name="T26" fmla="*/ 127 w 207"/>
                <a:gd name="T27" fmla="*/ 192 h 207"/>
                <a:gd name="T28" fmla="*/ 80 w 207"/>
                <a:gd name="T29" fmla="*/ 183 h 207"/>
                <a:gd name="T30" fmla="*/ 87 w 207"/>
                <a:gd name="T31" fmla="*/ 188 h 207"/>
                <a:gd name="T32" fmla="*/ 119 w 207"/>
                <a:gd name="T33" fmla="*/ 188 h 207"/>
                <a:gd name="T34" fmla="*/ 132 w 207"/>
                <a:gd name="T35" fmla="*/ 185 h 207"/>
                <a:gd name="T36" fmla="*/ 159 w 207"/>
                <a:gd name="T37" fmla="*/ 169 h 207"/>
                <a:gd name="T38" fmla="*/ 169 w 207"/>
                <a:gd name="T39" fmla="*/ 160 h 207"/>
                <a:gd name="T40" fmla="*/ 185 w 207"/>
                <a:gd name="T41" fmla="*/ 132 h 207"/>
                <a:gd name="T42" fmla="*/ 188 w 207"/>
                <a:gd name="T43" fmla="*/ 120 h 207"/>
                <a:gd name="T44" fmla="*/ 188 w 207"/>
                <a:gd name="T45" fmla="*/ 88 h 207"/>
                <a:gd name="T46" fmla="*/ 185 w 207"/>
                <a:gd name="T47" fmla="*/ 75 h 207"/>
                <a:gd name="T48" fmla="*/ 169 w 207"/>
                <a:gd name="T49" fmla="*/ 47 h 207"/>
                <a:gd name="T50" fmla="*/ 159 w 207"/>
                <a:gd name="T51" fmla="*/ 38 h 207"/>
                <a:gd name="T52" fmla="*/ 132 w 207"/>
                <a:gd name="T53" fmla="*/ 22 h 207"/>
                <a:gd name="T54" fmla="*/ 119 w 207"/>
                <a:gd name="T55" fmla="*/ 19 h 207"/>
                <a:gd name="T56" fmla="*/ 87 w 207"/>
                <a:gd name="T57" fmla="*/ 19 h 207"/>
                <a:gd name="T58" fmla="*/ 75 w 207"/>
                <a:gd name="T59" fmla="*/ 22 h 207"/>
                <a:gd name="T60" fmla="*/ 47 w 207"/>
                <a:gd name="T61" fmla="*/ 38 h 207"/>
                <a:gd name="T62" fmla="*/ 38 w 207"/>
                <a:gd name="T63" fmla="*/ 47 h 207"/>
                <a:gd name="T64" fmla="*/ 22 w 207"/>
                <a:gd name="T65" fmla="*/ 75 h 207"/>
                <a:gd name="T66" fmla="*/ 18 w 207"/>
                <a:gd name="T67" fmla="*/ 88 h 207"/>
                <a:gd name="T68" fmla="*/ 18 w 207"/>
                <a:gd name="T69" fmla="*/ 120 h 207"/>
                <a:gd name="T70" fmla="*/ 22 w 207"/>
                <a:gd name="T71" fmla="*/ 132 h 207"/>
                <a:gd name="T72" fmla="*/ 38 w 207"/>
                <a:gd name="T73" fmla="*/ 160 h 207"/>
                <a:gd name="T74" fmla="*/ 47 w 207"/>
                <a:gd name="T75" fmla="*/ 169 h 207"/>
                <a:gd name="T76" fmla="*/ 75 w 207"/>
                <a:gd name="T77" fmla="*/ 185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07" h="207">
                  <a:moveTo>
                    <a:pt x="103" y="207"/>
                  </a:moveTo>
                  <a:cubicBezTo>
                    <a:pt x="93" y="207"/>
                    <a:pt x="84" y="201"/>
                    <a:pt x="80" y="192"/>
                  </a:cubicBezTo>
                  <a:cubicBezTo>
                    <a:pt x="71" y="198"/>
                    <a:pt x="60" y="198"/>
                    <a:pt x="51" y="193"/>
                  </a:cubicBezTo>
                  <a:cubicBezTo>
                    <a:pt x="43" y="188"/>
                    <a:pt x="38" y="178"/>
                    <a:pt x="39" y="168"/>
                  </a:cubicBezTo>
                  <a:cubicBezTo>
                    <a:pt x="38" y="168"/>
                    <a:pt x="38" y="168"/>
                    <a:pt x="38" y="168"/>
                  </a:cubicBezTo>
                  <a:cubicBezTo>
                    <a:pt x="28" y="169"/>
                    <a:pt x="19" y="164"/>
                    <a:pt x="14" y="155"/>
                  </a:cubicBezTo>
                  <a:cubicBezTo>
                    <a:pt x="8" y="147"/>
                    <a:pt x="9" y="136"/>
                    <a:pt x="15" y="127"/>
                  </a:cubicBezTo>
                  <a:cubicBezTo>
                    <a:pt x="6" y="123"/>
                    <a:pt x="0" y="114"/>
                    <a:pt x="0" y="104"/>
                  </a:cubicBezTo>
                  <a:cubicBezTo>
                    <a:pt x="0" y="93"/>
                    <a:pt x="6" y="84"/>
                    <a:pt x="15" y="80"/>
                  </a:cubicBezTo>
                  <a:cubicBezTo>
                    <a:pt x="9" y="72"/>
                    <a:pt x="8" y="61"/>
                    <a:pt x="14" y="52"/>
                  </a:cubicBezTo>
                  <a:cubicBezTo>
                    <a:pt x="19" y="43"/>
                    <a:pt x="28" y="38"/>
                    <a:pt x="38" y="39"/>
                  </a:cubicBezTo>
                  <a:cubicBezTo>
                    <a:pt x="39" y="39"/>
                    <a:pt x="39" y="39"/>
                    <a:pt x="39" y="39"/>
                  </a:cubicBezTo>
                  <a:cubicBezTo>
                    <a:pt x="38" y="29"/>
                    <a:pt x="43" y="19"/>
                    <a:pt x="51" y="14"/>
                  </a:cubicBezTo>
                  <a:cubicBezTo>
                    <a:pt x="60" y="9"/>
                    <a:pt x="71" y="10"/>
                    <a:pt x="79" y="16"/>
                  </a:cubicBezTo>
                  <a:cubicBezTo>
                    <a:pt x="84" y="6"/>
                    <a:pt x="93" y="0"/>
                    <a:pt x="103" y="0"/>
                  </a:cubicBezTo>
                  <a:cubicBezTo>
                    <a:pt x="113" y="0"/>
                    <a:pt x="123" y="6"/>
                    <a:pt x="127" y="16"/>
                  </a:cubicBezTo>
                  <a:cubicBezTo>
                    <a:pt x="135" y="10"/>
                    <a:pt x="146" y="9"/>
                    <a:pt x="155" y="14"/>
                  </a:cubicBezTo>
                  <a:cubicBezTo>
                    <a:pt x="164" y="19"/>
                    <a:pt x="169" y="29"/>
                    <a:pt x="168" y="39"/>
                  </a:cubicBezTo>
                  <a:cubicBezTo>
                    <a:pt x="168" y="39"/>
                    <a:pt x="168" y="39"/>
                    <a:pt x="168" y="39"/>
                  </a:cubicBezTo>
                  <a:cubicBezTo>
                    <a:pt x="178" y="38"/>
                    <a:pt x="188" y="43"/>
                    <a:pt x="193" y="52"/>
                  </a:cubicBezTo>
                  <a:cubicBezTo>
                    <a:pt x="198" y="61"/>
                    <a:pt x="197" y="72"/>
                    <a:pt x="191" y="80"/>
                  </a:cubicBezTo>
                  <a:cubicBezTo>
                    <a:pt x="201" y="84"/>
                    <a:pt x="207" y="93"/>
                    <a:pt x="207" y="104"/>
                  </a:cubicBezTo>
                  <a:cubicBezTo>
                    <a:pt x="207" y="114"/>
                    <a:pt x="201" y="123"/>
                    <a:pt x="191" y="127"/>
                  </a:cubicBezTo>
                  <a:cubicBezTo>
                    <a:pt x="197" y="136"/>
                    <a:pt x="198" y="147"/>
                    <a:pt x="193" y="155"/>
                  </a:cubicBezTo>
                  <a:cubicBezTo>
                    <a:pt x="188" y="164"/>
                    <a:pt x="178" y="169"/>
                    <a:pt x="168" y="168"/>
                  </a:cubicBezTo>
                  <a:cubicBezTo>
                    <a:pt x="168" y="168"/>
                    <a:pt x="168" y="168"/>
                    <a:pt x="168" y="168"/>
                  </a:cubicBezTo>
                  <a:cubicBezTo>
                    <a:pt x="169" y="178"/>
                    <a:pt x="164" y="188"/>
                    <a:pt x="155" y="193"/>
                  </a:cubicBezTo>
                  <a:cubicBezTo>
                    <a:pt x="146" y="198"/>
                    <a:pt x="135" y="198"/>
                    <a:pt x="127" y="192"/>
                  </a:cubicBezTo>
                  <a:cubicBezTo>
                    <a:pt x="123" y="201"/>
                    <a:pt x="113" y="207"/>
                    <a:pt x="103" y="207"/>
                  </a:cubicBezTo>
                  <a:close/>
                  <a:moveTo>
                    <a:pt x="80" y="183"/>
                  </a:moveTo>
                  <a:cubicBezTo>
                    <a:pt x="80" y="183"/>
                    <a:pt x="81" y="184"/>
                    <a:pt x="82" y="184"/>
                  </a:cubicBezTo>
                  <a:cubicBezTo>
                    <a:pt x="84" y="184"/>
                    <a:pt x="86" y="186"/>
                    <a:pt x="87" y="188"/>
                  </a:cubicBezTo>
                  <a:cubicBezTo>
                    <a:pt x="90" y="195"/>
                    <a:pt x="96" y="199"/>
                    <a:pt x="103" y="199"/>
                  </a:cubicBezTo>
                  <a:cubicBezTo>
                    <a:pt x="110" y="199"/>
                    <a:pt x="116" y="195"/>
                    <a:pt x="119" y="188"/>
                  </a:cubicBezTo>
                  <a:cubicBezTo>
                    <a:pt x="120" y="186"/>
                    <a:pt x="122" y="184"/>
                    <a:pt x="125" y="184"/>
                  </a:cubicBezTo>
                  <a:cubicBezTo>
                    <a:pt x="127" y="183"/>
                    <a:pt x="130" y="184"/>
                    <a:pt x="132" y="185"/>
                  </a:cubicBezTo>
                  <a:cubicBezTo>
                    <a:pt x="137" y="189"/>
                    <a:pt x="145" y="190"/>
                    <a:pt x="151" y="186"/>
                  </a:cubicBezTo>
                  <a:cubicBezTo>
                    <a:pt x="157" y="183"/>
                    <a:pt x="160" y="176"/>
                    <a:pt x="159" y="169"/>
                  </a:cubicBezTo>
                  <a:cubicBezTo>
                    <a:pt x="159" y="167"/>
                    <a:pt x="160" y="164"/>
                    <a:pt x="162" y="162"/>
                  </a:cubicBezTo>
                  <a:cubicBezTo>
                    <a:pt x="164" y="160"/>
                    <a:pt x="166" y="160"/>
                    <a:pt x="169" y="160"/>
                  </a:cubicBezTo>
                  <a:cubicBezTo>
                    <a:pt x="176" y="161"/>
                    <a:pt x="182" y="157"/>
                    <a:pt x="186" y="151"/>
                  </a:cubicBezTo>
                  <a:cubicBezTo>
                    <a:pt x="189" y="145"/>
                    <a:pt x="189" y="138"/>
                    <a:pt x="185" y="132"/>
                  </a:cubicBezTo>
                  <a:cubicBezTo>
                    <a:pt x="183" y="130"/>
                    <a:pt x="183" y="128"/>
                    <a:pt x="183" y="125"/>
                  </a:cubicBezTo>
                  <a:cubicBezTo>
                    <a:pt x="184" y="123"/>
                    <a:pt x="186" y="121"/>
                    <a:pt x="188" y="120"/>
                  </a:cubicBezTo>
                  <a:cubicBezTo>
                    <a:pt x="194" y="117"/>
                    <a:pt x="198" y="111"/>
                    <a:pt x="198" y="104"/>
                  </a:cubicBezTo>
                  <a:cubicBezTo>
                    <a:pt x="198" y="97"/>
                    <a:pt x="194" y="91"/>
                    <a:pt x="188" y="88"/>
                  </a:cubicBezTo>
                  <a:cubicBezTo>
                    <a:pt x="186" y="87"/>
                    <a:pt x="184" y="85"/>
                    <a:pt x="183" y="82"/>
                  </a:cubicBezTo>
                  <a:cubicBezTo>
                    <a:pt x="183" y="80"/>
                    <a:pt x="183" y="77"/>
                    <a:pt x="185" y="75"/>
                  </a:cubicBezTo>
                  <a:cubicBezTo>
                    <a:pt x="189" y="69"/>
                    <a:pt x="189" y="62"/>
                    <a:pt x="186" y="56"/>
                  </a:cubicBezTo>
                  <a:cubicBezTo>
                    <a:pt x="182" y="50"/>
                    <a:pt x="176" y="47"/>
                    <a:pt x="169" y="47"/>
                  </a:cubicBezTo>
                  <a:cubicBezTo>
                    <a:pt x="166" y="48"/>
                    <a:pt x="164" y="47"/>
                    <a:pt x="162" y="45"/>
                  </a:cubicBezTo>
                  <a:cubicBezTo>
                    <a:pt x="160" y="43"/>
                    <a:pt x="159" y="41"/>
                    <a:pt x="159" y="38"/>
                  </a:cubicBezTo>
                  <a:cubicBezTo>
                    <a:pt x="160" y="31"/>
                    <a:pt x="157" y="25"/>
                    <a:pt x="151" y="21"/>
                  </a:cubicBezTo>
                  <a:cubicBezTo>
                    <a:pt x="145" y="18"/>
                    <a:pt x="137" y="18"/>
                    <a:pt x="132" y="22"/>
                  </a:cubicBezTo>
                  <a:cubicBezTo>
                    <a:pt x="130" y="24"/>
                    <a:pt x="127" y="24"/>
                    <a:pt x="125" y="24"/>
                  </a:cubicBezTo>
                  <a:cubicBezTo>
                    <a:pt x="122" y="23"/>
                    <a:pt x="120" y="21"/>
                    <a:pt x="119" y="19"/>
                  </a:cubicBezTo>
                  <a:cubicBezTo>
                    <a:pt x="116" y="13"/>
                    <a:pt x="110" y="8"/>
                    <a:pt x="103" y="8"/>
                  </a:cubicBezTo>
                  <a:cubicBezTo>
                    <a:pt x="96" y="8"/>
                    <a:pt x="90" y="13"/>
                    <a:pt x="87" y="19"/>
                  </a:cubicBezTo>
                  <a:cubicBezTo>
                    <a:pt x="86" y="21"/>
                    <a:pt x="84" y="23"/>
                    <a:pt x="82" y="24"/>
                  </a:cubicBezTo>
                  <a:cubicBezTo>
                    <a:pt x="79" y="24"/>
                    <a:pt x="77" y="24"/>
                    <a:pt x="75" y="22"/>
                  </a:cubicBezTo>
                  <a:cubicBezTo>
                    <a:pt x="69" y="18"/>
                    <a:pt x="62" y="18"/>
                    <a:pt x="56" y="21"/>
                  </a:cubicBezTo>
                  <a:cubicBezTo>
                    <a:pt x="50" y="25"/>
                    <a:pt x="46" y="31"/>
                    <a:pt x="47" y="38"/>
                  </a:cubicBezTo>
                  <a:cubicBezTo>
                    <a:pt x="47" y="41"/>
                    <a:pt x="46" y="43"/>
                    <a:pt x="45" y="45"/>
                  </a:cubicBezTo>
                  <a:cubicBezTo>
                    <a:pt x="43" y="47"/>
                    <a:pt x="40" y="48"/>
                    <a:pt x="38" y="47"/>
                  </a:cubicBezTo>
                  <a:cubicBezTo>
                    <a:pt x="31" y="47"/>
                    <a:pt x="24" y="50"/>
                    <a:pt x="21" y="56"/>
                  </a:cubicBezTo>
                  <a:cubicBezTo>
                    <a:pt x="17" y="62"/>
                    <a:pt x="18" y="69"/>
                    <a:pt x="22" y="75"/>
                  </a:cubicBezTo>
                  <a:cubicBezTo>
                    <a:pt x="23" y="77"/>
                    <a:pt x="24" y="80"/>
                    <a:pt x="23" y="82"/>
                  </a:cubicBezTo>
                  <a:cubicBezTo>
                    <a:pt x="22" y="85"/>
                    <a:pt x="21" y="87"/>
                    <a:pt x="18" y="88"/>
                  </a:cubicBezTo>
                  <a:cubicBezTo>
                    <a:pt x="12" y="91"/>
                    <a:pt x="8" y="97"/>
                    <a:pt x="8" y="104"/>
                  </a:cubicBezTo>
                  <a:cubicBezTo>
                    <a:pt x="8" y="111"/>
                    <a:pt x="12" y="117"/>
                    <a:pt x="18" y="120"/>
                  </a:cubicBezTo>
                  <a:cubicBezTo>
                    <a:pt x="21" y="121"/>
                    <a:pt x="22" y="123"/>
                    <a:pt x="23" y="125"/>
                  </a:cubicBezTo>
                  <a:cubicBezTo>
                    <a:pt x="24" y="128"/>
                    <a:pt x="23" y="130"/>
                    <a:pt x="22" y="132"/>
                  </a:cubicBezTo>
                  <a:cubicBezTo>
                    <a:pt x="18" y="138"/>
                    <a:pt x="17" y="145"/>
                    <a:pt x="21" y="151"/>
                  </a:cubicBezTo>
                  <a:cubicBezTo>
                    <a:pt x="24" y="157"/>
                    <a:pt x="31" y="161"/>
                    <a:pt x="38" y="160"/>
                  </a:cubicBezTo>
                  <a:cubicBezTo>
                    <a:pt x="40" y="160"/>
                    <a:pt x="43" y="160"/>
                    <a:pt x="45" y="162"/>
                  </a:cubicBezTo>
                  <a:cubicBezTo>
                    <a:pt x="46" y="164"/>
                    <a:pt x="47" y="167"/>
                    <a:pt x="47" y="169"/>
                  </a:cubicBezTo>
                  <a:cubicBezTo>
                    <a:pt x="46" y="176"/>
                    <a:pt x="50" y="183"/>
                    <a:pt x="56" y="186"/>
                  </a:cubicBezTo>
                  <a:cubicBezTo>
                    <a:pt x="62" y="190"/>
                    <a:pt x="69" y="189"/>
                    <a:pt x="75" y="185"/>
                  </a:cubicBezTo>
                  <a:cubicBezTo>
                    <a:pt x="76" y="184"/>
                    <a:pt x="78" y="183"/>
                    <a:pt x="80" y="18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8" name="Freeform 108">
              <a:extLst>
                <a:ext uri="{FF2B5EF4-FFF2-40B4-BE49-F238E27FC236}">
                  <a16:creationId xmlns:a16="http://schemas.microsoft.com/office/drawing/2014/main" id="{D71ECE67-7CE9-C7CA-572A-7E130D079B3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041695" y="3857018"/>
              <a:ext cx="366871" cy="366871"/>
            </a:xfrm>
            <a:custGeom>
              <a:avLst/>
              <a:gdLst>
                <a:gd name="T0" fmla="*/ 72 w 145"/>
                <a:gd name="T1" fmla="*/ 145 h 145"/>
                <a:gd name="T2" fmla="*/ 0 w 145"/>
                <a:gd name="T3" fmla="*/ 73 h 145"/>
                <a:gd name="T4" fmla="*/ 72 w 145"/>
                <a:gd name="T5" fmla="*/ 0 h 145"/>
                <a:gd name="T6" fmla="*/ 145 w 145"/>
                <a:gd name="T7" fmla="*/ 73 h 145"/>
                <a:gd name="T8" fmla="*/ 72 w 145"/>
                <a:gd name="T9" fmla="*/ 145 h 145"/>
                <a:gd name="T10" fmla="*/ 72 w 145"/>
                <a:gd name="T11" fmla="*/ 8 h 145"/>
                <a:gd name="T12" fmla="*/ 8 w 145"/>
                <a:gd name="T13" fmla="*/ 73 h 145"/>
                <a:gd name="T14" fmla="*/ 72 w 145"/>
                <a:gd name="T15" fmla="*/ 137 h 145"/>
                <a:gd name="T16" fmla="*/ 137 w 145"/>
                <a:gd name="T17" fmla="*/ 73 h 145"/>
                <a:gd name="T18" fmla="*/ 72 w 145"/>
                <a:gd name="T19" fmla="*/ 8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5" h="145">
                  <a:moveTo>
                    <a:pt x="72" y="145"/>
                  </a:moveTo>
                  <a:cubicBezTo>
                    <a:pt x="32" y="145"/>
                    <a:pt x="0" y="113"/>
                    <a:pt x="0" y="73"/>
                  </a:cubicBezTo>
                  <a:cubicBezTo>
                    <a:pt x="0" y="33"/>
                    <a:pt x="32" y="0"/>
                    <a:pt x="72" y="0"/>
                  </a:cubicBezTo>
                  <a:cubicBezTo>
                    <a:pt x="112" y="0"/>
                    <a:pt x="145" y="33"/>
                    <a:pt x="145" y="73"/>
                  </a:cubicBezTo>
                  <a:cubicBezTo>
                    <a:pt x="145" y="113"/>
                    <a:pt x="112" y="145"/>
                    <a:pt x="72" y="145"/>
                  </a:cubicBezTo>
                  <a:close/>
                  <a:moveTo>
                    <a:pt x="72" y="8"/>
                  </a:moveTo>
                  <a:cubicBezTo>
                    <a:pt x="37" y="8"/>
                    <a:pt x="8" y="37"/>
                    <a:pt x="8" y="73"/>
                  </a:cubicBezTo>
                  <a:cubicBezTo>
                    <a:pt x="8" y="108"/>
                    <a:pt x="37" y="137"/>
                    <a:pt x="72" y="137"/>
                  </a:cubicBezTo>
                  <a:cubicBezTo>
                    <a:pt x="108" y="137"/>
                    <a:pt x="137" y="108"/>
                    <a:pt x="137" y="73"/>
                  </a:cubicBezTo>
                  <a:cubicBezTo>
                    <a:pt x="137" y="37"/>
                    <a:pt x="108" y="8"/>
                    <a:pt x="72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9" name="Freeform 109">
              <a:extLst>
                <a:ext uri="{FF2B5EF4-FFF2-40B4-BE49-F238E27FC236}">
                  <a16:creationId xmlns:a16="http://schemas.microsoft.com/office/drawing/2014/main" id="{AA8FF6E4-E72C-72E8-85C5-F9233227378A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74305" y="4240194"/>
              <a:ext cx="203817" cy="281269"/>
            </a:xfrm>
            <a:custGeom>
              <a:avLst/>
              <a:gdLst>
                <a:gd name="T0" fmla="*/ 51 w 81"/>
                <a:gd name="T1" fmla="*/ 112 h 112"/>
                <a:gd name="T2" fmla="*/ 47 w 81"/>
                <a:gd name="T3" fmla="*/ 110 h 112"/>
                <a:gd name="T4" fmla="*/ 33 w 81"/>
                <a:gd name="T5" fmla="*/ 82 h 112"/>
                <a:gd name="T6" fmla="*/ 7 w 81"/>
                <a:gd name="T7" fmla="*/ 98 h 112"/>
                <a:gd name="T8" fmla="*/ 2 w 81"/>
                <a:gd name="T9" fmla="*/ 98 h 112"/>
                <a:gd name="T10" fmla="*/ 1 w 81"/>
                <a:gd name="T11" fmla="*/ 94 h 112"/>
                <a:gd name="T12" fmla="*/ 27 w 81"/>
                <a:gd name="T13" fmla="*/ 4 h 112"/>
                <a:gd name="T14" fmla="*/ 32 w 81"/>
                <a:gd name="T15" fmla="*/ 1 h 112"/>
                <a:gd name="T16" fmla="*/ 35 w 81"/>
                <a:gd name="T17" fmla="*/ 6 h 112"/>
                <a:gd name="T18" fmla="*/ 12 w 81"/>
                <a:gd name="T19" fmla="*/ 86 h 112"/>
                <a:gd name="T20" fmla="*/ 33 w 81"/>
                <a:gd name="T21" fmla="*/ 73 h 112"/>
                <a:gd name="T22" fmla="*/ 36 w 81"/>
                <a:gd name="T23" fmla="*/ 72 h 112"/>
                <a:gd name="T24" fmla="*/ 39 w 81"/>
                <a:gd name="T25" fmla="*/ 74 h 112"/>
                <a:gd name="T26" fmla="*/ 50 w 81"/>
                <a:gd name="T27" fmla="*/ 97 h 112"/>
                <a:gd name="T28" fmla="*/ 72 w 81"/>
                <a:gd name="T29" fmla="*/ 19 h 112"/>
                <a:gd name="T30" fmla="*/ 77 w 81"/>
                <a:gd name="T31" fmla="*/ 16 h 112"/>
                <a:gd name="T32" fmla="*/ 80 w 81"/>
                <a:gd name="T33" fmla="*/ 21 h 112"/>
                <a:gd name="T34" fmla="*/ 55 w 81"/>
                <a:gd name="T35" fmla="*/ 109 h 112"/>
                <a:gd name="T36" fmla="*/ 51 w 81"/>
                <a:gd name="T37" fmla="*/ 112 h 112"/>
                <a:gd name="T38" fmla="*/ 51 w 81"/>
                <a:gd name="T39" fmla="*/ 112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1" h="112">
                  <a:moveTo>
                    <a:pt x="51" y="112"/>
                  </a:moveTo>
                  <a:cubicBezTo>
                    <a:pt x="49" y="112"/>
                    <a:pt x="48" y="111"/>
                    <a:pt x="47" y="110"/>
                  </a:cubicBezTo>
                  <a:cubicBezTo>
                    <a:pt x="33" y="82"/>
                    <a:pt x="33" y="82"/>
                    <a:pt x="33" y="82"/>
                  </a:cubicBezTo>
                  <a:cubicBezTo>
                    <a:pt x="7" y="98"/>
                    <a:pt x="7" y="98"/>
                    <a:pt x="7" y="98"/>
                  </a:cubicBezTo>
                  <a:cubicBezTo>
                    <a:pt x="6" y="99"/>
                    <a:pt x="4" y="99"/>
                    <a:pt x="2" y="98"/>
                  </a:cubicBezTo>
                  <a:cubicBezTo>
                    <a:pt x="1" y="97"/>
                    <a:pt x="0" y="95"/>
                    <a:pt x="1" y="94"/>
                  </a:cubicBezTo>
                  <a:cubicBezTo>
                    <a:pt x="27" y="4"/>
                    <a:pt x="27" y="4"/>
                    <a:pt x="27" y="4"/>
                  </a:cubicBezTo>
                  <a:cubicBezTo>
                    <a:pt x="28" y="2"/>
                    <a:pt x="30" y="0"/>
                    <a:pt x="32" y="1"/>
                  </a:cubicBezTo>
                  <a:cubicBezTo>
                    <a:pt x="34" y="2"/>
                    <a:pt x="36" y="4"/>
                    <a:pt x="35" y="6"/>
                  </a:cubicBezTo>
                  <a:cubicBezTo>
                    <a:pt x="12" y="86"/>
                    <a:pt x="12" y="86"/>
                    <a:pt x="12" y="86"/>
                  </a:cubicBezTo>
                  <a:cubicBezTo>
                    <a:pt x="33" y="73"/>
                    <a:pt x="33" y="73"/>
                    <a:pt x="33" y="73"/>
                  </a:cubicBezTo>
                  <a:cubicBezTo>
                    <a:pt x="34" y="72"/>
                    <a:pt x="35" y="72"/>
                    <a:pt x="36" y="72"/>
                  </a:cubicBezTo>
                  <a:cubicBezTo>
                    <a:pt x="37" y="73"/>
                    <a:pt x="38" y="73"/>
                    <a:pt x="39" y="74"/>
                  </a:cubicBezTo>
                  <a:cubicBezTo>
                    <a:pt x="50" y="97"/>
                    <a:pt x="50" y="97"/>
                    <a:pt x="50" y="97"/>
                  </a:cubicBezTo>
                  <a:cubicBezTo>
                    <a:pt x="72" y="19"/>
                    <a:pt x="72" y="19"/>
                    <a:pt x="72" y="19"/>
                  </a:cubicBezTo>
                  <a:cubicBezTo>
                    <a:pt x="73" y="16"/>
                    <a:pt x="75" y="15"/>
                    <a:pt x="77" y="16"/>
                  </a:cubicBezTo>
                  <a:cubicBezTo>
                    <a:pt x="80" y="16"/>
                    <a:pt x="81" y="19"/>
                    <a:pt x="80" y="21"/>
                  </a:cubicBezTo>
                  <a:cubicBezTo>
                    <a:pt x="55" y="109"/>
                    <a:pt x="55" y="109"/>
                    <a:pt x="55" y="109"/>
                  </a:cubicBezTo>
                  <a:cubicBezTo>
                    <a:pt x="54" y="111"/>
                    <a:pt x="53" y="112"/>
                    <a:pt x="51" y="112"/>
                  </a:cubicBezTo>
                  <a:cubicBezTo>
                    <a:pt x="51" y="112"/>
                    <a:pt x="51" y="112"/>
                    <a:pt x="51" y="1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0" name="Freeform 110">
              <a:extLst>
                <a:ext uri="{FF2B5EF4-FFF2-40B4-BE49-F238E27FC236}">
                  <a16:creationId xmlns:a16="http://schemas.microsoft.com/office/drawing/2014/main" id="{6E9457C8-7F01-3231-6D22-E83AA189784F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46030" y="4240194"/>
              <a:ext cx="203817" cy="281269"/>
            </a:xfrm>
            <a:custGeom>
              <a:avLst/>
              <a:gdLst>
                <a:gd name="T0" fmla="*/ 31 w 81"/>
                <a:gd name="T1" fmla="*/ 112 h 112"/>
                <a:gd name="T2" fmla="*/ 30 w 81"/>
                <a:gd name="T3" fmla="*/ 112 h 112"/>
                <a:gd name="T4" fmla="*/ 27 w 81"/>
                <a:gd name="T5" fmla="*/ 109 h 112"/>
                <a:gd name="T6" fmla="*/ 1 w 81"/>
                <a:gd name="T7" fmla="*/ 21 h 112"/>
                <a:gd name="T8" fmla="*/ 4 w 81"/>
                <a:gd name="T9" fmla="*/ 16 h 112"/>
                <a:gd name="T10" fmla="*/ 9 w 81"/>
                <a:gd name="T11" fmla="*/ 19 h 112"/>
                <a:gd name="T12" fmla="*/ 32 w 81"/>
                <a:gd name="T13" fmla="*/ 97 h 112"/>
                <a:gd name="T14" fmla="*/ 43 w 81"/>
                <a:gd name="T15" fmla="*/ 74 h 112"/>
                <a:gd name="T16" fmla="*/ 45 w 81"/>
                <a:gd name="T17" fmla="*/ 72 h 112"/>
                <a:gd name="T18" fmla="*/ 48 w 81"/>
                <a:gd name="T19" fmla="*/ 73 h 112"/>
                <a:gd name="T20" fmla="*/ 69 w 81"/>
                <a:gd name="T21" fmla="*/ 86 h 112"/>
                <a:gd name="T22" fmla="*/ 46 w 81"/>
                <a:gd name="T23" fmla="*/ 6 h 112"/>
                <a:gd name="T24" fmla="*/ 49 w 81"/>
                <a:gd name="T25" fmla="*/ 1 h 112"/>
                <a:gd name="T26" fmla="*/ 54 w 81"/>
                <a:gd name="T27" fmla="*/ 4 h 112"/>
                <a:gd name="T28" fmla="*/ 80 w 81"/>
                <a:gd name="T29" fmla="*/ 94 h 112"/>
                <a:gd name="T30" fmla="*/ 79 w 81"/>
                <a:gd name="T31" fmla="*/ 98 h 112"/>
                <a:gd name="T32" fmla="*/ 74 w 81"/>
                <a:gd name="T33" fmla="*/ 98 h 112"/>
                <a:gd name="T34" fmla="*/ 48 w 81"/>
                <a:gd name="T35" fmla="*/ 82 h 112"/>
                <a:gd name="T36" fmla="*/ 34 w 81"/>
                <a:gd name="T37" fmla="*/ 110 h 112"/>
                <a:gd name="T38" fmla="*/ 31 w 81"/>
                <a:gd name="T39" fmla="*/ 112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1" h="112">
                  <a:moveTo>
                    <a:pt x="31" y="112"/>
                  </a:moveTo>
                  <a:cubicBezTo>
                    <a:pt x="31" y="112"/>
                    <a:pt x="31" y="112"/>
                    <a:pt x="30" y="112"/>
                  </a:cubicBezTo>
                  <a:cubicBezTo>
                    <a:pt x="29" y="112"/>
                    <a:pt x="27" y="111"/>
                    <a:pt x="27" y="109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0" y="19"/>
                    <a:pt x="2" y="16"/>
                    <a:pt x="4" y="16"/>
                  </a:cubicBezTo>
                  <a:cubicBezTo>
                    <a:pt x="6" y="15"/>
                    <a:pt x="8" y="16"/>
                    <a:pt x="9" y="19"/>
                  </a:cubicBezTo>
                  <a:cubicBezTo>
                    <a:pt x="32" y="97"/>
                    <a:pt x="32" y="97"/>
                    <a:pt x="32" y="97"/>
                  </a:cubicBezTo>
                  <a:cubicBezTo>
                    <a:pt x="43" y="74"/>
                    <a:pt x="43" y="74"/>
                    <a:pt x="43" y="74"/>
                  </a:cubicBezTo>
                  <a:cubicBezTo>
                    <a:pt x="43" y="73"/>
                    <a:pt x="44" y="73"/>
                    <a:pt x="45" y="72"/>
                  </a:cubicBezTo>
                  <a:cubicBezTo>
                    <a:pt x="46" y="72"/>
                    <a:pt x="47" y="72"/>
                    <a:pt x="48" y="73"/>
                  </a:cubicBezTo>
                  <a:cubicBezTo>
                    <a:pt x="69" y="86"/>
                    <a:pt x="69" y="86"/>
                    <a:pt x="69" y="86"/>
                  </a:cubicBezTo>
                  <a:cubicBezTo>
                    <a:pt x="46" y="6"/>
                    <a:pt x="46" y="6"/>
                    <a:pt x="46" y="6"/>
                  </a:cubicBezTo>
                  <a:cubicBezTo>
                    <a:pt x="46" y="4"/>
                    <a:pt x="47" y="2"/>
                    <a:pt x="49" y="1"/>
                  </a:cubicBezTo>
                  <a:cubicBezTo>
                    <a:pt x="51" y="0"/>
                    <a:pt x="54" y="2"/>
                    <a:pt x="54" y="4"/>
                  </a:cubicBezTo>
                  <a:cubicBezTo>
                    <a:pt x="80" y="94"/>
                    <a:pt x="80" y="94"/>
                    <a:pt x="80" y="94"/>
                  </a:cubicBezTo>
                  <a:cubicBezTo>
                    <a:pt x="81" y="95"/>
                    <a:pt x="80" y="97"/>
                    <a:pt x="79" y="98"/>
                  </a:cubicBezTo>
                  <a:cubicBezTo>
                    <a:pt x="78" y="99"/>
                    <a:pt x="76" y="99"/>
                    <a:pt x="74" y="98"/>
                  </a:cubicBezTo>
                  <a:cubicBezTo>
                    <a:pt x="48" y="82"/>
                    <a:pt x="48" y="82"/>
                    <a:pt x="48" y="82"/>
                  </a:cubicBezTo>
                  <a:cubicBezTo>
                    <a:pt x="34" y="110"/>
                    <a:pt x="34" y="110"/>
                    <a:pt x="34" y="110"/>
                  </a:cubicBezTo>
                  <a:cubicBezTo>
                    <a:pt x="34" y="111"/>
                    <a:pt x="32" y="112"/>
                    <a:pt x="31" y="1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2" name="Shape13_20200717_154352">
            <a:extLst>
              <a:ext uri="{FF2B5EF4-FFF2-40B4-BE49-F238E27FC236}">
                <a16:creationId xmlns:a16="http://schemas.microsoft.com/office/drawing/2014/main" id="{4593EB47-6815-D46A-0C78-8ABF314EFC48}"/>
              </a:ext>
            </a:extLst>
          </p:cNvPr>
          <p:cNvGrpSpPr>
            <a:grpSpLocks noChangeAspect="1"/>
          </p:cNvGrpSpPr>
          <p:nvPr/>
        </p:nvGrpSpPr>
        <p:grpSpPr>
          <a:xfrm>
            <a:off x="6979653" y="2555236"/>
            <a:ext cx="843805" cy="668521"/>
            <a:chOff x="-6293327" y="3816254"/>
            <a:chExt cx="843805" cy="668521"/>
          </a:xfrm>
          <a:solidFill>
            <a:schemeClr val="accent1"/>
          </a:solidFill>
        </p:grpSpPr>
        <p:sp>
          <p:nvSpPr>
            <p:cNvPr id="187" name="Freeform 111">
              <a:extLst>
                <a:ext uri="{FF2B5EF4-FFF2-40B4-BE49-F238E27FC236}">
                  <a16:creationId xmlns:a16="http://schemas.microsoft.com/office/drawing/2014/main" id="{4303AFAF-5166-26CB-4D36-602C3D312E17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56899" y="3918162"/>
              <a:ext cx="97832" cy="73374"/>
            </a:xfrm>
            <a:custGeom>
              <a:avLst/>
              <a:gdLst>
                <a:gd name="T0" fmla="*/ 15 w 39"/>
                <a:gd name="T1" fmla="*/ 29 h 29"/>
                <a:gd name="T2" fmla="*/ 12 w 39"/>
                <a:gd name="T3" fmla="*/ 28 h 29"/>
                <a:gd name="T4" fmla="*/ 2 w 39"/>
                <a:gd name="T5" fmla="*/ 18 h 29"/>
                <a:gd name="T6" fmla="*/ 2 w 39"/>
                <a:gd name="T7" fmla="*/ 12 h 29"/>
                <a:gd name="T8" fmla="*/ 8 w 39"/>
                <a:gd name="T9" fmla="*/ 12 h 29"/>
                <a:gd name="T10" fmla="*/ 15 w 39"/>
                <a:gd name="T11" fmla="*/ 19 h 29"/>
                <a:gd name="T12" fmla="*/ 32 w 39"/>
                <a:gd name="T13" fmla="*/ 2 h 29"/>
                <a:gd name="T14" fmla="*/ 38 w 39"/>
                <a:gd name="T15" fmla="*/ 2 h 29"/>
                <a:gd name="T16" fmla="*/ 38 w 39"/>
                <a:gd name="T17" fmla="*/ 8 h 29"/>
                <a:gd name="T18" fmla="*/ 18 w 39"/>
                <a:gd name="T19" fmla="*/ 28 h 29"/>
                <a:gd name="T20" fmla="*/ 15 w 39"/>
                <a:gd name="T21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9" h="29">
                  <a:moveTo>
                    <a:pt x="15" y="29"/>
                  </a:moveTo>
                  <a:cubicBezTo>
                    <a:pt x="14" y="29"/>
                    <a:pt x="13" y="29"/>
                    <a:pt x="12" y="28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0" y="16"/>
                    <a:pt x="0" y="14"/>
                    <a:pt x="2" y="12"/>
                  </a:cubicBezTo>
                  <a:cubicBezTo>
                    <a:pt x="3" y="10"/>
                    <a:pt x="6" y="10"/>
                    <a:pt x="8" y="12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4" y="0"/>
                    <a:pt x="36" y="0"/>
                    <a:pt x="38" y="2"/>
                  </a:cubicBezTo>
                  <a:cubicBezTo>
                    <a:pt x="39" y="3"/>
                    <a:pt x="39" y="6"/>
                    <a:pt x="38" y="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7" y="29"/>
                    <a:pt x="16" y="29"/>
                    <a:pt x="15" y="2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8" name="Freeform 112">
              <a:extLst>
                <a:ext uri="{FF2B5EF4-FFF2-40B4-BE49-F238E27FC236}">
                  <a16:creationId xmlns:a16="http://schemas.microsoft.com/office/drawing/2014/main" id="{E4A3164C-3A36-D3A9-5296-A5DBEAF87CAE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22378" y="3971155"/>
              <a:ext cx="232353" cy="20383"/>
            </a:xfrm>
            <a:custGeom>
              <a:avLst/>
              <a:gdLst>
                <a:gd name="T0" fmla="*/ 89 w 93"/>
                <a:gd name="T1" fmla="*/ 8 h 8"/>
                <a:gd name="T2" fmla="*/ 5 w 93"/>
                <a:gd name="T3" fmla="*/ 8 h 8"/>
                <a:gd name="T4" fmla="*/ 0 w 93"/>
                <a:gd name="T5" fmla="*/ 4 h 8"/>
                <a:gd name="T6" fmla="*/ 5 w 93"/>
                <a:gd name="T7" fmla="*/ 0 h 8"/>
                <a:gd name="T8" fmla="*/ 89 w 93"/>
                <a:gd name="T9" fmla="*/ 0 h 8"/>
                <a:gd name="T10" fmla="*/ 93 w 93"/>
                <a:gd name="T11" fmla="*/ 4 h 8"/>
                <a:gd name="T12" fmla="*/ 89 w 93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3" h="8">
                  <a:moveTo>
                    <a:pt x="89" y="8"/>
                  </a:moveTo>
                  <a:cubicBezTo>
                    <a:pt x="5" y="8"/>
                    <a:pt x="5" y="8"/>
                    <a:pt x="5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91" y="0"/>
                    <a:pt x="93" y="2"/>
                    <a:pt x="93" y="4"/>
                  </a:cubicBezTo>
                  <a:cubicBezTo>
                    <a:pt x="93" y="6"/>
                    <a:pt x="91" y="8"/>
                    <a:pt x="8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9" name="Freeform 113">
              <a:extLst>
                <a:ext uri="{FF2B5EF4-FFF2-40B4-BE49-F238E27FC236}">
                  <a16:creationId xmlns:a16="http://schemas.microsoft.com/office/drawing/2014/main" id="{4D4BC1C8-D11A-987A-074E-C40A9B060F4D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56899" y="4028224"/>
              <a:ext cx="97832" cy="73374"/>
            </a:xfrm>
            <a:custGeom>
              <a:avLst/>
              <a:gdLst>
                <a:gd name="T0" fmla="*/ 15 w 39"/>
                <a:gd name="T1" fmla="*/ 29 h 29"/>
                <a:gd name="T2" fmla="*/ 12 w 39"/>
                <a:gd name="T3" fmla="*/ 28 h 29"/>
                <a:gd name="T4" fmla="*/ 2 w 39"/>
                <a:gd name="T5" fmla="*/ 17 h 29"/>
                <a:gd name="T6" fmla="*/ 2 w 39"/>
                <a:gd name="T7" fmla="*/ 12 h 29"/>
                <a:gd name="T8" fmla="*/ 8 w 39"/>
                <a:gd name="T9" fmla="*/ 12 h 29"/>
                <a:gd name="T10" fmla="*/ 15 w 39"/>
                <a:gd name="T11" fmla="*/ 19 h 29"/>
                <a:gd name="T12" fmla="*/ 32 w 39"/>
                <a:gd name="T13" fmla="*/ 2 h 29"/>
                <a:gd name="T14" fmla="*/ 38 w 39"/>
                <a:gd name="T15" fmla="*/ 2 h 29"/>
                <a:gd name="T16" fmla="*/ 38 w 39"/>
                <a:gd name="T17" fmla="*/ 7 h 29"/>
                <a:gd name="T18" fmla="*/ 18 w 39"/>
                <a:gd name="T19" fmla="*/ 28 h 29"/>
                <a:gd name="T20" fmla="*/ 15 w 39"/>
                <a:gd name="T21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9" h="29">
                  <a:moveTo>
                    <a:pt x="15" y="29"/>
                  </a:moveTo>
                  <a:cubicBezTo>
                    <a:pt x="14" y="29"/>
                    <a:pt x="13" y="28"/>
                    <a:pt x="12" y="28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0" y="16"/>
                    <a:pt x="0" y="13"/>
                    <a:pt x="2" y="12"/>
                  </a:cubicBezTo>
                  <a:cubicBezTo>
                    <a:pt x="3" y="10"/>
                    <a:pt x="6" y="10"/>
                    <a:pt x="8" y="12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4" y="0"/>
                    <a:pt x="36" y="0"/>
                    <a:pt x="38" y="2"/>
                  </a:cubicBezTo>
                  <a:cubicBezTo>
                    <a:pt x="39" y="3"/>
                    <a:pt x="39" y="6"/>
                    <a:pt x="38" y="7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7" y="28"/>
                    <a:pt x="16" y="29"/>
                    <a:pt x="15" y="2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0" name="Freeform 114">
              <a:extLst>
                <a:ext uri="{FF2B5EF4-FFF2-40B4-BE49-F238E27FC236}">
                  <a16:creationId xmlns:a16="http://schemas.microsoft.com/office/drawing/2014/main" id="{0E14B1D8-8C60-82D6-EF80-81F6AF553871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22378" y="4081216"/>
              <a:ext cx="232353" cy="20383"/>
            </a:xfrm>
            <a:custGeom>
              <a:avLst/>
              <a:gdLst>
                <a:gd name="T0" fmla="*/ 89 w 93"/>
                <a:gd name="T1" fmla="*/ 9 h 9"/>
                <a:gd name="T2" fmla="*/ 5 w 93"/>
                <a:gd name="T3" fmla="*/ 9 h 9"/>
                <a:gd name="T4" fmla="*/ 0 w 93"/>
                <a:gd name="T5" fmla="*/ 5 h 9"/>
                <a:gd name="T6" fmla="*/ 5 w 93"/>
                <a:gd name="T7" fmla="*/ 0 h 9"/>
                <a:gd name="T8" fmla="*/ 89 w 93"/>
                <a:gd name="T9" fmla="*/ 0 h 9"/>
                <a:gd name="T10" fmla="*/ 93 w 93"/>
                <a:gd name="T11" fmla="*/ 5 h 9"/>
                <a:gd name="T12" fmla="*/ 89 w 93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3" h="9">
                  <a:moveTo>
                    <a:pt x="89" y="9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91" y="0"/>
                    <a:pt x="93" y="2"/>
                    <a:pt x="93" y="5"/>
                  </a:cubicBezTo>
                  <a:cubicBezTo>
                    <a:pt x="93" y="7"/>
                    <a:pt x="91" y="9"/>
                    <a:pt x="8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1" name="Freeform 115">
              <a:extLst>
                <a:ext uri="{FF2B5EF4-FFF2-40B4-BE49-F238E27FC236}">
                  <a16:creationId xmlns:a16="http://schemas.microsoft.com/office/drawing/2014/main" id="{58614D3E-4597-D73D-A789-3C597FFEBFB5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56899" y="4142362"/>
              <a:ext cx="97832" cy="69299"/>
            </a:xfrm>
            <a:custGeom>
              <a:avLst/>
              <a:gdLst>
                <a:gd name="T0" fmla="*/ 15 w 39"/>
                <a:gd name="T1" fmla="*/ 28 h 28"/>
                <a:gd name="T2" fmla="*/ 12 w 39"/>
                <a:gd name="T3" fmla="*/ 27 h 28"/>
                <a:gd name="T4" fmla="*/ 2 w 39"/>
                <a:gd name="T5" fmla="*/ 17 h 28"/>
                <a:gd name="T6" fmla="*/ 2 w 39"/>
                <a:gd name="T7" fmla="*/ 11 h 28"/>
                <a:gd name="T8" fmla="*/ 8 w 39"/>
                <a:gd name="T9" fmla="*/ 11 h 28"/>
                <a:gd name="T10" fmla="*/ 15 w 39"/>
                <a:gd name="T11" fmla="*/ 18 h 28"/>
                <a:gd name="T12" fmla="*/ 32 w 39"/>
                <a:gd name="T13" fmla="*/ 1 h 28"/>
                <a:gd name="T14" fmla="*/ 38 w 39"/>
                <a:gd name="T15" fmla="*/ 1 h 28"/>
                <a:gd name="T16" fmla="*/ 38 w 39"/>
                <a:gd name="T17" fmla="*/ 7 h 28"/>
                <a:gd name="T18" fmla="*/ 18 w 39"/>
                <a:gd name="T19" fmla="*/ 27 h 28"/>
                <a:gd name="T20" fmla="*/ 15 w 39"/>
                <a:gd name="T2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9" h="28">
                  <a:moveTo>
                    <a:pt x="15" y="28"/>
                  </a:moveTo>
                  <a:cubicBezTo>
                    <a:pt x="14" y="28"/>
                    <a:pt x="13" y="28"/>
                    <a:pt x="12" y="27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0" y="16"/>
                    <a:pt x="0" y="13"/>
                    <a:pt x="2" y="11"/>
                  </a:cubicBezTo>
                  <a:cubicBezTo>
                    <a:pt x="3" y="10"/>
                    <a:pt x="6" y="10"/>
                    <a:pt x="8" y="11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34" y="0"/>
                    <a:pt x="36" y="0"/>
                    <a:pt x="38" y="1"/>
                  </a:cubicBezTo>
                  <a:cubicBezTo>
                    <a:pt x="39" y="3"/>
                    <a:pt x="39" y="5"/>
                    <a:pt x="38" y="7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17" y="28"/>
                    <a:pt x="16" y="28"/>
                    <a:pt x="15" y="2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2" name="Freeform 116">
              <a:extLst>
                <a:ext uri="{FF2B5EF4-FFF2-40B4-BE49-F238E27FC236}">
                  <a16:creationId xmlns:a16="http://schemas.microsoft.com/office/drawing/2014/main" id="{0C95742D-A614-B6A7-517D-F974C93221C3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22378" y="4191278"/>
              <a:ext cx="232353" cy="20383"/>
            </a:xfrm>
            <a:custGeom>
              <a:avLst/>
              <a:gdLst>
                <a:gd name="T0" fmla="*/ 89 w 93"/>
                <a:gd name="T1" fmla="*/ 8 h 8"/>
                <a:gd name="T2" fmla="*/ 5 w 93"/>
                <a:gd name="T3" fmla="*/ 8 h 8"/>
                <a:gd name="T4" fmla="*/ 0 w 93"/>
                <a:gd name="T5" fmla="*/ 4 h 8"/>
                <a:gd name="T6" fmla="*/ 5 w 93"/>
                <a:gd name="T7" fmla="*/ 0 h 8"/>
                <a:gd name="T8" fmla="*/ 89 w 93"/>
                <a:gd name="T9" fmla="*/ 0 h 8"/>
                <a:gd name="T10" fmla="*/ 93 w 93"/>
                <a:gd name="T11" fmla="*/ 4 h 8"/>
                <a:gd name="T12" fmla="*/ 89 w 93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3" h="8">
                  <a:moveTo>
                    <a:pt x="89" y="8"/>
                  </a:moveTo>
                  <a:cubicBezTo>
                    <a:pt x="5" y="8"/>
                    <a:pt x="5" y="8"/>
                    <a:pt x="5" y="8"/>
                  </a:cubicBezTo>
                  <a:cubicBezTo>
                    <a:pt x="2" y="8"/>
                    <a:pt x="0" y="7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91" y="0"/>
                    <a:pt x="93" y="2"/>
                    <a:pt x="93" y="4"/>
                  </a:cubicBezTo>
                  <a:cubicBezTo>
                    <a:pt x="93" y="7"/>
                    <a:pt x="91" y="8"/>
                    <a:pt x="8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3" name="Freeform 117">
              <a:extLst>
                <a:ext uri="{FF2B5EF4-FFF2-40B4-BE49-F238E27FC236}">
                  <a16:creationId xmlns:a16="http://schemas.microsoft.com/office/drawing/2014/main" id="{B5028C76-71BC-111A-FC5F-E31B3494344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293327" y="3816254"/>
              <a:ext cx="843805" cy="574766"/>
            </a:xfrm>
            <a:custGeom>
              <a:avLst/>
              <a:gdLst>
                <a:gd name="T0" fmla="*/ 306 w 336"/>
                <a:gd name="T1" fmla="*/ 227 h 227"/>
                <a:gd name="T2" fmla="*/ 30 w 336"/>
                <a:gd name="T3" fmla="*/ 227 h 227"/>
                <a:gd name="T4" fmla="*/ 0 w 336"/>
                <a:gd name="T5" fmla="*/ 197 h 227"/>
                <a:gd name="T6" fmla="*/ 0 w 336"/>
                <a:gd name="T7" fmla="*/ 30 h 227"/>
                <a:gd name="T8" fmla="*/ 30 w 336"/>
                <a:gd name="T9" fmla="*/ 0 h 227"/>
                <a:gd name="T10" fmla="*/ 306 w 336"/>
                <a:gd name="T11" fmla="*/ 0 h 227"/>
                <a:gd name="T12" fmla="*/ 336 w 336"/>
                <a:gd name="T13" fmla="*/ 30 h 227"/>
                <a:gd name="T14" fmla="*/ 336 w 336"/>
                <a:gd name="T15" fmla="*/ 197 h 227"/>
                <a:gd name="T16" fmla="*/ 306 w 336"/>
                <a:gd name="T17" fmla="*/ 227 h 227"/>
                <a:gd name="T18" fmla="*/ 30 w 336"/>
                <a:gd name="T19" fmla="*/ 8 h 227"/>
                <a:gd name="T20" fmla="*/ 9 w 336"/>
                <a:gd name="T21" fmla="*/ 30 h 227"/>
                <a:gd name="T22" fmla="*/ 9 w 336"/>
                <a:gd name="T23" fmla="*/ 197 h 227"/>
                <a:gd name="T24" fmla="*/ 30 w 336"/>
                <a:gd name="T25" fmla="*/ 218 h 227"/>
                <a:gd name="T26" fmla="*/ 306 w 336"/>
                <a:gd name="T27" fmla="*/ 218 h 227"/>
                <a:gd name="T28" fmla="*/ 328 w 336"/>
                <a:gd name="T29" fmla="*/ 197 h 227"/>
                <a:gd name="T30" fmla="*/ 328 w 336"/>
                <a:gd name="T31" fmla="*/ 30 h 227"/>
                <a:gd name="T32" fmla="*/ 306 w 336"/>
                <a:gd name="T33" fmla="*/ 8 h 227"/>
                <a:gd name="T34" fmla="*/ 30 w 336"/>
                <a:gd name="T35" fmla="*/ 8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36" h="227">
                  <a:moveTo>
                    <a:pt x="306" y="227"/>
                  </a:moveTo>
                  <a:cubicBezTo>
                    <a:pt x="30" y="227"/>
                    <a:pt x="30" y="227"/>
                    <a:pt x="30" y="227"/>
                  </a:cubicBezTo>
                  <a:cubicBezTo>
                    <a:pt x="14" y="227"/>
                    <a:pt x="0" y="213"/>
                    <a:pt x="0" y="197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3"/>
                    <a:pt x="14" y="0"/>
                    <a:pt x="30" y="0"/>
                  </a:cubicBezTo>
                  <a:cubicBezTo>
                    <a:pt x="306" y="0"/>
                    <a:pt x="306" y="0"/>
                    <a:pt x="306" y="0"/>
                  </a:cubicBezTo>
                  <a:cubicBezTo>
                    <a:pt x="323" y="0"/>
                    <a:pt x="336" y="13"/>
                    <a:pt x="336" y="30"/>
                  </a:cubicBezTo>
                  <a:cubicBezTo>
                    <a:pt x="336" y="197"/>
                    <a:pt x="336" y="197"/>
                    <a:pt x="336" y="197"/>
                  </a:cubicBezTo>
                  <a:cubicBezTo>
                    <a:pt x="336" y="213"/>
                    <a:pt x="323" y="227"/>
                    <a:pt x="306" y="227"/>
                  </a:cubicBezTo>
                  <a:close/>
                  <a:moveTo>
                    <a:pt x="30" y="8"/>
                  </a:moveTo>
                  <a:cubicBezTo>
                    <a:pt x="18" y="8"/>
                    <a:pt x="9" y="18"/>
                    <a:pt x="9" y="30"/>
                  </a:cubicBezTo>
                  <a:cubicBezTo>
                    <a:pt x="9" y="197"/>
                    <a:pt x="9" y="197"/>
                    <a:pt x="9" y="197"/>
                  </a:cubicBezTo>
                  <a:cubicBezTo>
                    <a:pt x="9" y="209"/>
                    <a:pt x="18" y="218"/>
                    <a:pt x="30" y="218"/>
                  </a:cubicBezTo>
                  <a:cubicBezTo>
                    <a:pt x="306" y="218"/>
                    <a:pt x="306" y="218"/>
                    <a:pt x="306" y="218"/>
                  </a:cubicBezTo>
                  <a:cubicBezTo>
                    <a:pt x="318" y="218"/>
                    <a:pt x="328" y="209"/>
                    <a:pt x="328" y="197"/>
                  </a:cubicBezTo>
                  <a:cubicBezTo>
                    <a:pt x="328" y="30"/>
                    <a:pt x="328" y="30"/>
                    <a:pt x="328" y="30"/>
                  </a:cubicBezTo>
                  <a:cubicBezTo>
                    <a:pt x="328" y="18"/>
                    <a:pt x="318" y="8"/>
                    <a:pt x="306" y="8"/>
                  </a:cubicBezTo>
                  <a:lnTo>
                    <a:pt x="30" y="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4" name="Freeform 118">
              <a:extLst>
                <a:ext uri="{FF2B5EF4-FFF2-40B4-BE49-F238E27FC236}">
                  <a16:creationId xmlns:a16="http://schemas.microsoft.com/office/drawing/2014/main" id="{E927D0BB-490B-E801-2528-FE04031D36F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293327" y="4289110"/>
              <a:ext cx="843805" cy="101910"/>
            </a:xfrm>
            <a:custGeom>
              <a:avLst/>
              <a:gdLst>
                <a:gd name="T0" fmla="*/ 306 w 336"/>
                <a:gd name="T1" fmla="*/ 40 h 40"/>
                <a:gd name="T2" fmla="*/ 30 w 336"/>
                <a:gd name="T3" fmla="*/ 40 h 40"/>
                <a:gd name="T4" fmla="*/ 0 w 336"/>
                <a:gd name="T5" fmla="*/ 10 h 40"/>
                <a:gd name="T6" fmla="*/ 0 w 336"/>
                <a:gd name="T7" fmla="*/ 4 h 40"/>
                <a:gd name="T8" fmla="*/ 4 w 336"/>
                <a:gd name="T9" fmla="*/ 0 h 40"/>
                <a:gd name="T10" fmla="*/ 332 w 336"/>
                <a:gd name="T11" fmla="*/ 0 h 40"/>
                <a:gd name="T12" fmla="*/ 336 w 336"/>
                <a:gd name="T13" fmla="*/ 4 h 40"/>
                <a:gd name="T14" fmla="*/ 336 w 336"/>
                <a:gd name="T15" fmla="*/ 10 h 40"/>
                <a:gd name="T16" fmla="*/ 306 w 336"/>
                <a:gd name="T17" fmla="*/ 40 h 40"/>
                <a:gd name="T18" fmla="*/ 9 w 336"/>
                <a:gd name="T19" fmla="*/ 8 h 40"/>
                <a:gd name="T20" fmla="*/ 9 w 336"/>
                <a:gd name="T21" fmla="*/ 10 h 40"/>
                <a:gd name="T22" fmla="*/ 30 w 336"/>
                <a:gd name="T23" fmla="*/ 31 h 40"/>
                <a:gd name="T24" fmla="*/ 306 w 336"/>
                <a:gd name="T25" fmla="*/ 31 h 40"/>
                <a:gd name="T26" fmla="*/ 328 w 336"/>
                <a:gd name="T27" fmla="*/ 10 h 40"/>
                <a:gd name="T28" fmla="*/ 328 w 336"/>
                <a:gd name="T29" fmla="*/ 8 h 40"/>
                <a:gd name="T30" fmla="*/ 9 w 336"/>
                <a:gd name="T31" fmla="*/ 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36" h="40">
                  <a:moveTo>
                    <a:pt x="306" y="40"/>
                  </a:moveTo>
                  <a:cubicBezTo>
                    <a:pt x="30" y="40"/>
                    <a:pt x="30" y="40"/>
                    <a:pt x="30" y="40"/>
                  </a:cubicBezTo>
                  <a:cubicBezTo>
                    <a:pt x="14" y="40"/>
                    <a:pt x="0" y="26"/>
                    <a:pt x="0" y="1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332" y="0"/>
                    <a:pt x="332" y="0"/>
                    <a:pt x="332" y="0"/>
                  </a:cubicBezTo>
                  <a:cubicBezTo>
                    <a:pt x="334" y="0"/>
                    <a:pt x="336" y="2"/>
                    <a:pt x="336" y="4"/>
                  </a:cubicBezTo>
                  <a:cubicBezTo>
                    <a:pt x="336" y="10"/>
                    <a:pt x="336" y="10"/>
                    <a:pt x="336" y="10"/>
                  </a:cubicBezTo>
                  <a:cubicBezTo>
                    <a:pt x="336" y="26"/>
                    <a:pt x="323" y="40"/>
                    <a:pt x="306" y="40"/>
                  </a:cubicBezTo>
                  <a:close/>
                  <a:moveTo>
                    <a:pt x="9" y="8"/>
                  </a:moveTo>
                  <a:cubicBezTo>
                    <a:pt x="9" y="10"/>
                    <a:pt x="9" y="10"/>
                    <a:pt x="9" y="10"/>
                  </a:cubicBezTo>
                  <a:cubicBezTo>
                    <a:pt x="9" y="22"/>
                    <a:pt x="18" y="31"/>
                    <a:pt x="30" y="31"/>
                  </a:cubicBezTo>
                  <a:cubicBezTo>
                    <a:pt x="306" y="31"/>
                    <a:pt x="306" y="31"/>
                    <a:pt x="306" y="31"/>
                  </a:cubicBezTo>
                  <a:cubicBezTo>
                    <a:pt x="318" y="31"/>
                    <a:pt x="328" y="22"/>
                    <a:pt x="328" y="10"/>
                  </a:cubicBezTo>
                  <a:cubicBezTo>
                    <a:pt x="328" y="8"/>
                    <a:pt x="328" y="8"/>
                    <a:pt x="328" y="8"/>
                  </a:cubicBezTo>
                  <a:lnTo>
                    <a:pt x="9" y="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5" name="Freeform 119">
              <a:extLst>
                <a:ext uri="{FF2B5EF4-FFF2-40B4-BE49-F238E27FC236}">
                  <a16:creationId xmlns:a16="http://schemas.microsoft.com/office/drawing/2014/main" id="{88ECA5CE-AABA-0884-BF1E-963764F2B3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926456" y="4366560"/>
              <a:ext cx="110063" cy="118215"/>
            </a:xfrm>
            <a:custGeom>
              <a:avLst/>
              <a:gdLst>
                <a:gd name="T0" fmla="*/ 40 w 44"/>
                <a:gd name="T1" fmla="*/ 47 h 47"/>
                <a:gd name="T2" fmla="*/ 4 w 44"/>
                <a:gd name="T3" fmla="*/ 47 h 47"/>
                <a:gd name="T4" fmla="*/ 0 w 44"/>
                <a:gd name="T5" fmla="*/ 42 h 47"/>
                <a:gd name="T6" fmla="*/ 0 w 44"/>
                <a:gd name="T7" fmla="*/ 5 h 47"/>
                <a:gd name="T8" fmla="*/ 4 w 44"/>
                <a:gd name="T9" fmla="*/ 0 h 47"/>
                <a:gd name="T10" fmla="*/ 40 w 44"/>
                <a:gd name="T11" fmla="*/ 0 h 47"/>
                <a:gd name="T12" fmla="*/ 44 w 44"/>
                <a:gd name="T13" fmla="*/ 5 h 47"/>
                <a:gd name="T14" fmla="*/ 44 w 44"/>
                <a:gd name="T15" fmla="*/ 42 h 47"/>
                <a:gd name="T16" fmla="*/ 40 w 44"/>
                <a:gd name="T17" fmla="*/ 47 h 47"/>
                <a:gd name="T18" fmla="*/ 9 w 44"/>
                <a:gd name="T19" fmla="*/ 38 h 47"/>
                <a:gd name="T20" fmla="*/ 36 w 44"/>
                <a:gd name="T21" fmla="*/ 38 h 47"/>
                <a:gd name="T22" fmla="*/ 36 w 44"/>
                <a:gd name="T23" fmla="*/ 9 h 47"/>
                <a:gd name="T24" fmla="*/ 9 w 44"/>
                <a:gd name="T25" fmla="*/ 9 h 47"/>
                <a:gd name="T26" fmla="*/ 9 w 44"/>
                <a:gd name="T27" fmla="*/ 38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47">
                  <a:moveTo>
                    <a:pt x="40" y="47"/>
                  </a:moveTo>
                  <a:cubicBezTo>
                    <a:pt x="4" y="47"/>
                    <a:pt x="4" y="47"/>
                    <a:pt x="4" y="47"/>
                  </a:cubicBezTo>
                  <a:cubicBezTo>
                    <a:pt x="2" y="47"/>
                    <a:pt x="0" y="45"/>
                    <a:pt x="0" y="42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2" y="0"/>
                    <a:pt x="44" y="2"/>
                    <a:pt x="44" y="5"/>
                  </a:cubicBezTo>
                  <a:cubicBezTo>
                    <a:pt x="44" y="42"/>
                    <a:pt x="44" y="42"/>
                    <a:pt x="44" y="42"/>
                  </a:cubicBezTo>
                  <a:cubicBezTo>
                    <a:pt x="44" y="45"/>
                    <a:pt x="42" y="47"/>
                    <a:pt x="40" y="47"/>
                  </a:cubicBezTo>
                  <a:close/>
                  <a:moveTo>
                    <a:pt x="9" y="38"/>
                  </a:moveTo>
                  <a:cubicBezTo>
                    <a:pt x="36" y="38"/>
                    <a:pt x="36" y="38"/>
                    <a:pt x="36" y="38"/>
                  </a:cubicBezTo>
                  <a:cubicBezTo>
                    <a:pt x="36" y="9"/>
                    <a:pt x="36" y="9"/>
                    <a:pt x="36" y="9"/>
                  </a:cubicBezTo>
                  <a:cubicBezTo>
                    <a:pt x="9" y="9"/>
                    <a:pt x="9" y="9"/>
                    <a:pt x="9" y="9"/>
                  </a:cubicBezTo>
                  <a:lnTo>
                    <a:pt x="9" y="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6" name="Freeform 120">
              <a:extLst>
                <a:ext uri="{FF2B5EF4-FFF2-40B4-BE49-F238E27FC236}">
                  <a16:creationId xmlns:a16="http://schemas.microsoft.com/office/drawing/2014/main" id="{4CA52B2D-81AB-4D54-4B19-53135D00B002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12058" y="4464392"/>
              <a:ext cx="281269" cy="20383"/>
            </a:xfrm>
            <a:custGeom>
              <a:avLst/>
              <a:gdLst>
                <a:gd name="T0" fmla="*/ 107 w 111"/>
                <a:gd name="T1" fmla="*/ 9 h 9"/>
                <a:gd name="T2" fmla="*/ 4 w 111"/>
                <a:gd name="T3" fmla="*/ 9 h 9"/>
                <a:gd name="T4" fmla="*/ 0 w 111"/>
                <a:gd name="T5" fmla="*/ 4 h 9"/>
                <a:gd name="T6" fmla="*/ 4 w 111"/>
                <a:gd name="T7" fmla="*/ 0 h 9"/>
                <a:gd name="T8" fmla="*/ 107 w 111"/>
                <a:gd name="T9" fmla="*/ 0 h 9"/>
                <a:gd name="T10" fmla="*/ 111 w 111"/>
                <a:gd name="T11" fmla="*/ 4 h 9"/>
                <a:gd name="T12" fmla="*/ 107 w 111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1" h="9">
                  <a:moveTo>
                    <a:pt x="107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07" y="0"/>
                    <a:pt x="107" y="0"/>
                    <a:pt x="107" y="0"/>
                  </a:cubicBezTo>
                  <a:cubicBezTo>
                    <a:pt x="109" y="0"/>
                    <a:pt x="111" y="2"/>
                    <a:pt x="111" y="4"/>
                  </a:cubicBezTo>
                  <a:cubicBezTo>
                    <a:pt x="111" y="7"/>
                    <a:pt x="109" y="9"/>
                    <a:pt x="107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3" name="Shape14_20200717_154352">
            <a:extLst>
              <a:ext uri="{FF2B5EF4-FFF2-40B4-BE49-F238E27FC236}">
                <a16:creationId xmlns:a16="http://schemas.microsoft.com/office/drawing/2014/main" id="{39BE56B0-8959-5CB2-1335-8BA3510F4CDB}"/>
              </a:ext>
            </a:extLst>
          </p:cNvPr>
          <p:cNvGrpSpPr>
            <a:grpSpLocks noChangeAspect="1"/>
          </p:cNvGrpSpPr>
          <p:nvPr/>
        </p:nvGrpSpPr>
        <p:grpSpPr>
          <a:xfrm>
            <a:off x="1829258" y="1247488"/>
            <a:ext cx="831575" cy="562536"/>
            <a:chOff x="-7626292" y="995422"/>
            <a:chExt cx="831575" cy="562536"/>
          </a:xfrm>
          <a:solidFill>
            <a:schemeClr val="accent1"/>
          </a:solidFill>
        </p:grpSpPr>
        <p:sp>
          <p:nvSpPr>
            <p:cNvPr id="181" name="Freeform 121">
              <a:extLst>
                <a:ext uri="{FF2B5EF4-FFF2-40B4-BE49-F238E27FC236}">
                  <a16:creationId xmlns:a16="http://schemas.microsoft.com/office/drawing/2014/main" id="{A094FF92-7F8D-D489-8519-2C8DE51F3930}"/>
                </a:ext>
              </a:extLst>
            </p:cNvPr>
            <p:cNvSpPr>
              <a:spLocks/>
            </p:cNvSpPr>
            <p:nvPr/>
          </p:nvSpPr>
          <p:spPr bwMode="auto">
            <a:xfrm>
              <a:off x="-7459163" y="1252231"/>
              <a:ext cx="493239" cy="260886"/>
            </a:xfrm>
            <a:custGeom>
              <a:avLst/>
              <a:gdLst>
                <a:gd name="T0" fmla="*/ 189 w 197"/>
                <a:gd name="T1" fmla="*/ 6 h 103"/>
                <a:gd name="T2" fmla="*/ 189 w 197"/>
                <a:gd name="T3" fmla="*/ 58 h 103"/>
                <a:gd name="T4" fmla="*/ 9 w 197"/>
                <a:gd name="T5" fmla="*/ 58 h 103"/>
                <a:gd name="T6" fmla="*/ 9 w 197"/>
                <a:gd name="T7" fmla="*/ 5 h 103"/>
                <a:gd name="T8" fmla="*/ 0 w 197"/>
                <a:gd name="T9" fmla="*/ 0 h 103"/>
                <a:gd name="T10" fmla="*/ 0 w 197"/>
                <a:gd name="T11" fmla="*/ 60 h 103"/>
                <a:gd name="T12" fmla="*/ 2 w 197"/>
                <a:gd name="T13" fmla="*/ 63 h 103"/>
                <a:gd name="T14" fmla="*/ 99 w 197"/>
                <a:gd name="T15" fmla="*/ 100 h 103"/>
                <a:gd name="T16" fmla="*/ 196 w 197"/>
                <a:gd name="T17" fmla="*/ 63 h 103"/>
                <a:gd name="T18" fmla="*/ 197 w 197"/>
                <a:gd name="T19" fmla="*/ 60 h 103"/>
                <a:gd name="T20" fmla="*/ 197 w 197"/>
                <a:gd name="T21" fmla="*/ 3 h 103"/>
                <a:gd name="T22" fmla="*/ 189 w 197"/>
                <a:gd name="T23" fmla="*/ 6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7" h="103">
                  <a:moveTo>
                    <a:pt x="189" y="6"/>
                  </a:moveTo>
                  <a:cubicBezTo>
                    <a:pt x="189" y="58"/>
                    <a:pt x="189" y="58"/>
                    <a:pt x="189" y="58"/>
                  </a:cubicBezTo>
                  <a:cubicBezTo>
                    <a:pt x="137" y="103"/>
                    <a:pt x="61" y="103"/>
                    <a:pt x="9" y="58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6" y="4"/>
                    <a:pt x="3" y="2"/>
                    <a:pt x="0" y="0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61"/>
                    <a:pt x="1" y="62"/>
                    <a:pt x="2" y="63"/>
                  </a:cubicBezTo>
                  <a:cubicBezTo>
                    <a:pt x="30" y="88"/>
                    <a:pt x="64" y="100"/>
                    <a:pt x="99" y="100"/>
                  </a:cubicBezTo>
                  <a:cubicBezTo>
                    <a:pt x="134" y="100"/>
                    <a:pt x="168" y="88"/>
                    <a:pt x="196" y="63"/>
                  </a:cubicBezTo>
                  <a:cubicBezTo>
                    <a:pt x="197" y="62"/>
                    <a:pt x="197" y="61"/>
                    <a:pt x="197" y="60"/>
                  </a:cubicBezTo>
                  <a:cubicBezTo>
                    <a:pt x="197" y="3"/>
                    <a:pt x="197" y="3"/>
                    <a:pt x="197" y="3"/>
                  </a:cubicBezTo>
                  <a:cubicBezTo>
                    <a:pt x="195" y="4"/>
                    <a:pt x="192" y="5"/>
                    <a:pt x="189" y="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2" name="Freeform 122">
              <a:extLst>
                <a:ext uri="{FF2B5EF4-FFF2-40B4-BE49-F238E27FC236}">
                  <a16:creationId xmlns:a16="http://schemas.microsoft.com/office/drawing/2014/main" id="{FA89E2E5-F3AA-4E9E-4D35-4C15DE514028}"/>
                </a:ext>
              </a:extLst>
            </p:cNvPr>
            <p:cNvSpPr>
              <a:spLocks/>
            </p:cNvSpPr>
            <p:nvPr/>
          </p:nvSpPr>
          <p:spPr bwMode="auto">
            <a:xfrm>
              <a:off x="-6974076" y="1403057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3" name="Freeform 123">
              <a:extLst>
                <a:ext uri="{FF2B5EF4-FFF2-40B4-BE49-F238E27FC236}">
                  <a16:creationId xmlns:a16="http://schemas.microsoft.com/office/drawing/2014/main" id="{2B2D55CE-899A-5413-534C-66E47BF921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626292" y="995422"/>
              <a:ext cx="831575" cy="383177"/>
            </a:xfrm>
            <a:custGeom>
              <a:avLst/>
              <a:gdLst>
                <a:gd name="T0" fmla="*/ 165 w 330"/>
                <a:gd name="T1" fmla="*/ 153 h 153"/>
                <a:gd name="T2" fmla="*/ 163 w 330"/>
                <a:gd name="T3" fmla="*/ 152 h 153"/>
                <a:gd name="T4" fmla="*/ 3 w 330"/>
                <a:gd name="T5" fmla="*/ 80 h 153"/>
                <a:gd name="T6" fmla="*/ 0 w 330"/>
                <a:gd name="T7" fmla="*/ 76 h 153"/>
                <a:gd name="T8" fmla="*/ 3 w 330"/>
                <a:gd name="T9" fmla="*/ 73 h 153"/>
                <a:gd name="T10" fmla="*/ 163 w 330"/>
                <a:gd name="T11" fmla="*/ 0 h 153"/>
                <a:gd name="T12" fmla="*/ 167 w 330"/>
                <a:gd name="T13" fmla="*/ 0 h 153"/>
                <a:gd name="T14" fmla="*/ 327 w 330"/>
                <a:gd name="T15" fmla="*/ 73 h 153"/>
                <a:gd name="T16" fmla="*/ 330 w 330"/>
                <a:gd name="T17" fmla="*/ 76 h 153"/>
                <a:gd name="T18" fmla="*/ 327 w 330"/>
                <a:gd name="T19" fmla="*/ 80 h 153"/>
                <a:gd name="T20" fmla="*/ 167 w 330"/>
                <a:gd name="T21" fmla="*/ 152 h 153"/>
                <a:gd name="T22" fmla="*/ 165 w 330"/>
                <a:gd name="T23" fmla="*/ 153 h 153"/>
                <a:gd name="T24" fmla="*/ 14 w 330"/>
                <a:gd name="T25" fmla="*/ 76 h 153"/>
                <a:gd name="T26" fmla="*/ 165 w 330"/>
                <a:gd name="T27" fmla="*/ 144 h 153"/>
                <a:gd name="T28" fmla="*/ 316 w 330"/>
                <a:gd name="T29" fmla="*/ 76 h 153"/>
                <a:gd name="T30" fmla="*/ 165 w 330"/>
                <a:gd name="T31" fmla="*/ 9 h 153"/>
                <a:gd name="T32" fmla="*/ 14 w 330"/>
                <a:gd name="T33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30" h="153">
                  <a:moveTo>
                    <a:pt x="165" y="153"/>
                  </a:moveTo>
                  <a:cubicBezTo>
                    <a:pt x="164" y="153"/>
                    <a:pt x="164" y="152"/>
                    <a:pt x="163" y="152"/>
                  </a:cubicBezTo>
                  <a:cubicBezTo>
                    <a:pt x="3" y="80"/>
                    <a:pt x="3" y="80"/>
                    <a:pt x="3" y="80"/>
                  </a:cubicBezTo>
                  <a:cubicBezTo>
                    <a:pt x="1" y="79"/>
                    <a:pt x="0" y="78"/>
                    <a:pt x="0" y="76"/>
                  </a:cubicBezTo>
                  <a:cubicBezTo>
                    <a:pt x="0" y="75"/>
                    <a:pt x="1" y="73"/>
                    <a:pt x="3" y="73"/>
                  </a:cubicBezTo>
                  <a:cubicBezTo>
                    <a:pt x="163" y="0"/>
                    <a:pt x="163" y="0"/>
                    <a:pt x="163" y="0"/>
                  </a:cubicBezTo>
                  <a:cubicBezTo>
                    <a:pt x="164" y="0"/>
                    <a:pt x="166" y="0"/>
                    <a:pt x="167" y="0"/>
                  </a:cubicBezTo>
                  <a:cubicBezTo>
                    <a:pt x="327" y="73"/>
                    <a:pt x="327" y="73"/>
                    <a:pt x="327" y="73"/>
                  </a:cubicBezTo>
                  <a:cubicBezTo>
                    <a:pt x="329" y="73"/>
                    <a:pt x="330" y="75"/>
                    <a:pt x="330" y="76"/>
                  </a:cubicBezTo>
                  <a:cubicBezTo>
                    <a:pt x="330" y="78"/>
                    <a:pt x="329" y="79"/>
                    <a:pt x="327" y="80"/>
                  </a:cubicBezTo>
                  <a:cubicBezTo>
                    <a:pt x="167" y="152"/>
                    <a:pt x="167" y="152"/>
                    <a:pt x="167" y="152"/>
                  </a:cubicBezTo>
                  <a:cubicBezTo>
                    <a:pt x="166" y="152"/>
                    <a:pt x="166" y="153"/>
                    <a:pt x="165" y="153"/>
                  </a:cubicBezTo>
                  <a:close/>
                  <a:moveTo>
                    <a:pt x="14" y="76"/>
                  </a:moveTo>
                  <a:cubicBezTo>
                    <a:pt x="165" y="144"/>
                    <a:pt x="165" y="144"/>
                    <a:pt x="165" y="144"/>
                  </a:cubicBezTo>
                  <a:cubicBezTo>
                    <a:pt x="316" y="76"/>
                    <a:pt x="316" y="76"/>
                    <a:pt x="316" y="76"/>
                  </a:cubicBezTo>
                  <a:cubicBezTo>
                    <a:pt x="165" y="9"/>
                    <a:pt x="165" y="9"/>
                    <a:pt x="165" y="9"/>
                  </a:cubicBezTo>
                  <a:lnTo>
                    <a:pt x="14" y="7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4" name="Freeform 124">
              <a:extLst>
                <a:ext uri="{FF2B5EF4-FFF2-40B4-BE49-F238E27FC236}">
                  <a16:creationId xmlns:a16="http://schemas.microsoft.com/office/drawing/2014/main" id="{F92A30AB-CEAD-9E2E-36E5-E639CE4A3C4A}"/>
                </a:ext>
              </a:extLst>
            </p:cNvPr>
            <p:cNvSpPr>
              <a:spLocks/>
            </p:cNvSpPr>
            <p:nvPr/>
          </p:nvSpPr>
          <p:spPr bwMode="auto">
            <a:xfrm>
              <a:off x="-7589606" y="1191087"/>
              <a:ext cx="20383" cy="199742"/>
            </a:xfrm>
            <a:custGeom>
              <a:avLst/>
              <a:gdLst>
                <a:gd name="T0" fmla="*/ 5 w 9"/>
                <a:gd name="T1" fmla="*/ 78 h 78"/>
                <a:gd name="T2" fmla="*/ 0 w 9"/>
                <a:gd name="T3" fmla="*/ 74 h 78"/>
                <a:gd name="T4" fmla="*/ 0 w 9"/>
                <a:gd name="T5" fmla="*/ 4 h 78"/>
                <a:gd name="T6" fmla="*/ 5 w 9"/>
                <a:gd name="T7" fmla="*/ 0 h 78"/>
                <a:gd name="T8" fmla="*/ 9 w 9"/>
                <a:gd name="T9" fmla="*/ 4 h 78"/>
                <a:gd name="T10" fmla="*/ 9 w 9"/>
                <a:gd name="T11" fmla="*/ 74 h 78"/>
                <a:gd name="T12" fmla="*/ 5 w 9"/>
                <a:gd name="T13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78">
                  <a:moveTo>
                    <a:pt x="5" y="78"/>
                  </a:moveTo>
                  <a:cubicBezTo>
                    <a:pt x="2" y="78"/>
                    <a:pt x="0" y="76"/>
                    <a:pt x="0" y="7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6"/>
                    <a:pt x="7" y="78"/>
                    <a:pt x="5" y="7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5" name="Freeform 125">
              <a:extLst>
                <a:ext uri="{FF2B5EF4-FFF2-40B4-BE49-F238E27FC236}">
                  <a16:creationId xmlns:a16="http://schemas.microsoft.com/office/drawing/2014/main" id="{3D3F7E98-0381-C602-C6A5-00971C9F2A9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622217" y="1370446"/>
              <a:ext cx="89680" cy="89680"/>
            </a:xfrm>
            <a:custGeom>
              <a:avLst/>
              <a:gdLst>
                <a:gd name="T0" fmla="*/ 18 w 36"/>
                <a:gd name="T1" fmla="*/ 36 h 36"/>
                <a:gd name="T2" fmla="*/ 0 w 36"/>
                <a:gd name="T3" fmla="*/ 18 h 36"/>
                <a:gd name="T4" fmla="*/ 18 w 36"/>
                <a:gd name="T5" fmla="*/ 0 h 36"/>
                <a:gd name="T6" fmla="*/ 36 w 36"/>
                <a:gd name="T7" fmla="*/ 18 h 36"/>
                <a:gd name="T8" fmla="*/ 18 w 36"/>
                <a:gd name="T9" fmla="*/ 36 h 36"/>
                <a:gd name="T10" fmla="*/ 18 w 36"/>
                <a:gd name="T11" fmla="*/ 8 h 36"/>
                <a:gd name="T12" fmla="*/ 8 w 36"/>
                <a:gd name="T13" fmla="*/ 18 h 36"/>
                <a:gd name="T14" fmla="*/ 18 w 36"/>
                <a:gd name="T15" fmla="*/ 28 h 36"/>
                <a:gd name="T16" fmla="*/ 27 w 36"/>
                <a:gd name="T17" fmla="*/ 18 h 36"/>
                <a:gd name="T18" fmla="*/ 18 w 36"/>
                <a:gd name="T19" fmla="*/ 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36">
                  <a:moveTo>
                    <a:pt x="18" y="36"/>
                  </a:moveTo>
                  <a:cubicBezTo>
                    <a:pt x="8" y="36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7" y="0"/>
                    <a:pt x="36" y="8"/>
                    <a:pt x="36" y="18"/>
                  </a:cubicBezTo>
                  <a:cubicBezTo>
                    <a:pt x="36" y="28"/>
                    <a:pt x="27" y="36"/>
                    <a:pt x="18" y="36"/>
                  </a:cubicBezTo>
                  <a:close/>
                  <a:moveTo>
                    <a:pt x="18" y="8"/>
                  </a:moveTo>
                  <a:cubicBezTo>
                    <a:pt x="12" y="8"/>
                    <a:pt x="8" y="12"/>
                    <a:pt x="8" y="18"/>
                  </a:cubicBezTo>
                  <a:cubicBezTo>
                    <a:pt x="8" y="23"/>
                    <a:pt x="12" y="28"/>
                    <a:pt x="18" y="28"/>
                  </a:cubicBezTo>
                  <a:cubicBezTo>
                    <a:pt x="23" y="28"/>
                    <a:pt x="27" y="23"/>
                    <a:pt x="27" y="18"/>
                  </a:cubicBezTo>
                  <a:cubicBezTo>
                    <a:pt x="27" y="12"/>
                    <a:pt x="23" y="8"/>
                    <a:pt x="18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6" name="Freeform 126">
              <a:extLst>
                <a:ext uri="{FF2B5EF4-FFF2-40B4-BE49-F238E27FC236}">
                  <a16:creationId xmlns:a16="http://schemas.microsoft.com/office/drawing/2014/main" id="{90A02DCB-F57C-47FD-CE33-D9B0E8A25245}"/>
                </a:ext>
              </a:extLst>
            </p:cNvPr>
            <p:cNvSpPr>
              <a:spLocks/>
            </p:cNvSpPr>
            <p:nvPr/>
          </p:nvSpPr>
          <p:spPr bwMode="auto">
            <a:xfrm>
              <a:off x="-7626292" y="1435668"/>
              <a:ext cx="93757" cy="122290"/>
            </a:xfrm>
            <a:custGeom>
              <a:avLst/>
              <a:gdLst>
                <a:gd name="T0" fmla="*/ 32 w 37"/>
                <a:gd name="T1" fmla="*/ 48 h 48"/>
                <a:gd name="T2" fmla="*/ 5 w 37"/>
                <a:gd name="T3" fmla="*/ 48 h 48"/>
                <a:gd name="T4" fmla="*/ 2 w 37"/>
                <a:gd name="T5" fmla="*/ 47 h 48"/>
                <a:gd name="T6" fmla="*/ 1 w 37"/>
                <a:gd name="T7" fmla="*/ 43 h 48"/>
                <a:gd name="T8" fmla="*/ 8 w 37"/>
                <a:gd name="T9" fmla="*/ 4 h 48"/>
                <a:gd name="T10" fmla="*/ 13 w 37"/>
                <a:gd name="T11" fmla="*/ 1 h 48"/>
                <a:gd name="T12" fmla="*/ 16 w 37"/>
                <a:gd name="T13" fmla="*/ 5 h 48"/>
                <a:gd name="T14" fmla="*/ 10 w 37"/>
                <a:gd name="T15" fmla="*/ 40 h 48"/>
                <a:gd name="T16" fmla="*/ 27 w 37"/>
                <a:gd name="T17" fmla="*/ 40 h 48"/>
                <a:gd name="T18" fmla="*/ 21 w 37"/>
                <a:gd name="T19" fmla="*/ 5 h 48"/>
                <a:gd name="T20" fmla="*/ 24 w 37"/>
                <a:gd name="T21" fmla="*/ 1 h 48"/>
                <a:gd name="T22" fmla="*/ 29 w 37"/>
                <a:gd name="T23" fmla="*/ 4 h 48"/>
                <a:gd name="T24" fmla="*/ 36 w 37"/>
                <a:gd name="T25" fmla="*/ 43 h 48"/>
                <a:gd name="T26" fmla="*/ 36 w 37"/>
                <a:gd name="T27" fmla="*/ 47 h 48"/>
                <a:gd name="T28" fmla="*/ 32 w 37"/>
                <a:gd name="T29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7" h="48">
                  <a:moveTo>
                    <a:pt x="32" y="48"/>
                  </a:moveTo>
                  <a:cubicBezTo>
                    <a:pt x="5" y="48"/>
                    <a:pt x="5" y="48"/>
                    <a:pt x="5" y="48"/>
                  </a:cubicBezTo>
                  <a:cubicBezTo>
                    <a:pt x="3" y="48"/>
                    <a:pt x="2" y="48"/>
                    <a:pt x="2" y="47"/>
                  </a:cubicBezTo>
                  <a:cubicBezTo>
                    <a:pt x="1" y="46"/>
                    <a:pt x="0" y="45"/>
                    <a:pt x="1" y="43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9" y="2"/>
                    <a:pt x="11" y="0"/>
                    <a:pt x="13" y="1"/>
                  </a:cubicBezTo>
                  <a:cubicBezTo>
                    <a:pt x="15" y="1"/>
                    <a:pt x="17" y="3"/>
                    <a:pt x="16" y="5"/>
                  </a:cubicBezTo>
                  <a:cubicBezTo>
                    <a:pt x="10" y="40"/>
                    <a:pt x="10" y="40"/>
                    <a:pt x="10" y="40"/>
                  </a:cubicBezTo>
                  <a:cubicBezTo>
                    <a:pt x="27" y="40"/>
                    <a:pt x="27" y="40"/>
                    <a:pt x="27" y="40"/>
                  </a:cubicBezTo>
                  <a:cubicBezTo>
                    <a:pt x="21" y="5"/>
                    <a:pt x="21" y="5"/>
                    <a:pt x="21" y="5"/>
                  </a:cubicBezTo>
                  <a:cubicBezTo>
                    <a:pt x="20" y="3"/>
                    <a:pt x="22" y="1"/>
                    <a:pt x="24" y="1"/>
                  </a:cubicBezTo>
                  <a:cubicBezTo>
                    <a:pt x="26" y="0"/>
                    <a:pt x="28" y="2"/>
                    <a:pt x="29" y="4"/>
                  </a:cubicBezTo>
                  <a:cubicBezTo>
                    <a:pt x="36" y="43"/>
                    <a:pt x="36" y="43"/>
                    <a:pt x="36" y="43"/>
                  </a:cubicBezTo>
                  <a:cubicBezTo>
                    <a:pt x="37" y="45"/>
                    <a:pt x="36" y="46"/>
                    <a:pt x="36" y="47"/>
                  </a:cubicBezTo>
                  <a:cubicBezTo>
                    <a:pt x="35" y="48"/>
                    <a:pt x="34" y="48"/>
                    <a:pt x="32" y="4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4" name="Shape0_20200717_154352">
            <a:extLst>
              <a:ext uri="{FF2B5EF4-FFF2-40B4-BE49-F238E27FC236}">
                <a16:creationId xmlns:a16="http://schemas.microsoft.com/office/drawing/2014/main" id="{4ACC5A2B-8187-5D9C-3AC5-2B0F95807D4D}"/>
              </a:ext>
            </a:extLst>
          </p:cNvPr>
          <p:cNvGrpSpPr>
            <a:grpSpLocks noChangeAspect="1"/>
          </p:cNvGrpSpPr>
          <p:nvPr/>
        </p:nvGrpSpPr>
        <p:grpSpPr>
          <a:xfrm>
            <a:off x="4379440" y="1267869"/>
            <a:ext cx="851958" cy="521772"/>
            <a:chOff x="-4960360" y="1015803"/>
            <a:chExt cx="851958" cy="521772"/>
          </a:xfrm>
          <a:solidFill>
            <a:schemeClr val="accent1"/>
          </a:solidFill>
        </p:grpSpPr>
        <p:sp>
          <p:nvSpPr>
            <p:cNvPr id="174" name="Freeform 127">
              <a:extLst>
                <a:ext uri="{FF2B5EF4-FFF2-40B4-BE49-F238E27FC236}">
                  <a16:creationId xmlns:a16="http://schemas.microsoft.com/office/drawing/2014/main" id="{07E92B2E-9B20-861A-D424-49A0976BAE20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78833" y="1015803"/>
              <a:ext cx="692979" cy="448398"/>
            </a:xfrm>
            <a:custGeom>
              <a:avLst/>
              <a:gdLst>
                <a:gd name="T0" fmla="*/ 270 w 275"/>
                <a:gd name="T1" fmla="*/ 178 h 178"/>
                <a:gd name="T2" fmla="*/ 266 w 275"/>
                <a:gd name="T3" fmla="*/ 174 h 178"/>
                <a:gd name="T4" fmla="*/ 266 w 275"/>
                <a:gd name="T5" fmla="*/ 24 h 178"/>
                <a:gd name="T6" fmla="*/ 251 w 275"/>
                <a:gd name="T7" fmla="*/ 9 h 178"/>
                <a:gd name="T8" fmla="*/ 23 w 275"/>
                <a:gd name="T9" fmla="*/ 9 h 178"/>
                <a:gd name="T10" fmla="*/ 8 w 275"/>
                <a:gd name="T11" fmla="*/ 24 h 178"/>
                <a:gd name="T12" fmla="*/ 8 w 275"/>
                <a:gd name="T13" fmla="*/ 174 h 178"/>
                <a:gd name="T14" fmla="*/ 4 w 275"/>
                <a:gd name="T15" fmla="*/ 178 h 178"/>
                <a:gd name="T16" fmla="*/ 0 w 275"/>
                <a:gd name="T17" fmla="*/ 174 h 178"/>
                <a:gd name="T18" fmla="*/ 0 w 275"/>
                <a:gd name="T19" fmla="*/ 24 h 178"/>
                <a:gd name="T20" fmla="*/ 23 w 275"/>
                <a:gd name="T21" fmla="*/ 0 h 178"/>
                <a:gd name="T22" fmla="*/ 251 w 275"/>
                <a:gd name="T23" fmla="*/ 0 h 178"/>
                <a:gd name="T24" fmla="*/ 275 w 275"/>
                <a:gd name="T25" fmla="*/ 24 h 178"/>
                <a:gd name="T26" fmla="*/ 275 w 275"/>
                <a:gd name="T27" fmla="*/ 174 h 178"/>
                <a:gd name="T28" fmla="*/ 270 w 275"/>
                <a:gd name="T29" fmla="*/ 178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75" h="178">
                  <a:moveTo>
                    <a:pt x="270" y="178"/>
                  </a:moveTo>
                  <a:cubicBezTo>
                    <a:pt x="268" y="178"/>
                    <a:pt x="266" y="176"/>
                    <a:pt x="266" y="174"/>
                  </a:cubicBezTo>
                  <a:cubicBezTo>
                    <a:pt x="266" y="24"/>
                    <a:pt x="266" y="24"/>
                    <a:pt x="266" y="24"/>
                  </a:cubicBezTo>
                  <a:cubicBezTo>
                    <a:pt x="266" y="15"/>
                    <a:pt x="260" y="9"/>
                    <a:pt x="251" y="9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15" y="9"/>
                    <a:pt x="8" y="15"/>
                    <a:pt x="8" y="24"/>
                  </a:cubicBezTo>
                  <a:cubicBezTo>
                    <a:pt x="8" y="174"/>
                    <a:pt x="8" y="174"/>
                    <a:pt x="8" y="174"/>
                  </a:cubicBezTo>
                  <a:cubicBezTo>
                    <a:pt x="8" y="176"/>
                    <a:pt x="6" y="178"/>
                    <a:pt x="4" y="178"/>
                  </a:cubicBezTo>
                  <a:cubicBezTo>
                    <a:pt x="2" y="178"/>
                    <a:pt x="0" y="176"/>
                    <a:pt x="0" y="174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3" y="0"/>
                  </a:cubicBezTo>
                  <a:cubicBezTo>
                    <a:pt x="251" y="0"/>
                    <a:pt x="251" y="0"/>
                    <a:pt x="251" y="0"/>
                  </a:cubicBezTo>
                  <a:cubicBezTo>
                    <a:pt x="264" y="0"/>
                    <a:pt x="275" y="11"/>
                    <a:pt x="275" y="24"/>
                  </a:cubicBezTo>
                  <a:cubicBezTo>
                    <a:pt x="275" y="174"/>
                    <a:pt x="275" y="174"/>
                    <a:pt x="275" y="174"/>
                  </a:cubicBezTo>
                  <a:cubicBezTo>
                    <a:pt x="275" y="176"/>
                    <a:pt x="273" y="178"/>
                    <a:pt x="270" y="17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5" name="Freeform 128">
              <a:extLst>
                <a:ext uri="{FF2B5EF4-FFF2-40B4-BE49-F238E27FC236}">
                  <a16:creationId xmlns:a16="http://schemas.microsoft.com/office/drawing/2014/main" id="{9E348E0D-7DB7-185C-7803-9B02A569DD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960360" y="1447895"/>
              <a:ext cx="851958" cy="89680"/>
            </a:xfrm>
            <a:custGeom>
              <a:avLst/>
              <a:gdLst>
                <a:gd name="T0" fmla="*/ 306 w 338"/>
                <a:gd name="T1" fmla="*/ 36 h 36"/>
                <a:gd name="T2" fmla="*/ 32 w 338"/>
                <a:gd name="T3" fmla="*/ 36 h 36"/>
                <a:gd name="T4" fmla="*/ 0 w 338"/>
                <a:gd name="T5" fmla="*/ 4 h 36"/>
                <a:gd name="T6" fmla="*/ 4 w 338"/>
                <a:gd name="T7" fmla="*/ 0 h 36"/>
                <a:gd name="T8" fmla="*/ 124 w 338"/>
                <a:gd name="T9" fmla="*/ 0 h 36"/>
                <a:gd name="T10" fmla="*/ 133 w 338"/>
                <a:gd name="T11" fmla="*/ 6 h 36"/>
                <a:gd name="T12" fmla="*/ 135 w 338"/>
                <a:gd name="T13" fmla="*/ 7 h 36"/>
                <a:gd name="T14" fmla="*/ 204 w 338"/>
                <a:gd name="T15" fmla="*/ 7 h 36"/>
                <a:gd name="T16" fmla="*/ 205 w 338"/>
                <a:gd name="T17" fmla="*/ 6 h 36"/>
                <a:gd name="T18" fmla="*/ 205 w 338"/>
                <a:gd name="T19" fmla="*/ 6 h 36"/>
                <a:gd name="T20" fmla="*/ 214 w 338"/>
                <a:gd name="T21" fmla="*/ 0 h 36"/>
                <a:gd name="T22" fmla="*/ 334 w 338"/>
                <a:gd name="T23" fmla="*/ 0 h 36"/>
                <a:gd name="T24" fmla="*/ 338 w 338"/>
                <a:gd name="T25" fmla="*/ 4 h 36"/>
                <a:gd name="T26" fmla="*/ 306 w 338"/>
                <a:gd name="T27" fmla="*/ 36 h 36"/>
                <a:gd name="T28" fmla="*/ 9 w 338"/>
                <a:gd name="T29" fmla="*/ 8 h 36"/>
                <a:gd name="T30" fmla="*/ 32 w 338"/>
                <a:gd name="T31" fmla="*/ 28 h 36"/>
                <a:gd name="T32" fmla="*/ 306 w 338"/>
                <a:gd name="T33" fmla="*/ 28 h 36"/>
                <a:gd name="T34" fmla="*/ 330 w 338"/>
                <a:gd name="T35" fmla="*/ 8 h 36"/>
                <a:gd name="T36" fmla="*/ 214 w 338"/>
                <a:gd name="T37" fmla="*/ 8 h 36"/>
                <a:gd name="T38" fmla="*/ 213 w 338"/>
                <a:gd name="T39" fmla="*/ 9 h 36"/>
                <a:gd name="T40" fmla="*/ 213 w 338"/>
                <a:gd name="T41" fmla="*/ 9 h 36"/>
                <a:gd name="T42" fmla="*/ 204 w 338"/>
                <a:gd name="T43" fmla="*/ 15 h 36"/>
                <a:gd name="T44" fmla="*/ 135 w 338"/>
                <a:gd name="T45" fmla="*/ 15 h 36"/>
                <a:gd name="T46" fmla="*/ 126 w 338"/>
                <a:gd name="T47" fmla="*/ 9 h 36"/>
                <a:gd name="T48" fmla="*/ 124 w 338"/>
                <a:gd name="T49" fmla="*/ 8 h 36"/>
                <a:gd name="T50" fmla="*/ 9 w 338"/>
                <a:gd name="T51" fmla="*/ 8 h 36"/>
                <a:gd name="T52" fmla="*/ 209 w 338"/>
                <a:gd name="T53" fmla="*/ 8 h 36"/>
                <a:gd name="T54" fmla="*/ 209 w 338"/>
                <a:gd name="T55" fmla="*/ 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38" h="36">
                  <a:moveTo>
                    <a:pt x="306" y="36"/>
                  </a:moveTo>
                  <a:cubicBezTo>
                    <a:pt x="32" y="36"/>
                    <a:pt x="32" y="36"/>
                    <a:pt x="32" y="36"/>
                  </a:cubicBezTo>
                  <a:cubicBezTo>
                    <a:pt x="15" y="36"/>
                    <a:pt x="0" y="22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28" y="0"/>
                    <a:pt x="131" y="2"/>
                    <a:pt x="133" y="6"/>
                  </a:cubicBezTo>
                  <a:cubicBezTo>
                    <a:pt x="133" y="6"/>
                    <a:pt x="134" y="7"/>
                    <a:pt x="135" y="7"/>
                  </a:cubicBezTo>
                  <a:cubicBezTo>
                    <a:pt x="204" y="7"/>
                    <a:pt x="204" y="7"/>
                    <a:pt x="204" y="7"/>
                  </a:cubicBezTo>
                  <a:cubicBezTo>
                    <a:pt x="204" y="7"/>
                    <a:pt x="205" y="6"/>
                    <a:pt x="205" y="6"/>
                  </a:cubicBezTo>
                  <a:cubicBezTo>
                    <a:pt x="205" y="6"/>
                    <a:pt x="205" y="6"/>
                    <a:pt x="205" y="6"/>
                  </a:cubicBezTo>
                  <a:cubicBezTo>
                    <a:pt x="207" y="2"/>
                    <a:pt x="211" y="0"/>
                    <a:pt x="214" y="0"/>
                  </a:cubicBezTo>
                  <a:cubicBezTo>
                    <a:pt x="334" y="0"/>
                    <a:pt x="334" y="0"/>
                    <a:pt x="334" y="0"/>
                  </a:cubicBezTo>
                  <a:cubicBezTo>
                    <a:pt x="336" y="0"/>
                    <a:pt x="338" y="2"/>
                    <a:pt x="338" y="4"/>
                  </a:cubicBezTo>
                  <a:cubicBezTo>
                    <a:pt x="338" y="22"/>
                    <a:pt x="324" y="36"/>
                    <a:pt x="306" y="36"/>
                  </a:cubicBezTo>
                  <a:close/>
                  <a:moveTo>
                    <a:pt x="9" y="8"/>
                  </a:moveTo>
                  <a:cubicBezTo>
                    <a:pt x="11" y="19"/>
                    <a:pt x="21" y="28"/>
                    <a:pt x="32" y="28"/>
                  </a:cubicBezTo>
                  <a:cubicBezTo>
                    <a:pt x="306" y="28"/>
                    <a:pt x="306" y="28"/>
                    <a:pt x="306" y="28"/>
                  </a:cubicBezTo>
                  <a:cubicBezTo>
                    <a:pt x="318" y="28"/>
                    <a:pt x="328" y="19"/>
                    <a:pt x="330" y="8"/>
                  </a:cubicBezTo>
                  <a:cubicBezTo>
                    <a:pt x="214" y="8"/>
                    <a:pt x="214" y="8"/>
                    <a:pt x="214" y="8"/>
                  </a:cubicBezTo>
                  <a:cubicBezTo>
                    <a:pt x="214" y="8"/>
                    <a:pt x="213" y="9"/>
                    <a:pt x="213" y="9"/>
                  </a:cubicBezTo>
                  <a:cubicBezTo>
                    <a:pt x="213" y="9"/>
                    <a:pt x="213" y="9"/>
                    <a:pt x="213" y="9"/>
                  </a:cubicBezTo>
                  <a:cubicBezTo>
                    <a:pt x="211" y="13"/>
                    <a:pt x="208" y="15"/>
                    <a:pt x="204" y="15"/>
                  </a:cubicBezTo>
                  <a:cubicBezTo>
                    <a:pt x="135" y="15"/>
                    <a:pt x="135" y="15"/>
                    <a:pt x="135" y="15"/>
                  </a:cubicBezTo>
                  <a:cubicBezTo>
                    <a:pt x="131" y="15"/>
                    <a:pt x="127" y="13"/>
                    <a:pt x="126" y="9"/>
                  </a:cubicBezTo>
                  <a:cubicBezTo>
                    <a:pt x="125" y="9"/>
                    <a:pt x="125" y="8"/>
                    <a:pt x="124" y="8"/>
                  </a:cubicBezTo>
                  <a:lnTo>
                    <a:pt x="9" y="8"/>
                  </a:lnTo>
                  <a:close/>
                  <a:moveTo>
                    <a:pt x="209" y="8"/>
                  </a:moveTo>
                  <a:cubicBezTo>
                    <a:pt x="209" y="8"/>
                    <a:pt x="209" y="8"/>
                    <a:pt x="20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6" name="Freeform 129">
              <a:extLst>
                <a:ext uri="{FF2B5EF4-FFF2-40B4-BE49-F238E27FC236}">
                  <a16:creationId xmlns:a16="http://schemas.microsoft.com/office/drawing/2014/main" id="{42559B4C-E1BA-2FD6-7555-7D38AB627B2C}"/>
                </a:ext>
              </a:extLst>
            </p:cNvPr>
            <p:cNvSpPr>
              <a:spLocks/>
            </p:cNvSpPr>
            <p:nvPr/>
          </p:nvSpPr>
          <p:spPr bwMode="auto">
            <a:xfrm>
              <a:off x="-4683168" y="1231850"/>
              <a:ext cx="301650" cy="150826"/>
            </a:xfrm>
            <a:custGeom>
              <a:avLst/>
              <a:gdLst>
                <a:gd name="T0" fmla="*/ 110 w 119"/>
                <a:gd name="T1" fmla="*/ 6 h 60"/>
                <a:gd name="T2" fmla="*/ 110 w 119"/>
                <a:gd name="T3" fmla="*/ 33 h 60"/>
                <a:gd name="T4" fmla="*/ 8 w 119"/>
                <a:gd name="T5" fmla="*/ 33 h 60"/>
                <a:gd name="T6" fmla="*/ 8 w 119"/>
                <a:gd name="T7" fmla="*/ 4 h 60"/>
                <a:gd name="T8" fmla="*/ 0 w 119"/>
                <a:gd name="T9" fmla="*/ 0 h 60"/>
                <a:gd name="T10" fmla="*/ 0 w 119"/>
                <a:gd name="T11" fmla="*/ 35 h 60"/>
                <a:gd name="T12" fmla="*/ 1 w 119"/>
                <a:gd name="T13" fmla="*/ 38 h 60"/>
                <a:gd name="T14" fmla="*/ 59 w 119"/>
                <a:gd name="T15" fmla="*/ 60 h 60"/>
                <a:gd name="T16" fmla="*/ 117 w 119"/>
                <a:gd name="T17" fmla="*/ 38 h 60"/>
                <a:gd name="T18" fmla="*/ 119 w 119"/>
                <a:gd name="T19" fmla="*/ 35 h 60"/>
                <a:gd name="T20" fmla="*/ 119 w 119"/>
                <a:gd name="T21" fmla="*/ 1 h 60"/>
                <a:gd name="T22" fmla="*/ 110 w 119"/>
                <a:gd name="T23" fmla="*/ 6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9" h="60">
                  <a:moveTo>
                    <a:pt x="110" y="6"/>
                  </a:moveTo>
                  <a:cubicBezTo>
                    <a:pt x="110" y="33"/>
                    <a:pt x="110" y="33"/>
                    <a:pt x="110" y="33"/>
                  </a:cubicBezTo>
                  <a:cubicBezTo>
                    <a:pt x="81" y="58"/>
                    <a:pt x="38" y="58"/>
                    <a:pt x="8" y="33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5" y="3"/>
                    <a:pt x="3" y="1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6"/>
                    <a:pt x="0" y="37"/>
                    <a:pt x="1" y="38"/>
                  </a:cubicBezTo>
                  <a:cubicBezTo>
                    <a:pt x="18" y="52"/>
                    <a:pt x="39" y="60"/>
                    <a:pt x="59" y="60"/>
                  </a:cubicBezTo>
                  <a:cubicBezTo>
                    <a:pt x="80" y="60"/>
                    <a:pt x="101" y="52"/>
                    <a:pt x="117" y="38"/>
                  </a:cubicBezTo>
                  <a:cubicBezTo>
                    <a:pt x="118" y="37"/>
                    <a:pt x="119" y="36"/>
                    <a:pt x="119" y="35"/>
                  </a:cubicBezTo>
                  <a:cubicBezTo>
                    <a:pt x="119" y="1"/>
                    <a:pt x="119" y="1"/>
                    <a:pt x="119" y="1"/>
                  </a:cubicBezTo>
                  <a:cubicBezTo>
                    <a:pt x="116" y="3"/>
                    <a:pt x="113" y="4"/>
                    <a:pt x="110" y="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7" name="Freeform 130">
              <a:extLst>
                <a:ext uri="{FF2B5EF4-FFF2-40B4-BE49-F238E27FC236}">
                  <a16:creationId xmlns:a16="http://schemas.microsoft.com/office/drawing/2014/main" id="{2B0252C5-AE25-3741-08FC-27CD4F1D364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781001" y="1072871"/>
              <a:ext cx="493239" cy="232353"/>
            </a:xfrm>
            <a:custGeom>
              <a:avLst/>
              <a:gdLst>
                <a:gd name="T0" fmla="*/ 98 w 196"/>
                <a:gd name="T1" fmla="*/ 93 h 93"/>
                <a:gd name="T2" fmla="*/ 97 w 196"/>
                <a:gd name="T3" fmla="*/ 93 h 93"/>
                <a:gd name="T4" fmla="*/ 3 w 196"/>
                <a:gd name="T5" fmla="*/ 51 h 93"/>
                <a:gd name="T6" fmla="*/ 0 w 196"/>
                <a:gd name="T7" fmla="*/ 47 h 93"/>
                <a:gd name="T8" fmla="*/ 3 w 196"/>
                <a:gd name="T9" fmla="*/ 43 h 93"/>
                <a:gd name="T10" fmla="*/ 97 w 196"/>
                <a:gd name="T11" fmla="*/ 1 h 93"/>
                <a:gd name="T12" fmla="*/ 100 w 196"/>
                <a:gd name="T13" fmla="*/ 1 h 93"/>
                <a:gd name="T14" fmla="*/ 194 w 196"/>
                <a:gd name="T15" fmla="*/ 43 h 93"/>
                <a:gd name="T16" fmla="*/ 196 w 196"/>
                <a:gd name="T17" fmla="*/ 47 h 93"/>
                <a:gd name="T18" fmla="*/ 194 w 196"/>
                <a:gd name="T19" fmla="*/ 51 h 93"/>
                <a:gd name="T20" fmla="*/ 100 w 196"/>
                <a:gd name="T21" fmla="*/ 93 h 93"/>
                <a:gd name="T22" fmla="*/ 98 w 196"/>
                <a:gd name="T23" fmla="*/ 93 h 93"/>
                <a:gd name="T24" fmla="*/ 14 w 196"/>
                <a:gd name="T25" fmla="*/ 47 h 93"/>
                <a:gd name="T26" fmla="*/ 98 w 196"/>
                <a:gd name="T27" fmla="*/ 85 h 93"/>
                <a:gd name="T28" fmla="*/ 182 w 196"/>
                <a:gd name="T29" fmla="*/ 47 h 93"/>
                <a:gd name="T30" fmla="*/ 98 w 196"/>
                <a:gd name="T31" fmla="*/ 9 h 93"/>
                <a:gd name="T32" fmla="*/ 14 w 196"/>
                <a:gd name="T33" fmla="*/ 47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96" h="93">
                  <a:moveTo>
                    <a:pt x="98" y="93"/>
                  </a:moveTo>
                  <a:cubicBezTo>
                    <a:pt x="98" y="93"/>
                    <a:pt x="97" y="93"/>
                    <a:pt x="97" y="93"/>
                  </a:cubicBezTo>
                  <a:cubicBezTo>
                    <a:pt x="3" y="51"/>
                    <a:pt x="3" y="51"/>
                    <a:pt x="3" y="51"/>
                  </a:cubicBezTo>
                  <a:cubicBezTo>
                    <a:pt x="1" y="50"/>
                    <a:pt x="0" y="49"/>
                    <a:pt x="0" y="47"/>
                  </a:cubicBezTo>
                  <a:cubicBezTo>
                    <a:pt x="0" y="45"/>
                    <a:pt x="1" y="44"/>
                    <a:pt x="3" y="43"/>
                  </a:cubicBezTo>
                  <a:cubicBezTo>
                    <a:pt x="97" y="1"/>
                    <a:pt x="97" y="1"/>
                    <a:pt x="97" y="1"/>
                  </a:cubicBezTo>
                  <a:cubicBezTo>
                    <a:pt x="98" y="0"/>
                    <a:pt x="99" y="0"/>
                    <a:pt x="100" y="1"/>
                  </a:cubicBezTo>
                  <a:cubicBezTo>
                    <a:pt x="194" y="43"/>
                    <a:pt x="194" y="43"/>
                    <a:pt x="194" y="43"/>
                  </a:cubicBezTo>
                  <a:cubicBezTo>
                    <a:pt x="196" y="44"/>
                    <a:pt x="196" y="45"/>
                    <a:pt x="196" y="47"/>
                  </a:cubicBezTo>
                  <a:cubicBezTo>
                    <a:pt x="196" y="49"/>
                    <a:pt x="196" y="50"/>
                    <a:pt x="194" y="51"/>
                  </a:cubicBezTo>
                  <a:cubicBezTo>
                    <a:pt x="100" y="93"/>
                    <a:pt x="100" y="93"/>
                    <a:pt x="100" y="93"/>
                  </a:cubicBezTo>
                  <a:cubicBezTo>
                    <a:pt x="99" y="93"/>
                    <a:pt x="99" y="93"/>
                    <a:pt x="98" y="93"/>
                  </a:cubicBezTo>
                  <a:close/>
                  <a:moveTo>
                    <a:pt x="14" y="47"/>
                  </a:moveTo>
                  <a:cubicBezTo>
                    <a:pt x="98" y="85"/>
                    <a:pt x="98" y="85"/>
                    <a:pt x="98" y="85"/>
                  </a:cubicBezTo>
                  <a:cubicBezTo>
                    <a:pt x="182" y="47"/>
                    <a:pt x="182" y="47"/>
                    <a:pt x="182" y="47"/>
                  </a:cubicBezTo>
                  <a:cubicBezTo>
                    <a:pt x="98" y="9"/>
                    <a:pt x="98" y="9"/>
                    <a:pt x="98" y="9"/>
                  </a:cubicBezTo>
                  <a:lnTo>
                    <a:pt x="14" y="4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8" name="Freeform 131">
              <a:extLst>
                <a:ext uri="{FF2B5EF4-FFF2-40B4-BE49-F238E27FC236}">
                  <a16:creationId xmlns:a16="http://schemas.microsoft.com/office/drawing/2014/main" id="{8484D974-C977-A7F5-2339-7D3AE8C2EE59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56543" y="1191087"/>
              <a:ext cx="20383" cy="122290"/>
            </a:xfrm>
            <a:custGeom>
              <a:avLst/>
              <a:gdLst>
                <a:gd name="T0" fmla="*/ 4 w 8"/>
                <a:gd name="T1" fmla="*/ 49 h 49"/>
                <a:gd name="T2" fmla="*/ 0 w 8"/>
                <a:gd name="T3" fmla="*/ 45 h 49"/>
                <a:gd name="T4" fmla="*/ 0 w 8"/>
                <a:gd name="T5" fmla="*/ 4 h 49"/>
                <a:gd name="T6" fmla="*/ 4 w 8"/>
                <a:gd name="T7" fmla="*/ 0 h 49"/>
                <a:gd name="T8" fmla="*/ 8 w 8"/>
                <a:gd name="T9" fmla="*/ 4 h 49"/>
                <a:gd name="T10" fmla="*/ 8 w 8"/>
                <a:gd name="T11" fmla="*/ 45 h 49"/>
                <a:gd name="T12" fmla="*/ 4 w 8"/>
                <a:gd name="T13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49">
                  <a:moveTo>
                    <a:pt x="4" y="49"/>
                  </a:moveTo>
                  <a:cubicBezTo>
                    <a:pt x="1" y="49"/>
                    <a:pt x="0" y="47"/>
                    <a:pt x="0" y="4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1" y="0"/>
                    <a:pt x="4" y="0"/>
                  </a:cubicBezTo>
                  <a:cubicBezTo>
                    <a:pt x="6" y="0"/>
                    <a:pt x="8" y="1"/>
                    <a:pt x="8" y="4"/>
                  </a:cubicBezTo>
                  <a:cubicBezTo>
                    <a:pt x="8" y="45"/>
                    <a:pt x="8" y="45"/>
                    <a:pt x="8" y="45"/>
                  </a:cubicBezTo>
                  <a:cubicBezTo>
                    <a:pt x="8" y="47"/>
                    <a:pt x="6" y="49"/>
                    <a:pt x="4" y="4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9" name="Freeform 132">
              <a:extLst>
                <a:ext uri="{FF2B5EF4-FFF2-40B4-BE49-F238E27FC236}">
                  <a16:creationId xmlns:a16="http://schemas.microsoft.com/office/drawing/2014/main" id="{27A4EF98-AF7F-F039-3A4E-E905C8757C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781001" y="1292994"/>
              <a:ext cx="65222" cy="61146"/>
            </a:xfrm>
            <a:custGeom>
              <a:avLst/>
              <a:gdLst>
                <a:gd name="T0" fmla="*/ 13 w 25"/>
                <a:gd name="T1" fmla="*/ 24 h 24"/>
                <a:gd name="T2" fmla="*/ 0 w 25"/>
                <a:gd name="T3" fmla="*/ 12 h 24"/>
                <a:gd name="T4" fmla="*/ 13 w 25"/>
                <a:gd name="T5" fmla="*/ 0 h 24"/>
                <a:gd name="T6" fmla="*/ 25 w 25"/>
                <a:gd name="T7" fmla="*/ 12 h 24"/>
                <a:gd name="T8" fmla="*/ 13 w 25"/>
                <a:gd name="T9" fmla="*/ 24 h 24"/>
                <a:gd name="T10" fmla="*/ 13 w 25"/>
                <a:gd name="T11" fmla="*/ 8 h 24"/>
                <a:gd name="T12" fmla="*/ 9 w 25"/>
                <a:gd name="T13" fmla="*/ 12 h 24"/>
                <a:gd name="T14" fmla="*/ 13 w 25"/>
                <a:gd name="T15" fmla="*/ 16 h 24"/>
                <a:gd name="T16" fmla="*/ 17 w 25"/>
                <a:gd name="T17" fmla="*/ 12 h 24"/>
                <a:gd name="T18" fmla="*/ 13 w 25"/>
                <a:gd name="T19" fmla="*/ 8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24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19" y="0"/>
                    <a:pt x="25" y="5"/>
                    <a:pt x="25" y="12"/>
                  </a:cubicBezTo>
                  <a:cubicBezTo>
                    <a:pt x="25" y="19"/>
                    <a:pt x="19" y="24"/>
                    <a:pt x="13" y="24"/>
                  </a:cubicBezTo>
                  <a:close/>
                  <a:moveTo>
                    <a:pt x="13" y="8"/>
                  </a:moveTo>
                  <a:cubicBezTo>
                    <a:pt x="10" y="8"/>
                    <a:pt x="9" y="10"/>
                    <a:pt x="9" y="12"/>
                  </a:cubicBezTo>
                  <a:cubicBezTo>
                    <a:pt x="9" y="14"/>
                    <a:pt x="10" y="16"/>
                    <a:pt x="13" y="16"/>
                  </a:cubicBezTo>
                  <a:cubicBezTo>
                    <a:pt x="15" y="16"/>
                    <a:pt x="17" y="14"/>
                    <a:pt x="17" y="12"/>
                  </a:cubicBezTo>
                  <a:cubicBezTo>
                    <a:pt x="17" y="10"/>
                    <a:pt x="15" y="8"/>
                    <a:pt x="13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0" name="Freeform 133">
              <a:extLst>
                <a:ext uri="{FF2B5EF4-FFF2-40B4-BE49-F238E27FC236}">
                  <a16:creationId xmlns:a16="http://schemas.microsoft.com/office/drawing/2014/main" id="{D8759F93-7466-373D-B752-6BA4B548880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781001" y="1329683"/>
              <a:ext cx="65222" cy="81527"/>
            </a:xfrm>
            <a:custGeom>
              <a:avLst/>
              <a:gdLst>
                <a:gd name="T0" fmla="*/ 21 w 25"/>
                <a:gd name="T1" fmla="*/ 32 h 32"/>
                <a:gd name="T2" fmla="*/ 5 w 25"/>
                <a:gd name="T3" fmla="*/ 32 h 32"/>
                <a:gd name="T4" fmla="*/ 1 w 25"/>
                <a:gd name="T5" fmla="*/ 31 h 32"/>
                <a:gd name="T6" fmla="*/ 0 w 25"/>
                <a:gd name="T7" fmla="*/ 27 h 32"/>
                <a:gd name="T8" fmla="*/ 5 w 25"/>
                <a:gd name="T9" fmla="*/ 4 h 32"/>
                <a:gd name="T10" fmla="*/ 10 w 25"/>
                <a:gd name="T11" fmla="*/ 1 h 32"/>
                <a:gd name="T12" fmla="*/ 13 w 25"/>
                <a:gd name="T13" fmla="*/ 3 h 32"/>
                <a:gd name="T14" fmla="*/ 15 w 25"/>
                <a:gd name="T15" fmla="*/ 1 h 32"/>
                <a:gd name="T16" fmla="*/ 20 w 25"/>
                <a:gd name="T17" fmla="*/ 4 h 32"/>
                <a:gd name="T18" fmla="*/ 25 w 25"/>
                <a:gd name="T19" fmla="*/ 27 h 32"/>
                <a:gd name="T20" fmla="*/ 24 w 25"/>
                <a:gd name="T21" fmla="*/ 31 h 32"/>
                <a:gd name="T22" fmla="*/ 21 w 25"/>
                <a:gd name="T23" fmla="*/ 32 h 32"/>
                <a:gd name="T24" fmla="*/ 10 w 25"/>
                <a:gd name="T25" fmla="*/ 24 h 32"/>
                <a:gd name="T26" fmla="*/ 16 w 25"/>
                <a:gd name="T27" fmla="*/ 24 h 32"/>
                <a:gd name="T28" fmla="*/ 13 w 25"/>
                <a:gd name="T29" fmla="*/ 8 h 32"/>
                <a:gd name="T30" fmla="*/ 10 w 25"/>
                <a:gd name="T31" fmla="*/ 24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" h="32">
                  <a:moveTo>
                    <a:pt x="21" y="32"/>
                  </a:moveTo>
                  <a:cubicBezTo>
                    <a:pt x="5" y="32"/>
                    <a:pt x="5" y="32"/>
                    <a:pt x="5" y="32"/>
                  </a:cubicBezTo>
                  <a:cubicBezTo>
                    <a:pt x="3" y="32"/>
                    <a:pt x="2" y="32"/>
                    <a:pt x="1" y="31"/>
                  </a:cubicBezTo>
                  <a:cubicBezTo>
                    <a:pt x="1" y="30"/>
                    <a:pt x="0" y="29"/>
                    <a:pt x="0" y="27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2"/>
                    <a:pt x="8" y="0"/>
                    <a:pt x="10" y="1"/>
                  </a:cubicBezTo>
                  <a:cubicBezTo>
                    <a:pt x="11" y="1"/>
                    <a:pt x="12" y="2"/>
                    <a:pt x="13" y="3"/>
                  </a:cubicBezTo>
                  <a:cubicBezTo>
                    <a:pt x="13" y="2"/>
                    <a:pt x="14" y="1"/>
                    <a:pt x="15" y="1"/>
                  </a:cubicBezTo>
                  <a:cubicBezTo>
                    <a:pt x="18" y="0"/>
                    <a:pt x="20" y="2"/>
                    <a:pt x="20" y="4"/>
                  </a:cubicBezTo>
                  <a:cubicBezTo>
                    <a:pt x="25" y="27"/>
                    <a:pt x="25" y="27"/>
                    <a:pt x="25" y="27"/>
                  </a:cubicBezTo>
                  <a:cubicBezTo>
                    <a:pt x="25" y="29"/>
                    <a:pt x="25" y="30"/>
                    <a:pt x="24" y="31"/>
                  </a:cubicBezTo>
                  <a:cubicBezTo>
                    <a:pt x="23" y="32"/>
                    <a:pt x="22" y="32"/>
                    <a:pt x="21" y="32"/>
                  </a:cubicBezTo>
                  <a:close/>
                  <a:moveTo>
                    <a:pt x="10" y="24"/>
                  </a:moveTo>
                  <a:cubicBezTo>
                    <a:pt x="16" y="24"/>
                    <a:pt x="16" y="24"/>
                    <a:pt x="16" y="24"/>
                  </a:cubicBezTo>
                  <a:cubicBezTo>
                    <a:pt x="13" y="8"/>
                    <a:pt x="13" y="8"/>
                    <a:pt x="13" y="8"/>
                  </a:cubicBezTo>
                  <a:lnTo>
                    <a:pt x="10" y="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5" name="Shape15_20200717_154352">
            <a:extLst>
              <a:ext uri="{FF2B5EF4-FFF2-40B4-BE49-F238E27FC236}">
                <a16:creationId xmlns:a16="http://schemas.microsoft.com/office/drawing/2014/main" id="{08572422-5383-FCB5-BDFA-5E678013BE4C}"/>
              </a:ext>
            </a:extLst>
          </p:cNvPr>
          <p:cNvGrpSpPr>
            <a:grpSpLocks noChangeAspect="1"/>
          </p:cNvGrpSpPr>
          <p:nvPr/>
        </p:nvGrpSpPr>
        <p:grpSpPr>
          <a:xfrm>
            <a:off x="3267402" y="1214877"/>
            <a:ext cx="517698" cy="627758"/>
            <a:chOff x="-6130273" y="962811"/>
            <a:chExt cx="517698" cy="627758"/>
          </a:xfrm>
          <a:solidFill>
            <a:schemeClr val="accent1"/>
          </a:solidFill>
        </p:grpSpPr>
        <p:sp>
          <p:nvSpPr>
            <p:cNvPr id="168" name="Freeform 134">
              <a:extLst>
                <a:ext uri="{FF2B5EF4-FFF2-40B4-BE49-F238E27FC236}">
                  <a16:creationId xmlns:a16="http://schemas.microsoft.com/office/drawing/2014/main" id="{B607170B-CA0F-AC4F-8330-F7DB6172ABC8}"/>
                </a:ext>
              </a:extLst>
            </p:cNvPr>
            <p:cNvSpPr>
              <a:spLocks/>
            </p:cNvSpPr>
            <p:nvPr/>
          </p:nvSpPr>
          <p:spPr bwMode="auto">
            <a:xfrm>
              <a:off x="-6130273" y="1378599"/>
              <a:ext cx="517698" cy="211970"/>
            </a:xfrm>
            <a:custGeom>
              <a:avLst/>
              <a:gdLst>
                <a:gd name="T0" fmla="*/ 203 w 207"/>
                <a:gd name="T1" fmla="*/ 85 h 85"/>
                <a:gd name="T2" fmla="*/ 198 w 207"/>
                <a:gd name="T3" fmla="*/ 81 h 85"/>
                <a:gd name="T4" fmla="*/ 198 w 207"/>
                <a:gd name="T5" fmla="*/ 48 h 85"/>
                <a:gd name="T6" fmla="*/ 159 w 207"/>
                <a:gd name="T7" fmla="*/ 8 h 85"/>
                <a:gd name="T8" fmla="*/ 48 w 207"/>
                <a:gd name="T9" fmla="*/ 8 h 85"/>
                <a:gd name="T10" fmla="*/ 8 w 207"/>
                <a:gd name="T11" fmla="*/ 48 h 85"/>
                <a:gd name="T12" fmla="*/ 8 w 207"/>
                <a:gd name="T13" fmla="*/ 81 h 85"/>
                <a:gd name="T14" fmla="*/ 4 w 207"/>
                <a:gd name="T15" fmla="*/ 85 h 85"/>
                <a:gd name="T16" fmla="*/ 0 w 207"/>
                <a:gd name="T17" fmla="*/ 81 h 85"/>
                <a:gd name="T18" fmla="*/ 0 w 207"/>
                <a:gd name="T19" fmla="*/ 48 h 85"/>
                <a:gd name="T20" fmla="*/ 48 w 207"/>
                <a:gd name="T21" fmla="*/ 0 h 85"/>
                <a:gd name="T22" fmla="*/ 159 w 207"/>
                <a:gd name="T23" fmla="*/ 0 h 85"/>
                <a:gd name="T24" fmla="*/ 207 w 207"/>
                <a:gd name="T25" fmla="*/ 48 h 85"/>
                <a:gd name="T26" fmla="*/ 207 w 207"/>
                <a:gd name="T27" fmla="*/ 81 h 85"/>
                <a:gd name="T28" fmla="*/ 203 w 207"/>
                <a:gd name="T29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7" h="85">
                  <a:moveTo>
                    <a:pt x="203" y="85"/>
                  </a:moveTo>
                  <a:cubicBezTo>
                    <a:pt x="200" y="85"/>
                    <a:pt x="198" y="83"/>
                    <a:pt x="198" y="81"/>
                  </a:cubicBezTo>
                  <a:cubicBezTo>
                    <a:pt x="198" y="48"/>
                    <a:pt x="198" y="48"/>
                    <a:pt x="198" y="48"/>
                  </a:cubicBezTo>
                  <a:cubicBezTo>
                    <a:pt x="198" y="26"/>
                    <a:pt x="181" y="8"/>
                    <a:pt x="159" y="8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26" y="8"/>
                    <a:pt x="8" y="26"/>
                    <a:pt x="8" y="48"/>
                  </a:cubicBezTo>
                  <a:cubicBezTo>
                    <a:pt x="8" y="81"/>
                    <a:pt x="8" y="81"/>
                    <a:pt x="8" y="81"/>
                  </a:cubicBezTo>
                  <a:cubicBezTo>
                    <a:pt x="8" y="83"/>
                    <a:pt x="6" y="85"/>
                    <a:pt x="4" y="85"/>
                  </a:cubicBezTo>
                  <a:cubicBezTo>
                    <a:pt x="1" y="85"/>
                    <a:pt x="0" y="83"/>
                    <a:pt x="0" y="81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21"/>
                    <a:pt x="21" y="0"/>
                    <a:pt x="48" y="0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185" y="0"/>
                    <a:pt x="207" y="21"/>
                    <a:pt x="207" y="48"/>
                  </a:cubicBezTo>
                  <a:cubicBezTo>
                    <a:pt x="207" y="81"/>
                    <a:pt x="207" y="81"/>
                    <a:pt x="207" y="81"/>
                  </a:cubicBezTo>
                  <a:cubicBezTo>
                    <a:pt x="207" y="83"/>
                    <a:pt x="205" y="85"/>
                    <a:pt x="203" y="8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9" name="Freeform 135">
              <a:extLst>
                <a:ext uri="{FF2B5EF4-FFF2-40B4-BE49-F238E27FC236}">
                  <a16:creationId xmlns:a16="http://schemas.microsoft.com/office/drawing/2014/main" id="{D1D77954-5412-BE63-3C66-6C731C0DC9C4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87600" y="1146246"/>
              <a:ext cx="232353" cy="195665"/>
            </a:xfrm>
            <a:custGeom>
              <a:avLst/>
              <a:gdLst>
                <a:gd name="T0" fmla="*/ 71 w 92"/>
                <a:gd name="T1" fmla="*/ 4 h 78"/>
                <a:gd name="T2" fmla="*/ 84 w 92"/>
                <a:gd name="T3" fmla="*/ 32 h 78"/>
                <a:gd name="T4" fmla="*/ 46 w 92"/>
                <a:gd name="T5" fmla="*/ 70 h 78"/>
                <a:gd name="T6" fmla="*/ 8 w 92"/>
                <a:gd name="T7" fmla="*/ 32 h 78"/>
                <a:gd name="T8" fmla="*/ 21 w 92"/>
                <a:gd name="T9" fmla="*/ 4 h 78"/>
                <a:gd name="T10" fmla="*/ 13 w 92"/>
                <a:gd name="T11" fmla="*/ 1 h 78"/>
                <a:gd name="T12" fmla="*/ 0 w 92"/>
                <a:gd name="T13" fmla="*/ 32 h 78"/>
                <a:gd name="T14" fmla="*/ 46 w 92"/>
                <a:gd name="T15" fmla="*/ 78 h 78"/>
                <a:gd name="T16" fmla="*/ 92 w 92"/>
                <a:gd name="T17" fmla="*/ 32 h 78"/>
                <a:gd name="T18" fmla="*/ 79 w 92"/>
                <a:gd name="T19" fmla="*/ 0 h 78"/>
                <a:gd name="T20" fmla="*/ 71 w 92"/>
                <a:gd name="T21" fmla="*/ 4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2" h="78">
                  <a:moveTo>
                    <a:pt x="71" y="4"/>
                  </a:moveTo>
                  <a:cubicBezTo>
                    <a:pt x="79" y="11"/>
                    <a:pt x="84" y="21"/>
                    <a:pt x="84" y="32"/>
                  </a:cubicBezTo>
                  <a:cubicBezTo>
                    <a:pt x="84" y="53"/>
                    <a:pt x="67" y="70"/>
                    <a:pt x="46" y="70"/>
                  </a:cubicBezTo>
                  <a:cubicBezTo>
                    <a:pt x="25" y="70"/>
                    <a:pt x="8" y="53"/>
                    <a:pt x="8" y="32"/>
                  </a:cubicBezTo>
                  <a:cubicBezTo>
                    <a:pt x="8" y="21"/>
                    <a:pt x="13" y="11"/>
                    <a:pt x="21" y="4"/>
                  </a:cubicBezTo>
                  <a:cubicBezTo>
                    <a:pt x="18" y="3"/>
                    <a:pt x="15" y="2"/>
                    <a:pt x="13" y="1"/>
                  </a:cubicBezTo>
                  <a:cubicBezTo>
                    <a:pt x="5" y="9"/>
                    <a:pt x="0" y="20"/>
                    <a:pt x="0" y="32"/>
                  </a:cubicBezTo>
                  <a:cubicBezTo>
                    <a:pt x="0" y="58"/>
                    <a:pt x="21" y="78"/>
                    <a:pt x="46" y="78"/>
                  </a:cubicBezTo>
                  <a:cubicBezTo>
                    <a:pt x="72" y="78"/>
                    <a:pt x="92" y="58"/>
                    <a:pt x="92" y="32"/>
                  </a:cubicBezTo>
                  <a:cubicBezTo>
                    <a:pt x="92" y="20"/>
                    <a:pt x="87" y="9"/>
                    <a:pt x="79" y="0"/>
                  </a:cubicBezTo>
                  <a:cubicBezTo>
                    <a:pt x="77" y="2"/>
                    <a:pt x="74" y="3"/>
                    <a:pt x="71" y="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0" name="Freeform 136">
              <a:extLst>
                <a:ext uri="{FF2B5EF4-FFF2-40B4-BE49-F238E27FC236}">
                  <a16:creationId xmlns:a16="http://schemas.microsoft.com/office/drawing/2014/main" id="{CBDE4202-3556-01DB-1F8D-39EEF86C4C00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79447" y="1068796"/>
              <a:ext cx="216048" cy="114138"/>
            </a:xfrm>
            <a:custGeom>
              <a:avLst/>
              <a:gdLst>
                <a:gd name="T0" fmla="*/ 76 w 85"/>
                <a:gd name="T1" fmla="*/ 8 h 45"/>
                <a:gd name="T2" fmla="*/ 76 w 85"/>
                <a:gd name="T3" fmla="*/ 24 h 45"/>
                <a:gd name="T4" fmla="*/ 8 w 85"/>
                <a:gd name="T5" fmla="*/ 24 h 45"/>
                <a:gd name="T6" fmla="*/ 8 w 85"/>
                <a:gd name="T7" fmla="*/ 6 h 45"/>
                <a:gd name="T8" fmla="*/ 19 w 85"/>
                <a:gd name="T9" fmla="*/ 12 h 45"/>
                <a:gd name="T10" fmla="*/ 19 w 85"/>
                <a:gd name="T11" fmla="*/ 10 h 45"/>
                <a:gd name="T12" fmla="*/ 4 w 85"/>
                <a:gd name="T13" fmla="*/ 2 h 45"/>
                <a:gd name="T14" fmla="*/ 0 w 85"/>
                <a:gd name="T15" fmla="*/ 0 h 45"/>
                <a:gd name="T16" fmla="*/ 0 w 85"/>
                <a:gd name="T17" fmla="*/ 26 h 45"/>
                <a:gd name="T18" fmla="*/ 1 w 85"/>
                <a:gd name="T19" fmla="*/ 29 h 45"/>
                <a:gd name="T20" fmla="*/ 42 w 85"/>
                <a:gd name="T21" fmla="*/ 45 h 45"/>
                <a:gd name="T22" fmla="*/ 83 w 85"/>
                <a:gd name="T23" fmla="*/ 29 h 45"/>
                <a:gd name="T24" fmla="*/ 85 w 85"/>
                <a:gd name="T25" fmla="*/ 26 h 45"/>
                <a:gd name="T26" fmla="*/ 85 w 85"/>
                <a:gd name="T27" fmla="*/ 3 h 45"/>
                <a:gd name="T28" fmla="*/ 76 w 85"/>
                <a:gd name="T29" fmla="*/ 8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5" h="45">
                  <a:moveTo>
                    <a:pt x="76" y="8"/>
                  </a:moveTo>
                  <a:cubicBezTo>
                    <a:pt x="76" y="24"/>
                    <a:pt x="76" y="24"/>
                    <a:pt x="76" y="24"/>
                  </a:cubicBezTo>
                  <a:cubicBezTo>
                    <a:pt x="57" y="41"/>
                    <a:pt x="28" y="41"/>
                    <a:pt x="8" y="2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11" y="9"/>
                    <a:pt x="15" y="10"/>
                    <a:pt x="19" y="12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4" y="8"/>
                    <a:pt x="8" y="6"/>
                    <a:pt x="4" y="2"/>
                  </a:cubicBezTo>
                  <a:cubicBezTo>
                    <a:pt x="3" y="1"/>
                    <a:pt x="1" y="1"/>
                    <a:pt x="0" y="0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7"/>
                    <a:pt x="0" y="28"/>
                    <a:pt x="1" y="29"/>
                  </a:cubicBezTo>
                  <a:cubicBezTo>
                    <a:pt x="13" y="39"/>
                    <a:pt x="27" y="45"/>
                    <a:pt x="42" y="45"/>
                  </a:cubicBezTo>
                  <a:cubicBezTo>
                    <a:pt x="57" y="45"/>
                    <a:pt x="72" y="39"/>
                    <a:pt x="83" y="29"/>
                  </a:cubicBezTo>
                  <a:cubicBezTo>
                    <a:pt x="84" y="28"/>
                    <a:pt x="85" y="27"/>
                    <a:pt x="85" y="26"/>
                  </a:cubicBezTo>
                  <a:cubicBezTo>
                    <a:pt x="85" y="3"/>
                    <a:pt x="85" y="3"/>
                    <a:pt x="85" y="3"/>
                  </a:cubicBezTo>
                  <a:cubicBezTo>
                    <a:pt x="82" y="5"/>
                    <a:pt x="79" y="6"/>
                    <a:pt x="76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1" name="Freeform 137">
              <a:extLst>
                <a:ext uri="{FF2B5EF4-FFF2-40B4-BE49-F238E27FC236}">
                  <a16:creationId xmlns:a16="http://schemas.microsoft.com/office/drawing/2014/main" id="{ECCB6B67-78CF-951E-59E3-448C289EE12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044669" y="962811"/>
              <a:ext cx="346491" cy="167132"/>
            </a:xfrm>
            <a:custGeom>
              <a:avLst/>
              <a:gdLst>
                <a:gd name="T0" fmla="*/ 69 w 139"/>
                <a:gd name="T1" fmla="*/ 67 h 67"/>
                <a:gd name="T2" fmla="*/ 67 w 139"/>
                <a:gd name="T3" fmla="*/ 67 h 67"/>
                <a:gd name="T4" fmla="*/ 2 w 139"/>
                <a:gd name="T5" fmla="*/ 38 h 67"/>
                <a:gd name="T6" fmla="*/ 0 w 139"/>
                <a:gd name="T7" fmla="*/ 34 h 67"/>
                <a:gd name="T8" fmla="*/ 2 w 139"/>
                <a:gd name="T9" fmla="*/ 30 h 67"/>
                <a:gd name="T10" fmla="*/ 67 w 139"/>
                <a:gd name="T11" fmla="*/ 1 h 67"/>
                <a:gd name="T12" fmla="*/ 71 w 139"/>
                <a:gd name="T13" fmla="*/ 1 h 67"/>
                <a:gd name="T14" fmla="*/ 136 w 139"/>
                <a:gd name="T15" fmla="*/ 30 h 67"/>
                <a:gd name="T16" fmla="*/ 139 w 139"/>
                <a:gd name="T17" fmla="*/ 34 h 67"/>
                <a:gd name="T18" fmla="*/ 136 w 139"/>
                <a:gd name="T19" fmla="*/ 38 h 67"/>
                <a:gd name="T20" fmla="*/ 71 w 139"/>
                <a:gd name="T21" fmla="*/ 67 h 67"/>
                <a:gd name="T22" fmla="*/ 69 w 139"/>
                <a:gd name="T23" fmla="*/ 67 h 67"/>
                <a:gd name="T24" fmla="*/ 14 w 139"/>
                <a:gd name="T25" fmla="*/ 34 h 67"/>
                <a:gd name="T26" fmla="*/ 69 w 139"/>
                <a:gd name="T27" fmla="*/ 59 h 67"/>
                <a:gd name="T28" fmla="*/ 124 w 139"/>
                <a:gd name="T29" fmla="*/ 34 h 67"/>
                <a:gd name="T30" fmla="*/ 69 w 139"/>
                <a:gd name="T31" fmla="*/ 9 h 67"/>
                <a:gd name="T32" fmla="*/ 14 w 139"/>
                <a:gd name="T33" fmla="*/ 34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9" h="67">
                  <a:moveTo>
                    <a:pt x="69" y="67"/>
                  </a:moveTo>
                  <a:cubicBezTo>
                    <a:pt x="69" y="67"/>
                    <a:pt x="68" y="67"/>
                    <a:pt x="67" y="67"/>
                  </a:cubicBezTo>
                  <a:cubicBezTo>
                    <a:pt x="2" y="38"/>
                    <a:pt x="2" y="38"/>
                    <a:pt x="2" y="38"/>
                  </a:cubicBezTo>
                  <a:cubicBezTo>
                    <a:pt x="1" y="37"/>
                    <a:pt x="0" y="35"/>
                    <a:pt x="0" y="34"/>
                  </a:cubicBezTo>
                  <a:cubicBezTo>
                    <a:pt x="0" y="32"/>
                    <a:pt x="1" y="31"/>
                    <a:pt x="2" y="30"/>
                  </a:cubicBezTo>
                  <a:cubicBezTo>
                    <a:pt x="67" y="1"/>
                    <a:pt x="67" y="1"/>
                    <a:pt x="67" y="1"/>
                  </a:cubicBezTo>
                  <a:cubicBezTo>
                    <a:pt x="69" y="0"/>
                    <a:pt x="70" y="0"/>
                    <a:pt x="71" y="1"/>
                  </a:cubicBezTo>
                  <a:cubicBezTo>
                    <a:pt x="136" y="30"/>
                    <a:pt x="136" y="30"/>
                    <a:pt x="136" y="30"/>
                  </a:cubicBezTo>
                  <a:cubicBezTo>
                    <a:pt x="138" y="31"/>
                    <a:pt x="139" y="32"/>
                    <a:pt x="139" y="34"/>
                  </a:cubicBezTo>
                  <a:cubicBezTo>
                    <a:pt x="139" y="35"/>
                    <a:pt x="138" y="37"/>
                    <a:pt x="136" y="38"/>
                  </a:cubicBezTo>
                  <a:cubicBezTo>
                    <a:pt x="71" y="67"/>
                    <a:pt x="71" y="67"/>
                    <a:pt x="71" y="67"/>
                  </a:cubicBezTo>
                  <a:cubicBezTo>
                    <a:pt x="70" y="67"/>
                    <a:pt x="70" y="67"/>
                    <a:pt x="69" y="67"/>
                  </a:cubicBezTo>
                  <a:close/>
                  <a:moveTo>
                    <a:pt x="14" y="34"/>
                  </a:moveTo>
                  <a:cubicBezTo>
                    <a:pt x="69" y="59"/>
                    <a:pt x="69" y="59"/>
                    <a:pt x="69" y="59"/>
                  </a:cubicBezTo>
                  <a:cubicBezTo>
                    <a:pt x="124" y="34"/>
                    <a:pt x="124" y="34"/>
                    <a:pt x="124" y="34"/>
                  </a:cubicBezTo>
                  <a:cubicBezTo>
                    <a:pt x="69" y="9"/>
                    <a:pt x="69" y="9"/>
                    <a:pt x="69" y="9"/>
                  </a:cubicBezTo>
                  <a:lnTo>
                    <a:pt x="14" y="3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2" name="Freeform 138">
              <a:extLst>
                <a:ext uri="{FF2B5EF4-FFF2-40B4-BE49-F238E27FC236}">
                  <a16:creationId xmlns:a16="http://schemas.microsoft.com/office/drawing/2014/main" id="{243E6FE0-521D-D972-D11C-4A7846B4FA90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32441" y="1040261"/>
              <a:ext cx="20383" cy="93757"/>
            </a:xfrm>
            <a:custGeom>
              <a:avLst/>
              <a:gdLst>
                <a:gd name="T0" fmla="*/ 4 w 8"/>
                <a:gd name="T1" fmla="*/ 37 h 37"/>
                <a:gd name="T2" fmla="*/ 0 w 8"/>
                <a:gd name="T3" fmla="*/ 33 h 37"/>
                <a:gd name="T4" fmla="*/ 0 w 8"/>
                <a:gd name="T5" fmla="*/ 4 h 37"/>
                <a:gd name="T6" fmla="*/ 4 w 8"/>
                <a:gd name="T7" fmla="*/ 0 h 37"/>
                <a:gd name="T8" fmla="*/ 8 w 8"/>
                <a:gd name="T9" fmla="*/ 4 h 37"/>
                <a:gd name="T10" fmla="*/ 8 w 8"/>
                <a:gd name="T11" fmla="*/ 33 h 37"/>
                <a:gd name="T12" fmla="*/ 4 w 8"/>
                <a:gd name="T13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37">
                  <a:moveTo>
                    <a:pt x="4" y="37"/>
                  </a:moveTo>
                  <a:cubicBezTo>
                    <a:pt x="1" y="37"/>
                    <a:pt x="0" y="35"/>
                    <a:pt x="0" y="3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8" y="35"/>
                    <a:pt x="6" y="37"/>
                    <a:pt x="4" y="3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3" name="Freeform 139">
              <a:extLst>
                <a:ext uri="{FF2B5EF4-FFF2-40B4-BE49-F238E27FC236}">
                  <a16:creationId xmlns:a16="http://schemas.microsoft.com/office/drawing/2014/main" id="{E134347D-3481-EA04-BA22-D757BE07E9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044669" y="1113635"/>
              <a:ext cx="44841" cy="48916"/>
            </a:xfrm>
            <a:custGeom>
              <a:avLst/>
              <a:gdLst>
                <a:gd name="T0" fmla="*/ 10 w 19"/>
                <a:gd name="T1" fmla="*/ 19 h 19"/>
                <a:gd name="T2" fmla="*/ 0 w 19"/>
                <a:gd name="T3" fmla="*/ 10 h 19"/>
                <a:gd name="T4" fmla="*/ 10 w 19"/>
                <a:gd name="T5" fmla="*/ 0 h 19"/>
                <a:gd name="T6" fmla="*/ 19 w 19"/>
                <a:gd name="T7" fmla="*/ 10 h 19"/>
                <a:gd name="T8" fmla="*/ 10 w 19"/>
                <a:gd name="T9" fmla="*/ 19 h 19"/>
                <a:gd name="T10" fmla="*/ 10 w 19"/>
                <a:gd name="T11" fmla="*/ 8 h 19"/>
                <a:gd name="T12" fmla="*/ 8 w 19"/>
                <a:gd name="T13" fmla="*/ 10 h 19"/>
                <a:gd name="T14" fmla="*/ 10 w 19"/>
                <a:gd name="T15" fmla="*/ 11 h 19"/>
                <a:gd name="T16" fmla="*/ 11 w 19"/>
                <a:gd name="T17" fmla="*/ 10 h 19"/>
                <a:gd name="T18" fmla="*/ 10 w 19"/>
                <a:gd name="T19" fmla="*/ 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" h="19">
                  <a:moveTo>
                    <a:pt x="10" y="19"/>
                  </a:moveTo>
                  <a:cubicBezTo>
                    <a:pt x="4" y="19"/>
                    <a:pt x="0" y="15"/>
                    <a:pt x="0" y="10"/>
                  </a:cubicBezTo>
                  <a:cubicBezTo>
                    <a:pt x="0" y="4"/>
                    <a:pt x="4" y="0"/>
                    <a:pt x="10" y="0"/>
                  </a:cubicBezTo>
                  <a:cubicBezTo>
                    <a:pt x="15" y="0"/>
                    <a:pt x="19" y="4"/>
                    <a:pt x="19" y="10"/>
                  </a:cubicBezTo>
                  <a:cubicBezTo>
                    <a:pt x="19" y="15"/>
                    <a:pt x="15" y="19"/>
                    <a:pt x="10" y="19"/>
                  </a:cubicBezTo>
                  <a:close/>
                  <a:moveTo>
                    <a:pt x="10" y="8"/>
                  </a:moveTo>
                  <a:cubicBezTo>
                    <a:pt x="9" y="8"/>
                    <a:pt x="8" y="9"/>
                    <a:pt x="8" y="10"/>
                  </a:cubicBezTo>
                  <a:cubicBezTo>
                    <a:pt x="8" y="10"/>
                    <a:pt x="9" y="11"/>
                    <a:pt x="10" y="11"/>
                  </a:cubicBezTo>
                  <a:cubicBezTo>
                    <a:pt x="10" y="11"/>
                    <a:pt x="11" y="10"/>
                    <a:pt x="11" y="10"/>
                  </a:cubicBezTo>
                  <a:cubicBezTo>
                    <a:pt x="11" y="9"/>
                    <a:pt x="10" y="8"/>
                    <a:pt x="1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6" name="Shape16_20200717_154352">
            <a:extLst>
              <a:ext uri="{FF2B5EF4-FFF2-40B4-BE49-F238E27FC236}">
                <a16:creationId xmlns:a16="http://schemas.microsoft.com/office/drawing/2014/main" id="{FF5F0967-5E1E-506D-029E-31C50963EDD2}"/>
              </a:ext>
            </a:extLst>
          </p:cNvPr>
          <p:cNvGrpSpPr>
            <a:grpSpLocks noChangeAspect="1"/>
          </p:cNvGrpSpPr>
          <p:nvPr/>
        </p:nvGrpSpPr>
        <p:grpSpPr>
          <a:xfrm>
            <a:off x="4509304" y="3798626"/>
            <a:ext cx="684827" cy="684826"/>
            <a:chOff x="-4874758" y="5247051"/>
            <a:chExt cx="684827" cy="684826"/>
          </a:xfrm>
          <a:solidFill>
            <a:schemeClr val="accent1"/>
          </a:solidFill>
        </p:grpSpPr>
        <p:sp>
          <p:nvSpPr>
            <p:cNvPr id="165" name="Freeform 140">
              <a:extLst>
                <a:ext uri="{FF2B5EF4-FFF2-40B4-BE49-F238E27FC236}">
                  <a16:creationId xmlns:a16="http://schemas.microsoft.com/office/drawing/2014/main" id="{0E0524BD-93D6-79F9-1587-A205EA3161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874758" y="5247051"/>
              <a:ext cx="684827" cy="684826"/>
            </a:xfrm>
            <a:custGeom>
              <a:avLst/>
              <a:gdLst>
                <a:gd name="T0" fmla="*/ 106 w 272"/>
                <a:gd name="T1" fmla="*/ 252 h 272"/>
                <a:gd name="T2" fmla="*/ 104 w 272"/>
                <a:gd name="T3" fmla="*/ 252 h 272"/>
                <a:gd name="T4" fmla="*/ 52 w 272"/>
                <a:gd name="T5" fmla="*/ 222 h 272"/>
                <a:gd name="T6" fmla="*/ 50 w 272"/>
                <a:gd name="T7" fmla="*/ 220 h 272"/>
                <a:gd name="T8" fmla="*/ 21 w 272"/>
                <a:gd name="T9" fmla="*/ 168 h 272"/>
                <a:gd name="T10" fmla="*/ 20 w 272"/>
                <a:gd name="T11" fmla="*/ 166 h 272"/>
                <a:gd name="T12" fmla="*/ 20 w 272"/>
                <a:gd name="T13" fmla="*/ 106 h 272"/>
                <a:gd name="T14" fmla="*/ 21 w 272"/>
                <a:gd name="T15" fmla="*/ 103 h 272"/>
                <a:gd name="T16" fmla="*/ 50 w 272"/>
                <a:gd name="T17" fmla="*/ 52 h 272"/>
                <a:gd name="T18" fmla="*/ 52 w 272"/>
                <a:gd name="T19" fmla="*/ 50 h 272"/>
                <a:gd name="T20" fmla="*/ 104 w 272"/>
                <a:gd name="T21" fmla="*/ 20 h 272"/>
                <a:gd name="T22" fmla="*/ 106 w 272"/>
                <a:gd name="T23" fmla="*/ 19 h 272"/>
                <a:gd name="T24" fmla="*/ 166 w 272"/>
                <a:gd name="T25" fmla="*/ 19 h 272"/>
                <a:gd name="T26" fmla="*/ 169 w 272"/>
                <a:gd name="T27" fmla="*/ 20 h 272"/>
                <a:gd name="T28" fmla="*/ 220 w 272"/>
                <a:gd name="T29" fmla="*/ 50 h 272"/>
                <a:gd name="T30" fmla="*/ 222 w 272"/>
                <a:gd name="T31" fmla="*/ 52 h 272"/>
                <a:gd name="T32" fmla="*/ 252 w 272"/>
                <a:gd name="T33" fmla="*/ 103 h 272"/>
                <a:gd name="T34" fmla="*/ 253 w 272"/>
                <a:gd name="T35" fmla="*/ 106 h 272"/>
                <a:gd name="T36" fmla="*/ 253 w 272"/>
                <a:gd name="T37" fmla="*/ 166 h 272"/>
                <a:gd name="T38" fmla="*/ 252 w 272"/>
                <a:gd name="T39" fmla="*/ 168 h 272"/>
                <a:gd name="T40" fmla="*/ 222 w 272"/>
                <a:gd name="T41" fmla="*/ 220 h 272"/>
                <a:gd name="T42" fmla="*/ 220 w 272"/>
                <a:gd name="T43" fmla="*/ 222 h 272"/>
                <a:gd name="T44" fmla="*/ 169 w 272"/>
                <a:gd name="T45" fmla="*/ 252 h 272"/>
                <a:gd name="T46" fmla="*/ 166 w 272"/>
                <a:gd name="T47" fmla="*/ 252 h 272"/>
                <a:gd name="T48" fmla="*/ 105 w 272"/>
                <a:gd name="T49" fmla="*/ 243 h 272"/>
                <a:gd name="T50" fmla="*/ 114 w 272"/>
                <a:gd name="T51" fmla="*/ 249 h 272"/>
                <a:gd name="T52" fmla="*/ 159 w 272"/>
                <a:gd name="T53" fmla="*/ 249 h 272"/>
                <a:gd name="T54" fmla="*/ 173 w 272"/>
                <a:gd name="T55" fmla="*/ 245 h 272"/>
                <a:gd name="T56" fmla="*/ 212 w 272"/>
                <a:gd name="T57" fmla="*/ 223 h 272"/>
                <a:gd name="T58" fmla="*/ 223 w 272"/>
                <a:gd name="T59" fmla="*/ 212 h 272"/>
                <a:gd name="T60" fmla="*/ 245 w 272"/>
                <a:gd name="T61" fmla="*/ 173 h 272"/>
                <a:gd name="T62" fmla="*/ 249 w 272"/>
                <a:gd name="T63" fmla="*/ 158 h 272"/>
                <a:gd name="T64" fmla="*/ 249 w 272"/>
                <a:gd name="T65" fmla="*/ 113 h 272"/>
                <a:gd name="T66" fmla="*/ 245 w 272"/>
                <a:gd name="T67" fmla="*/ 99 h 272"/>
                <a:gd name="T68" fmla="*/ 223 w 272"/>
                <a:gd name="T69" fmla="*/ 60 h 272"/>
                <a:gd name="T70" fmla="*/ 212 w 272"/>
                <a:gd name="T71" fmla="*/ 49 h 272"/>
                <a:gd name="T72" fmla="*/ 173 w 272"/>
                <a:gd name="T73" fmla="*/ 27 h 272"/>
                <a:gd name="T74" fmla="*/ 159 w 272"/>
                <a:gd name="T75" fmla="*/ 23 h 272"/>
                <a:gd name="T76" fmla="*/ 114 w 272"/>
                <a:gd name="T77" fmla="*/ 23 h 272"/>
                <a:gd name="T78" fmla="*/ 99 w 272"/>
                <a:gd name="T79" fmla="*/ 27 h 272"/>
                <a:gd name="T80" fmla="*/ 60 w 272"/>
                <a:gd name="T81" fmla="*/ 49 h 272"/>
                <a:gd name="T82" fmla="*/ 49 w 272"/>
                <a:gd name="T83" fmla="*/ 60 h 272"/>
                <a:gd name="T84" fmla="*/ 27 w 272"/>
                <a:gd name="T85" fmla="*/ 99 h 272"/>
                <a:gd name="T86" fmla="*/ 23 w 272"/>
                <a:gd name="T87" fmla="*/ 113 h 272"/>
                <a:gd name="T88" fmla="*/ 23 w 272"/>
                <a:gd name="T89" fmla="*/ 158 h 272"/>
                <a:gd name="T90" fmla="*/ 27 w 272"/>
                <a:gd name="T91" fmla="*/ 173 h 272"/>
                <a:gd name="T92" fmla="*/ 49 w 272"/>
                <a:gd name="T93" fmla="*/ 212 h 272"/>
                <a:gd name="T94" fmla="*/ 60 w 272"/>
                <a:gd name="T95" fmla="*/ 223 h 272"/>
                <a:gd name="T96" fmla="*/ 99 w 272"/>
                <a:gd name="T97" fmla="*/ 245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72" h="272">
                  <a:moveTo>
                    <a:pt x="136" y="272"/>
                  </a:moveTo>
                  <a:cubicBezTo>
                    <a:pt x="123" y="272"/>
                    <a:pt x="112" y="264"/>
                    <a:pt x="106" y="252"/>
                  </a:cubicBezTo>
                  <a:cubicBezTo>
                    <a:pt x="106" y="252"/>
                    <a:pt x="106" y="251"/>
                    <a:pt x="105" y="251"/>
                  </a:cubicBezTo>
                  <a:cubicBezTo>
                    <a:pt x="105" y="251"/>
                    <a:pt x="105" y="251"/>
                    <a:pt x="104" y="252"/>
                  </a:cubicBezTo>
                  <a:cubicBezTo>
                    <a:pt x="94" y="259"/>
                    <a:pt x="80" y="260"/>
                    <a:pt x="68" y="254"/>
                  </a:cubicBezTo>
                  <a:cubicBezTo>
                    <a:pt x="57" y="247"/>
                    <a:pt x="51" y="235"/>
                    <a:pt x="52" y="222"/>
                  </a:cubicBezTo>
                  <a:cubicBezTo>
                    <a:pt x="52" y="221"/>
                    <a:pt x="52" y="221"/>
                    <a:pt x="52" y="220"/>
                  </a:cubicBezTo>
                  <a:cubicBezTo>
                    <a:pt x="51" y="220"/>
                    <a:pt x="51" y="220"/>
                    <a:pt x="50" y="220"/>
                  </a:cubicBezTo>
                  <a:cubicBezTo>
                    <a:pt x="37" y="221"/>
                    <a:pt x="25" y="215"/>
                    <a:pt x="19" y="204"/>
                  </a:cubicBezTo>
                  <a:cubicBezTo>
                    <a:pt x="12" y="193"/>
                    <a:pt x="13" y="179"/>
                    <a:pt x="21" y="168"/>
                  </a:cubicBezTo>
                  <a:cubicBezTo>
                    <a:pt x="21" y="168"/>
                    <a:pt x="21" y="167"/>
                    <a:pt x="21" y="167"/>
                  </a:cubicBezTo>
                  <a:cubicBezTo>
                    <a:pt x="21" y="166"/>
                    <a:pt x="20" y="166"/>
                    <a:pt x="20" y="166"/>
                  </a:cubicBezTo>
                  <a:cubicBezTo>
                    <a:pt x="8" y="161"/>
                    <a:pt x="0" y="149"/>
                    <a:pt x="0" y="136"/>
                  </a:cubicBezTo>
                  <a:cubicBezTo>
                    <a:pt x="0" y="123"/>
                    <a:pt x="8" y="111"/>
                    <a:pt x="20" y="106"/>
                  </a:cubicBezTo>
                  <a:cubicBezTo>
                    <a:pt x="20" y="106"/>
                    <a:pt x="21" y="105"/>
                    <a:pt x="21" y="105"/>
                  </a:cubicBezTo>
                  <a:cubicBezTo>
                    <a:pt x="21" y="105"/>
                    <a:pt x="21" y="104"/>
                    <a:pt x="21" y="103"/>
                  </a:cubicBezTo>
                  <a:cubicBezTo>
                    <a:pt x="13" y="93"/>
                    <a:pt x="12" y="79"/>
                    <a:pt x="19" y="68"/>
                  </a:cubicBezTo>
                  <a:cubicBezTo>
                    <a:pt x="25" y="57"/>
                    <a:pt x="37" y="50"/>
                    <a:pt x="50" y="52"/>
                  </a:cubicBezTo>
                  <a:cubicBezTo>
                    <a:pt x="51" y="52"/>
                    <a:pt x="51" y="51"/>
                    <a:pt x="52" y="51"/>
                  </a:cubicBezTo>
                  <a:cubicBezTo>
                    <a:pt x="52" y="51"/>
                    <a:pt x="52" y="50"/>
                    <a:pt x="52" y="50"/>
                  </a:cubicBezTo>
                  <a:cubicBezTo>
                    <a:pt x="51" y="37"/>
                    <a:pt x="57" y="24"/>
                    <a:pt x="68" y="18"/>
                  </a:cubicBezTo>
                  <a:cubicBezTo>
                    <a:pt x="80" y="12"/>
                    <a:pt x="94" y="12"/>
                    <a:pt x="104" y="20"/>
                  </a:cubicBezTo>
                  <a:cubicBezTo>
                    <a:pt x="105" y="20"/>
                    <a:pt x="105" y="20"/>
                    <a:pt x="105" y="20"/>
                  </a:cubicBezTo>
                  <a:cubicBezTo>
                    <a:pt x="106" y="20"/>
                    <a:pt x="106" y="20"/>
                    <a:pt x="106" y="19"/>
                  </a:cubicBezTo>
                  <a:cubicBezTo>
                    <a:pt x="112" y="7"/>
                    <a:pt x="123" y="0"/>
                    <a:pt x="136" y="0"/>
                  </a:cubicBezTo>
                  <a:cubicBezTo>
                    <a:pt x="149" y="0"/>
                    <a:pt x="161" y="7"/>
                    <a:pt x="166" y="19"/>
                  </a:cubicBezTo>
                  <a:cubicBezTo>
                    <a:pt x="167" y="20"/>
                    <a:pt x="167" y="20"/>
                    <a:pt x="167" y="20"/>
                  </a:cubicBezTo>
                  <a:cubicBezTo>
                    <a:pt x="168" y="20"/>
                    <a:pt x="168" y="20"/>
                    <a:pt x="169" y="20"/>
                  </a:cubicBezTo>
                  <a:cubicBezTo>
                    <a:pt x="179" y="12"/>
                    <a:pt x="193" y="12"/>
                    <a:pt x="204" y="18"/>
                  </a:cubicBezTo>
                  <a:cubicBezTo>
                    <a:pt x="215" y="24"/>
                    <a:pt x="222" y="37"/>
                    <a:pt x="220" y="50"/>
                  </a:cubicBezTo>
                  <a:cubicBezTo>
                    <a:pt x="220" y="50"/>
                    <a:pt x="221" y="51"/>
                    <a:pt x="221" y="51"/>
                  </a:cubicBezTo>
                  <a:cubicBezTo>
                    <a:pt x="221" y="51"/>
                    <a:pt x="222" y="52"/>
                    <a:pt x="222" y="52"/>
                  </a:cubicBezTo>
                  <a:cubicBezTo>
                    <a:pt x="235" y="50"/>
                    <a:pt x="248" y="57"/>
                    <a:pt x="254" y="68"/>
                  </a:cubicBezTo>
                  <a:cubicBezTo>
                    <a:pt x="261" y="79"/>
                    <a:pt x="260" y="93"/>
                    <a:pt x="252" y="103"/>
                  </a:cubicBezTo>
                  <a:cubicBezTo>
                    <a:pt x="252" y="104"/>
                    <a:pt x="252" y="105"/>
                    <a:pt x="252" y="105"/>
                  </a:cubicBezTo>
                  <a:cubicBezTo>
                    <a:pt x="252" y="105"/>
                    <a:pt x="252" y="106"/>
                    <a:pt x="253" y="106"/>
                  </a:cubicBezTo>
                  <a:cubicBezTo>
                    <a:pt x="265" y="111"/>
                    <a:pt x="272" y="123"/>
                    <a:pt x="272" y="136"/>
                  </a:cubicBezTo>
                  <a:cubicBezTo>
                    <a:pt x="272" y="149"/>
                    <a:pt x="265" y="161"/>
                    <a:pt x="253" y="166"/>
                  </a:cubicBezTo>
                  <a:cubicBezTo>
                    <a:pt x="252" y="166"/>
                    <a:pt x="252" y="166"/>
                    <a:pt x="252" y="167"/>
                  </a:cubicBezTo>
                  <a:cubicBezTo>
                    <a:pt x="252" y="167"/>
                    <a:pt x="252" y="168"/>
                    <a:pt x="252" y="168"/>
                  </a:cubicBezTo>
                  <a:cubicBezTo>
                    <a:pt x="260" y="179"/>
                    <a:pt x="261" y="193"/>
                    <a:pt x="254" y="204"/>
                  </a:cubicBezTo>
                  <a:cubicBezTo>
                    <a:pt x="248" y="215"/>
                    <a:pt x="235" y="221"/>
                    <a:pt x="222" y="220"/>
                  </a:cubicBezTo>
                  <a:cubicBezTo>
                    <a:pt x="222" y="220"/>
                    <a:pt x="221" y="220"/>
                    <a:pt x="221" y="220"/>
                  </a:cubicBezTo>
                  <a:cubicBezTo>
                    <a:pt x="221" y="221"/>
                    <a:pt x="220" y="221"/>
                    <a:pt x="220" y="222"/>
                  </a:cubicBezTo>
                  <a:cubicBezTo>
                    <a:pt x="222" y="235"/>
                    <a:pt x="215" y="247"/>
                    <a:pt x="204" y="254"/>
                  </a:cubicBezTo>
                  <a:cubicBezTo>
                    <a:pt x="193" y="260"/>
                    <a:pt x="179" y="259"/>
                    <a:pt x="169" y="252"/>
                  </a:cubicBezTo>
                  <a:cubicBezTo>
                    <a:pt x="168" y="251"/>
                    <a:pt x="168" y="251"/>
                    <a:pt x="167" y="251"/>
                  </a:cubicBezTo>
                  <a:cubicBezTo>
                    <a:pt x="167" y="251"/>
                    <a:pt x="167" y="252"/>
                    <a:pt x="166" y="252"/>
                  </a:cubicBezTo>
                  <a:cubicBezTo>
                    <a:pt x="161" y="264"/>
                    <a:pt x="149" y="272"/>
                    <a:pt x="136" y="272"/>
                  </a:cubicBezTo>
                  <a:close/>
                  <a:moveTo>
                    <a:pt x="105" y="243"/>
                  </a:moveTo>
                  <a:cubicBezTo>
                    <a:pt x="106" y="243"/>
                    <a:pt x="107" y="243"/>
                    <a:pt x="107" y="243"/>
                  </a:cubicBezTo>
                  <a:cubicBezTo>
                    <a:pt x="110" y="244"/>
                    <a:pt x="113" y="246"/>
                    <a:pt x="114" y="249"/>
                  </a:cubicBezTo>
                  <a:cubicBezTo>
                    <a:pt x="118" y="258"/>
                    <a:pt x="127" y="264"/>
                    <a:pt x="136" y="264"/>
                  </a:cubicBezTo>
                  <a:cubicBezTo>
                    <a:pt x="146" y="264"/>
                    <a:pt x="155" y="258"/>
                    <a:pt x="159" y="249"/>
                  </a:cubicBezTo>
                  <a:cubicBezTo>
                    <a:pt x="160" y="246"/>
                    <a:pt x="162" y="244"/>
                    <a:pt x="165" y="243"/>
                  </a:cubicBezTo>
                  <a:cubicBezTo>
                    <a:pt x="168" y="243"/>
                    <a:pt x="171" y="243"/>
                    <a:pt x="173" y="245"/>
                  </a:cubicBezTo>
                  <a:cubicBezTo>
                    <a:pt x="181" y="251"/>
                    <a:pt x="192" y="251"/>
                    <a:pt x="200" y="246"/>
                  </a:cubicBezTo>
                  <a:cubicBezTo>
                    <a:pt x="209" y="242"/>
                    <a:pt x="213" y="232"/>
                    <a:pt x="212" y="223"/>
                  </a:cubicBezTo>
                  <a:cubicBezTo>
                    <a:pt x="212" y="220"/>
                    <a:pt x="213" y="217"/>
                    <a:pt x="215" y="215"/>
                  </a:cubicBezTo>
                  <a:cubicBezTo>
                    <a:pt x="217" y="212"/>
                    <a:pt x="220" y="211"/>
                    <a:pt x="223" y="212"/>
                  </a:cubicBezTo>
                  <a:cubicBezTo>
                    <a:pt x="233" y="213"/>
                    <a:pt x="242" y="208"/>
                    <a:pt x="247" y="200"/>
                  </a:cubicBezTo>
                  <a:cubicBezTo>
                    <a:pt x="252" y="191"/>
                    <a:pt x="251" y="181"/>
                    <a:pt x="245" y="173"/>
                  </a:cubicBezTo>
                  <a:cubicBezTo>
                    <a:pt x="244" y="171"/>
                    <a:pt x="243" y="168"/>
                    <a:pt x="244" y="165"/>
                  </a:cubicBezTo>
                  <a:cubicBezTo>
                    <a:pt x="245" y="162"/>
                    <a:pt x="247" y="159"/>
                    <a:pt x="249" y="158"/>
                  </a:cubicBezTo>
                  <a:cubicBezTo>
                    <a:pt x="258" y="154"/>
                    <a:pt x="264" y="145"/>
                    <a:pt x="264" y="136"/>
                  </a:cubicBezTo>
                  <a:cubicBezTo>
                    <a:pt x="264" y="126"/>
                    <a:pt x="258" y="117"/>
                    <a:pt x="249" y="113"/>
                  </a:cubicBezTo>
                  <a:cubicBezTo>
                    <a:pt x="247" y="112"/>
                    <a:pt x="245" y="110"/>
                    <a:pt x="244" y="107"/>
                  </a:cubicBezTo>
                  <a:cubicBezTo>
                    <a:pt x="243" y="104"/>
                    <a:pt x="244" y="101"/>
                    <a:pt x="245" y="99"/>
                  </a:cubicBezTo>
                  <a:cubicBezTo>
                    <a:pt x="251" y="91"/>
                    <a:pt x="252" y="80"/>
                    <a:pt x="247" y="72"/>
                  </a:cubicBezTo>
                  <a:cubicBezTo>
                    <a:pt x="242" y="64"/>
                    <a:pt x="233" y="59"/>
                    <a:pt x="223" y="60"/>
                  </a:cubicBezTo>
                  <a:cubicBezTo>
                    <a:pt x="220" y="60"/>
                    <a:pt x="217" y="59"/>
                    <a:pt x="215" y="57"/>
                  </a:cubicBezTo>
                  <a:cubicBezTo>
                    <a:pt x="213" y="55"/>
                    <a:pt x="212" y="52"/>
                    <a:pt x="212" y="49"/>
                  </a:cubicBezTo>
                  <a:cubicBezTo>
                    <a:pt x="213" y="39"/>
                    <a:pt x="209" y="30"/>
                    <a:pt x="200" y="25"/>
                  </a:cubicBezTo>
                  <a:cubicBezTo>
                    <a:pt x="192" y="20"/>
                    <a:pt x="181" y="21"/>
                    <a:pt x="173" y="27"/>
                  </a:cubicBezTo>
                  <a:cubicBezTo>
                    <a:pt x="171" y="28"/>
                    <a:pt x="168" y="29"/>
                    <a:pt x="165" y="28"/>
                  </a:cubicBezTo>
                  <a:cubicBezTo>
                    <a:pt x="162" y="27"/>
                    <a:pt x="160" y="25"/>
                    <a:pt x="159" y="23"/>
                  </a:cubicBezTo>
                  <a:cubicBezTo>
                    <a:pt x="155" y="14"/>
                    <a:pt x="146" y="8"/>
                    <a:pt x="136" y="8"/>
                  </a:cubicBezTo>
                  <a:cubicBezTo>
                    <a:pt x="127" y="8"/>
                    <a:pt x="118" y="14"/>
                    <a:pt x="114" y="23"/>
                  </a:cubicBezTo>
                  <a:cubicBezTo>
                    <a:pt x="113" y="25"/>
                    <a:pt x="110" y="27"/>
                    <a:pt x="107" y="28"/>
                  </a:cubicBezTo>
                  <a:cubicBezTo>
                    <a:pt x="105" y="29"/>
                    <a:pt x="102" y="28"/>
                    <a:pt x="99" y="27"/>
                  </a:cubicBezTo>
                  <a:cubicBezTo>
                    <a:pt x="91" y="21"/>
                    <a:pt x="81" y="20"/>
                    <a:pt x="72" y="25"/>
                  </a:cubicBezTo>
                  <a:cubicBezTo>
                    <a:pt x="64" y="30"/>
                    <a:pt x="59" y="39"/>
                    <a:pt x="60" y="49"/>
                  </a:cubicBezTo>
                  <a:cubicBezTo>
                    <a:pt x="61" y="52"/>
                    <a:pt x="60" y="55"/>
                    <a:pt x="58" y="57"/>
                  </a:cubicBezTo>
                  <a:cubicBezTo>
                    <a:pt x="55" y="59"/>
                    <a:pt x="52" y="60"/>
                    <a:pt x="49" y="60"/>
                  </a:cubicBezTo>
                  <a:cubicBezTo>
                    <a:pt x="40" y="59"/>
                    <a:pt x="30" y="64"/>
                    <a:pt x="26" y="72"/>
                  </a:cubicBezTo>
                  <a:cubicBezTo>
                    <a:pt x="21" y="80"/>
                    <a:pt x="21" y="91"/>
                    <a:pt x="27" y="99"/>
                  </a:cubicBezTo>
                  <a:cubicBezTo>
                    <a:pt x="29" y="101"/>
                    <a:pt x="29" y="104"/>
                    <a:pt x="29" y="107"/>
                  </a:cubicBezTo>
                  <a:cubicBezTo>
                    <a:pt x="28" y="110"/>
                    <a:pt x="26" y="112"/>
                    <a:pt x="23" y="113"/>
                  </a:cubicBezTo>
                  <a:cubicBezTo>
                    <a:pt x="14" y="117"/>
                    <a:pt x="9" y="126"/>
                    <a:pt x="9" y="136"/>
                  </a:cubicBezTo>
                  <a:cubicBezTo>
                    <a:pt x="9" y="145"/>
                    <a:pt x="14" y="154"/>
                    <a:pt x="23" y="158"/>
                  </a:cubicBezTo>
                  <a:cubicBezTo>
                    <a:pt x="26" y="159"/>
                    <a:pt x="28" y="162"/>
                    <a:pt x="29" y="165"/>
                  </a:cubicBezTo>
                  <a:cubicBezTo>
                    <a:pt x="29" y="168"/>
                    <a:pt x="29" y="171"/>
                    <a:pt x="27" y="173"/>
                  </a:cubicBezTo>
                  <a:cubicBezTo>
                    <a:pt x="21" y="181"/>
                    <a:pt x="21" y="191"/>
                    <a:pt x="26" y="200"/>
                  </a:cubicBezTo>
                  <a:cubicBezTo>
                    <a:pt x="30" y="208"/>
                    <a:pt x="40" y="213"/>
                    <a:pt x="49" y="212"/>
                  </a:cubicBezTo>
                  <a:cubicBezTo>
                    <a:pt x="52" y="211"/>
                    <a:pt x="55" y="212"/>
                    <a:pt x="58" y="215"/>
                  </a:cubicBezTo>
                  <a:cubicBezTo>
                    <a:pt x="60" y="217"/>
                    <a:pt x="61" y="220"/>
                    <a:pt x="60" y="223"/>
                  </a:cubicBezTo>
                  <a:cubicBezTo>
                    <a:pt x="59" y="232"/>
                    <a:pt x="64" y="242"/>
                    <a:pt x="72" y="246"/>
                  </a:cubicBezTo>
                  <a:cubicBezTo>
                    <a:pt x="81" y="251"/>
                    <a:pt x="91" y="251"/>
                    <a:pt x="99" y="245"/>
                  </a:cubicBezTo>
                  <a:cubicBezTo>
                    <a:pt x="101" y="244"/>
                    <a:pt x="103" y="243"/>
                    <a:pt x="105" y="24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6" name="Freeform 141">
              <a:extLst>
                <a:ext uri="{FF2B5EF4-FFF2-40B4-BE49-F238E27FC236}">
                  <a16:creationId xmlns:a16="http://schemas.microsoft.com/office/drawing/2014/main" id="{7232D6A3-95F3-471A-8816-36C3EC05D55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772848" y="5348961"/>
              <a:ext cx="476934" cy="481009"/>
            </a:xfrm>
            <a:custGeom>
              <a:avLst/>
              <a:gdLst>
                <a:gd name="T0" fmla="*/ 95 w 190"/>
                <a:gd name="T1" fmla="*/ 190 h 190"/>
                <a:gd name="T2" fmla="*/ 0 w 190"/>
                <a:gd name="T3" fmla="*/ 95 h 190"/>
                <a:gd name="T4" fmla="*/ 95 w 190"/>
                <a:gd name="T5" fmla="*/ 0 h 190"/>
                <a:gd name="T6" fmla="*/ 190 w 190"/>
                <a:gd name="T7" fmla="*/ 95 h 190"/>
                <a:gd name="T8" fmla="*/ 95 w 190"/>
                <a:gd name="T9" fmla="*/ 190 h 190"/>
                <a:gd name="T10" fmla="*/ 95 w 190"/>
                <a:gd name="T11" fmla="*/ 8 h 190"/>
                <a:gd name="T12" fmla="*/ 9 w 190"/>
                <a:gd name="T13" fmla="*/ 95 h 190"/>
                <a:gd name="T14" fmla="*/ 95 w 190"/>
                <a:gd name="T15" fmla="*/ 182 h 190"/>
                <a:gd name="T16" fmla="*/ 182 w 190"/>
                <a:gd name="T17" fmla="*/ 95 h 190"/>
                <a:gd name="T18" fmla="*/ 95 w 190"/>
                <a:gd name="T19" fmla="*/ 8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0" h="190">
                  <a:moveTo>
                    <a:pt x="95" y="190"/>
                  </a:moveTo>
                  <a:cubicBezTo>
                    <a:pt x="43" y="190"/>
                    <a:pt x="0" y="147"/>
                    <a:pt x="0" y="95"/>
                  </a:cubicBezTo>
                  <a:cubicBezTo>
                    <a:pt x="0" y="42"/>
                    <a:pt x="43" y="0"/>
                    <a:pt x="95" y="0"/>
                  </a:cubicBezTo>
                  <a:cubicBezTo>
                    <a:pt x="148" y="0"/>
                    <a:pt x="190" y="42"/>
                    <a:pt x="190" y="95"/>
                  </a:cubicBezTo>
                  <a:cubicBezTo>
                    <a:pt x="190" y="147"/>
                    <a:pt x="148" y="190"/>
                    <a:pt x="95" y="190"/>
                  </a:cubicBezTo>
                  <a:close/>
                  <a:moveTo>
                    <a:pt x="95" y="8"/>
                  </a:moveTo>
                  <a:cubicBezTo>
                    <a:pt x="47" y="8"/>
                    <a:pt x="9" y="47"/>
                    <a:pt x="9" y="95"/>
                  </a:cubicBezTo>
                  <a:cubicBezTo>
                    <a:pt x="9" y="143"/>
                    <a:pt x="47" y="182"/>
                    <a:pt x="95" y="182"/>
                  </a:cubicBezTo>
                  <a:cubicBezTo>
                    <a:pt x="143" y="182"/>
                    <a:pt x="182" y="143"/>
                    <a:pt x="182" y="95"/>
                  </a:cubicBezTo>
                  <a:cubicBezTo>
                    <a:pt x="182" y="47"/>
                    <a:pt x="143" y="8"/>
                    <a:pt x="95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7" name="Freeform 142">
              <a:extLst>
                <a:ext uri="{FF2B5EF4-FFF2-40B4-BE49-F238E27FC236}">
                  <a16:creationId xmlns:a16="http://schemas.microsoft.com/office/drawing/2014/main" id="{36ABF640-29AD-E9D9-2F40-BA71804AD2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691321" y="5434563"/>
              <a:ext cx="317955" cy="309802"/>
            </a:xfrm>
            <a:custGeom>
              <a:avLst/>
              <a:gdLst>
                <a:gd name="T0" fmla="*/ 97 w 127"/>
                <a:gd name="T1" fmla="*/ 122 h 123"/>
                <a:gd name="T2" fmla="*/ 93 w 127"/>
                <a:gd name="T3" fmla="*/ 121 h 123"/>
                <a:gd name="T4" fmla="*/ 63 w 127"/>
                <a:gd name="T5" fmla="*/ 103 h 123"/>
                <a:gd name="T6" fmla="*/ 34 w 127"/>
                <a:gd name="T7" fmla="*/ 121 h 123"/>
                <a:gd name="T8" fmla="*/ 34 w 127"/>
                <a:gd name="T9" fmla="*/ 121 h 123"/>
                <a:gd name="T10" fmla="*/ 25 w 127"/>
                <a:gd name="T11" fmla="*/ 120 h 123"/>
                <a:gd name="T12" fmla="*/ 21 w 127"/>
                <a:gd name="T13" fmla="*/ 112 h 123"/>
                <a:gd name="T14" fmla="*/ 29 w 127"/>
                <a:gd name="T15" fmla="*/ 77 h 123"/>
                <a:gd name="T16" fmla="*/ 4 w 127"/>
                <a:gd name="T17" fmla="*/ 56 h 123"/>
                <a:gd name="T18" fmla="*/ 1 w 127"/>
                <a:gd name="T19" fmla="*/ 47 h 123"/>
                <a:gd name="T20" fmla="*/ 8 w 127"/>
                <a:gd name="T21" fmla="*/ 41 h 123"/>
                <a:gd name="T22" fmla="*/ 40 w 127"/>
                <a:gd name="T23" fmla="*/ 37 h 123"/>
                <a:gd name="T24" fmla="*/ 56 w 127"/>
                <a:gd name="T25" fmla="*/ 5 h 123"/>
                <a:gd name="T26" fmla="*/ 63 w 127"/>
                <a:gd name="T27" fmla="*/ 0 h 123"/>
                <a:gd name="T28" fmla="*/ 71 w 127"/>
                <a:gd name="T29" fmla="*/ 5 h 123"/>
                <a:gd name="T30" fmla="*/ 87 w 127"/>
                <a:gd name="T31" fmla="*/ 37 h 123"/>
                <a:gd name="T32" fmla="*/ 119 w 127"/>
                <a:gd name="T33" fmla="*/ 41 h 123"/>
                <a:gd name="T34" fmla="*/ 126 w 127"/>
                <a:gd name="T35" fmla="*/ 47 h 123"/>
                <a:gd name="T36" fmla="*/ 123 w 127"/>
                <a:gd name="T37" fmla="*/ 56 h 123"/>
                <a:gd name="T38" fmla="*/ 98 w 127"/>
                <a:gd name="T39" fmla="*/ 77 h 123"/>
                <a:gd name="T40" fmla="*/ 105 w 127"/>
                <a:gd name="T41" fmla="*/ 112 h 123"/>
                <a:gd name="T42" fmla="*/ 102 w 127"/>
                <a:gd name="T43" fmla="*/ 120 h 123"/>
                <a:gd name="T44" fmla="*/ 97 w 127"/>
                <a:gd name="T45" fmla="*/ 122 h 123"/>
                <a:gd name="T46" fmla="*/ 63 w 127"/>
                <a:gd name="T47" fmla="*/ 8 h 123"/>
                <a:gd name="T48" fmla="*/ 63 w 127"/>
                <a:gd name="T49" fmla="*/ 9 h 123"/>
                <a:gd name="T50" fmla="*/ 47 w 127"/>
                <a:gd name="T51" fmla="*/ 43 h 123"/>
                <a:gd name="T52" fmla="*/ 43 w 127"/>
                <a:gd name="T53" fmla="*/ 45 h 123"/>
                <a:gd name="T54" fmla="*/ 9 w 127"/>
                <a:gd name="T55" fmla="*/ 49 h 123"/>
                <a:gd name="T56" fmla="*/ 9 w 127"/>
                <a:gd name="T57" fmla="*/ 49 h 123"/>
                <a:gd name="T58" fmla="*/ 9 w 127"/>
                <a:gd name="T59" fmla="*/ 49 h 123"/>
                <a:gd name="T60" fmla="*/ 36 w 127"/>
                <a:gd name="T61" fmla="*/ 72 h 123"/>
                <a:gd name="T62" fmla="*/ 37 w 127"/>
                <a:gd name="T63" fmla="*/ 76 h 123"/>
                <a:gd name="T64" fmla="*/ 29 w 127"/>
                <a:gd name="T65" fmla="*/ 113 h 123"/>
                <a:gd name="T66" fmla="*/ 29 w 127"/>
                <a:gd name="T67" fmla="*/ 114 h 123"/>
                <a:gd name="T68" fmla="*/ 30 w 127"/>
                <a:gd name="T69" fmla="*/ 114 h 123"/>
                <a:gd name="T70" fmla="*/ 30 w 127"/>
                <a:gd name="T71" fmla="*/ 114 h 123"/>
                <a:gd name="T72" fmla="*/ 61 w 127"/>
                <a:gd name="T73" fmla="*/ 95 h 123"/>
                <a:gd name="T74" fmla="*/ 65 w 127"/>
                <a:gd name="T75" fmla="*/ 95 h 123"/>
                <a:gd name="T76" fmla="*/ 97 w 127"/>
                <a:gd name="T77" fmla="*/ 114 h 123"/>
                <a:gd name="T78" fmla="*/ 97 w 127"/>
                <a:gd name="T79" fmla="*/ 114 h 123"/>
                <a:gd name="T80" fmla="*/ 97 w 127"/>
                <a:gd name="T81" fmla="*/ 113 h 123"/>
                <a:gd name="T82" fmla="*/ 89 w 127"/>
                <a:gd name="T83" fmla="*/ 76 h 123"/>
                <a:gd name="T84" fmla="*/ 91 w 127"/>
                <a:gd name="T85" fmla="*/ 72 h 123"/>
                <a:gd name="T86" fmla="*/ 118 w 127"/>
                <a:gd name="T87" fmla="*/ 49 h 123"/>
                <a:gd name="T88" fmla="*/ 118 w 127"/>
                <a:gd name="T89" fmla="*/ 49 h 123"/>
                <a:gd name="T90" fmla="*/ 118 w 127"/>
                <a:gd name="T91" fmla="*/ 49 h 123"/>
                <a:gd name="T92" fmla="*/ 83 w 127"/>
                <a:gd name="T93" fmla="*/ 45 h 123"/>
                <a:gd name="T94" fmla="*/ 80 w 127"/>
                <a:gd name="T95" fmla="*/ 43 h 123"/>
                <a:gd name="T96" fmla="*/ 64 w 127"/>
                <a:gd name="T97" fmla="*/ 9 h 123"/>
                <a:gd name="T98" fmla="*/ 63 w 127"/>
                <a:gd name="T99" fmla="*/ 8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27" h="123">
                  <a:moveTo>
                    <a:pt x="97" y="122"/>
                  </a:moveTo>
                  <a:cubicBezTo>
                    <a:pt x="96" y="122"/>
                    <a:pt x="94" y="122"/>
                    <a:pt x="93" y="121"/>
                  </a:cubicBezTo>
                  <a:cubicBezTo>
                    <a:pt x="63" y="103"/>
                    <a:pt x="63" y="103"/>
                    <a:pt x="63" y="103"/>
                  </a:cubicBezTo>
                  <a:cubicBezTo>
                    <a:pt x="34" y="121"/>
                    <a:pt x="34" y="121"/>
                    <a:pt x="34" y="121"/>
                  </a:cubicBezTo>
                  <a:cubicBezTo>
                    <a:pt x="34" y="121"/>
                    <a:pt x="34" y="121"/>
                    <a:pt x="34" y="121"/>
                  </a:cubicBezTo>
                  <a:cubicBezTo>
                    <a:pt x="31" y="123"/>
                    <a:pt x="27" y="122"/>
                    <a:pt x="25" y="120"/>
                  </a:cubicBezTo>
                  <a:cubicBezTo>
                    <a:pt x="22" y="118"/>
                    <a:pt x="20" y="115"/>
                    <a:pt x="21" y="112"/>
                  </a:cubicBezTo>
                  <a:cubicBezTo>
                    <a:pt x="29" y="77"/>
                    <a:pt x="29" y="77"/>
                    <a:pt x="29" y="77"/>
                  </a:cubicBezTo>
                  <a:cubicBezTo>
                    <a:pt x="4" y="56"/>
                    <a:pt x="4" y="56"/>
                    <a:pt x="4" y="56"/>
                  </a:cubicBezTo>
                  <a:cubicBezTo>
                    <a:pt x="1" y="54"/>
                    <a:pt x="0" y="50"/>
                    <a:pt x="1" y="47"/>
                  </a:cubicBezTo>
                  <a:cubicBezTo>
                    <a:pt x="2" y="43"/>
                    <a:pt x="5" y="41"/>
                    <a:pt x="8" y="41"/>
                  </a:cubicBezTo>
                  <a:cubicBezTo>
                    <a:pt x="40" y="37"/>
                    <a:pt x="40" y="37"/>
                    <a:pt x="40" y="37"/>
                  </a:cubicBezTo>
                  <a:cubicBezTo>
                    <a:pt x="56" y="5"/>
                    <a:pt x="56" y="5"/>
                    <a:pt x="56" y="5"/>
                  </a:cubicBezTo>
                  <a:cubicBezTo>
                    <a:pt x="57" y="2"/>
                    <a:pt x="60" y="0"/>
                    <a:pt x="63" y="0"/>
                  </a:cubicBezTo>
                  <a:cubicBezTo>
                    <a:pt x="67" y="0"/>
                    <a:pt x="70" y="2"/>
                    <a:pt x="71" y="5"/>
                  </a:cubicBezTo>
                  <a:cubicBezTo>
                    <a:pt x="87" y="37"/>
                    <a:pt x="87" y="37"/>
                    <a:pt x="87" y="37"/>
                  </a:cubicBezTo>
                  <a:cubicBezTo>
                    <a:pt x="119" y="41"/>
                    <a:pt x="119" y="41"/>
                    <a:pt x="119" y="41"/>
                  </a:cubicBezTo>
                  <a:cubicBezTo>
                    <a:pt x="122" y="41"/>
                    <a:pt x="125" y="43"/>
                    <a:pt x="126" y="47"/>
                  </a:cubicBezTo>
                  <a:cubicBezTo>
                    <a:pt x="127" y="50"/>
                    <a:pt x="126" y="54"/>
                    <a:pt x="123" y="56"/>
                  </a:cubicBezTo>
                  <a:cubicBezTo>
                    <a:pt x="98" y="77"/>
                    <a:pt x="98" y="77"/>
                    <a:pt x="98" y="77"/>
                  </a:cubicBezTo>
                  <a:cubicBezTo>
                    <a:pt x="105" y="112"/>
                    <a:pt x="105" y="112"/>
                    <a:pt x="105" y="112"/>
                  </a:cubicBezTo>
                  <a:cubicBezTo>
                    <a:pt x="106" y="115"/>
                    <a:pt x="105" y="118"/>
                    <a:pt x="102" y="120"/>
                  </a:cubicBezTo>
                  <a:cubicBezTo>
                    <a:pt x="101" y="121"/>
                    <a:pt x="99" y="122"/>
                    <a:pt x="97" y="122"/>
                  </a:cubicBezTo>
                  <a:close/>
                  <a:moveTo>
                    <a:pt x="63" y="8"/>
                  </a:moveTo>
                  <a:cubicBezTo>
                    <a:pt x="63" y="8"/>
                    <a:pt x="63" y="8"/>
                    <a:pt x="63" y="9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6" y="44"/>
                    <a:pt x="45" y="45"/>
                    <a:pt x="43" y="45"/>
                  </a:cubicBezTo>
                  <a:cubicBezTo>
                    <a:pt x="9" y="49"/>
                    <a:pt x="9" y="49"/>
                    <a:pt x="9" y="49"/>
                  </a:cubicBezTo>
                  <a:cubicBezTo>
                    <a:pt x="9" y="49"/>
                    <a:pt x="9" y="49"/>
                    <a:pt x="9" y="49"/>
                  </a:cubicBezTo>
                  <a:cubicBezTo>
                    <a:pt x="9" y="49"/>
                    <a:pt x="9" y="49"/>
                    <a:pt x="9" y="49"/>
                  </a:cubicBezTo>
                  <a:cubicBezTo>
                    <a:pt x="36" y="72"/>
                    <a:pt x="36" y="72"/>
                    <a:pt x="36" y="72"/>
                  </a:cubicBezTo>
                  <a:cubicBezTo>
                    <a:pt x="37" y="73"/>
                    <a:pt x="38" y="75"/>
                    <a:pt x="37" y="76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29" y="113"/>
                    <a:pt x="29" y="114"/>
                    <a:pt x="29" y="114"/>
                  </a:cubicBezTo>
                  <a:cubicBezTo>
                    <a:pt x="30" y="114"/>
                    <a:pt x="30" y="114"/>
                    <a:pt x="30" y="114"/>
                  </a:cubicBezTo>
                  <a:cubicBezTo>
                    <a:pt x="30" y="114"/>
                    <a:pt x="30" y="114"/>
                    <a:pt x="30" y="114"/>
                  </a:cubicBezTo>
                  <a:cubicBezTo>
                    <a:pt x="61" y="95"/>
                    <a:pt x="61" y="95"/>
                    <a:pt x="61" y="95"/>
                  </a:cubicBezTo>
                  <a:cubicBezTo>
                    <a:pt x="62" y="94"/>
                    <a:pt x="64" y="94"/>
                    <a:pt x="65" y="95"/>
                  </a:cubicBezTo>
                  <a:cubicBezTo>
                    <a:pt x="97" y="114"/>
                    <a:pt x="97" y="114"/>
                    <a:pt x="97" y="114"/>
                  </a:cubicBezTo>
                  <a:cubicBezTo>
                    <a:pt x="97" y="114"/>
                    <a:pt x="97" y="114"/>
                    <a:pt x="97" y="114"/>
                  </a:cubicBezTo>
                  <a:cubicBezTo>
                    <a:pt x="97" y="114"/>
                    <a:pt x="97" y="113"/>
                    <a:pt x="97" y="113"/>
                  </a:cubicBezTo>
                  <a:cubicBezTo>
                    <a:pt x="89" y="76"/>
                    <a:pt x="89" y="76"/>
                    <a:pt x="89" y="76"/>
                  </a:cubicBezTo>
                  <a:cubicBezTo>
                    <a:pt x="89" y="75"/>
                    <a:pt x="90" y="73"/>
                    <a:pt x="91" y="72"/>
                  </a:cubicBezTo>
                  <a:cubicBezTo>
                    <a:pt x="118" y="49"/>
                    <a:pt x="118" y="49"/>
                    <a:pt x="118" y="49"/>
                  </a:cubicBezTo>
                  <a:cubicBezTo>
                    <a:pt x="118" y="49"/>
                    <a:pt x="118" y="49"/>
                    <a:pt x="118" y="49"/>
                  </a:cubicBezTo>
                  <a:cubicBezTo>
                    <a:pt x="118" y="49"/>
                    <a:pt x="118" y="49"/>
                    <a:pt x="118" y="49"/>
                  </a:cubicBezTo>
                  <a:cubicBezTo>
                    <a:pt x="83" y="45"/>
                    <a:pt x="83" y="45"/>
                    <a:pt x="83" y="45"/>
                  </a:cubicBezTo>
                  <a:cubicBezTo>
                    <a:pt x="82" y="45"/>
                    <a:pt x="81" y="44"/>
                    <a:pt x="80" y="43"/>
                  </a:cubicBezTo>
                  <a:cubicBezTo>
                    <a:pt x="64" y="9"/>
                    <a:pt x="64" y="9"/>
                    <a:pt x="64" y="9"/>
                  </a:cubicBezTo>
                  <a:cubicBezTo>
                    <a:pt x="64" y="8"/>
                    <a:pt x="64" y="8"/>
                    <a:pt x="63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7" name="Shape17_20200717_154352">
            <a:extLst>
              <a:ext uri="{FF2B5EF4-FFF2-40B4-BE49-F238E27FC236}">
                <a16:creationId xmlns:a16="http://schemas.microsoft.com/office/drawing/2014/main" id="{9EF28142-7A8C-8215-C2CA-3E3EA317B825}"/>
              </a:ext>
            </a:extLst>
          </p:cNvPr>
          <p:cNvGrpSpPr>
            <a:grpSpLocks noChangeAspect="1"/>
          </p:cNvGrpSpPr>
          <p:nvPr/>
        </p:nvGrpSpPr>
        <p:grpSpPr>
          <a:xfrm>
            <a:off x="3245789" y="2497438"/>
            <a:ext cx="574766" cy="664446"/>
            <a:chOff x="-2147680" y="2381380"/>
            <a:chExt cx="574766" cy="664446"/>
          </a:xfrm>
          <a:solidFill>
            <a:schemeClr val="accent1"/>
          </a:solidFill>
        </p:grpSpPr>
        <p:sp>
          <p:nvSpPr>
            <p:cNvPr id="154" name="Freeform 143">
              <a:extLst>
                <a:ext uri="{FF2B5EF4-FFF2-40B4-BE49-F238E27FC236}">
                  <a16:creationId xmlns:a16="http://schemas.microsoft.com/office/drawing/2014/main" id="{D7A89476-8434-9F37-A216-A3C5C327C015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82458" y="2666724"/>
              <a:ext cx="444323" cy="379102"/>
            </a:xfrm>
            <a:custGeom>
              <a:avLst/>
              <a:gdLst>
                <a:gd name="T0" fmla="*/ 150 w 176"/>
                <a:gd name="T1" fmla="*/ 0 h 151"/>
                <a:gd name="T2" fmla="*/ 148 w 176"/>
                <a:gd name="T3" fmla="*/ 3 h 151"/>
                <a:gd name="T4" fmla="*/ 144 w 176"/>
                <a:gd name="T5" fmla="*/ 6 h 151"/>
                <a:gd name="T6" fmla="*/ 168 w 176"/>
                <a:gd name="T7" fmla="*/ 62 h 151"/>
                <a:gd name="T8" fmla="*/ 88 w 176"/>
                <a:gd name="T9" fmla="*/ 142 h 151"/>
                <a:gd name="T10" fmla="*/ 8 w 176"/>
                <a:gd name="T11" fmla="*/ 62 h 151"/>
                <a:gd name="T12" fmla="*/ 31 w 176"/>
                <a:gd name="T13" fmla="*/ 6 h 151"/>
                <a:gd name="T14" fmla="*/ 25 w 176"/>
                <a:gd name="T15" fmla="*/ 0 h 151"/>
                <a:gd name="T16" fmla="*/ 0 w 176"/>
                <a:gd name="T17" fmla="*/ 62 h 151"/>
                <a:gd name="T18" fmla="*/ 88 w 176"/>
                <a:gd name="T19" fmla="*/ 151 h 151"/>
                <a:gd name="T20" fmla="*/ 176 w 176"/>
                <a:gd name="T21" fmla="*/ 62 h 151"/>
                <a:gd name="T22" fmla="*/ 150 w 176"/>
                <a:gd name="T23" fmla="*/ 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76" h="151">
                  <a:moveTo>
                    <a:pt x="150" y="0"/>
                  </a:moveTo>
                  <a:cubicBezTo>
                    <a:pt x="149" y="1"/>
                    <a:pt x="148" y="2"/>
                    <a:pt x="148" y="3"/>
                  </a:cubicBezTo>
                  <a:cubicBezTo>
                    <a:pt x="147" y="4"/>
                    <a:pt x="145" y="5"/>
                    <a:pt x="144" y="6"/>
                  </a:cubicBezTo>
                  <a:cubicBezTo>
                    <a:pt x="159" y="20"/>
                    <a:pt x="168" y="40"/>
                    <a:pt x="168" y="62"/>
                  </a:cubicBezTo>
                  <a:cubicBezTo>
                    <a:pt x="168" y="106"/>
                    <a:pt x="132" y="142"/>
                    <a:pt x="88" y="142"/>
                  </a:cubicBezTo>
                  <a:cubicBezTo>
                    <a:pt x="44" y="142"/>
                    <a:pt x="8" y="106"/>
                    <a:pt x="8" y="62"/>
                  </a:cubicBezTo>
                  <a:cubicBezTo>
                    <a:pt x="8" y="40"/>
                    <a:pt x="17" y="20"/>
                    <a:pt x="31" y="6"/>
                  </a:cubicBezTo>
                  <a:cubicBezTo>
                    <a:pt x="29" y="4"/>
                    <a:pt x="27" y="2"/>
                    <a:pt x="25" y="0"/>
                  </a:cubicBezTo>
                  <a:cubicBezTo>
                    <a:pt x="10" y="16"/>
                    <a:pt x="0" y="38"/>
                    <a:pt x="0" y="62"/>
                  </a:cubicBezTo>
                  <a:cubicBezTo>
                    <a:pt x="0" y="111"/>
                    <a:pt x="40" y="151"/>
                    <a:pt x="88" y="151"/>
                  </a:cubicBezTo>
                  <a:cubicBezTo>
                    <a:pt x="137" y="151"/>
                    <a:pt x="176" y="111"/>
                    <a:pt x="176" y="62"/>
                  </a:cubicBezTo>
                  <a:cubicBezTo>
                    <a:pt x="176" y="38"/>
                    <a:pt x="166" y="16"/>
                    <a:pt x="15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5" name="Freeform 144">
              <a:extLst>
                <a:ext uri="{FF2B5EF4-FFF2-40B4-BE49-F238E27FC236}">
                  <a16:creationId xmlns:a16="http://schemas.microsoft.com/office/drawing/2014/main" id="{ADBE4D46-1791-4BEF-6A9E-ADFA3118B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13161" y="2907228"/>
              <a:ext cx="309802" cy="81527"/>
            </a:xfrm>
            <a:custGeom>
              <a:avLst/>
              <a:gdLst>
                <a:gd name="T0" fmla="*/ 5 w 124"/>
                <a:gd name="T1" fmla="*/ 31 h 31"/>
                <a:gd name="T2" fmla="*/ 2 w 124"/>
                <a:gd name="T3" fmla="*/ 29 h 31"/>
                <a:gd name="T4" fmla="*/ 2 w 124"/>
                <a:gd name="T5" fmla="*/ 23 h 31"/>
                <a:gd name="T6" fmla="*/ 62 w 124"/>
                <a:gd name="T7" fmla="*/ 0 h 31"/>
                <a:gd name="T8" fmla="*/ 122 w 124"/>
                <a:gd name="T9" fmla="*/ 23 h 31"/>
                <a:gd name="T10" fmla="*/ 122 w 124"/>
                <a:gd name="T11" fmla="*/ 29 h 31"/>
                <a:gd name="T12" fmla="*/ 116 w 124"/>
                <a:gd name="T13" fmla="*/ 29 h 31"/>
                <a:gd name="T14" fmla="*/ 62 w 124"/>
                <a:gd name="T15" fmla="*/ 8 h 31"/>
                <a:gd name="T16" fmla="*/ 8 w 124"/>
                <a:gd name="T17" fmla="*/ 30 h 31"/>
                <a:gd name="T18" fmla="*/ 5 w 124"/>
                <a:gd name="T1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4" h="31">
                  <a:moveTo>
                    <a:pt x="5" y="31"/>
                  </a:moveTo>
                  <a:cubicBezTo>
                    <a:pt x="4" y="31"/>
                    <a:pt x="3" y="30"/>
                    <a:pt x="2" y="29"/>
                  </a:cubicBezTo>
                  <a:cubicBezTo>
                    <a:pt x="0" y="28"/>
                    <a:pt x="0" y="25"/>
                    <a:pt x="2" y="23"/>
                  </a:cubicBezTo>
                  <a:cubicBezTo>
                    <a:pt x="18" y="8"/>
                    <a:pt x="40" y="0"/>
                    <a:pt x="62" y="0"/>
                  </a:cubicBezTo>
                  <a:cubicBezTo>
                    <a:pt x="84" y="0"/>
                    <a:pt x="106" y="8"/>
                    <a:pt x="122" y="23"/>
                  </a:cubicBezTo>
                  <a:cubicBezTo>
                    <a:pt x="123" y="25"/>
                    <a:pt x="124" y="27"/>
                    <a:pt x="122" y="29"/>
                  </a:cubicBezTo>
                  <a:cubicBezTo>
                    <a:pt x="121" y="31"/>
                    <a:pt x="118" y="31"/>
                    <a:pt x="116" y="29"/>
                  </a:cubicBezTo>
                  <a:cubicBezTo>
                    <a:pt x="101" y="16"/>
                    <a:pt x="82" y="8"/>
                    <a:pt x="62" y="8"/>
                  </a:cubicBezTo>
                  <a:cubicBezTo>
                    <a:pt x="42" y="8"/>
                    <a:pt x="22" y="16"/>
                    <a:pt x="8" y="30"/>
                  </a:cubicBezTo>
                  <a:cubicBezTo>
                    <a:pt x="7" y="30"/>
                    <a:pt x="6" y="31"/>
                    <a:pt x="5" y="3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6" name="Freeform 145">
              <a:extLst>
                <a:ext uri="{FF2B5EF4-FFF2-40B4-BE49-F238E27FC236}">
                  <a16:creationId xmlns:a16="http://schemas.microsoft.com/office/drawing/2014/main" id="{5A9A1D92-7A70-79A3-24C1-BFBB07E60188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80551" y="2703410"/>
              <a:ext cx="240506" cy="342413"/>
            </a:xfrm>
            <a:custGeom>
              <a:avLst/>
              <a:gdLst>
                <a:gd name="T0" fmla="*/ 81 w 96"/>
                <a:gd name="T1" fmla="*/ 3 h 136"/>
                <a:gd name="T2" fmla="*/ 81 w 96"/>
                <a:gd name="T3" fmla="*/ 3 h 136"/>
                <a:gd name="T4" fmla="*/ 88 w 96"/>
                <a:gd name="T5" fmla="*/ 47 h 136"/>
                <a:gd name="T6" fmla="*/ 48 w 96"/>
                <a:gd name="T7" fmla="*/ 127 h 136"/>
                <a:gd name="T8" fmla="*/ 8 w 96"/>
                <a:gd name="T9" fmla="*/ 47 h 136"/>
                <a:gd name="T10" fmla="*/ 15 w 96"/>
                <a:gd name="T11" fmla="*/ 2 h 136"/>
                <a:gd name="T12" fmla="*/ 7 w 96"/>
                <a:gd name="T13" fmla="*/ 0 h 136"/>
                <a:gd name="T14" fmla="*/ 0 w 96"/>
                <a:gd name="T15" fmla="*/ 47 h 136"/>
                <a:gd name="T16" fmla="*/ 48 w 96"/>
                <a:gd name="T17" fmla="*/ 136 h 136"/>
                <a:gd name="T18" fmla="*/ 96 w 96"/>
                <a:gd name="T19" fmla="*/ 47 h 136"/>
                <a:gd name="T20" fmla="*/ 89 w 96"/>
                <a:gd name="T21" fmla="*/ 0 h 136"/>
                <a:gd name="T22" fmla="*/ 81 w 96"/>
                <a:gd name="T23" fmla="*/ 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6" h="136">
                  <a:moveTo>
                    <a:pt x="81" y="3"/>
                  </a:moveTo>
                  <a:cubicBezTo>
                    <a:pt x="81" y="3"/>
                    <a:pt x="81" y="3"/>
                    <a:pt x="81" y="3"/>
                  </a:cubicBezTo>
                  <a:cubicBezTo>
                    <a:pt x="85" y="16"/>
                    <a:pt x="88" y="31"/>
                    <a:pt x="88" y="47"/>
                  </a:cubicBezTo>
                  <a:cubicBezTo>
                    <a:pt x="88" y="91"/>
                    <a:pt x="70" y="127"/>
                    <a:pt x="48" y="127"/>
                  </a:cubicBezTo>
                  <a:cubicBezTo>
                    <a:pt x="26" y="127"/>
                    <a:pt x="8" y="91"/>
                    <a:pt x="8" y="47"/>
                  </a:cubicBezTo>
                  <a:cubicBezTo>
                    <a:pt x="8" y="31"/>
                    <a:pt x="11" y="15"/>
                    <a:pt x="15" y="2"/>
                  </a:cubicBezTo>
                  <a:cubicBezTo>
                    <a:pt x="13" y="1"/>
                    <a:pt x="10" y="1"/>
                    <a:pt x="7" y="0"/>
                  </a:cubicBezTo>
                  <a:cubicBezTo>
                    <a:pt x="3" y="13"/>
                    <a:pt x="0" y="30"/>
                    <a:pt x="0" y="47"/>
                  </a:cubicBezTo>
                  <a:cubicBezTo>
                    <a:pt x="0" y="97"/>
                    <a:pt x="21" y="136"/>
                    <a:pt x="48" y="136"/>
                  </a:cubicBezTo>
                  <a:cubicBezTo>
                    <a:pt x="75" y="136"/>
                    <a:pt x="96" y="97"/>
                    <a:pt x="96" y="47"/>
                  </a:cubicBezTo>
                  <a:cubicBezTo>
                    <a:pt x="96" y="30"/>
                    <a:pt x="94" y="14"/>
                    <a:pt x="89" y="0"/>
                  </a:cubicBezTo>
                  <a:cubicBezTo>
                    <a:pt x="86" y="1"/>
                    <a:pt x="84" y="2"/>
                    <a:pt x="81" y="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7" name="Freeform 146">
              <a:extLst>
                <a:ext uri="{FF2B5EF4-FFF2-40B4-BE49-F238E27FC236}">
                  <a16:creationId xmlns:a16="http://schemas.microsoft.com/office/drawing/2014/main" id="{334C8FA0-80C4-F5BA-A3F9-C1ECB6164475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82458" y="2813473"/>
              <a:ext cx="444323" cy="20383"/>
            </a:xfrm>
            <a:custGeom>
              <a:avLst/>
              <a:gdLst>
                <a:gd name="T0" fmla="*/ 172 w 176"/>
                <a:gd name="T1" fmla="*/ 8 h 8"/>
                <a:gd name="T2" fmla="*/ 4 w 176"/>
                <a:gd name="T3" fmla="*/ 8 h 8"/>
                <a:gd name="T4" fmla="*/ 0 w 176"/>
                <a:gd name="T5" fmla="*/ 4 h 8"/>
                <a:gd name="T6" fmla="*/ 4 w 176"/>
                <a:gd name="T7" fmla="*/ 0 h 8"/>
                <a:gd name="T8" fmla="*/ 172 w 176"/>
                <a:gd name="T9" fmla="*/ 0 h 8"/>
                <a:gd name="T10" fmla="*/ 176 w 176"/>
                <a:gd name="T11" fmla="*/ 4 h 8"/>
                <a:gd name="T12" fmla="*/ 172 w 176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6" h="8">
                  <a:moveTo>
                    <a:pt x="172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7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72" y="0"/>
                    <a:pt x="172" y="0"/>
                    <a:pt x="172" y="0"/>
                  </a:cubicBezTo>
                  <a:cubicBezTo>
                    <a:pt x="175" y="0"/>
                    <a:pt x="176" y="2"/>
                    <a:pt x="176" y="4"/>
                  </a:cubicBezTo>
                  <a:cubicBezTo>
                    <a:pt x="176" y="7"/>
                    <a:pt x="175" y="8"/>
                    <a:pt x="172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8" name="Freeform 147">
              <a:extLst>
                <a:ext uri="{FF2B5EF4-FFF2-40B4-BE49-F238E27FC236}">
                  <a16:creationId xmlns:a16="http://schemas.microsoft.com/office/drawing/2014/main" id="{CE828EE2-D91C-9B17-6057-7BA406A4214A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70488" y="2723793"/>
              <a:ext cx="20383" cy="322033"/>
            </a:xfrm>
            <a:custGeom>
              <a:avLst/>
              <a:gdLst>
                <a:gd name="T0" fmla="*/ 0 w 8"/>
                <a:gd name="T1" fmla="*/ 0 h 129"/>
                <a:gd name="T2" fmla="*/ 0 w 8"/>
                <a:gd name="T3" fmla="*/ 124 h 129"/>
                <a:gd name="T4" fmla="*/ 4 w 8"/>
                <a:gd name="T5" fmla="*/ 129 h 129"/>
                <a:gd name="T6" fmla="*/ 8 w 8"/>
                <a:gd name="T7" fmla="*/ 124 h 129"/>
                <a:gd name="T8" fmla="*/ 8 w 8"/>
                <a:gd name="T9" fmla="*/ 1 h 129"/>
                <a:gd name="T10" fmla="*/ 0 w 8"/>
                <a:gd name="T11" fmla="*/ 0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129">
                  <a:moveTo>
                    <a:pt x="0" y="0"/>
                  </a:moveTo>
                  <a:cubicBezTo>
                    <a:pt x="0" y="124"/>
                    <a:pt x="0" y="124"/>
                    <a:pt x="0" y="124"/>
                  </a:cubicBezTo>
                  <a:cubicBezTo>
                    <a:pt x="0" y="127"/>
                    <a:pt x="2" y="129"/>
                    <a:pt x="4" y="129"/>
                  </a:cubicBezTo>
                  <a:cubicBezTo>
                    <a:pt x="6" y="129"/>
                    <a:pt x="8" y="127"/>
                    <a:pt x="8" y="124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5" y="1"/>
                    <a:pt x="3" y="1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9" name="Freeform 148">
              <a:extLst>
                <a:ext uri="{FF2B5EF4-FFF2-40B4-BE49-F238E27FC236}">
                  <a16:creationId xmlns:a16="http://schemas.microsoft.com/office/drawing/2014/main" id="{1F5F3684-AC81-BAC9-14C5-F114925614DD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33542" y="2568892"/>
              <a:ext cx="346491" cy="167132"/>
            </a:xfrm>
            <a:custGeom>
              <a:avLst/>
              <a:gdLst>
                <a:gd name="T0" fmla="*/ 133 w 138"/>
                <a:gd name="T1" fmla="*/ 2 h 67"/>
                <a:gd name="T2" fmla="*/ 130 w 138"/>
                <a:gd name="T3" fmla="*/ 3 h 67"/>
                <a:gd name="T4" fmla="*/ 130 w 138"/>
                <a:gd name="T5" fmla="*/ 37 h 67"/>
                <a:gd name="T6" fmla="*/ 9 w 138"/>
                <a:gd name="T7" fmla="*/ 37 h 67"/>
                <a:gd name="T8" fmla="*/ 9 w 138"/>
                <a:gd name="T9" fmla="*/ 6 h 67"/>
                <a:gd name="T10" fmla="*/ 0 w 138"/>
                <a:gd name="T11" fmla="*/ 0 h 67"/>
                <a:gd name="T12" fmla="*/ 0 w 138"/>
                <a:gd name="T13" fmla="*/ 39 h 67"/>
                <a:gd name="T14" fmla="*/ 2 w 138"/>
                <a:gd name="T15" fmla="*/ 42 h 67"/>
                <a:gd name="T16" fmla="*/ 69 w 138"/>
                <a:gd name="T17" fmla="*/ 67 h 67"/>
                <a:gd name="T18" fmla="*/ 136 w 138"/>
                <a:gd name="T19" fmla="*/ 42 h 67"/>
                <a:gd name="T20" fmla="*/ 138 w 138"/>
                <a:gd name="T21" fmla="*/ 39 h 67"/>
                <a:gd name="T22" fmla="*/ 138 w 138"/>
                <a:gd name="T23" fmla="*/ 1 h 67"/>
                <a:gd name="T24" fmla="*/ 133 w 138"/>
                <a:gd name="T25" fmla="*/ 2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8" h="67">
                  <a:moveTo>
                    <a:pt x="133" y="2"/>
                  </a:moveTo>
                  <a:cubicBezTo>
                    <a:pt x="132" y="3"/>
                    <a:pt x="131" y="3"/>
                    <a:pt x="130" y="3"/>
                  </a:cubicBezTo>
                  <a:cubicBezTo>
                    <a:pt x="130" y="37"/>
                    <a:pt x="130" y="37"/>
                    <a:pt x="130" y="37"/>
                  </a:cubicBezTo>
                  <a:cubicBezTo>
                    <a:pt x="95" y="66"/>
                    <a:pt x="43" y="66"/>
                    <a:pt x="9" y="37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6" y="4"/>
                    <a:pt x="3" y="2"/>
                    <a:pt x="0" y="0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0"/>
                    <a:pt x="1" y="41"/>
                    <a:pt x="2" y="42"/>
                  </a:cubicBezTo>
                  <a:cubicBezTo>
                    <a:pt x="21" y="59"/>
                    <a:pt x="45" y="67"/>
                    <a:pt x="69" y="67"/>
                  </a:cubicBezTo>
                  <a:cubicBezTo>
                    <a:pt x="93" y="67"/>
                    <a:pt x="117" y="59"/>
                    <a:pt x="136" y="42"/>
                  </a:cubicBezTo>
                  <a:cubicBezTo>
                    <a:pt x="137" y="41"/>
                    <a:pt x="138" y="40"/>
                    <a:pt x="138" y="39"/>
                  </a:cubicBezTo>
                  <a:cubicBezTo>
                    <a:pt x="138" y="1"/>
                    <a:pt x="138" y="1"/>
                    <a:pt x="138" y="1"/>
                  </a:cubicBezTo>
                  <a:cubicBezTo>
                    <a:pt x="136" y="2"/>
                    <a:pt x="135" y="2"/>
                    <a:pt x="133" y="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0" name="Freeform 149">
              <a:extLst>
                <a:ext uri="{FF2B5EF4-FFF2-40B4-BE49-F238E27FC236}">
                  <a16:creationId xmlns:a16="http://schemas.microsoft.com/office/drawing/2014/main" id="{3FF06A50-7263-BEC2-F194-AD326027668F}"/>
                </a:ext>
              </a:extLst>
            </p:cNvPr>
            <p:cNvSpPr>
              <a:spLocks/>
            </p:cNvSpPr>
            <p:nvPr/>
          </p:nvSpPr>
          <p:spPr bwMode="auto">
            <a:xfrm>
              <a:off x="-1695206" y="2666724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1" name="Freeform 150">
              <a:extLst>
                <a:ext uri="{FF2B5EF4-FFF2-40B4-BE49-F238E27FC236}">
                  <a16:creationId xmlns:a16="http://schemas.microsoft.com/office/drawing/2014/main" id="{2B76930A-9C6C-1AB0-5611-C9077FC08C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147680" y="2381380"/>
              <a:ext cx="574766" cy="269039"/>
            </a:xfrm>
            <a:custGeom>
              <a:avLst/>
              <a:gdLst>
                <a:gd name="T0" fmla="*/ 114 w 228"/>
                <a:gd name="T1" fmla="*/ 107 h 107"/>
                <a:gd name="T2" fmla="*/ 112 w 228"/>
                <a:gd name="T3" fmla="*/ 106 h 107"/>
                <a:gd name="T4" fmla="*/ 3 w 228"/>
                <a:gd name="T5" fmla="*/ 57 h 107"/>
                <a:gd name="T6" fmla="*/ 0 w 228"/>
                <a:gd name="T7" fmla="*/ 53 h 107"/>
                <a:gd name="T8" fmla="*/ 3 w 228"/>
                <a:gd name="T9" fmla="*/ 50 h 107"/>
                <a:gd name="T10" fmla="*/ 112 w 228"/>
                <a:gd name="T11" fmla="*/ 0 h 107"/>
                <a:gd name="T12" fmla="*/ 116 w 228"/>
                <a:gd name="T13" fmla="*/ 0 h 107"/>
                <a:gd name="T14" fmla="*/ 226 w 228"/>
                <a:gd name="T15" fmla="*/ 50 h 107"/>
                <a:gd name="T16" fmla="*/ 228 w 228"/>
                <a:gd name="T17" fmla="*/ 53 h 107"/>
                <a:gd name="T18" fmla="*/ 226 w 228"/>
                <a:gd name="T19" fmla="*/ 57 h 107"/>
                <a:gd name="T20" fmla="*/ 116 w 228"/>
                <a:gd name="T21" fmla="*/ 106 h 107"/>
                <a:gd name="T22" fmla="*/ 114 w 228"/>
                <a:gd name="T23" fmla="*/ 107 h 107"/>
                <a:gd name="T24" fmla="*/ 14 w 228"/>
                <a:gd name="T25" fmla="*/ 53 h 107"/>
                <a:gd name="T26" fmla="*/ 114 w 228"/>
                <a:gd name="T27" fmla="*/ 98 h 107"/>
                <a:gd name="T28" fmla="*/ 214 w 228"/>
                <a:gd name="T29" fmla="*/ 53 h 107"/>
                <a:gd name="T30" fmla="*/ 114 w 228"/>
                <a:gd name="T31" fmla="*/ 9 h 107"/>
                <a:gd name="T32" fmla="*/ 14 w 228"/>
                <a:gd name="T33" fmla="*/ 5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8" h="107">
                  <a:moveTo>
                    <a:pt x="114" y="107"/>
                  </a:moveTo>
                  <a:cubicBezTo>
                    <a:pt x="114" y="107"/>
                    <a:pt x="113" y="107"/>
                    <a:pt x="112" y="106"/>
                  </a:cubicBezTo>
                  <a:cubicBezTo>
                    <a:pt x="3" y="57"/>
                    <a:pt x="3" y="57"/>
                    <a:pt x="3" y="57"/>
                  </a:cubicBezTo>
                  <a:cubicBezTo>
                    <a:pt x="1" y="56"/>
                    <a:pt x="0" y="55"/>
                    <a:pt x="0" y="53"/>
                  </a:cubicBezTo>
                  <a:cubicBezTo>
                    <a:pt x="0" y="52"/>
                    <a:pt x="1" y="50"/>
                    <a:pt x="3" y="5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4" y="0"/>
                    <a:pt x="115" y="0"/>
                    <a:pt x="116" y="0"/>
                  </a:cubicBezTo>
                  <a:cubicBezTo>
                    <a:pt x="226" y="50"/>
                    <a:pt x="226" y="50"/>
                    <a:pt x="226" y="50"/>
                  </a:cubicBezTo>
                  <a:cubicBezTo>
                    <a:pt x="227" y="50"/>
                    <a:pt x="228" y="52"/>
                    <a:pt x="228" y="53"/>
                  </a:cubicBezTo>
                  <a:cubicBezTo>
                    <a:pt x="228" y="55"/>
                    <a:pt x="227" y="56"/>
                    <a:pt x="226" y="57"/>
                  </a:cubicBezTo>
                  <a:cubicBezTo>
                    <a:pt x="116" y="106"/>
                    <a:pt x="116" y="106"/>
                    <a:pt x="116" y="106"/>
                  </a:cubicBezTo>
                  <a:cubicBezTo>
                    <a:pt x="115" y="107"/>
                    <a:pt x="115" y="107"/>
                    <a:pt x="114" y="107"/>
                  </a:cubicBezTo>
                  <a:close/>
                  <a:moveTo>
                    <a:pt x="14" y="53"/>
                  </a:moveTo>
                  <a:cubicBezTo>
                    <a:pt x="114" y="98"/>
                    <a:pt x="114" y="98"/>
                    <a:pt x="114" y="98"/>
                  </a:cubicBezTo>
                  <a:cubicBezTo>
                    <a:pt x="214" y="53"/>
                    <a:pt x="214" y="53"/>
                    <a:pt x="214" y="53"/>
                  </a:cubicBezTo>
                  <a:cubicBezTo>
                    <a:pt x="114" y="9"/>
                    <a:pt x="114" y="9"/>
                    <a:pt x="114" y="9"/>
                  </a:cubicBezTo>
                  <a:lnTo>
                    <a:pt x="14" y="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2" name="Freeform 151">
              <a:extLst>
                <a:ext uri="{FF2B5EF4-FFF2-40B4-BE49-F238E27FC236}">
                  <a16:creationId xmlns:a16="http://schemas.microsoft.com/office/drawing/2014/main" id="{E4C88E25-D5B4-51B6-A8AC-B75A62411578}"/>
                </a:ext>
              </a:extLst>
            </p:cNvPr>
            <p:cNvSpPr>
              <a:spLocks/>
            </p:cNvSpPr>
            <p:nvPr/>
          </p:nvSpPr>
          <p:spPr bwMode="auto">
            <a:xfrm>
              <a:off x="-2119146" y="2519976"/>
              <a:ext cx="20383" cy="138596"/>
            </a:xfrm>
            <a:custGeom>
              <a:avLst/>
              <a:gdLst>
                <a:gd name="T0" fmla="*/ 4 w 8"/>
                <a:gd name="T1" fmla="*/ 56 h 56"/>
                <a:gd name="T2" fmla="*/ 0 w 8"/>
                <a:gd name="T3" fmla="*/ 52 h 56"/>
                <a:gd name="T4" fmla="*/ 0 w 8"/>
                <a:gd name="T5" fmla="*/ 4 h 56"/>
                <a:gd name="T6" fmla="*/ 4 w 8"/>
                <a:gd name="T7" fmla="*/ 0 h 56"/>
                <a:gd name="T8" fmla="*/ 8 w 8"/>
                <a:gd name="T9" fmla="*/ 4 h 56"/>
                <a:gd name="T10" fmla="*/ 8 w 8"/>
                <a:gd name="T11" fmla="*/ 52 h 56"/>
                <a:gd name="T12" fmla="*/ 4 w 8"/>
                <a:gd name="T13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56">
                  <a:moveTo>
                    <a:pt x="4" y="56"/>
                  </a:moveTo>
                  <a:cubicBezTo>
                    <a:pt x="2" y="56"/>
                    <a:pt x="0" y="54"/>
                    <a:pt x="0" y="5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52"/>
                    <a:pt x="8" y="52"/>
                    <a:pt x="8" y="52"/>
                  </a:cubicBezTo>
                  <a:cubicBezTo>
                    <a:pt x="8" y="54"/>
                    <a:pt x="6" y="56"/>
                    <a:pt x="4" y="5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3" name="Freeform 152">
              <a:extLst>
                <a:ext uri="{FF2B5EF4-FFF2-40B4-BE49-F238E27FC236}">
                  <a16:creationId xmlns:a16="http://schemas.microsoft.com/office/drawing/2014/main" id="{0956EEAA-9D5F-5E6B-0969-CFFDE5C4960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147680" y="2638189"/>
              <a:ext cx="73374" cy="69299"/>
            </a:xfrm>
            <a:custGeom>
              <a:avLst/>
              <a:gdLst>
                <a:gd name="T0" fmla="*/ 14 w 28"/>
                <a:gd name="T1" fmla="*/ 27 h 27"/>
                <a:gd name="T2" fmla="*/ 0 w 28"/>
                <a:gd name="T3" fmla="*/ 13 h 27"/>
                <a:gd name="T4" fmla="*/ 14 w 28"/>
                <a:gd name="T5" fmla="*/ 0 h 27"/>
                <a:gd name="T6" fmla="*/ 28 w 28"/>
                <a:gd name="T7" fmla="*/ 13 h 27"/>
                <a:gd name="T8" fmla="*/ 14 w 28"/>
                <a:gd name="T9" fmla="*/ 27 h 27"/>
                <a:gd name="T10" fmla="*/ 14 w 28"/>
                <a:gd name="T11" fmla="*/ 8 h 27"/>
                <a:gd name="T12" fmla="*/ 9 w 28"/>
                <a:gd name="T13" fmla="*/ 13 h 27"/>
                <a:gd name="T14" fmla="*/ 14 w 28"/>
                <a:gd name="T15" fmla="*/ 19 h 27"/>
                <a:gd name="T16" fmla="*/ 19 w 28"/>
                <a:gd name="T17" fmla="*/ 13 h 27"/>
                <a:gd name="T18" fmla="*/ 14 w 28"/>
                <a:gd name="T19" fmla="*/ 8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27">
                  <a:moveTo>
                    <a:pt x="14" y="27"/>
                  </a:moveTo>
                  <a:cubicBezTo>
                    <a:pt x="6" y="27"/>
                    <a:pt x="0" y="21"/>
                    <a:pt x="0" y="13"/>
                  </a:cubicBezTo>
                  <a:cubicBezTo>
                    <a:pt x="0" y="6"/>
                    <a:pt x="6" y="0"/>
                    <a:pt x="14" y="0"/>
                  </a:cubicBezTo>
                  <a:cubicBezTo>
                    <a:pt x="22" y="0"/>
                    <a:pt x="28" y="6"/>
                    <a:pt x="28" y="13"/>
                  </a:cubicBezTo>
                  <a:cubicBezTo>
                    <a:pt x="28" y="21"/>
                    <a:pt x="22" y="27"/>
                    <a:pt x="14" y="27"/>
                  </a:cubicBezTo>
                  <a:close/>
                  <a:moveTo>
                    <a:pt x="14" y="8"/>
                  </a:moveTo>
                  <a:cubicBezTo>
                    <a:pt x="11" y="8"/>
                    <a:pt x="9" y="10"/>
                    <a:pt x="9" y="13"/>
                  </a:cubicBezTo>
                  <a:cubicBezTo>
                    <a:pt x="9" y="16"/>
                    <a:pt x="11" y="19"/>
                    <a:pt x="14" y="19"/>
                  </a:cubicBezTo>
                  <a:cubicBezTo>
                    <a:pt x="17" y="19"/>
                    <a:pt x="19" y="16"/>
                    <a:pt x="19" y="13"/>
                  </a:cubicBezTo>
                  <a:cubicBezTo>
                    <a:pt x="19" y="10"/>
                    <a:pt x="17" y="8"/>
                    <a:pt x="14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4" name="Freeform 153">
              <a:extLst>
                <a:ext uri="{FF2B5EF4-FFF2-40B4-BE49-F238E27FC236}">
                  <a16:creationId xmlns:a16="http://schemas.microsoft.com/office/drawing/2014/main" id="{C88EF043-B265-853D-D225-0BD246CAEDDB}"/>
                </a:ext>
              </a:extLst>
            </p:cNvPr>
            <p:cNvSpPr>
              <a:spLocks/>
            </p:cNvSpPr>
            <p:nvPr/>
          </p:nvSpPr>
          <p:spPr bwMode="auto">
            <a:xfrm>
              <a:off x="-2147680" y="2683030"/>
              <a:ext cx="73374" cy="93757"/>
            </a:xfrm>
            <a:custGeom>
              <a:avLst/>
              <a:gdLst>
                <a:gd name="T0" fmla="*/ 23 w 28"/>
                <a:gd name="T1" fmla="*/ 36 h 36"/>
                <a:gd name="T2" fmla="*/ 4 w 28"/>
                <a:gd name="T3" fmla="*/ 36 h 36"/>
                <a:gd name="T4" fmla="*/ 1 w 28"/>
                <a:gd name="T5" fmla="*/ 34 h 36"/>
                <a:gd name="T6" fmla="*/ 0 w 28"/>
                <a:gd name="T7" fmla="*/ 31 h 36"/>
                <a:gd name="T8" fmla="*/ 6 w 28"/>
                <a:gd name="T9" fmla="*/ 4 h 36"/>
                <a:gd name="T10" fmla="*/ 11 w 28"/>
                <a:gd name="T11" fmla="*/ 1 h 36"/>
                <a:gd name="T12" fmla="*/ 14 w 28"/>
                <a:gd name="T13" fmla="*/ 6 h 36"/>
                <a:gd name="T14" fmla="*/ 9 w 28"/>
                <a:gd name="T15" fmla="*/ 28 h 36"/>
                <a:gd name="T16" fmla="*/ 18 w 28"/>
                <a:gd name="T17" fmla="*/ 28 h 36"/>
                <a:gd name="T18" fmla="*/ 14 w 28"/>
                <a:gd name="T19" fmla="*/ 6 h 36"/>
                <a:gd name="T20" fmla="*/ 17 w 28"/>
                <a:gd name="T21" fmla="*/ 1 h 36"/>
                <a:gd name="T22" fmla="*/ 22 w 28"/>
                <a:gd name="T23" fmla="*/ 4 h 36"/>
                <a:gd name="T24" fmla="*/ 28 w 28"/>
                <a:gd name="T25" fmla="*/ 31 h 36"/>
                <a:gd name="T26" fmla="*/ 27 w 28"/>
                <a:gd name="T27" fmla="*/ 34 h 36"/>
                <a:gd name="T28" fmla="*/ 23 w 28"/>
                <a:gd name="T29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36">
                  <a:moveTo>
                    <a:pt x="23" y="36"/>
                  </a:moveTo>
                  <a:cubicBezTo>
                    <a:pt x="4" y="36"/>
                    <a:pt x="4" y="36"/>
                    <a:pt x="4" y="36"/>
                  </a:cubicBezTo>
                  <a:cubicBezTo>
                    <a:pt x="3" y="36"/>
                    <a:pt x="2" y="35"/>
                    <a:pt x="1" y="34"/>
                  </a:cubicBezTo>
                  <a:cubicBezTo>
                    <a:pt x="1" y="33"/>
                    <a:pt x="0" y="32"/>
                    <a:pt x="0" y="31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2"/>
                    <a:pt x="8" y="0"/>
                    <a:pt x="11" y="1"/>
                  </a:cubicBezTo>
                  <a:cubicBezTo>
                    <a:pt x="13" y="1"/>
                    <a:pt x="14" y="3"/>
                    <a:pt x="14" y="6"/>
                  </a:cubicBezTo>
                  <a:cubicBezTo>
                    <a:pt x="9" y="28"/>
                    <a:pt x="9" y="28"/>
                    <a:pt x="9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4" y="3"/>
                    <a:pt x="15" y="1"/>
                    <a:pt x="17" y="1"/>
                  </a:cubicBezTo>
                  <a:cubicBezTo>
                    <a:pt x="20" y="0"/>
                    <a:pt x="22" y="2"/>
                    <a:pt x="22" y="4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2"/>
                    <a:pt x="27" y="33"/>
                    <a:pt x="27" y="34"/>
                  </a:cubicBezTo>
                  <a:cubicBezTo>
                    <a:pt x="26" y="35"/>
                    <a:pt x="25" y="36"/>
                    <a:pt x="23" y="3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8" name="Shape18_20200717_154352">
            <a:extLst>
              <a:ext uri="{FF2B5EF4-FFF2-40B4-BE49-F238E27FC236}">
                <a16:creationId xmlns:a16="http://schemas.microsoft.com/office/drawing/2014/main" id="{A7C72313-0850-9565-A97A-AA3A76F651E3}"/>
              </a:ext>
            </a:extLst>
          </p:cNvPr>
          <p:cNvGrpSpPr>
            <a:grpSpLocks noChangeAspect="1"/>
          </p:cNvGrpSpPr>
          <p:nvPr/>
        </p:nvGrpSpPr>
        <p:grpSpPr>
          <a:xfrm>
            <a:off x="530941" y="3890420"/>
            <a:ext cx="701132" cy="566614"/>
            <a:chOff x="-8922571" y="5304120"/>
            <a:chExt cx="701132" cy="566614"/>
          </a:xfrm>
          <a:solidFill>
            <a:schemeClr val="accent1"/>
          </a:solidFill>
        </p:grpSpPr>
        <p:sp>
          <p:nvSpPr>
            <p:cNvPr id="145" name="Freeform 154">
              <a:extLst>
                <a:ext uri="{FF2B5EF4-FFF2-40B4-BE49-F238E27FC236}">
                  <a16:creationId xmlns:a16="http://schemas.microsoft.com/office/drawing/2014/main" id="{9E45211E-64E4-8BE7-07E8-E0F412E6620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8922571" y="5304120"/>
              <a:ext cx="701132" cy="566614"/>
            </a:xfrm>
            <a:custGeom>
              <a:avLst/>
              <a:gdLst>
                <a:gd name="T0" fmla="*/ 274 w 278"/>
                <a:gd name="T1" fmla="*/ 225 h 225"/>
                <a:gd name="T2" fmla="*/ 4 w 278"/>
                <a:gd name="T3" fmla="*/ 225 h 225"/>
                <a:gd name="T4" fmla="*/ 0 w 278"/>
                <a:gd name="T5" fmla="*/ 221 h 225"/>
                <a:gd name="T6" fmla="*/ 0 w 278"/>
                <a:gd name="T7" fmla="*/ 4 h 225"/>
                <a:gd name="T8" fmla="*/ 4 w 278"/>
                <a:gd name="T9" fmla="*/ 0 h 225"/>
                <a:gd name="T10" fmla="*/ 274 w 278"/>
                <a:gd name="T11" fmla="*/ 0 h 225"/>
                <a:gd name="T12" fmla="*/ 278 w 278"/>
                <a:gd name="T13" fmla="*/ 4 h 225"/>
                <a:gd name="T14" fmla="*/ 278 w 278"/>
                <a:gd name="T15" fmla="*/ 221 h 225"/>
                <a:gd name="T16" fmla="*/ 274 w 278"/>
                <a:gd name="T17" fmla="*/ 225 h 225"/>
                <a:gd name="T18" fmla="*/ 8 w 278"/>
                <a:gd name="T19" fmla="*/ 217 h 225"/>
                <a:gd name="T20" fmla="*/ 270 w 278"/>
                <a:gd name="T21" fmla="*/ 217 h 225"/>
                <a:gd name="T22" fmla="*/ 270 w 278"/>
                <a:gd name="T23" fmla="*/ 9 h 225"/>
                <a:gd name="T24" fmla="*/ 8 w 278"/>
                <a:gd name="T25" fmla="*/ 9 h 225"/>
                <a:gd name="T26" fmla="*/ 8 w 278"/>
                <a:gd name="T27" fmla="*/ 217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78" h="225">
                  <a:moveTo>
                    <a:pt x="274" y="225"/>
                  </a:moveTo>
                  <a:cubicBezTo>
                    <a:pt x="4" y="225"/>
                    <a:pt x="4" y="225"/>
                    <a:pt x="4" y="225"/>
                  </a:cubicBezTo>
                  <a:cubicBezTo>
                    <a:pt x="2" y="225"/>
                    <a:pt x="0" y="223"/>
                    <a:pt x="0" y="22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74" y="0"/>
                    <a:pt x="274" y="0"/>
                    <a:pt x="274" y="0"/>
                  </a:cubicBezTo>
                  <a:cubicBezTo>
                    <a:pt x="276" y="0"/>
                    <a:pt x="278" y="2"/>
                    <a:pt x="278" y="4"/>
                  </a:cubicBezTo>
                  <a:cubicBezTo>
                    <a:pt x="278" y="221"/>
                    <a:pt x="278" y="221"/>
                    <a:pt x="278" y="221"/>
                  </a:cubicBezTo>
                  <a:cubicBezTo>
                    <a:pt x="278" y="223"/>
                    <a:pt x="276" y="225"/>
                    <a:pt x="274" y="225"/>
                  </a:cubicBezTo>
                  <a:close/>
                  <a:moveTo>
                    <a:pt x="8" y="217"/>
                  </a:moveTo>
                  <a:cubicBezTo>
                    <a:pt x="270" y="217"/>
                    <a:pt x="270" y="217"/>
                    <a:pt x="270" y="217"/>
                  </a:cubicBezTo>
                  <a:cubicBezTo>
                    <a:pt x="270" y="9"/>
                    <a:pt x="270" y="9"/>
                    <a:pt x="270" y="9"/>
                  </a:cubicBezTo>
                  <a:cubicBezTo>
                    <a:pt x="8" y="9"/>
                    <a:pt x="8" y="9"/>
                    <a:pt x="8" y="9"/>
                  </a:cubicBezTo>
                  <a:lnTo>
                    <a:pt x="8" y="21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6" name="Freeform 155">
              <a:extLst>
                <a:ext uri="{FF2B5EF4-FFF2-40B4-BE49-F238E27FC236}">
                  <a16:creationId xmlns:a16="http://schemas.microsoft.com/office/drawing/2014/main" id="{5CDADA5B-DDBF-8BAD-150C-D91F3B9B4E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8922571" y="5304120"/>
              <a:ext cx="701132" cy="126368"/>
            </a:xfrm>
            <a:custGeom>
              <a:avLst/>
              <a:gdLst>
                <a:gd name="T0" fmla="*/ 274 w 278"/>
                <a:gd name="T1" fmla="*/ 50 h 50"/>
                <a:gd name="T2" fmla="*/ 4 w 278"/>
                <a:gd name="T3" fmla="*/ 50 h 50"/>
                <a:gd name="T4" fmla="*/ 0 w 278"/>
                <a:gd name="T5" fmla="*/ 46 h 50"/>
                <a:gd name="T6" fmla="*/ 0 w 278"/>
                <a:gd name="T7" fmla="*/ 4 h 50"/>
                <a:gd name="T8" fmla="*/ 4 w 278"/>
                <a:gd name="T9" fmla="*/ 0 h 50"/>
                <a:gd name="T10" fmla="*/ 274 w 278"/>
                <a:gd name="T11" fmla="*/ 0 h 50"/>
                <a:gd name="T12" fmla="*/ 278 w 278"/>
                <a:gd name="T13" fmla="*/ 4 h 50"/>
                <a:gd name="T14" fmla="*/ 278 w 278"/>
                <a:gd name="T15" fmla="*/ 46 h 50"/>
                <a:gd name="T16" fmla="*/ 274 w 278"/>
                <a:gd name="T17" fmla="*/ 50 h 50"/>
                <a:gd name="T18" fmla="*/ 8 w 278"/>
                <a:gd name="T19" fmla="*/ 42 h 50"/>
                <a:gd name="T20" fmla="*/ 270 w 278"/>
                <a:gd name="T21" fmla="*/ 42 h 50"/>
                <a:gd name="T22" fmla="*/ 270 w 278"/>
                <a:gd name="T23" fmla="*/ 9 h 50"/>
                <a:gd name="T24" fmla="*/ 8 w 278"/>
                <a:gd name="T25" fmla="*/ 9 h 50"/>
                <a:gd name="T26" fmla="*/ 8 w 278"/>
                <a:gd name="T27" fmla="*/ 42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78" h="50">
                  <a:moveTo>
                    <a:pt x="274" y="50"/>
                  </a:moveTo>
                  <a:cubicBezTo>
                    <a:pt x="4" y="50"/>
                    <a:pt x="4" y="50"/>
                    <a:pt x="4" y="50"/>
                  </a:cubicBezTo>
                  <a:cubicBezTo>
                    <a:pt x="2" y="50"/>
                    <a:pt x="0" y="49"/>
                    <a:pt x="0" y="4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74" y="0"/>
                    <a:pt x="274" y="0"/>
                    <a:pt x="274" y="0"/>
                  </a:cubicBezTo>
                  <a:cubicBezTo>
                    <a:pt x="276" y="0"/>
                    <a:pt x="278" y="2"/>
                    <a:pt x="278" y="4"/>
                  </a:cubicBezTo>
                  <a:cubicBezTo>
                    <a:pt x="278" y="46"/>
                    <a:pt x="278" y="46"/>
                    <a:pt x="278" y="46"/>
                  </a:cubicBezTo>
                  <a:cubicBezTo>
                    <a:pt x="278" y="49"/>
                    <a:pt x="276" y="50"/>
                    <a:pt x="274" y="50"/>
                  </a:cubicBezTo>
                  <a:close/>
                  <a:moveTo>
                    <a:pt x="8" y="42"/>
                  </a:moveTo>
                  <a:cubicBezTo>
                    <a:pt x="270" y="42"/>
                    <a:pt x="270" y="42"/>
                    <a:pt x="270" y="42"/>
                  </a:cubicBezTo>
                  <a:cubicBezTo>
                    <a:pt x="270" y="9"/>
                    <a:pt x="270" y="9"/>
                    <a:pt x="270" y="9"/>
                  </a:cubicBezTo>
                  <a:cubicBezTo>
                    <a:pt x="8" y="9"/>
                    <a:pt x="8" y="9"/>
                    <a:pt x="8" y="9"/>
                  </a:cubicBezTo>
                  <a:lnTo>
                    <a:pt x="8" y="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7" name="Freeform 156">
              <a:extLst>
                <a:ext uri="{FF2B5EF4-FFF2-40B4-BE49-F238E27FC236}">
                  <a16:creationId xmlns:a16="http://schemas.microsoft.com/office/drawing/2014/main" id="{59BE76BD-608C-E50A-EA08-D12F2558732F}"/>
                </a:ext>
              </a:extLst>
            </p:cNvPr>
            <p:cNvSpPr>
              <a:spLocks/>
            </p:cNvSpPr>
            <p:nvPr/>
          </p:nvSpPr>
          <p:spPr bwMode="auto">
            <a:xfrm>
              <a:off x="-8869580" y="5357113"/>
              <a:ext cx="20383" cy="24458"/>
            </a:xfrm>
            <a:custGeom>
              <a:avLst/>
              <a:gdLst>
                <a:gd name="T0" fmla="*/ 4 w 8"/>
                <a:gd name="T1" fmla="*/ 9 h 9"/>
                <a:gd name="T2" fmla="*/ 1 w 8"/>
                <a:gd name="T3" fmla="*/ 7 h 9"/>
                <a:gd name="T4" fmla="*/ 0 w 8"/>
                <a:gd name="T5" fmla="*/ 4 h 9"/>
                <a:gd name="T6" fmla="*/ 0 w 8"/>
                <a:gd name="T7" fmla="*/ 4 h 9"/>
                <a:gd name="T8" fmla="*/ 0 w 8"/>
                <a:gd name="T9" fmla="*/ 3 h 9"/>
                <a:gd name="T10" fmla="*/ 1 w 8"/>
                <a:gd name="T11" fmla="*/ 2 h 9"/>
                <a:gd name="T12" fmla="*/ 1 w 8"/>
                <a:gd name="T13" fmla="*/ 1 h 9"/>
                <a:gd name="T14" fmla="*/ 7 w 8"/>
                <a:gd name="T15" fmla="*/ 1 h 9"/>
                <a:gd name="T16" fmla="*/ 8 w 8"/>
                <a:gd name="T17" fmla="*/ 4 h 9"/>
                <a:gd name="T18" fmla="*/ 7 w 8"/>
                <a:gd name="T19" fmla="*/ 7 h 9"/>
                <a:gd name="T20" fmla="*/ 4 w 8"/>
                <a:gd name="T21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3" y="9"/>
                    <a:pt x="2" y="8"/>
                    <a:pt x="1" y="7"/>
                  </a:cubicBezTo>
                  <a:cubicBezTo>
                    <a:pt x="0" y="7"/>
                    <a:pt x="0" y="5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2"/>
                    <a:pt x="1" y="2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3" y="0"/>
                    <a:pt x="5" y="0"/>
                    <a:pt x="7" y="1"/>
                  </a:cubicBezTo>
                  <a:cubicBezTo>
                    <a:pt x="8" y="2"/>
                    <a:pt x="8" y="3"/>
                    <a:pt x="8" y="4"/>
                  </a:cubicBezTo>
                  <a:cubicBezTo>
                    <a:pt x="8" y="5"/>
                    <a:pt x="8" y="7"/>
                    <a:pt x="7" y="7"/>
                  </a:cubicBezTo>
                  <a:cubicBezTo>
                    <a:pt x="6" y="8"/>
                    <a:pt x="5" y="9"/>
                    <a:pt x="4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8" name="Freeform 157">
              <a:extLst>
                <a:ext uri="{FF2B5EF4-FFF2-40B4-BE49-F238E27FC236}">
                  <a16:creationId xmlns:a16="http://schemas.microsoft.com/office/drawing/2014/main" id="{09F3BB3C-ABBD-D40A-7EF5-0A44F207B81E}"/>
                </a:ext>
              </a:extLst>
            </p:cNvPr>
            <p:cNvSpPr>
              <a:spLocks/>
            </p:cNvSpPr>
            <p:nvPr/>
          </p:nvSpPr>
          <p:spPr bwMode="auto">
            <a:xfrm>
              <a:off x="-8788053" y="5357113"/>
              <a:ext cx="20383" cy="24458"/>
            </a:xfrm>
            <a:custGeom>
              <a:avLst/>
              <a:gdLst>
                <a:gd name="T0" fmla="*/ 4 w 8"/>
                <a:gd name="T1" fmla="*/ 9 h 9"/>
                <a:gd name="T2" fmla="*/ 1 w 8"/>
                <a:gd name="T3" fmla="*/ 7 h 9"/>
                <a:gd name="T4" fmla="*/ 0 w 8"/>
                <a:gd name="T5" fmla="*/ 4 h 9"/>
                <a:gd name="T6" fmla="*/ 1 w 8"/>
                <a:gd name="T7" fmla="*/ 1 h 9"/>
                <a:gd name="T8" fmla="*/ 7 w 8"/>
                <a:gd name="T9" fmla="*/ 1 h 9"/>
                <a:gd name="T10" fmla="*/ 8 w 8"/>
                <a:gd name="T11" fmla="*/ 4 h 9"/>
                <a:gd name="T12" fmla="*/ 7 w 8"/>
                <a:gd name="T13" fmla="*/ 7 h 9"/>
                <a:gd name="T14" fmla="*/ 4 w 8"/>
                <a:gd name="T1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3" y="9"/>
                    <a:pt x="2" y="8"/>
                    <a:pt x="1" y="7"/>
                  </a:cubicBezTo>
                  <a:cubicBezTo>
                    <a:pt x="1" y="7"/>
                    <a:pt x="0" y="5"/>
                    <a:pt x="0" y="4"/>
                  </a:cubicBezTo>
                  <a:cubicBezTo>
                    <a:pt x="0" y="3"/>
                    <a:pt x="1" y="2"/>
                    <a:pt x="1" y="1"/>
                  </a:cubicBezTo>
                  <a:cubicBezTo>
                    <a:pt x="3" y="0"/>
                    <a:pt x="6" y="0"/>
                    <a:pt x="7" y="1"/>
                  </a:cubicBezTo>
                  <a:cubicBezTo>
                    <a:pt x="8" y="2"/>
                    <a:pt x="8" y="3"/>
                    <a:pt x="8" y="4"/>
                  </a:cubicBezTo>
                  <a:cubicBezTo>
                    <a:pt x="8" y="5"/>
                    <a:pt x="8" y="7"/>
                    <a:pt x="7" y="7"/>
                  </a:cubicBezTo>
                  <a:cubicBezTo>
                    <a:pt x="6" y="8"/>
                    <a:pt x="5" y="9"/>
                    <a:pt x="4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9" name="Freeform 158">
              <a:extLst>
                <a:ext uri="{FF2B5EF4-FFF2-40B4-BE49-F238E27FC236}">
                  <a16:creationId xmlns:a16="http://schemas.microsoft.com/office/drawing/2014/main" id="{4B946619-C970-F543-5B42-D3AFF881D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-8824739" y="5357113"/>
              <a:ext cx="20383" cy="24458"/>
            </a:xfrm>
            <a:custGeom>
              <a:avLst/>
              <a:gdLst>
                <a:gd name="T0" fmla="*/ 4 w 8"/>
                <a:gd name="T1" fmla="*/ 9 h 9"/>
                <a:gd name="T2" fmla="*/ 1 w 8"/>
                <a:gd name="T3" fmla="*/ 7 h 9"/>
                <a:gd name="T4" fmla="*/ 0 w 8"/>
                <a:gd name="T5" fmla="*/ 4 h 9"/>
                <a:gd name="T6" fmla="*/ 0 w 8"/>
                <a:gd name="T7" fmla="*/ 4 h 9"/>
                <a:gd name="T8" fmla="*/ 0 w 8"/>
                <a:gd name="T9" fmla="*/ 3 h 9"/>
                <a:gd name="T10" fmla="*/ 0 w 8"/>
                <a:gd name="T11" fmla="*/ 2 h 9"/>
                <a:gd name="T12" fmla="*/ 1 w 8"/>
                <a:gd name="T13" fmla="*/ 1 h 9"/>
                <a:gd name="T14" fmla="*/ 7 w 8"/>
                <a:gd name="T15" fmla="*/ 1 h 9"/>
                <a:gd name="T16" fmla="*/ 8 w 8"/>
                <a:gd name="T17" fmla="*/ 4 h 9"/>
                <a:gd name="T18" fmla="*/ 7 w 8"/>
                <a:gd name="T19" fmla="*/ 7 h 9"/>
                <a:gd name="T20" fmla="*/ 4 w 8"/>
                <a:gd name="T21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" h="9">
                  <a:moveTo>
                    <a:pt x="4" y="9"/>
                  </a:moveTo>
                  <a:cubicBezTo>
                    <a:pt x="3" y="9"/>
                    <a:pt x="2" y="8"/>
                    <a:pt x="1" y="7"/>
                  </a:cubicBezTo>
                  <a:cubicBezTo>
                    <a:pt x="0" y="7"/>
                    <a:pt x="0" y="5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2"/>
                    <a:pt x="0" y="2"/>
                  </a:cubicBezTo>
                  <a:cubicBezTo>
                    <a:pt x="0" y="2"/>
                    <a:pt x="1" y="2"/>
                    <a:pt x="1" y="1"/>
                  </a:cubicBezTo>
                  <a:cubicBezTo>
                    <a:pt x="2" y="0"/>
                    <a:pt x="5" y="0"/>
                    <a:pt x="7" y="1"/>
                  </a:cubicBezTo>
                  <a:cubicBezTo>
                    <a:pt x="7" y="2"/>
                    <a:pt x="8" y="3"/>
                    <a:pt x="8" y="4"/>
                  </a:cubicBezTo>
                  <a:cubicBezTo>
                    <a:pt x="8" y="5"/>
                    <a:pt x="7" y="7"/>
                    <a:pt x="7" y="7"/>
                  </a:cubicBezTo>
                  <a:cubicBezTo>
                    <a:pt x="6" y="8"/>
                    <a:pt x="5" y="9"/>
                    <a:pt x="4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0" name="Freeform 159">
              <a:extLst>
                <a:ext uri="{FF2B5EF4-FFF2-40B4-BE49-F238E27FC236}">
                  <a16:creationId xmlns:a16="http://schemas.microsoft.com/office/drawing/2014/main" id="{0D330FB9-0606-CAC7-8AEA-41EC1D9100A8}"/>
                </a:ext>
              </a:extLst>
            </p:cNvPr>
            <p:cNvSpPr>
              <a:spLocks/>
            </p:cNvSpPr>
            <p:nvPr/>
          </p:nvSpPr>
          <p:spPr bwMode="auto">
            <a:xfrm>
              <a:off x="-8841044" y="5499784"/>
              <a:ext cx="289422" cy="20383"/>
            </a:xfrm>
            <a:custGeom>
              <a:avLst/>
              <a:gdLst>
                <a:gd name="T0" fmla="*/ 111 w 115"/>
                <a:gd name="T1" fmla="*/ 8 h 8"/>
                <a:gd name="T2" fmla="*/ 5 w 115"/>
                <a:gd name="T3" fmla="*/ 8 h 8"/>
                <a:gd name="T4" fmla="*/ 0 w 115"/>
                <a:gd name="T5" fmla="*/ 4 h 8"/>
                <a:gd name="T6" fmla="*/ 5 w 115"/>
                <a:gd name="T7" fmla="*/ 0 h 8"/>
                <a:gd name="T8" fmla="*/ 111 w 115"/>
                <a:gd name="T9" fmla="*/ 0 h 8"/>
                <a:gd name="T10" fmla="*/ 115 w 115"/>
                <a:gd name="T11" fmla="*/ 4 h 8"/>
                <a:gd name="T12" fmla="*/ 111 w 115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5" h="8">
                  <a:moveTo>
                    <a:pt x="111" y="8"/>
                  </a:moveTo>
                  <a:cubicBezTo>
                    <a:pt x="5" y="8"/>
                    <a:pt x="5" y="8"/>
                    <a:pt x="5" y="8"/>
                  </a:cubicBezTo>
                  <a:cubicBezTo>
                    <a:pt x="2" y="8"/>
                    <a:pt x="0" y="7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13" y="0"/>
                    <a:pt x="115" y="2"/>
                    <a:pt x="115" y="4"/>
                  </a:cubicBezTo>
                  <a:cubicBezTo>
                    <a:pt x="115" y="7"/>
                    <a:pt x="113" y="8"/>
                    <a:pt x="111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1" name="Freeform 160">
              <a:extLst>
                <a:ext uri="{FF2B5EF4-FFF2-40B4-BE49-F238E27FC236}">
                  <a16:creationId xmlns:a16="http://schemas.microsoft.com/office/drawing/2014/main" id="{5771AE13-FE53-4E15-BDBD-A211E3DB5697}"/>
                </a:ext>
              </a:extLst>
            </p:cNvPr>
            <p:cNvSpPr>
              <a:spLocks/>
            </p:cNvSpPr>
            <p:nvPr/>
          </p:nvSpPr>
          <p:spPr bwMode="auto">
            <a:xfrm>
              <a:off x="-8841044" y="5581311"/>
              <a:ext cx="529925" cy="24458"/>
            </a:xfrm>
            <a:custGeom>
              <a:avLst/>
              <a:gdLst>
                <a:gd name="T0" fmla="*/ 205 w 209"/>
                <a:gd name="T1" fmla="*/ 9 h 9"/>
                <a:gd name="T2" fmla="*/ 5 w 209"/>
                <a:gd name="T3" fmla="*/ 9 h 9"/>
                <a:gd name="T4" fmla="*/ 0 w 209"/>
                <a:gd name="T5" fmla="*/ 5 h 9"/>
                <a:gd name="T6" fmla="*/ 5 w 209"/>
                <a:gd name="T7" fmla="*/ 0 h 9"/>
                <a:gd name="T8" fmla="*/ 205 w 209"/>
                <a:gd name="T9" fmla="*/ 0 h 9"/>
                <a:gd name="T10" fmla="*/ 209 w 209"/>
                <a:gd name="T11" fmla="*/ 5 h 9"/>
                <a:gd name="T12" fmla="*/ 205 w 209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9" h="9">
                  <a:moveTo>
                    <a:pt x="205" y="9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205" y="0"/>
                    <a:pt x="205" y="0"/>
                    <a:pt x="205" y="0"/>
                  </a:cubicBezTo>
                  <a:cubicBezTo>
                    <a:pt x="207" y="0"/>
                    <a:pt x="209" y="2"/>
                    <a:pt x="209" y="5"/>
                  </a:cubicBezTo>
                  <a:cubicBezTo>
                    <a:pt x="209" y="7"/>
                    <a:pt x="207" y="9"/>
                    <a:pt x="205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2" name="Freeform 161">
              <a:extLst>
                <a:ext uri="{FF2B5EF4-FFF2-40B4-BE49-F238E27FC236}">
                  <a16:creationId xmlns:a16="http://schemas.microsoft.com/office/drawing/2014/main" id="{2577D2F3-163C-D29D-FF72-7AD78A77EB56}"/>
                </a:ext>
              </a:extLst>
            </p:cNvPr>
            <p:cNvSpPr>
              <a:spLocks/>
            </p:cNvSpPr>
            <p:nvPr/>
          </p:nvSpPr>
          <p:spPr bwMode="auto">
            <a:xfrm>
              <a:off x="-8841044" y="5666916"/>
              <a:ext cx="529925" cy="20383"/>
            </a:xfrm>
            <a:custGeom>
              <a:avLst/>
              <a:gdLst>
                <a:gd name="T0" fmla="*/ 205 w 209"/>
                <a:gd name="T1" fmla="*/ 8 h 8"/>
                <a:gd name="T2" fmla="*/ 5 w 209"/>
                <a:gd name="T3" fmla="*/ 8 h 8"/>
                <a:gd name="T4" fmla="*/ 0 w 209"/>
                <a:gd name="T5" fmla="*/ 4 h 8"/>
                <a:gd name="T6" fmla="*/ 5 w 209"/>
                <a:gd name="T7" fmla="*/ 0 h 8"/>
                <a:gd name="T8" fmla="*/ 205 w 209"/>
                <a:gd name="T9" fmla="*/ 0 h 8"/>
                <a:gd name="T10" fmla="*/ 209 w 209"/>
                <a:gd name="T11" fmla="*/ 4 h 8"/>
                <a:gd name="T12" fmla="*/ 205 w 209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9" h="8">
                  <a:moveTo>
                    <a:pt x="205" y="8"/>
                  </a:moveTo>
                  <a:cubicBezTo>
                    <a:pt x="5" y="8"/>
                    <a:pt x="5" y="8"/>
                    <a:pt x="5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205" y="0"/>
                    <a:pt x="205" y="0"/>
                    <a:pt x="205" y="0"/>
                  </a:cubicBezTo>
                  <a:cubicBezTo>
                    <a:pt x="207" y="0"/>
                    <a:pt x="209" y="2"/>
                    <a:pt x="209" y="4"/>
                  </a:cubicBezTo>
                  <a:cubicBezTo>
                    <a:pt x="209" y="6"/>
                    <a:pt x="207" y="8"/>
                    <a:pt x="205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3" name="Freeform 162">
              <a:extLst>
                <a:ext uri="{FF2B5EF4-FFF2-40B4-BE49-F238E27FC236}">
                  <a16:creationId xmlns:a16="http://schemas.microsoft.com/office/drawing/2014/main" id="{D06F80DE-EB88-CF4D-3897-1AE664C68EFC}"/>
                </a:ext>
              </a:extLst>
            </p:cNvPr>
            <p:cNvSpPr>
              <a:spLocks/>
            </p:cNvSpPr>
            <p:nvPr/>
          </p:nvSpPr>
          <p:spPr bwMode="auto">
            <a:xfrm>
              <a:off x="-8669837" y="5752518"/>
              <a:ext cx="358719" cy="20383"/>
            </a:xfrm>
            <a:custGeom>
              <a:avLst/>
              <a:gdLst>
                <a:gd name="T0" fmla="*/ 138 w 142"/>
                <a:gd name="T1" fmla="*/ 8 h 8"/>
                <a:gd name="T2" fmla="*/ 4 w 142"/>
                <a:gd name="T3" fmla="*/ 8 h 8"/>
                <a:gd name="T4" fmla="*/ 0 w 142"/>
                <a:gd name="T5" fmla="*/ 4 h 8"/>
                <a:gd name="T6" fmla="*/ 4 w 142"/>
                <a:gd name="T7" fmla="*/ 0 h 8"/>
                <a:gd name="T8" fmla="*/ 138 w 142"/>
                <a:gd name="T9" fmla="*/ 0 h 8"/>
                <a:gd name="T10" fmla="*/ 142 w 142"/>
                <a:gd name="T11" fmla="*/ 4 h 8"/>
                <a:gd name="T12" fmla="*/ 138 w 142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2" h="8">
                  <a:moveTo>
                    <a:pt x="138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40" y="0"/>
                    <a:pt x="142" y="2"/>
                    <a:pt x="142" y="4"/>
                  </a:cubicBezTo>
                  <a:cubicBezTo>
                    <a:pt x="142" y="6"/>
                    <a:pt x="140" y="8"/>
                    <a:pt x="138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9" name="Shape19_20200717_154352">
            <a:extLst>
              <a:ext uri="{FF2B5EF4-FFF2-40B4-BE49-F238E27FC236}">
                <a16:creationId xmlns:a16="http://schemas.microsoft.com/office/drawing/2014/main" id="{85B5CEB6-589C-E46B-A624-7A3940B021AD}"/>
              </a:ext>
            </a:extLst>
          </p:cNvPr>
          <p:cNvGrpSpPr>
            <a:grpSpLocks noChangeAspect="1"/>
          </p:cNvGrpSpPr>
          <p:nvPr/>
        </p:nvGrpSpPr>
        <p:grpSpPr>
          <a:xfrm>
            <a:off x="1961738" y="2546354"/>
            <a:ext cx="476935" cy="570689"/>
            <a:chOff x="-3431731" y="2430296"/>
            <a:chExt cx="476935" cy="570689"/>
          </a:xfrm>
          <a:solidFill>
            <a:schemeClr val="accent1"/>
          </a:solidFill>
        </p:grpSpPr>
        <p:sp>
          <p:nvSpPr>
            <p:cNvPr id="135" name="Freeform 163">
              <a:extLst>
                <a:ext uri="{FF2B5EF4-FFF2-40B4-BE49-F238E27FC236}">
                  <a16:creationId xmlns:a16="http://schemas.microsoft.com/office/drawing/2014/main" id="{EB73D32E-1565-2395-1C78-FE19AD2F35F8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31731" y="2466982"/>
              <a:ext cx="52994" cy="20383"/>
            </a:xfrm>
            <a:custGeom>
              <a:avLst/>
              <a:gdLst>
                <a:gd name="T0" fmla="*/ 17 w 21"/>
                <a:gd name="T1" fmla="*/ 8 h 8"/>
                <a:gd name="T2" fmla="*/ 4 w 21"/>
                <a:gd name="T3" fmla="*/ 8 h 8"/>
                <a:gd name="T4" fmla="*/ 0 w 21"/>
                <a:gd name="T5" fmla="*/ 4 h 8"/>
                <a:gd name="T6" fmla="*/ 4 w 21"/>
                <a:gd name="T7" fmla="*/ 0 h 8"/>
                <a:gd name="T8" fmla="*/ 17 w 21"/>
                <a:gd name="T9" fmla="*/ 0 h 8"/>
                <a:gd name="T10" fmla="*/ 21 w 21"/>
                <a:gd name="T11" fmla="*/ 4 h 8"/>
                <a:gd name="T12" fmla="*/ 17 w 21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8">
                  <a:moveTo>
                    <a:pt x="17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9" y="0"/>
                    <a:pt x="21" y="2"/>
                    <a:pt x="21" y="4"/>
                  </a:cubicBezTo>
                  <a:cubicBezTo>
                    <a:pt x="21" y="6"/>
                    <a:pt x="19" y="8"/>
                    <a:pt x="17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6" name="Freeform 164">
              <a:extLst>
                <a:ext uri="{FF2B5EF4-FFF2-40B4-BE49-F238E27FC236}">
                  <a16:creationId xmlns:a16="http://schemas.microsoft.com/office/drawing/2014/main" id="{425CE586-919F-250F-44C0-BB36DFD496CB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31731" y="2544434"/>
              <a:ext cx="52994" cy="20383"/>
            </a:xfrm>
            <a:custGeom>
              <a:avLst/>
              <a:gdLst>
                <a:gd name="T0" fmla="*/ 17 w 21"/>
                <a:gd name="T1" fmla="*/ 9 h 9"/>
                <a:gd name="T2" fmla="*/ 4 w 21"/>
                <a:gd name="T3" fmla="*/ 9 h 9"/>
                <a:gd name="T4" fmla="*/ 0 w 21"/>
                <a:gd name="T5" fmla="*/ 4 h 9"/>
                <a:gd name="T6" fmla="*/ 4 w 21"/>
                <a:gd name="T7" fmla="*/ 0 h 9"/>
                <a:gd name="T8" fmla="*/ 17 w 21"/>
                <a:gd name="T9" fmla="*/ 0 h 9"/>
                <a:gd name="T10" fmla="*/ 21 w 21"/>
                <a:gd name="T11" fmla="*/ 4 h 9"/>
                <a:gd name="T12" fmla="*/ 17 w 21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9">
                  <a:moveTo>
                    <a:pt x="17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9" y="0"/>
                    <a:pt x="21" y="2"/>
                    <a:pt x="21" y="4"/>
                  </a:cubicBezTo>
                  <a:cubicBezTo>
                    <a:pt x="21" y="7"/>
                    <a:pt x="19" y="9"/>
                    <a:pt x="17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7" name="Freeform 165">
              <a:extLst>
                <a:ext uri="{FF2B5EF4-FFF2-40B4-BE49-F238E27FC236}">
                  <a16:creationId xmlns:a16="http://schemas.microsoft.com/office/drawing/2014/main" id="{34FF6A22-8E4F-A4E3-DAD6-3FB2BC387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31731" y="2621883"/>
              <a:ext cx="52994" cy="20383"/>
            </a:xfrm>
            <a:custGeom>
              <a:avLst/>
              <a:gdLst>
                <a:gd name="T0" fmla="*/ 17 w 21"/>
                <a:gd name="T1" fmla="*/ 8 h 8"/>
                <a:gd name="T2" fmla="*/ 4 w 21"/>
                <a:gd name="T3" fmla="*/ 8 h 8"/>
                <a:gd name="T4" fmla="*/ 0 w 21"/>
                <a:gd name="T5" fmla="*/ 4 h 8"/>
                <a:gd name="T6" fmla="*/ 4 w 21"/>
                <a:gd name="T7" fmla="*/ 0 h 8"/>
                <a:gd name="T8" fmla="*/ 17 w 21"/>
                <a:gd name="T9" fmla="*/ 0 h 8"/>
                <a:gd name="T10" fmla="*/ 21 w 21"/>
                <a:gd name="T11" fmla="*/ 4 h 8"/>
                <a:gd name="T12" fmla="*/ 17 w 21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8">
                  <a:moveTo>
                    <a:pt x="17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9" y="0"/>
                    <a:pt x="21" y="2"/>
                    <a:pt x="21" y="4"/>
                  </a:cubicBezTo>
                  <a:cubicBezTo>
                    <a:pt x="21" y="6"/>
                    <a:pt x="19" y="8"/>
                    <a:pt x="17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8" name="Freeform 166">
              <a:extLst>
                <a:ext uri="{FF2B5EF4-FFF2-40B4-BE49-F238E27FC236}">
                  <a16:creationId xmlns:a16="http://schemas.microsoft.com/office/drawing/2014/main" id="{FDE8B4CE-5CF8-2261-9C3E-B8B19E651D91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31731" y="2703410"/>
              <a:ext cx="52994" cy="20383"/>
            </a:xfrm>
            <a:custGeom>
              <a:avLst/>
              <a:gdLst>
                <a:gd name="T0" fmla="*/ 17 w 21"/>
                <a:gd name="T1" fmla="*/ 8 h 8"/>
                <a:gd name="T2" fmla="*/ 4 w 21"/>
                <a:gd name="T3" fmla="*/ 8 h 8"/>
                <a:gd name="T4" fmla="*/ 0 w 21"/>
                <a:gd name="T5" fmla="*/ 4 h 8"/>
                <a:gd name="T6" fmla="*/ 4 w 21"/>
                <a:gd name="T7" fmla="*/ 0 h 8"/>
                <a:gd name="T8" fmla="*/ 17 w 21"/>
                <a:gd name="T9" fmla="*/ 0 h 8"/>
                <a:gd name="T10" fmla="*/ 21 w 21"/>
                <a:gd name="T11" fmla="*/ 4 h 8"/>
                <a:gd name="T12" fmla="*/ 17 w 21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8">
                  <a:moveTo>
                    <a:pt x="17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9" y="0"/>
                    <a:pt x="21" y="1"/>
                    <a:pt x="21" y="4"/>
                  </a:cubicBezTo>
                  <a:cubicBezTo>
                    <a:pt x="21" y="6"/>
                    <a:pt x="19" y="8"/>
                    <a:pt x="17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9" name="Freeform 167">
              <a:extLst>
                <a:ext uri="{FF2B5EF4-FFF2-40B4-BE49-F238E27FC236}">
                  <a16:creationId xmlns:a16="http://schemas.microsoft.com/office/drawing/2014/main" id="{343115AA-3179-B1F5-A954-28D421C3A0B3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31731" y="2780862"/>
              <a:ext cx="52994" cy="20383"/>
            </a:xfrm>
            <a:custGeom>
              <a:avLst/>
              <a:gdLst>
                <a:gd name="T0" fmla="*/ 17 w 21"/>
                <a:gd name="T1" fmla="*/ 8 h 8"/>
                <a:gd name="T2" fmla="*/ 4 w 21"/>
                <a:gd name="T3" fmla="*/ 8 h 8"/>
                <a:gd name="T4" fmla="*/ 0 w 21"/>
                <a:gd name="T5" fmla="*/ 4 h 8"/>
                <a:gd name="T6" fmla="*/ 4 w 21"/>
                <a:gd name="T7" fmla="*/ 0 h 8"/>
                <a:gd name="T8" fmla="*/ 17 w 21"/>
                <a:gd name="T9" fmla="*/ 0 h 8"/>
                <a:gd name="T10" fmla="*/ 21 w 21"/>
                <a:gd name="T11" fmla="*/ 4 h 8"/>
                <a:gd name="T12" fmla="*/ 17 w 21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8">
                  <a:moveTo>
                    <a:pt x="17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7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9" y="0"/>
                    <a:pt x="21" y="2"/>
                    <a:pt x="21" y="4"/>
                  </a:cubicBezTo>
                  <a:cubicBezTo>
                    <a:pt x="21" y="7"/>
                    <a:pt x="19" y="8"/>
                    <a:pt x="17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0" name="Freeform 168">
              <a:extLst>
                <a:ext uri="{FF2B5EF4-FFF2-40B4-BE49-F238E27FC236}">
                  <a16:creationId xmlns:a16="http://schemas.microsoft.com/office/drawing/2014/main" id="{3FC67C74-149E-39CE-2EF2-1670A8091594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31731" y="2862389"/>
              <a:ext cx="52994" cy="20383"/>
            </a:xfrm>
            <a:custGeom>
              <a:avLst/>
              <a:gdLst>
                <a:gd name="T0" fmla="*/ 17 w 21"/>
                <a:gd name="T1" fmla="*/ 8 h 8"/>
                <a:gd name="T2" fmla="*/ 4 w 21"/>
                <a:gd name="T3" fmla="*/ 8 h 8"/>
                <a:gd name="T4" fmla="*/ 0 w 21"/>
                <a:gd name="T5" fmla="*/ 4 h 8"/>
                <a:gd name="T6" fmla="*/ 4 w 21"/>
                <a:gd name="T7" fmla="*/ 0 h 8"/>
                <a:gd name="T8" fmla="*/ 17 w 21"/>
                <a:gd name="T9" fmla="*/ 0 h 8"/>
                <a:gd name="T10" fmla="*/ 21 w 21"/>
                <a:gd name="T11" fmla="*/ 4 h 8"/>
                <a:gd name="T12" fmla="*/ 17 w 21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8">
                  <a:moveTo>
                    <a:pt x="17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9" y="0"/>
                    <a:pt x="21" y="2"/>
                    <a:pt x="21" y="4"/>
                  </a:cubicBezTo>
                  <a:cubicBezTo>
                    <a:pt x="21" y="6"/>
                    <a:pt x="19" y="8"/>
                    <a:pt x="17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1" name="Freeform 169">
              <a:extLst>
                <a:ext uri="{FF2B5EF4-FFF2-40B4-BE49-F238E27FC236}">
                  <a16:creationId xmlns:a16="http://schemas.microsoft.com/office/drawing/2014/main" id="{6B15C908-5D00-6394-E8DA-8D5C4087343F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31731" y="2939838"/>
              <a:ext cx="52994" cy="24458"/>
            </a:xfrm>
            <a:custGeom>
              <a:avLst/>
              <a:gdLst>
                <a:gd name="T0" fmla="*/ 17 w 21"/>
                <a:gd name="T1" fmla="*/ 9 h 9"/>
                <a:gd name="T2" fmla="*/ 4 w 21"/>
                <a:gd name="T3" fmla="*/ 9 h 9"/>
                <a:gd name="T4" fmla="*/ 0 w 21"/>
                <a:gd name="T5" fmla="*/ 5 h 9"/>
                <a:gd name="T6" fmla="*/ 4 w 21"/>
                <a:gd name="T7" fmla="*/ 0 h 9"/>
                <a:gd name="T8" fmla="*/ 17 w 21"/>
                <a:gd name="T9" fmla="*/ 0 h 9"/>
                <a:gd name="T10" fmla="*/ 21 w 21"/>
                <a:gd name="T11" fmla="*/ 5 h 9"/>
                <a:gd name="T12" fmla="*/ 17 w 21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9">
                  <a:moveTo>
                    <a:pt x="17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9" y="0"/>
                    <a:pt x="21" y="2"/>
                    <a:pt x="21" y="5"/>
                  </a:cubicBezTo>
                  <a:cubicBezTo>
                    <a:pt x="21" y="7"/>
                    <a:pt x="19" y="9"/>
                    <a:pt x="17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2" name="Freeform 170">
              <a:extLst>
                <a:ext uri="{FF2B5EF4-FFF2-40B4-BE49-F238E27FC236}">
                  <a16:creationId xmlns:a16="http://schemas.microsoft.com/office/drawing/2014/main" id="{0EABFC71-5A30-6E9B-B19B-FCF7025334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395042" y="2430296"/>
              <a:ext cx="440246" cy="570689"/>
            </a:xfrm>
            <a:custGeom>
              <a:avLst/>
              <a:gdLst>
                <a:gd name="T0" fmla="*/ 170 w 174"/>
                <a:gd name="T1" fmla="*/ 226 h 226"/>
                <a:gd name="T2" fmla="*/ 4 w 174"/>
                <a:gd name="T3" fmla="*/ 226 h 226"/>
                <a:gd name="T4" fmla="*/ 0 w 174"/>
                <a:gd name="T5" fmla="*/ 222 h 226"/>
                <a:gd name="T6" fmla="*/ 0 w 174"/>
                <a:gd name="T7" fmla="*/ 4 h 226"/>
                <a:gd name="T8" fmla="*/ 4 w 174"/>
                <a:gd name="T9" fmla="*/ 0 h 226"/>
                <a:gd name="T10" fmla="*/ 170 w 174"/>
                <a:gd name="T11" fmla="*/ 0 h 226"/>
                <a:gd name="T12" fmla="*/ 174 w 174"/>
                <a:gd name="T13" fmla="*/ 4 h 226"/>
                <a:gd name="T14" fmla="*/ 174 w 174"/>
                <a:gd name="T15" fmla="*/ 222 h 226"/>
                <a:gd name="T16" fmla="*/ 170 w 174"/>
                <a:gd name="T17" fmla="*/ 226 h 226"/>
                <a:gd name="T18" fmla="*/ 9 w 174"/>
                <a:gd name="T19" fmla="*/ 218 h 226"/>
                <a:gd name="T20" fmla="*/ 166 w 174"/>
                <a:gd name="T21" fmla="*/ 218 h 226"/>
                <a:gd name="T22" fmla="*/ 166 w 174"/>
                <a:gd name="T23" fmla="*/ 8 h 226"/>
                <a:gd name="T24" fmla="*/ 9 w 174"/>
                <a:gd name="T25" fmla="*/ 8 h 226"/>
                <a:gd name="T26" fmla="*/ 9 w 174"/>
                <a:gd name="T27" fmla="*/ 218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4" h="226">
                  <a:moveTo>
                    <a:pt x="170" y="226"/>
                  </a:moveTo>
                  <a:cubicBezTo>
                    <a:pt x="4" y="226"/>
                    <a:pt x="4" y="226"/>
                    <a:pt x="4" y="226"/>
                  </a:cubicBezTo>
                  <a:cubicBezTo>
                    <a:pt x="2" y="226"/>
                    <a:pt x="0" y="224"/>
                    <a:pt x="0" y="22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70" y="0"/>
                    <a:pt x="170" y="0"/>
                    <a:pt x="170" y="0"/>
                  </a:cubicBezTo>
                  <a:cubicBezTo>
                    <a:pt x="172" y="0"/>
                    <a:pt x="174" y="1"/>
                    <a:pt x="174" y="4"/>
                  </a:cubicBezTo>
                  <a:cubicBezTo>
                    <a:pt x="174" y="222"/>
                    <a:pt x="174" y="222"/>
                    <a:pt x="174" y="222"/>
                  </a:cubicBezTo>
                  <a:cubicBezTo>
                    <a:pt x="174" y="224"/>
                    <a:pt x="172" y="226"/>
                    <a:pt x="170" y="226"/>
                  </a:cubicBezTo>
                  <a:close/>
                  <a:moveTo>
                    <a:pt x="9" y="218"/>
                  </a:moveTo>
                  <a:cubicBezTo>
                    <a:pt x="166" y="218"/>
                    <a:pt x="166" y="218"/>
                    <a:pt x="166" y="218"/>
                  </a:cubicBezTo>
                  <a:cubicBezTo>
                    <a:pt x="166" y="8"/>
                    <a:pt x="166" y="8"/>
                    <a:pt x="166" y="8"/>
                  </a:cubicBezTo>
                  <a:cubicBezTo>
                    <a:pt x="9" y="8"/>
                    <a:pt x="9" y="8"/>
                    <a:pt x="9" y="8"/>
                  </a:cubicBezTo>
                  <a:lnTo>
                    <a:pt x="9" y="2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3" name="Freeform 171">
              <a:extLst>
                <a:ext uri="{FF2B5EF4-FFF2-40B4-BE49-F238E27FC236}">
                  <a16:creationId xmlns:a16="http://schemas.microsoft.com/office/drawing/2014/main" id="{2D105ABA-BEFA-644E-8CD7-804C9F09A7CA}"/>
                </a:ext>
              </a:extLst>
            </p:cNvPr>
            <p:cNvSpPr>
              <a:spLocks/>
            </p:cNvSpPr>
            <p:nvPr/>
          </p:nvSpPr>
          <p:spPr bwMode="auto">
            <a:xfrm>
              <a:off x="-3264599" y="2768632"/>
              <a:ext cx="179359" cy="20383"/>
            </a:xfrm>
            <a:custGeom>
              <a:avLst/>
              <a:gdLst>
                <a:gd name="T0" fmla="*/ 66 w 70"/>
                <a:gd name="T1" fmla="*/ 8 h 8"/>
                <a:gd name="T2" fmla="*/ 5 w 70"/>
                <a:gd name="T3" fmla="*/ 8 h 8"/>
                <a:gd name="T4" fmla="*/ 0 w 70"/>
                <a:gd name="T5" fmla="*/ 4 h 8"/>
                <a:gd name="T6" fmla="*/ 5 w 70"/>
                <a:gd name="T7" fmla="*/ 0 h 8"/>
                <a:gd name="T8" fmla="*/ 66 w 70"/>
                <a:gd name="T9" fmla="*/ 0 h 8"/>
                <a:gd name="T10" fmla="*/ 70 w 70"/>
                <a:gd name="T11" fmla="*/ 4 h 8"/>
                <a:gd name="T12" fmla="*/ 66 w 70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0" h="8">
                  <a:moveTo>
                    <a:pt x="66" y="8"/>
                  </a:moveTo>
                  <a:cubicBezTo>
                    <a:pt x="5" y="8"/>
                    <a:pt x="5" y="8"/>
                    <a:pt x="5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1"/>
                    <a:pt x="2" y="0"/>
                    <a:pt x="5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8" y="0"/>
                    <a:pt x="70" y="1"/>
                    <a:pt x="70" y="4"/>
                  </a:cubicBezTo>
                  <a:cubicBezTo>
                    <a:pt x="70" y="6"/>
                    <a:pt x="68" y="8"/>
                    <a:pt x="66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4" name="Freeform 172">
              <a:extLst>
                <a:ext uri="{FF2B5EF4-FFF2-40B4-BE49-F238E27FC236}">
                  <a16:creationId xmlns:a16="http://schemas.microsoft.com/office/drawing/2014/main" id="{D3EE2078-00D8-BC03-D4EA-2E7C79724098}"/>
                </a:ext>
              </a:extLst>
            </p:cNvPr>
            <p:cNvSpPr>
              <a:spLocks/>
            </p:cNvSpPr>
            <p:nvPr/>
          </p:nvSpPr>
          <p:spPr bwMode="auto">
            <a:xfrm>
              <a:off x="-3264599" y="2850159"/>
              <a:ext cx="179359" cy="16305"/>
            </a:xfrm>
            <a:custGeom>
              <a:avLst/>
              <a:gdLst>
                <a:gd name="T0" fmla="*/ 66 w 70"/>
                <a:gd name="T1" fmla="*/ 8 h 8"/>
                <a:gd name="T2" fmla="*/ 5 w 70"/>
                <a:gd name="T3" fmla="*/ 8 h 8"/>
                <a:gd name="T4" fmla="*/ 0 w 70"/>
                <a:gd name="T5" fmla="*/ 4 h 8"/>
                <a:gd name="T6" fmla="*/ 5 w 70"/>
                <a:gd name="T7" fmla="*/ 0 h 8"/>
                <a:gd name="T8" fmla="*/ 66 w 70"/>
                <a:gd name="T9" fmla="*/ 0 h 8"/>
                <a:gd name="T10" fmla="*/ 70 w 70"/>
                <a:gd name="T11" fmla="*/ 4 h 8"/>
                <a:gd name="T12" fmla="*/ 66 w 70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0" h="8">
                  <a:moveTo>
                    <a:pt x="66" y="8"/>
                  </a:moveTo>
                  <a:cubicBezTo>
                    <a:pt x="5" y="8"/>
                    <a:pt x="5" y="8"/>
                    <a:pt x="5" y="8"/>
                  </a:cubicBezTo>
                  <a:cubicBezTo>
                    <a:pt x="2" y="8"/>
                    <a:pt x="0" y="7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8" y="0"/>
                    <a:pt x="70" y="2"/>
                    <a:pt x="70" y="4"/>
                  </a:cubicBezTo>
                  <a:cubicBezTo>
                    <a:pt x="70" y="7"/>
                    <a:pt x="68" y="8"/>
                    <a:pt x="66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50" name="Shape20_20200717_154352">
            <a:extLst>
              <a:ext uri="{FF2B5EF4-FFF2-40B4-BE49-F238E27FC236}">
                <a16:creationId xmlns:a16="http://schemas.microsoft.com/office/drawing/2014/main" id="{4CD3EFB8-E56C-14E7-1EC6-D70299ADE397}"/>
              </a:ext>
            </a:extLst>
          </p:cNvPr>
          <p:cNvGrpSpPr>
            <a:grpSpLocks noChangeAspect="1"/>
          </p:cNvGrpSpPr>
          <p:nvPr/>
        </p:nvGrpSpPr>
        <p:grpSpPr>
          <a:xfrm>
            <a:off x="3188567" y="3863847"/>
            <a:ext cx="652219" cy="550308"/>
            <a:chOff x="-6195495" y="5312272"/>
            <a:chExt cx="652219" cy="550308"/>
          </a:xfrm>
          <a:solidFill>
            <a:schemeClr val="accent1"/>
          </a:solidFill>
        </p:grpSpPr>
        <p:sp>
          <p:nvSpPr>
            <p:cNvPr id="127" name="Freeform 173">
              <a:extLst>
                <a:ext uri="{FF2B5EF4-FFF2-40B4-BE49-F238E27FC236}">
                  <a16:creationId xmlns:a16="http://schemas.microsoft.com/office/drawing/2014/main" id="{6B5DC2B9-8F73-91F1-4BCD-47A80B10F58C}"/>
                </a:ext>
              </a:extLst>
            </p:cNvPr>
            <p:cNvSpPr>
              <a:spLocks/>
            </p:cNvSpPr>
            <p:nvPr/>
          </p:nvSpPr>
          <p:spPr bwMode="auto">
            <a:xfrm>
              <a:off x="-6195495" y="5312272"/>
              <a:ext cx="440246" cy="550308"/>
            </a:xfrm>
            <a:custGeom>
              <a:avLst/>
              <a:gdLst>
                <a:gd name="T0" fmla="*/ 171 w 175"/>
                <a:gd name="T1" fmla="*/ 219 h 219"/>
                <a:gd name="T2" fmla="*/ 4 w 175"/>
                <a:gd name="T3" fmla="*/ 219 h 219"/>
                <a:gd name="T4" fmla="*/ 0 w 175"/>
                <a:gd name="T5" fmla="*/ 215 h 219"/>
                <a:gd name="T6" fmla="*/ 0 w 175"/>
                <a:gd name="T7" fmla="*/ 4 h 219"/>
                <a:gd name="T8" fmla="*/ 4 w 175"/>
                <a:gd name="T9" fmla="*/ 0 h 219"/>
                <a:gd name="T10" fmla="*/ 171 w 175"/>
                <a:gd name="T11" fmla="*/ 0 h 219"/>
                <a:gd name="T12" fmla="*/ 175 w 175"/>
                <a:gd name="T13" fmla="*/ 4 h 219"/>
                <a:gd name="T14" fmla="*/ 175 w 175"/>
                <a:gd name="T15" fmla="*/ 72 h 219"/>
                <a:gd name="T16" fmla="*/ 171 w 175"/>
                <a:gd name="T17" fmla="*/ 76 h 219"/>
                <a:gd name="T18" fmla="*/ 167 w 175"/>
                <a:gd name="T19" fmla="*/ 72 h 219"/>
                <a:gd name="T20" fmla="*/ 167 w 175"/>
                <a:gd name="T21" fmla="*/ 9 h 219"/>
                <a:gd name="T22" fmla="*/ 8 w 175"/>
                <a:gd name="T23" fmla="*/ 9 h 219"/>
                <a:gd name="T24" fmla="*/ 8 w 175"/>
                <a:gd name="T25" fmla="*/ 211 h 219"/>
                <a:gd name="T26" fmla="*/ 167 w 175"/>
                <a:gd name="T27" fmla="*/ 211 h 219"/>
                <a:gd name="T28" fmla="*/ 167 w 175"/>
                <a:gd name="T29" fmla="*/ 129 h 219"/>
                <a:gd name="T30" fmla="*/ 171 w 175"/>
                <a:gd name="T31" fmla="*/ 125 h 219"/>
                <a:gd name="T32" fmla="*/ 175 w 175"/>
                <a:gd name="T33" fmla="*/ 129 h 219"/>
                <a:gd name="T34" fmla="*/ 175 w 175"/>
                <a:gd name="T35" fmla="*/ 215 h 219"/>
                <a:gd name="T36" fmla="*/ 171 w 175"/>
                <a:gd name="T37" fmla="*/ 219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75" h="219">
                  <a:moveTo>
                    <a:pt x="171" y="219"/>
                  </a:moveTo>
                  <a:cubicBezTo>
                    <a:pt x="4" y="219"/>
                    <a:pt x="4" y="219"/>
                    <a:pt x="4" y="219"/>
                  </a:cubicBezTo>
                  <a:cubicBezTo>
                    <a:pt x="2" y="219"/>
                    <a:pt x="0" y="217"/>
                    <a:pt x="0" y="21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71" y="0"/>
                    <a:pt x="171" y="0"/>
                    <a:pt x="171" y="0"/>
                  </a:cubicBezTo>
                  <a:cubicBezTo>
                    <a:pt x="174" y="0"/>
                    <a:pt x="175" y="2"/>
                    <a:pt x="175" y="4"/>
                  </a:cubicBezTo>
                  <a:cubicBezTo>
                    <a:pt x="175" y="72"/>
                    <a:pt x="175" y="72"/>
                    <a:pt x="175" y="72"/>
                  </a:cubicBezTo>
                  <a:cubicBezTo>
                    <a:pt x="175" y="74"/>
                    <a:pt x="174" y="76"/>
                    <a:pt x="171" y="76"/>
                  </a:cubicBezTo>
                  <a:cubicBezTo>
                    <a:pt x="169" y="76"/>
                    <a:pt x="167" y="74"/>
                    <a:pt x="167" y="72"/>
                  </a:cubicBezTo>
                  <a:cubicBezTo>
                    <a:pt x="167" y="9"/>
                    <a:pt x="167" y="9"/>
                    <a:pt x="167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8" y="211"/>
                    <a:pt x="8" y="211"/>
                    <a:pt x="8" y="211"/>
                  </a:cubicBezTo>
                  <a:cubicBezTo>
                    <a:pt x="167" y="211"/>
                    <a:pt x="167" y="211"/>
                    <a:pt x="167" y="211"/>
                  </a:cubicBezTo>
                  <a:cubicBezTo>
                    <a:pt x="167" y="129"/>
                    <a:pt x="167" y="129"/>
                    <a:pt x="167" y="129"/>
                  </a:cubicBezTo>
                  <a:cubicBezTo>
                    <a:pt x="167" y="126"/>
                    <a:pt x="169" y="125"/>
                    <a:pt x="171" y="125"/>
                  </a:cubicBezTo>
                  <a:cubicBezTo>
                    <a:pt x="174" y="125"/>
                    <a:pt x="175" y="126"/>
                    <a:pt x="175" y="129"/>
                  </a:cubicBezTo>
                  <a:cubicBezTo>
                    <a:pt x="175" y="215"/>
                    <a:pt x="175" y="215"/>
                    <a:pt x="175" y="215"/>
                  </a:cubicBezTo>
                  <a:cubicBezTo>
                    <a:pt x="175" y="217"/>
                    <a:pt x="174" y="219"/>
                    <a:pt x="171" y="21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8" name="Freeform 174">
              <a:extLst>
                <a:ext uri="{FF2B5EF4-FFF2-40B4-BE49-F238E27FC236}">
                  <a16:creationId xmlns:a16="http://schemas.microsoft.com/office/drawing/2014/main" id="{10A89DC8-237E-EABF-AA19-CE1419CAF93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109890" y="5450868"/>
              <a:ext cx="105985" cy="101910"/>
            </a:xfrm>
            <a:custGeom>
              <a:avLst/>
              <a:gdLst>
                <a:gd name="T0" fmla="*/ 38 w 42"/>
                <a:gd name="T1" fmla="*/ 41 h 41"/>
                <a:gd name="T2" fmla="*/ 4 w 42"/>
                <a:gd name="T3" fmla="*/ 41 h 41"/>
                <a:gd name="T4" fmla="*/ 0 w 42"/>
                <a:gd name="T5" fmla="*/ 37 h 41"/>
                <a:gd name="T6" fmla="*/ 0 w 42"/>
                <a:gd name="T7" fmla="*/ 4 h 41"/>
                <a:gd name="T8" fmla="*/ 4 w 42"/>
                <a:gd name="T9" fmla="*/ 0 h 41"/>
                <a:gd name="T10" fmla="*/ 38 w 42"/>
                <a:gd name="T11" fmla="*/ 0 h 41"/>
                <a:gd name="T12" fmla="*/ 42 w 42"/>
                <a:gd name="T13" fmla="*/ 4 h 41"/>
                <a:gd name="T14" fmla="*/ 42 w 42"/>
                <a:gd name="T15" fmla="*/ 37 h 41"/>
                <a:gd name="T16" fmla="*/ 38 w 42"/>
                <a:gd name="T17" fmla="*/ 41 h 41"/>
                <a:gd name="T18" fmla="*/ 8 w 42"/>
                <a:gd name="T19" fmla="*/ 33 h 41"/>
                <a:gd name="T20" fmla="*/ 34 w 42"/>
                <a:gd name="T21" fmla="*/ 33 h 41"/>
                <a:gd name="T22" fmla="*/ 34 w 42"/>
                <a:gd name="T23" fmla="*/ 8 h 41"/>
                <a:gd name="T24" fmla="*/ 8 w 42"/>
                <a:gd name="T25" fmla="*/ 8 h 41"/>
                <a:gd name="T26" fmla="*/ 8 w 42"/>
                <a:gd name="T27" fmla="*/ 33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2" h="41">
                  <a:moveTo>
                    <a:pt x="38" y="41"/>
                  </a:moveTo>
                  <a:cubicBezTo>
                    <a:pt x="4" y="41"/>
                    <a:pt x="4" y="41"/>
                    <a:pt x="4" y="41"/>
                  </a:cubicBezTo>
                  <a:cubicBezTo>
                    <a:pt x="2" y="41"/>
                    <a:pt x="0" y="39"/>
                    <a:pt x="0" y="37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40" y="0"/>
                    <a:pt x="42" y="2"/>
                    <a:pt x="42" y="4"/>
                  </a:cubicBezTo>
                  <a:cubicBezTo>
                    <a:pt x="42" y="37"/>
                    <a:pt x="42" y="37"/>
                    <a:pt x="42" y="37"/>
                  </a:cubicBezTo>
                  <a:cubicBezTo>
                    <a:pt x="42" y="39"/>
                    <a:pt x="40" y="41"/>
                    <a:pt x="38" y="41"/>
                  </a:cubicBezTo>
                  <a:close/>
                  <a:moveTo>
                    <a:pt x="8" y="33"/>
                  </a:moveTo>
                  <a:cubicBezTo>
                    <a:pt x="34" y="33"/>
                    <a:pt x="34" y="33"/>
                    <a:pt x="34" y="33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8" y="8"/>
                    <a:pt x="8" y="8"/>
                    <a:pt x="8" y="8"/>
                  </a:cubicBezTo>
                  <a:lnTo>
                    <a:pt x="8" y="3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9" name="Freeform 175">
              <a:extLst>
                <a:ext uri="{FF2B5EF4-FFF2-40B4-BE49-F238E27FC236}">
                  <a16:creationId xmlns:a16="http://schemas.microsoft.com/office/drawing/2014/main" id="{576FE38D-908F-B52A-C9C7-5C0633D9D0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109890" y="5622075"/>
              <a:ext cx="105985" cy="105985"/>
            </a:xfrm>
            <a:custGeom>
              <a:avLst/>
              <a:gdLst>
                <a:gd name="T0" fmla="*/ 38 w 42"/>
                <a:gd name="T1" fmla="*/ 42 h 42"/>
                <a:gd name="T2" fmla="*/ 4 w 42"/>
                <a:gd name="T3" fmla="*/ 42 h 42"/>
                <a:gd name="T4" fmla="*/ 0 w 42"/>
                <a:gd name="T5" fmla="*/ 38 h 42"/>
                <a:gd name="T6" fmla="*/ 0 w 42"/>
                <a:gd name="T7" fmla="*/ 5 h 42"/>
                <a:gd name="T8" fmla="*/ 4 w 42"/>
                <a:gd name="T9" fmla="*/ 0 h 42"/>
                <a:gd name="T10" fmla="*/ 38 w 42"/>
                <a:gd name="T11" fmla="*/ 0 h 42"/>
                <a:gd name="T12" fmla="*/ 42 w 42"/>
                <a:gd name="T13" fmla="*/ 5 h 42"/>
                <a:gd name="T14" fmla="*/ 42 w 42"/>
                <a:gd name="T15" fmla="*/ 38 h 42"/>
                <a:gd name="T16" fmla="*/ 38 w 42"/>
                <a:gd name="T17" fmla="*/ 42 h 42"/>
                <a:gd name="T18" fmla="*/ 8 w 42"/>
                <a:gd name="T19" fmla="*/ 34 h 42"/>
                <a:gd name="T20" fmla="*/ 34 w 42"/>
                <a:gd name="T21" fmla="*/ 34 h 42"/>
                <a:gd name="T22" fmla="*/ 34 w 42"/>
                <a:gd name="T23" fmla="*/ 9 h 42"/>
                <a:gd name="T24" fmla="*/ 8 w 42"/>
                <a:gd name="T25" fmla="*/ 9 h 42"/>
                <a:gd name="T26" fmla="*/ 8 w 42"/>
                <a:gd name="T27" fmla="*/ 34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2" h="42">
                  <a:moveTo>
                    <a:pt x="38" y="42"/>
                  </a:moveTo>
                  <a:cubicBezTo>
                    <a:pt x="4" y="42"/>
                    <a:pt x="4" y="42"/>
                    <a:pt x="4" y="42"/>
                  </a:cubicBezTo>
                  <a:cubicBezTo>
                    <a:pt x="2" y="42"/>
                    <a:pt x="0" y="40"/>
                    <a:pt x="0" y="38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40" y="0"/>
                    <a:pt x="42" y="2"/>
                    <a:pt x="42" y="5"/>
                  </a:cubicBezTo>
                  <a:cubicBezTo>
                    <a:pt x="42" y="38"/>
                    <a:pt x="42" y="38"/>
                    <a:pt x="42" y="38"/>
                  </a:cubicBezTo>
                  <a:cubicBezTo>
                    <a:pt x="42" y="40"/>
                    <a:pt x="40" y="42"/>
                    <a:pt x="38" y="42"/>
                  </a:cubicBezTo>
                  <a:close/>
                  <a:moveTo>
                    <a:pt x="8" y="34"/>
                  </a:moveTo>
                  <a:cubicBezTo>
                    <a:pt x="34" y="34"/>
                    <a:pt x="34" y="34"/>
                    <a:pt x="34" y="34"/>
                  </a:cubicBezTo>
                  <a:cubicBezTo>
                    <a:pt x="34" y="9"/>
                    <a:pt x="34" y="9"/>
                    <a:pt x="34" y="9"/>
                  </a:cubicBezTo>
                  <a:cubicBezTo>
                    <a:pt x="8" y="9"/>
                    <a:pt x="8" y="9"/>
                    <a:pt x="8" y="9"/>
                  </a:cubicBezTo>
                  <a:lnTo>
                    <a:pt x="8" y="3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0" name="Freeform 176">
              <a:extLst>
                <a:ext uri="{FF2B5EF4-FFF2-40B4-BE49-F238E27FC236}">
                  <a16:creationId xmlns:a16="http://schemas.microsoft.com/office/drawing/2014/main" id="{DCCEE454-E28A-BED1-BF29-5BAA1A9AB4ED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67220" y="5532395"/>
              <a:ext cx="101910" cy="20383"/>
            </a:xfrm>
            <a:custGeom>
              <a:avLst/>
              <a:gdLst>
                <a:gd name="T0" fmla="*/ 36 w 40"/>
                <a:gd name="T1" fmla="*/ 8 h 8"/>
                <a:gd name="T2" fmla="*/ 4 w 40"/>
                <a:gd name="T3" fmla="*/ 8 h 8"/>
                <a:gd name="T4" fmla="*/ 0 w 40"/>
                <a:gd name="T5" fmla="*/ 4 h 8"/>
                <a:gd name="T6" fmla="*/ 4 w 40"/>
                <a:gd name="T7" fmla="*/ 0 h 8"/>
                <a:gd name="T8" fmla="*/ 36 w 40"/>
                <a:gd name="T9" fmla="*/ 0 h 8"/>
                <a:gd name="T10" fmla="*/ 40 w 40"/>
                <a:gd name="T11" fmla="*/ 4 h 8"/>
                <a:gd name="T12" fmla="*/ 36 w 40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" h="8">
                  <a:moveTo>
                    <a:pt x="36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8" y="0"/>
                    <a:pt x="40" y="2"/>
                    <a:pt x="40" y="4"/>
                  </a:cubicBezTo>
                  <a:cubicBezTo>
                    <a:pt x="40" y="6"/>
                    <a:pt x="38" y="8"/>
                    <a:pt x="36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1" name="Freeform 177">
              <a:extLst>
                <a:ext uri="{FF2B5EF4-FFF2-40B4-BE49-F238E27FC236}">
                  <a16:creationId xmlns:a16="http://schemas.microsoft.com/office/drawing/2014/main" id="{FA1FB7F5-98F5-0976-C53A-135BC698BC84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67220" y="5707679"/>
              <a:ext cx="101910" cy="20383"/>
            </a:xfrm>
            <a:custGeom>
              <a:avLst/>
              <a:gdLst>
                <a:gd name="T0" fmla="*/ 36 w 40"/>
                <a:gd name="T1" fmla="*/ 8 h 8"/>
                <a:gd name="T2" fmla="*/ 4 w 40"/>
                <a:gd name="T3" fmla="*/ 8 h 8"/>
                <a:gd name="T4" fmla="*/ 0 w 40"/>
                <a:gd name="T5" fmla="*/ 4 h 8"/>
                <a:gd name="T6" fmla="*/ 4 w 40"/>
                <a:gd name="T7" fmla="*/ 0 h 8"/>
                <a:gd name="T8" fmla="*/ 36 w 40"/>
                <a:gd name="T9" fmla="*/ 0 h 8"/>
                <a:gd name="T10" fmla="*/ 40 w 40"/>
                <a:gd name="T11" fmla="*/ 4 h 8"/>
                <a:gd name="T12" fmla="*/ 36 w 40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" h="8">
                  <a:moveTo>
                    <a:pt x="36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8" y="0"/>
                    <a:pt x="40" y="1"/>
                    <a:pt x="40" y="4"/>
                  </a:cubicBezTo>
                  <a:cubicBezTo>
                    <a:pt x="40" y="6"/>
                    <a:pt x="38" y="8"/>
                    <a:pt x="36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2" name="Freeform 178">
              <a:extLst>
                <a:ext uri="{FF2B5EF4-FFF2-40B4-BE49-F238E27FC236}">
                  <a16:creationId xmlns:a16="http://schemas.microsoft.com/office/drawing/2014/main" id="{B9D0B5B4-D9F4-3A87-387B-E567E66087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889768" y="5389724"/>
              <a:ext cx="297575" cy="293497"/>
            </a:xfrm>
            <a:custGeom>
              <a:avLst/>
              <a:gdLst>
                <a:gd name="T0" fmla="*/ 5 w 118"/>
                <a:gd name="T1" fmla="*/ 117 h 117"/>
                <a:gd name="T2" fmla="*/ 2 w 118"/>
                <a:gd name="T3" fmla="*/ 116 h 117"/>
                <a:gd name="T4" fmla="*/ 1 w 118"/>
                <a:gd name="T5" fmla="*/ 112 h 117"/>
                <a:gd name="T6" fmla="*/ 11 w 118"/>
                <a:gd name="T7" fmla="*/ 78 h 117"/>
                <a:gd name="T8" fmla="*/ 12 w 118"/>
                <a:gd name="T9" fmla="*/ 76 h 117"/>
                <a:gd name="T10" fmla="*/ 86 w 118"/>
                <a:gd name="T11" fmla="*/ 1 h 117"/>
                <a:gd name="T12" fmla="*/ 92 w 118"/>
                <a:gd name="T13" fmla="*/ 1 h 117"/>
                <a:gd name="T14" fmla="*/ 117 w 118"/>
                <a:gd name="T15" fmla="*/ 26 h 117"/>
                <a:gd name="T16" fmla="*/ 118 w 118"/>
                <a:gd name="T17" fmla="*/ 29 h 117"/>
                <a:gd name="T18" fmla="*/ 117 w 118"/>
                <a:gd name="T19" fmla="*/ 32 h 117"/>
                <a:gd name="T20" fmla="*/ 42 w 118"/>
                <a:gd name="T21" fmla="*/ 106 h 117"/>
                <a:gd name="T22" fmla="*/ 40 w 118"/>
                <a:gd name="T23" fmla="*/ 107 h 117"/>
                <a:gd name="T24" fmla="*/ 6 w 118"/>
                <a:gd name="T25" fmla="*/ 117 h 117"/>
                <a:gd name="T26" fmla="*/ 5 w 118"/>
                <a:gd name="T27" fmla="*/ 117 h 117"/>
                <a:gd name="T28" fmla="*/ 18 w 118"/>
                <a:gd name="T29" fmla="*/ 81 h 117"/>
                <a:gd name="T30" fmla="*/ 11 w 118"/>
                <a:gd name="T31" fmla="*/ 107 h 117"/>
                <a:gd name="T32" fmla="*/ 37 w 118"/>
                <a:gd name="T33" fmla="*/ 100 h 117"/>
                <a:gd name="T34" fmla="*/ 108 w 118"/>
                <a:gd name="T35" fmla="*/ 29 h 117"/>
                <a:gd name="T36" fmla="*/ 89 w 118"/>
                <a:gd name="T37" fmla="*/ 10 h 117"/>
                <a:gd name="T38" fmla="*/ 18 w 118"/>
                <a:gd name="T39" fmla="*/ 81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18" h="117">
                  <a:moveTo>
                    <a:pt x="5" y="117"/>
                  </a:moveTo>
                  <a:cubicBezTo>
                    <a:pt x="4" y="117"/>
                    <a:pt x="3" y="117"/>
                    <a:pt x="2" y="116"/>
                  </a:cubicBezTo>
                  <a:cubicBezTo>
                    <a:pt x="1" y="115"/>
                    <a:pt x="0" y="114"/>
                    <a:pt x="1" y="112"/>
                  </a:cubicBezTo>
                  <a:cubicBezTo>
                    <a:pt x="11" y="78"/>
                    <a:pt x="11" y="78"/>
                    <a:pt x="11" y="78"/>
                  </a:cubicBezTo>
                  <a:cubicBezTo>
                    <a:pt x="11" y="77"/>
                    <a:pt x="11" y="76"/>
                    <a:pt x="12" y="76"/>
                  </a:cubicBezTo>
                  <a:cubicBezTo>
                    <a:pt x="86" y="1"/>
                    <a:pt x="86" y="1"/>
                    <a:pt x="86" y="1"/>
                  </a:cubicBezTo>
                  <a:cubicBezTo>
                    <a:pt x="88" y="0"/>
                    <a:pt x="91" y="0"/>
                    <a:pt x="92" y="1"/>
                  </a:cubicBezTo>
                  <a:cubicBezTo>
                    <a:pt x="117" y="26"/>
                    <a:pt x="117" y="26"/>
                    <a:pt x="117" y="26"/>
                  </a:cubicBezTo>
                  <a:cubicBezTo>
                    <a:pt x="118" y="27"/>
                    <a:pt x="118" y="28"/>
                    <a:pt x="118" y="29"/>
                  </a:cubicBezTo>
                  <a:cubicBezTo>
                    <a:pt x="118" y="30"/>
                    <a:pt x="118" y="31"/>
                    <a:pt x="117" y="32"/>
                  </a:cubicBezTo>
                  <a:cubicBezTo>
                    <a:pt x="42" y="106"/>
                    <a:pt x="42" y="106"/>
                    <a:pt x="42" y="106"/>
                  </a:cubicBezTo>
                  <a:cubicBezTo>
                    <a:pt x="42" y="107"/>
                    <a:pt x="41" y="107"/>
                    <a:pt x="40" y="107"/>
                  </a:cubicBezTo>
                  <a:cubicBezTo>
                    <a:pt x="6" y="117"/>
                    <a:pt x="6" y="117"/>
                    <a:pt x="6" y="117"/>
                  </a:cubicBezTo>
                  <a:cubicBezTo>
                    <a:pt x="5" y="117"/>
                    <a:pt x="5" y="117"/>
                    <a:pt x="5" y="117"/>
                  </a:cubicBezTo>
                  <a:close/>
                  <a:moveTo>
                    <a:pt x="18" y="81"/>
                  </a:moveTo>
                  <a:cubicBezTo>
                    <a:pt x="11" y="107"/>
                    <a:pt x="11" y="107"/>
                    <a:pt x="11" y="107"/>
                  </a:cubicBezTo>
                  <a:cubicBezTo>
                    <a:pt x="37" y="100"/>
                    <a:pt x="37" y="100"/>
                    <a:pt x="37" y="100"/>
                  </a:cubicBezTo>
                  <a:cubicBezTo>
                    <a:pt x="108" y="29"/>
                    <a:pt x="108" y="29"/>
                    <a:pt x="108" y="29"/>
                  </a:cubicBezTo>
                  <a:cubicBezTo>
                    <a:pt x="89" y="10"/>
                    <a:pt x="89" y="10"/>
                    <a:pt x="89" y="10"/>
                  </a:cubicBezTo>
                  <a:lnTo>
                    <a:pt x="18" y="8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3" name="Freeform 179">
              <a:extLst>
                <a:ext uri="{FF2B5EF4-FFF2-40B4-BE49-F238E27FC236}">
                  <a16:creationId xmlns:a16="http://schemas.microsoft.com/office/drawing/2014/main" id="{BE2AEADE-9C00-F7E4-BE78-50EFD55AB06D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65310" y="5573158"/>
              <a:ext cx="85605" cy="85605"/>
            </a:xfrm>
            <a:custGeom>
              <a:avLst/>
              <a:gdLst>
                <a:gd name="T0" fmla="*/ 29 w 34"/>
                <a:gd name="T1" fmla="*/ 33 h 33"/>
                <a:gd name="T2" fmla="*/ 26 w 34"/>
                <a:gd name="T3" fmla="*/ 32 h 33"/>
                <a:gd name="T4" fmla="*/ 2 w 34"/>
                <a:gd name="T5" fmla="*/ 8 h 33"/>
                <a:gd name="T6" fmla="*/ 2 w 34"/>
                <a:gd name="T7" fmla="*/ 2 h 33"/>
                <a:gd name="T8" fmla="*/ 8 w 34"/>
                <a:gd name="T9" fmla="*/ 2 h 33"/>
                <a:gd name="T10" fmla="*/ 32 w 34"/>
                <a:gd name="T11" fmla="*/ 26 h 33"/>
                <a:gd name="T12" fmla="*/ 32 w 34"/>
                <a:gd name="T13" fmla="*/ 32 h 33"/>
                <a:gd name="T14" fmla="*/ 29 w 34"/>
                <a:gd name="T15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33">
                  <a:moveTo>
                    <a:pt x="29" y="33"/>
                  </a:moveTo>
                  <a:cubicBezTo>
                    <a:pt x="28" y="33"/>
                    <a:pt x="27" y="33"/>
                    <a:pt x="26" y="32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0" y="6"/>
                    <a:pt x="0" y="3"/>
                    <a:pt x="2" y="2"/>
                  </a:cubicBezTo>
                  <a:cubicBezTo>
                    <a:pt x="3" y="0"/>
                    <a:pt x="6" y="0"/>
                    <a:pt x="8" y="2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34" y="28"/>
                    <a:pt x="34" y="31"/>
                    <a:pt x="32" y="32"/>
                  </a:cubicBezTo>
                  <a:cubicBezTo>
                    <a:pt x="31" y="33"/>
                    <a:pt x="30" y="33"/>
                    <a:pt x="29" y="3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4" name="Freeform 180">
              <a:extLst>
                <a:ext uri="{FF2B5EF4-FFF2-40B4-BE49-F238E27FC236}">
                  <a16:creationId xmlns:a16="http://schemas.microsoft.com/office/drawing/2014/main" id="{47B8461F-3EFF-C938-B044-79FDBEAD21C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677797" y="5340808"/>
              <a:ext cx="134521" cy="130443"/>
            </a:xfrm>
            <a:custGeom>
              <a:avLst/>
              <a:gdLst>
                <a:gd name="T0" fmla="*/ 29 w 52"/>
                <a:gd name="T1" fmla="*/ 52 h 52"/>
                <a:gd name="T2" fmla="*/ 26 w 52"/>
                <a:gd name="T3" fmla="*/ 51 h 52"/>
                <a:gd name="T4" fmla="*/ 1 w 52"/>
                <a:gd name="T5" fmla="*/ 26 h 52"/>
                <a:gd name="T6" fmla="*/ 1 w 52"/>
                <a:gd name="T7" fmla="*/ 20 h 52"/>
                <a:gd name="T8" fmla="*/ 20 w 52"/>
                <a:gd name="T9" fmla="*/ 2 h 52"/>
                <a:gd name="T10" fmla="*/ 26 w 52"/>
                <a:gd name="T11" fmla="*/ 2 h 52"/>
                <a:gd name="T12" fmla="*/ 50 w 52"/>
                <a:gd name="T13" fmla="*/ 26 h 52"/>
                <a:gd name="T14" fmla="*/ 50 w 52"/>
                <a:gd name="T15" fmla="*/ 32 h 52"/>
                <a:gd name="T16" fmla="*/ 32 w 52"/>
                <a:gd name="T17" fmla="*/ 51 h 52"/>
                <a:gd name="T18" fmla="*/ 29 w 52"/>
                <a:gd name="T19" fmla="*/ 52 h 52"/>
                <a:gd name="T20" fmla="*/ 10 w 52"/>
                <a:gd name="T21" fmla="*/ 23 h 52"/>
                <a:gd name="T22" fmla="*/ 29 w 52"/>
                <a:gd name="T23" fmla="*/ 42 h 52"/>
                <a:gd name="T24" fmla="*/ 41 w 52"/>
                <a:gd name="T25" fmla="*/ 29 h 52"/>
                <a:gd name="T26" fmla="*/ 23 w 52"/>
                <a:gd name="T27" fmla="*/ 11 h 52"/>
                <a:gd name="T28" fmla="*/ 10 w 52"/>
                <a:gd name="T29" fmla="*/ 2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2" h="52">
                  <a:moveTo>
                    <a:pt x="29" y="52"/>
                  </a:moveTo>
                  <a:cubicBezTo>
                    <a:pt x="28" y="52"/>
                    <a:pt x="27" y="51"/>
                    <a:pt x="26" y="51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0" y="24"/>
                    <a:pt x="0" y="22"/>
                    <a:pt x="1" y="20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1" y="0"/>
                    <a:pt x="24" y="0"/>
                    <a:pt x="26" y="2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2" y="28"/>
                    <a:pt x="52" y="31"/>
                    <a:pt x="50" y="32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1" y="51"/>
                    <a:pt x="30" y="52"/>
                    <a:pt x="29" y="52"/>
                  </a:cubicBezTo>
                  <a:close/>
                  <a:moveTo>
                    <a:pt x="10" y="23"/>
                  </a:moveTo>
                  <a:cubicBezTo>
                    <a:pt x="29" y="42"/>
                    <a:pt x="29" y="42"/>
                    <a:pt x="29" y="42"/>
                  </a:cubicBezTo>
                  <a:cubicBezTo>
                    <a:pt x="41" y="29"/>
                    <a:pt x="41" y="29"/>
                    <a:pt x="41" y="29"/>
                  </a:cubicBezTo>
                  <a:cubicBezTo>
                    <a:pt x="23" y="11"/>
                    <a:pt x="23" y="11"/>
                    <a:pt x="23" y="11"/>
                  </a:cubicBezTo>
                  <a:lnTo>
                    <a:pt x="10" y="2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51" name="Shape21_20200717_154352">
            <a:extLst>
              <a:ext uri="{FF2B5EF4-FFF2-40B4-BE49-F238E27FC236}">
                <a16:creationId xmlns:a16="http://schemas.microsoft.com/office/drawing/2014/main" id="{A21F9827-C0FA-A2B5-85CB-14C98CAC1C59}"/>
              </a:ext>
            </a:extLst>
          </p:cNvPr>
          <p:cNvGrpSpPr>
            <a:grpSpLocks noChangeAspect="1"/>
          </p:cNvGrpSpPr>
          <p:nvPr/>
        </p:nvGrpSpPr>
        <p:grpSpPr>
          <a:xfrm>
            <a:off x="5923798" y="3847542"/>
            <a:ext cx="529926" cy="586996"/>
            <a:chOff x="-3460264" y="5295967"/>
            <a:chExt cx="529926" cy="586996"/>
          </a:xfrm>
          <a:solidFill>
            <a:schemeClr val="accent1"/>
          </a:solidFill>
        </p:grpSpPr>
        <p:sp>
          <p:nvSpPr>
            <p:cNvPr id="118" name="Freeform 181">
              <a:extLst>
                <a:ext uri="{FF2B5EF4-FFF2-40B4-BE49-F238E27FC236}">
                  <a16:creationId xmlns:a16="http://schemas.microsoft.com/office/drawing/2014/main" id="{E9D02A7A-3ADB-1C81-6B0E-AEEAC3FA2E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460264" y="5463098"/>
              <a:ext cx="89680" cy="130443"/>
            </a:xfrm>
            <a:custGeom>
              <a:avLst/>
              <a:gdLst>
                <a:gd name="T0" fmla="*/ 32 w 36"/>
                <a:gd name="T1" fmla="*/ 52 h 52"/>
                <a:gd name="T2" fmla="*/ 30 w 36"/>
                <a:gd name="T3" fmla="*/ 51 h 52"/>
                <a:gd name="T4" fmla="*/ 2 w 36"/>
                <a:gd name="T5" fmla="*/ 33 h 52"/>
                <a:gd name="T6" fmla="*/ 0 w 36"/>
                <a:gd name="T7" fmla="*/ 30 h 52"/>
                <a:gd name="T8" fmla="*/ 2 w 36"/>
                <a:gd name="T9" fmla="*/ 26 h 52"/>
                <a:gd name="T10" fmla="*/ 29 w 36"/>
                <a:gd name="T11" fmla="*/ 1 h 52"/>
                <a:gd name="T12" fmla="*/ 34 w 36"/>
                <a:gd name="T13" fmla="*/ 0 h 52"/>
                <a:gd name="T14" fmla="*/ 36 w 36"/>
                <a:gd name="T15" fmla="*/ 4 h 52"/>
                <a:gd name="T16" fmla="*/ 36 w 36"/>
                <a:gd name="T17" fmla="*/ 47 h 52"/>
                <a:gd name="T18" fmla="*/ 34 w 36"/>
                <a:gd name="T19" fmla="*/ 51 h 52"/>
                <a:gd name="T20" fmla="*/ 32 w 36"/>
                <a:gd name="T21" fmla="*/ 52 h 52"/>
                <a:gd name="T22" fmla="*/ 11 w 36"/>
                <a:gd name="T23" fmla="*/ 29 h 52"/>
                <a:gd name="T24" fmla="*/ 28 w 36"/>
                <a:gd name="T25" fmla="*/ 40 h 52"/>
                <a:gd name="T26" fmla="*/ 28 w 36"/>
                <a:gd name="T27" fmla="*/ 13 h 52"/>
                <a:gd name="T28" fmla="*/ 11 w 36"/>
                <a:gd name="T29" fmla="*/ 29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6" h="52">
                  <a:moveTo>
                    <a:pt x="32" y="52"/>
                  </a:moveTo>
                  <a:cubicBezTo>
                    <a:pt x="31" y="52"/>
                    <a:pt x="31" y="51"/>
                    <a:pt x="30" y="51"/>
                  </a:cubicBezTo>
                  <a:cubicBezTo>
                    <a:pt x="2" y="33"/>
                    <a:pt x="2" y="33"/>
                    <a:pt x="2" y="33"/>
                  </a:cubicBezTo>
                  <a:cubicBezTo>
                    <a:pt x="1" y="32"/>
                    <a:pt x="0" y="31"/>
                    <a:pt x="0" y="30"/>
                  </a:cubicBezTo>
                  <a:cubicBezTo>
                    <a:pt x="0" y="28"/>
                    <a:pt x="1" y="27"/>
                    <a:pt x="2" y="26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31" y="0"/>
                    <a:pt x="32" y="0"/>
                    <a:pt x="34" y="0"/>
                  </a:cubicBezTo>
                  <a:cubicBezTo>
                    <a:pt x="35" y="1"/>
                    <a:pt x="36" y="2"/>
                    <a:pt x="36" y="4"/>
                  </a:cubicBezTo>
                  <a:cubicBezTo>
                    <a:pt x="36" y="47"/>
                    <a:pt x="36" y="47"/>
                    <a:pt x="36" y="47"/>
                  </a:cubicBezTo>
                  <a:cubicBezTo>
                    <a:pt x="36" y="49"/>
                    <a:pt x="35" y="50"/>
                    <a:pt x="34" y="51"/>
                  </a:cubicBezTo>
                  <a:cubicBezTo>
                    <a:pt x="34" y="51"/>
                    <a:pt x="33" y="52"/>
                    <a:pt x="32" y="52"/>
                  </a:cubicBezTo>
                  <a:close/>
                  <a:moveTo>
                    <a:pt x="11" y="29"/>
                  </a:moveTo>
                  <a:cubicBezTo>
                    <a:pt x="28" y="40"/>
                    <a:pt x="28" y="40"/>
                    <a:pt x="28" y="40"/>
                  </a:cubicBezTo>
                  <a:cubicBezTo>
                    <a:pt x="28" y="13"/>
                    <a:pt x="28" y="13"/>
                    <a:pt x="28" y="13"/>
                  </a:cubicBezTo>
                  <a:lnTo>
                    <a:pt x="11" y="2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9" name="Freeform 182">
              <a:extLst>
                <a:ext uri="{FF2B5EF4-FFF2-40B4-BE49-F238E27FC236}">
                  <a16:creationId xmlns:a16="http://schemas.microsoft.com/office/drawing/2014/main" id="{0F711B76-94D9-D6DF-FA40-0EB6D4018427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60264" y="5528320"/>
              <a:ext cx="529925" cy="354643"/>
            </a:xfrm>
            <a:custGeom>
              <a:avLst/>
              <a:gdLst>
                <a:gd name="T0" fmla="*/ 207 w 211"/>
                <a:gd name="T1" fmla="*/ 141 h 141"/>
                <a:gd name="T2" fmla="*/ 4 w 211"/>
                <a:gd name="T3" fmla="*/ 141 h 141"/>
                <a:gd name="T4" fmla="*/ 0 w 211"/>
                <a:gd name="T5" fmla="*/ 137 h 141"/>
                <a:gd name="T6" fmla="*/ 0 w 211"/>
                <a:gd name="T7" fmla="*/ 4 h 141"/>
                <a:gd name="T8" fmla="*/ 2 w 211"/>
                <a:gd name="T9" fmla="*/ 1 h 141"/>
                <a:gd name="T10" fmla="*/ 7 w 211"/>
                <a:gd name="T11" fmla="*/ 1 h 141"/>
                <a:gd name="T12" fmla="*/ 31 w 211"/>
                <a:gd name="T13" fmla="*/ 17 h 141"/>
                <a:gd name="T14" fmla="*/ 32 w 211"/>
                <a:gd name="T15" fmla="*/ 23 h 141"/>
                <a:gd name="T16" fmla="*/ 27 w 211"/>
                <a:gd name="T17" fmla="*/ 24 h 141"/>
                <a:gd name="T18" fmla="*/ 9 w 211"/>
                <a:gd name="T19" fmla="*/ 12 h 141"/>
                <a:gd name="T20" fmla="*/ 9 w 211"/>
                <a:gd name="T21" fmla="*/ 133 h 141"/>
                <a:gd name="T22" fmla="*/ 202 w 211"/>
                <a:gd name="T23" fmla="*/ 133 h 141"/>
                <a:gd name="T24" fmla="*/ 202 w 211"/>
                <a:gd name="T25" fmla="*/ 12 h 141"/>
                <a:gd name="T26" fmla="*/ 184 w 211"/>
                <a:gd name="T27" fmla="*/ 24 h 141"/>
                <a:gd name="T28" fmla="*/ 178 w 211"/>
                <a:gd name="T29" fmla="*/ 23 h 141"/>
                <a:gd name="T30" fmla="*/ 179 w 211"/>
                <a:gd name="T31" fmla="*/ 17 h 141"/>
                <a:gd name="T32" fmla="*/ 204 w 211"/>
                <a:gd name="T33" fmla="*/ 1 h 141"/>
                <a:gd name="T34" fmla="*/ 208 w 211"/>
                <a:gd name="T35" fmla="*/ 1 h 141"/>
                <a:gd name="T36" fmla="*/ 211 w 211"/>
                <a:gd name="T37" fmla="*/ 4 h 141"/>
                <a:gd name="T38" fmla="*/ 211 w 211"/>
                <a:gd name="T39" fmla="*/ 137 h 141"/>
                <a:gd name="T40" fmla="*/ 207 w 211"/>
                <a:gd name="T41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1" h="141">
                  <a:moveTo>
                    <a:pt x="207" y="141"/>
                  </a:moveTo>
                  <a:cubicBezTo>
                    <a:pt x="4" y="141"/>
                    <a:pt x="4" y="141"/>
                    <a:pt x="4" y="141"/>
                  </a:cubicBezTo>
                  <a:cubicBezTo>
                    <a:pt x="2" y="141"/>
                    <a:pt x="0" y="140"/>
                    <a:pt x="0" y="137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3"/>
                    <a:pt x="1" y="1"/>
                    <a:pt x="2" y="1"/>
                  </a:cubicBezTo>
                  <a:cubicBezTo>
                    <a:pt x="4" y="0"/>
                    <a:pt x="5" y="0"/>
                    <a:pt x="7" y="1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3" y="18"/>
                    <a:pt x="34" y="21"/>
                    <a:pt x="32" y="23"/>
                  </a:cubicBezTo>
                  <a:cubicBezTo>
                    <a:pt x="31" y="25"/>
                    <a:pt x="29" y="25"/>
                    <a:pt x="27" y="24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9" y="133"/>
                    <a:pt x="9" y="133"/>
                    <a:pt x="9" y="133"/>
                  </a:cubicBezTo>
                  <a:cubicBezTo>
                    <a:pt x="202" y="133"/>
                    <a:pt x="202" y="133"/>
                    <a:pt x="202" y="133"/>
                  </a:cubicBezTo>
                  <a:cubicBezTo>
                    <a:pt x="202" y="12"/>
                    <a:pt x="202" y="12"/>
                    <a:pt x="202" y="12"/>
                  </a:cubicBezTo>
                  <a:cubicBezTo>
                    <a:pt x="184" y="24"/>
                    <a:pt x="184" y="24"/>
                    <a:pt x="184" y="24"/>
                  </a:cubicBezTo>
                  <a:cubicBezTo>
                    <a:pt x="182" y="26"/>
                    <a:pt x="179" y="25"/>
                    <a:pt x="178" y="23"/>
                  </a:cubicBezTo>
                  <a:cubicBezTo>
                    <a:pt x="177" y="21"/>
                    <a:pt x="177" y="19"/>
                    <a:pt x="179" y="17"/>
                  </a:cubicBezTo>
                  <a:cubicBezTo>
                    <a:pt x="204" y="1"/>
                    <a:pt x="204" y="1"/>
                    <a:pt x="204" y="1"/>
                  </a:cubicBezTo>
                  <a:cubicBezTo>
                    <a:pt x="206" y="0"/>
                    <a:pt x="207" y="0"/>
                    <a:pt x="208" y="1"/>
                  </a:cubicBezTo>
                  <a:cubicBezTo>
                    <a:pt x="210" y="1"/>
                    <a:pt x="211" y="3"/>
                    <a:pt x="211" y="4"/>
                  </a:cubicBezTo>
                  <a:cubicBezTo>
                    <a:pt x="211" y="137"/>
                    <a:pt x="211" y="137"/>
                    <a:pt x="211" y="137"/>
                  </a:cubicBezTo>
                  <a:cubicBezTo>
                    <a:pt x="211" y="140"/>
                    <a:pt x="209" y="141"/>
                    <a:pt x="207" y="14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0" name="Freeform 183">
              <a:extLst>
                <a:ext uri="{FF2B5EF4-FFF2-40B4-BE49-F238E27FC236}">
                  <a16:creationId xmlns:a16="http://schemas.microsoft.com/office/drawing/2014/main" id="{AC4FDDF5-3383-1970-D367-F7F103B780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020018" y="5463098"/>
              <a:ext cx="89680" cy="130443"/>
            </a:xfrm>
            <a:custGeom>
              <a:avLst/>
              <a:gdLst>
                <a:gd name="T0" fmla="*/ 4 w 36"/>
                <a:gd name="T1" fmla="*/ 52 h 52"/>
                <a:gd name="T2" fmla="*/ 2 w 36"/>
                <a:gd name="T3" fmla="*/ 51 h 52"/>
                <a:gd name="T4" fmla="*/ 0 w 36"/>
                <a:gd name="T5" fmla="*/ 47 h 52"/>
                <a:gd name="T6" fmla="*/ 0 w 36"/>
                <a:gd name="T7" fmla="*/ 4 h 52"/>
                <a:gd name="T8" fmla="*/ 2 w 36"/>
                <a:gd name="T9" fmla="*/ 0 h 52"/>
                <a:gd name="T10" fmla="*/ 7 w 36"/>
                <a:gd name="T11" fmla="*/ 1 h 52"/>
                <a:gd name="T12" fmla="*/ 34 w 36"/>
                <a:gd name="T13" fmla="*/ 26 h 52"/>
                <a:gd name="T14" fmla="*/ 36 w 36"/>
                <a:gd name="T15" fmla="*/ 30 h 52"/>
                <a:gd name="T16" fmla="*/ 34 w 36"/>
                <a:gd name="T17" fmla="*/ 33 h 52"/>
                <a:gd name="T18" fmla="*/ 6 w 36"/>
                <a:gd name="T19" fmla="*/ 51 h 52"/>
                <a:gd name="T20" fmla="*/ 4 w 36"/>
                <a:gd name="T21" fmla="*/ 52 h 52"/>
                <a:gd name="T22" fmla="*/ 8 w 36"/>
                <a:gd name="T23" fmla="*/ 13 h 52"/>
                <a:gd name="T24" fmla="*/ 8 w 36"/>
                <a:gd name="T25" fmla="*/ 40 h 52"/>
                <a:gd name="T26" fmla="*/ 25 w 36"/>
                <a:gd name="T27" fmla="*/ 29 h 52"/>
                <a:gd name="T28" fmla="*/ 8 w 36"/>
                <a:gd name="T29" fmla="*/ 1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6" h="52">
                  <a:moveTo>
                    <a:pt x="4" y="52"/>
                  </a:moveTo>
                  <a:cubicBezTo>
                    <a:pt x="3" y="52"/>
                    <a:pt x="2" y="51"/>
                    <a:pt x="2" y="51"/>
                  </a:cubicBezTo>
                  <a:cubicBezTo>
                    <a:pt x="1" y="50"/>
                    <a:pt x="0" y="49"/>
                    <a:pt x="0" y="47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1"/>
                    <a:pt x="2" y="0"/>
                  </a:cubicBezTo>
                  <a:cubicBezTo>
                    <a:pt x="4" y="0"/>
                    <a:pt x="5" y="0"/>
                    <a:pt x="7" y="1"/>
                  </a:cubicBezTo>
                  <a:cubicBezTo>
                    <a:pt x="34" y="26"/>
                    <a:pt x="34" y="26"/>
                    <a:pt x="34" y="26"/>
                  </a:cubicBezTo>
                  <a:cubicBezTo>
                    <a:pt x="35" y="27"/>
                    <a:pt x="36" y="28"/>
                    <a:pt x="36" y="30"/>
                  </a:cubicBezTo>
                  <a:cubicBezTo>
                    <a:pt x="36" y="31"/>
                    <a:pt x="35" y="32"/>
                    <a:pt x="34" y="33"/>
                  </a:cubicBezTo>
                  <a:cubicBezTo>
                    <a:pt x="6" y="51"/>
                    <a:pt x="6" y="51"/>
                    <a:pt x="6" y="51"/>
                  </a:cubicBezTo>
                  <a:cubicBezTo>
                    <a:pt x="5" y="51"/>
                    <a:pt x="5" y="52"/>
                    <a:pt x="4" y="52"/>
                  </a:cubicBezTo>
                  <a:close/>
                  <a:moveTo>
                    <a:pt x="8" y="13"/>
                  </a:moveTo>
                  <a:cubicBezTo>
                    <a:pt x="8" y="40"/>
                    <a:pt x="8" y="40"/>
                    <a:pt x="8" y="40"/>
                  </a:cubicBezTo>
                  <a:cubicBezTo>
                    <a:pt x="25" y="29"/>
                    <a:pt x="25" y="29"/>
                    <a:pt x="25" y="29"/>
                  </a:cubicBezTo>
                  <a:lnTo>
                    <a:pt x="8" y="1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1" name="Freeform 184">
              <a:extLst>
                <a:ext uri="{FF2B5EF4-FFF2-40B4-BE49-F238E27FC236}">
                  <a16:creationId xmlns:a16="http://schemas.microsoft.com/office/drawing/2014/main" id="{43237C03-5A44-DF08-DB0B-5128762219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56446" y="5295967"/>
              <a:ext cx="122290" cy="65222"/>
            </a:xfrm>
            <a:custGeom>
              <a:avLst/>
              <a:gdLst>
                <a:gd name="T0" fmla="*/ 45 w 49"/>
                <a:gd name="T1" fmla="*/ 27 h 27"/>
                <a:gd name="T2" fmla="*/ 4 w 49"/>
                <a:gd name="T3" fmla="*/ 27 h 27"/>
                <a:gd name="T4" fmla="*/ 0 w 49"/>
                <a:gd name="T5" fmla="*/ 24 h 27"/>
                <a:gd name="T6" fmla="*/ 1 w 49"/>
                <a:gd name="T7" fmla="*/ 20 h 27"/>
                <a:gd name="T8" fmla="*/ 22 w 49"/>
                <a:gd name="T9" fmla="*/ 1 h 27"/>
                <a:gd name="T10" fmla="*/ 27 w 49"/>
                <a:gd name="T11" fmla="*/ 1 h 27"/>
                <a:gd name="T12" fmla="*/ 48 w 49"/>
                <a:gd name="T13" fmla="*/ 20 h 27"/>
                <a:gd name="T14" fmla="*/ 49 w 49"/>
                <a:gd name="T15" fmla="*/ 24 h 27"/>
                <a:gd name="T16" fmla="*/ 45 w 49"/>
                <a:gd name="T17" fmla="*/ 27 h 27"/>
                <a:gd name="T18" fmla="*/ 15 w 49"/>
                <a:gd name="T19" fmla="*/ 19 h 27"/>
                <a:gd name="T20" fmla="*/ 34 w 49"/>
                <a:gd name="T21" fmla="*/ 19 h 27"/>
                <a:gd name="T22" fmla="*/ 24 w 49"/>
                <a:gd name="T23" fmla="*/ 10 h 27"/>
                <a:gd name="T24" fmla="*/ 15 w 49"/>
                <a:gd name="T25" fmla="*/ 19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27">
                  <a:moveTo>
                    <a:pt x="45" y="27"/>
                  </a:moveTo>
                  <a:cubicBezTo>
                    <a:pt x="4" y="27"/>
                    <a:pt x="4" y="27"/>
                    <a:pt x="4" y="27"/>
                  </a:cubicBezTo>
                  <a:cubicBezTo>
                    <a:pt x="2" y="27"/>
                    <a:pt x="1" y="26"/>
                    <a:pt x="0" y="24"/>
                  </a:cubicBezTo>
                  <a:cubicBezTo>
                    <a:pt x="0" y="23"/>
                    <a:pt x="0" y="21"/>
                    <a:pt x="1" y="20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3" y="0"/>
                    <a:pt x="26" y="0"/>
                    <a:pt x="27" y="1"/>
                  </a:cubicBezTo>
                  <a:cubicBezTo>
                    <a:pt x="48" y="20"/>
                    <a:pt x="48" y="20"/>
                    <a:pt x="48" y="20"/>
                  </a:cubicBezTo>
                  <a:cubicBezTo>
                    <a:pt x="49" y="21"/>
                    <a:pt x="49" y="23"/>
                    <a:pt x="49" y="24"/>
                  </a:cubicBezTo>
                  <a:cubicBezTo>
                    <a:pt x="48" y="26"/>
                    <a:pt x="47" y="27"/>
                    <a:pt x="45" y="27"/>
                  </a:cubicBezTo>
                  <a:close/>
                  <a:moveTo>
                    <a:pt x="15" y="19"/>
                  </a:moveTo>
                  <a:cubicBezTo>
                    <a:pt x="34" y="19"/>
                    <a:pt x="34" y="19"/>
                    <a:pt x="34" y="19"/>
                  </a:cubicBezTo>
                  <a:cubicBezTo>
                    <a:pt x="24" y="10"/>
                    <a:pt x="24" y="10"/>
                    <a:pt x="24" y="10"/>
                  </a:cubicBezTo>
                  <a:lnTo>
                    <a:pt x="15" y="1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2" name="Freeform 185">
              <a:extLst>
                <a:ext uri="{FF2B5EF4-FFF2-40B4-BE49-F238E27FC236}">
                  <a16:creationId xmlns:a16="http://schemas.microsoft.com/office/drawing/2014/main" id="{A7B38835-6BFA-17E1-2FD8-E3820F3D0EB8}"/>
                </a:ext>
              </a:extLst>
            </p:cNvPr>
            <p:cNvSpPr>
              <a:spLocks/>
            </p:cNvSpPr>
            <p:nvPr/>
          </p:nvSpPr>
          <p:spPr bwMode="auto">
            <a:xfrm>
              <a:off x="-3390967" y="5340808"/>
              <a:ext cx="391329" cy="248658"/>
            </a:xfrm>
            <a:custGeom>
              <a:avLst/>
              <a:gdLst>
                <a:gd name="T0" fmla="*/ 4 w 155"/>
                <a:gd name="T1" fmla="*/ 98 h 98"/>
                <a:gd name="T2" fmla="*/ 0 w 155"/>
                <a:gd name="T3" fmla="*/ 94 h 98"/>
                <a:gd name="T4" fmla="*/ 0 w 155"/>
                <a:gd name="T5" fmla="*/ 4 h 98"/>
                <a:gd name="T6" fmla="*/ 4 w 155"/>
                <a:gd name="T7" fmla="*/ 0 h 98"/>
                <a:gd name="T8" fmla="*/ 151 w 155"/>
                <a:gd name="T9" fmla="*/ 0 h 98"/>
                <a:gd name="T10" fmla="*/ 155 w 155"/>
                <a:gd name="T11" fmla="*/ 4 h 98"/>
                <a:gd name="T12" fmla="*/ 155 w 155"/>
                <a:gd name="T13" fmla="*/ 94 h 98"/>
                <a:gd name="T14" fmla="*/ 151 w 155"/>
                <a:gd name="T15" fmla="*/ 98 h 98"/>
                <a:gd name="T16" fmla="*/ 147 w 155"/>
                <a:gd name="T17" fmla="*/ 94 h 98"/>
                <a:gd name="T18" fmla="*/ 147 w 155"/>
                <a:gd name="T19" fmla="*/ 8 h 98"/>
                <a:gd name="T20" fmla="*/ 8 w 155"/>
                <a:gd name="T21" fmla="*/ 8 h 98"/>
                <a:gd name="T22" fmla="*/ 8 w 155"/>
                <a:gd name="T23" fmla="*/ 94 h 98"/>
                <a:gd name="T24" fmla="*/ 4 w 155"/>
                <a:gd name="T25" fmla="*/ 9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5" h="98">
                  <a:moveTo>
                    <a:pt x="4" y="98"/>
                  </a:moveTo>
                  <a:cubicBezTo>
                    <a:pt x="2" y="98"/>
                    <a:pt x="0" y="97"/>
                    <a:pt x="0" y="9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51" y="0"/>
                    <a:pt x="151" y="0"/>
                    <a:pt x="151" y="0"/>
                  </a:cubicBezTo>
                  <a:cubicBezTo>
                    <a:pt x="153" y="0"/>
                    <a:pt x="155" y="2"/>
                    <a:pt x="155" y="4"/>
                  </a:cubicBezTo>
                  <a:cubicBezTo>
                    <a:pt x="155" y="94"/>
                    <a:pt x="155" y="94"/>
                    <a:pt x="155" y="94"/>
                  </a:cubicBezTo>
                  <a:cubicBezTo>
                    <a:pt x="155" y="96"/>
                    <a:pt x="153" y="98"/>
                    <a:pt x="151" y="98"/>
                  </a:cubicBezTo>
                  <a:cubicBezTo>
                    <a:pt x="149" y="98"/>
                    <a:pt x="147" y="96"/>
                    <a:pt x="147" y="94"/>
                  </a:cubicBezTo>
                  <a:cubicBezTo>
                    <a:pt x="147" y="8"/>
                    <a:pt x="147" y="8"/>
                    <a:pt x="147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94"/>
                    <a:pt x="8" y="94"/>
                    <a:pt x="8" y="94"/>
                  </a:cubicBezTo>
                  <a:cubicBezTo>
                    <a:pt x="8" y="97"/>
                    <a:pt x="6" y="98"/>
                    <a:pt x="4" y="9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3" name="Freeform 186">
              <a:extLst>
                <a:ext uri="{FF2B5EF4-FFF2-40B4-BE49-F238E27FC236}">
                  <a16:creationId xmlns:a16="http://schemas.microsoft.com/office/drawing/2014/main" id="{EE507EA8-0783-30F1-65EE-1CC847C8330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460264" y="5528320"/>
              <a:ext cx="529925" cy="354643"/>
            </a:xfrm>
            <a:custGeom>
              <a:avLst/>
              <a:gdLst>
                <a:gd name="T0" fmla="*/ 207 w 211"/>
                <a:gd name="T1" fmla="*/ 141 h 141"/>
                <a:gd name="T2" fmla="*/ 4 w 211"/>
                <a:gd name="T3" fmla="*/ 141 h 141"/>
                <a:gd name="T4" fmla="*/ 0 w 211"/>
                <a:gd name="T5" fmla="*/ 138 h 141"/>
                <a:gd name="T6" fmla="*/ 2 w 211"/>
                <a:gd name="T7" fmla="*/ 134 h 141"/>
                <a:gd name="T8" fmla="*/ 98 w 211"/>
                <a:gd name="T9" fmla="*/ 71 h 141"/>
                <a:gd name="T10" fmla="*/ 2 w 211"/>
                <a:gd name="T11" fmla="*/ 8 h 141"/>
                <a:gd name="T12" fmla="*/ 1 w 211"/>
                <a:gd name="T13" fmla="*/ 2 h 141"/>
                <a:gd name="T14" fmla="*/ 7 w 211"/>
                <a:gd name="T15" fmla="*/ 1 h 141"/>
                <a:gd name="T16" fmla="*/ 105 w 211"/>
                <a:gd name="T17" fmla="*/ 66 h 141"/>
                <a:gd name="T18" fmla="*/ 204 w 211"/>
                <a:gd name="T19" fmla="*/ 1 h 141"/>
                <a:gd name="T20" fmla="*/ 210 w 211"/>
                <a:gd name="T21" fmla="*/ 2 h 141"/>
                <a:gd name="T22" fmla="*/ 209 w 211"/>
                <a:gd name="T23" fmla="*/ 8 h 141"/>
                <a:gd name="T24" fmla="*/ 113 w 211"/>
                <a:gd name="T25" fmla="*/ 71 h 141"/>
                <a:gd name="T26" fmla="*/ 209 w 211"/>
                <a:gd name="T27" fmla="*/ 134 h 141"/>
                <a:gd name="T28" fmla="*/ 210 w 211"/>
                <a:gd name="T29" fmla="*/ 138 h 141"/>
                <a:gd name="T30" fmla="*/ 207 w 211"/>
                <a:gd name="T31" fmla="*/ 141 h 141"/>
                <a:gd name="T32" fmla="*/ 18 w 211"/>
                <a:gd name="T33" fmla="*/ 133 h 141"/>
                <a:gd name="T34" fmla="*/ 193 w 211"/>
                <a:gd name="T35" fmla="*/ 133 h 141"/>
                <a:gd name="T36" fmla="*/ 105 w 211"/>
                <a:gd name="T37" fmla="*/ 76 h 141"/>
                <a:gd name="T38" fmla="*/ 18 w 211"/>
                <a:gd name="T39" fmla="*/ 133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11" h="141">
                  <a:moveTo>
                    <a:pt x="207" y="141"/>
                  </a:moveTo>
                  <a:cubicBezTo>
                    <a:pt x="4" y="141"/>
                    <a:pt x="4" y="141"/>
                    <a:pt x="4" y="141"/>
                  </a:cubicBezTo>
                  <a:cubicBezTo>
                    <a:pt x="3" y="141"/>
                    <a:pt x="1" y="140"/>
                    <a:pt x="0" y="138"/>
                  </a:cubicBezTo>
                  <a:cubicBezTo>
                    <a:pt x="0" y="137"/>
                    <a:pt x="1" y="135"/>
                    <a:pt x="2" y="134"/>
                  </a:cubicBezTo>
                  <a:cubicBezTo>
                    <a:pt x="98" y="71"/>
                    <a:pt x="98" y="71"/>
                    <a:pt x="98" y="71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0" y="6"/>
                    <a:pt x="0" y="4"/>
                    <a:pt x="1" y="2"/>
                  </a:cubicBezTo>
                  <a:cubicBezTo>
                    <a:pt x="2" y="0"/>
                    <a:pt x="5" y="0"/>
                    <a:pt x="7" y="1"/>
                  </a:cubicBezTo>
                  <a:cubicBezTo>
                    <a:pt x="105" y="66"/>
                    <a:pt x="105" y="66"/>
                    <a:pt x="105" y="66"/>
                  </a:cubicBezTo>
                  <a:cubicBezTo>
                    <a:pt x="204" y="1"/>
                    <a:pt x="204" y="1"/>
                    <a:pt x="204" y="1"/>
                  </a:cubicBezTo>
                  <a:cubicBezTo>
                    <a:pt x="206" y="0"/>
                    <a:pt x="209" y="0"/>
                    <a:pt x="210" y="2"/>
                  </a:cubicBezTo>
                  <a:cubicBezTo>
                    <a:pt x="211" y="4"/>
                    <a:pt x="211" y="6"/>
                    <a:pt x="209" y="8"/>
                  </a:cubicBezTo>
                  <a:cubicBezTo>
                    <a:pt x="113" y="71"/>
                    <a:pt x="113" y="71"/>
                    <a:pt x="113" y="71"/>
                  </a:cubicBezTo>
                  <a:cubicBezTo>
                    <a:pt x="209" y="134"/>
                    <a:pt x="209" y="134"/>
                    <a:pt x="209" y="134"/>
                  </a:cubicBezTo>
                  <a:cubicBezTo>
                    <a:pt x="210" y="135"/>
                    <a:pt x="211" y="137"/>
                    <a:pt x="210" y="138"/>
                  </a:cubicBezTo>
                  <a:cubicBezTo>
                    <a:pt x="210" y="140"/>
                    <a:pt x="208" y="141"/>
                    <a:pt x="207" y="141"/>
                  </a:cubicBezTo>
                  <a:close/>
                  <a:moveTo>
                    <a:pt x="18" y="133"/>
                  </a:moveTo>
                  <a:cubicBezTo>
                    <a:pt x="193" y="133"/>
                    <a:pt x="193" y="133"/>
                    <a:pt x="193" y="133"/>
                  </a:cubicBezTo>
                  <a:cubicBezTo>
                    <a:pt x="105" y="76"/>
                    <a:pt x="105" y="76"/>
                    <a:pt x="105" y="76"/>
                  </a:cubicBezTo>
                  <a:lnTo>
                    <a:pt x="18" y="13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4" name="Freeform 187">
              <a:extLst>
                <a:ext uri="{FF2B5EF4-FFF2-40B4-BE49-F238E27FC236}">
                  <a16:creationId xmlns:a16="http://schemas.microsoft.com/office/drawing/2014/main" id="{A6182523-5EB6-0D05-AD57-DB48122B11A2}"/>
                </a:ext>
              </a:extLst>
            </p:cNvPr>
            <p:cNvSpPr>
              <a:spLocks/>
            </p:cNvSpPr>
            <p:nvPr/>
          </p:nvSpPr>
          <p:spPr bwMode="auto">
            <a:xfrm>
              <a:off x="-3317593" y="5418257"/>
              <a:ext cx="158979" cy="24458"/>
            </a:xfrm>
            <a:custGeom>
              <a:avLst/>
              <a:gdLst>
                <a:gd name="T0" fmla="*/ 60 w 64"/>
                <a:gd name="T1" fmla="*/ 9 h 9"/>
                <a:gd name="T2" fmla="*/ 4 w 64"/>
                <a:gd name="T3" fmla="*/ 9 h 9"/>
                <a:gd name="T4" fmla="*/ 0 w 64"/>
                <a:gd name="T5" fmla="*/ 4 h 9"/>
                <a:gd name="T6" fmla="*/ 4 w 64"/>
                <a:gd name="T7" fmla="*/ 0 h 9"/>
                <a:gd name="T8" fmla="*/ 60 w 64"/>
                <a:gd name="T9" fmla="*/ 0 h 9"/>
                <a:gd name="T10" fmla="*/ 64 w 64"/>
                <a:gd name="T11" fmla="*/ 4 h 9"/>
                <a:gd name="T12" fmla="*/ 60 w 64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9">
                  <a:moveTo>
                    <a:pt x="60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62" y="0"/>
                    <a:pt x="64" y="2"/>
                    <a:pt x="64" y="4"/>
                  </a:cubicBezTo>
                  <a:cubicBezTo>
                    <a:pt x="64" y="7"/>
                    <a:pt x="62" y="9"/>
                    <a:pt x="6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5" name="Freeform 188">
              <a:extLst>
                <a:ext uri="{FF2B5EF4-FFF2-40B4-BE49-F238E27FC236}">
                  <a16:creationId xmlns:a16="http://schemas.microsoft.com/office/drawing/2014/main" id="{5D30EFAC-E105-F0FB-21B3-C49538F5E82C}"/>
                </a:ext>
              </a:extLst>
            </p:cNvPr>
            <p:cNvSpPr>
              <a:spLocks/>
            </p:cNvSpPr>
            <p:nvPr/>
          </p:nvSpPr>
          <p:spPr bwMode="auto">
            <a:xfrm>
              <a:off x="-3317593" y="5495709"/>
              <a:ext cx="248659" cy="20383"/>
            </a:xfrm>
            <a:custGeom>
              <a:avLst/>
              <a:gdLst>
                <a:gd name="T0" fmla="*/ 95 w 99"/>
                <a:gd name="T1" fmla="*/ 8 h 8"/>
                <a:gd name="T2" fmla="*/ 4 w 99"/>
                <a:gd name="T3" fmla="*/ 8 h 8"/>
                <a:gd name="T4" fmla="*/ 0 w 99"/>
                <a:gd name="T5" fmla="*/ 4 h 8"/>
                <a:gd name="T6" fmla="*/ 4 w 99"/>
                <a:gd name="T7" fmla="*/ 0 h 8"/>
                <a:gd name="T8" fmla="*/ 95 w 99"/>
                <a:gd name="T9" fmla="*/ 0 h 8"/>
                <a:gd name="T10" fmla="*/ 99 w 99"/>
                <a:gd name="T11" fmla="*/ 4 h 8"/>
                <a:gd name="T12" fmla="*/ 95 w 99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9" h="8">
                  <a:moveTo>
                    <a:pt x="95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97" y="0"/>
                    <a:pt x="99" y="2"/>
                    <a:pt x="99" y="4"/>
                  </a:cubicBezTo>
                  <a:cubicBezTo>
                    <a:pt x="99" y="6"/>
                    <a:pt x="97" y="8"/>
                    <a:pt x="95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6" name="Freeform 189">
              <a:extLst>
                <a:ext uri="{FF2B5EF4-FFF2-40B4-BE49-F238E27FC236}">
                  <a16:creationId xmlns:a16="http://schemas.microsoft.com/office/drawing/2014/main" id="{27E04DB7-0E1B-5FF7-74A7-B9E804D2BA9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264599" y="5573158"/>
              <a:ext cx="195665" cy="20383"/>
            </a:xfrm>
            <a:custGeom>
              <a:avLst/>
              <a:gdLst>
                <a:gd name="T0" fmla="*/ 73 w 77"/>
                <a:gd name="T1" fmla="*/ 9 h 9"/>
                <a:gd name="T2" fmla="*/ 4 w 77"/>
                <a:gd name="T3" fmla="*/ 9 h 9"/>
                <a:gd name="T4" fmla="*/ 0 w 77"/>
                <a:gd name="T5" fmla="*/ 4 h 9"/>
                <a:gd name="T6" fmla="*/ 4 w 77"/>
                <a:gd name="T7" fmla="*/ 0 h 9"/>
                <a:gd name="T8" fmla="*/ 73 w 77"/>
                <a:gd name="T9" fmla="*/ 0 h 9"/>
                <a:gd name="T10" fmla="*/ 77 w 77"/>
                <a:gd name="T11" fmla="*/ 4 h 9"/>
                <a:gd name="T12" fmla="*/ 73 w 77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7" h="9">
                  <a:moveTo>
                    <a:pt x="73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75" y="0"/>
                    <a:pt x="77" y="2"/>
                    <a:pt x="77" y="4"/>
                  </a:cubicBezTo>
                  <a:cubicBezTo>
                    <a:pt x="77" y="7"/>
                    <a:pt x="75" y="9"/>
                    <a:pt x="73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52" name="Shape22_20200717_154352">
            <a:extLst>
              <a:ext uri="{FF2B5EF4-FFF2-40B4-BE49-F238E27FC236}">
                <a16:creationId xmlns:a16="http://schemas.microsoft.com/office/drawing/2014/main" id="{0B48C374-FCDE-60A4-E089-9F62649BC7CE}"/>
              </a:ext>
            </a:extLst>
          </p:cNvPr>
          <p:cNvGrpSpPr>
            <a:grpSpLocks noChangeAspect="1"/>
          </p:cNvGrpSpPr>
          <p:nvPr/>
        </p:nvGrpSpPr>
        <p:grpSpPr>
          <a:xfrm>
            <a:off x="7142706" y="3798626"/>
            <a:ext cx="517698" cy="680751"/>
            <a:chOff x="-2119146" y="5247051"/>
            <a:chExt cx="517698" cy="680751"/>
          </a:xfrm>
          <a:solidFill>
            <a:schemeClr val="accent1"/>
          </a:solidFill>
        </p:grpSpPr>
        <p:sp>
          <p:nvSpPr>
            <p:cNvPr id="112" name="Freeform 190">
              <a:extLst>
                <a:ext uri="{FF2B5EF4-FFF2-40B4-BE49-F238E27FC236}">
                  <a16:creationId xmlns:a16="http://schemas.microsoft.com/office/drawing/2014/main" id="{9D96C377-0C05-D3AC-C6F3-C2E2EB0EF7D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119146" y="5247051"/>
              <a:ext cx="138596" cy="138596"/>
            </a:xfrm>
            <a:custGeom>
              <a:avLst/>
              <a:gdLst>
                <a:gd name="T0" fmla="*/ 51 w 55"/>
                <a:gd name="T1" fmla="*/ 55 h 55"/>
                <a:gd name="T2" fmla="*/ 4 w 55"/>
                <a:gd name="T3" fmla="*/ 55 h 55"/>
                <a:gd name="T4" fmla="*/ 1 w 55"/>
                <a:gd name="T5" fmla="*/ 53 h 55"/>
                <a:gd name="T6" fmla="*/ 2 w 55"/>
                <a:gd name="T7" fmla="*/ 48 h 55"/>
                <a:gd name="T8" fmla="*/ 48 w 55"/>
                <a:gd name="T9" fmla="*/ 1 h 55"/>
                <a:gd name="T10" fmla="*/ 53 w 55"/>
                <a:gd name="T11" fmla="*/ 1 h 55"/>
                <a:gd name="T12" fmla="*/ 55 w 55"/>
                <a:gd name="T13" fmla="*/ 4 h 55"/>
                <a:gd name="T14" fmla="*/ 55 w 55"/>
                <a:gd name="T15" fmla="*/ 51 h 55"/>
                <a:gd name="T16" fmla="*/ 51 w 55"/>
                <a:gd name="T17" fmla="*/ 55 h 55"/>
                <a:gd name="T18" fmla="*/ 14 w 55"/>
                <a:gd name="T19" fmla="*/ 47 h 55"/>
                <a:gd name="T20" fmla="*/ 47 w 55"/>
                <a:gd name="T21" fmla="*/ 47 h 55"/>
                <a:gd name="T22" fmla="*/ 47 w 55"/>
                <a:gd name="T23" fmla="*/ 14 h 55"/>
                <a:gd name="T24" fmla="*/ 14 w 55"/>
                <a:gd name="T25" fmla="*/ 4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5" h="55">
                  <a:moveTo>
                    <a:pt x="51" y="55"/>
                  </a:moveTo>
                  <a:cubicBezTo>
                    <a:pt x="4" y="55"/>
                    <a:pt x="4" y="55"/>
                    <a:pt x="4" y="55"/>
                  </a:cubicBezTo>
                  <a:cubicBezTo>
                    <a:pt x="3" y="55"/>
                    <a:pt x="1" y="54"/>
                    <a:pt x="1" y="53"/>
                  </a:cubicBezTo>
                  <a:cubicBezTo>
                    <a:pt x="0" y="51"/>
                    <a:pt x="0" y="49"/>
                    <a:pt x="2" y="48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50" y="0"/>
                    <a:pt x="51" y="0"/>
                    <a:pt x="53" y="1"/>
                  </a:cubicBezTo>
                  <a:cubicBezTo>
                    <a:pt x="54" y="1"/>
                    <a:pt x="55" y="3"/>
                    <a:pt x="55" y="4"/>
                  </a:cubicBezTo>
                  <a:cubicBezTo>
                    <a:pt x="55" y="51"/>
                    <a:pt x="55" y="51"/>
                    <a:pt x="55" y="51"/>
                  </a:cubicBezTo>
                  <a:cubicBezTo>
                    <a:pt x="55" y="53"/>
                    <a:pt x="54" y="55"/>
                    <a:pt x="51" y="55"/>
                  </a:cubicBezTo>
                  <a:close/>
                  <a:moveTo>
                    <a:pt x="14" y="47"/>
                  </a:moveTo>
                  <a:cubicBezTo>
                    <a:pt x="47" y="47"/>
                    <a:pt x="47" y="47"/>
                    <a:pt x="47" y="47"/>
                  </a:cubicBezTo>
                  <a:cubicBezTo>
                    <a:pt x="47" y="14"/>
                    <a:pt x="47" y="14"/>
                    <a:pt x="47" y="14"/>
                  </a:cubicBezTo>
                  <a:lnTo>
                    <a:pt x="14" y="4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3" name="Freeform 191">
              <a:extLst>
                <a:ext uri="{FF2B5EF4-FFF2-40B4-BE49-F238E27FC236}">
                  <a16:creationId xmlns:a16="http://schemas.microsoft.com/office/drawing/2014/main" id="{5BE609C0-A7DB-2CAA-8E49-91E5483564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119146" y="5247051"/>
              <a:ext cx="517698" cy="680751"/>
            </a:xfrm>
            <a:custGeom>
              <a:avLst/>
              <a:gdLst>
                <a:gd name="T0" fmla="*/ 202 w 206"/>
                <a:gd name="T1" fmla="*/ 271 h 271"/>
                <a:gd name="T2" fmla="*/ 4 w 206"/>
                <a:gd name="T3" fmla="*/ 271 h 271"/>
                <a:gd name="T4" fmla="*/ 0 w 206"/>
                <a:gd name="T5" fmla="*/ 267 h 271"/>
                <a:gd name="T6" fmla="*/ 0 w 206"/>
                <a:gd name="T7" fmla="*/ 51 h 271"/>
                <a:gd name="T8" fmla="*/ 2 w 206"/>
                <a:gd name="T9" fmla="*/ 48 h 271"/>
                <a:gd name="T10" fmla="*/ 48 w 206"/>
                <a:gd name="T11" fmla="*/ 1 h 271"/>
                <a:gd name="T12" fmla="*/ 51 w 206"/>
                <a:gd name="T13" fmla="*/ 0 h 271"/>
                <a:gd name="T14" fmla="*/ 202 w 206"/>
                <a:gd name="T15" fmla="*/ 0 h 271"/>
                <a:gd name="T16" fmla="*/ 206 w 206"/>
                <a:gd name="T17" fmla="*/ 4 h 271"/>
                <a:gd name="T18" fmla="*/ 206 w 206"/>
                <a:gd name="T19" fmla="*/ 267 h 271"/>
                <a:gd name="T20" fmla="*/ 202 w 206"/>
                <a:gd name="T21" fmla="*/ 271 h 271"/>
                <a:gd name="T22" fmla="*/ 9 w 206"/>
                <a:gd name="T23" fmla="*/ 263 h 271"/>
                <a:gd name="T24" fmla="*/ 198 w 206"/>
                <a:gd name="T25" fmla="*/ 263 h 271"/>
                <a:gd name="T26" fmla="*/ 198 w 206"/>
                <a:gd name="T27" fmla="*/ 9 h 271"/>
                <a:gd name="T28" fmla="*/ 53 w 206"/>
                <a:gd name="T29" fmla="*/ 9 h 271"/>
                <a:gd name="T30" fmla="*/ 9 w 206"/>
                <a:gd name="T31" fmla="*/ 53 h 271"/>
                <a:gd name="T32" fmla="*/ 9 w 206"/>
                <a:gd name="T33" fmla="*/ 263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06" h="271">
                  <a:moveTo>
                    <a:pt x="202" y="271"/>
                  </a:moveTo>
                  <a:cubicBezTo>
                    <a:pt x="4" y="271"/>
                    <a:pt x="4" y="271"/>
                    <a:pt x="4" y="271"/>
                  </a:cubicBezTo>
                  <a:cubicBezTo>
                    <a:pt x="2" y="271"/>
                    <a:pt x="0" y="269"/>
                    <a:pt x="0" y="267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50"/>
                    <a:pt x="1" y="49"/>
                    <a:pt x="2" y="48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9" y="1"/>
                    <a:pt x="50" y="0"/>
                    <a:pt x="51" y="0"/>
                  </a:cubicBezTo>
                  <a:cubicBezTo>
                    <a:pt x="202" y="0"/>
                    <a:pt x="202" y="0"/>
                    <a:pt x="202" y="0"/>
                  </a:cubicBezTo>
                  <a:cubicBezTo>
                    <a:pt x="204" y="0"/>
                    <a:pt x="206" y="2"/>
                    <a:pt x="206" y="4"/>
                  </a:cubicBezTo>
                  <a:cubicBezTo>
                    <a:pt x="206" y="267"/>
                    <a:pt x="206" y="267"/>
                    <a:pt x="206" y="267"/>
                  </a:cubicBezTo>
                  <a:cubicBezTo>
                    <a:pt x="206" y="269"/>
                    <a:pt x="204" y="271"/>
                    <a:pt x="202" y="271"/>
                  </a:cubicBezTo>
                  <a:close/>
                  <a:moveTo>
                    <a:pt x="9" y="263"/>
                  </a:moveTo>
                  <a:cubicBezTo>
                    <a:pt x="198" y="263"/>
                    <a:pt x="198" y="263"/>
                    <a:pt x="198" y="263"/>
                  </a:cubicBezTo>
                  <a:cubicBezTo>
                    <a:pt x="198" y="9"/>
                    <a:pt x="198" y="9"/>
                    <a:pt x="198" y="9"/>
                  </a:cubicBezTo>
                  <a:cubicBezTo>
                    <a:pt x="53" y="9"/>
                    <a:pt x="53" y="9"/>
                    <a:pt x="53" y="9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9" y="26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4" name="Freeform 192">
              <a:extLst>
                <a:ext uri="{FF2B5EF4-FFF2-40B4-BE49-F238E27FC236}">
                  <a16:creationId xmlns:a16="http://schemas.microsoft.com/office/drawing/2014/main" id="{3DB01377-43FC-5859-CCF1-2A619EE45619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35709" y="5446793"/>
              <a:ext cx="244581" cy="20383"/>
            </a:xfrm>
            <a:custGeom>
              <a:avLst/>
              <a:gdLst>
                <a:gd name="T0" fmla="*/ 93 w 97"/>
                <a:gd name="T1" fmla="*/ 9 h 9"/>
                <a:gd name="T2" fmla="*/ 4 w 97"/>
                <a:gd name="T3" fmla="*/ 9 h 9"/>
                <a:gd name="T4" fmla="*/ 0 w 97"/>
                <a:gd name="T5" fmla="*/ 5 h 9"/>
                <a:gd name="T6" fmla="*/ 4 w 97"/>
                <a:gd name="T7" fmla="*/ 0 h 9"/>
                <a:gd name="T8" fmla="*/ 93 w 97"/>
                <a:gd name="T9" fmla="*/ 0 h 9"/>
                <a:gd name="T10" fmla="*/ 97 w 97"/>
                <a:gd name="T11" fmla="*/ 5 h 9"/>
                <a:gd name="T12" fmla="*/ 93 w 97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7" h="9">
                  <a:moveTo>
                    <a:pt x="93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95" y="0"/>
                    <a:pt x="97" y="2"/>
                    <a:pt x="97" y="5"/>
                  </a:cubicBezTo>
                  <a:cubicBezTo>
                    <a:pt x="97" y="7"/>
                    <a:pt x="95" y="9"/>
                    <a:pt x="93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5" name="Freeform 193">
              <a:extLst>
                <a:ext uri="{FF2B5EF4-FFF2-40B4-BE49-F238E27FC236}">
                  <a16:creationId xmlns:a16="http://schemas.microsoft.com/office/drawing/2014/main" id="{1E626A42-A026-2113-1AA1-73C021B7141C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29467" y="5565006"/>
              <a:ext cx="338338" cy="20383"/>
            </a:xfrm>
            <a:custGeom>
              <a:avLst/>
              <a:gdLst>
                <a:gd name="T0" fmla="*/ 130 w 134"/>
                <a:gd name="T1" fmla="*/ 8 h 8"/>
                <a:gd name="T2" fmla="*/ 4 w 134"/>
                <a:gd name="T3" fmla="*/ 8 h 8"/>
                <a:gd name="T4" fmla="*/ 0 w 134"/>
                <a:gd name="T5" fmla="*/ 4 h 8"/>
                <a:gd name="T6" fmla="*/ 4 w 134"/>
                <a:gd name="T7" fmla="*/ 0 h 8"/>
                <a:gd name="T8" fmla="*/ 130 w 134"/>
                <a:gd name="T9" fmla="*/ 0 h 8"/>
                <a:gd name="T10" fmla="*/ 134 w 134"/>
                <a:gd name="T11" fmla="*/ 4 h 8"/>
                <a:gd name="T12" fmla="*/ 130 w 134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4" h="8">
                  <a:moveTo>
                    <a:pt x="130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7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30" y="0"/>
                    <a:pt x="130" y="0"/>
                    <a:pt x="130" y="0"/>
                  </a:cubicBezTo>
                  <a:cubicBezTo>
                    <a:pt x="132" y="0"/>
                    <a:pt x="134" y="2"/>
                    <a:pt x="134" y="4"/>
                  </a:cubicBezTo>
                  <a:cubicBezTo>
                    <a:pt x="134" y="7"/>
                    <a:pt x="132" y="8"/>
                    <a:pt x="13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6" name="Freeform 194">
              <a:extLst>
                <a:ext uri="{FF2B5EF4-FFF2-40B4-BE49-F238E27FC236}">
                  <a16:creationId xmlns:a16="http://schemas.microsoft.com/office/drawing/2014/main" id="{44EA3F48-1054-938F-6378-EEDAA2B4DE85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29467" y="5683221"/>
              <a:ext cx="338338" cy="20383"/>
            </a:xfrm>
            <a:custGeom>
              <a:avLst/>
              <a:gdLst>
                <a:gd name="T0" fmla="*/ 130 w 134"/>
                <a:gd name="T1" fmla="*/ 8 h 8"/>
                <a:gd name="T2" fmla="*/ 4 w 134"/>
                <a:gd name="T3" fmla="*/ 8 h 8"/>
                <a:gd name="T4" fmla="*/ 0 w 134"/>
                <a:gd name="T5" fmla="*/ 4 h 8"/>
                <a:gd name="T6" fmla="*/ 4 w 134"/>
                <a:gd name="T7" fmla="*/ 0 h 8"/>
                <a:gd name="T8" fmla="*/ 130 w 134"/>
                <a:gd name="T9" fmla="*/ 0 h 8"/>
                <a:gd name="T10" fmla="*/ 134 w 134"/>
                <a:gd name="T11" fmla="*/ 4 h 8"/>
                <a:gd name="T12" fmla="*/ 130 w 134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4" h="8">
                  <a:moveTo>
                    <a:pt x="130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30" y="0"/>
                    <a:pt x="130" y="0"/>
                    <a:pt x="130" y="0"/>
                  </a:cubicBezTo>
                  <a:cubicBezTo>
                    <a:pt x="132" y="0"/>
                    <a:pt x="134" y="2"/>
                    <a:pt x="134" y="4"/>
                  </a:cubicBezTo>
                  <a:cubicBezTo>
                    <a:pt x="134" y="6"/>
                    <a:pt x="132" y="8"/>
                    <a:pt x="13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7" name="Freeform 195">
              <a:extLst>
                <a:ext uri="{FF2B5EF4-FFF2-40B4-BE49-F238E27FC236}">
                  <a16:creationId xmlns:a16="http://schemas.microsoft.com/office/drawing/2014/main" id="{5C2FC5D3-C092-1862-35F7-8C11779F2290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29467" y="5801434"/>
              <a:ext cx="224200" cy="20383"/>
            </a:xfrm>
            <a:custGeom>
              <a:avLst/>
              <a:gdLst>
                <a:gd name="T0" fmla="*/ 84 w 89"/>
                <a:gd name="T1" fmla="*/ 8 h 8"/>
                <a:gd name="T2" fmla="*/ 4 w 89"/>
                <a:gd name="T3" fmla="*/ 8 h 8"/>
                <a:gd name="T4" fmla="*/ 0 w 89"/>
                <a:gd name="T5" fmla="*/ 4 h 8"/>
                <a:gd name="T6" fmla="*/ 4 w 89"/>
                <a:gd name="T7" fmla="*/ 0 h 8"/>
                <a:gd name="T8" fmla="*/ 84 w 89"/>
                <a:gd name="T9" fmla="*/ 0 h 8"/>
                <a:gd name="T10" fmla="*/ 89 w 89"/>
                <a:gd name="T11" fmla="*/ 4 h 8"/>
                <a:gd name="T12" fmla="*/ 84 w 89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9" h="8">
                  <a:moveTo>
                    <a:pt x="84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7" y="0"/>
                    <a:pt x="89" y="2"/>
                    <a:pt x="89" y="4"/>
                  </a:cubicBezTo>
                  <a:cubicBezTo>
                    <a:pt x="89" y="6"/>
                    <a:pt x="87" y="8"/>
                    <a:pt x="84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53" name="Shape23_20200717_154352">
            <a:extLst>
              <a:ext uri="{FF2B5EF4-FFF2-40B4-BE49-F238E27FC236}">
                <a16:creationId xmlns:a16="http://schemas.microsoft.com/office/drawing/2014/main" id="{4ACA961F-CD69-1615-F82D-2EFD73AFC5DC}"/>
              </a:ext>
            </a:extLst>
          </p:cNvPr>
          <p:cNvGrpSpPr>
            <a:grpSpLocks noChangeAspect="1"/>
          </p:cNvGrpSpPr>
          <p:nvPr/>
        </p:nvGrpSpPr>
        <p:grpSpPr>
          <a:xfrm>
            <a:off x="4558799" y="2537469"/>
            <a:ext cx="472856" cy="611452"/>
            <a:chOff x="-8808433" y="3844787"/>
            <a:chExt cx="472856" cy="611452"/>
          </a:xfrm>
          <a:solidFill>
            <a:schemeClr val="accent1"/>
          </a:solidFill>
        </p:grpSpPr>
        <p:sp>
          <p:nvSpPr>
            <p:cNvPr id="104" name="Freeform 196">
              <a:extLst>
                <a:ext uri="{FF2B5EF4-FFF2-40B4-BE49-F238E27FC236}">
                  <a16:creationId xmlns:a16="http://schemas.microsoft.com/office/drawing/2014/main" id="{899497B5-35F9-DDAF-9102-EB769F926EC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8808433" y="3844787"/>
              <a:ext cx="472856" cy="611452"/>
            </a:xfrm>
            <a:custGeom>
              <a:avLst/>
              <a:gdLst>
                <a:gd name="T0" fmla="*/ 184 w 188"/>
                <a:gd name="T1" fmla="*/ 243 h 243"/>
                <a:gd name="T2" fmla="*/ 4 w 188"/>
                <a:gd name="T3" fmla="*/ 243 h 243"/>
                <a:gd name="T4" fmla="*/ 0 w 188"/>
                <a:gd name="T5" fmla="*/ 239 h 243"/>
                <a:gd name="T6" fmla="*/ 0 w 188"/>
                <a:gd name="T7" fmla="*/ 4 h 243"/>
                <a:gd name="T8" fmla="*/ 4 w 188"/>
                <a:gd name="T9" fmla="*/ 0 h 243"/>
                <a:gd name="T10" fmla="*/ 184 w 188"/>
                <a:gd name="T11" fmla="*/ 0 h 243"/>
                <a:gd name="T12" fmla="*/ 188 w 188"/>
                <a:gd name="T13" fmla="*/ 4 h 243"/>
                <a:gd name="T14" fmla="*/ 188 w 188"/>
                <a:gd name="T15" fmla="*/ 239 h 243"/>
                <a:gd name="T16" fmla="*/ 184 w 188"/>
                <a:gd name="T17" fmla="*/ 243 h 243"/>
                <a:gd name="T18" fmla="*/ 8 w 188"/>
                <a:gd name="T19" fmla="*/ 235 h 243"/>
                <a:gd name="T20" fmla="*/ 180 w 188"/>
                <a:gd name="T21" fmla="*/ 235 h 243"/>
                <a:gd name="T22" fmla="*/ 180 w 188"/>
                <a:gd name="T23" fmla="*/ 8 h 243"/>
                <a:gd name="T24" fmla="*/ 8 w 188"/>
                <a:gd name="T25" fmla="*/ 8 h 243"/>
                <a:gd name="T26" fmla="*/ 8 w 188"/>
                <a:gd name="T27" fmla="*/ 235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" h="243">
                  <a:moveTo>
                    <a:pt x="184" y="243"/>
                  </a:moveTo>
                  <a:cubicBezTo>
                    <a:pt x="4" y="243"/>
                    <a:pt x="4" y="243"/>
                    <a:pt x="4" y="243"/>
                  </a:cubicBezTo>
                  <a:cubicBezTo>
                    <a:pt x="2" y="243"/>
                    <a:pt x="0" y="241"/>
                    <a:pt x="0" y="239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186" y="0"/>
                    <a:pt x="188" y="1"/>
                    <a:pt x="188" y="4"/>
                  </a:cubicBezTo>
                  <a:cubicBezTo>
                    <a:pt x="188" y="239"/>
                    <a:pt x="188" y="239"/>
                    <a:pt x="188" y="239"/>
                  </a:cubicBezTo>
                  <a:cubicBezTo>
                    <a:pt x="188" y="241"/>
                    <a:pt x="186" y="243"/>
                    <a:pt x="184" y="243"/>
                  </a:cubicBezTo>
                  <a:close/>
                  <a:moveTo>
                    <a:pt x="8" y="235"/>
                  </a:moveTo>
                  <a:cubicBezTo>
                    <a:pt x="180" y="235"/>
                    <a:pt x="180" y="235"/>
                    <a:pt x="180" y="235"/>
                  </a:cubicBezTo>
                  <a:cubicBezTo>
                    <a:pt x="180" y="8"/>
                    <a:pt x="180" y="8"/>
                    <a:pt x="180" y="8"/>
                  </a:cubicBezTo>
                  <a:cubicBezTo>
                    <a:pt x="8" y="8"/>
                    <a:pt x="8" y="8"/>
                    <a:pt x="8" y="8"/>
                  </a:cubicBezTo>
                  <a:lnTo>
                    <a:pt x="8" y="23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5" name="Freeform 197">
              <a:extLst>
                <a:ext uri="{FF2B5EF4-FFF2-40B4-BE49-F238E27FC236}">
                  <a16:creationId xmlns:a16="http://schemas.microsoft.com/office/drawing/2014/main" id="{9B5F012D-63AA-17D9-CCC5-943F7E59DA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8808433" y="3844787"/>
              <a:ext cx="472856" cy="158979"/>
            </a:xfrm>
            <a:custGeom>
              <a:avLst/>
              <a:gdLst>
                <a:gd name="T0" fmla="*/ 184 w 188"/>
                <a:gd name="T1" fmla="*/ 62 h 62"/>
                <a:gd name="T2" fmla="*/ 4 w 188"/>
                <a:gd name="T3" fmla="*/ 62 h 62"/>
                <a:gd name="T4" fmla="*/ 0 w 188"/>
                <a:gd name="T5" fmla="*/ 58 h 62"/>
                <a:gd name="T6" fmla="*/ 0 w 188"/>
                <a:gd name="T7" fmla="*/ 4 h 62"/>
                <a:gd name="T8" fmla="*/ 4 w 188"/>
                <a:gd name="T9" fmla="*/ 0 h 62"/>
                <a:gd name="T10" fmla="*/ 184 w 188"/>
                <a:gd name="T11" fmla="*/ 0 h 62"/>
                <a:gd name="T12" fmla="*/ 188 w 188"/>
                <a:gd name="T13" fmla="*/ 4 h 62"/>
                <a:gd name="T14" fmla="*/ 188 w 188"/>
                <a:gd name="T15" fmla="*/ 58 h 62"/>
                <a:gd name="T16" fmla="*/ 184 w 188"/>
                <a:gd name="T17" fmla="*/ 62 h 62"/>
                <a:gd name="T18" fmla="*/ 8 w 188"/>
                <a:gd name="T19" fmla="*/ 54 h 62"/>
                <a:gd name="T20" fmla="*/ 180 w 188"/>
                <a:gd name="T21" fmla="*/ 54 h 62"/>
                <a:gd name="T22" fmla="*/ 180 w 188"/>
                <a:gd name="T23" fmla="*/ 8 h 62"/>
                <a:gd name="T24" fmla="*/ 8 w 188"/>
                <a:gd name="T25" fmla="*/ 8 h 62"/>
                <a:gd name="T26" fmla="*/ 8 w 188"/>
                <a:gd name="T27" fmla="*/ 54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" h="62">
                  <a:moveTo>
                    <a:pt x="184" y="62"/>
                  </a:moveTo>
                  <a:cubicBezTo>
                    <a:pt x="4" y="62"/>
                    <a:pt x="4" y="62"/>
                    <a:pt x="4" y="62"/>
                  </a:cubicBezTo>
                  <a:cubicBezTo>
                    <a:pt x="2" y="62"/>
                    <a:pt x="0" y="60"/>
                    <a:pt x="0" y="58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186" y="0"/>
                    <a:pt x="188" y="1"/>
                    <a:pt x="188" y="4"/>
                  </a:cubicBezTo>
                  <a:cubicBezTo>
                    <a:pt x="188" y="58"/>
                    <a:pt x="188" y="58"/>
                    <a:pt x="188" y="58"/>
                  </a:cubicBezTo>
                  <a:cubicBezTo>
                    <a:pt x="188" y="60"/>
                    <a:pt x="186" y="62"/>
                    <a:pt x="184" y="62"/>
                  </a:cubicBezTo>
                  <a:close/>
                  <a:moveTo>
                    <a:pt x="8" y="54"/>
                  </a:moveTo>
                  <a:cubicBezTo>
                    <a:pt x="180" y="54"/>
                    <a:pt x="180" y="54"/>
                    <a:pt x="180" y="54"/>
                  </a:cubicBezTo>
                  <a:cubicBezTo>
                    <a:pt x="180" y="8"/>
                    <a:pt x="180" y="8"/>
                    <a:pt x="180" y="8"/>
                  </a:cubicBezTo>
                  <a:cubicBezTo>
                    <a:pt x="8" y="8"/>
                    <a:pt x="8" y="8"/>
                    <a:pt x="8" y="8"/>
                  </a:cubicBezTo>
                  <a:lnTo>
                    <a:pt x="8" y="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6" name="Freeform 198">
              <a:extLst>
                <a:ext uri="{FF2B5EF4-FFF2-40B4-BE49-F238E27FC236}">
                  <a16:creationId xmlns:a16="http://schemas.microsoft.com/office/drawing/2014/main" id="{531B3A1D-122E-DE13-D1D3-3269579D979D}"/>
                </a:ext>
              </a:extLst>
            </p:cNvPr>
            <p:cNvSpPr>
              <a:spLocks/>
            </p:cNvSpPr>
            <p:nvPr/>
          </p:nvSpPr>
          <p:spPr bwMode="auto">
            <a:xfrm>
              <a:off x="-8584235" y="3983383"/>
              <a:ext cx="20383" cy="472856"/>
            </a:xfrm>
            <a:custGeom>
              <a:avLst/>
              <a:gdLst>
                <a:gd name="T0" fmla="*/ 4 w 8"/>
                <a:gd name="T1" fmla="*/ 188 h 188"/>
                <a:gd name="T2" fmla="*/ 0 w 8"/>
                <a:gd name="T3" fmla="*/ 184 h 188"/>
                <a:gd name="T4" fmla="*/ 0 w 8"/>
                <a:gd name="T5" fmla="*/ 4 h 188"/>
                <a:gd name="T6" fmla="*/ 4 w 8"/>
                <a:gd name="T7" fmla="*/ 0 h 188"/>
                <a:gd name="T8" fmla="*/ 8 w 8"/>
                <a:gd name="T9" fmla="*/ 4 h 188"/>
                <a:gd name="T10" fmla="*/ 8 w 8"/>
                <a:gd name="T11" fmla="*/ 184 h 188"/>
                <a:gd name="T12" fmla="*/ 4 w 8"/>
                <a:gd name="T13" fmla="*/ 188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188">
                  <a:moveTo>
                    <a:pt x="4" y="188"/>
                  </a:moveTo>
                  <a:cubicBezTo>
                    <a:pt x="2" y="188"/>
                    <a:pt x="0" y="186"/>
                    <a:pt x="0" y="18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184"/>
                    <a:pt x="8" y="184"/>
                    <a:pt x="8" y="184"/>
                  </a:cubicBezTo>
                  <a:cubicBezTo>
                    <a:pt x="8" y="186"/>
                    <a:pt x="6" y="188"/>
                    <a:pt x="4" y="18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7" name="Freeform 199">
              <a:extLst>
                <a:ext uri="{FF2B5EF4-FFF2-40B4-BE49-F238E27FC236}">
                  <a16:creationId xmlns:a16="http://schemas.microsoft.com/office/drawing/2014/main" id="{F80C03B6-1BC7-31E6-C33F-83708585F7AF}"/>
                </a:ext>
              </a:extLst>
            </p:cNvPr>
            <p:cNvSpPr>
              <a:spLocks/>
            </p:cNvSpPr>
            <p:nvPr/>
          </p:nvSpPr>
          <p:spPr bwMode="auto">
            <a:xfrm>
              <a:off x="-8470098" y="3983383"/>
              <a:ext cx="20383" cy="472856"/>
            </a:xfrm>
            <a:custGeom>
              <a:avLst/>
              <a:gdLst>
                <a:gd name="T0" fmla="*/ 4 w 8"/>
                <a:gd name="T1" fmla="*/ 188 h 188"/>
                <a:gd name="T2" fmla="*/ 0 w 8"/>
                <a:gd name="T3" fmla="*/ 184 h 188"/>
                <a:gd name="T4" fmla="*/ 0 w 8"/>
                <a:gd name="T5" fmla="*/ 4 h 188"/>
                <a:gd name="T6" fmla="*/ 4 w 8"/>
                <a:gd name="T7" fmla="*/ 0 h 188"/>
                <a:gd name="T8" fmla="*/ 8 w 8"/>
                <a:gd name="T9" fmla="*/ 4 h 188"/>
                <a:gd name="T10" fmla="*/ 8 w 8"/>
                <a:gd name="T11" fmla="*/ 184 h 188"/>
                <a:gd name="T12" fmla="*/ 4 w 8"/>
                <a:gd name="T13" fmla="*/ 188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188">
                  <a:moveTo>
                    <a:pt x="4" y="188"/>
                  </a:moveTo>
                  <a:cubicBezTo>
                    <a:pt x="2" y="188"/>
                    <a:pt x="0" y="186"/>
                    <a:pt x="0" y="18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184"/>
                    <a:pt x="8" y="184"/>
                    <a:pt x="8" y="184"/>
                  </a:cubicBezTo>
                  <a:cubicBezTo>
                    <a:pt x="8" y="186"/>
                    <a:pt x="6" y="188"/>
                    <a:pt x="4" y="18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8" name="Freeform 200">
              <a:extLst>
                <a:ext uri="{FF2B5EF4-FFF2-40B4-BE49-F238E27FC236}">
                  <a16:creationId xmlns:a16="http://schemas.microsoft.com/office/drawing/2014/main" id="{2DB0E0B5-EDF0-03F0-E59B-C58F607E89C5}"/>
                </a:ext>
              </a:extLst>
            </p:cNvPr>
            <p:cNvSpPr>
              <a:spLocks/>
            </p:cNvSpPr>
            <p:nvPr/>
          </p:nvSpPr>
          <p:spPr bwMode="auto">
            <a:xfrm>
              <a:off x="-8694295" y="3983383"/>
              <a:ext cx="20383" cy="472856"/>
            </a:xfrm>
            <a:custGeom>
              <a:avLst/>
              <a:gdLst>
                <a:gd name="T0" fmla="*/ 4 w 8"/>
                <a:gd name="T1" fmla="*/ 188 h 188"/>
                <a:gd name="T2" fmla="*/ 0 w 8"/>
                <a:gd name="T3" fmla="*/ 184 h 188"/>
                <a:gd name="T4" fmla="*/ 0 w 8"/>
                <a:gd name="T5" fmla="*/ 4 h 188"/>
                <a:gd name="T6" fmla="*/ 4 w 8"/>
                <a:gd name="T7" fmla="*/ 0 h 188"/>
                <a:gd name="T8" fmla="*/ 8 w 8"/>
                <a:gd name="T9" fmla="*/ 4 h 188"/>
                <a:gd name="T10" fmla="*/ 8 w 8"/>
                <a:gd name="T11" fmla="*/ 184 h 188"/>
                <a:gd name="T12" fmla="*/ 4 w 8"/>
                <a:gd name="T13" fmla="*/ 188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188">
                  <a:moveTo>
                    <a:pt x="4" y="188"/>
                  </a:moveTo>
                  <a:cubicBezTo>
                    <a:pt x="2" y="188"/>
                    <a:pt x="0" y="186"/>
                    <a:pt x="0" y="18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184"/>
                    <a:pt x="8" y="184"/>
                    <a:pt x="8" y="184"/>
                  </a:cubicBezTo>
                  <a:cubicBezTo>
                    <a:pt x="8" y="186"/>
                    <a:pt x="6" y="188"/>
                    <a:pt x="4" y="18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9" name="Freeform 201">
              <a:extLst>
                <a:ext uri="{FF2B5EF4-FFF2-40B4-BE49-F238E27FC236}">
                  <a16:creationId xmlns:a16="http://schemas.microsoft.com/office/drawing/2014/main" id="{D3B20AE5-6A00-ECB8-3CF0-1E90960115CE}"/>
                </a:ext>
              </a:extLst>
            </p:cNvPr>
            <p:cNvSpPr>
              <a:spLocks/>
            </p:cNvSpPr>
            <p:nvPr/>
          </p:nvSpPr>
          <p:spPr bwMode="auto">
            <a:xfrm>
              <a:off x="-8808433" y="4207584"/>
              <a:ext cx="472856" cy="20383"/>
            </a:xfrm>
            <a:custGeom>
              <a:avLst/>
              <a:gdLst>
                <a:gd name="T0" fmla="*/ 184 w 188"/>
                <a:gd name="T1" fmla="*/ 8 h 8"/>
                <a:gd name="T2" fmla="*/ 4 w 188"/>
                <a:gd name="T3" fmla="*/ 8 h 8"/>
                <a:gd name="T4" fmla="*/ 0 w 188"/>
                <a:gd name="T5" fmla="*/ 4 h 8"/>
                <a:gd name="T6" fmla="*/ 4 w 188"/>
                <a:gd name="T7" fmla="*/ 0 h 8"/>
                <a:gd name="T8" fmla="*/ 184 w 188"/>
                <a:gd name="T9" fmla="*/ 0 h 8"/>
                <a:gd name="T10" fmla="*/ 188 w 188"/>
                <a:gd name="T11" fmla="*/ 4 h 8"/>
                <a:gd name="T12" fmla="*/ 184 w 188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8" h="8">
                  <a:moveTo>
                    <a:pt x="184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186" y="0"/>
                    <a:pt x="188" y="2"/>
                    <a:pt x="188" y="4"/>
                  </a:cubicBezTo>
                  <a:cubicBezTo>
                    <a:pt x="188" y="6"/>
                    <a:pt x="186" y="8"/>
                    <a:pt x="184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0" name="Freeform 202">
              <a:extLst>
                <a:ext uri="{FF2B5EF4-FFF2-40B4-BE49-F238E27FC236}">
                  <a16:creationId xmlns:a16="http://schemas.microsoft.com/office/drawing/2014/main" id="{0F987B95-3167-109B-DFDD-4DA1E91A43F0}"/>
                </a:ext>
              </a:extLst>
            </p:cNvPr>
            <p:cNvSpPr>
              <a:spLocks/>
            </p:cNvSpPr>
            <p:nvPr/>
          </p:nvSpPr>
          <p:spPr bwMode="auto">
            <a:xfrm>
              <a:off x="-8808433" y="4321721"/>
              <a:ext cx="472856" cy="20383"/>
            </a:xfrm>
            <a:custGeom>
              <a:avLst/>
              <a:gdLst>
                <a:gd name="T0" fmla="*/ 184 w 188"/>
                <a:gd name="T1" fmla="*/ 8 h 8"/>
                <a:gd name="T2" fmla="*/ 4 w 188"/>
                <a:gd name="T3" fmla="*/ 8 h 8"/>
                <a:gd name="T4" fmla="*/ 0 w 188"/>
                <a:gd name="T5" fmla="*/ 4 h 8"/>
                <a:gd name="T6" fmla="*/ 4 w 188"/>
                <a:gd name="T7" fmla="*/ 0 h 8"/>
                <a:gd name="T8" fmla="*/ 184 w 188"/>
                <a:gd name="T9" fmla="*/ 0 h 8"/>
                <a:gd name="T10" fmla="*/ 188 w 188"/>
                <a:gd name="T11" fmla="*/ 4 h 8"/>
                <a:gd name="T12" fmla="*/ 184 w 188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8" h="8">
                  <a:moveTo>
                    <a:pt x="184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186" y="0"/>
                    <a:pt x="188" y="2"/>
                    <a:pt x="188" y="4"/>
                  </a:cubicBezTo>
                  <a:cubicBezTo>
                    <a:pt x="188" y="6"/>
                    <a:pt x="186" y="8"/>
                    <a:pt x="184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1" name="Freeform 203">
              <a:extLst>
                <a:ext uri="{FF2B5EF4-FFF2-40B4-BE49-F238E27FC236}">
                  <a16:creationId xmlns:a16="http://schemas.microsoft.com/office/drawing/2014/main" id="{D2E1CE9A-1CA4-637E-7DD4-FA04FCEB4F58}"/>
                </a:ext>
              </a:extLst>
            </p:cNvPr>
            <p:cNvSpPr>
              <a:spLocks/>
            </p:cNvSpPr>
            <p:nvPr/>
          </p:nvSpPr>
          <p:spPr bwMode="auto">
            <a:xfrm>
              <a:off x="-8808433" y="4093446"/>
              <a:ext cx="472856" cy="20383"/>
            </a:xfrm>
            <a:custGeom>
              <a:avLst/>
              <a:gdLst>
                <a:gd name="T0" fmla="*/ 184 w 188"/>
                <a:gd name="T1" fmla="*/ 8 h 8"/>
                <a:gd name="T2" fmla="*/ 4 w 188"/>
                <a:gd name="T3" fmla="*/ 8 h 8"/>
                <a:gd name="T4" fmla="*/ 0 w 188"/>
                <a:gd name="T5" fmla="*/ 4 h 8"/>
                <a:gd name="T6" fmla="*/ 4 w 188"/>
                <a:gd name="T7" fmla="*/ 0 h 8"/>
                <a:gd name="T8" fmla="*/ 184 w 188"/>
                <a:gd name="T9" fmla="*/ 0 h 8"/>
                <a:gd name="T10" fmla="*/ 188 w 188"/>
                <a:gd name="T11" fmla="*/ 4 h 8"/>
                <a:gd name="T12" fmla="*/ 184 w 188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8" h="8">
                  <a:moveTo>
                    <a:pt x="184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186" y="0"/>
                    <a:pt x="188" y="1"/>
                    <a:pt x="188" y="4"/>
                  </a:cubicBezTo>
                  <a:cubicBezTo>
                    <a:pt x="188" y="6"/>
                    <a:pt x="186" y="8"/>
                    <a:pt x="184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EE95C28C-168F-5AA1-1629-F4A0AC349168}"/>
              </a:ext>
            </a:extLst>
          </p:cNvPr>
          <p:cNvGrpSpPr/>
          <p:nvPr/>
        </p:nvGrpSpPr>
        <p:grpSpPr>
          <a:xfrm>
            <a:off x="8404151" y="3847063"/>
            <a:ext cx="605920" cy="575190"/>
            <a:chOff x="3844166" y="605079"/>
            <a:chExt cx="4494802" cy="4266883"/>
          </a:xfrm>
          <a:solidFill>
            <a:schemeClr val="accent1"/>
          </a:solidFill>
        </p:grpSpPr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B10C2216-B380-98D6-9CB8-922D83BCCDA1}"/>
                </a:ext>
              </a:extLst>
            </p:cNvPr>
            <p:cNvSpPr/>
            <p:nvPr/>
          </p:nvSpPr>
          <p:spPr>
            <a:xfrm>
              <a:off x="4071533" y="605079"/>
              <a:ext cx="4046220" cy="2341517"/>
            </a:xfrm>
            <a:custGeom>
              <a:avLst/>
              <a:gdLst>
                <a:gd name="connsiteX0" fmla="*/ 1370997 w 4046220"/>
                <a:gd name="connsiteY0" fmla="*/ 2251768 h 2341517"/>
                <a:gd name="connsiteX1" fmla="*/ 1456263 w 4046220"/>
                <a:gd name="connsiteY1" fmla="*/ 2337033 h 2341517"/>
                <a:gd name="connsiteX2" fmla="*/ 3956396 w 4046220"/>
                <a:gd name="connsiteY2" fmla="*/ 2337033 h 2341517"/>
                <a:gd name="connsiteX3" fmla="*/ 4041623 w 4046220"/>
                <a:gd name="connsiteY3" fmla="*/ 2251768 h 2341517"/>
                <a:gd name="connsiteX4" fmla="*/ 4041623 w 4046220"/>
                <a:gd name="connsiteY4" fmla="*/ 92575 h 2341517"/>
                <a:gd name="connsiteX5" fmla="*/ 3956396 w 4046220"/>
                <a:gd name="connsiteY5" fmla="*/ 7348 h 2341517"/>
                <a:gd name="connsiteX6" fmla="*/ 1456263 w 4046220"/>
                <a:gd name="connsiteY6" fmla="*/ 7348 h 2341517"/>
                <a:gd name="connsiteX7" fmla="*/ 1371036 w 4046220"/>
                <a:gd name="connsiteY7" fmla="*/ 92575 h 2341517"/>
                <a:gd name="connsiteX8" fmla="*/ 1371036 w 4046220"/>
                <a:gd name="connsiteY8" fmla="*/ 916495 h 2341517"/>
                <a:gd name="connsiteX9" fmla="*/ 774439 w 4046220"/>
                <a:gd name="connsiteY9" fmla="*/ 916495 h 2341517"/>
                <a:gd name="connsiteX10" fmla="*/ 736322 w 4046220"/>
                <a:gd name="connsiteY10" fmla="*/ 925489 h 2341517"/>
                <a:gd name="connsiteX11" fmla="*/ 547149 w 4046220"/>
                <a:gd name="connsiteY11" fmla="*/ 1020092 h 2341517"/>
                <a:gd name="connsiteX12" fmla="*/ 357976 w 4046220"/>
                <a:gd name="connsiteY12" fmla="*/ 925489 h 2341517"/>
                <a:gd name="connsiteX13" fmla="*/ 319859 w 4046220"/>
                <a:gd name="connsiteY13" fmla="*/ 916495 h 2341517"/>
                <a:gd name="connsiteX14" fmla="*/ 92575 w 4046220"/>
                <a:gd name="connsiteY14" fmla="*/ 916495 h 2341517"/>
                <a:gd name="connsiteX15" fmla="*/ 7348 w 4046220"/>
                <a:gd name="connsiteY15" fmla="*/ 1001723 h 2341517"/>
                <a:gd name="connsiteX16" fmla="*/ 7348 w 4046220"/>
                <a:gd name="connsiteY16" fmla="*/ 2251740 h 2341517"/>
                <a:gd name="connsiteX17" fmla="*/ 92575 w 4046220"/>
                <a:gd name="connsiteY17" fmla="*/ 2337006 h 2341517"/>
                <a:gd name="connsiteX18" fmla="*/ 1001721 w 4046220"/>
                <a:gd name="connsiteY18" fmla="*/ 2337006 h 2341517"/>
                <a:gd name="connsiteX19" fmla="*/ 1086948 w 4046220"/>
                <a:gd name="connsiteY19" fmla="*/ 2251740 h 2341517"/>
                <a:gd name="connsiteX20" fmla="*/ 1086948 w 4046220"/>
                <a:gd name="connsiteY20" fmla="*/ 1533414 h 2341517"/>
                <a:gd name="connsiteX21" fmla="*/ 1371065 w 4046220"/>
                <a:gd name="connsiteY21" fmla="*/ 1504979 h 2341517"/>
                <a:gd name="connsiteX22" fmla="*/ 1541487 w 4046220"/>
                <a:gd name="connsiteY22" fmla="*/ 177810 h 2341517"/>
                <a:gd name="connsiteX23" fmla="*/ 3871150 w 4046220"/>
                <a:gd name="connsiteY23" fmla="*/ 177810 h 2341517"/>
                <a:gd name="connsiteX24" fmla="*/ 3871150 w 4046220"/>
                <a:gd name="connsiteY24" fmla="*/ 2166532 h 2341517"/>
                <a:gd name="connsiteX25" fmla="*/ 1541487 w 4046220"/>
                <a:gd name="connsiteY25" fmla="*/ 2166532 h 2341517"/>
                <a:gd name="connsiteX26" fmla="*/ 1541487 w 4046220"/>
                <a:gd name="connsiteY26" fmla="*/ 1487963 h 2341517"/>
                <a:gd name="connsiteX27" fmla="*/ 2146618 w 4046220"/>
                <a:gd name="connsiteY27" fmla="*/ 1427419 h 2341517"/>
                <a:gd name="connsiteX28" fmla="*/ 2146579 w 4046220"/>
                <a:gd name="connsiteY28" fmla="*/ 1427419 h 2341517"/>
                <a:gd name="connsiteX29" fmla="*/ 2223349 w 4046220"/>
                <a:gd name="connsiteY29" fmla="*/ 1342651 h 2341517"/>
                <a:gd name="connsiteX30" fmla="*/ 2223349 w 4046220"/>
                <a:gd name="connsiteY30" fmla="*/ 1228838 h 2341517"/>
                <a:gd name="connsiteX31" fmla="*/ 3420462 w 4046220"/>
                <a:gd name="connsiteY31" fmla="*/ 739706 h 2341517"/>
                <a:gd name="connsiteX32" fmla="*/ 3420424 w 4046220"/>
                <a:gd name="connsiteY32" fmla="*/ 739706 h 2341517"/>
                <a:gd name="connsiteX33" fmla="*/ 3467113 w 4046220"/>
                <a:gd name="connsiteY33" fmla="*/ 628528 h 2341517"/>
                <a:gd name="connsiteX34" fmla="*/ 3355935 w 4046220"/>
                <a:gd name="connsiteY34" fmla="*/ 581877 h 2341517"/>
                <a:gd name="connsiteX35" fmla="*/ 2223287 w 4046220"/>
                <a:gd name="connsiteY35" fmla="*/ 1044674 h 2341517"/>
                <a:gd name="connsiteX36" fmla="*/ 2223287 w 4046220"/>
                <a:gd name="connsiteY36" fmla="*/ 1001735 h 2341517"/>
                <a:gd name="connsiteX37" fmla="*/ 2223326 w 4046220"/>
                <a:gd name="connsiteY37" fmla="*/ 1001697 h 2341517"/>
                <a:gd name="connsiteX38" fmla="*/ 2138060 w 4046220"/>
                <a:gd name="connsiteY38" fmla="*/ 916470 h 2341517"/>
                <a:gd name="connsiteX39" fmla="*/ 1541463 w 4046220"/>
                <a:gd name="connsiteY39" fmla="*/ 916470 h 2341517"/>
                <a:gd name="connsiteX40" fmla="*/ 993190 w 4046220"/>
                <a:gd name="connsiteY40" fmla="*/ 1371494 h 2341517"/>
                <a:gd name="connsiteX41" fmla="*/ 993190 w 4046220"/>
                <a:gd name="connsiteY41" fmla="*/ 1371533 h 2341517"/>
                <a:gd name="connsiteX42" fmla="*/ 916459 w 4046220"/>
                <a:gd name="connsiteY42" fmla="*/ 1456300 h 2341517"/>
                <a:gd name="connsiteX43" fmla="*/ 916459 w 4046220"/>
                <a:gd name="connsiteY43" fmla="*/ 2166554 h 2341517"/>
                <a:gd name="connsiteX44" fmla="*/ 177803 w 4046220"/>
                <a:gd name="connsiteY44" fmla="*/ 2166554 h 2341517"/>
                <a:gd name="connsiteX45" fmla="*/ 177765 w 4046220"/>
                <a:gd name="connsiteY45" fmla="*/ 1086909 h 2341517"/>
                <a:gd name="connsiteX46" fmla="*/ 299691 w 4046220"/>
                <a:gd name="connsiteY46" fmla="*/ 1086909 h 2341517"/>
                <a:gd name="connsiteX47" fmla="*/ 508987 w 4046220"/>
                <a:gd name="connsiteY47" fmla="*/ 1191581 h 2341517"/>
                <a:gd name="connsiteX48" fmla="*/ 585221 w 4046220"/>
                <a:gd name="connsiteY48" fmla="*/ 1191581 h 2341517"/>
                <a:gd name="connsiteX49" fmla="*/ 794517 w 4046220"/>
                <a:gd name="connsiteY49" fmla="*/ 1086909 h 2341517"/>
                <a:gd name="connsiteX50" fmla="*/ 2052862 w 4046220"/>
                <a:gd name="connsiteY50" fmla="*/ 1086909 h 2341517"/>
                <a:gd name="connsiteX51" fmla="*/ 2052862 w 4046220"/>
                <a:gd name="connsiteY51" fmla="*/ 1265481 h 2341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4046220" h="2341517">
                  <a:moveTo>
                    <a:pt x="1370997" y="2251768"/>
                  </a:moveTo>
                  <a:cubicBezTo>
                    <a:pt x="1371036" y="2298840"/>
                    <a:pt x="1409191" y="2336995"/>
                    <a:pt x="1456263" y="2337033"/>
                  </a:cubicBezTo>
                  <a:lnTo>
                    <a:pt x="3956396" y="2337033"/>
                  </a:lnTo>
                  <a:cubicBezTo>
                    <a:pt x="4003468" y="2336995"/>
                    <a:pt x="4041623" y="2298840"/>
                    <a:pt x="4041623" y="2251768"/>
                  </a:cubicBezTo>
                  <a:lnTo>
                    <a:pt x="4041623" y="92575"/>
                  </a:lnTo>
                  <a:cubicBezTo>
                    <a:pt x="4041623" y="45503"/>
                    <a:pt x="4003468" y="7386"/>
                    <a:pt x="3956396" y="7348"/>
                  </a:cubicBezTo>
                  <a:lnTo>
                    <a:pt x="1456263" y="7348"/>
                  </a:lnTo>
                  <a:cubicBezTo>
                    <a:pt x="1409229" y="7386"/>
                    <a:pt x="1371074" y="45503"/>
                    <a:pt x="1371036" y="92575"/>
                  </a:cubicBezTo>
                  <a:lnTo>
                    <a:pt x="1371036" y="916495"/>
                  </a:lnTo>
                  <a:lnTo>
                    <a:pt x="774439" y="916495"/>
                  </a:lnTo>
                  <a:cubicBezTo>
                    <a:pt x="761197" y="916495"/>
                    <a:pt x="748147" y="919595"/>
                    <a:pt x="736322" y="925489"/>
                  </a:cubicBezTo>
                  <a:lnTo>
                    <a:pt x="547149" y="1020092"/>
                  </a:lnTo>
                  <a:lnTo>
                    <a:pt x="357976" y="925489"/>
                  </a:lnTo>
                  <a:cubicBezTo>
                    <a:pt x="346113" y="919595"/>
                    <a:pt x="333062" y="916495"/>
                    <a:pt x="319859" y="916495"/>
                  </a:cubicBezTo>
                  <a:lnTo>
                    <a:pt x="92575" y="916495"/>
                  </a:lnTo>
                  <a:cubicBezTo>
                    <a:pt x="45503" y="916495"/>
                    <a:pt x="7348" y="954650"/>
                    <a:pt x="7348" y="1001723"/>
                  </a:cubicBezTo>
                  <a:lnTo>
                    <a:pt x="7348" y="2251740"/>
                  </a:lnTo>
                  <a:cubicBezTo>
                    <a:pt x="7348" y="2298812"/>
                    <a:pt x="45503" y="2336967"/>
                    <a:pt x="92575" y="2337006"/>
                  </a:cubicBezTo>
                  <a:lnTo>
                    <a:pt x="1001721" y="2337006"/>
                  </a:lnTo>
                  <a:cubicBezTo>
                    <a:pt x="1048793" y="2336967"/>
                    <a:pt x="1086910" y="2298812"/>
                    <a:pt x="1086948" y="2251740"/>
                  </a:cubicBezTo>
                  <a:lnTo>
                    <a:pt x="1086948" y="1533414"/>
                  </a:lnTo>
                  <a:lnTo>
                    <a:pt x="1371065" y="1504979"/>
                  </a:lnTo>
                  <a:close/>
                  <a:moveTo>
                    <a:pt x="1541487" y="177810"/>
                  </a:moveTo>
                  <a:lnTo>
                    <a:pt x="3871150" y="177810"/>
                  </a:lnTo>
                  <a:lnTo>
                    <a:pt x="3871150" y="2166532"/>
                  </a:lnTo>
                  <a:lnTo>
                    <a:pt x="1541487" y="2166532"/>
                  </a:lnTo>
                  <a:lnTo>
                    <a:pt x="1541487" y="1487963"/>
                  </a:lnTo>
                  <a:lnTo>
                    <a:pt x="2146618" y="1427419"/>
                  </a:lnTo>
                  <a:lnTo>
                    <a:pt x="2146579" y="1427419"/>
                  </a:lnTo>
                  <a:cubicBezTo>
                    <a:pt x="2190169" y="1423095"/>
                    <a:pt x="2223349" y="1386432"/>
                    <a:pt x="2223349" y="1342651"/>
                  </a:cubicBezTo>
                  <a:lnTo>
                    <a:pt x="2223349" y="1228838"/>
                  </a:lnTo>
                  <a:lnTo>
                    <a:pt x="3420462" y="739706"/>
                  </a:lnTo>
                  <a:lnTo>
                    <a:pt x="3420424" y="739706"/>
                  </a:lnTo>
                  <a:cubicBezTo>
                    <a:pt x="3464013" y="721872"/>
                    <a:pt x="3484908" y="672121"/>
                    <a:pt x="3467113" y="628528"/>
                  </a:cubicBezTo>
                  <a:cubicBezTo>
                    <a:pt x="3449279" y="584977"/>
                    <a:pt x="3399528" y="564081"/>
                    <a:pt x="3355935" y="581877"/>
                  </a:cubicBezTo>
                  <a:lnTo>
                    <a:pt x="2223287" y="1044674"/>
                  </a:lnTo>
                  <a:lnTo>
                    <a:pt x="2223287" y="1001735"/>
                  </a:lnTo>
                  <a:lnTo>
                    <a:pt x="2223326" y="1001697"/>
                  </a:lnTo>
                  <a:cubicBezTo>
                    <a:pt x="2223287" y="954625"/>
                    <a:pt x="2185132" y="916470"/>
                    <a:pt x="2138060" y="916470"/>
                  </a:cubicBezTo>
                  <a:lnTo>
                    <a:pt x="1541463" y="916470"/>
                  </a:lnTo>
                  <a:close/>
                  <a:moveTo>
                    <a:pt x="993190" y="1371494"/>
                  </a:moveTo>
                  <a:lnTo>
                    <a:pt x="993190" y="1371533"/>
                  </a:lnTo>
                  <a:cubicBezTo>
                    <a:pt x="949601" y="1375857"/>
                    <a:pt x="916421" y="1412520"/>
                    <a:pt x="916459" y="1456300"/>
                  </a:cubicBezTo>
                  <a:lnTo>
                    <a:pt x="916459" y="2166554"/>
                  </a:lnTo>
                  <a:lnTo>
                    <a:pt x="177803" y="2166554"/>
                  </a:lnTo>
                  <a:lnTo>
                    <a:pt x="177765" y="1086909"/>
                  </a:lnTo>
                  <a:lnTo>
                    <a:pt x="299691" y="1086909"/>
                  </a:lnTo>
                  <a:lnTo>
                    <a:pt x="508987" y="1191581"/>
                  </a:lnTo>
                  <a:cubicBezTo>
                    <a:pt x="532982" y="1203560"/>
                    <a:pt x="561225" y="1203560"/>
                    <a:pt x="585221" y="1191581"/>
                  </a:cubicBezTo>
                  <a:lnTo>
                    <a:pt x="794517" y="1086909"/>
                  </a:lnTo>
                  <a:lnTo>
                    <a:pt x="2052862" y="1086909"/>
                  </a:lnTo>
                  <a:lnTo>
                    <a:pt x="2052862" y="126548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D95BDBB7-6368-D0A1-D307-85A4CBB320F1}"/>
                </a:ext>
              </a:extLst>
            </p:cNvPr>
            <p:cNvSpPr/>
            <p:nvPr/>
          </p:nvSpPr>
          <p:spPr>
            <a:xfrm>
              <a:off x="5435192" y="3216245"/>
              <a:ext cx="1312817" cy="1655717"/>
            </a:xfrm>
            <a:custGeom>
              <a:avLst/>
              <a:gdLst>
                <a:gd name="connsiteX0" fmla="*/ 940124 w 1312817"/>
                <a:gd name="connsiteY0" fmla="*/ 755419 h 1655717"/>
                <a:gd name="connsiteX1" fmla="*/ 1086503 w 1312817"/>
                <a:gd name="connsiteY1" fmla="*/ 453617 h 1655717"/>
                <a:gd name="connsiteX2" fmla="*/ 969202 w 1312817"/>
                <a:gd name="connsiteY2" fmla="*/ 139384 h 1655717"/>
                <a:gd name="connsiteX3" fmla="*/ 660817 w 1312817"/>
                <a:gd name="connsiteY3" fmla="*/ 7348 h 1655717"/>
                <a:gd name="connsiteX4" fmla="*/ 352433 w 1312817"/>
                <a:gd name="connsiteY4" fmla="*/ 139384 h 1655717"/>
                <a:gd name="connsiteX5" fmla="*/ 235131 w 1312817"/>
                <a:gd name="connsiteY5" fmla="*/ 453617 h 1655717"/>
                <a:gd name="connsiteX6" fmla="*/ 381511 w 1312817"/>
                <a:gd name="connsiteY6" fmla="*/ 755419 h 1655717"/>
                <a:gd name="connsiteX7" fmla="*/ 109032 w 1312817"/>
                <a:gd name="connsiteY7" fmla="*/ 996173 h 1655717"/>
                <a:gd name="connsiteX8" fmla="*/ 7348 w 1312817"/>
                <a:gd name="connsiteY8" fmla="*/ 1345275 h 1655717"/>
                <a:gd name="connsiteX9" fmla="*/ 7348 w 1312817"/>
                <a:gd name="connsiteY9" fmla="*/ 1572559 h 1655717"/>
                <a:gd name="connsiteX10" fmla="*/ 92613 w 1312817"/>
                <a:gd name="connsiteY10" fmla="*/ 1657786 h 1655717"/>
                <a:gd name="connsiteX11" fmla="*/ 1229082 w 1312817"/>
                <a:gd name="connsiteY11" fmla="*/ 1657786 h 1655717"/>
                <a:gd name="connsiteX12" fmla="*/ 1314309 w 1312817"/>
                <a:gd name="connsiteY12" fmla="*/ 1572559 h 1655717"/>
                <a:gd name="connsiteX13" fmla="*/ 1314309 w 1312817"/>
                <a:gd name="connsiteY13" fmla="*/ 1345275 h 1655717"/>
                <a:gd name="connsiteX14" fmla="*/ 1212625 w 1312817"/>
                <a:gd name="connsiteY14" fmla="*/ 996173 h 1655717"/>
                <a:gd name="connsiteX15" fmla="*/ 940147 w 1312817"/>
                <a:gd name="connsiteY15" fmla="*/ 755419 h 1655717"/>
                <a:gd name="connsiteX16" fmla="*/ 405151 w 1312817"/>
                <a:gd name="connsiteY16" fmla="*/ 436130 h 1655717"/>
                <a:gd name="connsiteX17" fmla="*/ 480045 w 1312817"/>
                <a:gd name="connsiteY17" fmla="*/ 255304 h 1655717"/>
                <a:gd name="connsiteX18" fmla="*/ 660832 w 1312817"/>
                <a:gd name="connsiteY18" fmla="*/ 180448 h 1655717"/>
                <a:gd name="connsiteX19" fmla="*/ 841619 w 1312817"/>
                <a:gd name="connsiteY19" fmla="*/ 255304 h 1655717"/>
                <a:gd name="connsiteX20" fmla="*/ 916513 w 1312817"/>
                <a:gd name="connsiteY20" fmla="*/ 436130 h 1655717"/>
                <a:gd name="connsiteX21" fmla="*/ 841619 w 1312817"/>
                <a:gd name="connsiteY21" fmla="*/ 616916 h 1655717"/>
                <a:gd name="connsiteX22" fmla="*/ 660832 w 1312817"/>
                <a:gd name="connsiteY22" fmla="*/ 691811 h 1655717"/>
                <a:gd name="connsiteX23" fmla="*/ 480124 w 1312817"/>
                <a:gd name="connsiteY23" fmla="*/ 616840 h 1655717"/>
                <a:gd name="connsiteX24" fmla="*/ 405153 w 1312817"/>
                <a:gd name="connsiteY24" fmla="*/ 436132 h 1655717"/>
                <a:gd name="connsiteX25" fmla="*/ 1143836 w 1312817"/>
                <a:gd name="connsiteY25" fmla="*/ 1487363 h 1655717"/>
                <a:gd name="connsiteX26" fmla="*/ 177857 w 1312817"/>
                <a:gd name="connsiteY26" fmla="*/ 1487363 h 1655717"/>
                <a:gd name="connsiteX27" fmla="*/ 177857 w 1312817"/>
                <a:gd name="connsiteY27" fmla="*/ 1345305 h 1655717"/>
                <a:gd name="connsiteX28" fmla="*/ 419337 w 1312817"/>
                <a:gd name="connsiteY28" fmla="*/ 927016 h 1655717"/>
                <a:gd name="connsiteX29" fmla="*/ 902307 w 1312817"/>
                <a:gd name="connsiteY29" fmla="*/ 927016 h 1655717"/>
                <a:gd name="connsiteX30" fmla="*/ 1143787 w 1312817"/>
                <a:gd name="connsiteY30" fmla="*/ 1345305 h 1655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312817" h="1655717">
                  <a:moveTo>
                    <a:pt x="940124" y="755419"/>
                  </a:moveTo>
                  <a:cubicBezTo>
                    <a:pt x="1028145" y="679069"/>
                    <a:pt x="1081037" y="569998"/>
                    <a:pt x="1086503" y="453617"/>
                  </a:cubicBezTo>
                  <a:cubicBezTo>
                    <a:pt x="1092014" y="337237"/>
                    <a:pt x="1049611" y="223649"/>
                    <a:pt x="969202" y="139384"/>
                  </a:cubicBezTo>
                  <a:cubicBezTo>
                    <a:pt x="888759" y="55075"/>
                    <a:pt x="777315" y="7348"/>
                    <a:pt x="660817" y="7348"/>
                  </a:cubicBezTo>
                  <a:cubicBezTo>
                    <a:pt x="544319" y="7348"/>
                    <a:pt x="432877" y="55071"/>
                    <a:pt x="352433" y="139384"/>
                  </a:cubicBezTo>
                  <a:cubicBezTo>
                    <a:pt x="272027" y="223655"/>
                    <a:pt x="229626" y="337237"/>
                    <a:pt x="235131" y="453617"/>
                  </a:cubicBezTo>
                  <a:cubicBezTo>
                    <a:pt x="240604" y="569998"/>
                    <a:pt x="293493" y="679069"/>
                    <a:pt x="381511" y="755419"/>
                  </a:cubicBezTo>
                  <a:cubicBezTo>
                    <a:pt x="269764" y="808269"/>
                    <a:pt x="175271" y="891775"/>
                    <a:pt x="109032" y="996173"/>
                  </a:cubicBezTo>
                  <a:cubicBezTo>
                    <a:pt x="42825" y="1100572"/>
                    <a:pt x="7583" y="1221626"/>
                    <a:pt x="7348" y="1345275"/>
                  </a:cubicBezTo>
                  <a:lnTo>
                    <a:pt x="7348" y="1572559"/>
                  </a:lnTo>
                  <a:cubicBezTo>
                    <a:pt x="7386" y="1619632"/>
                    <a:pt x="45541" y="1657748"/>
                    <a:pt x="92613" y="1657786"/>
                  </a:cubicBezTo>
                  <a:lnTo>
                    <a:pt x="1229082" y="1657786"/>
                  </a:lnTo>
                  <a:cubicBezTo>
                    <a:pt x="1276116" y="1657748"/>
                    <a:pt x="1314271" y="1619632"/>
                    <a:pt x="1314309" y="1572559"/>
                  </a:cubicBezTo>
                  <a:lnTo>
                    <a:pt x="1314309" y="1345275"/>
                  </a:lnTo>
                  <a:cubicBezTo>
                    <a:pt x="1314118" y="1221626"/>
                    <a:pt x="1278833" y="1100572"/>
                    <a:pt x="1212625" y="996173"/>
                  </a:cubicBezTo>
                  <a:cubicBezTo>
                    <a:pt x="1146379" y="891775"/>
                    <a:pt x="1051932" y="808264"/>
                    <a:pt x="940147" y="755419"/>
                  </a:cubicBezTo>
                  <a:close/>
                  <a:moveTo>
                    <a:pt x="405151" y="436130"/>
                  </a:moveTo>
                  <a:cubicBezTo>
                    <a:pt x="405151" y="368315"/>
                    <a:pt x="432093" y="303261"/>
                    <a:pt x="480045" y="255304"/>
                  </a:cubicBezTo>
                  <a:cubicBezTo>
                    <a:pt x="527998" y="207352"/>
                    <a:pt x="593016" y="180448"/>
                    <a:pt x="660832" y="180448"/>
                  </a:cubicBezTo>
                  <a:cubicBezTo>
                    <a:pt x="728648" y="180448"/>
                    <a:pt x="793671" y="207352"/>
                    <a:pt x="841619" y="255304"/>
                  </a:cubicBezTo>
                  <a:cubicBezTo>
                    <a:pt x="889571" y="303256"/>
                    <a:pt x="916513" y="368314"/>
                    <a:pt x="916513" y="436130"/>
                  </a:cubicBezTo>
                  <a:cubicBezTo>
                    <a:pt x="916513" y="503945"/>
                    <a:pt x="889571" y="568969"/>
                    <a:pt x="841619" y="616916"/>
                  </a:cubicBezTo>
                  <a:cubicBezTo>
                    <a:pt x="793667" y="664864"/>
                    <a:pt x="728648" y="691811"/>
                    <a:pt x="660832" y="691811"/>
                  </a:cubicBezTo>
                  <a:cubicBezTo>
                    <a:pt x="593055" y="691734"/>
                    <a:pt x="528032" y="664792"/>
                    <a:pt x="480124" y="616840"/>
                  </a:cubicBezTo>
                  <a:cubicBezTo>
                    <a:pt x="432172" y="568926"/>
                    <a:pt x="405229" y="503908"/>
                    <a:pt x="405153" y="436132"/>
                  </a:cubicBezTo>
                  <a:close/>
                  <a:moveTo>
                    <a:pt x="1143836" y="1487363"/>
                  </a:moveTo>
                  <a:lnTo>
                    <a:pt x="177857" y="1487363"/>
                  </a:lnTo>
                  <a:lnTo>
                    <a:pt x="177857" y="1345305"/>
                  </a:lnTo>
                  <a:cubicBezTo>
                    <a:pt x="177857" y="1172747"/>
                    <a:pt x="269897" y="1013309"/>
                    <a:pt x="419337" y="927016"/>
                  </a:cubicBezTo>
                  <a:cubicBezTo>
                    <a:pt x="568783" y="840755"/>
                    <a:pt x="752861" y="840755"/>
                    <a:pt x="902307" y="927016"/>
                  </a:cubicBezTo>
                  <a:cubicBezTo>
                    <a:pt x="1051753" y="1013315"/>
                    <a:pt x="1143787" y="1172747"/>
                    <a:pt x="1143787" y="13453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691037B4-3F10-F166-94E1-DE1E32580C7F}"/>
                </a:ext>
              </a:extLst>
            </p:cNvPr>
            <p:cNvSpPr/>
            <p:nvPr/>
          </p:nvSpPr>
          <p:spPr>
            <a:xfrm>
              <a:off x="7026151" y="3216245"/>
              <a:ext cx="1312817" cy="1655717"/>
            </a:xfrm>
            <a:custGeom>
              <a:avLst/>
              <a:gdLst>
                <a:gd name="connsiteX0" fmla="*/ 940124 w 1312817"/>
                <a:gd name="connsiteY0" fmla="*/ 755419 h 1655717"/>
                <a:gd name="connsiteX1" fmla="*/ 1086503 w 1312817"/>
                <a:gd name="connsiteY1" fmla="*/ 453617 h 1655717"/>
                <a:gd name="connsiteX2" fmla="*/ 969163 w 1312817"/>
                <a:gd name="connsiteY2" fmla="*/ 139384 h 1655717"/>
                <a:gd name="connsiteX3" fmla="*/ 660817 w 1312817"/>
                <a:gd name="connsiteY3" fmla="*/ 7348 h 1655717"/>
                <a:gd name="connsiteX4" fmla="*/ 352433 w 1312817"/>
                <a:gd name="connsiteY4" fmla="*/ 139384 h 1655717"/>
                <a:gd name="connsiteX5" fmla="*/ 235092 w 1312817"/>
                <a:gd name="connsiteY5" fmla="*/ 453617 h 1655717"/>
                <a:gd name="connsiteX6" fmla="*/ 381510 w 1312817"/>
                <a:gd name="connsiteY6" fmla="*/ 755419 h 1655717"/>
                <a:gd name="connsiteX7" fmla="*/ 109032 w 1312817"/>
                <a:gd name="connsiteY7" fmla="*/ 996173 h 1655717"/>
                <a:gd name="connsiteX8" fmla="*/ 7348 w 1312817"/>
                <a:gd name="connsiteY8" fmla="*/ 1345275 h 1655717"/>
                <a:gd name="connsiteX9" fmla="*/ 7348 w 1312817"/>
                <a:gd name="connsiteY9" fmla="*/ 1572559 h 1655717"/>
                <a:gd name="connsiteX10" fmla="*/ 92575 w 1312817"/>
                <a:gd name="connsiteY10" fmla="*/ 1657786 h 1655717"/>
                <a:gd name="connsiteX11" fmla="*/ 1229044 w 1312817"/>
                <a:gd name="connsiteY11" fmla="*/ 1657786 h 1655717"/>
                <a:gd name="connsiteX12" fmla="*/ 1314271 w 1312817"/>
                <a:gd name="connsiteY12" fmla="*/ 1572559 h 1655717"/>
                <a:gd name="connsiteX13" fmla="*/ 1314271 w 1312817"/>
                <a:gd name="connsiteY13" fmla="*/ 1345275 h 1655717"/>
                <a:gd name="connsiteX14" fmla="*/ 1212586 w 1312817"/>
                <a:gd name="connsiteY14" fmla="*/ 996173 h 1655717"/>
                <a:gd name="connsiteX15" fmla="*/ 940138 w 1312817"/>
                <a:gd name="connsiteY15" fmla="*/ 755419 h 1655717"/>
                <a:gd name="connsiteX16" fmla="*/ 405151 w 1312817"/>
                <a:gd name="connsiteY16" fmla="*/ 436130 h 1655717"/>
                <a:gd name="connsiteX17" fmla="*/ 405113 w 1312817"/>
                <a:gd name="connsiteY17" fmla="*/ 436130 h 1655717"/>
                <a:gd name="connsiteX18" fmla="*/ 480007 w 1312817"/>
                <a:gd name="connsiteY18" fmla="*/ 255304 h 1655717"/>
                <a:gd name="connsiteX19" fmla="*/ 660833 w 1312817"/>
                <a:gd name="connsiteY19" fmla="*/ 180409 h 1655717"/>
                <a:gd name="connsiteX20" fmla="*/ 841619 w 1312817"/>
                <a:gd name="connsiteY20" fmla="*/ 255304 h 1655717"/>
                <a:gd name="connsiteX21" fmla="*/ 916514 w 1312817"/>
                <a:gd name="connsiteY21" fmla="*/ 436130 h 1655717"/>
                <a:gd name="connsiteX22" fmla="*/ 841619 w 1312817"/>
                <a:gd name="connsiteY22" fmla="*/ 616916 h 1655717"/>
                <a:gd name="connsiteX23" fmla="*/ 660833 w 1312817"/>
                <a:gd name="connsiteY23" fmla="*/ 691811 h 1655717"/>
                <a:gd name="connsiteX24" fmla="*/ 480085 w 1312817"/>
                <a:gd name="connsiteY24" fmla="*/ 616840 h 1655717"/>
                <a:gd name="connsiteX25" fmla="*/ 405115 w 1312817"/>
                <a:gd name="connsiteY25" fmla="*/ 436132 h 1655717"/>
                <a:gd name="connsiteX26" fmla="*/ 1143836 w 1312817"/>
                <a:gd name="connsiteY26" fmla="*/ 1487363 h 1655717"/>
                <a:gd name="connsiteX27" fmla="*/ 177818 w 1312817"/>
                <a:gd name="connsiteY27" fmla="*/ 1487363 h 1655717"/>
                <a:gd name="connsiteX28" fmla="*/ 177818 w 1312817"/>
                <a:gd name="connsiteY28" fmla="*/ 1345305 h 1655717"/>
                <a:gd name="connsiteX29" fmla="*/ 319034 w 1312817"/>
                <a:gd name="connsiteY29" fmla="*/ 1003286 h 1655717"/>
                <a:gd name="connsiteX30" fmla="*/ 660827 w 1312817"/>
                <a:gd name="connsiteY30" fmla="*/ 861531 h 1655717"/>
                <a:gd name="connsiteX31" fmla="*/ 1002620 w 1312817"/>
                <a:gd name="connsiteY31" fmla="*/ 1003286 h 1655717"/>
                <a:gd name="connsiteX32" fmla="*/ 1143797 w 1312817"/>
                <a:gd name="connsiteY32" fmla="*/ 1345305 h 1655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312817" h="1655717">
                  <a:moveTo>
                    <a:pt x="940124" y="755419"/>
                  </a:moveTo>
                  <a:cubicBezTo>
                    <a:pt x="1028107" y="679069"/>
                    <a:pt x="1081037" y="569998"/>
                    <a:pt x="1086503" y="453617"/>
                  </a:cubicBezTo>
                  <a:cubicBezTo>
                    <a:pt x="1092014" y="337237"/>
                    <a:pt x="1049611" y="223649"/>
                    <a:pt x="969163" y="139384"/>
                  </a:cubicBezTo>
                  <a:cubicBezTo>
                    <a:pt x="888757" y="55075"/>
                    <a:pt x="777315" y="7348"/>
                    <a:pt x="660817" y="7348"/>
                  </a:cubicBezTo>
                  <a:cubicBezTo>
                    <a:pt x="544280" y="7348"/>
                    <a:pt x="432877" y="55071"/>
                    <a:pt x="352433" y="139384"/>
                  </a:cubicBezTo>
                  <a:cubicBezTo>
                    <a:pt x="272027" y="223655"/>
                    <a:pt x="229625" y="337237"/>
                    <a:pt x="235092" y="453617"/>
                  </a:cubicBezTo>
                  <a:cubicBezTo>
                    <a:pt x="240603" y="569998"/>
                    <a:pt x="293492" y="679069"/>
                    <a:pt x="381510" y="755419"/>
                  </a:cubicBezTo>
                  <a:cubicBezTo>
                    <a:pt x="269725" y="808269"/>
                    <a:pt x="175271" y="891775"/>
                    <a:pt x="109032" y="996173"/>
                  </a:cubicBezTo>
                  <a:cubicBezTo>
                    <a:pt x="42825" y="1100572"/>
                    <a:pt x="7544" y="1221626"/>
                    <a:pt x="7348" y="1345275"/>
                  </a:cubicBezTo>
                  <a:lnTo>
                    <a:pt x="7348" y="1572559"/>
                  </a:lnTo>
                  <a:cubicBezTo>
                    <a:pt x="7386" y="1619632"/>
                    <a:pt x="45503" y="1657748"/>
                    <a:pt x="92575" y="1657786"/>
                  </a:cubicBezTo>
                  <a:lnTo>
                    <a:pt x="1229044" y="1657786"/>
                  </a:lnTo>
                  <a:cubicBezTo>
                    <a:pt x="1276116" y="1657748"/>
                    <a:pt x="1314271" y="1619632"/>
                    <a:pt x="1314271" y="1572559"/>
                  </a:cubicBezTo>
                  <a:lnTo>
                    <a:pt x="1314271" y="1345275"/>
                  </a:lnTo>
                  <a:cubicBezTo>
                    <a:pt x="1314080" y="1221626"/>
                    <a:pt x="1278833" y="1100572"/>
                    <a:pt x="1212586" y="996173"/>
                  </a:cubicBezTo>
                  <a:cubicBezTo>
                    <a:pt x="1146379" y="891775"/>
                    <a:pt x="1051894" y="808264"/>
                    <a:pt x="940138" y="755419"/>
                  </a:cubicBezTo>
                  <a:close/>
                  <a:moveTo>
                    <a:pt x="405151" y="436130"/>
                  </a:moveTo>
                  <a:lnTo>
                    <a:pt x="405113" y="436130"/>
                  </a:lnTo>
                  <a:cubicBezTo>
                    <a:pt x="405113" y="368315"/>
                    <a:pt x="432055" y="303261"/>
                    <a:pt x="480007" y="255304"/>
                  </a:cubicBezTo>
                  <a:cubicBezTo>
                    <a:pt x="527959" y="207352"/>
                    <a:pt x="593017" y="180409"/>
                    <a:pt x="660833" y="180409"/>
                  </a:cubicBezTo>
                  <a:cubicBezTo>
                    <a:pt x="728648" y="180409"/>
                    <a:pt x="793672" y="207352"/>
                    <a:pt x="841619" y="255304"/>
                  </a:cubicBezTo>
                  <a:cubicBezTo>
                    <a:pt x="889572" y="303256"/>
                    <a:pt x="916514" y="368314"/>
                    <a:pt x="916514" y="436130"/>
                  </a:cubicBezTo>
                  <a:cubicBezTo>
                    <a:pt x="916514" y="503945"/>
                    <a:pt x="889572" y="568969"/>
                    <a:pt x="841619" y="616916"/>
                  </a:cubicBezTo>
                  <a:cubicBezTo>
                    <a:pt x="793668" y="664868"/>
                    <a:pt x="728648" y="691811"/>
                    <a:pt x="660833" y="691811"/>
                  </a:cubicBezTo>
                  <a:cubicBezTo>
                    <a:pt x="593018" y="691734"/>
                    <a:pt x="528032" y="664792"/>
                    <a:pt x="480085" y="616840"/>
                  </a:cubicBezTo>
                  <a:cubicBezTo>
                    <a:pt x="432172" y="568926"/>
                    <a:pt x="405191" y="503908"/>
                    <a:pt x="405115" y="436132"/>
                  </a:cubicBezTo>
                  <a:close/>
                  <a:moveTo>
                    <a:pt x="1143836" y="1487363"/>
                  </a:moveTo>
                  <a:lnTo>
                    <a:pt x="177818" y="1487363"/>
                  </a:lnTo>
                  <a:lnTo>
                    <a:pt x="177818" y="1345305"/>
                  </a:lnTo>
                  <a:cubicBezTo>
                    <a:pt x="177627" y="1217060"/>
                    <a:pt x="228411" y="1094027"/>
                    <a:pt x="319034" y="1003286"/>
                  </a:cubicBezTo>
                  <a:cubicBezTo>
                    <a:pt x="409619" y="912548"/>
                    <a:pt x="532582" y="861531"/>
                    <a:pt x="660827" y="861531"/>
                  </a:cubicBezTo>
                  <a:cubicBezTo>
                    <a:pt x="789033" y="861531"/>
                    <a:pt x="911996" y="912545"/>
                    <a:pt x="1002620" y="1003286"/>
                  </a:cubicBezTo>
                  <a:cubicBezTo>
                    <a:pt x="1093205" y="1094024"/>
                    <a:pt x="1143993" y="1217060"/>
                    <a:pt x="1143797" y="13453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AE16ADCE-DFF5-84EC-A064-FBC099383994}"/>
                </a:ext>
              </a:extLst>
            </p:cNvPr>
            <p:cNvSpPr/>
            <p:nvPr/>
          </p:nvSpPr>
          <p:spPr>
            <a:xfrm>
              <a:off x="3844166" y="3216245"/>
              <a:ext cx="1312817" cy="1655717"/>
            </a:xfrm>
            <a:custGeom>
              <a:avLst/>
              <a:gdLst>
                <a:gd name="connsiteX0" fmla="*/ 940095 w 1312817"/>
                <a:gd name="connsiteY0" fmla="*/ 755419 h 1655717"/>
                <a:gd name="connsiteX1" fmla="*/ 1086513 w 1312817"/>
                <a:gd name="connsiteY1" fmla="*/ 453617 h 1655717"/>
                <a:gd name="connsiteX2" fmla="*/ 969173 w 1312817"/>
                <a:gd name="connsiteY2" fmla="*/ 139384 h 1655717"/>
                <a:gd name="connsiteX3" fmla="*/ 660788 w 1312817"/>
                <a:gd name="connsiteY3" fmla="*/ 7348 h 1655717"/>
                <a:gd name="connsiteX4" fmla="*/ 352442 w 1312817"/>
                <a:gd name="connsiteY4" fmla="*/ 139384 h 1655717"/>
                <a:gd name="connsiteX5" fmla="*/ 235102 w 1312817"/>
                <a:gd name="connsiteY5" fmla="*/ 453617 h 1655717"/>
                <a:gd name="connsiteX6" fmla="*/ 381481 w 1312817"/>
                <a:gd name="connsiteY6" fmla="*/ 755419 h 1655717"/>
                <a:gd name="connsiteX7" fmla="*/ 109032 w 1312817"/>
                <a:gd name="connsiteY7" fmla="*/ 996173 h 1655717"/>
                <a:gd name="connsiteX8" fmla="*/ 7348 w 1312817"/>
                <a:gd name="connsiteY8" fmla="*/ 1345275 h 1655717"/>
                <a:gd name="connsiteX9" fmla="*/ 7348 w 1312817"/>
                <a:gd name="connsiteY9" fmla="*/ 1572559 h 1655717"/>
                <a:gd name="connsiteX10" fmla="*/ 92575 w 1312817"/>
                <a:gd name="connsiteY10" fmla="*/ 1657786 h 1655717"/>
                <a:gd name="connsiteX11" fmla="*/ 1229044 w 1312817"/>
                <a:gd name="connsiteY11" fmla="*/ 1657786 h 1655717"/>
                <a:gd name="connsiteX12" fmla="*/ 1314271 w 1312817"/>
                <a:gd name="connsiteY12" fmla="*/ 1572559 h 1655717"/>
                <a:gd name="connsiteX13" fmla="*/ 1314271 w 1312817"/>
                <a:gd name="connsiteY13" fmla="*/ 1345275 h 1655717"/>
                <a:gd name="connsiteX14" fmla="*/ 1212587 w 1312817"/>
                <a:gd name="connsiteY14" fmla="*/ 996173 h 1655717"/>
                <a:gd name="connsiteX15" fmla="*/ 940108 w 1312817"/>
                <a:gd name="connsiteY15" fmla="*/ 755419 h 1655717"/>
                <a:gd name="connsiteX16" fmla="*/ 405122 w 1312817"/>
                <a:gd name="connsiteY16" fmla="*/ 436130 h 1655717"/>
                <a:gd name="connsiteX17" fmla="*/ 480016 w 1312817"/>
                <a:gd name="connsiteY17" fmla="*/ 255304 h 1655717"/>
                <a:gd name="connsiteX18" fmla="*/ 660803 w 1312817"/>
                <a:gd name="connsiteY18" fmla="*/ 180409 h 1655717"/>
                <a:gd name="connsiteX19" fmla="*/ 841628 w 1312817"/>
                <a:gd name="connsiteY19" fmla="*/ 255304 h 1655717"/>
                <a:gd name="connsiteX20" fmla="*/ 916523 w 1312817"/>
                <a:gd name="connsiteY20" fmla="*/ 436130 h 1655717"/>
                <a:gd name="connsiteX21" fmla="*/ 841628 w 1312817"/>
                <a:gd name="connsiteY21" fmla="*/ 616916 h 1655717"/>
                <a:gd name="connsiteX22" fmla="*/ 660803 w 1312817"/>
                <a:gd name="connsiteY22" fmla="*/ 691811 h 1655717"/>
                <a:gd name="connsiteX23" fmla="*/ 480094 w 1312817"/>
                <a:gd name="connsiteY23" fmla="*/ 616840 h 1655717"/>
                <a:gd name="connsiteX24" fmla="*/ 405124 w 1312817"/>
                <a:gd name="connsiteY24" fmla="*/ 436132 h 1655717"/>
                <a:gd name="connsiteX25" fmla="*/ 1143807 w 1312817"/>
                <a:gd name="connsiteY25" fmla="*/ 1487363 h 1655717"/>
                <a:gd name="connsiteX26" fmla="*/ 177828 w 1312817"/>
                <a:gd name="connsiteY26" fmla="*/ 1487363 h 1655717"/>
                <a:gd name="connsiteX27" fmla="*/ 177828 w 1312817"/>
                <a:gd name="connsiteY27" fmla="*/ 1345305 h 1655717"/>
                <a:gd name="connsiteX28" fmla="*/ 319005 w 1312817"/>
                <a:gd name="connsiteY28" fmla="*/ 1003286 h 1655717"/>
                <a:gd name="connsiteX29" fmla="*/ 660798 w 1312817"/>
                <a:gd name="connsiteY29" fmla="*/ 861531 h 1655717"/>
                <a:gd name="connsiteX30" fmla="*/ 1002591 w 1312817"/>
                <a:gd name="connsiteY30" fmla="*/ 1003286 h 1655717"/>
                <a:gd name="connsiteX31" fmla="*/ 1143807 w 1312817"/>
                <a:gd name="connsiteY31" fmla="*/ 1345305 h 1655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312817" h="1655717">
                  <a:moveTo>
                    <a:pt x="940095" y="755419"/>
                  </a:moveTo>
                  <a:cubicBezTo>
                    <a:pt x="1028116" y="679069"/>
                    <a:pt x="1081007" y="569998"/>
                    <a:pt x="1086513" y="453617"/>
                  </a:cubicBezTo>
                  <a:cubicBezTo>
                    <a:pt x="1091986" y="337237"/>
                    <a:pt x="1049583" y="223649"/>
                    <a:pt x="969173" y="139384"/>
                  </a:cubicBezTo>
                  <a:cubicBezTo>
                    <a:pt x="888729" y="55075"/>
                    <a:pt x="777325" y="7348"/>
                    <a:pt x="660788" y="7348"/>
                  </a:cubicBezTo>
                  <a:cubicBezTo>
                    <a:pt x="544290" y="7348"/>
                    <a:pt x="432848" y="55071"/>
                    <a:pt x="352442" y="139384"/>
                  </a:cubicBezTo>
                  <a:cubicBezTo>
                    <a:pt x="271999" y="223655"/>
                    <a:pt x="229596" y="337237"/>
                    <a:pt x="235102" y="453617"/>
                  </a:cubicBezTo>
                  <a:cubicBezTo>
                    <a:pt x="240575" y="569998"/>
                    <a:pt x="293502" y="679069"/>
                    <a:pt x="381481" y="755419"/>
                  </a:cubicBezTo>
                  <a:cubicBezTo>
                    <a:pt x="269735" y="808269"/>
                    <a:pt x="175242" y="891775"/>
                    <a:pt x="109032" y="996173"/>
                  </a:cubicBezTo>
                  <a:cubicBezTo>
                    <a:pt x="42787" y="1100572"/>
                    <a:pt x="7544" y="1221626"/>
                    <a:pt x="7348" y="1345275"/>
                  </a:cubicBezTo>
                  <a:lnTo>
                    <a:pt x="7348" y="1572559"/>
                  </a:lnTo>
                  <a:cubicBezTo>
                    <a:pt x="7348" y="1619632"/>
                    <a:pt x="45503" y="1657748"/>
                    <a:pt x="92575" y="1657786"/>
                  </a:cubicBezTo>
                  <a:lnTo>
                    <a:pt x="1229044" y="1657786"/>
                  </a:lnTo>
                  <a:cubicBezTo>
                    <a:pt x="1276116" y="1657748"/>
                    <a:pt x="1314233" y="1619632"/>
                    <a:pt x="1314271" y="1572559"/>
                  </a:cubicBezTo>
                  <a:lnTo>
                    <a:pt x="1314271" y="1345275"/>
                  </a:lnTo>
                  <a:cubicBezTo>
                    <a:pt x="1314080" y="1221626"/>
                    <a:pt x="1278795" y="1100572"/>
                    <a:pt x="1212587" y="996173"/>
                  </a:cubicBezTo>
                  <a:cubicBezTo>
                    <a:pt x="1146341" y="891775"/>
                    <a:pt x="1051894" y="808264"/>
                    <a:pt x="940108" y="755419"/>
                  </a:cubicBezTo>
                  <a:close/>
                  <a:moveTo>
                    <a:pt x="405122" y="436130"/>
                  </a:moveTo>
                  <a:cubicBezTo>
                    <a:pt x="405122" y="368315"/>
                    <a:pt x="432064" y="303261"/>
                    <a:pt x="480016" y="255304"/>
                  </a:cubicBezTo>
                  <a:cubicBezTo>
                    <a:pt x="527968" y="207352"/>
                    <a:pt x="592987" y="180409"/>
                    <a:pt x="660803" y="180409"/>
                  </a:cubicBezTo>
                  <a:cubicBezTo>
                    <a:pt x="728619" y="180409"/>
                    <a:pt x="793672" y="207352"/>
                    <a:pt x="841628" y="255304"/>
                  </a:cubicBezTo>
                  <a:cubicBezTo>
                    <a:pt x="889581" y="303256"/>
                    <a:pt x="916523" y="368314"/>
                    <a:pt x="916523" y="436130"/>
                  </a:cubicBezTo>
                  <a:cubicBezTo>
                    <a:pt x="916523" y="503945"/>
                    <a:pt x="889581" y="568969"/>
                    <a:pt x="841628" y="616916"/>
                  </a:cubicBezTo>
                  <a:cubicBezTo>
                    <a:pt x="793676" y="664864"/>
                    <a:pt x="728619" y="691811"/>
                    <a:pt x="660803" y="691811"/>
                  </a:cubicBezTo>
                  <a:cubicBezTo>
                    <a:pt x="593026" y="691734"/>
                    <a:pt x="528042" y="664792"/>
                    <a:pt x="480094" y="616840"/>
                  </a:cubicBezTo>
                  <a:cubicBezTo>
                    <a:pt x="432142" y="568926"/>
                    <a:pt x="405200" y="503908"/>
                    <a:pt x="405124" y="436132"/>
                  </a:cubicBezTo>
                  <a:close/>
                  <a:moveTo>
                    <a:pt x="1143807" y="1487363"/>
                  </a:moveTo>
                  <a:lnTo>
                    <a:pt x="177828" y="1487363"/>
                  </a:lnTo>
                  <a:lnTo>
                    <a:pt x="177828" y="1345305"/>
                  </a:lnTo>
                  <a:cubicBezTo>
                    <a:pt x="177637" y="1217060"/>
                    <a:pt x="228421" y="1094027"/>
                    <a:pt x="319005" y="1003286"/>
                  </a:cubicBezTo>
                  <a:cubicBezTo>
                    <a:pt x="409628" y="912548"/>
                    <a:pt x="532592" y="861531"/>
                    <a:pt x="660798" y="861531"/>
                  </a:cubicBezTo>
                  <a:cubicBezTo>
                    <a:pt x="789042" y="861531"/>
                    <a:pt x="912006" y="912545"/>
                    <a:pt x="1002591" y="1003286"/>
                  </a:cubicBezTo>
                  <a:cubicBezTo>
                    <a:pt x="1093214" y="1094024"/>
                    <a:pt x="1144003" y="1217060"/>
                    <a:pt x="1143807" y="13453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9235A77D-B83D-048A-9446-34BA35E431DE}"/>
                </a:ext>
              </a:extLst>
            </p:cNvPr>
            <p:cNvSpPr/>
            <p:nvPr/>
          </p:nvSpPr>
          <p:spPr>
            <a:xfrm>
              <a:off x="4241998" y="605091"/>
              <a:ext cx="744583" cy="744583"/>
            </a:xfrm>
            <a:custGeom>
              <a:avLst/>
              <a:gdLst>
                <a:gd name="connsiteX0" fmla="*/ 376690 w 744582"/>
                <a:gd name="connsiteY0" fmla="*/ 746033 h 744582"/>
                <a:gd name="connsiteX1" fmla="*/ 637843 w 744582"/>
                <a:gd name="connsiteY1" fmla="*/ 637843 h 744582"/>
                <a:gd name="connsiteX2" fmla="*/ 745994 w 744582"/>
                <a:gd name="connsiteY2" fmla="*/ 376690 h 744582"/>
                <a:gd name="connsiteX3" fmla="*/ 637843 w 744582"/>
                <a:gd name="connsiteY3" fmla="*/ 115538 h 744582"/>
                <a:gd name="connsiteX4" fmla="*/ 376690 w 744582"/>
                <a:gd name="connsiteY4" fmla="*/ 7348 h 744582"/>
                <a:gd name="connsiteX5" fmla="*/ 115538 w 744582"/>
                <a:gd name="connsiteY5" fmla="*/ 115538 h 744582"/>
                <a:gd name="connsiteX6" fmla="*/ 7348 w 744582"/>
                <a:gd name="connsiteY6" fmla="*/ 376690 h 744582"/>
                <a:gd name="connsiteX7" fmla="*/ 115655 w 744582"/>
                <a:gd name="connsiteY7" fmla="*/ 637735 h 744582"/>
                <a:gd name="connsiteX8" fmla="*/ 376700 w 744582"/>
                <a:gd name="connsiteY8" fmla="*/ 746043 h 744582"/>
                <a:gd name="connsiteX9" fmla="*/ 376690 w 744582"/>
                <a:gd name="connsiteY9" fmla="*/ 177799 h 744582"/>
                <a:gd name="connsiteX10" fmla="*/ 517299 w 744582"/>
                <a:gd name="connsiteY10" fmla="*/ 236046 h 744582"/>
                <a:gd name="connsiteX11" fmla="*/ 575546 w 744582"/>
                <a:gd name="connsiteY11" fmla="*/ 376683 h 744582"/>
                <a:gd name="connsiteX12" fmla="*/ 517337 w 744582"/>
                <a:gd name="connsiteY12" fmla="*/ 517292 h 744582"/>
                <a:gd name="connsiteX13" fmla="*/ 376699 w 744582"/>
                <a:gd name="connsiteY13" fmla="*/ 575577 h 744582"/>
                <a:gd name="connsiteX14" fmla="*/ 236061 w 744582"/>
                <a:gd name="connsiteY14" fmla="*/ 517330 h 744582"/>
                <a:gd name="connsiteX15" fmla="*/ 177814 w 744582"/>
                <a:gd name="connsiteY15" fmla="*/ 376692 h 744582"/>
                <a:gd name="connsiteX16" fmla="*/ 236138 w 744582"/>
                <a:gd name="connsiteY16" fmla="*/ 236123 h 744582"/>
                <a:gd name="connsiteX17" fmla="*/ 376707 w 744582"/>
                <a:gd name="connsiteY17" fmla="*/ 177800 h 744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744582" h="744582">
                  <a:moveTo>
                    <a:pt x="376690" y="746033"/>
                  </a:moveTo>
                  <a:cubicBezTo>
                    <a:pt x="474624" y="746033"/>
                    <a:pt x="568577" y="707112"/>
                    <a:pt x="637843" y="637843"/>
                  </a:cubicBezTo>
                  <a:cubicBezTo>
                    <a:pt x="707112" y="568574"/>
                    <a:pt x="745994" y="474662"/>
                    <a:pt x="745994" y="376690"/>
                  </a:cubicBezTo>
                  <a:cubicBezTo>
                    <a:pt x="745994" y="278757"/>
                    <a:pt x="707111" y="184804"/>
                    <a:pt x="637843" y="115538"/>
                  </a:cubicBezTo>
                  <a:cubicBezTo>
                    <a:pt x="568574" y="46269"/>
                    <a:pt x="474623" y="7348"/>
                    <a:pt x="376690" y="7348"/>
                  </a:cubicBezTo>
                  <a:cubicBezTo>
                    <a:pt x="278719" y="7348"/>
                    <a:pt x="184764" y="46269"/>
                    <a:pt x="115538" y="115538"/>
                  </a:cubicBezTo>
                  <a:cubicBezTo>
                    <a:pt x="46269" y="184806"/>
                    <a:pt x="7348" y="278758"/>
                    <a:pt x="7348" y="376690"/>
                  </a:cubicBezTo>
                  <a:cubicBezTo>
                    <a:pt x="7463" y="474624"/>
                    <a:pt x="46422" y="568499"/>
                    <a:pt x="115655" y="637735"/>
                  </a:cubicBezTo>
                  <a:cubicBezTo>
                    <a:pt x="184886" y="706966"/>
                    <a:pt x="278758" y="745925"/>
                    <a:pt x="376700" y="746043"/>
                  </a:cubicBezTo>
                  <a:close/>
                  <a:moveTo>
                    <a:pt x="376690" y="177799"/>
                  </a:moveTo>
                  <a:cubicBezTo>
                    <a:pt x="429426" y="177799"/>
                    <a:pt x="480021" y="198770"/>
                    <a:pt x="517299" y="236046"/>
                  </a:cubicBezTo>
                  <a:cubicBezTo>
                    <a:pt x="554612" y="273359"/>
                    <a:pt x="575546" y="323952"/>
                    <a:pt x="575546" y="376683"/>
                  </a:cubicBezTo>
                  <a:cubicBezTo>
                    <a:pt x="575584" y="429420"/>
                    <a:pt x="554612" y="480014"/>
                    <a:pt x="517337" y="517292"/>
                  </a:cubicBezTo>
                  <a:cubicBezTo>
                    <a:pt x="480024" y="554606"/>
                    <a:pt x="429430" y="575539"/>
                    <a:pt x="376699" y="575577"/>
                  </a:cubicBezTo>
                  <a:cubicBezTo>
                    <a:pt x="323963" y="575577"/>
                    <a:pt x="273369" y="554606"/>
                    <a:pt x="236061" y="517330"/>
                  </a:cubicBezTo>
                  <a:cubicBezTo>
                    <a:pt x="198786" y="480017"/>
                    <a:pt x="177814" y="429423"/>
                    <a:pt x="177814" y="376692"/>
                  </a:cubicBezTo>
                  <a:cubicBezTo>
                    <a:pt x="177891" y="323956"/>
                    <a:pt x="198862" y="273440"/>
                    <a:pt x="236138" y="236123"/>
                  </a:cubicBezTo>
                  <a:cubicBezTo>
                    <a:pt x="273413" y="198848"/>
                    <a:pt x="323967" y="177876"/>
                    <a:pt x="376707" y="1778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A842E4C1-354E-8F96-4869-1438694B1794}"/>
              </a:ext>
            </a:extLst>
          </p:cNvPr>
          <p:cNvGrpSpPr/>
          <p:nvPr/>
        </p:nvGrpSpPr>
        <p:grpSpPr>
          <a:xfrm>
            <a:off x="9716679" y="3795696"/>
            <a:ext cx="591980" cy="677924"/>
            <a:chOff x="7901731" y="1250976"/>
            <a:chExt cx="504223" cy="577429"/>
          </a:xfrm>
          <a:solidFill>
            <a:schemeClr val="accent1"/>
          </a:solidFill>
        </p:grpSpPr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A3A28610-51E6-90BC-CE65-42C2E4FD02E0}"/>
                </a:ext>
              </a:extLst>
            </p:cNvPr>
            <p:cNvSpPr/>
            <p:nvPr/>
          </p:nvSpPr>
          <p:spPr>
            <a:xfrm>
              <a:off x="8078462" y="1722649"/>
              <a:ext cx="35252" cy="105756"/>
            </a:xfrm>
            <a:custGeom>
              <a:avLst/>
              <a:gdLst>
                <a:gd name="connsiteX0" fmla="*/ 18214 w 35252"/>
                <a:gd name="connsiteY0" fmla="*/ 99176 h 105756"/>
                <a:gd name="connsiteX1" fmla="*/ 8813 w 35252"/>
                <a:gd name="connsiteY1" fmla="*/ 89775 h 105756"/>
                <a:gd name="connsiteX2" fmla="*/ 8813 w 35252"/>
                <a:gd name="connsiteY2" fmla="*/ 18214 h 105756"/>
                <a:gd name="connsiteX3" fmla="*/ 18214 w 35252"/>
                <a:gd name="connsiteY3" fmla="*/ 8813 h 105756"/>
                <a:gd name="connsiteX4" fmla="*/ 27614 w 35252"/>
                <a:gd name="connsiteY4" fmla="*/ 18214 h 105756"/>
                <a:gd name="connsiteX5" fmla="*/ 27614 w 35252"/>
                <a:gd name="connsiteY5" fmla="*/ 89775 h 105756"/>
                <a:gd name="connsiteX6" fmla="*/ 18214 w 35252"/>
                <a:gd name="connsiteY6" fmla="*/ 99176 h 105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252" h="105756">
                  <a:moveTo>
                    <a:pt x="18214" y="99176"/>
                  </a:moveTo>
                  <a:cubicBezTo>
                    <a:pt x="13043" y="99176"/>
                    <a:pt x="8813" y="94946"/>
                    <a:pt x="8813" y="89775"/>
                  </a:cubicBezTo>
                  <a:lnTo>
                    <a:pt x="8813" y="18214"/>
                  </a:lnTo>
                  <a:cubicBezTo>
                    <a:pt x="8813" y="13043"/>
                    <a:pt x="13043" y="8813"/>
                    <a:pt x="18214" y="8813"/>
                  </a:cubicBezTo>
                  <a:cubicBezTo>
                    <a:pt x="23384" y="8813"/>
                    <a:pt x="27614" y="13043"/>
                    <a:pt x="27614" y="18214"/>
                  </a:cubicBezTo>
                  <a:lnTo>
                    <a:pt x="27614" y="89775"/>
                  </a:lnTo>
                  <a:cubicBezTo>
                    <a:pt x="27497" y="94946"/>
                    <a:pt x="23384" y="99176"/>
                    <a:pt x="18214" y="9917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5D717C98-8775-3A60-B50C-7814B3C3C17C}"/>
                </a:ext>
              </a:extLst>
            </p:cNvPr>
            <p:cNvSpPr/>
            <p:nvPr/>
          </p:nvSpPr>
          <p:spPr>
            <a:xfrm>
              <a:off x="8194559" y="1722649"/>
              <a:ext cx="35252" cy="105756"/>
            </a:xfrm>
            <a:custGeom>
              <a:avLst/>
              <a:gdLst>
                <a:gd name="connsiteX0" fmla="*/ 18214 w 35252"/>
                <a:gd name="connsiteY0" fmla="*/ 99176 h 105756"/>
                <a:gd name="connsiteX1" fmla="*/ 8813 w 35252"/>
                <a:gd name="connsiteY1" fmla="*/ 89775 h 105756"/>
                <a:gd name="connsiteX2" fmla="*/ 8813 w 35252"/>
                <a:gd name="connsiteY2" fmla="*/ 18214 h 105756"/>
                <a:gd name="connsiteX3" fmla="*/ 18214 w 35252"/>
                <a:gd name="connsiteY3" fmla="*/ 8813 h 105756"/>
                <a:gd name="connsiteX4" fmla="*/ 27614 w 35252"/>
                <a:gd name="connsiteY4" fmla="*/ 18214 h 105756"/>
                <a:gd name="connsiteX5" fmla="*/ 27614 w 35252"/>
                <a:gd name="connsiteY5" fmla="*/ 89775 h 105756"/>
                <a:gd name="connsiteX6" fmla="*/ 18214 w 35252"/>
                <a:gd name="connsiteY6" fmla="*/ 99176 h 105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252" h="105756">
                  <a:moveTo>
                    <a:pt x="18214" y="99176"/>
                  </a:moveTo>
                  <a:cubicBezTo>
                    <a:pt x="13043" y="99176"/>
                    <a:pt x="8813" y="94946"/>
                    <a:pt x="8813" y="89775"/>
                  </a:cubicBezTo>
                  <a:lnTo>
                    <a:pt x="8813" y="18214"/>
                  </a:lnTo>
                  <a:cubicBezTo>
                    <a:pt x="8813" y="13043"/>
                    <a:pt x="13043" y="8813"/>
                    <a:pt x="18214" y="8813"/>
                  </a:cubicBezTo>
                  <a:cubicBezTo>
                    <a:pt x="23384" y="8813"/>
                    <a:pt x="27614" y="13043"/>
                    <a:pt x="27614" y="18214"/>
                  </a:cubicBezTo>
                  <a:lnTo>
                    <a:pt x="27614" y="89775"/>
                  </a:lnTo>
                  <a:cubicBezTo>
                    <a:pt x="27614" y="94946"/>
                    <a:pt x="23384" y="99176"/>
                    <a:pt x="18214" y="9917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D3DF9FF2-06D7-0BC4-7131-CA63868B8652}"/>
                </a:ext>
              </a:extLst>
            </p:cNvPr>
            <p:cNvSpPr/>
            <p:nvPr/>
          </p:nvSpPr>
          <p:spPr>
            <a:xfrm>
              <a:off x="8090565" y="1529585"/>
              <a:ext cx="117507" cy="117507"/>
            </a:xfrm>
            <a:custGeom>
              <a:avLst/>
              <a:gdLst>
                <a:gd name="connsiteX0" fmla="*/ 64159 w 117507"/>
                <a:gd name="connsiteY0" fmla="*/ 119505 h 117507"/>
                <a:gd name="connsiteX1" fmla="*/ 8813 w 117507"/>
                <a:gd name="connsiteY1" fmla="*/ 64159 h 117507"/>
                <a:gd name="connsiteX2" fmla="*/ 64159 w 117507"/>
                <a:gd name="connsiteY2" fmla="*/ 8813 h 117507"/>
                <a:gd name="connsiteX3" fmla="*/ 119505 w 117507"/>
                <a:gd name="connsiteY3" fmla="*/ 64159 h 117507"/>
                <a:gd name="connsiteX4" fmla="*/ 64159 w 117507"/>
                <a:gd name="connsiteY4" fmla="*/ 119505 h 117507"/>
                <a:gd name="connsiteX5" fmla="*/ 64159 w 117507"/>
                <a:gd name="connsiteY5" fmla="*/ 27614 h 117507"/>
                <a:gd name="connsiteX6" fmla="*/ 27497 w 117507"/>
                <a:gd name="connsiteY6" fmla="*/ 64276 h 117507"/>
                <a:gd name="connsiteX7" fmla="*/ 64159 w 117507"/>
                <a:gd name="connsiteY7" fmla="*/ 100939 h 117507"/>
                <a:gd name="connsiteX8" fmla="*/ 100821 w 117507"/>
                <a:gd name="connsiteY8" fmla="*/ 64276 h 117507"/>
                <a:gd name="connsiteX9" fmla="*/ 64159 w 117507"/>
                <a:gd name="connsiteY9" fmla="*/ 27614 h 117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7507" h="117507">
                  <a:moveTo>
                    <a:pt x="64159" y="119505"/>
                  </a:moveTo>
                  <a:cubicBezTo>
                    <a:pt x="33607" y="119505"/>
                    <a:pt x="8813" y="94711"/>
                    <a:pt x="8813" y="64159"/>
                  </a:cubicBezTo>
                  <a:cubicBezTo>
                    <a:pt x="8813" y="33607"/>
                    <a:pt x="33607" y="8813"/>
                    <a:pt x="64159" y="8813"/>
                  </a:cubicBezTo>
                  <a:cubicBezTo>
                    <a:pt x="94711" y="8813"/>
                    <a:pt x="119505" y="33607"/>
                    <a:pt x="119505" y="64159"/>
                  </a:cubicBezTo>
                  <a:cubicBezTo>
                    <a:pt x="119505" y="94711"/>
                    <a:pt x="94711" y="119505"/>
                    <a:pt x="64159" y="119505"/>
                  </a:cubicBezTo>
                  <a:close/>
                  <a:moveTo>
                    <a:pt x="64159" y="27614"/>
                  </a:moveTo>
                  <a:cubicBezTo>
                    <a:pt x="43948" y="27614"/>
                    <a:pt x="27497" y="44065"/>
                    <a:pt x="27497" y="64276"/>
                  </a:cubicBezTo>
                  <a:cubicBezTo>
                    <a:pt x="27497" y="84488"/>
                    <a:pt x="43948" y="100939"/>
                    <a:pt x="64159" y="100939"/>
                  </a:cubicBezTo>
                  <a:cubicBezTo>
                    <a:pt x="84370" y="100939"/>
                    <a:pt x="100821" y="84488"/>
                    <a:pt x="100821" y="64276"/>
                  </a:cubicBezTo>
                  <a:cubicBezTo>
                    <a:pt x="100821" y="43948"/>
                    <a:pt x="84370" y="27614"/>
                    <a:pt x="64159" y="276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5AEF808F-9A55-BFF2-3D8C-3BE7BB31A5C4}"/>
                </a:ext>
              </a:extLst>
            </p:cNvPr>
            <p:cNvSpPr/>
            <p:nvPr/>
          </p:nvSpPr>
          <p:spPr>
            <a:xfrm>
              <a:off x="8036159" y="1654612"/>
              <a:ext cx="235014" cy="164510"/>
            </a:xfrm>
            <a:custGeom>
              <a:avLst/>
              <a:gdLst>
                <a:gd name="connsiteX0" fmla="*/ 218916 w 235014"/>
                <a:gd name="connsiteY0" fmla="*/ 167213 h 164509"/>
                <a:gd name="connsiteX1" fmla="*/ 18214 w 235014"/>
                <a:gd name="connsiteY1" fmla="*/ 167213 h 164509"/>
                <a:gd name="connsiteX2" fmla="*/ 8813 w 235014"/>
                <a:gd name="connsiteY2" fmla="*/ 157812 h 164509"/>
                <a:gd name="connsiteX3" fmla="*/ 8813 w 235014"/>
                <a:gd name="connsiteY3" fmla="*/ 72502 h 164509"/>
                <a:gd name="connsiteX4" fmla="*/ 72502 w 235014"/>
                <a:gd name="connsiteY4" fmla="*/ 8813 h 164509"/>
                <a:gd name="connsiteX5" fmla="*/ 164393 w 235014"/>
                <a:gd name="connsiteY5" fmla="*/ 8813 h 164509"/>
                <a:gd name="connsiteX6" fmla="*/ 228081 w 235014"/>
                <a:gd name="connsiteY6" fmla="*/ 72502 h 164509"/>
                <a:gd name="connsiteX7" fmla="*/ 228081 w 235014"/>
                <a:gd name="connsiteY7" fmla="*/ 157812 h 164509"/>
                <a:gd name="connsiteX8" fmla="*/ 218916 w 235014"/>
                <a:gd name="connsiteY8" fmla="*/ 167213 h 164509"/>
                <a:gd name="connsiteX9" fmla="*/ 27614 w 235014"/>
                <a:gd name="connsiteY9" fmla="*/ 148529 h 164509"/>
                <a:gd name="connsiteX10" fmla="*/ 209515 w 235014"/>
                <a:gd name="connsiteY10" fmla="*/ 148529 h 164509"/>
                <a:gd name="connsiteX11" fmla="*/ 209515 w 235014"/>
                <a:gd name="connsiteY11" fmla="*/ 72502 h 164509"/>
                <a:gd name="connsiteX12" fmla="*/ 164510 w 235014"/>
                <a:gd name="connsiteY12" fmla="*/ 27497 h 164509"/>
                <a:gd name="connsiteX13" fmla="*/ 72620 w 235014"/>
                <a:gd name="connsiteY13" fmla="*/ 27497 h 164509"/>
                <a:gd name="connsiteX14" fmla="*/ 27614 w 235014"/>
                <a:gd name="connsiteY14" fmla="*/ 72502 h 164509"/>
                <a:gd name="connsiteX15" fmla="*/ 27614 w 235014"/>
                <a:gd name="connsiteY15" fmla="*/ 148529 h 164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35014" h="164509">
                  <a:moveTo>
                    <a:pt x="218916" y="167213"/>
                  </a:moveTo>
                  <a:lnTo>
                    <a:pt x="18214" y="167213"/>
                  </a:lnTo>
                  <a:cubicBezTo>
                    <a:pt x="13043" y="167213"/>
                    <a:pt x="8813" y="162982"/>
                    <a:pt x="8813" y="157812"/>
                  </a:cubicBezTo>
                  <a:lnTo>
                    <a:pt x="8813" y="72502"/>
                  </a:lnTo>
                  <a:cubicBezTo>
                    <a:pt x="8813" y="37367"/>
                    <a:pt x="37368" y="8813"/>
                    <a:pt x="72502" y="8813"/>
                  </a:cubicBezTo>
                  <a:lnTo>
                    <a:pt x="164393" y="8813"/>
                  </a:lnTo>
                  <a:cubicBezTo>
                    <a:pt x="199527" y="8813"/>
                    <a:pt x="228081" y="37367"/>
                    <a:pt x="228081" y="72502"/>
                  </a:cubicBezTo>
                  <a:lnTo>
                    <a:pt x="228081" y="157812"/>
                  </a:lnTo>
                  <a:cubicBezTo>
                    <a:pt x="228317" y="162982"/>
                    <a:pt x="224086" y="167213"/>
                    <a:pt x="218916" y="167213"/>
                  </a:cubicBezTo>
                  <a:close/>
                  <a:moveTo>
                    <a:pt x="27614" y="148529"/>
                  </a:moveTo>
                  <a:lnTo>
                    <a:pt x="209515" y="148529"/>
                  </a:lnTo>
                  <a:lnTo>
                    <a:pt x="209515" y="72502"/>
                  </a:lnTo>
                  <a:cubicBezTo>
                    <a:pt x="209515" y="47708"/>
                    <a:pt x="189304" y="27497"/>
                    <a:pt x="164510" y="27497"/>
                  </a:cubicBezTo>
                  <a:lnTo>
                    <a:pt x="72620" y="27497"/>
                  </a:lnTo>
                  <a:cubicBezTo>
                    <a:pt x="47825" y="27497"/>
                    <a:pt x="27614" y="47708"/>
                    <a:pt x="27614" y="72502"/>
                  </a:cubicBezTo>
                  <a:lnTo>
                    <a:pt x="27614" y="14852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84FA18DD-8680-F3BA-0C11-19CF96CC87EB}"/>
                </a:ext>
              </a:extLst>
            </p:cNvPr>
            <p:cNvSpPr/>
            <p:nvPr/>
          </p:nvSpPr>
          <p:spPr>
            <a:xfrm>
              <a:off x="8078462" y="1444040"/>
              <a:ext cx="35252" cy="58754"/>
            </a:xfrm>
            <a:custGeom>
              <a:avLst/>
              <a:gdLst>
                <a:gd name="connsiteX0" fmla="*/ 18214 w 35252"/>
                <a:gd name="connsiteY0" fmla="*/ 60751 h 58753"/>
                <a:gd name="connsiteX1" fmla="*/ 8813 w 35252"/>
                <a:gd name="connsiteY1" fmla="*/ 51351 h 58753"/>
                <a:gd name="connsiteX2" fmla="*/ 8813 w 35252"/>
                <a:gd name="connsiteY2" fmla="*/ 18214 h 58753"/>
                <a:gd name="connsiteX3" fmla="*/ 18214 w 35252"/>
                <a:gd name="connsiteY3" fmla="*/ 8813 h 58753"/>
                <a:gd name="connsiteX4" fmla="*/ 27614 w 35252"/>
                <a:gd name="connsiteY4" fmla="*/ 18214 h 58753"/>
                <a:gd name="connsiteX5" fmla="*/ 27614 w 35252"/>
                <a:gd name="connsiteY5" fmla="*/ 51351 h 58753"/>
                <a:gd name="connsiteX6" fmla="*/ 18214 w 35252"/>
                <a:gd name="connsiteY6" fmla="*/ 60751 h 58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252" h="58753">
                  <a:moveTo>
                    <a:pt x="18214" y="60751"/>
                  </a:moveTo>
                  <a:cubicBezTo>
                    <a:pt x="13043" y="60751"/>
                    <a:pt x="8813" y="56521"/>
                    <a:pt x="8813" y="51351"/>
                  </a:cubicBezTo>
                  <a:lnTo>
                    <a:pt x="8813" y="18214"/>
                  </a:lnTo>
                  <a:cubicBezTo>
                    <a:pt x="8813" y="13043"/>
                    <a:pt x="13043" y="8813"/>
                    <a:pt x="18214" y="8813"/>
                  </a:cubicBezTo>
                  <a:cubicBezTo>
                    <a:pt x="23384" y="8813"/>
                    <a:pt x="27614" y="13043"/>
                    <a:pt x="27614" y="18214"/>
                  </a:cubicBezTo>
                  <a:lnTo>
                    <a:pt x="27614" y="51351"/>
                  </a:lnTo>
                  <a:cubicBezTo>
                    <a:pt x="27497" y="56521"/>
                    <a:pt x="23384" y="60751"/>
                    <a:pt x="18214" y="6075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D9392E04-EC18-E12C-EE38-1EFCF5257F98}"/>
                </a:ext>
              </a:extLst>
            </p:cNvPr>
            <p:cNvSpPr/>
            <p:nvPr/>
          </p:nvSpPr>
          <p:spPr>
            <a:xfrm>
              <a:off x="8194559" y="1444040"/>
              <a:ext cx="35252" cy="58754"/>
            </a:xfrm>
            <a:custGeom>
              <a:avLst/>
              <a:gdLst>
                <a:gd name="connsiteX0" fmla="*/ 18214 w 35252"/>
                <a:gd name="connsiteY0" fmla="*/ 60751 h 58753"/>
                <a:gd name="connsiteX1" fmla="*/ 8813 w 35252"/>
                <a:gd name="connsiteY1" fmla="*/ 51351 h 58753"/>
                <a:gd name="connsiteX2" fmla="*/ 8813 w 35252"/>
                <a:gd name="connsiteY2" fmla="*/ 18214 h 58753"/>
                <a:gd name="connsiteX3" fmla="*/ 18214 w 35252"/>
                <a:gd name="connsiteY3" fmla="*/ 8813 h 58753"/>
                <a:gd name="connsiteX4" fmla="*/ 27614 w 35252"/>
                <a:gd name="connsiteY4" fmla="*/ 18214 h 58753"/>
                <a:gd name="connsiteX5" fmla="*/ 27614 w 35252"/>
                <a:gd name="connsiteY5" fmla="*/ 51351 h 58753"/>
                <a:gd name="connsiteX6" fmla="*/ 18214 w 35252"/>
                <a:gd name="connsiteY6" fmla="*/ 60751 h 58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252" h="58753">
                  <a:moveTo>
                    <a:pt x="18214" y="60751"/>
                  </a:moveTo>
                  <a:cubicBezTo>
                    <a:pt x="13043" y="60751"/>
                    <a:pt x="8813" y="56521"/>
                    <a:pt x="8813" y="51351"/>
                  </a:cubicBezTo>
                  <a:lnTo>
                    <a:pt x="8813" y="18214"/>
                  </a:lnTo>
                  <a:cubicBezTo>
                    <a:pt x="8813" y="13043"/>
                    <a:pt x="13043" y="8813"/>
                    <a:pt x="18214" y="8813"/>
                  </a:cubicBezTo>
                  <a:cubicBezTo>
                    <a:pt x="23384" y="8813"/>
                    <a:pt x="27614" y="13043"/>
                    <a:pt x="27614" y="18214"/>
                  </a:cubicBezTo>
                  <a:lnTo>
                    <a:pt x="27614" y="51351"/>
                  </a:lnTo>
                  <a:cubicBezTo>
                    <a:pt x="27614" y="56521"/>
                    <a:pt x="23384" y="60751"/>
                    <a:pt x="18214" y="6075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7C1C11A7-602D-1593-DA53-2BD4024D7207}"/>
                </a:ext>
              </a:extLst>
            </p:cNvPr>
            <p:cNvSpPr/>
            <p:nvPr/>
          </p:nvSpPr>
          <p:spPr>
            <a:xfrm>
              <a:off x="8090565" y="1250976"/>
              <a:ext cx="117507" cy="117507"/>
            </a:xfrm>
            <a:custGeom>
              <a:avLst/>
              <a:gdLst>
                <a:gd name="connsiteX0" fmla="*/ 64159 w 117507"/>
                <a:gd name="connsiteY0" fmla="*/ 119505 h 117507"/>
                <a:gd name="connsiteX1" fmla="*/ 8813 w 117507"/>
                <a:gd name="connsiteY1" fmla="*/ 64159 h 117507"/>
                <a:gd name="connsiteX2" fmla="*/ 64159 w 117507"/>
                <a:gd name="connsiteY2" fmla="*/ 8813 h 117507"/>
                <a:gd name="connsiteX3" fmla="*/ 119505 w 117507"/>
                <a:gd name="connsiteY3" fmla="*/ 64159 h 117507"/>
                <a:gd name="connsiteX4" fmla="*/ 64159 w 117507"/>
                <a:gd name="connsiteY4" fmla="*/ 119505 h 117507"/>
                <a:gd name="connsiteX5" fmla="*/ 64159 w 117507"/>
                <a:gd name="connsiteY5" fmla="*/ 27614 h 117507"/>
                <a:gd name="connsiteX6" fmla="*/ 27497 w 117507"/>
                <a:gd name="connsiteY6" fmla="*/ 64276 h 117507"/>
                <a:gd name="connsiteX7" fmla="*/ 64159 w 117507"/>
                <a:gd name="connsiteY7" fmla="*/ 100939 h 117507"/>
                <a:gd name="connsiteX8" fmla="*/ 100821 w 117507"/>
                <a:gd name="connsiteY8" fmla="*/ 64276 h 117507"/>
                <a:gd name="connsiteX9" fmla="*/ 64159 w 117507"/>
                <a:gd name="connsiteY9" fmla="*/ 27614 h 117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7507" h="117507">
                  <a:moveTo>
                    <a:pt x="64159" y="119505"/>
                  </a:moveTo>
                  <a:cubicBezTo>
                    <a:pt x="33607" y="119505"/>
                    <a:pt x="8813" y="94711"/>
                    <a:pt x="8813" y="64159"/>
                  </a:cubicBezTo>
                  <a:cubicBezTo>
                    <a:pt x="8813" y="33607"/>
                    <a:pt x="33607" y="8813"/>
                    <a:pt x="64159" y="8813"/>
                  </a:cubicBezTo>
                  <a:cubicBezTo>
                    <a:pt x="94711" y="8813"/>
                    <a:pt x="119505" y="33607"/>
                    <a:pt x="119505" y="64159"/>
                  </a:cubicBezTo>
                  <a:cubicBezTo>
                    <a:pt x="119505" y="94711"/>
                    <a:pt x="94711" y="119505"/>
                    <a:pt x="64159" y="119505"/>
                  </a:cubicBezTo>
                  <a:close/>
                  <a:moveTo>
                    <a:pt x="64159" y="27614"/>
                  </a:moveTo>
                  <a:cubicBezTo>
                    <a:pt x="43948" y="27614"/>
                    <a:pt x="27497" y="44065"/>
                    <a:pt x="27497" y="64276"/>
                  </a:cubicBezTo>
                  <a:cubicBezTo>
                    <a:pt x="27497" y="84488"/>
                    <a:pt x="43948" y="100939"/>
                    <a:pt x="64159" y="100939"/>
                  </a:cubicBezTo>
                  <a:cubicBezTo>
                    <a:pt x="84370" y="100939"/>
                    <a:pt x="100821" y="84488"/>
                    <a:pt x="100821" y="64276"/>
                  </a:cubicBezTo>
                  <a:cubicBezTo>
                    <a:pt x="100821" y="44065"/>
                    <a:pt x="84370" y="27614"/>
                    <a:pt x="64159" y="276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15BCCF1-C60C-E784-B9A0-ECC2F6CD2B85}"/>
                </a:ext>
              </a:extLst>
            </p:cNvPr>
            <p:cNvSpPr/>
            <p:nvPr/>
          </p:nvSpPr>
          <p:spPr>
            <a:xfrm>
              <a:off x="8036159" y="1376003"/>
              <a:ext cx="235014" cy="129258"/>
            </a:xfrm>
            <a:custGeom>
              <a:avLst/>
              <a:gdLst>
                <a:gd name="connsiteX0" fmla="*/ 218916 w 235014"/>
                <a:gd name="connsiteY0" fmla="*/ 128788 h 129257"/>
                <a:gd name="connsiteX1" fmla="*/ 209515 w 235014"/>
                <a:gd name="connsiteY1" fmla="*/ 119387 h 129257"/>
                <a:gd name="connsiteX2" fmla="*/ 209515 w 235014"/>
                <a:gd name="connsiteY2" fmla="*/ 72502 h 129257"/>
                <a:gd name="connsiteX3" fmla="*/ 164510 w 235014"/>
                <a:gd name="connsiteY3" fmla="*/ 27497 h 129257"/>
                <a:gd name="connsiteX4" fmla="*/ 72620 w 235014"/>
                <a:gd name="connsiteY4" fmla="*/ 27497 h 129257"/>
                <a:gd name="connsiteX5" fmla="*/ 27614 w 235014"/>
                <a:gd name="connsiteY5" fmla="*/ 72502 h 129257"/>
                <a:gd name="connsiteX6" fmla="*/ 27614 w 235014"/>
                <a:gd name="connsiteY6" fmla="*/ 119387 h 129257"/>
                <a:gd name="connsiteX7" fmla="*/ 18214 w 235014"/>
                <a:gd name="connsiteY7" fmla="*/ 128788 h 129257"/>
                <a:gd name="connsiteX8" fmla="*/ 8813 w 235014"/>
                <a:gd name="connsiteY8" fmla="*/ 119387 h 129257"/>
                <a:gd name="connsiteX9" fmla="*/ 8813 w 235014"/>
                <a:gd name="connsiteY9" fmla="*/ 72502 h 129257"/>
                <a:gd name="connsiteX10" fmla="*/ 72502 w 235014"/>
                <a:gd name="connsiteY10" fmla="*/ 8813 h 129257"/>
                <a:gd name="connsiteX11" fmla="*/ 164393 w 235014"/>
                <a:gd name="connsiteY11" fmla="*/ 8813 h 129257"/>
                <a:gd name="connsiteX12" fmla="*/ 228081 w 235014"/>
                <a:gd name="connsiteY12" fmla="*/ 72502 h 129257"/>
                <a:gd name="connsiteX13" fmla="*/ 228081 w 235014"/>
                <a:gd name="connsiteY13" fmla="*/ 119387 h 129257"/>
                <a:gd name="connsiteX14" fmla="*/ 218916 w 235014"/>
                <a:gd name="connsiteY14" fmla="*/ 128788 h 129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35014" h="129257">
                  <a:moveTo>
                    <a:pt x="218916" y="128788"/>
                  </a:moveTo>
                  <a:cubicBezTo>
                    <a:pt x="213745" y="128788"/>
                    <a:pt x="209515" y="124557"/>
                    <a:pt x="209515" y="119387"/>
                  </a:cubicBezTo>
                  <a:lnTo>
                    <a:pt x="209515" y="72502"/>
                  </a:lnTo>
                  <a:cubicBezTo>
                    <a:pt x="209515" y="47708"/>
                    <a:pt x="189304" y="27497"/>
                    <a:pt x="164510" y="27497"/>
                  </a:cubicBezTo>
                  <a:lnTo>
                    <a:pt x="72620" y="27497"/>
                  </a:lnTo>
                  <a:cubicBezTo>
                    <a:pt x="47825" y="27497"/>
                    <a:pt x="27614" y="47708"/>
                    <a:pt x="27614" y="72502"/>
                  </a:cubicBezTo>
                  <a:lnTo>
                    <a:pt x="27614" y="119387"/>
                  </a:lnTo>
                  <a:cubicBezTo>
                    <a:pt x="27614" y="124557"/>
                    <a:pt x="23384" y="128788"/>
                    <a:pt x="18214" y="128788"/>
                  </a:cubicBezTo>
                  <a:cubicBezTo>
                    <a:pt x="13043" y="128788"/>
                    <a:pt x="8813" y="124557"/>
                    <a:pt x="8813" y="119387"/>
                  </a:cubicBezTo>
                  <a:lnTo>
                    <a:pt x="8813" y="72502"/>
                  </a:lnTo>
                  <a:cubicBezTo>
                    <a:pt x="8813" y="37367"/>
                    <a:pt x="37368" y="8813"/>
                    <a:pt x="72502" y="8813"/>
                  </a:cubicBezTo>
                  <a:lnTo>
                    <a:pt x="164393" y="8813"/>
                  </a:lnTo>
                  <a:cubicBezTo>
                    <a:pt x="199527" y="8813"/>
                    <a:pt x="228081" y="37367"/>
                    <a:pt x="228081" y="72502"/>
                  </a:cubicBezTo>
                  <a:lnTo>
                    <a:pt x="228081" y="119387"/>
                  </a:lnTo>
                  <a:cubicBezTo>
                    <a:pt x="228317" y="124557"/>
                    <a:pt x="224086" y="128788"/>
                    <a:pt x="218916" y="1287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D2F731F6-373A-F549-BDF3-95993CABAA19}"/>
                </a:ext>
              </a:extLst>
            </p:cNvPr>
            <p:cNvSpPr/>
            <p:nvPr/>
          </p:nvSpPr>
          <p:spPr>
            <a:xfrm>
              <a:off x="8333217" y="1729699"/>
              <a:ext cx="35252" cy="94006"/>
            </a:xfrm>
            <a:custGeom>
              <a:avLst/>
              <a:gdLst>
                <a:gd name="connsiteX0" fmla="*/ 18213 w 35252"/>
                <a:gd name="connsiteY0" fmla="*/ 92125 h 94005"/>
                <a:gd name="connsiteX1" fmla="*/ 8813 w 35252"/>
                <a:gd name="connsiteY1" fmla="*/ 82725 h 94005"/>
                <a:gd name="connsiteX2" fmla="*/ 8813 w 35252"/>
                <a:gd name="connsiteY2" fmla="*/ 18214 h 94005"/>
                <a:gd name="connsiteX3" fmla="*/ 18213 w 35252"/>
                <a:gd name="connsiteY3" fmla="*/ 8813 h 94005"/>
                <a:gd name="connsiteX4" fmla="*/ 27614 w 35252"/>
                <a:gd name="connsiteY4" fmla="*/ 18214 h 94005"/>
                <a:gd name="connsiteX5" fmla="*/ 27614 w 35252"/>
                <a:gd name="connsiteY5" fmla="*/ 82725 h 94005"/>
                <a:gd name="connsiteX6" fmla="*/ 18213 w 35252"/>
                <a:gd name="connsiteY6" fmla="*/ 92125 h 940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252" h="94005">
                  <a:moveTo>
                    <a:pt x="18213" y="92125"/>
                  </a:moveTo>
                  <a:cubicBezTo>
                    <a:pt x="13043" y="92125"/>
                    <a:pt x="8813" y="87895"/>
                    <a:pt x="8813" y="82725"/>
                  </a:cubicBezTo>
                  <a:lnTo>
                    <a:pt x="8813" y="18214"/>
                  </a:lnTo>
                  <a:cubicBezTo>
                    <a:pt x="8813" y="13043"/>
                    <a:pt x="13043" y="8813"/>
                    <a:pt x="18213" y="8813"/>
                  </a:cubicBezTo>
                  <a:cubicBezTo>
                    <a:pt x="23384" y="8813"/>
                    <a:pt x="27614" y="13043"/>
                    <a:pt x="27614" y="18214"/>
                  </a:cubicBezTo>
                  <a:lnTo>
                    <a:pt x="27614" y="82725"/>
                  </a:lnTo>
                  <a:cubicBezTo>
                    <a:pt x="27614" y="87895"/>
                    <a:pt x="23384" y="92125"/>
                    <a:pt x="18213" y="9212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0C691D2F-740E-7803-7E49-C47AA9CE4B84}"/>
                </a:ext>
              </a:extLst>
            </p:cNvPr>
            <p:cNvSpPr/>
            <p:nvPr/>
          </p:nvSpPr>
          <p:spPr>
            <a:xfrm>
              <a:off x="8239329" y="1555436"/>
              <a:ext cx="117507" cy="117507"/>
            </a:xfrm>
            <a:custGeom>
              <a:avLst/>
              <a:gdLst>
                <a:gd name="connsiteX0" fmla="*/ 59694 w 117507"/>
                <a:gd name="connsiteY0" fmla="*/ 110574 h 117507"/>
                <a:gd name="connsiteX1" fmla="*/ 8813 w 117507"/>
                <a:gd name="connsiteY1" fmla="*/ 59694 h 117507"/>
                <a:gd name="connsiteX2" fmla="*/ 59694 w 117507"/>
                <a:gd name="connsiteY2" fmla="*/ 8813 h 117507"/>
                <a:gd name="connsiteX3" fmla="*/ 110574 w 117507"/>
                <a:gd name="connsiteY3" fmla="*/ 59694 h 117507"/>
                <a:gd name="connsiteX4" fmla="*/ 59694 w 117507"/>
                <a:gd name="connsiteY4" fmla="*/ 110574 h 117507"/>
                <a:gd name="connsiteX5" fmla="*/ 59694 w 117507"/>
                <a:gd name="connsiteY5" fmla="*/ 27614 h 117507"/>
                <a:gd name="connsiteX6" fmla="*/ 27614 w 117507"/>
                <a:gd name="connsiteY6" fmla="*/ 59694 h 117507"/>
                <a:gd name="connsiteX7" fmla="*/ 59694 w 117507"/>
                <a:gd name="connsiteY7" fmla="*/ 91773 h 117507"/>
                <a:gd name="connsiteX8" fmla="*/ 91891 w 117507"/>
                <a:gd name="connsiteY8" fmla="*/ 59694 h 117507"/>
                <a:gd name="connsiteX9" fmla="*/ 59694 w 117507"/>
                <a:gd name="connsiteY9" fmla="*/ 27614 h 117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7507" h="117507">
                  <a:moveTo>
                    <a:pt x="59694" y="110574"/>
                  </a:moveTo>
                  <a:cubicBezTo>
                    <a:pt x="31609" y="110574"/>
                    <a:pt x="8813" y="87778"/>
                    <a:pt x="8813" y="59694"/>
                  </a:cubicBezTo>
                  <a:cubicBezTo>
                    <a:pt x="8813" y="31609"/>
                    <a:pt x="31609" y="8813"/>
                    <a:pt x="59694" y="8813"/>
                  </a:cubicBezTo>
                  <a:cubicBezTo>
                    <a:pt x="87778" y="8813"/>
                    <a:pt x="110574" y="31609"/>
                    <a:pt x="110574" y="59694"/>
                  </a:cubicBezTo>
                  <a:cubicBezTo>
                    <a:pt x="110574" y="87778"/>
                    <a:pt x="87778" y="110574"/>
                    <a:pt x="59694" y="110574"/>
                  </a:cubicBezTo>
                  <a:close/>
                  <a:moveTo>
                    <a:pt x="59694" y="27614"/>
                  </a:moveTo>
                  <a:cubicBezTo>
                    <a:pt x="41950" y="27614"/>
                    <a:pt x="27614" y="42068"/>
                    <a:pt x="27614" y="59694"/>
                  </a:cubicBezTo>
                  <a:cubicBezTo>
                    <a:pt x="27614" y="77437"/>
                    <a:pt x="42068" y="91773"/>
                    <a:pt x="59694" y="91773"/>
                  </a:cubicBezTo>
                  <a:cubicBezTo>
                    <a:pt x="77437" y="91773"/>
                    <a:pt x="91891" y="77320"/>
                    <a:pt x="91891" y="59694"/>
                  </a:cubicBezTo>
                  <a:cubicBezTo>
                    <a:pt x="91891" y="41950"/>
                    <a:pt x="77437" y="27614"/>
                    <a:pt x="59694" y="276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EC2B58F0-0DC3-BD2E-4523-1879189D7FCB}"/>
                </a:ext>
              </a:extLst>
            </p:cNvPr>
            <p:cNvSpPr/>
            <p:nvPr/>
          </p:nvSpPr>
          <p:spPr>
            <a:xfrm>
              <a:off x="8261303" y="1668126"/>
              <a:ext cx="141008" cy="152759"/>
            </a:xfrm>
            <a:custGeom>
              <a:avLst/>
              <a:gdLst>
                <a:gd name="connsiteX0" fmla="*/ 128200 w 141008"/>
                <a:gd name="connsiteY0" fmla="*/ 153699 h 152759"/>
                <a:gd name="connsiteX1" fmla="*/ 118800 w 141008"/>
                <a:gd name="connsiteY1" fmla="*/ 144299 h 152759"/>
                <a:gd name="connsiteX2" fmla="*/ 118800 w 141008"/>
                <a:gd name="connsiteY2" fmla="*/ 67332 h 152759"/>
                <a:gd name="connsiteX3" fmla="*/ 79082 w 141008"/>
                <a:gd name="connsiteY3" fmla="*/ 27614 h 152759"/>
                <a:gd name="connsiteX4" fmla="*/ 18214 w 141008"/>
                <a:gd name="connsiteY4" fmla="*/ 27614 h 152759"/>
                <a:gd name="connsiteX5" fmla="*/ 8813 w 141008"/>
                <a:gd name="connsiteY5" fmla="*/ 18214 h 152759"/>
                <a:gd name="connsiteX6" fmla="*/ 18214 w 141008"/>
                <a:gd name="connsiteY6" fmla="*/ 8813 h 152759"/>
                <a:gd name="connsiteX7" fmla="*/ 79082 w 141008"/>
                <a:gd name="connsiteY7" fmla="*/ 8813 h 152759"/>
                <a:gd name="connsiteX8" fmla="*/ 137483 w 141008"/>
                <a:gd name="connsiteY8" fmla="*/ 67214 h 152759"/>
                <a:gd name="connsiteX9" fmla="*/ 137483 w 141008"/>
                <a:gd name="connsiteY9" fmla="*/ 144181 h 152759"/>
                <a:gd name="connsiteX10" fmla="*/ 128200 w 141008"/>
                <a:gd name="connsiteY10" fmla="*/ 153699 h 152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1008" h="152759">
                  <a:moveTo>
                    <a:pt x="128200" y="153699"/>
                  </a:moveTo>
                  <a:cubicBezTo>
                    <a:pt x="123030" y="153699"/>
                    <a:pt x="118800" y="149469"/>
                    <a:pt x="118800" y="144299"/>
                  </a:cubicBezTo>
                  <a:lnTo>
                    <a:pt x="118800" y="67332"/>
                  </a:lnTo>
                  <a:cubicBezTo>
                    <a:pt x="118800" y="45475"/>
                    <a:pt x="100939" y="27614"/>
                    <a:pt x="79082" y="27614"/>
                  </a:cubicBezTo>
                  <a:lnTo>
                    <a:pt x="18214" y="27614"/>
                  </a:lnTo>
                  <a:cubicBezTo>
                    <a:pt x="13043" y="27614"/>
                    <a:pt x="8813" y="23384"/>
                    <a:pt x="8813" y="18214"/>
                  </a:cubicBezTo>
                  <a:cubicBezTo>
                    <a:pt x="8813" y="13043"/>
                    <a:pt x="13043" y="8813"/>
                    <a:pt x="18214" y="8813"/>
                  </a:cubicBezTo>
                  <a:lnTo>
                    <a:pt x="79082" y="8813"/>
                  </a:lnTo>
                  <a:cubicBezTo>
                    <a:pt x="111279" y="8813"/>
                    <a:pt x="137483" y="35017"/>
                    <a:pt x="137483" y="67214"/>
                  </a:cubicBezTo>
                  <a:lnTo>
                    <a:pt x="137483" y="144181"/>
                  </a:lnTo>
                  <a:cubicBezTo>
                    <a:pt x="137601" y="149469"/>
                    <a:pt x="133371" y="153699"/>
                    <a:pt x="128200" y="15369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24D88803-698E-87C1-33CE-A328A10ECF87}"/>
                </a:ext>
              </a:extLst>
            </p:cNvPr>
            <p:cNvSpPr/>
            <p:nvPr/>
          </p:nvSpPr>
          <p:spPr>
            <a:xfrm>
              <a:off x="7939804" y="1729699"/>
              <a:ext cx="35252" cy="94006"/>
            </a:xfrm>
            <a:custGeom>
              <a:avLst/>
              <a:gdLst>
                <a:gd name="connsiteX0" fmla="*/ 18213 w 35252"/>
                <a:gd name="connsiteY0" fmla="*/ 92125 h 94005"/>
                <a:gd name="connsiteX1" fmla="*/ 8813 w 35252"/>
                <a:gd name="connsiteY1" fmla="*/ 82725 h 94005"/>
                <a:gd name="connsiteX2" fmla="*/ 8813 w 35252"/>
                <a:gd name="connsiteY2" fmla="*/ 18214 h 94005"/>
                <a:gd name="connsiteX3" fmla="*/ 18213 w 35252"/>
                <a:gd name="connsiteY3" fmla="*/ 8813 h 94005"/>
                <a:gd name="connsiteX4" fmla="*/ 27614 w 35252"/>
                <a:gd name="connsiteY4" fmla="*/ 18214 h 94005"/>
                <a:gd name="connsiteX5" fmla="*/ 27614 w 35252"/>
                <a:gd name="connsiteY5" fmla="*/ 82725 h 94005"/>
                <a:gd name="connsiteX6" fmla="*/ 18213 w 35252"/>
                <a:gd name="connsiteY6" fmla="*/ 92125 h 940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252" h="94005">
                  <a:moveTo>
                    <a:pt x="18213" y="92125"/>
                  </a:moveTo>
                  <a:cubicBezTo>
                    <a:pt x="13043" y="92125"/>
                    <a:pt x="8813" y="87895"/>
                    <a:pt x="8813" y="82725"/>
                  </a:cubicBezTo>
                  <a:lnTo>
                    <a:pt x="8813" y="18214"/>
                  </a:lnTo>
                  <a:cubicBezTo>
                    <a:pt x="8813" y="13043"/>
                    <a:pt x="13043" y="8813"/>
                    <a:pt x="18213" y="8813"/>
                  </a:cubicBezTo>
                  <a:cubicBezTo>
                    <a:pt x="23384" y="8813"/>
                    <a:pt x="27614" y="13043"/>
                    <a:pt x="27614" y="18214"/>
                  </a:cubicBezTo>
                  <a:lnTo>
                    <a:pt x="27614" y="82725"/>
                  </a:lnTo>
                  <a:cubicBezTo>
                    <a:pt x="27614" y="87895"/>
                    <a:pt x="23384" y="92125"/>
                    <a:pt x="18213" y="9212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BF403433-850A-1246-28E6-EE9FFBE1D174}"/>
                </a:ext>
              </a:extLst>
            </p:cNvPr>
            <p:cNvSpPr/>
            <p:nvPr/>
          </p:nvSpPr>
          <p:spPr>
            <a:xfrm>
              <a:off x="7950732" y="1555436"/>
              <a:ext cx="117507" cy="117507"/>
            </a:xfrm>
            <a:custGeom>
              <a:avLst/>
              <a:gdLst>
                <a:gd name="connsiteX0" fmla="*/ 59694 w 117507"/>
                <a:gd name="connsiteY0" fmla="*/ 110574 h 117507"/>
                <a:gd name="connsiteX1" fmla="*/ 8813 w 117507"/>
                <a:gd name="connsiteY1" fmla="*/ 59694 h 117507"/>
                <a:gd name="connsiteX2" fmla="*/ 59694 w 117507"/>
                <a:gd name="connsiteY2" fmla="*/ 8813 h 117507"/>
                <a:gd name="connsiteX3" fmla="*/ 110574 w 117507"/>
                <a:gd name="connsiteY3" fmla="*/ 59694 h 117507"/>
                <a:gd name="connsiteX4" fmla="*/ 59694 w 117507"/>
                <a:gd name="connsiteY4" fmla="*/ 110574 h 117507"/>
                <a:gd name="connsiteX5" fmla="*/ 59694 w 117507"/>
                <a:gd name="connsiteY5" fmla="*/ 27614 h 117507"/>
                <a:gd name="connsiteX6" fmla="*/ 27497 w 117507"/>
                <a:gd name="connsiteY6" fmla="*/ 59694 h 117507"/>
                <a:gd name="connsiteX7" fmla="*/ 59694 w 117507"/>
                <a:gd name="connsiteY7" fmla="*/ 91773 h 117507"/>
                <a:gd name="connsiteX8" fmla="*/ 91773 w 117507"/>
                <a:gd name="connsiteY8" fmla="*/ 59694 h 117507"/>
                <a:gd name="connsiteX9" fmla="*/ 59694 w 117507"/>
                <a:gd name="connsiteY9" fmla="*/ 27614 h 117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7507" h="117507">
                  <a:moveTo>
                    <a:pt x="59694" y="110574"/>
                  </a:moveTo>
                  <a:cubicBezTo>
                    <a:pt x="31609" y="110574"/>
                    <a:pt x="8813" y="87778"/>
                    <a:pt x="8813" y="59694"/>
                  </a:cubicBezTo>
                  <a:cubicBezTo>
                    <a:pt x="8813" y="31609"/>
                    <a:pt x="31609" y="8813"/>
                    <a:pt x="59694" y="8813"/>
                  </a:cubicBezTo>
                  <a:cubicBezTo>
                    <a:pt x="87778" y="8813"/>
                    <a:pt x="110574" y="31609"/>
                    <a:pt x="110574" y="59694"/>
                  </a:cubicBezTo>
                  <a:cubicBezTo>
                    <a:pt x="110574" y="87778"/>
                    <a:pt x="87778" y="110574"/>
                    <a:pt x="59694" y="110574"/>
                  </a:cubicBezTo>
                  <a:close/>
                  <a:moveTo>
                    <a:pt x="59694" y="27614"/>
                  </a:moveTo>
                  <a:cubicBezTo>
                    <a:pt x="41950" y="27614"/>
                    <a:pt x="27497" y="42068"/>
                    <a:pt x="27497" y="59694"/>
                  </a:cubicBezTo>
                  <a:cubicBezTo>
                    <a:pt x="27497" y="77437"/>
                    <a:pt x="41950" y="91773"/>
                    <a:pt x="59694" y="91773"/>
                  </a:cubicBezTo>
                  <a:cubicBezTo>
                    <a:pt x="77437" y="91773"/>
                    <a:pt x="91773" y="77320"/>
                    <a:pt x="91773" y="59694"/>
                  </a:cubicBezTo>
                  <a:cubicBezTo>
                    <a:pt x="91891" y="41950"/>
                    <a:pt x="77437" y="27614"/>
                    <a:pt x="59694" y="276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6DED28B8-1FA9-1E18-A12C-028E42DD93E6}"/>
                </a:ext>
              </a:extLst>
            </p:cNvPr>
            <p:cNvSpPr/>
            <p:nvPr/>
          </p:nvSpPr>
          <p:spPr>
            <a:xfrm>
              <a:off x="7901731" y="1668243"/>
              <a:ext cx="141008" cy="152759"/>
            </a:xfrm>
            <a:custGeom>
              <a:avLst/>
              <a:gdLst>
                <a:gd name="connsiteX0" fmla="*/ 18213 w 141008"/>
                <a:gd name="connsiteY0" fmla="*/ 153582 h 152759"/>
                <a:gd name="connsiteX1" fmla="*/ 8813 w 141008"/>
                <a:gd name="connsiteY1" fmla="*/ 144181 h 152759"/>
                <a:gd name="connsiteX2" fmla="*/ 8813 w 141008"/>
                <a:gd name="connsiteY2" fmla="*/ 67214 h 152759"/>
                <a:gd name="connsiteX3" fmla="*/ 67214 w 141008"/>
                <a:gd name="connsiteY3" fmla="*/ 8813 h 152759"/>
                <a:gd name="connsiteX4" fmla="*/ 128083 w 141008"/>
                <a:gd name="connsiteY4" fmla="*/ 8813 h 152759"/>
                <a:gd name="connsiteX5" fmla="*/ 137483 w 141008"/>
                <a:gd name="connsiteY5" fmla="*/ 18214 h 152759"/>
                <a:gd name="connsiteX6" fmla="*/ 128083 w 141008"/>
                <a:gd name="connsiteY6" fmla="*/ 27614 h 152759"/>
                <a:gd name="connsiteX7" fmla="*/ 67214 w 141008"/>
                <a:gd name="connsiteY7" fmla="*/ 27614 h 152759"/>
                <a:gd name="connsiteX8" fmla="*/ 27497 w 141008"/>
                <a:gd name="connsiteY8" fmla="*/ 67332 h 152759"/>
                <a:gd name="connsiteX9" fmla="*/ 27497 w 141008"/>
                <a:gd name="connsiteY9" fmla="*/ 144299 h 152759"/>
                <a:gd name="connsiteX10" fmla="*/ 18213 w 141008"/>
                <a:gd name="connsiteY10" fmla="*/ 153582 h 152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1008" h="152759">
                  <a:moveTo>
                    <a:pt x="18213" y="153582"/>
                  </a:moveTo>
                  <a:cubicBezTo>
                    <a:pt x="13043" y="153582"/>
                    <a:pt x="8813" y="149351"/>
                    <a:pt x="8813" y="144181"/>
                  </a:cubicBezTo>
                  <a:lnTo>
                    <a:pt x="8813" y="67214"/>
                  </a:lnTo>
                  <a:cubicBezTo>
                    <a:pt x="8813" y="35017"/>
                    <a:pt x="35017" y="8813"/>
                    <a:pt x="67214" y="8813"/>
                  </a:cubicBezTo>
                  <a:lnTo>
                    <a:pt x="128083" y="8813"/>
                  </a:lnTo>
                  <a:cubicBezTo>
                    <a:pt x="133253" y="8813"/>
                    <a:pt x="137483" y="13043"/>
                    <a:pt x="137483" y="18214"/>
                  </a:cubicBezTo>
                  <a:cubicBezTo>
                    <a:pt x="137483" y="23384"/>
                    <a:pt x="133253" y="27614"/>
                    <a:pt x="128083" y="27614"/>
                  </a:cubicBezTo>
                  <a:lnTo>
                    <a:pt x="67214" y="27614"/>
                  </a:lnTo>
                  <a:cubicBezTo>
                    <a:pt x="45358" y="27614"/>
                    <a:pt x="27497" y="45475"/>
                    <a:pt x="27497" y="67332"/>
                  </a:cubicBezTo>
                  <a:lnTo>
                    <a:pt x="27497" y="144299"/>
                  </a:lnTo>
                  <a:cubicBezTo>
                    <a:pt x="27497" y="149351"/>
                    <a:pt x="23384" y="153582"/>
                    <a:pt x="18213" y="15358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253BABE0-640E-26A1-71A4-61A93F1F8996}"/>
                </a:ext>
              </a:extLst>
            </p:cNvPr>
            <p:cNvSpPr/>
            <p:nvPr/>
          </p:nvSpPr>
          <p:spPr>
            <a:xfrm>
              <a:off x="8276696" y="1426531"/>
              <a:ext cx="129258" cy="152759"/>
            </a:xfrm>
            <a:custGeom>
              <a:avLst/>
              <a:gdLst>
                <a:gd name="connsiteX0" fmla="*/ 112807 w 129257"/>
                <a:gd name="connsiteY0" fmla="*/ 152524 h 152759"/>
                <a:gd name="connsiteX1" fmla="*/ 103406 w 129257"/>
                <a:gd name="connsiteY1" fmla="*/ 143124 h 152759"/>
                <a:gd name="connsiteX2" fmla="*/ 103406 w 129257"/>
                <a:gd name="connsiteY2" fmla="*/ 27614 h 152759"/>
                <a:gd name="connsiteX3" fmla="*/ 18214 w 129257"/>
                <a:gd name="connsiteY3" fmla="*/ 27614 h 152759"/>
                <a:gd name="connsiteX4" fmla="*/ 8813 w 129257"/>
                <a:gd name="connsiteY4" fmla="*/ 18214 h 152759"/>
                <a:gd name="connsiteX5" fmla="*/ 18214 w 129257"/>
                <a:gd name="connsiteY5" fmla="*/ 8813 h 152759"/>
                <a:gd name="connsiteX6" fmla="*/ 112690 w 129257"/>
                <a:gd name="connsiteY6" fmla="*/ 8813 h 152759"/>
                <a:gd name="connsiteX7" fmla="*/ 122090 w 129257"/>
                <a:gd name="connsiteY7" fmla="*/ 18214 h 152759"/>
                <a:gd name="connsiteX8" fmla="*/ 122090 w 129257"/>
                <a:gd name="connsiteY8" fmla="*/ 143006 h 152759"/>
                <a:gd name="connsiteX9" fmla="*/ 112807 w 129257"/>
                <a:gd name="connsiteY9" fmla="*/ 152524 h 152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9257" h="152759">
                  <a:moveTo>
                    <a:pt x="112807" y="152524"/>
                  </a:moveTo>
                  <a:cubicBezTo>
                    <a:pt x="107637" y="152524"/>
                    <a:pt x="103406" y="148294"/>
                    <a:pt x="103406" y="143124"/>
                  </a:cubicBezTo>
                  <a:lnTo>
                    <a:pt x="103406" y="27614"/>
                  </a:lnTo>
                  <a:lnTo>
                    <a:pt x="18214" y="27614"/>
                  </a:lnTo>
                  <a:cubicBezTo>
                    <a:pt x="13043" y="27614"/>
                    <a:pt x="8813" y="23384"/>
                    <a:pt x="8813" y="18214"/>
                  </a:cubicBezTo>
                  <a:cubicBezTo>
                    <a:pt x="8813" y="13043"/>
                    <a:pt x="13043" y="8813"/>
                    <a:pt x="18214" y="8813"/>
                  </a:cubicBezTo>
                  <a:lnTo>
                    <a:pt x="112690" y="8813"/>
                  </a:lnTo>
                  <a:cubicBezTo>
                    <a:pt x="117860" y="8813"/>
                    <a:pt x="122090" y="13043"/>
                    <a:pt x="122090" y="18214"/>
                  </a:cubicBezTo>
                  <a:lnTo>
                    <a:pt x="122090" y="143006"/>
                  </a:lnTo>
                  <a:cubicBezTo>
                    <a:pt x="122208" y="148294"/>
                    <a:pt x="117977" y="152524"/>
                    <a:pt x="112807" y="152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50992C7C-69B5-4D65-C18A-59D0D3D4E16A}"/>
                </a:ext>
              </a:extLst>
            </p:cNvPr>
            <p:cNvSpPr/>
            <p:nvPr/>
          </p:nvSpPr>
          <p:spPr>
            <a:xfrm>
              <a:off x="7901731" y="1426649"/>
              <a:ext cx="129258" cy="152759"/>
            </a:xfrm>
            <a:custGeom>
              <a:avLst/>
              <a:gdLst>
                <a:gd name="connsiteX0" fmla="*/ 18213 w 129257"/>
                <a:gd name="connsiteY0" fmla="*/ 152407 h 152759"/>
                <a:gd name="connsiteX1" fmla="*/ 8813 w 129257"/>
                <a:gd name="connsiteY1" fmla="*/ 143006 h 152759"/>
                <a:gd name="connsiteX2" fmla="*/ 8813 w 129257"/>
                <a:gd name="connsiteY2" fmla="*/ 18214 h 152759"/>
                <a:gd name="connsiteX3" fmla="*/ 18213 w 129257"/>
                <a:gd name="connsiteY3" fmla="*/ 8813 h 152759"/>
                <a:gd name="connsiteX4" fmla="*/ 112689 w 129257"/>
                <a:gd name="connsiteY4" fmla="*/ 8813 h 152759"/>
                <a:gd name="connsiteX5" fmla="*/ 122090 w 129257"/>
                <a:gd name="connsiteY5" fmla="*/ 18214 h 152759"/>
                <a:gd name="connsiteX6" fmla="*/ 112689 w 129257"/>
                <a:gd name="connsiteY6" fmla="*/ 27614 h 152759"/>
                <a:gd name="connsiteX7" fmla="*/ 27497 w 129257"/>
                <a:gd name="connsiteY7" fmla="*/ 27614 h 152759"/>
                <a:gd name="connsiteX8" fmla="*/ 27497 w 129257"/>
                <a:gd name="connsiteY8" fmla="*/ 143124 h 152759"/>
                <a:gd name="connsiteX9" fmla="*/ 18213 w 129257"/>
                <a:gd name="connsiteY9" fmla="*/ 152407 h 152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9257" h="152759">
                  <a:moveTo>
                    <a:pt x="18213" y="152407"/>
                  </a:moveTo>
                  <a:cubicBezTo>
                    <a:pt x="13043" y="152407"/>
                    <a:pt x="8813" y="148176"/>
                    <a:pt x="8813" y="143006"/>
                  </a:cubicBezTo>
                  <a:lnTo>
                    <a:pt x="8813" y="18214"/>
                  </a:lnTo>
                  <a:cubicBezTo>
                    <a:pt x="8813" y="13043"/>
                    <a:pt x="13043" y="8813"/>
                    <a:pt x="18213" y="8813"/>
                  </a:cubicBezTo>
                  <a:lnTo>
                    <a:pt x="112689" y="8813"/>
                  </a:lnTo>
                  <a:cubicBezTo>
                    <a:pt x="117860" y="8813"/>
                    <a:pt x="122090" y="13043"/>
                    <a:pt x="122090" y="18214"/>
                  </a:cubicBezTo>
                  <a:cubicBezTo>
                    <a:pt x="122090" y="23384"/>
                    <a:pt x="117860" y="27614"/>
                    <a:pt x="112689" y="27614"/>
                  </a:cubicBezTo>
                  <a:lnTo>
                    <a:pt x="27497" y="27614"/>
                  </a:lnTo>
                  <a:lnTo>
                    <a:pt x="27497" y="143124"/>
                  </a:lnTo>
                  <a:cubicBezTo>
                    <a:pt x="27497" y="148176"/>
                    <a:pt x="23384" y="152407"/>
                    <a:pt x="18213" y="15240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E7102C3E-1573-FCCB-13C9-E71BCE800635}"/>
              </a:ext>
            </a:extLst>
          </p:cNvPr>
          <p:cNvGrpSpPr/>
          <p:nvPr/>
        </p:nvGrpSpPr>
        <p:grpSpPr>
          <a:xfrm>
            <a:off x="11032900" y="3893836"/>
            <a:ext cx="570650" cy="481645"/>
            <a:chOff x="9485106" y="315957"/>
            <a:chExt cx="4122148" cy="3479211"/>
          </a:xfrm>
          <a:solidFill>
            <a:schemeClr val="accent1"/>
          </a:solidFill>
        </p:grpSpPr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586729A5-21DA-315D-87FF-7C99C8639450}"/>
                </a:ext>
              </a:extLst>
            </p:cNvPr>
            <p:cNvSpPr/>
            <p:nvPr/>
          </p:nvSpPr>
          <p:spPr>
            <a:xfrm>
              <a:off x="9485106" y="315957"/>
              <a:ext cx="4122148" cy="2615837"/>
            </a:xfrm>
            <a:custGeom>
              <a:avLst/>
              <a:gdLst>
                <a:gd name="connsiteX0" fmla="*/ 4056017 w 4122147"/>
                <a:gd name="connsiteY0" fmla="*/ 5512 h 2615837"/>
                <a:gd name="connsiteX1" fmla="*/ 69805 w 4122147"/>
                <a:gd name="connsiteY1" fmla="*/ 5512 h 2615837"/>
                <a:gd name="connsiteX2" fmla="*/ 5511 w 4122147"/>
                <a:gd name="connsiteY2" fmla="*/ 69806 h 2615837"/>
                <a:gd name="connsiteX3" fmla="*/ 69805 w 4122147"/>
                <a:gd name="connsiteY3" fmla="*/ 134100 h 2615837"/>
                <a:gd name="connsiteX4" fmla="*/ 920466 w 4122147"/>
                <a:gd name="connsiteY4" fmla="*/ 134100 h 2615837"/>
                <a:gd name="connsiteX5" fmla="*/ 374689 w 4122147"/>
                <a:gd name="connsiteY5" fmla="*/ 2578070 h 2615837"/>
                <a:gd name="connsiteX6" fmla="*/ 391308 w 4122147"/>
                <a:gd name="connsiteY6" fmla="*/ 2577238 h 2615837"/>
                <a:gd name="connsiteX7" fmla="*/ 585166 w 4122147"/>
                <a:gd name="connsiteY7" fmla="*/ 2615470 h 2615837"/>
                <a:gd name="connsiteX8" fmla="*/ 1407686 w 4122147"/>
                <a:gd name="connsiteY8" fmla="*/ 134098 h 2615837"/>
                <a:gd name="connsiteX9" fmla="*/ 1648813 w 4122147"/>
                <a:gd name="connsiteY9" fmla="*/ 134098 h 2615837"/>
                <a:gd name="connsiteX10" fmla="*/ 1796600 w 4122147"/>
                <a:gd name="connsiteY10" fmla="*/ 2588283 h 2615837"/>
                <a:gd name="connsiteX11" fmla="*/ 1796572 w 4122147"/>
                <a:gd name="connsiteY11" fmla="*/ 2588283 h 2615837"/>
                <a:gd name="connsiteX12" fmla="*/ 2007793 w 4122147"/>
                <a:gd name="connsiteY12" fmla="*/ 2588283 h 2615837"/>
                <a:gd name="connsiteX13" fmla="*/ 2155610 w 4122147"/>
                <a:gd name="connsiteY13" fmla="*/ 134098 h 2615837"/>
                <a:gd name="connsiteX14" fmla="*/ 2548889 w 4122147"/>
                <a:gd name="connsiteY14" fmla="*/ 134098 h 2615837"/>
                <a:gd name="connsiteX15" fmla="*/ 2696677 w 4122147"/>
                <a:gd name="connsiteY15" fmla="*/ 2588283 h 2615837"/>
                <a:gd name="connsiteX16" fmla="*/ 2907898 w 4122147"/>
                <a:gd name="connsiteY16" fmla="*/ 2588283 h 2615837"/>
                <a:gd name="connsiteX17" fmla="*/ 3055715 w 4122147"/>
                <a:gd name="connsiteY17" fmla="*/ 134098 h 2615837"/>
                <a:gd name="connsiteX18" fmla="*/ 3448995 w 4122147"/>
                <a:gd name="connsiteY18" fmla="*/ 134098 h 2615837"/>
                <a:gd name="connsiteX19" fmla="*/ 3596782 w 4122147"/>
                <a:gd name="connsiteY19" fmla="*/ 2588283 h 2615837"/>
                <a:gd name="connsiteX20" fmla="*/ 3808003 w 4122147"/>
                <a:gd name="connsiteY20" fmla="*/ 2588283 h 2615837"/>
                <a:gd name="connsiteX21" fmla="*/ 3955820 w 4122147"/>
                <a:gd name="connsiteY21" fmla="*/ 134098 h 2615837"/>
                <a:gd name="connsiteX22" fmla="*/ 4056023 w 4122147"/>
                <a:gd name="connsiteY22" fmla="*/ 134098 h 2615837"/>
                <a:gd name="connsiteX23" fmla="*/ 4120317 w 4122147"/>
                <a:gd name="connsiteY23" fmla="*/ 69805 h 2615837"/>
                <a:gd name="connsiteX24" fmla="*/ 4056023 w 4122147"/>
                <a:gd name="connsiteY24" fmla="*/ 5511 h 2615837"/>
                <a:gd name="connsiteX25" fmla="*/ 597969 w 4122147"/>
                <a:gd name="connsiteY25" fmla="*/ 2168281 h 2615837"/>
                <a:gd name="connsiteX26" fmla="*/ 1051670 w 4122147"/>
                <a:gd name="connsiteY26" fmla="*/ 136598 h 2615837"/>
                <a:gd name="connsiteX27" fmla="*/ 1271988 w 4122147"/>
                <a:gd name="connsiteY27" fmla="*/ 134704 h 2615837"/>
                <a:gd name="connsiteX28" fmla="*/ 1902213 w 4122147"/>
                <a:gd name="connsiteY28" fmla="*/ 2203040 h 2615837"/>
                <a:gd name="connsiteX29" fmla="*/ 1777616 w 4122147"/>
                <a:gd name="connsiteY29" fmla="*/ 134103 h 2615837"/>
                <a:gd name="connsiteX30" fmla="*/ 2026811 w 4122147"/>
                <a:gd name="connsiteY30" fmla="*/ 134103 h 2615837"/>
                <a:gd name="connsiteX31" fmla="*/ 2802326 w 4122147"/>
                <a:gd name="connsiteY31" fmla="*/ 2203040 h 2615837"/>
                <a:gd name="connsiteX32" fmla="*/ 2677728 w 4122147"/>
                <a:gd name="connsiteY32" fmla="*/ 134103 h 2615837"/>
                <a:gd name="connsiteX33" fmla="*/ 2926924 w 4122147"/>
                <a:gd name="connsiteY33" fmla="*/ 134103 h 2615837"/>
                <a:gd name="connsiteX34" fmla="*/ 3702438 w 4122147"/>
                <a:gd name="connsiteY34" fmla="*/ 2203040 h 2615837"/>
                <a:gd name="connsiteX35" fmla="*/ 3577841 w 4122147"/>
                <a:gd name="connsiteY35" fmla="*/ 134103 h 2615837"/>
                <a:gd name="connsiteX36" fmla="*/ 3827036 w 4122147"/>
                <a:gd name="connsiteY36" fmla="*/ 134103 h 2615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122147" h="2615837">
                  <a:moveTo>
                    <a:pt x="4056017" y="5512"/>
                  </a:moveTo>
                  <a:lnTo>
                    <a:pt x="69805" y="5512"/>
                  </a:lnTo>
                  <a:cubicBezTo>
                    <a:pt x="34300" y="5512"/>
                    <a:pt x="5511" y="34301"/>
                    <a:pt x="5511" y="69806"/>
                  </a:cubicBezTo>
                  <a:cubicBezTo>
                    <a:pt x="5511" y="105311"/>
                    <a:pt x="34300" y="134100"/>
                    <a:pt x="69805" y="134100"/>
                  </a:cubicBezTo>
                  <a:lnTo>
                    <a:pt x="920466" y="134100"/>
                  </a:lnTo>
                  <a:lnTo>
                    <a:pt x="374689" y="2578070"/>
                  </a:lnTo>
                  <a:cubicBezTo>
                    <a:pt x="380258" y="2577898"/>
                    <a:pt x="385711" y="2577238"/>
                    <a:pt x="391308" y="2577238"/>
                  </a:cubicBezTo>
                  <a:cubicBezTo>
                    <a:pt x="457812" y="2577238"/>
                    <a:pt x="523657" y="2590240"/>
                    <a:pt x="585166" y="2615470"/>
                  </a:cubicBezTo>
                  <a:lnTo>
                    <a:pt x="1407686" y="134098"/>
                  </a:lnTo>
                  <a:lnTo>
                    <a:pt x="1648813" y="134098"/>
                  </a:lnTo>
                  <a:lnTo>
                    <a:pt x="1796600" y="2588283"/>
                  </a:lnTo>
                  <a:lnTo>
                    <a:pt x="1796572" y="2588283"/>
                  </a:lnTo>
                  <a:cubicBezTo>
                    <a:pt x="1866233" y="2573616"/>
                    <a:pt x="1938165" y="2573616"/>
                    <a:pt x="2007793" y="2588283"/>
                  </a:cubicBezTo>
                  <a:lnTo>
                    <a:pt x="2155610" y="134098"/>
                  </a:lnTo>
                  <a:lnTo>
                    <a:pt x="2548889" y="134098"/>
                  </a:lnTo>
                  <a:lnTo>
                    <a:pt x="2696677" y="2588283"/>
                  </a:lnTo>
                  <a:cubicBezTo>
                    <a:pt x="2766338" y="2573616"/>
                    <a:pt x="2838270" y="2573616"/>
                    <a:pt x="2907898" y="2588283"/>
                  </a:cubicBezTo>
                  <a:lnTo>
                    <a:pt x="3055715" y="134098"/>
                  </a:lnTo>
                  <a:lnTo>
                    <a:pt x="3448995" y="134098"/>
                  </a:lnTo>
                  <a:lnTo>
                    <a:pt x="3596782" y="2588283"/>
                  </a:lnTo>
                  <a:cubicBezTo>
                    <a:pt x="3666444" y="2573616"/>
                    <a:pt x="3738375" y="2573616"/>
                    <a:pt x="3808003" y="2588283"/>
                  </a:cubicBezTo>
                  <a:lnTo>
                    <a:pt x="3955820" y="134098"/>
                  </a:lnTo>
                  <a:lnTo>
                    <a:pt x="4056023" y="134098"/>
                  </a:lnTo>
                  <a:cubicBezTo>
                    <a:pt x="4091528" y="134098"/>
                    <a:pt x="4120317" y="105309"/>
                    <a:pt x="4120317" y="69805"/>
                  </a:cubicBezTo>
                  <a:cubicBezTo>
                    <a:pt x="4120317" y="34300"/>
                    <a:pt x="4091528" y="5511"/>
                    <a:pt x="4056023" y="5511"/>
                  </a:cubicBezTo>
                  <a:close/>
                  <a:moveTo>
                    <a:pt x="597969" y="2168281"/>
                  </a:moveTo>
                  <a:lnTo>
                    <a:pt x="1051670" y="136598"/>
                  </a:lnTo>
                  <a:lnTo>
                    <a:pt x="1271988" y="134704"/>
                  </a:lnTo>
                  <a:close/>
                  <a:moveTo>
                    <a:pt x="1902213" y="2203040"/>
                  </a:moveTo>
                  <a:lnTo>
                    <a:pt x="1777616" y="134103"/>
                  </a:lnTo>
                  <a:lnTo>
                    <a:pt x="2026811" y="134103"/>
                  </a:lnTo>
                  <a:close/>
                  <a:moveTo>
                    <a:pt x="2802326" y="2203040"/>
                  </a:moveTo>
                  <a:lnTo>
                    <a:pt x="2677728" y="134103"/>
                  </a:lnTo>
                  <a:lnTo>
                    <a:pt x="2926924" y="134103"/>
                  </a:lnTo>
                  <a:close/>
                  <a:moveTo>
                    <a:pt x="3702438" y="2203040"/>
                  </a:moveTo>
                  <a:lnTo>
                    <a:pt x="3577841" y="134103"/>
                  </a:lnTo>
                  <a:lnTo>
                    <a:pt x="3827036" y="1341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527CBC0A-A5D9-DB82-4441-F28754C2A444}"/>
                </a:ext>
              </a:extLst>
            </p:cNvPr>
            <p:cNvSpPr/>
            <p:nvPr/>
          </p:nvSpPr>
          <p:spPr>
            <a:xfrm>
              <a:off x="12796197" y="3016295"/>
              <a:ext cx="778873" cy="778873"/>
            </a:xfrm>
            <a:custGeom>
              <a:avLst/>
              <a:gdLst>
                <a:gd name="connsiteX0" fmla="*/ 391273 w 778872"/>
                <a:gd name="connsiteY0" fmla="*/ 5511 h 778872"/>
                <a:gd name="connsiteX1" fmla="*/ 118484 w 778872"/>
                <a:gd name="connsiteY1" fmla="*/ 118484 h 778872"/>
                <a:gd name="connsiteX2" fmla="*/ 5511 w 778872"/>
                <a:gd name="connsiteY2" fmla="*/ 391273 h 778872"/>
                <a:gd name="connsiteX3" fmla="*/ 118484 w 778872"/>
                <a:gd name="connsiteY3" fmla="*/ 664063 h 778872"/>
                <a:gd name="connsiteX4" fmla="*/ 391273 w 778872"/>
                <a:gd name="connsiteY4" fmla="*/ 777036 h 778872"/>
                <a:gd name="connsiteX5" fmla="*/ 664063 w 778872"/>
                <a:gd name="connsiteY5" fmla="*/ 664063 h 778872"/>
                <a:gd name="connsiteX6" fmla="*/ 777036 w 778872"/>
                <a:gd name="connsiteY6" fmla="*/ 391273 h 778872"/>
                <a:gd name="connsiteX7" fmla="*/ 663916 w 778872"/>
                <a:gd name="connsiteY7" fmla="*/ 118631 h 778872"/>
                <a:gd name="connsiteX8" fmla="*/ 391273 w 778872"/>
                <a:gd name="connsiteY8" fmla="*/ 5511 h 778872"/>
                <a:gd name="connsiteX9" fmla="*/ 391273 w 778872"/>
                <a:gd name="connsiteY9" fmla="*/ 648448 h 778872"/>
                <a:gd name="connsiteX10" fmla="*/ 209414 w 778872"/>
                <a:gd name="connsiteY10" fmla="*/ 573133 h 778872"/>
                <a:gd name="connsiteX11" fmla="*/ 134098 w 778872"/>
                <a:gd name="connsiteY11" fmla="*/ 391273 h 778872"/>
                <a:gd name="connsiteX12" fmla="*/ 209414 w 778872"/>
                <a:gd name="connsiteY12" fmla="*/ 209414 h 778872"/>
                <a:gd name="connsiteX13" fmla="*/ 391273 w 778872"/>
                <a:gd name="connsiteY13" fmla="*/ 134098 h 778872"/>
                <a:gd name="connsiteX14" fmla="*/ 573133 w 778872"/>
                <a:gd name="connsiteY14" fmla="*/ 209414 h 778872"/>
                <a:gd name="connsiteX15" fmla="*/ 648448 w 778872"/>
                <a:gd name="connsiteY15" fmla="*/ 391273 h 778872"/>
                <a:gd name="connsiteX16" fmla="*/ 573045 w 778872"/>
                <a:gd name="connsiteY16" fmla="*/ 573045 h 778872"/>
                <a:gd name="connsiteX17" fmla="*/ 391273 w 778872"/>
                <a:gd name="connsiteY17" fmla="*/ 648448 h 778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778872" h="778872">
                  <a:moveTo>
                    <a:pt x="391273" y="5511"/>
                  </a:moveTo>
                  <a:cubicBezTo>
                    <a:pt x="288947" y="5511"/>
                    <a:pt x="190846" y="46153"/>
                    <a:pt x="118484" y="118484"/>
                  </a:cubicBezTo>
                  <a:cubicBezTo>
                    <a:pt x="46153" y="190844"/>
                    <a:pt x="5511" y="288947"/>
                    <a:pt x="5511" y="391273"/>
                  </a:cubicBezTo>
                  <a:cubicBezTo>
                    <a:pt x="5511" y="493600"/>
                    <a:pt x="46153" y="591701"/>
                    <a:pt x="118484" y="664063"/>
                  </a:cubicBezTo>
                  <a:cubicBezTo>
                    <a:pt x="190844" y="736394"/>
                    <a:pt x="288947" y="777036"/>
                    <a:pt x="391273" y="777036"/>
                  </a:cubicBezTo>
                  <a:cubicBezTo>
                    <a:pt x="493600" y="777036"/>
                    <a:pt x="591701" y="736394"/>
                    <a:pt x="664063" y="664063"/>
                  </a:cubicBezTo>
                  <a:cubicBezTo>
                    <a:pt x="736394" y="591703"/>
                    <a:pt x="777036" y="493600"/>
                    <a:pt x="777036" y="391273"/>
                  </a:cubicBezTo>
                  <a:cubicBezTo>
                    <a:pt x="776921" y="289006"/>
                    <a:pt x="736250" y="190956"/>
                    <a:pt x="663916" y="118631"/>
                  </a:cubicBezTo>
                  <a:cubicBezTo>
                    <a:pt x="591582" y="46306"/>
                    <a:pt x="493533" y="5628"/>
                    <a:pt x="391273" y="5511"/>
                  </a:cubicBezTo>
                  <a:close/>
                  <a:moveTo>
                    <a:pt x="391273" y="648448"/>
                  </a:moveTo>
                  <a:cubicBezTo>
                    <a:pt x="323077" y="648448"/>
                    <a:pt x="257660" y="621353"/>
                    <a:pt x="209414" y="573133"/>
                  </a:cubicBezTo>
                  <a:cubicBezTo>
                    <a:pt x="161194" y="524884"/>
                    <a:pt x="134098" y="459469"/>
                    <a:pt x="134098" y="391273"/>
                  </a:cubicBezTo>
                  <a:cubicBezTo>
                    <a:pt x="134098" y="323078"/>
                    <a:pt x="161194" y="257660"/>
                    <a:pt x="209414" y="209414"/>
                  </a:cubicBezTo>
                  <a:cubicBezTo>
                    <a:pt x="257663" y="161194"/>
                    <a:pt x="323078" y="134098"/>
                    <a:pt x="391273" y="134098"/>
                  </a:cubicBezTo>
                  <a:cubicBezTo>
                    <a:pt x="459469" y="134098"/>
                    <a:pt x="524887" y="161194"/>
                    <a:pt x="573133" y="209414"/>
                  </a:cubicBezTo>
                  <a:cubicBezTo>
                    <a:pt x="621353" y="257663"/>
                    <a:pt x="648448" y="323078"/>
                    <a:pt x="648448" y="391273"/>
                  </a:cubicBezTo>
                  <a:cubicBezTo>
                    <a:pt x="648362" y="459470"/>
                    <a:pt x="621238" y="524828"/>
                    <a:pt x="573045" y="573045"/>
                  </a:cubicBezTo>
                  <a:cubicBezTo>
                    <a:pt x="524824" y="621236"/>
                    <a:pt x="459469" y="648360"/>
                    <a:pt x="391273" y="64844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A29D27AC-3BEC-5346-51A5-93635FB2C6D8}"/>
                </a:ext>
              </a:extLst>
            </p:cNvPr>
            <p:cNvSpPr/>
            <p:nvPr/>
          </p:nvSpPr>
          <p:spPr>
            <a:xfrm>
              <a:off x="9485106" y="3016295"/>
              <a:ext cx="778873" cy="778873"/>
            </a:xfrm>
            <a:custGeom>
              <a:avLst/>
              <a:gdLst>
                <a:gd name="connsiteX0" fmla="*/ 391273 w 778872"/>
                <a:gd name="connsiteY0" fmla="*/ 5511 h 778872"/>
                <a:gd name="connsiteX1" fmla="*/ 118484 w 778872"/>
                <a:gd name="connsiteY1" fmla="*/ 118484 h 778872"/>
                <a:gd name="connsiteX2" fmla="*/ 5511 w 778872"/>
                <a:gd name="connsiteY2" fmla="*/ 391273 h 778872"/>
                <a:gd name="connsiteX3" fmla="*/ 118484 w 778872"/>
                <a:gd name="connsiteY3" fmla="*/ 664063 h 778872"/>
                <a:gd name="connsiteX4" fmla="*/ 391273 w 778872"/>
                <a:gd name="connsiteY4" fmla="*/ 777036 h 778872"/>
                <a:gd name="connsiteX5" fmla="*/ 664063 w 778872"/>
                <a:gd name="connsiteY5" fmla="*/ 664063 h 778872"/>
                <a:gd name="connsiteX6" fmla="*/ 777036 w 778872"/>
                <a:gd name="connsiteY6" fmla="*/ 391273 h 778872"/>
                <a:gd name="connsiteX7" fmla="*/ 663916 w 778872"/>
                <a:gd name="connsiteY7" fmla="*/ 118631 h 778872"/>
                <a:gd name="connsiteX8" fmla="*/ 391273 w 778872"/>
                <a:gd name="connsiteY8" fmla="*/ 5511 h 778872"/>
                <a:gd name="connsiteX9" fmla="*/ 391273 w 778872"/>
                <a:gd name="connsiteY9" fmla="*/ 648448 h 778872"/>
                <a:gd name="connsiteX10" fmla="*/ 209414 w 778872"/>
                <a:gd name="connsiteY10" fmla="*/ 573133 h 778872"/>
                <a:gd name="connsiteX11" fmla="*/ 134098 w 778872"/>
                <a:gd name="connsiteY11" fmla="*/ 391273 h 778872"/>
                <a:gd name="connsiteX12" fmla="*/ 209414 w 778872"/>
                <a:gd name="connsiteY12" fmla="*/ 209414 h 778872"/>
                <a:gd name="connsiteX13" fmla="*/ 391273 w 778872"/>
                <a:gd name="connsiteY13" fmla="*/ 134098 h 778872"/>
                <a:gd name="connsiteX14" fmla="*/ 573133 w 778872"/>
                <a:gd name="connsiteY14" fmla="*/ 209414 h 778872"/>
                <a:gd name="connsiteX15" fmla="*/ 648448 w 778872"/>
                <a:gd name="connsiteY15" fmla="*/ 391273 h 778872"/>
                <a:gd name="connsiteX16" fmla="*/ 573045 w 778872"/>
                <a:gd name="connsiteY16" fmla="*/ 573045 h 778872"/>
                <a:gd name="connsiteX17" fmla="*/ 391273 w 778872"/>
                <a:gd name="connsiteY17" fmla="*/ 648448 h 778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778872" h="778872">
                  <a:moveTo>
                    <a:pt x="391273" y="5511"/>
                  </a:moveTo>
                  <a:cubicBezTo>
                    <a:pt x="288947" y="5511"/>
                    <a:pt x="190846" y="46153"/>
                    <a:pt x="118484" y="118484"/>
                  </a:cubicBezTo>
                  <a:cubicBezTo>
                    <a:pt x="46153" y="190844"/>
                    <a:pt x="5511" y="288947"/>
                    <a:pt x="5511" y="391273"/>
                  </a:cubicBezTo>
                  <a:cubicBezTo>
                    <a:pt x="5511" y="493600"/>
                    <a:pt x="46153" y="591701"/>
                    <a:pt x="118484" y="664063"/>
                  </a:cubicBezTo>
                  <a:cubicBezTo>
                    <a:pt x="190844" y="736394"/>
                    <a:pt x="288947" y="777036"/>
                    <a:pt x="391273" y="777036"/>
                  </a:cubicBezTo>
                  <a:cubicBezTo>
                    <a:pt x="493600" y="777036"/>
                    <a:pt x="591701" y="736394"/>
                    <a:pt x="664063" y="664063"/>
                  </a:cubicBezTo>
                  <a:cubicBezTo>
                    <a:pt x="736393" y="591703"/>
                    <a:pt x="777036" y="493600"/>
                    <a:pt x="777036" y="391273"/>
                  </a:cubicBezTo>
                  <a:cubicBezTo>
                    <a:pt x="776921" y="289006"/>
                    <a:pt x="736249" y="190956"/>
                    <a:pt x="663916" y="118631"/>
                  </a:cubicBezTo>
                  <a:cubicBezTo>
                    <a:pt x="591582" y="46306"/>
                    <a:pt x="493534" y="5628"/>
                    <a:pt x="391273" y="5511"/>
                  </a:cubicBezTo>
                  <a:close/>
                  <a:moveTo>
                    <a:pt x="391273" y="648448"/>
                  </a:moveTo>
                  <a:cubicBezTo>
                    <a:pt x="323077" y="648448"/>
                    <a:pt x="257660" y="621353"/>
                    <a:pt x="209414" y="573133"/>
                  </a:cubicBezTo>
                  <a:cubicBezTo>
                    <a:pt x="161194" y="524884"/>
                    <a:pt x="134098" y="459469"/>
                    <a:pt x="134098" y="391273"/>
                  </a:cubicBezTo>
                  <a:cubicBezTo>
                    <a:pt x="134098" y="323078"/>
                    <a:pt x="161194" y="257660"/>
                    <a:pt x="209414" y="209414"/>
                  </a:cubicBezTo>
                  <a:cubicBezTo>
                    <a:pt x="257663" y="161194"/>
                    <a:pt x="323078" y="134098"/>
                    <a:pt x="391273" y="134098"/>
                  </a:cubicBezTo>
                  <a:cubicBezTo>
                    <a:pt x="459469" y="134098"/>
                    <a:pt x="524887" y="161194"/>
                    <a:pt x="573133" y="209414"/>
                  </a:cubicBezTo>
                  <a:cubicBezTo>
                    <a:pt x="621353" y="257663"/>
                    <a:pt x="648448" y="323078"/>
                    <a:pt x="648448" y="391273"/>
                  </a:cubicBezTo>
                  <a:cubicBezTo>
                    <a:pt x="648362" y="459470"/>
                    <a:pt x="621239" y="524828"/>
                    <a:pt x="573045" y="573045"/>
                  </a:cubicBezTo>
                  <a:cubicBezTo>
                    <a:pt x="524824" y="621236"/>
                    <a:pt x="459469" y="648360"/>
                    <a:pt x="391273" y="64844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964A7CD-253E-020C-BE25-7BA1865FE724}"/>
                </a:ext>
              </a:extLst>
            </p:cNvPr>
            <p:cNvSpPr/>
            <p:nvPr/>
          </p:nvSpPr>
          <p:spPr>
            <a:xfrm>
              <a:off x="10995972" y="3016295"/>
              <a:ext cx="778873" cy="778873"/>
            </a:xfrm>
            <a:custGeom>
              <a:avLst/>
              <a:gdLst>
                <a:gd name="connsiteX0" fmla="*/ 391273 w 778872"/>
                <a:gd name="connsiteY0" fmla="*/ 5511 h 778872"/>
                <a:gd name="connsiteX1" fmla="*/ 118484 w 778872"/>
                <a:gd name="connsiteY1" fmla="*/ 118484 h 778872"/>
                <a:gd name="connsiteX2" fmla="*/ 5511 w 778872"/>
                <a:gd name="connsiteY2" fmla="*/ 391273 h 778872"/>
                <a:gd name="connsiteX3" fmla="*/ 118484 w 778872"/>
                <a:gd name="connsiteY3" fmla="*/ 664063 h 778872"/>
                <a:gd name="connsiteX4" fmla="*/ 391273 w 778872"/>
                <a:gd name="connsiteY4" fmla="*/ 777036 h 778872"/>
                <a:gd name="connsiteX5" fmla="*/ 664063 w 778872"/>
                <a:gd name="connsiteY5" fmla="*/ 664063 h 778872"/>
                <a:gd name="connsiteX6" fmla="*/ 777036 w 778872"/>
                <a:gd name="connsiteY6" fmla="*/ 391273 h 778872"/>
                <a:gd name="connsiteX7" fmla="*/ 663916 w 778872"/>
                <a:gd name="connsiteY7" fmla="*/ 118631 h 778872"/>
                <a:gd name="connsiteX8" fmla="*/ 391273 w 778872"/>
                <a:gd name="connsiteY8" fmla="*/ 5511 h 778872"/>
                <a:gd name="connsiteX9" fmla="*/ 391273 w 778872"/>
                <a:gd name="connsiteY9" fmla="*/ 648448 h 778872"/>
                <a:gd name="connsiteX10" fmla="*/ 209414 w 778872"/>
                <a:gd name="connsiteY10" fmla="*/ 573133 h 778872"/>
                <a:gd name="connsiteX11" fmla="*/ 134098 w 778872"/>
                <a:gd name="connsiteY11" fmla="*/ 391273 h 778872"/>
                <a:gd name="connsiteX12" fmla="*/ 209414 w 778872"/>
                <a:gd name="connsiteY12" fmla="*/ 209414 h 778872"/>
                <a:gd name="connsiteX13" fmla="*/ 391273 w 778872"/>
                <a:gd name="connsiteY13" fmla="*/ 134098 h 778872"/>
                <a:gd name="connsiteX14" fmla="*/ 573133 w 778872"/>
                <a:gd name="connsiteY14" fmla="*/ 209414 h 778872"/>
                <a:gd name="connsiteX15" fmla="*/ 648448 w 778872"/>
                <a:gd name="connsiteY15" fmla="*/ 391273 h 778872"/>
                <a:gd name="connsiteX16" fmla="*/ 573045 w 778872"/>
                <a:gd name="connsiteY16" fmla="*/ 573045 h 778872"/>
                <a:gd name="connsiteX17" fmla="*/ 391273 w 778872"/>
                <a:gd name="connsiteY17" fmla="*/ 648448 h 778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778872" h="778872">
                  <a:moveTo>
                    <a:pt x="391273" y="5511"/>
                  </a:moveTo>
                  <a:cubicBezTo>
                    <a:pt x="288947" y="5511"/>
                    <a:pt x="190846" y="46153"/>
                    <a:pt x="118484" y="118484"/>
                  </a:cubicBezTo>
                  <a:cubicBezTo>
                    <a:pt x="46154" y="190844"/>
                    <a:pt x="5511" y="288947"/>
                    <a:pt x="5511" y="391273"/>
                  </a:cubicBezTo>
                  <a:cubicBezTo>
                    <a:pt x="5511" y="493600"/>
                    <a:pt x="46154" y="591701"/>
                    <a:pt x="118484" y="664063"/>
                  </a:cubicBezTo>
                  <a:cubicBezTo>
                    <a:pt x="190844" y="736394"/>
                    <a:pt x="288947" y="777036"/>
                    <a:pt x="391273" y="777036"/>
                  </a:cubicBezTo>
                  <a:cubicBezTo>
                    <a:pt x="493600" y="777036"/>
                    <a:pt x="591701" y="736394"/>
                    <a:pt x="664063" y="664063"/>
                  </a:cubicBezTo>
                  <a:cubicBezTo>
                    <a:pt x="736394" y="591703"/>
                    <a:pt x="777036" y="493600"/>
                    <a:pt x="777036" y="391273"/>
                  </a:cubicBezTo>
                  <a:cubicBezTo>
                    <a:pt x="776921" y="289006"/>
                    <a:pt x="736250" y="190956"/>
                    <a:pt x="663916" y="118631"/>
                  </a:cubicBezTo>
                  <a:cubicBezTo>
                    <a:pt x="591582" y="46306"/>
                    <a:pt x="493533" y="5628"/>
                    <a:pt x="391273" y="5511"/>
                  </a:cubicBezTo>
                  <a:close/>
                  <a:moveTo>
                    <a:pt x="391273" y="648448"/>
                  </a:moveTo>
                  <a:cubicBezTo>
                    <a:pt x="323077" y="648448"/>
                    <a:pt x="257660" y="621353"/>
                    <a:pt x="209414" y="573133"/>
                  </a:cubicBezTo>
                  <a:cubicBezTo>
                    <a:pt x="161194" y="524884"/>
                    <a:pt x="134098" y="459469"/>
                    <a:pt x="134098" y="391273"/>
                  </a:cubicBezTo>
                  <a:cubicBezTo>
                    <a:pt x="134098" y="323078"/>
                    <a:pt x="161194" y="257660"/>
                    <a:pt x="209414" y="209414"/>
                  </a:cubicBezTo>
                  <a:cubicBezTo>
                    <a:pt x="257663" y="161194"/>
                    <a:pt x="323078" y="134098"/>
                    <a:pt x="391273" y="134098"/>
                  </a:cubicBezTo>
                  <a:cubicBezTo>
                    <a:pt x="459469" y="134098"/>
                    <a:pt x="524887" y="161194"/>
                    <a:pt x="573133" y="209414"/>
                  </a:cubicBezTo>
                  <a:cubicBezTo>
                    <a:pt x="621353" y="257663"/>
                    <a:pt x="648448" y="323078"/>
                    <a:pt x="648448" y="391273"/>
                  </a:cubicBezTo>
                  <a:cubicBezTo>
                    <a:pt x="648362" y="459470"/>
                    <a:pt x="621239" y="524828"/>
                    <a:pt x="573045" y="573045"/>
                  </a:cubicBezTo>
                  <a:cubicBezTo>
                    <a:pt x="524824" y="621236"/>
                    <a:pt x="459469" y="648360"/>
                    <a:pt x="391273" y="64844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EA13A8FE-2F2F-8F4F-8A15-83E950CDEABF}"/>
                </a:ext>
              </a:extLst>
            </p:cNvPr>
            <p:cNvSpPr/>
            <p:nvPr/>
          </p:nvSpPr>
          <p:spPr>
            <a:xfrm>
              <a:off x="11896085" y="3016295"/>
              <a:ext cx="778873" cy="778873"/>
            </a:xfrm>
            <a:custGeom>
              <a:avLst/>
              <a:gdLst>
                <a:gd name="connsiteX0" fmla="*/ 391273 w 778872"/>
                <a:gd name="connsiteY0" fmla="*/ 5511 h 778872"/>
                <a:gd name="connsiteX1" fmla="*/ 118484 w 778872"/>
                <a:gd name="connsiteY1" fmla="*/ 118484 h 778872"/>
                <a:gd name="connsiteX2" fmla="*/ 5511 w 778872"/>
                <a:gd name="connsiteY2" fmla="*/ 391273 h 778872"/>
                <a:gd name="connsiteX3" fmla="*/ 118484 w 778872"/>
                <a:gd name="connsiteY3" fmla="*/ 664063 h 778872"/>
                <a:gd name="connsiteX4" fmla="*/ 391273 w 778872"/>
                <a:gd name="connsiteY4" fmla="*/ 777036 h 778872"/>
                <a:gd name="connsiteX5" fmla="*/ 664063 w 778872"/>
                <a:gd name="connsiteY5" fmla="*/ 664063 h 778872"/>
                <a:gd name="connsiteX6" fmla="*/ 777036 w 778872"/>
                <a:gd name="connsiteY6" fmla="*/ 391273 h 778872"/>
                <a:gd name="connsiteX7" fmla="*/ 663916 w 778872"/>
                <a:gd name="connsiteY7" fmla="*/ 118631 h 778872"/>
                <a:gd name="connsiteX8" fmla="*/ 391273 w 778872"/>
                <a:gd name="connsiteY8" fmla="*/ 5511 h 778872"/>
                <a:gd name="connsiteX9" fmla="*/ 391273 w 778872"/>
                <a:gd name="connsiteY9" fmla="*/ 648448 h 778872"/>
                <a:gd name="connsiteX10" fmla="*/ 209414 w 778872"/>
                <a:gd name="connsiteY10" fmla="*/ 573133 h 778872"/>
                <a:gd name="connsiteX11" fmla="*/ 134098 w 778872"/>
                <a:gd name="connsiteY11" fmla="*/ 391273 h 778872"/>
                <a:gd name="connsiteX12" fmla="*/ 209414 w 778872"/>
                <a:gd name="connsiteY12" fmla="*/ 209414 h 778872"/>
                <a:gd name="connsiteX13" fmla="*/ 391273 w 778872"/>
                <a:gd name="connsiteY13" fmla="*/ 134098 h 778872"/>
                <a:gd name="connsiteX14" fmla="*/ 573133 w 778872"/>
                <a:gd name="connsiteY14" fmla="*/ 209414 h 778872"/>
                <a:gd name="connsiteX15" fmla="*/ 648448 w 778872"/>
                <a:gd name="connsiteY15" fmla="*/ 391273 h 778872"/>
                <a:gd name="connsiteX16" fmla="*/ 573045 w 778872"/>
                <a:gd name="connsiteY16" fmla="*/ 573045 h 778872"/>
                <a:gd name="connsiteX17" fmla="*/ 391273 w 778872"/>
                <a:gd name="connsiteY17" fmla="*/ 648448 h 778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778872" h="778872">
                  <a:moveTo>
                    <a:pt x="391273" y="5511"/>
                  </a:moveTo>
                  <a:cubicBezTo>
                    <a:pt x="288947" y="5511"/>
                    <a:pt x="190846" y="46153"/>
                    <a:pt x="118484" y="118484"/>
                  </a:cubicBezTo>
                  <a:cubicBezTo>
                    <a:pt x="46154" y="190844"/>
                    <a:pt x="5511" y="288947"/>
                    <a:pt x="5511" y="391273"/>
                  </a:cubicBezTo>
                  <a:cubicBezTo>
                    <a:pt x="5511" y="493600"/>
                    <a:pt x="46154" y="591701"/>
                    <a:pt x="118484" y="664063"/>
                  </a:cubicBezTo>
                  <a:cubicBezTo>
                    <a:pt x="190844" y="736394"/>
                    <a:pt x="288947" y="777036"/>
                    <a:pt x="391273" y="777036"/>
                  </a:cubicBezTo>
                  <a:cubicBezTo>
                    <a:pt x="493600" y="777036"/>
                    <a:pt x="591701" y="736394"/>
                    <a:pt x="664063" y="664063"/>
                  </a:cubicBezTo>
                  <a:cubicBezTo>
                    <a:pt x="736394" y="591703"/>
                    <a:pt x="777036" y="493600"/>
                    <a:pt x="777036" y="391273"/>
                  </a:cubicBezTo>
                  <a:cubicBezTo>
                    <a:pt x="776921" y="289006"/>
                    <a:pt x="736250" y="190956"/>
                    <a:pt x="663916" y="118631"/>
                  </a:cubicBezTo>
                  <a:cubicBezTo>
                    <a:pt x="591582" y="46306"/>
                    <a:pt x="493533" y="5628"/>
                    <a:pt x="391273" y="5511"/>
                  </a:cubicBezTo>
                  <a:close/>
                  <a:moveTo>
                    <a:pt x="391273" y="648448"/>
                  </a:moveTo>
                  <a:cubicBezTo>
                    <a:pt x="323077" y="648448"/>
                    <a:pt x="257660" y="621353"/>
                    <a:pt x="209414" y="573133"/>
                  </a:cubicBezTo>
                  <a:cubicBezTo>
                    <a:pt x="161194" y="524884"/>
                    <a:pt x="134098" y="459469"/>
                    <a:pt x="134098" y="391273"/>
                  </a:cubicBezTo>
                  <a:cubicBezTo>
                    <a:pt x="134098" y="323078"/>
                    <a:pt x="161194" y="257660"/>
                    <a:pt x="209414" y="209414"/>
                  </a:cubicBezTo>
                  <a:cubicBezTo>
                    <a:pt x="257663" y="161194"/>
                    <a:pt x="323078" y="134098"/>
                    <a:pt x="391273" y="134098"/>
                  </a:cubicBezTo>
                  <a:cubicBezTo>
                    <a:pt x="459469" y="134098"/>
                    <a:pt x="524887" y="161194"/>
                    <a:pt x="573133" y="209414"/>
                  </a:cubicBezTo>
                  <a:cubicBezTo>
                    <a:pt x="621353" y="257663"/>
                    <a:pt x="648448" y="323078"/>
                    <a:pt x="648448" y="391273"/>
                  </a:cubicBezTo>
                  <a:cubicBezTo>
                    <a:pt x="648362" y="459470"/>
                    <a:pt x="621239" y="524828"/>
                    <a:pt x="573045" y="573045"/>
                  </a:cubicBezTo>
                  <a:cubicBezTo>
                    <a:pt x="524824" y="621236"/>
                    <a:pt x="459469" y="648360"/>
                    <a:pt x="391273" y="64844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</p:grpSp>
      <p:sp>
        <p:nvSpPr>
          <p:cNvPr id="61" name="Freeform: Shape 60">
            <a:extLst>
              <a:ext uri="{FF2B5EF4-FFF2-40B4-BE49-F238E27FC236}">
                <a16:creationId xmlns:a16="http://schemas.microsoft.com/office/drawing/2014/main" id="{47EFCE8C-1235-FE98-072B-6519F32C4753}"/>
              </a:ext>
            </a:extLst>
          </p:cNvPr>
          <p:cNvSpPr>
            <a:spLocks noChangeAspect="1"/>
          </p:cNvSpPr>
          <p:nvPr/>
        </p:nvSpPr>
        <p:spPr>
          <a:xfrm>
            <a:off x="520684" y="5216750"/>
            <a:ext cx="706181" cy="441856"/>
          </a:xfrm>
          <a:custGeom>
            <a:avLst/>
            <a:gdLst>
              <a:gd name="connsiteX0" fmla="*/ 4230050 w 4243973"/>
              <a:gd name="connsiteY0" fmla="*/ 1301403 h 2655443"/>
              <a:gd name="connsiteX1" fmla="*/ 3513516 w 4243973"/>
              <a:gd name="connsiteY1" fmla="*/ 40608 h 2655443"/>
              <a:gd name="connsiteX2" fmla="*/ 3403798 w 4243973"/>
              <a:gd name="connsiteY2" fmla="*/ 8806 h 2655443"/>
              <a:gd name="connsiteX3" fmla="*/ 3074594 w 4243973"/>
              <a:gd name="connsiteY3" fmla="*/ 196441 h 2655443"/>
              <a:gd name="connsiteX4" fmla="*/ 3042754 w 4243973"/>
              <a:gd name="connsiteY4" fmla="*/ 312742 h 2655443"/>
              <a:gd name="connsiteX5" fmla="*/ 3108617 w 4243973"/>
              <a:gd name="connsiteY5" fmla="*/ 445504 h 2655443"/>
              <a:gd name="connsiteX6" fmla="*/ 2949492 w 4243973"/>
              <a:gd name="connsiteY6" fmla="*/ 483927 h 2655443"/>
              <a:gd name="connsiteX7" fmla="*/ 2795872 w 4243973"/>
              <a:gd name="connsiteY7" fmla="*/ 448795 h 2655443"/>
              <a:gd name="connsiteX8" fmla="*/ 1756787 w 4243973"/>
              <a:gd name="connsiteY8" fmla="*/ 448795 h 2655443"/>
              <a:gd name="connsiteX9" fmla="*/ 1549402 w 4243973"/>
              <a:gd name="connsiteY9" fmla="*/ 577187 h 2655443"/>
              <a:gd name="connsiteX10" fmla="*/ 1363942 w 4243973"/>
              <a:gd name="connsiteY10" fmla="*/ 553039 h 2655443"/>
              <a:gd name="connsiteX11" fmla="*/ 1156556 w 4243973"/>
              <a:gd name="connsiteY11" fmla="*/ 414811 h 2655443"/>
              <a:gd name="connsiteX12" fmla="*/ 1202633 w 4243973"/>
              <a:gd name="connsiteY12" fmla="*/ 333602 h 2655443"/>
              <a:gd name="connsiteX13" fmla="*/ 1202671 w 4243973"/>
              <a:gd name="connsiteY13" fmla="*/ 333602 h 2655443"/>
              <a:gd name="connsiteX14" fmla="*/ 1170830 w 4243973"/>
              <a:gd name="connsiteY14" fmla="*/ 217300 h 2655443"/>
              <a:gd name="connsiteX15" fmla="*/ 841627 w 4243973"/>
              <a:gd name="connsiteY15" fmla="*/ 29665 h 2655443"/>
              <a:gd name="connsiteX16" fmla="*/ 776912 w 4243973"/>
              <a:gd name="connsiteY16" fmla="*/ 21973 h 2655443"/>
              <a:gd name="connsiteX17" fmla="*/ 725324 w 4243973"/>
              <a:gd name="connsiteY17" fmla="*/ 61467 h 2655443"/>
              <a:gd name="connsiteX18" fmla="*/ 11014 w 4243973"/>
              <a:gd name="connsiteY18" fmla="*/ 1323339 h 2655443"/>
              <a:gd name="connsiteX19" fmla="*/ 3322 w 4243973"/>
              <a:gd name="connsiteY19" fmla="*/ 1388092 h 2655443"/>
              <a:gd name="connsiteX20" fmla="*/ 42816 w 4243973"/>
              <a:gd name="connsiteY20" fmla="*/ 1439642 h 2655443"/>
              <a:gd name="connsiteX21" fmla="*/ 372020 w 4243973"/>
              <a:gd name="connsiteY21" fmla="*/ 1627276 h 2655443"/>
              <a:gd name="connsiteX22" fmla="*/ 413696 w 4243973"/>
              <a:gd name="connsiteY22" fmla="*/ 1638260 h 2655443"/>
              <a:gd name="connsiteX23" fmla="*/ 436735 w 4243973"/>
              <a:gd name="connsiteY23" fmla="*/ 1638260 h 2655443"/>
              <a:gd name="connsiteX24" fmla="*/ 488322 w 4243973"/>
              <a:gd name="connsiteY24" fmla="*/ 1598766 h 2655443"/>
              <a:gd name="connsiteX25" fmla="*/ 566240 w 4243973"/>
              <a:gd name="connsiteY25" fmla="*/ 1462713 h 2655443"/>
              <a:gd name="connsiteX26" fmla="*/ 566240 w 4243973"/>
              <a:gd name="connsiteY26" fmla="*/ 1462675 h 2655443"/>
              <a:gd name="connsiteX27" fmla="*/ 775811 w 4243973"/>
              <a:gd name="connsiteY27" fmla="*/ 1705193 h 2655443"/>
              <a:gd name="connsiteX28" fmla="*/ 758245 w 4243973"/>
              <a:gd name="connsiteY28" fmla="*/ 1730413 h 2655443"/>
              <a:gd name="connsiteX29" fmla="*/ 718750 w 4243973"/>
              <a:gd name="connsiteY29" fmla="*/ 1855522 h 2655443"/>
              <a:gd name="connsiteX30" fmla="*/ 809833 w 4243973"/>
              <a:gd name="connsiteY30" fmla="*/ 2033292 h 2655443"/>
              <a:gd name="connsiteX31" fmla="*/ 934943 w 4243973"/>
              <a:gd name="connsiteY31" fmla="*/ 2073896 h 2655443"/>
              <a:gd name="connsiteX32" fmla="*/ 943707 w 4243973"/>
              <a:gd name="connsiteY32" fmla="*/ 2073896 h 2655443"/>
              <a:gd name="connsiteX33" fmla="*/ 943707 w 4243973"/>
              <a:gd name="connsiteY33" fmla="*/ 2139721 h 2655443"/>
              <a:gd name="connsiteX34" fmla="*/ 1032570 w 4243973"/>
              <a:gd name="connsiteY34" fmla="*/ 2280173 h 2655443"/>
              <a:gd name="connsiteX35" fmla="*/ 1157679 w 4243973"/>
              <a:gd name="connsiteY35" fmla="*/ 2320777 h 2655443"/>
              <a:gd name="connsiteX36" fmla="*/ 1223504 w 4243973"/>
              <a:gd name="connsiteY36" fmla="*/ 2310903 h 2655443"/>
              <a:gd name="connsiteX37" fmla="*/ 1331616 w 4243973"/>
              <a:gd name="connsiteY37" fmla="*/ 2460153 h 2655443"/>
              <a:gd name="connsiteX38" fmla="*/ 1515390 w 4243973"/>
              <a:gd name="connsiteY38" fmla="*/ 2474389 h 2655443"/>
              <a:gd name="connsiteX39" fmla="*/ 1600963 w 4243973"/>
              <a:gd name="connsiteY39" fmla="*/ 2600567 h 2655443"/>
              <a:gd name="connsiteX40" fmla="*/ 1726072 w 4243973"/>
              <a:gd name="connsiteY40" fmla="*/ 2640061 h 2655443"/>
              <a:gd name="connsiteX41" fmla="*/ 1763386 w 4243973"/>
              <a:gd name="connsiteY41" fmla="*/ 2640061 h 2655443"/>
              <a:gd name="connsiteX42" fmla="*/ 1903838 w 4243973"/>
              <a:gd name="connsiteY42" fmla="*/ 2552308 h 2655443"/>
              <a:gd name="connsiteX43" fmla="*/ 1903838 w 4243973"/>
              <a:gd name="connsiteY43" fmla="*/ 2545726 h 2655443"/>
              <a:gd name="connsiteX44" fmla="*/ 2306549 w 4243973"/>
              <a:gd name="connsiteY44" fmla="*/ 2655444 h 2655443"/>
              <a:gd name="connsiteX45" fmla="*/ 2450293 w 4243973"/>
              <a:gd name="connsiteY45" fmla="*/ 2629114 h 2655443"/>
              <a:gd name="connsiteX46" fmla="*/ 2633529 w 4243973"/>
              <a:gd name="connsiteY46" fmla="*/ 2479864 h 2655443"/>
              <a:gd name="connsiteX47" fmla="*/ 2669732 w 4243973"/>
              <a:gd name="connsiteY47" fmla="*/ 2479864 h 2655443"/>
              <a:gd name="connsiteX48" fmla="*/ 2842025 w 4243973"/>
              <a:gd name="connsiteY48" fmla="*/ 2427205 h 2655443"/>
              <a:gd name="connsiteX49" fmla="*/ 2958327 w 4243973"/>
              <a:gd name="connsiteY49" fmla="*/ 2252727 h 2655443"/>
              <a:gd name="connsiteX50" fmla="*/ 3136096 w 4243973"/>
              <a:gd name="connsiteY50" fmla="*/ 2161644 h 2655443"/>
              <a:gd name="connsiteX51" fmla="*/ 3211794 w 4243973"/>
              <a:gd name="connsiteY51" fmla="*/ 2027776 h 2655443"/>
              <a:gd name="connsiteX52" fmla="*/ 3431231 w 4243973"/>
              <a:gd name="connsiteY52" fmla="*/ 1910406 h 2655443"/>
              <a:gd name="connsiteX53" fmla="*/ 3463071 w 4243973"/>
              <a:gd name="connsiteY53" fmla="*/ 1731530 h 2655443"/>
              <a:gd name="connsiteX54" fmla="*/ 3434522 w 4243973"/>
              <a:gd name="connsiteY54" fmla="*/ 1660195 h 2655443"/>
              <a:gd name="connsiteX55" fmla="*/ 3693499 w 4243973"/>
              <a:gd name="connsiteY55" fmla="*/ 1458325 h 2655443"/>
              <a:gd name="connsiteX56" fmla="*/ 3757142 w 4243973"/>
              <a:gd name="connsiteY56" fmla="*/ 1568043 h 2655443"/>
              <a:gd name="connsiteX57" fmla="*/ 3808730 w 4243973"/>
              <a:gd name="connsiteY57" fmla="*/ 1608647 h 2655443"/>
              <a:gd name="connsiteX58" fmla="*/ 3831769 w 4243973"/>
              <a:gd name="connsiteY58" fmla="*/ 1608647 h 2655443"/>
              <a:gd name="connsiteX59" fmla="*/ 3873445 w 4243973"/>
              <a:gd name="connsiteY59" fmla="*/ 1597664 h 2655443"/>
              <a:gd name="connsiteX60" fmla="*/ 4202649 w 4243973"/>
              <a:gd name="connsiteY60" fmla="*/ 1410029 h 2655443"/>
              <a:gd name="connsiteX61" fmla="*/ 4243253 w 4243973"/>
              <a:gd name="connsiteY61" fmla="*/ 1358479 h 2655443"/>
              <a:gd name="connsiteX62" fmla="*/ 4230088 w 4243973"/>
              <a:gd name="connsiteY62" fmla="*/ 1301419 h 2655443"/>
              <a:gd name="connsiteX63" fmla="*/ 514679 w 4243973"/>
              <a:gd name="connsiteY63" fmla="*/ 1323331 h 2655443"/>
              <a:gd name="connsiteX64" fmla="*/ 404961 w 4243973"/>
              <a:gd name="connsiteY64" fmla="*/ 1508792 h 2655443"/>
              <a:gd name="connsiteX65" fmla="*/ 118590 w 4243973"/>
              <a:gd name="connsiteY65" fmla="*/ 1354065 h 2655443"/>
              <a:gd name="connsiteX66" fmla="*/ 812081 w 4243973"/>
              <a:gd name="connsiteY66" fmla="*/ 137162 h 2655443"/>
              <a:gd name="connsiteX67" fmla="*/ 1098452 w 4243973"/>
              <a:gd name="connsiteY67" fmla="*/ 300657 h 2655443"/>
              <a:gd name="connsiteX68" fmla="*/ 1023827 w 4243973"/>
              <a:gd name="connsiteY68" fmla="*/ 1913688 h 2655443"/>
              <a:gd name="connsiteX69" fmla="*/ 875684 w 4243973"/>
              <a:gd name="connsiteY69" fmla="*/ 1937797 h 2655443"/>
              <a:gd name="connsiteX70" fmla="*/ 850465 w 4243973"/>
              <a:gd name="connsiteY70" fmla="*/ 1788587 h 2655443"/>
              <a:gd name="connsiteX71" fmla="*/ 889959 w 4243973"/>
              <a:gd name="connsiteY71" fmla="*/ 1731526 h 2655443"/>
              <a:gd name="connsiteX72" fmla="*/ 940437 w 4243973"/>
              <a:gd name="connsiteY72" fmla="*/ 1661301 h 2655443"/>
              <a:gd name="connsiteX73" fmla="*/ 1090764 w 4243973"/>
              <a:gd name="connsiteY73" fmla="*/ 1636081 h 2655443"/>
              <a:gd name="connsiteX74" fmla="*/ 1124786 w 4243973"/>
              <a:gd name="connsiteY74" fmla="*/ 1772134 h 2655443"/>
              <a:gd name="connsiteX75" fmla="*/ 1260830 w 4243973"/>
              <a:gd name="connsiteY75" fmla="*/ 2140825 h 2655443"/>
              <a:gd name="connsiteX76" fmla="*/ 1246555 w 4243973"/>
              <a:gd name="connsiteY76" fmla="*/ 2160572 h 2655443"/>
              <a:gd name="connsiteX77" fmla="*/ 1175105 w 4243973"/>
              <a:gd name="connsiteY77" fmla="*/ 2222340 h 2655443"/>
              <a:gd name="connsiteX78" fmla="*/ 1082146 w 4243973"/>
              <a:gd name="connsiteY78" fmla="*/ 2205693 h 2655443"/>
              <a:gd name="connsiteX79" fmla="*/ 1036529 w 4243973"/>
              <a:gd name="connsiteY79" fmla="*/ 2122991 h 2655443"/>
              <a:gd name="connsiteX80" fmla="*/ 1072120 w 4243973"/>
              <a:gd name="connsiteY80" fmla="*/ 2035467 h 2655443"/>
              <a:gd name="connsiteX81" fmla="*/ 1111614 w 4243973"/>
              <a:gd name="connsiteY81" fmla="*/ 1981697 h 2655443"/>
              <a:gd name="connsiteX82" fmla="*/ 1201587 w 4243973"/>
              <a:gd name="connsiteY82" fmla="*/ 1855520 h 2655443"/>
              <a:gd name="connsiteX83" fmla="*/ 1320113 w 4243973"/>
              <a:gd name="connsiteY83" fmla="*/ 1688744 h 2655443"/>
              <a:gd name="connsiteX84" fmla="*/ 1320075 w 4243973"/>
              <a:gd name="connsiteY84" fmla="*/ 1688744 h 2655443"/>
              <a:gd name="connsiteX85" fmla="*/ 1388272 w 4243973"/>
              <a:gd name="connsiteY85" fmla="*/ 1639107 h 2655443"/>
              <a:gd name="connsiteX86" fmla="*/ 1471509 w 4243973"/>
              <a:gd name="connsiteY86" fmla="*/ 1652540 h 2655443"/>
              <a:gd name="connsiteX87" fmla="*/ 1515405 w 4243973"/>
              <a:gd name="connsiteY87" fmla="*/ 1722766 h 2655443"/>
              <a:gd name="connsiteX88" fmla="*/ 1496768 w 4243973"/>
              <a:gd name="connsiteY88" fmla="*/ 1802866 h 2655443"/>
              <a:gd name="connsiteX89" fmla="*/ 1457274 w 4243973"/>
              <a:gd name="connsiteY89" fmla="*/ 1858816 h 2655443"/>
              <a:gd name="connsiteX90" fmla="*/ 1551609 w 4243973"/>
              <a:gd name="connsiteY90" fmla="*/ 2292259 h 2655443"/>
              <a:gd name="connsiteX91" fmla="*/ 1525279 w 4243973"/>
              <a:gd name="connsiteY91" fmla="*/ 2328462 h 2655443"/>
              <a:gd name="connsiteX92" fmla="*/ 1453025 w 4243973"/>
              <a:gd name="connsiteY92" fmla="*/ 2390078 h 2655443"/>
              <a:gd name="connsiteX93" fmla="*/ 1359761 w 4243973"/>
              <a:gd name="connsiteY93" fmla="*/ 2372282 h 2655443"/>
              <a:gd name="connsiteX94" fmla="*/ 1315329 w 4243973"/>
              <a:gd name="connsiteY94" fmla="*/ 2288318 h 2655443"/>
              <a:gd name="connsiteX95" fmla="*/ 1353026 w 4243973"/>
              <a:gd name="connsiteY95" fmla="*/ 2201177 h 2655443"/>
              <a:gd name="connsiteX96" fmla="*/ 1549429 w 4243973"/>
              <a:gd name="connsiteY96" fmla="*/ 1924672 h 2655443"/>
              <a:gd name="connsiteX97" fmla="*/ 1549429 w 4243973"/>
              <a:gd name="connsiteY97" fmla="*/ 1924634 h 2655443"/>
              <a:gd name="connsiteX98" fmla="*/ 1659569 w 4243973"/>
              <a:gd name="connsiteY98" fmla="*/ 1890765 h 2655443"/>
              <a:gd name="connsiteX99" fmla="*/ 1739247 w 4243973"/>
              <a:gd name="connsiteY99" fmla="*/ 1974003 h 2655443"/>
              <a:gd name="connsiteX100" fmla="*/ 1720610 w 4243973"/>
              <a:gd name="connsiteY100" fmla="*/ 2054141 h 2655443"/>
              <a:gd name="connsiteX101" fmla="*/ 1654784 w 4243973"/>
              <a:gd name="connsiteY101" fmla="*/ 2147405 h 2655443"/>
              <a:gd name="connsiteX102" fmla="*/ 1920305 w 4243973"/>
              <a:gd name="connsiteY102" fmla="*/ 2335045 h 2655443"/>
              <a:gd name="connsiteX103" fmla="*/ 1851189 w 4243973"/>
              <a:gd name="connsiteY103" fmla="*/ 2430491 h 2655443"/>
              <a:gd name="connsiteX104" fmla="*/ 1842425 w 4243973"/>
              <a:gd name="connsiteY104" fmla="*/ 2443656 h 2655443"/>
              <a:gd name="connsiteX105" fmla="*/ 1814985 w 4243973"/>
              <a:gd name="connsiteY105" fmla="*/ 2480970 h 2655443"/>
              <a:gd name="connsiteX106" fmla="*/ 1679932 w 4243973"/>
              <a:gd name="connsiteY106" fmla="*/ 2498613 h 2655443"/>
              <a:gd name="connsiteX107" fmla="*/ 1631711 w 4243973"/>
              <a:gd name="connsiteY107" fmla="*/ 2371250 h 2655443"/>
              <a:gd name="connsiteX108" fmla="*/ 1640475 w 4243973"/>
              <a:gd name="connsiteY108" fmla="*/ 2356975 h 2655443"/>
              <a:gd name="connsiteX109" fmla="*/ 1744726 w 4243973"/>
              <a:gd name="connsiteY109" fmla="*/ 2211047 h 2655443"/>
              <a:gd name="connsiteX110" fmla="*/ 1744765 w 4243973"/>
              <a:gd name="connsiteY110" fmla="*/ 2211047 h 2655443"/>
              <a:gd name="connsiteX111" fmla="*/ 1892868 w 4243973"/>
              <a:gd name="connsiteY111" fmla="*/ 2188008 h 2655443"/>
              <a:gd name="connsiteX112" fmla="*/ 1918126 w 4243973"/>
              <a:gd name="connsiteY112" fmla="*/ 2338335 h 2655443"/>
              <a:gd name="connsiteX113" fmla="*/ 3335796 w 4243973"/>
              <a:gd name="connsiteY113" fmla="*/ 1852232 h 2655443"/>
              <a:gd name="connsiteX114" fmla="*/ 3176671 w 4243973"/>
              <a:gd name="connsiteY114" fmla="*/ 1923567 h 2655443"/>
              <a:gd name="connsiteX115" fmla="*/ 2528188 w 4243973"/>
              <a:gd name="connsiteY115" fmla="*/ 1517564 h 2655443"/>
              <a:gd name="connsiteX116" fmla="*/ 2452490 w 4243973"/>
              <a:gd name="connsiteY116" fmla="*/ 1534020 h 2655443"/>
              <a:gd name="connsiteX117" fmla="*/ 2445103 w 4243973"/>
              <a:gd name="connsiteY117" fmla="*/ 1575620 h 2655443"/>
              <a:gd name="connsiteX118" fmla="*/ 2470056 w 4243973"/>
              <a:gd name="connsiteY118" fmla="*/ 1609719 h 2655443"/>
              <a:gd name="connsiteX119" fmla="*/ 3102089 w 4243973"/>
              <a:gd name="connsiteY119" fmla="*/ 2006924 h 2655443"/>
              <a:gd name="connsiteX120" fmla="*/ 3102089 w 4243973"/>
              <a:gd name="connsiteY120" fmla="*/ 2006963 h 2655443"/>
              <a:gd name="connsiteX121" fmla="*/ 3050501 w 4243973"/>
              <a:gd name="connsiteY121" fmla="*/ 2092535 h 2655443"/>
              <a:gd name="connsiteX122" fmla="*/ 2922139 w 4243973"/>
              <a:gd name="connsiteY122" fmla="*/ 2148485 h 2655443"/>
              <a:gd name="connsiteX123" fmla="*/ 2349349 w 4243973"/>
              <a:gd name="connsiteY123" fmla="*/ 1828089 h 2655443"/>
              <a:gd name="connsiteX124" fmla="*/ 2274186 w 4243973"/>
              <a:gd name="connsiteY124" fmla="*/ 1849482 h 2655443"/>
              <a:gd name="connsiteX125" fmla="*/ 2295580 w 4243973"/>
              <a:gd name="connsiteY125" fmla="*/ 1924645 h 2655443"/>
              <a:gd name="connsiteX126" fmla="*/ 2844220 w 4243973"/>
              <a:gd name="connsiteY126" fmla="*/ 2230766 h 2655443"/>
              <a:gd name="connsiteX127" fmla="*/ 2844220 w 4243973"/>
              <a:gd name="connsiteY127" fmla="*/ 2230805 h 2655443"/>
              <a:gd name="connsiteX128" fmla="*/ 2771775 w 4243973"/>
              <a:gd name="connsiteY128" fmla="*/ 2340523 h 2655443"/>
              <a:gd name="connsiteX129" fmla="*/ 2610503 w 4243973"/>
              <a:gd name="connsiteY129" fmla="*/ 2366853 h 2655443"/>
              <a:gd name="connsiteX130" fmla="*/ 2603921 w 4243973"/>
              <a:gd name="connsiteY130" fmla="*/ 2366853 h 2655443"/>
              <a:gd name="connsiteX131" fmla="*/ 2592938 w 4243973"/>
              <a:gd name="connsiteY131" fmla="*/ 2358089 h 2655443"/>
              <a:gd name="connsiteX132" fmla="*/ 2154016 w 4243973"/>
              <a:gd name="connsiteY132" fmla="*/ 2138652 h 2655443"/>
              <a:gd name="connsiteX133" fmla="*/ 2154016 w 4243973"/>
              <a:gd name="connsiteY133" fmla="*/ 2138614 h 2655443"/>
              <a:gd name="connsiteX134" fmla="*/ 2083982 w 4243973"/>
              <a:gd name="connsiteY134" fmla="*/ 2164523 h 2655443"/>
              <a:gd name="connsiteX135" fmla="*/ 2104648 w 4243973"/>
              <a:gd name="connsiteY135" fmla="*/ 2236279 h 2655443"/>
              <a:gd name="connsiteX136" fmla="*/ 2524896 w 4243973"/>
              <a:gd name="connsiteY136" fmla="*/ 2448064 h 2655443"/>
              <a:gd name="connsiteX137" fmla="*/ 2415178 w 4243973"/>
              <a:gd name="connsiteY137" fmla="*/ 2530344 h 2655443"/>
              <a:gd name="connsiteX138" fmla="*/ 1976256 w 4243973"/>
              <a:gd name="connsiteY138" fmla="*/ 2452426 h 2655443"/>
              <a:gd name="connsiteX139" fmla="*/ 2011388 w 4243973"/>
              <a:gd name="connsiteY139" fmla="*/ 2398695 h 2655443"/>
              <a:gd name="connsiteX140" fmla="*/ 2048701 w 4243973"/>
              <a:gd name="connsiteY140" fmla="*/ 2236278 h 2655443"/>
              <a:gd name="connsiteX141" fmla="*/ 1977901 w 4243973"/>
              <a:gd name="connsiteY141" fmla="*/ 2110865 h 2655443"/>
              <a:gd name="connsiteX142" fmla="*/ 1844611 w 4243973"/>
              <a:gd name="connsiteY142" fmla="*/ 2056330 h 2655443"/>
              <a:gd name="connsiteX143" fmla="*/ 1851194 w 4243973"/>
              <a:gd name="connsiteY143" fmla="*/ 1954263 h 2655443"/>
              <a:gd name="connsiteX144" fmla="*/ 1763402 w 4243973"/>
              <a:gd name="connsiteY144" fmla="*/ 1813812 h 2655443"/>
              <a:gd name="connsiteX145" fmla="*/ 1627350 w 4243973"/>
              <a:gd name="connsiteY145" fmla="*/ 1773245 h 2655443"/>
              <a:gd name="connsiteX146" fmla="*/ 1627350 w 4243973"/>
              <a:gd name="connsiteY146" fmla="*/ 1709602 h 2655443"/>
              <a:gd name="connsiteX147" fmla="*/ 1537721 w 4243973"/>
              <a:gd name="connsiteY147" fmla="*/ 1570835 h 2655443"/>
              <a:gd name="connsiteX148" fmla="*/ 1376754 w 4243973"/>
              <a:gd name="connsiteY148" fmla="*/ 1533867 h 2655443"/>
              <a:gd name="connsiteX149" fmla="*/ 1235617 w 4243973"/>
              <a:gd name="connsiteY149" fmla="*/ 1619592 h 2655443"/>
              <a:gd name="connsiteX150" fmla="*/ 1225743 w 4243973"/>
              <a:gd name="connsiteY150" fmla="*/ 1632757 h 2655443"/>
              <a:gd name="connsiteX151" fmla="*/ 1225743 w 4243973"/>
              <a:gd name="connsiteY151" fmla="*/ 1632796 h 2655443"/>
              <a:gd name="connsiteX152" fmla="*/ 1155517 w 4243973"/>
              <a:gd name="connsiteY152" fmla="*/ 1548295 h 2655443"/>
              <a:gd name="connsiteX153" fmla="*/ 993786 w 4243973"/>
              <a:gd name="connsiteY153" fmla="*/ 1511747 h 2655443"/>
              <a:gd name="connsiteX154" fmla="*/ 852648 w 4243973"/>
              <a:gd name="connsiteY154" fmla="*/ 1598773 h 2655443"/>
              <a:gd name="connsiteX155" fmla="*/ 843884 w 4243973"/>
              <a:gd name="connsiteY155" fmla="*/ 1609757 h 2655443"/>
              <a:gd name="connsiteX156" fmla="*/ 843884 w 4243973"/>
              <a:gd name="connsiteY156" fmla="*/ 1609718 h 2655443"/>
              <a:gd name="connsiteX157" fmla="*/ 624409 w 4243973"/>
              <a:gd name="connsiteY157" fmla="*/ 1352965 h 2655443"/>
              <a:gd name="connsiteX158" fmla="*/ 1102823 w 4243973"/>
              <a:gd name="connsiteY158" fmla="*/ 512438 h 2655443"/>
              <a:gd name="connsiteX159" fmla="*/ 1353032 w 4243973"/>
              <a:gd name="connsiteY159" fmla="*/ 664980 h 2655443"/>
              <a:gd name="connsiteX160" fmla="*/ 1462750 w 4243973"/>
              <a:gd name="connsiteY160" fmla="*/ 680326 h 2655443"/>
              <a:gd name="connsiteX161" fmla="*/ 1344224 w 4243973"/>
              <a:gd name="connsiteY161" fmla="*/ 930496 h 2655443"/>
              <a:gd name="connsiteX162" fmla="*/ 1408978 w 4243973"/>
              <a:gd name="connsiteY162" fmla="*/ 1159847 h 2655443"/>
              <a:gd name="connsiteX163" fmla="*/ 1628414 w 4243973"/>
              <a:gd name="connsiteY163" fmla="*/ 1225672 h 2655443"/>
              <a:gd name="connsiteX164" fmla="*/ 1841306 w 4243973"/>
              <a:gd name="connsiteY164" fmla="*/ 1097310 h 2655443"/>
              <a:gd name="connsiteX165" fmla="*/ 1951024 w 4243973"/>
              <a:gd name="connsiteY165" fmla="*/ 951382 h 2655443"/>
              <a:gd name="connsiteX166" fmla="*/ 2105751 w 4243973"/>
              <a:gd name="connsiteY166" fmla="*/ 910777 h 2655443"/>
              <a:gd name="connsiteX167" fmla="*/ 2105751 w 4243973"/>
              <a:gd name="connsiteY167" fmla="*/ 910739 h 2655443"/>
              <a:gd name="connsiteX168" fmla="*/ 3291891 w 4243973"/>
              <a:gd name="connsiteY168" fmla="*/ 1678855 h 2655443"/>
              <a:gd name="connsiteX169" fmla="*/ 3298473 w 4243973"/>
              <a:gd name="connsiteY169" fmla="*/ 1678855 h 2655443"/>
              <a:gd name="connsiteX170" fmla="*/ 3309457 w 4243973"/>
              <a:gd name="connsiteY170" fmla="*/ 1688729 h 2655443"/>
              <a:gd name="connsiteX171" fmla="*/ 3352243 w 4243973"/>
              <a:gd name="connsiteY171" fmla="*/ 1756734 h 2655443"/>
              <a:gd name="connsiteX172" fmla="*/ 3335787 w 4243973"/>
              <a:gd name="connsiteY172" fmla="*/ 1852218 h 2655443"/>
              <a:gd name="connsiteX173" fmla="*/ 3350071 w 4243973"/>
              <a:gd name="connsiteY173" fmla="*/ 1579019 h 2655443"/>
              <a:gd name="connsiteX174" fmla="*/ 2135421 w 4243973"/>
              <a:gd name="connsiteY174" fmla="*/ 801028 h 2655443"/>
              <a:gd name="connsiteX175" fmla="*/ 2104690 w 4243973"/>
              <a:gd name="connsiteY175" fmla="*/ 801028 h 2655443"/>
              <a:gd name="connsiteX176" fmla="*/ 2082723 w 4243973"/>
              <a:gd name="connsiteY176" fmla="*/ 801028 h 2655443"/>
              <a:gd name="connsiteX177" fmla="*/ 1912654 w 4243973"/>
              <a:gd name="connsiteY177" fmla="*/ 846034 h 2655443"/>
              <a:gd name="connsiteX178" fmla="*/ 1866577 w 4243973"/>
              <a:gd name="connsiteY178" fmla="*/ 876727 h 2655443"/>
              <a:gd name="connsiteX179" fmla="*/ 1756859 w 4243973"/>
              <a:gd name="connsiteY179" fmla="*/ 1028161 h 2655443"/>
              <a:gd name="connsiteX180" fmla="*/ 1606532 w 4243973"/>
              <a:gd name="connsiteY180" fmla="*/ 1118134 h 2655443"/>
              <a:gd name="connsiteX181" fmla="*/ 1485831 w 4243973"/>
              <a:gd name="connsiteY181" fmla="*/ 1081931 h 2655443"/>
              <a:gd name="connsiteX182" fmla="*/ 1449627 w 4243973"/>
              <a:gd name="connsiteY182" fmla="*/ 953569 h 2655443"/>
              <a:gd name="connsiteX183" fmla="*/ 1612005 w 4243973"/>
              <a:gd name="connsiteY183" fmla="*/ 678142 h 2655443"/>
              <a:gd name="connsiteX184" fmla="*/ 1810623 w 4243973"/>
              <a:gd name="connsiteY184" fmla="*/ 551964 h 2655443"/>
              <a:gd name="connsiteX185" fmla="*/ 2776220 w 4243973"/>
              <a:gd name="connsiteY185" fmla="*/ 559657 h 2655443"/>
              <a:gd name="connsiteX186" fmla="*/ 2776220 w 4243973"/>
              <a:gd name="connsiteY186" fmla="*/ 559618 h 2655443"/>
              <a:gd name="connsiteX187" fmla="*/ 2948512 w 4243973"/>
              <a:gd name="connsiteY187" fmla="*/ 598042 h 2655443"/>
              <a:gd name="connsiteX188" fmla="*/ 3167948 w 4243973"/>
              <a:gd name="connsiteY188" fmla="*/ 545382 h 2655443"/>
              <a:gd name="connsiteX189" fmla="*/ 3631020 w 4243973"/>
              <a:gd name="connsiteY189" fmla="*/ 1359573 h 2655443"/>
              <a:gd name="connsiteX190" fmla="*/ 3631020 w 4243973"/>
              <a:gd name="connsiteY190" fmla="*/ 1359535 h 2655443"/>
              <a:gd name="connsiteX191" fmla="*/ 3349009 w 4243973"/>
              <a:gd name="connsiteY191" fmla="*/ 1579011 h 2655443"/>
              <a:gd name="connsiteX192" fmla="*/ 3837253 w 4243973"/>
              <a:gd name="connsiteY192" fmla="*/ 1497810 h 2655443"/>
              <a:gd name="connsiteX193" fmla="*/ 3734119 w 4243973"/>
              <a:gd name="connsiteY193" fmla="*/ 1316759 h 2655443"/>
              <a:gd name="connsiteX194" fmla="*/ 3250228 w 4243973"/>
              <a:gd name="connsiteY194" fmla="*/ 466357 h 2655443"/>
              <a:gd name="connsiteX195" fmla="*/ 3145976 w 4243973"/>
              <a:gd name="connsiteY195" fmla="*/ 283121 h 2655443"/>
              <a:gd name="connsiteX196" fmla="*/ 3431240 w 4243973"/>
              <a:gd name="connsiteY196" fmla="*/ 116344 h 2655443"/>
              <a:gd name="connsiteX197" fmla="*/ 4122516 w 4243973"/>
              <a:gd name="connsiteY197" fmla="*/ 1334325 h 26554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</a:cxnLst>
            <a:rect l="l" t="t" r="r" b="b"/>
            <a:pathLst>
              <a:path w="4243973" h="2655443">
                <a:moveTo>
                  <a:pt x="4230050" y="1301403"/>
                </a:moveTo>
                <a:lnTo>
                  <a:pt x="3513516" y="40608"/>
                </a:lnTo>
                <a:cubicBezTo>
                  <a:pt x="3490746" y="3142"/>
                  <a:pt x="3443061" y="-10674"/>
                  <a:pt x="3403798" y="8806"/>
                </a:cubicBezTo>
                <a:lnTo>
                  <a:pt x="3074594" y="196441"/>
                </a:lnTo>
                <a:cubicBezTo>
                  <a:pt x="3033836" y="219900"/>
                  <a:pt x="3019638" y="271833"/>
                  <a:pt x="3042754" y="312742"/>
                </a:cubicBezTo>
                <a:lnTo>
                  <a:pt x="3108617" y="445504"/>
                </a:lnTo>
                <a:cubicBezTo>
                  <a:pt x="3062119" y="477459"/>
                  <a:pt x="3005443" y="491121"/>
                  <a:pt x="2949492" y="483927"/>
                </a:cubicBezTo>
                <a:cubicBezTo>
                  <a:pt x="2897483" y="476196"/>
                  <a:pt x="2846122" y="464447"/>
                  <a:pt x="2795872" y="448795"/>
                </a:cubicBezTo>
                <a:cubicBezTo>
                  <a:pt x="2554461" y="384042"/>
                  <a:pt x="2151789" y="274318"/>
                  <a:pt x="1756787" y="448795"/>
                </a:cubicBezTo>
                <a:cubicBezTo>
                  <a:pt x="1681243" y="480291"/>
                  <a:pt x="1611251" y="523613"/>
                  <a:pt x="1549402" y="577187"/>
                </a:cubicBezTo>
                <a:cubicBezTo>
                  <a:pt x="1513198" y="577187"/>
                  <a:pt x="1439683" y="564022"/>
                  <a:pt x="1363942" y="553039"/>
                </a:cubicBezTo>
                <a:cubicBezTo>
                  <a:pt x="1286024" y="521772"/>
                  <a:pt x="1215417" y="474700"/>
                  <a:pt x="1156556" y="414811"/>
                </a:cubicBezTo>
                <a:lnTo>
                  <a:pt x="1202633" y="333602"/>
                </a:lnTo>
                <a:lnTo>
                  <a:pt x="1202671" y="333602"/>
                </a:lnTo>
                <a:cubicBezTo>
                  <a:pt x="1225786" y="292652"/>
                  <a:pt x="1211588" y="240720"/>
                  <a:pt x="1170830" y="217300"/>
                </a:cubicBezTo>
                <a:lnTo>
                  <a:pt x="841627" y="29665"/>
                </a:lnTo>
                <a:cubicBezTo>
                  <a:pt x="821994" y="18414"/>
                  <a:pt x="798650" y="15658"/>
                  <a:pt x="776912" y="21973"/>
                </a:cubicBezTo>
                <a:cubicBezTo>
                  <a:pt x="754983" y="27407"/>
                  <a:pt x="736269" y="41720"/>
                  <a:pt x="725324" y="61467"/>
                </a:cubicBezTo>
                <a:lnTo>
                  <a:pt x="11014" y="1323339"/>
                </a:lnTo>
                <a:cubicBezTo>
                  <a:pt x="-237" y="1342971"/>
                  <a:pt x="-2993" y="1366354"/>
                  <a:pt x="3322" y="1388092"/>
                </a:cubicBezTo>
                <a:cubicBezTo>
                  <a:pt x="8756" y="1410021"/>
                  <a:pt x="23069" y="1428696"/>
                  <a:pt x="42816" y="1439642"/>
                </a:cubicBezTo>
                <a:lnTo>
                  <a:pt x="372020" y="1627276"/>
                </a:lnTo>
                <a:cubicBezTo>
                  <a:pt x="384687" y="1634586"/>
                  <a:pt x="399076" y="1638375"/>
                  <a:pt x="413696" y="1638260"/>
                </a:cubicBezTo>
                <a:cubicBezTo>
                  <a:pt x="421350" y="1639332"/>
                  <a:pt x="429118" y="1639332"/>
                  <a:pt x="436735" y="1638260"/>
                </a:cubicBezTo>
                <a:cubicBezTo>
                  <a:pt x="458702" y="1632826"/>
                  <a:pt x="477377" y="1618513"/>
                  <a:pt x="488322" y="1598766"/>
                </a:cubicBezTo>
                <a:lnTo>
                  <a:pt x="566240" y="1462713"/>
                </a:lnTo>
                <a:lnTo>
                  <a:pt x="566240" y="1462675"/>
                </a:lnTo>
                <a:cubicBezTo>
                  <a:pt x="630841" y="1547902"/>
                  <a:pt x="700833" y="1628922"/>
                  <a:pt x="775811" y="1705193"/>
                </a:cubicBezTo>
                <a:lnTo>
                  <a:pt x="758245" y="1730413"/>
                </a:lnTo>
                <a:cubicBezTo>
                  <a:pt x="732642" y="1767114"/>
                  <a:pt x="718865" y="1810780"/>
                  <a:pt x="718750" y="1855522"/>
                </a:cubicBezTo>
                <a:cubicBezTo>
                  <a:pt x="718827" y="1925939"/>
                  <a:pt x="752695" y="1992075"/>
                  <a:pt x="809833" y="2033292"/>
                </a:cubicBezTo>
                <a:cubicBezTo>
                  <a:pt x="846037" y="2060043"/>
                  <a:pt x="889933" y="2074279"/>
                  <a:pt x="934943" y="2073896"/>
                </a:cubicBezTo>
                <a:lnTo>
                  <a:pt x="943707" y="2073896"/>
                </a:lnTo>
                <a:cubicBezTo>
                  <a:pt x="940377" y="2095710"/>
                  <a:pt x="940377" y="2117907"/>
                  <a:pt x="943707" y="2139721"/>
                </a:cubicBezTo>
                <a:cubicBezTo>
                  <a:pt x="953771" y="2196360"/>
                  <a:pt x="985689" y="2246804"/>
                  <a:pt x="1032570" y="2280173"/>
                </a:cubicBezTo>
                <a:cubicBezTo>
                  <a:pt x="1068888" y="2306694"/>
                  <a:pt x="1112707" y="2320931"/>
                  <a:pt x="1157679" y="2320777"/>
                </a:cubicBezTo>
                <a:cubicBezTo>
                  <a:pt x="1179990" y="2320854"/>
                  <a:pt x="1202188" y="2317524"/>
                  <a:pt x="1223504" y="2310903"/>
                </a:cubicBezTo>
                <a:cubicBezTo>
                  <a:pt x="1235903" y="2374126"/>
                  <a:pt x="1275437" y="2428695"/>
                  <a:pt x="1331616" y="2460153"/>
                </a:cubicBezTo>
                <a:cubicBezTo>
                  <a:pt x="1387835" y="2491649"/>
                  <a:pt x="1455040" y="2496854"/>
                  <a:pt x="1515390" y="2474389"/>
                </a:cubicBezTo>
                <a:cubicBezTo>
                  <a:pt x="1527904" y="2525327"/>
                  <a:pt x="1558291" y="2570103"/>
                  <a:pt x="1600963" y="2600567"/>
                </a:cubicBezTo>
                <a:cubicBezTo>
                  <a:pt x="1637396" y="2626705"/>
                  <a:pt x="1681215" y="2640559"/>
                  <a:pt x="1726072" y="2640061"/>
                </a:cubicBezTo>
                <a:lnTo>
                  <a:pt x="1763386" y="2640061"/>
                </a:lnTo>
                <a:cubicBezTo>
                  <a:pt x="1820141" y="2630991"/>
                  <a:pt x="1870772" y="2599303"/>
                  <a:pt x="1903838" y="2552308"/>
                </a:cubicBezTo>
                <a:lnTo>
                  <a:pt x="1903838" y="2545726"/>
                </a:lnTo>
                <a:cubicBezTo>
                  <a:pt x="2028487" y="2611168"/>
                  <a:pt x="2165911" y="2648635"/>
                  <a:pt x="2306549" y="2655444"/>
                </a:cubicBezTo>
                <a:cubicBezTo>
                  <a:pt x="2355611" y="2654908"/>
                  <a:pt x="2404215" y="2646029"/>
                  <a:pt x="2450293" y="2629114"/>
                </a:cubicBezTo>
                <a:cubicBezTo>
                  <a:pt x="2528479" y="2605119"/>
                  <a:pt x="2594223" y="2551578"/>
                  <a:pt x="2633529" y="2479864"/>
                </a:cubicBezTo>
                <a:lnTo>
                  <a:pt x="2669732" y="2479864"/>
                </a:lnTo>
                <a:cubicBezTo>
                  <a:pt x="2731194" y="2480285"/>
                  <a:pt x="2791276" y="2461878"/>
                  <a:pt x="2842025" y="2427205"/>
                </a:cubicBezTo>
                <a:cubicBezTo>
                  <a:pt x="2900731" y="2385184"/>
                  <a:pt x="2942102" y="2323110"/>
                  <a:pt x="2958327" y="2252727"/>
                </a:cubicBezTo>
                <a:cubicBezTo>
                  <a:pt x="3026830" y="2245494"/>
                  <a:pt x="3090167" y="2213003"/>
                  <a:pt x="3136096" y="2161644"/>
                </a:cubicBezTo>
                <a:cubicBezTo>
                  <a:pt x="3170386" y="2122801"/>
                  <a:pt x="3196180" y="2077220"/>
                  <a:pt x="3211794" y="2027776"/>
                </a:cubicBezTo>
                <a:cubicBezTo>
                  <a:pt x="3297864" y="2020084"/>
                  <a:pt x="3377082" y="1977680"/>
                  <a:pt x="3431231" y="1910406"/>
                </a:cubicBezTo>
                <a:cubicBezTo>
                  <a:pt x="3465673" y="1857556"/>
                  <a:pt x="3477155" y="1792997"/>
                  <a:pt x="3463071" y="1731530"/>
                </a:cubicBezTo>
                <a:cubicBezTo>
                  <a:pt x="3457484" y="1706348"/>
                  <a:pt x="3447878" y="1682277"/>
                  <a:pt x="3434522" y="1660195"/>
                </a:cubicBezTo>
                <a:cubicBezTo>
                  <a:pt x="3534678" y="1612817"/>
                  <a:pt x="3623117" y="1543854"/>
                  <a:pt x="3693499" y="1458325"/>
                </a:cubicBezTo>
                <a:lnTo>
                  <a:pt x="3757142" y="1568043"/>
                </a:lnTo>
                <a:cubicBezTo>
                  <a:pt x="3768355" y="1587790"/>
                  <a:pt x="3786879" y="1602371"/>
                  <a:pt x="3808730" y="1608647"/>
                </a:cubicBezTo>
                <a:cubicBezTo>
                  <a:pt x="3816346" y="1609719"/>
                  <a:pt x="3824115" y="1609719"/>
                  <a:pt x="3831769" y="1608647"/>
                </a:cubicBezTo>
                <a:cubicBezTo>
                  <a:pt x="3846312" y="1608265"/>
                  <a:pt x="3860586" y="1604476"/>
                  <a:pt x="3873445" y="1597664"/>
                </a:cubicBezTo>
                <a:lnTo>
                  <a:pt x="4202649" y="1410029"/>
                </a:lnTo>
                <a:cubicBezTo>
                  <a:pt x="4222396" y="1398816"/>
                  <a:pt x="4236977" y="1380293"/>
                  <a:pt x="4243253" y="1358479"/>
                </a:cubicBezTo>
                <a:cubicBezTo>
                  <a:pt x="4245894" y="1338464"/>
                  <a:pt x="4241225" y="1318219"/>
                  <a:pt x="4230088" y="1301419"/>
                </a:cubicBezTo>
                <a:close/>
                <a:moveTo>
                  <a:pt x="514679" y="1323331"/>
                </a:moveTo>
                <a:lnTo>
                  <a:pt x="404961" y="1508792"/>
                </a:lnTo>
                <a:lnTo>
                  <a:pt x="118590" y="1354065"/>
                </a:lnTo>
                <a:lnTo>
                  <a:pt x="812081" y="137162"/>
                </a:lnTo>
                <a:lnTo>
                  <a:pt x="1098452" y="300657"/>
                </a:lnTo>
                <a:close/>
                <a:moveTo>
                  <a:pt x="1023827" y="1913688"/>
                </a:moveTo>
                <a:cubicBezTo>
                  <a:pt x="988542" y="1959497"/>
                  <a:pt x="923710" y="1970059"/>
                  <a:pt x="875684" y="1937797"/>
                </a:cubicBezTo>
                <a:cubicBezTo>
                  <a:pt x="828842" y="1902742"/>
                  <a:pt x="817743" y="1837112"/>
                  <a:pt x="850465" y="1788587"/>
                </a:cubicBezTo>
                <a:lnTo>
                  <a:pt x="889959" y="1731526"/>
                </a:lnTo>
                <a:lnTo>
                  <a:pt x="940437" y="1661301"/>
                </a:lnTo>
                <a:cubicBezTo>
                  <a:pt x="975568" y="1613769"/>
                  <a:pt x="1042043" y="1602633"/>
                  <a:pt x="1090764" y="1636081"/>
                </a:cubicBezTo>
                <a:cubicBezTo>
                  <a:pt x="1133397" y="1667309"/>
                  <a:pt x="1147672" y="1724484"/>
                  <a:pt x="1124786" y="1772134"/>
                </a:cubicBezTo>
                <a:close/>
                <a:moveTo>
                  <a:pt x="1260830" y="2140825"/>
                </a:moveTo>
                <a:lnTo>
                  <a:pt x="1246555" y="2160572"/>
                </a:lnTo>
                <a:cubicBezTo>
                  <a:pt x="1233275" y="2190882"/>
                  <a:pt x="1207022" y="2213576"/>
                  <a:pt x="1175105" y="2222340"/>
                </a:cubicBezTo>
                <a:cubicBezTo>
                  <a:pt x="1143188" y="2231104"/>
                  <a:pt x="1109012" y="2224980"/>
                  <a:pt x="1082146" y="2205693"/>
                </a:cubicBezTo>
                <a:cubicBezTo>
                  <a:pt x="1055243" y="2186404"/>
                  <a:pt x="1038481" y="2156018"/>
                  <a:pt x="1036529" y="2122991"/>
                </a:cubicBezTo>
                <a:cubicBezTo>
                  <a:pt x="1034577" y="2089926"/>
                  <a:pt x="1047665" y="2057779"/>
                  <a:pt x="1072120" y="2035467"/>
                </a:cubicBezTo>
                <a:lnTo>
                  <a:pt x="1111614" y="1981697"/>
                </a:lnTo>
                <a:lnTo>
                  <a:pt x="1201587" y="1855520"/>
                </a:lnTo>
                <a:lnTo>
                  <a:pt x="1320113" y="1688744"/>
                </a:lnTo>
                <a:lnTo>
                  <a:pt x="1320075" y="1688744"/>
                </a:lnTo>
                <a:cubicBezTo>
                  <a:pt x="1335306" y="1663791"/>
                  <a:pt x="1359837" y="1645919"/>
                  <a:pt x="1388272" y="1639107"/>
                </a:cubicBezTo>
                <a:cubicBezTo>
                  <a:pt x="1416706" y="1632333"/>
                  <a:pt x="1446672" y="1637155"/>
                  <a:pt x="1471509" y="1652540"/>
                </a:cubicBezTo>
                <a:cubicBezTo>
                  <a:pt x="1495313" y="1668766"/>
                  <a:pt x="1511234" y="1694254"/>
                  <a:pt x="1515405" y="1722766"/>
                </a:cubicBezTo>
                <a:cubicBezTo>
                  <a:pt x="1519806" y="1750856"/>
                  <a:pt x="1513109" y="1779597"/>
                  <a:pt x="1496768" y="1802866"/>
                </a:cubicBezTo>
                <a:lnTo>
                  <a:pt x="1457274" y="1858816"/>
                </a:lnTo>
                <a:close/>
                <a:moveTo>
                  <a:pt x="1551609" y="2292259"/>
                </a:moveTo>
                <a:lnTo>
                  <a:pt x="1525279" y="2328462"/>
                </a:lnTo>
                <a:cubicBezTo>
                  <a:pt x="1511808" y="2358888"/>
                  <a:pt x="1485211" y="2381582"/>
                  <a:pt x="1453025" y="2390078"/>
                </a:cubicBezTo>
                <a:cubicBezTo>
                  <a:pt x="1420839" y="2398612"/>
                  <a:pt x="1386511" y="2392068"/>
                  <a:pt x="1359761" y="2372282"/>
                </a:cubicBezTo>
                <a:cubicBezTo>
                  <a:pt x="1332972" y="2352497"/>
                  <a:pt x="1316631" y="2321612"/>
                  <a:pt x="1315329" y="2288318"/>
                </a:cubicBezTo>
                <a:cubicBezTo>
                  <a:pt x="1313990" y="2255061"/>
                  <a:pt x="1327881" y="2222990"/>
                  <a:pt x="1353026" y="2201177"/>
                </a:cubicBezTo>
                <a:lnTo>
                  <a:pt x="1549429" y="1924672"/>
                </a:lnTo>
                <a:lnTo>
                  <a:pt x="1549429" y="1924634"/>
                </a:lnTo>
                <a:cubicBezTo>
                  <a:pt x="1576792" y="1893444"/>
                  <a:pt x="1619386" y="1880318"/>
                  <a:pt x="1659569" y="1890765"/>
                </a:cubicBezTo>
                <a:cubicBezTo>
                  <a:pt x="1699752" y="1901213"/>
                  <a:pt x="1730560" y="1933437"/>
                  <a:pt x="1739247" y="1974003"/>
                </a:cubicBezTo>
                <a:cubicBezTo>
                  <a:pt x="1744834" y="2002170"/>
                  <a:pt x="1738022" y="2031332"/>
                  <a:pt x="1720610" y="2054141"/>
                </a:cubicBezTo>
                <a:lnTo>
                  <a:pt x="1654784" y="2147405"/>
                </a:lnTo>
                <a:close/>
                <a:moveTo>
                  <a:pt x="1920305" y="2335045"/>
                </a:moveTo>
                <a:lnTo>
                  <a:pt x="1851189" y="2430491"/>
                </a:lnTo>
                <a:lnTo>
                  <a:pt x="1842425" y="2443656"/>
                </a:lnTo>
                <a:lnTo>
                  <a:pt x="1814985" y="2480970"/>
                </a:lnTo>
                <a:cubicBezTo>
                  <a:pt x="1779509" y="2517442"/>
                  <a:pt x="1723596" y="2524751"/>
                  <a:pt x="1679932" y="2498613"/>
                </a:cubicBezTo>
                <a:cubicBezTo>
                  <a:pt x="1636266" y="2472474"/>
                  <a:pt x="1616288" y="2419738"/>
                  <a:pt x="1631711" y="2371250"/>
                </a:cubicBezTo>
                <a:lnTo>
                  <a:pt x="1640475" y="2356975"/>
                </a:lnTo>
                <a:lnTo>
                  <a:pt x="1744726" y="2211047"/>
                </a:lnTo>
                <a:lnTo>
                  <a:pt x="1744765" y="2211047"/>
                </a:lnTo>
                <a:cubicBezTo>
                  <a:pt x="1780356" y="2165544"/>
                  <a:pt x="1845146" y="2155478"/>
                  <a:pt x="1892868" y="2188008"/>
                </a:cubicBezTo>
                <a:cubicBezTo>
                  <a:pt x="1940400" y="2223139"/>
                  <a:pt x="1951574" y="2289575"/>
                  <a:pt x="1918126" y="2338335"/>
                </a:cubicBezTo>
                <a:close/>
                <a:moveTo>
                  <a:pt x="3335796" y="1852232"/>
                </a:moveTo>
                <a:cubicBezTo>
                  <a:pt x="3293891" y="1895554"/>
                  <a:pt x="3236904" y="1921080"/>
                  <a:pt x="3176671" y="1923567"/>
                </a:cubicBezTo>
                <a:lnTo>
                  <a:pt x="2528188" y="1517564"/>
                </a:lnTo>
                <a:cubicBezTo>
                  <a:pt x="2502738" y="1501260"/>
                  <a:pt x="2468869" y="1508609"/>
                  <a:pt x="2452490" y="1534020"/>
                </a:cubicBezTo>
                <a:cubicBezTo>
                  <a:pt x="2444453" y="1546305"/>
                  <a:pt x="2441773" y="1561345"/>
                  <a:pt x="2445103" y="1575620"/>
                </a:cubicBezTo>
                <a:cubicBezTo>
                  <a:pt x="2448395" y="1589932"/>
                  <a:pt x="2457426" y="1602256"/>
                  <a:pt x="2470056" y="1609719"/>
                </a:cubicBezTo>
                <a:lnTo>
                  <a:pt x="3102089" y="2006924"/>
                </a:lnTo>
                <a:lnTo>
                  <a:pt x="3102089" y="2006963"/>
                </a:lnTo>
                <a:cubicBezTo>
                  <a:pt x="3090838" y="2038650"/>
                  <a:pt x="3073272" y="2067773"/>
                  <a:pt x="3050501" y="2092535"/>
                </a:cubicBezTo>
                <a:cubicBezTo>
                  <a:pt x="3017091" y="2127858"/>
                  <a:pt x="2970746" y="2148065"/>
                  <a:pt x="2922139" y="2148485"/>
                </a:cubicBezTo>
                <a:lnTo>
                  <a:pt x="2349349" y="1828089"/>
                </a:lnTo>
                <a:cubicBezTo>
                  <a:pt x="2322674" y="1813241"/>
                  <a:pt x="2289036" y="1822808"/>
                  <a:pt x="2274186" y="1849482"/>
                </a:cubicBezTo>
                <a:cubicBezTo>
                  <a:pt x="2259337" y="1876157"/>
                  <a:pt x="2268905" y="1909795"/>
                  <a:pt x="2295580" y="1924645"/>
                </a:cubicBezTo>
                <a:lnTo>
                  <a:pt x="2844220" y="2230766"/>
                </a:lnTo>
                <a:lnTo>
                  <a:pt x="2844220" y="2230805"/>
                </a:lnTo>
                <a:cubicBezTo>
                  <a:pt x="2834690" y="2275159"/>
                  <a:pt x="2808819" y="2314310"/>
                  <a:pt x="2771775" y="2340523"/>
                </a:cubicBezTo>
                <a:cubicBezTo>
                  <a:pt x="2724205" y="2371790"/>
                  <a:pt x="2665573" y="2381357"/>
                  <a:pt x="2610503" y="2366853"/>
                </a:cubicBezTo>
                <a:lnTo>
                  <a:pt x="2603921" y="2366853"/>
                </a:lnTo>
                <a:cubicBezTo>
                  <a:pt x="2600515" y="2363600"/>
                  <a:pt x="2596841" y="2360653"/>
                  <a:pt x="2592938" y="2358089"/>
                </a:cubicBezTo>
                <a:lnTo>
                  <a:pt x="2154016" y="2138652"/>
                </a:lnTo>
                <a:lnTo>
                  <a:pt x="2154016" y="2138614"/>
                </a:lnTo>
                <a:cubicBezTo>
                  <a:pt x="2127495" y="2127593"/>
                  <a:pt x="2096955" y="2138882"/>
                  <a:pt x="2083982" y="2164523"/>
                </a:cubicBezTo>
                <a:cubicBezTo>
                  <a:pt x="2071008" y="2190164"/>
                  <a:pt x="2080040" y="2221469"/>
                  <a:pt x="2104648" y="2236279"/>
                </a:cubicBezTo>
                <a:lnTo>
                  <a:pt x="2524896" y="2448064"/>
                </a:lnTo>
                <a:cubicBezTo>
                  <a:pt x="2498528" y="2486947"/>
                  <a:pt x="2459914" y="2515917"/>
                  <a:pt x="2415178" y="2530344"/>
                </a:cubicBezTo>
                <a:cubicBezTo>
                  <a:pt x="2264283" y="2557631"/>
                  <a:pt x="2108557" y="2530000"/>
                  <a:pt x="1976256" y="2452426"/>
                </a:cubicBezTo>
                <a:lnTo>
                  <a:pt x="2011388" y="2398695"/>
                </a:lnTo>
                <a:cubicBezTo>
                  <a:pt x="2044683" y="2351546"/>
                  <a:pt x="2058077" y="2293219"/>
                  <a:pt x="2048701" y="2236278"/>
                </a:cubicBezTo>
                <a:cubicBezTo>
                  <a:pt x="2039861" y="2187714"/>
                  <a:pt x="2014947" y="2143511"/>
                  <a:pt x="1977901" y="2110865"/>
                </a:cubicBezTo>
                <a:cubicBezTo>
                  <a:pt x="1940856" y="2078183"/>
                  <a:pt x="1893899" y="2058970"/>
                  <a:pt x="1844611" y="2056330"/>
                </a:cubicBezTo>
                <a:cubicBezTo>
                  <a:pt x="1854485" y="2023265"/>
                  <a:pt x="1856743" y="1988362"/>
                  <a:pt x="1851194" y="1954263"/>
                </a:cubicBezTo>
                <a:cubicBezTo>
                  <a:pt x="1841397" y="1897777"/>
                  <a:pt x="1809901" y="1847377"/>
                  <a:pt x="1763402" y="1813812"/>
                </a:cubicBezTo>
                <a:cubicBezTo>
                  <a:pt x="1723793" y="1785607"/>
                  <a:pt x="1675955" y="1771294"/>
                  <a:pt x="1627350" y="1773245"/>
                </a:cubicBezTo>
                <a:cubicBezTo>
                  <a:pt x="1630603" y="1752121"/>
                  <a:pt x="1630603" y="1730689"/>
                  <a:pt x="1627350" y="1709602"/>
                </a:cubicBezTo>
                <a:cubicBezTo>
                  <a:pt x="1616673" y="1653421"/>
                  <a:pt x="1584525" y="1603676"/>
                  <a:pt x="1537721" y="1570835"/>
                </a:cubicBezTo>
                <a:cubicBezTo>
                  <a:pt x="1490956" y="1538038"/>
                  <a:pt x="1433205" y="1524759"/>
                  <a:pt x="1376754" y="1533867"/>
                </a:cubicBezTo>
                <a:cubicBezTo>
                  <a:pt x="1320344" y="1542975"/>
                  <a:pt x="1269711" y="1573744"/>
                  <a:pt x="1235617" y="1619592"/>
                </a:cubicBezTo>
                <a:lnTo>
                  <a:pt x="1225743" y="1632757"/>
                </a:lnTo>
                <a:lnTo>
                  <a:pt x="1225743" y="1632796"/>
                </a:lnTo>
                <a:cubicBezTo>
                  <a:pt x="1210664" y="1598620"/>
                  <a:pt x="1186364" y="1569344"/>
                  <a:pt x="1155517" y="1548295"/>
                </a:cubicBezTo>
                <a:cubicBezTo>
                  <a:pt x="1108445" y="1515421"/>
                  <a:pt x="1050394" y="1502295"/>
                  <a:pt x="993786" y="1511747"/>
                </a:cubicBezTo>
                <a:cubicBezTo>
                  <a:pt x="937185" y="1521200"/>
                  <a:pt x="886517" y="1552428"/>
                  <a:pt x="852648" y="1598773"/>
                </a:cubicBezTo>
                <a:lnTo>
                  <a:pt x="843884" y="1609757"/>
                </a:lnTo>
                <a:lnTo>
                  <a:pt x="843884" y="1609718"/>
                </a:lnTo>
                <a:cubicBezTo>
                  <a:pt x="765240" y="1528968"/>
                  <a:pt x="691950" y="1443206"/>
                  <a:pt x="624409" y="1352965"/>
                </a:cubicBezTo>
                <a:lnTo>
                  <a:pt x="1102823" y="512438"/>
                </a:lnTo>
                <a:cubicBezTo>
                  <a:pt x="1173087" y="582243"/>
                  <a:pt x="1258813" y="634521"/>
                  <a:pt x="1353032" y="664980"/>
                </a:cubicBezTo>
                <a:lnTo>
                  <a:pt x="1462750" y="680326"/>
                </a:lnTo>
                <a:cubicBezTo>
                  <a:pt x="1405537" y="754150"/>
                  <a:pt x="1365124" y="839491"/>
                  <a:pt x="1344224" y="930496"/>
                </a:cubicBezTo>
                <a:cubicBezTo>
                  <a:pt x="1324401" y="1013007"/>
                  <a:pt x="1348932" y="1099879"/>
                  <a:pt x="1408978" y="1159847"/>
                </a:cubicBezTo>
                <a:cubicBezTo>
                  <a:pt x="1466191" y="1217673"/>
                  <a:pt x="1548852" y="1242472"/>
                  <a:pt x="1628414" y="1225672"/>
                </a:cubicBezTo>
                <a:cubicBezTo>
                  <a:pt x="1712073" y="1208718"/>
                  <a:pt x="1787275" y="1163368"/>
                  <a:pt x="1841306" y="1097310"/>
                </a:cubicBezTo>
                <a:lnTo>
                  <a:pt x="1951024" y="951382"/>
                </a:lnTo>
                <a:lnTo>
                  <a:pt x="2105751" y="910777"/>
                </a:lnTo>
                <a:lnTo>
                  <a:pt x="2105751" y="910739"/>
                </a:lnTo>
                <a:cubicBezTo>
                  <a:pt x="2538245" y="1104272"/>
                  <a:pt x="2938351" y="1363357"/>
                  <a:pt x="3291891" y="1678855"/>
                </a:cubicBezTo>
                <a:lnTo>
                  <a:pt x="3298473" y="1678855"/>
                </a:lnTo>
                <a:cubicBezTo>
                  <a:pt x="3301650" y="1682644"/>
                  <a:pt x="3305362" y="1685935"/>
                  <a:pt x="3309457" y="1688729"/>
                </a:cubicBezTo>
                <a:cubicBezTo>
                  <a:pt x="3331806" y="1705185"/>
                  <a:pt x="3347076" y="1729486"/>
                  <a:pt x="3352243" y="1756734"/>
                </a:cubicBezTo>
                <a:cubicBezTo>
                  <a:pt x="3359935" y="1789494"/>
                  <a:pt x="3354003" y="1823937"/>
                  <a:pt x="3335787" y="1852218"/>
                </a:cubicBezTo>
                <a:close/>
                <a:moveTo>
                  <a:pt x="3350071" y="1579019"/>
                </a:moveTo>
                <a:cubicBezTo>
                  <a:pt x="2988497" y="1257516"/>
                  <a:pt x="2578585" y="994982"/>
                  <a:pt x="2135421" y="801028"/>
                </a:cubicBezTo>
                <a:cubicBezTo>
                  <a:pt x="2125279" y="798847"/>
                  <a:pt x="2114793" y="798847"/>
                  <a:pt x="2104690" y="801028"/>
                </a:cubicBezTo>
                <a:cubicBezTo>
                  <a:pt x="2097418" y="799995"/>
                  <a:pt x="2090032" y="799995"/>
                  <a:pt x="2082723" y="801028"/>
                </a:cubicBezTo>
                <a:lnTo>
                  <a:pt x="1912654" y="846034"/>
                </a:lnTo>
                <a:cubicBezTo>
                  <a:pt x="1894475" y="851239"/>
                  <a:pt x="1878364" y="861955"/>
                  <a:pt x="1866577" y="876727"/>
                </a:cubicBezTo>
                <a:lnTo>
                  <a:pt x="1756859" y="1028161"/>
                </a:lnTo>
                <a:cubicBezTo>
                  <a:pt x="1718130" y="1074047"/>
                  <a:pt x="1665240" y="1105697"/>
                  <a:pt x="1606532" y="1118134"/>
                </a:cubicBezTo>
                <a:cubicBezTo>
                  <a:pt x="1562750" y="1127357"/>
                  <a:pt x="1517285" y="1113733"/>
                  <a:pt x="1485831" y="1081931"/>
                </a:cubicBezTo>
                <a:cubicBezTo>
                  <a:pt x="1452536" y="1048177"/>
                  <a:pt x="1438873" y="999727"/>
                  <a:pt x="1449627" y="953569"/>
                </a:cubicBezTo>
                <a:cubicBezTo>
                  <a:pt x="1473853" y="847103"/>
                  <a:pt x="1530607" y="750856"/>
                  <a:pt x="1612005" y="678142"/>
                </a:cubicBezTo>
                <a:cubicBezTo>
                  <a:pt x="1671018" y="625711"/>
                  <a:pt x="1738104" y="583117"/>
                  <a:pt x="1810623" y="551964"/>
                </a:cubicBezTo>
                <a:cubicBezTo>
                  <a:pt x="2168336" y="395053"/>
                  <a:pt x="2549082" y="498194"/>
                  <a:pt x="2776220" y="559657"/>
                </a:cubicBezTo>
                <a:lnTo>
                  <a:pt x="2776220" y="559618"/>
                </a:lnTo>
                <a:cubicBezTo>
                  <a:pt x="2832477" y="577185"/>
                  <a:pt x="2890111" y="590043"/>
                  <a:pt x="2948512" y="598042"/>
                </a:cubicBezTo>
                <a:cubicBezTo>
                  <a:pt x="3025550" y="606232"/>
                  <a:pt x="3103042" y="587632"/>
                  <a:pt x="3167948" y="545382"/>
                </a:cubicBezTo>
                <a:lnTo>
                  <a:pt x="3631020" y="1359573"/>
                </a:lnTo>
                <a:lnTo>
                  <a:pt x="3631020" y="1359535"/>
                </a:lnTo>
                <a:cubicBezTo>
                  <a:pt x="3559876" y="1458114"/>
                  <a:pt x="3462020" y="1534277"/>
                  <a:pt x="3349009" y="1579011"/>
                </a:cubicBezTo>
                <a:close/>
                <a:moveTo>
                  <a:pt x="3837253" y="1497810"/>
                </a:moveTo>
                <a:lnTo>
                  <a:pt x="3734119" y="1316759"/>
                </a:lnTo>
                <a:lnTo>
                  <a:pt x="3250228" y="466357"/>
                </a:lnTo>
                <a:lnTo>
                  <a:pt x="3145976" y="283121"/>
                </a:lnTo>
                <a:lnTo>
                  <a:pt x="3431240" y="116344"/>
                </a:lnTo>
                <a:lnTo>
                  <a:pt x="4122516" y="1334325"/>
                </a:lnTo>
                <a:close/>
              </a:path>
            </a:pathLst>
          </a:custGeom>
          <a:solidFill>
            <a:schemeClr val="accent1"/>
          </a:solidFill>
          <a:ln w="9797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id="{422E96BE-D5E0-9A43-CE1A-FC5AE4927CCA}"/>
              </a:ext>
            </a:extLst>
          </p:cNvPr>
          <p:cNvGrpSpPr>
            <a:grpSpLocks noChangeAspect="1"/>
          </p:cNvGrpSpPr>
          <p:nvPr/>
        </p:nvGrpSpPr>
        <p:grpSpPr>
          <a:xfrm>
            <a:off x="1901523" y="5074019"/>
            <a:ext cx="536878" cy="727318"/>
            <a:chOff x="16827563" y="-1263306"/>
            <a:chExt cx="3621023" cy="4905465"/>
          </a:xfrm>
          <a:solidFill>
            <a:schemeClr val="accent1"/>
          </a:solidFill>
        </p:grpSpPr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CAFAC4E7-0F9E-7E00-9F44-6C6010A08F44}"/>
                </a:ext>
              </a:extLst>
            </p:cNvPr>
            <p:cNvSpPr/>
            <p:nvPr/>
          </p:nvSpPr>
          <p:spPr>
            <a:xfrm>
              <a:off x="17485978" y="76024"/>
              <a:ext cx="2304229" cy="2861770"/>
            </a:xfrm>
            <a:custGeom>
              <a:avLst/>
              <a:gdLst>
                <a:gd name="connsiteX0" fmla="*/ 2084815 w 2304229"/>
                <a:gd name="connsiteY0" fmla="*/ 493762 h 2861770"/>
                <a:gd name="connsiteX1" fmla="*/ 1813630 w 2304229"/>
                <a:gd name="connsiteY1" fmla="*/ 220970 h 2861770"/>
                <a:gd name="connsiteX2" fmla="*/ 1042408 w 2304229"/>
                <a:gd name="connsiteY2" fmla="*/ 219554 h 2861770"/>
                <a:gd name="connsiteX3" fmla="*/ 1042408 w 2304229"/>
                <a:gd name="connsiteY3" fmla="*/ 0 h 2861770"/>
                <a:gd name="connsiteX4" fmla="*/ 493768 w 2304229"/>
                <a:gd name="connsiteY4" fmla="*/ 0 h 2861770"/>
                <a:gd name="connsiteX5" fmla="*/ 493768 w 2304229"/>
                <a:gd name="connsiteY5" fmla="*/ 548640 h 2861770"/>
                <a:gd name="connsiteX6" fmla="*/ 1042408 w 2304229"/>
                <a:gd name="connsiteY6" fmla="*/ 548640 h 2861770"/>
                <a:gd name="connsiteX7" fmla="*/ 1042408 w 2304229"/>
                <a:gd name="connsiteY7" fmla="*/ 329204 h 2861770"/>
                <a:gd name="connsiteX8" fmla="*/ 1810485 w 2304229"/>
                <a:gd name="connsiteY8" fmla="*/ 329204 h 2861770"/>
                <a:gd name="connsiteX9" fmla="*/ 1976840 w 2304229"/>
                <a:gd name="connsiteY9" fmla="*/ 490817 h 2861770"/>
                <a:gd name="connsiteX10" fmla="*/ 1977338 w 2304229"/>
                <a:gd name="connsiteY10" fmla="*/ 603524 h 2861770"/>
                <a:gd name="connsiteX11" fmla="*/ 1755638 w 2304229"/>
                <a:gd name="connsiteY11" fmla="*/ 603524 h 2861770"/>
                <a:gd name="connsiteX12" fmla="*/ 1755638 w 2304229"/>
                <a:gd name="connsiteY12" fmla="*/ 1152164 h 2861770"/>
                <a:gd name="connsiteX13" fmla="*/ 1975075 w 2304229"/>
                <a:gd name="connsiteY13" fmla="*/ 1152164 h 2861770"/>
                <a:gd name="connsiteX14" fmla="*/ 1975075 w 2304229"/>
                <a:gd name="connsiteY14" fmla="*/ 1261882 h 2861770"/>
                <a:gd name="connsiteX15" fmla="*/ 1865356 w 2304229"/>
                <a:gd name="connsiteY15" fmla="*/ 1371600 h 2861770"/>
                <a:gd name="connsiteX16" fmla="*/ 1042396 w 2304229"/>
                <a:gd name="connsiteY16" fmla="*/ 1371600 h 2861770"/>
                <a:gd name="connsiteX17" fmla="*/ 1042396 w 2304229"/>
                <a:gd name="connsiteY17" fmla="*/ 1152164 h 2861770"/>
                <a:gd name="connsiteX18" fmla="*/ 493756 w 2304229"/>
                <a:gd name="connsiteY18" fmla="*/ 1152164 h 2861770"/>
                <a:gd name="connsiteX19" fmla="*/ 493756 w 2304229"/>
                <a:gd name="connsiteY19" fmla="*/ 1370189 h 2861770"/>
                <a:gd name="connsiteX20" fmla="*/ 326362 w 2304229"/>
                <a:gd name="connsiteY20" fmla="*/ 1370189 h 2861770"/>
                <a:gd name="connsiteX21" fmla="*/ 0 w 2304229"/>
                <a:gd name="connsiteY21" fmla="*/ 1700804 h 2861770"/>
                <a:gd name="connsiteX22" fmla="*/ 0 w 2304229"/>
                <a:gd name="connsiteY22" fmla="*/ 2249444 h 2861770"/>
                <a:gd name="connsiteX23" fmla="*/ 326362 w 2304229"/>
                <a:gd name="connsiteY23" fmla="*/ 2577266 h 2861770"/>
                <a:gd name="connsiteX24" fmla="*/ 853076 w 2304229"/>
                <a:gd name="connsiteY24" fmla="*/ 2577266 h 2861770"/>
                <a:gd name="connsiteX25" fmla="*/ 646915 w 2304229"/>
                <a:gd name="connsiteY25" fmla="*/ 2784427 h 2861770"/>
                <a:gd name="connsiteX26" fmla="*/ 724718 w 2304229"/>
                <a:gd name="connsiteY26" fmla="*/ 2861770 h 2861770"/>
                <a:gd name="connsiteX27" fmla="*/ 1062416 w 2304229"/>
                <a:gd name="connsiteY27" fmla="*/ 2522319 h 2861770"/>
                <a:gd name="connsiteX28" fmla="*/ 724718 w 2304229"/>
                <a:gd name="connsiteY28" fmla="*/ 2182828 h 2861770"/>
                <a:gd name="connsiteX29" fmla="*/ 646915 w 2304229"/>
                <a:gd name="connsiteY29" fmla="*/ 2260172 h 2861770"/>
                <a:gd name="connsiteX30" fmla="*/ 852655 w 2304229"/>
                <a:gd name="connsiteY30" fmla="*/ 2468821 h 2861770"/>
                <a:gd name="connsiteX31" fmla="*/ 329155 w 2304229"/>
                <a:gd name="connsiteY31" fmla="*/ 2468859 h 2861770"/>
                <a:gd name="connsiteX32" fmla="*/ 108258 w 2304229"/>
                <a:gd name="connsiteY32" fmla="*/ 2248042 h 2861770"/>
                <a:gd name="connsiteX33" fmla="*/ 108258 w 2304229"/>
                <a:gd name="connsiteY33" fmla="*/ 1699362 h 2861770"/>
                <a:gd name="connsiteX34" fmla="*/ 326402 w 2304229"/>
                <a:gd name="connsiteY34" fmla="*/ 1479926 h 2861770"/>
                <a:gd name="connsiteX35" fmla="*/ 493756 w 2304229"/>
                <a:gd name="connsiteY35" fmla="*/ 1479926 h 2861770"/>
                <a:gd name="connsiteX36" fmla="*/ 493756 w 2304229"/>
                <a:gd name="connsiteY36" fmla="*/ 1700822 h 2861770"/>
                <a:gd name="connsiteX37" fmla="*/ 1042396 w 2304229"/>
                <a:gd name="connsiteY37" fmla="*/ 1700822 h 2861770"/>
                <a:gd name="connsiteX38" fmla="*/ 1042396 w 2304229"/>
                <a:gd name="connsiteY38" fmla="*/ 1481386 h 2861770"/>
                <a:gd name="connsiteX39" fmla="*/ 1865356 w 2304229"/>
                <a:gd name="connsiteY39" fmla="*/ 1481386 h 2861770"/>
                <a:gd name="connsiteX40" fmla="*/ 2084793 w 2304229"/>
                <a:gd name="connsiteY40" fmla="*/ 1261949 h 2861770"/>
                <a:gd name="connsiteX41" fmla="*/ 2084793 w 2304229"/>
                <a:gd name="connsiteY41" fmla="*/ 1152231 h 2861770"/>
                <a:gd name="connsiteX42" fmla="*/ 2304229 w 2304229"/>
                <a:gd name="connsiteY42" fmla="*/ 1152231 h 2861770"/>
                <a:gd name="connsiteX43" fmla="*/ 2304229 w 2304229"/>
                <a:gd name="connsiteY43" fmla="*/ 603591 h 2861770"/>
                <a:gd name="connsiteX44" fmla="*/ 2084793 w 2304229"/>
                <a:gd name="connsiteY44" fmla="*/ 603591 h 2861770"/>
                <a:gd name="connsiteX45" fmla="*/ 932671 w 2304229"/>
                <a:gd name="connsiteY45" fmla="*/ 438920 h 2861770"/>
                <a:gd name="connsiteX46" fmla="*/ 603467 w 2304229"/>
                <a:gd name="connsiteY46" fmla="*/ 438920 h 2861770"/>
                <a:gd name="connsiteX47" fmla="*/ 603467 w 2304229"/>
                <a:gd name="connsiteY47" fmla="*/ 109716 h 2861770"/>
                <a:gd name="connsiteX48" fmla="*/ 932671 w 2304229"/>
                <a:gd name="connsiteY48" fmla="*/ 109716 h 2861770"/>
                <a:gd name="connsiteX49" fmla="*/ 932671 w 2304229"/>
                <a:gd name="connsiteY49" fmla="*/ 1591064 h 2861770"/>
                <a:gd name="connsiteX50" fmla="*/ 603467 w 2304229"/>
                <a:gd name="connsiteY50" fmla="*/ 1591064 h 2861770"/>
                <a:gd name="connsiteX51" fmla="*/ 603467 w 2304229"/>
                <a:gd name="connsiteY51" fmla="*/ 1261861 h 2861770"/>
                <a:gd name="connsiteX52" fmla="*/ 932671 w 2304229"/>
                <a:gd name="connsiteY52" fmla="*/ 1261861 h 2861770"/>
                <a:gd name="connsiteX53" fmla="*/ 2194543 w 2304229"/>
                <a:gd name="connsiteY53" fmla="*/ 1042424 h 2861770"/>
                <a:gd name="connsiteX54" fmla="*/ 1865339 w 2304229"/>
                <a:gd name="connsiteY54" fmla="*/ 1042424 h 2861770"/>
                <a:gd name="connsiteX55" fmla="*/ 1865339 w 2304229"/>
                <a:gd name="connsiteY55" fmla="*/ 713221 h 2861770"/>
                <a:gd name="connsiteX56" fmla="*/ 2194543 w 2304229"/>
                <a:gd name="connsiteY56" fmla="*/ 713221 h 28617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2304229" h="2861770">
                  <a:moveTo>
                    <a:pt x="2084815" y="493762"/>
                  </a:moveTo>
                  <a:cubicBezTo>
                    <a:pt x="2080758" y="344159"/>
                    <a:pt x="1962546" y="220970"/>
                    <a:pt x="1813630" y="220970"/>
                  </a:cubicBezTo>
                  <a:lnTo>
                    <a:pt x="1042408" y="219554"/>
                  </a:lnTo>
                  <a:lnTo>
                    <a:pt x="1042408" y="0"/>
                  </a:lnTo>
                  <a:lnTo>
                    <a:pt x="493768" y="0"/>
                  </a:lnTo>
                  <a:lnTo>
                    <a:pt x="493768" y="548640"/>
                  </a:lnTo>
                  <a:lnTo>
                    <a:pt x="1042408" y="548640"/>
                  </a:lnTo>
                  <a:lnTo>
                    <a:pt x="1042408" y="329204"/>
                  </a:lnTo>
                  <a:lnTo>
                    <a:pt x="1810485" y="329204"/>
                  </a:lnTo>
                  <a:cubicBezTo>
                    <a:pt x="1899693" y="329204"/>
                    <a:pt x="1974430" y="401074"/>
                    <a:pt x="1976840" y="490817"/>
                  </a:cubicBezTo>
                  <a:lnTo>
                    <a:pt x="1977338" y="603524"/>
                  </a:lnTo>
                  <a:lnTo>
                    <a:pt x="1755638" y="603524"/>
                  </a:lnTo>
                  <a:lnTo>
                    <a:pt x="1755638" y="1152164"/>
                  </a:lnTo>
                  <a:lnTo>
                    <a:pt x="1975075" y="1152164"/>
                  </a:lnTo>
                  <a:lnTo>
                    <a:pt x="1975075" y="1261882"/>
                  </a:lnTo>
                  <a:cubicBezTo>
                    <a:pt x="1975075" y="1323152"/>
                    <a:pt x="1926127" y="1371600"/>
                    <a:pt x="1865356" y="1371600"/>
                  </a:cubicBezTo>
                  <a:lnTo>
                    <a:pt x="1042396" y="1371600"/>
                  </a:lnTo>
                  <a:lnTo>
                    <a:pt x="1042396" y="1152164"/>
                  </a:lnTo>
                  <a:lnTo>
                    <a:pt x="493756" y="1152164"/>
                  </a:lnTo>
                  <a:lnTo>
                    <a:pt x="493756" y="1370189"/>
                  </a:lnTo>
                  <a:lnTo>
                    <a:pt x="326362" y="1370189"/>
                  </a:lnTo>
                  <a:cubicBezTo>
                    <a:pt x="145576" y="1370189"/>
                    <a:pt x="0" y="1519331"/>
                    <a:pt x="0" y="1700804"/>
                  </a:cubicBezTo>
                  <a:lnTo>
                    <a:pt x="0" y="2249444"/>
                  </a:lnTo>
                  <a:cubicBezTo>
                    <a:pt x="0" y="2430995"/>
                    <a:pt x="145615" y="2577266"/>
                    <a:pt x="326362" y="2577266"/>
                  </a:cubicBezTo>
                  <a:lnTo>
                    <a:pt x="853076" y="2577266"/>
                  </a:lnTo>
                  <a:lnTo>
                    <a:pt x="646915" y="2784427"/>
                  </a:lnTo>
                  <a:lnTo>
                    <a:pt x="724718" y="2861770"/>
                  </a:lnTo>
                  <a:lnTo>
                    <a:pt x="1062416" y="2522319"/>
                  </a:lnTo>
                  <a:lnTo>
                    <a:pt x="724718" y="2182828"/>
                  </a:lnTo>
                  <a:lnTo>
                    <a:pt x="646915" y="2260172"/>
                  </a:lnTo>
                  <a:lnTo>
                    <a:pt x="852655" y="2468821"/>
                  </a:lnTo>
                  <a:lnTo>
                    <a:pt x="329155" y="2468859"/>
                  </a:lnTo>
                  <a:cubicBezTo>
                    <a:pt x="208914" y="2468859"/>
                    <a:pt x="108258" y="2369046"/>
                    <a:pt x="108258" y="2248042"/>
                  </a:cubicBezTo>
                  <a:lnTo>
                    <a:pt x="108258" y="1699362"/>
                  </a:lnTo>
                  <a:cubicBezTo>
                    <a:pt x="108258" y="1578319"/>
                    <a:pt x="206077" y="1479926"/>
                    <a:pt x="326402" y="1479926"/>
                  </a:cubicBezTo>
                  <a:lnTo>
                    <a:pt x="493756" y="1479926"/>
                  </a:lnTo>
                  <a:lnTo>
                    <a:pt x="493756" y="1700822"/>
                  </a:lnTo>
                  <a:lnTo>
                    <a:pt x="1042396" y="1700822"/>
                  </a:lnTo>
                  <a:lnTo>
                    <a:pt x="1042396" y="1481386"/>
                  </a:lnTo>
                  <a:lnTo>
                    <a:pt x="1865356" y="1481386"/>
                  </a:lnTo>
                  <a:cubicBezTo>
                    <a:pt x="1986674" y="1481386"/>
                    <a:pt x="2084793" y="1383720"/>
                    <a:pt x="2084793" y="1261949"/>
                  </a:cubicBezTo>
                  <a:lnTo>
                    <a:pt x="2084793" y="1152231"/>
                  </a:lnTo>
                  <a:lnTo>
                    <a:pt x="2304229" y="1152231"/>
                  </a:lnTo>
                  <a:lnTo>
                    <a:pt x="2304229" y="603591"/>
                  </a:lnTo>
                  <a:lnTo>
                    <a:pt x="2084793" y="603591"/>
                  </a:lnTo>
                  <a:close/>
                  <a:moveTo>
                    <a:pt x="932671" y="438920"/>
                  </a:moveTo>
                  <a:lnTo>
                    <a:pt x="603467" y="438920"/>
                  </a:lnTo>
                  <a:lnTo>
                    <a:pt x="603467" y="109716"/>
                  </a:lnTo>
                  <a:lnTo>
                    <a:pt x="932671" y="109716"/>
                  </a:lnTo>
                  <a:close/>
                  <a:moveTo>
                    <a:pt x="932671" y="1591064"/>
                  </a:moveTo>
                  <a:lnTo>
                    <a:pt x="603467" y="1591064"/>
                  </a:lnTo>
                  <a:lnTo>
                    <a:pt x="603467" y="1261861"/>
                  </a:lnTo>
                  <a:lnTo>
                    <a:pt x="932671" y="1261861"/>
                  </a:lnTo>
                  <a:close/>
                  <a:moveTo>
                    <a:pt x="2194543" y="1042424"/>
                  </a:moveTo>
                  <a:lnTo>
                    <a:pt x="1865339" y="1042424"/>
                  </a:lnTo>
                  <a:lnTo>
                    <a:pt x="1865339" y="713221"/>
                  </a:lnTo>
                  <a:lnTo>
                    <a:pt x="2194543" y="713221"/>
                  </a:lnTo>
                  <a:close/>
                </a:path>
              </a:pathLst>
            </a:custGeom>
            <a:grpFill/>
            <a:ln w="97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282C3525-C946-BBD3-D2B6-241E93F057B2}"/>
                </a:ext>
              </a:extLst>
            </p:cNvPr>
            <p:cNvSpPr/>
            <p:nvPr/>
          </p:nvSpPr>
          <p:spPr>
            <a:xfrm>
              <a:off x="16827563" y="-1263306"/>
              <a:ext cx="3621023" cy="4905465"/>
            </a:xfrm>
            <a:custGeom>
              <a:avLst/>
              <a:gdLst>
                <a:gd name="connsiteX0" fmla="*/ 2688366 w 3621023"/>
                <a:gd name="connsiteY0" fmla="*/ 516346 h 4905465"/>
                <a:gd name="connsiteX1" fmla="*/ 2688366 w 3621023"/>
                <a:gd name="connsiteY1" fmla="*/ 351744 h 4905465"/>
                <a:gd name="connsiteX2" fmla="*/ 2372633 w 3621023"/>
                <a:gd name="connsiteY2" fmla="*/ 354040 h 4905465"/>
                <a:gd name="connsiteX3" fmla="*/ 2221424 w 3621023"/>
                <a:gd name="connsiteY3" fmla="*/ 263034 h 4905465"/>
                <a:gd name="connsiteX4" fmla="*/ 1811972 w 3621023"/>
                <a:gd name="connsiteY4" fmla="*/ 0 h 4905465"/>
                <a:gd name="connsiteX5" fmla="*/ 1402481 w 3621023"/>
                <a:gd name="connsiteY5" fmla="*/ 263034 h 4905465"/>
                <a:gd name="connsiteX6" fmla="*/ 1251624 w 3621023"/>
                <a:gd name="connsiteY6" fmla="*/ 354040 h 4905465"/>
                <a:gd name="connsiteX7" fmla="*/ 932678 w 3621023"/>
                <a:gd name="connsiteY7" fmla="*/ 351744 h 4905465"/>
                <a:gd name="connsiteX8" fmla="*/ 932678 w 3621023"/>
                <a:gd name="connsiteY8" fmla="*/ 516346 h 4905465"/>
                <a:gd name="connsiteX9" fmla="*/ 0 w 3621023"/>
                <a:gd name="connsiteY9" fmla="*/ 516346 h 4905465"/>
                <a:gd name="connsiteX10" fmla="*/ 0 w 3621023"/>
                <a:gd name="connsiteY10" fmla="*/ 4905466 h 4905465"/>
                <a:gd name="connsiteX11" fmla="*/ 3621024 w 3621023"/>
                <a:gd name="connsiteY11" fmla="*/ 4905466 h 4905465"/>
                <a:gd name="connsiteX12" fmla="*/ 3621024 w 3621023"/>
                <a:gd name="connsiteY12" fmla="*/ 516346 h 4905465"/>
                <a:gd name="connsiteX13" fmla="*/ 1042445 w 3621023"/>
                <a:gd name="connsiteY13" fmla="*/ 461466 h 4905465"/>
                <a:gd name="connsiteX14" fmla="*/ 1261882 w 3621023"/>
                <a:gd name="connsiteY14" fmla="*/ 461466 h 4905465"/>
                <a:gd name="connsiteX15" fmla="*/ 1502558 w 3621023"/>
                <a:gd name="connsiteY15" fmla="*/ 308004 h 4905465"/>
                <a:gd name="connsiteX16" fmla="*/ 1812011 w 3621023"/>
                <a:gd name="connsiteY16" fmla="*/ 109729 h 4905465"/>
                <a:gd name="connsiteX17" fmla="*/ 2121385 w 3621023"/>
                <a:gd name="connsiteY17" fmla="*/ 308043 h 4905465"/>
                <a:gd name="connsiteX18" fmla="*/ 2359230 w 3621023"/>
                <a:gd name="connsiteY18" fmla="*/ 461427 h 4905465"/>
                <a:gd name="connsiteX19" fmla="*/ 2578667 w 3621023"/>
                <a:gd name="connsiteY19" fmla="*/ 461427 h 4905465"/>
                <a:gd name="connsiteX20" fmla="*/ 2578667 w 3621023"/>
                <a:gd name="connsiteY20" fmla="*/ 735747 h 4905465"/>
                <a:gd name="connsiteX21" fmla="*/ 2468949 w 3621023"/>
                <a:gd name="connsiteY21" fmla="*/ 845465 h 4905465"/>
                <a:gd name="connsiteX22" fmla="*/ 1152115 w 3621023"/>
                <a:gd name="connsiteY22" fmla="*/ 845542 h 4905465"/>
                <a:gd name="connsiteX23" fmla="*/ 1042396 w 3621023"/>
                <a:gd name="connsiteY23" fmla="*/ 735824 h 4905465"/>
                <a:gd name="connsiteX24" fmla="*/ 3511325 w 3621023"/>
                <a:gd name="connsiteY24" fmla="*/ 4795722 h 4905465"/>
                <a:gd name="connsiteX25" fmla="*/ 109757 w 3621023"/>
                <a:gd name="connsiteY25" fmla="*/ 4795722 h 4905465"/>
                <a:gd name="connsiteX26" fmla="*/ 109757 w 3621023"/>
                <a:gd name="connsiteY26" fmla="*/ 626058 h 4905465"/>
                <a:gd name="connsiteX27" fmla="*/ 932717 w 3621023"/>
                <a:gd name="connsiteY27" fmla="*/ 626058 h 4905465"/>
                <a:gd name="connsiteX28" fmla="*/ 932717 w 3621023"/>
                <a:gd name="connsiteY28" fmla="*/ 735776 h 4905465"/>
                <a:gd name="connsiteX29" fmla="*/ 1152154 w 3621023"/>
                <a:gd name="connsiteY29" fmla="*/ 955213 h 4905465"/>
                <a:gd name="connsiteX30" fmla="*/ 2468890 w 3621023"/>
                <a:gd name="connsiteY30" fmla="*/ 955213 h 4905465"/>
                <a:gd name="connsiteX31" fmla="*/ 2688326 w 3621023"/>
                <a:gd name="connsiteY31" fmla="*/ 735776 h 4905465"/>
                <a:gd name="connsiteX32" fmla="*/ 2688326 w 3621023"/>
                <a:gd name="connsiteY32" fmla="*/ 626058 h 4905465"/>
                <a:gd name="connsiteX33" fmla="*/ 3511286 w 3621023"/>
                <a:gd name="connsiteY33" fmla="*/ 626058 h 4905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3621023" h="4905465">
                  <a:moveTo>
                    <a:pt x="2688366" y="516346"/>
                  </a:moveTo>
                  <a:lnTo>
                    <a:pt x="2688366" y="351744"/>
                  </a:lnTo>
                  <a:lnTo>
                    <a:pt x="2372633" y="354040"/>
                  </a:lnTo>
                  <a:cubicBezTo>
                    <a:pt x="2305661" y="354002"/>
                    <a:pt x="2246269" y="318258"/>
                    <a:pt x="2221424" y="263034"/>
                  </a:cubicBezTo>
                  <a:cubicBezTo>
                    <a:pt x="2149553" y="103252"/>
                    <a:pt x="1988859" y="0"/>
                    <a:pt x="1811972" y="0"/>
                  </a:cubicBezTo>
                  <a:cubicBezTo>
                    <a:pt x="1635084" y="0"/>
                    <a:pt x="1474392" y="103252"/>
                    <a:pt x="1402481" y="263034"/>
                  </a:cubicBezTo>
                  <a:cubicBezTo>
                    <a:pt x="1377643" y="318334"/>
                    <a:pt x="1318210" y="354040"/>
                    <a:pt x="1251624" y="354040"/>
                  </a:cubicBezTo>
                  <a:lnTo>
                    <a:pt x="932678" y="351744"/>
                  </a:lnTo>
                  <a:lnTo>
                    <a:pt x="932678" y="516346"/>
                  </a:lnTo>
                  <a:lnTo>
                    <a:pt x="0" y="516346"/>
                  </a:lnTo>
                  <a:lnTo>
                    <a:pt x="0" y="4905466"/>
                  </a:lnTo>
                  <a:lnTo>
                    <a:pt x="3621024" y="4905466"/>
                  </a:lnTo>
                  <a:lnTo>
                    <a:pt x="3621024" y="516346"/>
                  </a:lnTo>
                  <a:close/>
                  <a:moveTo>
                    <a:pt x="1042445" y="461466"/>
                  </a:moveTo>
                  <a:lnTo>
                    <a:pt x="1261882" y="461466"/>
                  </a:lnTo>
                  <a:cubicBezTo>
                    <a:pt x="1372060" y="461466"/>
                    <a:pt x="1459931" y="402645"/>
                    <a:pt x="1502558" y="308004"/>
                  </a:cubicBezTo>
                  <a:cubicBezTo>
                    <a:pt x="1556749" y="187567"/>
                    <a:pt x="1678221" y="109729"/>
                    <a:pt x="1812011" y="109729"/>
                  </a:cubicBezTo>
                  <a:cubicBezTo>
                    <a:pt x="1945762" y="109729"/>
                    <a:pt x="2067197" y="187570"/>
                    <a:pt x="2121385" y="308043"/>
                  </a:cubicBezTo>
                  <a:cubicBezTo>
                    <a:pt x="2164018" y="402646"/>
                    <a:pt x="2249052" y="461427"/>
                    <a:pt x="2359230" y="461427"/>
                  </a:cubicBezTo>
                  <a:lnTo>
                    <a:pt x="2578667" y="461427"/>
                  </a:lnTo>
                  <a:lnTo>
                    <a:pt x="2578667" y="735747"/>
                  </a:lnTo>
                  <a:cubicBezTo>
                    <a:pt x="2578667" y="808537"/>
                    <a:pt x="2541737" y="845465"/>
                    <a:pt x="2468949" y="845465"/>
                  </a:cubicBezTo>
                  <a:lnTo>
                    <a:pt x="1152115" y="845542"/>
                  </a:lnTo>
                  <a:cubicBezTo>
                    <a:pt x="1079325" y="845542"/>
                    <a:pt x="1042396" y="808611"/>
                    <a:pt x="1042396" y="735824"/>
                  </a:cubicBezTo>
                  <a:close/>
                  <a:moveTo>
                    <a:pt x="3511325" y="4795722"/>
                  </a:moveTo>
                  <a:lnTo>
                    <a:pt x="109757" y="4795722"/>
                  </a:lnTo>
                  <a:lnTo>
                    <a:pt x="109757" y="626058"/>
                  </a:lnTo>
                  <a:lnTo>
                    <a:pt x="932717" y="626058"/>
                  </a:lnTo>
                  <a:lnTo>
                    <a:pt x="932717" y="735776"/>
                  </a:lnTo>
                  <a:cubicBezTo>
                    <a:pt x="932717" y="869106"/>
                    <a:pt x="1018864" y="955213"/>
                    <a:pt x="1152154" y="955213"/>
                  </a:cubicBezTo>
                  <a:lnTo>
                    <a:pt x="2468890" y="955213"/>
                  </a:lnTo>
                  <a:cubicBezTo>
                    <a:pt x="2602219" y="955213"/>
                    <a:pt x="2688326" y="869067"/>
                    <a:pt x="2688326" y="735776"/>
                  </a:cubicBezTo>
                  <a:lnTo>
                    <a:pt x="2688326" y="626058"/>
                  </a:lnTo>
                  <a:lnTo>
                    <a:pt x="3511286" y="626058"/>
                  </a:lnTo>
                  <a:close/>
                </a:path>
              </a:pathLst>
            </a:custGeom>
            <a:grpFill/>
            <a:ln w="97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46A44C5C-4ABB-C16B-8EE9-0A8F4C405052}"/>
                </a:ext>
              </a:extLst>
            </p:cNvPr>
            <p:cNvSpPr/>
            <p:nvPr/>
          </p:nvSpPr>
          <p:spPr>
            <a:xfrm>
              <a:off x="18802667" y="1944227"/>
              <a:ext cx="1037732" cy="1149322"/>
            </a:xfrm>
            <a:custGeom>
              <a:avLst/>
              <a:gdLst>
                <a:gd name="connsiteX0" fmla="*/ 944964 w 1037732"/>
                <a:gd name="connsiteY0" fmla="*/ 0 h 1149322"/>
                <a:gd name="connsiteX1" fmla="*/ 808529 w 1037732"/>
                <a:gd name="connsiteY1" fmla="*/ 216644 h 1149322"/>
                <a:gd name="connsiteX2" fmla="*/ 0 w 1037732"/>
                <a:gd name="connsiteY2" fmla="*/ 216644 h 1149322"/>
                <a:gd name="connsiteX3" fmla="*/ 0 w 1037732"/>
                <a:gd name="connsiteY3" fmla="*/ 1149322 h 1149322"/>
                <a:gd name="connsiteX4" fmla="*/ 932678 w 1037732"/>
                <a:gd name="connsiteY4" fmla="*/ 1149322 h 1149322"/>
                <a:gd name="connsiteX5" fmla="*/ 932678 w 1037732"/>
                <a:gd name="connsiteY5" fmla="*/ 225295 h 1149322"/>
                <a:gd name="connsiteX6" fmla="*/ 1037733 w 1037732"/>
                <a:gd name="connsiteY6" fmla="*/ 58440 h 1149322"/>
                <a:gd name="connsiteX7" fmla="*/ 822960 w 1037732"/>
                <a:gd name="connsiteY7" fmla="*/ 1039575 h 1149322"/>
                <a:gd name="connsiteX8" fmla="*/ 109718 w 1037732"/>
                <a:gd name="connsiteY8" fmla="*/ 1039575 h 1149322"/>
                <a:gd name="connsiteX9" fmla="*/ 109718 w 1037732"/>
                <a:gd name="connsiteY9" fmla="*/ 326333 h 1149322"/>
                <a:gd name="connsiteX10" fmla="*/ 739381 w 1037732"/>
                <a:gd name="connsiteY10" fmla="*/ 326333 h 1149322"/>
                <a:gd name="connsiteX11" fmla="*/ 438657 w 1037732"/>
                <a:gd name="connsiteY11" fmla="*/ 803826 h 1149322"/>
                <a:gd name="connsiteX12" fmla="*/ 287683 w 1037732"/>
                <a:gd name="connsiteY12" fmla="*/ 584654 h 1149322"/>
                <a:gd name="connsiteX13" fmla="*/ 197365 w 1037732"/>
                <a:gd name="connsiteY13" fmla="*/ 646920 h 1149322"/>
                <a:gd name="connsiteX14" fmla="*/ 442754 w 1037732"/>
                <a:gd name="connsiteY14" fmla="*/ 1003252 h 1149322"/>
                <a:gd name="connsiteX15" fmla="*/ 822972 w 1037732"/>
                <a:gd name="connsiteY15" fmla="*/ 399503 h 1149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037732" h="1149322">
                  <a:moveTo>
                    <a:pt x="944964" y="0"/>
                  </a:moveTo>
                  <a:lnTo>
                    <a:pt x="808529" y="216644"/>
                  </a:lnTo>
                  <a:lnTo>
                    <a:pt x="0" y="216644"/>
                  </a:lnTo>
                  <a:lnTo>
                    <a:pt x="0" y="1149322"/>
                  </a:lnTo>
                  <a:lnTo>
                    <a:pt x="932678" y="1149322"/>
                  </a:lnTo>
                  <a:lnTo>
                    <a:pt x="932678" y="225295"/>
                  </a:lnTo>
                  <a:lnTo>
                    <a:pt x="1037733" y="58440"/>
                  </a:lnTo>
                  <a:close/>
                  <a:moveTo>
                    <a:pt x="822960" y="1039575"/>
                  </a:moveTo>
                  <a:lnTo>
                    <a:pt x="109718" y="1039575"/>
                  </a:lnTo>
                  <a:lnTo>
                    <a:pt x="109718" y="326333"/>
                  </a:lnTo>
                  <a:lnTo>
                    <a:pt x="739381" y="326333"/>
                  </a:lnTo>
                  <a:lnTo>
                    <a:pt x="438657" y="803826"/>
                  </a:lnTo>
                  <a:lnTo>
                    <a:pt x="287683" y="584654"/>
                  </a:lnTo>
                  <a:lnTo>
                    <a:pt x="197365" y="646920"/>
                  </a:lnTo>
                  <a:lnTo>
                    <a:pt x="442754" y="1003252"/>
                  </a:lnTo>
                  <a:lnTo>
                    <a:pt x="822972" y="399503"/>
                  </a:lnTo>
                  <a:close/>
                </a:path>
              </a:pathLst>
            </a:custGeom>
            <a:grpFill/>
            <a:ln w="97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28CA6CAA-3BB2-F969-0A2C-46E7CFCA740F}"/>
                </a:ext>
              </a:extLst>
            </p:cNvPr>
            <p:cNvSpPr/>
            <p:nvPr/>
          </p:nvSpPr>
          <p:spPr>
            <a:xfrm>
              <a:off x="18538526" y="-919018"/>
              <a:ext cx="202252" cy="200038"/>
            </a:xfrm>
            <a:custGeom>
              <a:avLst/>
              <a:gdLst>
                <a:gd name="connsiteX0" fmla="*/ 202252 w 202252"/>
                <a:gd name="connsiteY0" fmla="*/ 100039 h 200038"/>
                <a:gd name="connsiteX1" fmla="*/ 101146 w 202252"/>
                <a:gd name="connsiteY1" fmla="*/ 200038 h 200038"/>
                <a:gd name="connsiteX2" fmla="*/ 0 w 202252"/>
                <a:gd name="connsiteY2" fmla="*/ 100039 h 200038"/>
                <a:gd name="connsiteX3" fmla="*/ 101146 w 202252"/>
                <a:gd name="connsiteY3" fmla="*/ 0 h 200038"/>
                <a:gd name="connsiteX4" fmla="*/ 202252 w 202252"/>
                <a:gd name="connsiteY4" fmla="*/ 100039 h 2000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2252" h="200038">
                  <a:moveTo>
                    <a:pt x="202252" y="100039"/>
                  </a:moveTo>
                  <a:cubicBezTo>
                    <a:pt x="202252" y="155262"/>
                    <a:pt x="156979" y="200038"/>
                    <a:pt x="101146" y="200038"/>
                  </a:cubicBezTo>
                  <a:cubicBezTo>
                    <a:pt x="45272" y="200038"/>
                    <a:pt x="0" y="155262"/>
                    <a:pt x="0" y="100039"/>
                  </a:cubicBezTo>
                  <a:cubicBezTo>
                    <a:pt x="0" y="44777"/>
                    <a:pt x="45274" y="0"/>
                    <a:pt x="101146" y="0"/>
                  </a:cubicBezTo>
                  <a:cubicBezTo>
                    <a:pt x="156982" y="0"/>
                    <a:pt x="202252" y="44776"/>
                    <a:pt x="202252" y="100039"/>
                  </a:cubicBezTo>
                </a:path>
              </a:pathLst>
            </a:custGeom>
            <a:grpFill/>
            <a:ln w="97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01E589FD-583A-7467-9696-DB844179377D}"/>
              </a:ext>
            </a:extLst>
          </p:cNvPr>
          <p:cNvGrpSpPr/>
          <p:nvPr/>
        </p:nvGrpSpPr>
        <p:grpSpPr>
          <a:xfrm>
            <a:off x="3235793" y="5188538"/>
            <a:ext cx="498186" cy="498280"/>
            <a:chOff x="4264723" y="1597818"/>
            <a:chExt cx="3662635" cy="3663322"/>
          </a:xfrm>
          <a:solidFill>
            <a:schemeClr val="accent1"/>
          </a:solidFill>
        </p:grpSpPr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9BB7A74A-4324-5A42-6378-631C02CC1A48}"/>
                </a:ext>
              </a:extLst>
            </p:cNvPr>
            <p:cNvSpPr/>
            <p:nvPr/>
          </p:nvSpPr>
          <p:spPr>
            <a:xfrm>
              <a:off x="4264723" y="1841665"/>
              <a:ext cx="1971675" cy="3419475"/>
            </a:xfrm>
            <a:custGeom>
              <a:avLst/>
              <a:gdLst>
                <a:gd name="connsiteX0" fmla="*/ 7239 w 1971675"/>
                <a:gd name="connsiteY0" fmla="*/ 2794057 h 3419475"/>
                <a:gd name="connsiteX1" fmla="*/ 51721 w 1971675"/>
                <a:gd name="connsiteY1" fmla="*/ 2695473 h 3419475"/>
                <a:gd name="connsiteX2" fmla="*/ 152400 w 1971675"/>
                <a:gd name="connsiteY2" fmla="*/ 2587841 h 3419475"/>
                <a:gd name="connsiteX3" fmla="*/ 68771 w 1971675"/>
                <a:gd name="connsiteY3" fmla="*/ 2367813 h 3419475"/>
                <a:gd name="connsiteX4" fmla="*/ 151638 w 1971675"/>
                <a:gd name="connsiteY4" fmla="*/ 2168740 h 3419475"/>
                <a:gd name="connsiteX5" fmla="*/ 551879 w 1971675"/>
                <a:gd name="connsiteY5" fmla="*/ 2130736 h 3419475"/>
                <a:gd name="connsiteX6" fmla="*/ 551879 w 1971675"/>
                <a:gd name="connsiteY6" fmla="*/ 1281487 h 3419475"/>
                <a:gd name="connsiteX7" fmla="*/ 548450 w 1971675"/>
                <a:gd name="connsiteY7" fmla="*/ 1279867 h 3419475"/>
                <a:gd name="connsiteX8" fmla="*/ 497872 w 1971675"/>
                <a:gd name="connsiteY8" fmla="*/ 1440554 h 3419475"/>
                <a:gd name="connsiteX9" fmla="*/ 211645 w 1971675"/>
                <a:gd name="connsiteY9" fmla="*/ 1563331 h 3419475"/>
                <a:gd name="connsiteX10" fmla="*/ 118586 w 1971675"/>
                <a:gd name="connsiteY10" fmla="*/ 1347781 h 3419475"/>
                <a:gd name="connsiteX11" fmla="*/ 285274 w 1971675"/>
                <a:gd name="connsiteY11" fmla="*/ 774661 h 3419475"/>
                <a:gd name="connsiteX12" fmla="*/ 632365 w 1971675"/>
                <a:gd name="connsiteY12" fmla="*/ 497770 h 3419475"/>
                <a:gd name="connsiteX13" fmla="*/ 671036 w 1971675"/>
                <a:gd name="connsiteY13" fmla="*/ 491864 h 3419475"/>
                <a:gd name="connsiteX14" fmla="*/ 720662 w 1971675"/>
                <a:gd name="connsiteY14" fmla="*/ 82670 h 3419475"/>
                <a:gd name="connsiteX15" fmla="*/ 1087374 w 1971675"/>
                <a:gd name="connsiteY15" fmla="*/ 57524 h 3419475"/>
                <a:gd name="connsiteX16" fmla="*/ 1201103 w 1971675"/>
                <a:gd name="connsiteY16" fmla="*/ 434714 h 3419475"/>
                <a:gd name="connsiteX17" fmla="*/ 1237202 w 1971675"/>
                <a:gd name="connsiteY17" fmla="*/ 418045 h 3419475"/>
                <a:gd name="connsiteX18" fmla="*/ 1669828 w 1971675"/>
                <a:gd name="connsiteY18" fmla="*/ 193446 h 3419475"/>
                <a:gd name="connsiteX19" fmla="*/ 1964055 w 1971675"/>
                <a:gd name="connsiteY19" fmla="*/ 350989 h 3419475"/>
                <a:gd name="connsiteX20" fmla="*/ 1858423 w 1971675"/>
                <a:gd name="connsiteY20" fmla="*/ 537870 h 3419475"/>
                <a:gd name="connsiteX21" fmla="*/ 1315212 w 1971675"/>
                <a:gd name="connsiteY21" fmla="*/ 819619 h 3419475"/>
                <a:gd name="connsiteX22" fmla="*/ 1284351 w 1971675"/>
                <a:gd name="connsiteY22" fmla="*/ 867911 h 3419475"/>
                <a:gd name="connsiteX23" fmla="*/ 1285113 w 1971675"/>
                <a:gd name="connsiteY23" fmla="*/ 2040439 h 3419475"/>
                <a:gd name="connsiteX24" fmla="*/ 1286828 w 1971675"/>
                <a:gd name="connsiteY24" fmla="*/ 2075872 h 3419475"/>
                <a:gd name="connsiteX25" fmla="*/ 1612868 w 1971675"/>
                <a:gd name="connsiteY25" fmla="*/ 2235511 h 3419475"/>
                <a:gd name="connsiteX26" fmla="*/ 1562291 w 1971675"/>
                <a:gd name="connsiteY26" fmla="*/ 2593556 h 3419475"/>
                <a:gd name="connsiteX27" fmla="*/ 1583436 w 1971675"/>
                <a:gd name="connsiteY27" fmla="*/ 2609367 h 3419475"/>
                <a:gd name="connsiteX28" fmla="*/ 1710881 w 1971675"/>
                <a:gd name="connsiteY28" fmla="*/ 2839300 h 3419475"/>
                <a:gd name="connsiteX29" fmla="*/ 1709928 w 1971675"/>
                <a:gd name="connsiteY29" fmla="*/ 3341744 h 3419475"/>
                <a:gd name="connsiteX30" fmla="*/ 1676114 w 1971675"/>
                <a:gd name="connsiteY30" fmla="*/ 3414420 h 3419475"/>
                <a:gd name="connsiteX31" fmla="*/ 1020032 w 1971675"/>
                <a:gd name="connsiteY31" fmla="*/ 3414420 h 3419475"/>
                <a:gd name="connsiteX32" fmla="*/ 979361 w 1971675"/>
                <a:gd name="connsiteY32" fmla="*/ 3333172 h 3419475"/>
                <a:gd name="connsiteX33" fmla="*/ 979742 w 1971675"/>
                <a:gd name="connsiteY33" fmla="*/ 2855493 h 3419475"/>
                <a:gd name="connsiteX34" fmla="*/ 1068324 w 1971675"/>
                <a:gd name="connsiteY34" fmla="*/ 2641371 h 3419475"/>
                <a:gd name="connsiteX35" fmla="*/ 1080135 w 1971675"/>
                <a:gd name="connsiteY35" fmla="*/ 2625369 h 3419475"/>
                <a:gd name="connsiteX36" fmla="*/ 638080 w 1971675"/>
                <a:gd name="connsiteY36" fmla="*/ 2625369 h 3419475"/>
                <a:gd name="connsiteX37" fmla="*/ 644747 w 1971675"/>
                <a:gd name="connsiteY37" fmla="*/ 2636227 h 3419475"/>
                <a:gd name="connsiteX38" fmla="*/ 738950 w 1971675"/>
                <a:gd name="connsiteY38" fmla="*/ 2869495 h 3419475"/>
                <a:gd name="connsiteX39" fmla="*/ 739045 w 1971675"/>
                <a:gd name="connsiteY39" fmla="*/ 3325742 h 3419475"/>
                <a:gd name="connsiteX40" fmla="*/ 698945 w 1971675"/>
                <a:gd name="connsiteY40" fmla="*/ 3414325 h 3419475"/>
                <a:gd name="connsiteX41" fmla="*/ 7144 w 1971675"/>
                <a:gd name="connsiteY41" fmla="*/ 3414325 h 3419475"/>
                <a:gd name="connsiteX42" fmla="*/ 7239 w 1971675"/>
                <a:gd name="connsiteY42" fmla="*/ 2794057 h 3419475"/>
                <a:gd name="connsiteX43" fmla="*/ 1064324 w 1971675"/>
                <a:gd name="connsiteY43" fmla="*/ 2500591 h 3419475"/>
                <a:gd name="connsiteX44" fmla="*/ 1060037 w 1971675"/>
                <a:gd name="connsiteY44" fmla="*/ 2478875 h 3419475"/>
                <a:gd name="connsiteX45" fmla="*/ 1143857 w 1971675"/>
                <a:gd name="connsiteY45" fmla="*/ 2151405 h 3419475"/>
                <a:gd name="connsiteX46" fmla="*/ 1162145 w 1971675"/>
                <a:gd name="connsiteY46" fmla="*/ 2102256 h 3419475"/>
                <a:gd name="connsiteX47" fmla="*/ 1161860 w 1971675"/>
                <a:gd name="connsiteY47" fmla="*/ 829906 h 3419475"/>
                <a:gd name="connsiteX48" fmla="*/ 1225201 w 1971675"/>
                <a:gd name="connsiteY48" fmla="*/ 727417 h 3419475"/>
                <a:gd name="connsiteX49" fmla="*/ 1765745 w 1971675"/>
                <a:gd name="connsiteY49" fmla="*/ 448240 h 3419475"/>
                <a:gd name="connsiteX50" fmla="*/ 1808988 w 1971675"/>
                <a:gd name="connsiteY50" fmla="*/ 423570 h 3419475"/>
                <a:gd name="connsiteX51" fmla="*/ 1834134 w 1971675"/>
                <a:gd name="connsiteY51" fmla="*/ 332701 h 3419475"/>
                <a:gd name="connsiteX52" fmla="*/ 1751362 w 1971675"/>
                <a:gd name="connsiteY52" fmla="*/ 292982 h 3419475"/>
                <a:gd name="connsiteX53" fmla="*/ 1712309 w 1971675"/>
                <a:gd name="connsiteY53" fmla="*/ 309841 h 3419475"/>
                <a:gd name="connsiteX54" fmla="*/ 1162336 w 1971675"/>
                <a:gd name="connsiteY54" fmla="*/ 594067 h 3419475"/>
                <a:gd name="connsiteX55" fmla="*/ 1070896 w 1971675"/>
                <a:gd name="connsiteY55" fmla="*/ 616165 h 3419475"/>
                <a:gd name="connsiteX56" fmla="*/ 661035 w 1971675"/>
                <a:gd name="connsiteY56" fmla="*/ 618928 h 3419475"/>
                <a:gd name="connsiteX57" fmla="*/ 397288 w 1971675"/>
                <a:gd name="connsiteY57" fmla="*/ 826477 h 3419475"/>
                <a:gd name="connsiteX58" fmla="*/ 367284 w 1971675"/>
                <a:gd name="connsiteY58" fmla="*/ 928776 h 3419475"/>
                <a:gd name="connsiteX59" fmla="*/ 239458 w 1971675"/>
                <a:gd name="connsiteY59" fmla="*/ 1372641 h 3419475"/>
                <a:gd name="connsiteX60" fmla="*/ 301371 w 1971675"/>
                <a:gd name="connsiteY60" fmla="*/ 1464938 h 3419475"/>
                <a:gd name="connsiteX61" fmla="*/ 381381 w 1971675"/>
                <a:gd name="connsiteY61" fmla="*/ 1399311 h 3419475"/>
                <a:gd name="connsiteX62" fmla="*/ 554641 w 1971675"/>
                <a:gd name="connsiteY62" fmla="*/ 850480 h 3419475"/>
                <a:gd name="connsiteX63" fmla="*/ 624745 w 1971675"/>
                <a:gd name="connsiteY63" fmla="*/ 799045 h 3419475"/>
                <a:gd name="connsiteX64" fmla="*/ 677227 w 1971675"/>
                <a:gd name="connsiteY64" fmla="*/ 869149 h 3419475"/>
                <a:gd name="connsiteX65" fmla="*/ 677323 w 1971675"/>
                <a:gd name="connsiteY65" fmla="*/ 897629 h 3419475"/>
                <a:gd name="connsiteX66" fmla="*/ 676466 w 1971675"/>
                <a:gd name="connsiteY66" fmla="*/ 1699539 h 3419475"/>
                <a:gd name="connsiteX67" fmla="*/ 660749 w 1971675"/>
                <a:gd name="connsiteY67" fmla="*/ 2499544 h 3419475"/>
                <a:gd name="connsiteX68" fmla="*/ 858393 w 1971675"/>
                <a:gd name="connsiteY68" fmla="*/ 2499544 h 3419475"/>
                <a:gd name="connsiteX69" fmla="*/ 858393 w 1971675"/>
                <a:gd name="connsiteY69" fmla="*/ 1470367 h 3419475"/>
                <a:gd name="connsiteX70" fmla="*/ 984028 w 1971675"/>
                <a:gd name="connsiteY70" fmla="*/ 1470367 h 3419475"/>
                <a:gd name="connsiteX71" fmla="*/ 984028 w 1971675"/>
                <a:gd name="connsiteY71" fmla="*/ 2500687 h 3419475"/>
                <a:gd name="connsiteX72" fmla="*/ 1064324 w 1971675"/>
                <a:gd name="connsiteY72" fmla="*/ 2500591 h 3419475"/>
                <a:gd name="connsiteX73" fmla="*/ 1586865 w 1971675"/>
                <a:gd name="connsiteY73" fmla="*/ 3291928 h 3419475"/>
                <a:gd name="connsiteX74" fmla="*/ 1585055 w 1971675"/>
                <a:gd name="connsiteY74" fmla="*/ 2826537 h 3419475"/>
                <a:gd name="connsiteX75" fmla="*/ 1422749 w 1971675"/>
                <a:gd name="connsiteY75" fmla="*/ 2685948 h 3419475"/>
                <a:gd name="connsiteX76" fmla="*/ 1276636 w 1971675"/>
                <a:gd name="connsiteY76" fmla="*/ 2685853 h 3419475"/>
                <a:gd name="connsiteX77" fmla="*/ 1104329 w 1971675"/>
                <a:gd name="connsiteY77" fmla="*/ 2858350 h 3419475"/>
                <a:gd name="connsiteX78" fmla="*/ 1104329 w 1971675"/>
                <a:gd name="connsiteY78" fmla="*/ 3257448 h 3419475"/>
                <a:gd name="connsiteX79" fmla="*/ 1106043 w 1971675"/>
                <a:gd name="connsiteY79" fmla="*/ 3291928 h 3419475"/>
                <a:gd name="connsiteX80" fmla="*/ 1586865 w 1971675"/>
                <a:gd name="connsiteY80" fmla="*/ 3291928 h 3419475"/>
                <a:gd name="connsiteX81" fmla="*/ 613220 w 1971675"/>
                <a:gd name="connsiteY81" fmla="*/ 3291928 h 3419475"/>
                <a:gd name="connsiteX82" fmla="*/ 611791 w 1971675"/>
                <a:gd name="connsiteY82" fmla="*/ 2819012 h 3419475"/>
                <a:gd name="connsiteX83" fmla="*/ 466725 w 1971675"/>
                <a:gd name="connsiteY83" fmla="*/ 2686710 h 3419475"/>
                <a:gd name="connsiteX84" fmla="*/ 309944 w 1971675"/>
                <a:gd name="connsiteY84" fmla="*/ 2685186 h 3419475"/>
                <a:gd name="connsiteX85" fmla="*/ 128397 w 1971675"/>
                <a:gd name="connsiteY85" fmla="*/ 2865685 h 3419475"/>
                <a:gd name="connsiteX86" fmla="*/ 128969 w 1971675"/>
                <a:gd name="connsiteY86" fmla="*/ 3257734 h 3419475"/>
                <a:gd name="connsiteX87" fmla="*/ 130397 w 1971675"/>
                <a:gd name="connsiteY87" fmla="*/ 3291833 h 3419475"/>
                <a:gd name="connsiteX88" fmla="*/ 613220 w 1971675"/>
                <a:gd name="connsiteY88" fmla="*/ 3291928 h 3419475"/>
                <a:gd name="connsiteX89" fmla="*/ 1527048 w 1971675"/>
                <a:gd name="connsiteY89" fmla="*/ 2379148 h 3419475"/>
                <a:gd name="connsiteX90" fmla="*/ 1348264 w 1971675"/>
                <a:gd name="connsiteY90" fmla="*/ 2195696 h 3419475"/>
                <a:gd name="connsiteX91" fmla="*/ 1163860 w 1971675"/>
                <a:gd name="connsiteY91" fmla="*/ 2378291 h 3419475"/>
                <a:gd name="connsiteX92" fmla="*/ 1345597 w 1971675"/>
                <a:gd name="connsiteY92" fmla="*/ 2559170 h 3419475"/>
                <a:gd name="connsiteX93" fmla="*/ 1527048 w 1971675"/>
                <a:gd name="connsiteY93" fmla="*/ 2379148 h 3419475"/>
                <a:gd name="connsiteX94" fmla="*/ 191643 w 1971675"/>
                <a:gd name="connsiteY94" fmla="*/ 2379148 h 3419475"/>
                <a:gd name="connsiteX95" fmla="*/ 372904 w 1971675"/>
                <a:gd name="connsiteY95" fmla="*/ 2559170 h 3419475"/>
                <a:gd name="connsiteX96" fmla="*/ 554450 w 1971675"/>
                <a:gd name="connsiteY96" fmla="*/ 2378291 h 3419475"/>
                <a:gd name="connsiteX97" fmla="*/ 370237 w 1971675"/>
                <a:gd name="connsiteY97" fmla="*/ 2195696 h 3419475"/>
                <a:gd name="connsiteX98" fmla="*/ 191643 w 1971675"/>
                <a:gd name="connsiteY98" fmla="*/ 2379148 h 3419475"/>
                <a:gd name="connsiteX99" fmla="*/ 1100614 w 1971675"/>
                <a:gd name="connsiteY99" fmla="*/ 311461 h 3419475"/>
                <a:gd name="connsiteX100" fmla="*/ 920972 w 1971675"/>
                <a:gd name="connsiteY100" fmla="*/ 129533 h 3419475"/>
                <a:gd name="connsiteX101" fmla="*/ 739426 w 1971675"/>
                <a:gd name="connsiteY101" fmla="*/ 309556 h 3419475"/>
                <a:gd name="connsiteX102" fmla="*/ 920877 w 1971675"/>
                <a:gd name="connsiteY102" fmla="*/ 492150 h 3419475"/>
                <a:gd name="connsiteX103" fmla="*/ 1100614 w 1971675"/>
                <a:gd name="connsiteY103" fmla="*/ 311461 h 3419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</a:cxnLst>
              <a:rect l="l" t="t" r="r" b="b"/>
              <a:pathLst>
                <a:path w="1971675" h="3419475">
                  <a:moveTo>
                    <a:pt x="7239" y="2794057"/>
                  </a:moveTo>
                  <a:cubicBezTo>
                    <a:pt x="21622" y="2760910"/>
                    <a:pt x="30956" y="2723953"/>
                    <a:pt x="51721" y="2695473"/>
                  </a:cubicBezTo>
                  <a:cubicBezTo>
                    <a:pt x="79820" y="2656992"/>
                    <a:pt x="116777" y="2625083"/>
                    <a:pt x="152400" y="2587841"/>
                  </a:cubicBezTo>
                  <a:cubicBezTo>
                    <a:pt x="97727" y="2529262"/>
                    <a:pt x="66199" y="2454681"/>
                    <a:pt x="68771" y="2367813"/>
                  </a:cubicBezTo>
                  <a:cubicBezTo>
                    <a:pt x="71057" y="2291232"/>
                    <a:pt x="99251" y="2224652"/>
                    <a:pt x="151638" y="2168740"/>
                  </a:cubicBezTo>
                  <a:cubicBezTo>
                    <a:pt x="226981" y="2088349"/>
                    <a:pt x="380810" y="2022817"/>
                    <a:pt x="551879" y="2130736"/>
                  </a:cubicBezTo>
                  <a:cubicBezTo>
                    <a:pt x="551879" y="1846319"/>
                    <a:pt x="551879" y="1563903"/>
                    <a:pt x="551879" y="1281487"/>
                  </a:cubicBezTo>
                  <a:cubicBezTo>
                    <a:pt x="550736" y="1280915"/>
                    <a:pt x="549593" y="1280439"/>
                    <a:pt x="548450" y="1279867"/>
                  </a:cubicBezTo>
                  <a:cubicBezTo>
                    <a:pt x="531590" y="1333493"/>
                    <a:pt x="515112" y="1387119"/>
                    <a:pt x="497872" y="1440554"/>
                  </a:cubicBezTo>
                  <a:cubicBezTo>
                    <a:pt x="456057" y="1570189"/>
                    <a:pt x="325374" y="1626196"/>
                    <a:pt x="211645" y="1563331"/>
                  </a:cubicBezTo>
                  <a:cubicBezTo>
                    <a:pt x="135827" y="1521421"/>
                    <a:pt x="94964" y="1430934"/>
                    <a:pt x="118586" y="1347781"/>
                  </a:cubicBezTo>
                  <a:cubicBezTo>
                    <a:pt x="172879" y="1156423"/>
                    <a:pt x="227457" y="965066"/>
                    <a:pt x="285274" y="774661"/>
                  </a:cubicBezTo>
                  <a:cubicBezTo>
                    <a:pt x="330518" y="625405"/>
                    <a:pt x="476726" y="511486"/>
                    <a:pt x="632365" y="497770"/>
                  </a:cubicBezTo>
                  <a:cubicBezTo>
                    <a:pt x="645128" y="496627"/>
                    <a:pt x="657701" y="493960"/>
                    <a:pt x="671036" y="491864"/>
                  </a:cubicBezTo>
                  <a:cubicBezTo>
                    <a:pt x="591884" y="304984"/>
                    <a:pt x="607695" y="178301"/>
                    <a:pt x="720662" y="82670"/>
                  </a:cubicBezTo>
                  <a:cubicBezTo>
                    <a:pt x="827151" y="-7436"/>
                    <a:pt x="972598" y="-18295"/>
                    <a:pt x="1087374" y="57524"/>
                  </a:cubicBezTo>
                  <a:cubicBezTo>
                    <a:pt x="1180052" y="118770"/>
                    <a:pt x="1265396" y="249453"/>
                    <a:pt x="1201103" y="434714"/>
                  </a:cubicBezTo>
                  <a:cubicBezTo>
                    <a:pt x="1214914" y="428428"/>
                    <a:pt x="1226344" y="423760"/>
                    <a:pt x="1237202" y="418045"/>
                  </a:cubicBezTo>
                  <a:cubicBezTo>
                    <a:pt x="1381411" y="343179"/>
                    <a:pt x="1525334" y="267836"/>
                    <a:pt x="1669828" y="193446"/>
                  </a:cubicBezTo>
                  <a:cubicBezTo>
                    <a:pt x="1803940" y="124294"/>
                    <a:pt x="1947672" y="201637"/>
                    <a:pt x="1964055" y="350989"/>
                  </a:cubicBezTo>
                  <a:cubicBezTo>
                    <a:pt x="1972056" y="423951"/>
                    <a:pt x="1929860" y="500437"/>
                    <a:pt x="1858423" y="537870"/>
                  </a:cubicBezTo>
                  <a:cubicBezTo>
                    <a:pt x="1677638" y="632358"/>
                    <a:pt x="1496568" y="726274"/>
                    <a:pt x="1315212" y="819619"/>
                  </a:cubicBezTo>
                  <a:cubicBezTo>
                    <a:pt x="1294162" y="830478"/>
                    <a:pt x="1284351" y="842098"/>
                    <a:pt x="1284351" y="867911"/>
                  </a:cubicBezTo>
                  <a:cubicBezTo>
                    <a:pt x="1285303" y="1258722"/>
                    <a:pt x="1285018" y="1649628"/>
                    <a:pt x="1285113" y="2040439"/>
                  </a:cubicBezTo>
                  <a:cubicBezTo>
                    <a:pt x="1285113" y="2050916"/>
                    <a:pt x="1286066" y="2061394"/>
                    <a:pt x="1286828" y="2075872"/>
                  </a:cubicBezTo>
                  <a:cubicBezTo>
                    <a:pt x="1428941" y="2062346"/>
                    <a:pt x="1544669" y="2105685"/>
                    <a:pt x="1612868" y="2235511"/>
                  </a:cubicBezTo>
                  <a:cubicBezTo>
                    <a:pt x="1680115" y="2363622"/>
                    <a:pt x="1655540" y="2482780"/>
                    <a:pt x="1562291" y="2593556"/>
                  </a:cubicBezTo>
                  <a:cubicBezTo>
                    <a:pt x="1569244" y="2598794"/>
                    <a:pt x="1576102" y="2604414"/>
                    <a:pt x="1583436" y="2609367"/>
                  </a:cubicBezTo>
                  <a:cubicBezTo>
                    <a:pt x="1664684" y="2664612"/>
                    <a:pt x="1709642" y="2741288"/>
                    <a:pt x="1710881" y="2839300"/>
                  </a:cubicBezTo>
                  <a:cubicBezTo>
                    <a:pt x="1712881" y="3006750"/>
                    <a:pt x="1712881" y="3174295"/>
                    <a:pt x="1709928" y="3341744"/>
                  </a:cubicBezTo>
                  <a:cubicBezTo>
                    <a:pt x="1709452" y="3366128"/>
                    <a:pt x="1687925" y="3390131"/>
                    <a:pt x="1676114" y="3414420"/>
                  </a:cubicBezTo>
                  <a:cubicBezTo>
                    <a:pt x="1457420" y="3414420"/>
                    <a:pt x="1238726" y="3414420"/>
                    <a:pt x="1020032" y="3414420"/>
                  </a:cubicBezTo>
                  <a:cubicBezTo>
                    <a:pt x="990505" y="3395370"/>
                    <a:pt x="979265" y="3367652"/>
                    <a:pt x="979361" y="3333172"/>
                  </a:cubicBezTo>
                  <a:cubicBezTo>
                    <a:pt x="979837" y="3173914"/>
                    <a:pt x="979075" y="3014751"/>
                    <a:pt x="979742" y="2855493"/>
                  </a:cubicBezTo>
                  <a:cubicBezTo>
                    <a:pt x="980123" y="2772435"/>
                    <a:pt x="1006888" y="2699569"/>
                    <a:pt x="1068324" y="2641371"/>
                  </a:cubicBezTo>
                  <a:cubicBezTo>
                    <a:pt x="1072801" y="2637180"/>
                    <a:pt x="1075754" y="2631465"/>
                    <a:pt x="1080135" y="2625369"/>
                  </a:cubicBezTo>
                  <a:cubicBezTo>
                    <a:pt x="931354" y="2625369"/>
                    <a:pt x="785908" y="2625369"/>
                    <a:pt x="638080" y="2625369"/>
                  </a:cubicBezTo>
                  <a:cubicBezTo>
                    <a:pt x="641318" y="2630798"/>
                    <a:pt x="642461" y="2634132"/>
                    <a:pt x="644747" y="2636227"/>
                  </a:cubicBezTo>
                  <a:cubicBezTo>
                    <a:pt x="713708" y="2698902"/>
                    <a:pt x="739426" y="2778436"/>
                    <a:pt x="738950" y="2869495"/>
                  </a:cubicBezTo>
                  <a:cubicBezTo>
                    <a:pt x="738188" y="3021609"/>
                    <a:pt x="738378" y="3173628"/>
                    <a:pt x="739045" y="3325742"/>
                  </a:cubicBezTo>
                  <a:cubicBezTo>
                    <a:pt x="739235" y="3362128"/>
                    <a:pt x="731711" y="3393560"/>
                    <a:pt x="698945" y="3414325"/>
                  </a:cubicBezTo>
                  <a:cubicBezTo>
                    <a:pt x="469011" y="3414325"/>
                    <a:pt x="238982" y="3414325"/>
                    <a:pt x="7144" y="3414325"/>
                  </a:cubicBezTo>
                  <a:cubicBezTo>
                    <a:pt x="7239" y="3207537"/>
                    <a:pt x="7239" y="3000844"/>
                    <a:pt x="7239" y="2794057"/>
                  </a:cubicBezTo>
                  <a:close/>
                  <a:moveTo>
                    <a:pt x="1064324" y="2500591"/>
                  </a:moveTo>
                  <a:cubicBezTo>
                    <a:pt x="1062704" y="2492305"/>
                    <a:pt x="1062133" y="2485351"/>
                    <a:pt x="1060037" y="2478875"/>
                  </a:cubicBezTo>
                  <a:cubicBezTo>
                    <a:pt x="1018889" y="2352001"/>
                    <a:pt x="1048322" y="2243893"/>
                    <a:pt x="1143857" y="2151405"/>
                  </a:cubicBezTo>
                  <a:cubicBezTo>
                    <a:pt x="1155287" y="2140356"/>
                    <a:pt x="1162145" y="2118925"/>
                    <a:pt x="1162145" y="2102256"/>
                  </a:cubicBezTo>
                  <a:cubicBezTo>
                    <a:pt x="1163098" y="1678108"/>
                    <a:pt x="1163765" y="1254055"/>
                    <a:pt x="1161860" y="829906"/>
                  </a:cubicBezTo>
                  <a:cubicBezTo>
                    <a:pt x="1161669" y="778281"/>
                    <a:pt x="1180433" y="749992"/>
                    <a:pt x="1225201" y="727417"/>
                  </a:cubicBezTo>
                  <a:cubicBezTo>
                    <a:pt x="1406176" y="635882"/>
                    <a:pt x="1585722" y="541585"/>
                    <a:pt x="1765745" y="448240"/>
                  </a:cubicBezTo>
                  <a:cubicBezTo>
                    <a:pt x="1780508" y="440620"/>
                    <a:pt x="1795272" y="432904"/>
                    <a:pt x="1808988" y="423570"/>
                  </a:cubicBezTo>
                  <a:cubicBezTo>
                    <a:pt x="1839754" y="402520"/>
                    <a:pt x="1849565" y="365372"/>
                    <a:pt x="1834134" y="332701"/>
                  </a:cubicBezTo>
                  <a:cubicBezTo>
                    <a:pt x="1819275" y="301269"/>
                    <a:pt x="1785461" y="284219"/>
                    <a:pt x="1751362" y="292982"/>
                  </a:cubicBezTo>
                  <a:cubicBezTo>
                    <a:pt x="1737836" y="296506"/>
                    <a:pt x="1724882" y="303364"/>
                    <a:pt x="1712309" y="309841"/>
                  </a:cubicBezTo>
                  <a:cubicBezTo>
                    <a:pt x="1529048" y="404710"/>
                    <a:pt x="1346359" y="500722"/>
                    <a:pt x="1162336" y="594067"/>
                  </a:cubicBezTo>
                  <a:cubicBezTo>
                    <a:pt x="1134999" y="607974"/>
                    <a:pt x="1101662" y="615499"/>
                    <a:pt x="1070896" y="616165"/>
                  </a:cubicBezTo>
                  <a:cubicBezTo>
                    <a:pt x="934307" y="618832"/>
                    <a:pt x="797624" y="615594"/>
                    <a:pt x="661035" y="618928"/>
                  </a:cubicBezTo>
                  <a:cubicBezTo>
                    <a:pt x="535781" y="621976"/>
                    <a:pt x="433197" y="705415"/>
                    <a:pt x="397288" y="826477"/>
                  </a:cubicBezTo>
                  <a:cubicBezTo>
                    <a:pt x="387191" y="860577"/>
                    <a:pt x="377095" y="894581"/>
                    <a:pt x="367284" y="928776"/>
                  </a:cubicBezTo>
                  <a:cubicBezTo>
                    <a:pt x="324517" y="1076699"/>
                    <a:pt x="281369" y="1224432"/>
                    <a:pt x="239458" y="1372641"/>
                  </a:cubicBezTo>
                  <a:cubicBezTo>
                    <a:pt x="226314" y="1419123"/>
                    <a:pt x="255175" y="1460080"/>
                    <a:pt x="301371" y="1464938"/>
                  </a:cubicBezTo>
                  <a:cubicBezTo>
                    <a:pt x="338614" y="1468843"/>
                    <a:pt x="366332" y="1446745"/>
                    <a:pt x="381381" y="1399311"/>
                  </a:cubicBezTo>
                  <a:cubicBezTo>
                    <a:pt x="439293" y="1216431"/>
                    <a:pt x="496538" y="1033265"/>
                    <a:pt x="554641" y="850480"/>
                  </a:cubicBezTo>
                  <a:cubicBezTo>
                    <a:pt x="567119" y="811333"/>
                    <a:pt x="592836" y="793807"/>
                    <a:pt x="624745" y="799045"/>
                  </a:cubicBezTo>
                  <a:cubicBezTo>
                    <a:pt x="657035" y="804379"/>
                    <a:pt x="676085" y="829716"/>
                    <a:pt x="677227" y="869149"/>
                  </a:cubicBezTo>
                  <a:cubicBezTo>
                    <a:pt x="677513" y="878674"/>
                    <a:pt x="677323" y="888199"/>
                    <a:pt x="677323" y="897629"/>
                  </a:cubicBezTo>
                  <a:cubicBezTo>
                    <a:pt x="677323" y="1164901"/>
                    <a:pt x="680466" y="1432267"/>
                    <a:pt x="676466" y="1699539"/>
                  </a:cubicBezTo>
                  <a:cubicBezTo>
                    <a:pt x="672465" y="1966525"/>
                    <a:pt x="695325" y="2234177"/>
                    <a:pt x="660749" y="2499544"/>
                  </a:cubicBezTo>
                  <a:cubicBezTo>
                    <a:pt x="723519" y="2499544"/>
                    <a:pt x="789527" y="2499544"/>
                    <a:pt x="858393" y="2499544"/>
                  </a:cubicBezTo>
                  <a:cubicBezTo>
                    <a:pt x="858393" y="2155405"/>
                    <a:pt x="858393" y="1813744"/>
                    <a:pt x="858393" y="1470367"/>
                  </a:cubicBezTo>
                  <a:cubicBezTo>
                    <a:pt x="900875" y="1470367"/>
                    <a:pt x="940213" y="1470367"/>
                    <a:pt x="984028" y="1470367"/>
                  </a:cubicBezTo>
                  <a:cubicBezTo>
                    <a:pt x="984028" y="1815458"/>
                    <a:pt x="984028" y="2157882"/>
                    <a:pt x="984028" y="2500687"/>
                  </a:cubicBezTo>
                  <a:cubicBezTo>
                    <a:pt x="1013079" y="2500591"/>
                    <a:pt x="1037844" y="2500591"/>
                    <a:pt x="1064324" y="2500591"/>
                  </a:cubicBezTo>
                  <a:close/>
                  <a:moveTo>
                    <a:pt x="1586865" y="3291928"/>
                  </a:moveTo>
                  <a:cubicBezTo>
                    <a:pt x="1586865" y="3134480"/>
                    <a:pt x="1591628" y="2980270"/>
                    <a:pt x="1585055" y="2826537"/>
                  </a:cubicBezTo>
                  <a:cubicBezTo>
                    <a:pt x="1581245" y="2737859"/>
                    <a:pt x="1513618" y="2687091"/>
                    <a:pt x="1422749" y="2685948"/>
                  </a:cubicBezTo>
                  <a:cubicBezTo>
                    <a:pt x="1374077" y="2685376"/>
                    <a:pt x="1325309" y="2685567"/>
                    <a:pt x="1276636" y="2685853"/>
                  </a:cubicBezTo>
                  <a:cubicBezTo>
                    <a:pt x="1167575" y="2686615"/>
                    <a:pt x="1104710" y="2749194"/>
                    <a:pt x="1104329" y="2858350"/>
                  </a:cubicBezTo>
                  <a:cubicBezTo>
                    <a:pt x="1103852" y="2991415"/>
                    <a:pt x="1104138" y="3124384"/>
                    <a:pt x="1104329" y="3257448"/>
                  </a:cubicBezTo>
                  <a:cubicBezTo>
                    <a:pt x="1104329" y="3268687"/>
                    <a:pt x="1105376" y="3280022"/>
                    <a:pt x="1106043" y="3291928"/>
                  </a:cubicBezTo>
                  <a:cubicBezTo>
                    <a:pt x="1268063" y="3291928"/>
                    <a:pt x="1425893" y="3291928"/>
                    <a:pt x="1586865" y="3291928"/>
                  </a:cubicBezTo>
                  <a:close/>
                  <a:moveTo>
                    <a:pt x="613220" y="3291928"/>
                  </a:moveTo>
                  <a:cubicBezTo>
                    <a:pt x="613220" y="3132099"/>
                    <a:pt x="616458" y="2975413"/>
                    <a:pt x="611791" y="2819012"/>
                  </a:cubicBezTo>
                  <a:cubicBezTo>
                    <a:pt x="609600" y="2747003"/>
                    <a:pt x="539591" y="2689282"/>
                    <a:pt x="466725" y="2686710"/>
                  </a:cubicBezTo>
                  <a:cubicBezTo>
                    <a:pt x="414528" y="2684900"/>
                    <a:pt x="362045" y="2688520"/>
                    <a:pt x="309944" y="2685186"/>
                  </a:cubicBezTo>
                  <a:cubicBezTo>
                    <a:pt x="201168" y="2678328"/>
                    <a:pt x="126587" y="2756147"/>
                    <a:pt x="128397" y="2865685"/>
                  </a:cubicBezTo>
                  <a:cubicBezTo>
                    <a:pt x="130492" y="2996368"/>
                    <a:pt x="128873" y="3127051"/>
                    <a:pt x="128969" y="3257734"/>
                  </a:cubicBezTo>
                  <a:cubicBezTo>
                    <a:pt x="128969" y="3268973"/>
                    <a:pt x="129921" y="3280308"/>
                    <a:pt x="130397" y="3291833"/>
                  </a:cubicBezTo>
                  <a:cubicBezTo>
                    <a:pt x="292799" y="3291928"/>
                    <a:pt x="450628" y="3291928"/>
                    <a:pt x="613220" y="3291928"/>
                  </a:cubicBezTo>
                  <a:close/>
                  <a:moveTo>
                    <a:pt x="1527048" y="2379148"/>
                  </a:moveTo>
                  <a:cubicBezTo>
                    <a:pt x="1527524" y="2279611"/>
                    <a:pt x="1447991" y="2197887"/>
                    <a:pt x="1348264" y="2195696"/>
                  </a:cubicBezTo>
                  <a:cubicBezTo>
                    <a:pt x="1249871" y="2193505"/>
                    <a:pt x="1163288" y="2279135"/>
                    <a:pt x="1163860" y="2378291"/>
                  </a:cubicBezTo>
                  <a:cubicBezTo>
                    <a:pt x="1164431" y="2477065"/>
                    <a:pt x="1246727" y="2559075"/>
                    <a:pt x="1345597" y="2559170"/>
                  </a:cubicBezTo>
                  <a:cubicBezTo>
                    <a:pt x="1445514" y="2559361"/>
                    <a:pt x="1526572" y="2478970"/>
                    <a:pt x="1527048" y="2379148"/>
                  </a:cubicBezTo>
                  <a:close/>
                  <a:moveTo>
                    <a:pt x="191643" y="2379148"/>
                  </a:moveTo>
                  <a:cubicBezTo>
                    <a:pt x="192024" y="2479160"/>
                    <a:pt x="272796" y="2559361"/>
                    <a:pt x="372904" y="2559170"/>
                  </a:cubicBezTo>
                  <a:cubicBezTo>
                    <a:pt x="472059" y="2558980"/>
                    <a:pt x="553974" y="2477255"/>
                    <a:pt x="554450" y="2378291"/>
                  </a:cubicBezTo>
                  <a:cubicBezTo>
                    <a:pt x="554927" y="2278754"/>
                    <a:pt x="469011" y="2193696"/>
                    <a:pt x="370237" y="2195696"/>
                  </a:cubicBezTo>
                  <a:cubicBezTo>
                    <a:pt x="270415" y="2197696"/>
                    <a:pt x="191167" y="2279135"/>
                    <a:pt x="191643" y="2379148"/>
                  </a:cubicBezTo>
                  <a:close/>
                  <a:moveTo>
                    <a:pt x="1100614" y="311461"/>
                  </a:moveTo>
                  <a:cubicBezTo>
                    <a:pt x="1100614" y="211353"/>
                    <a:pt x="1020890" y="130581"/>
                    <a:pt x="920972" y="129533"/>
                  </a:cubicBezTo>
                  <a:cubicBezTo>
                    <a:pt x="822389" y="128485"/>
                    <a:pt x="740188" y="209924"/>
                    <a:pt x="739426" y="309556"/>
                  </a:cubicBezTo>
                  <a:cubicBezTo>
                    <a:pt x="738569" y="411949"/>
                    <a:pt x="818579" y="492436"/>
                    <a:pt x="920877" y="492150"/>
                  </a:cubicBezTo>
                  <a:cubicBezTo>
                    <a:pt x="1021556" y="491864"/>
                    <a:pt x="1100709" y="412330"/>
                    <a:pt x="1100614" y="31146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515B38AA-435B-261D-5B3E-0E65DC611D00}"/>
                </a:ext>
              </a:extLst>
            </p:cNvPr>
            <p:cNvSpPr/>
            <p:nvPr/>
          </p:nvSpPr>
          <p:spPr>
            <a:xfrm>
              <a:off x="4264818" y="1597818"/>
              <a:ext cx="3657600" cy="1590675"/>
            </a:xfrm>
            <a:custGeom>
              <a:avLst/>
              <a:gdLst>
                <a:gd name="connsiteX0" fmla="*/ 7144 w 3657600"/>
                <a:gd name="connsiteY0" fmla="*/ 43339 h 1590675"/>
                <a:gd name="connsiteX1" fmla="*/ 100870 w 3657600"/>
                <a:gd name="connsiteY1" fmla="*/ 7144 h 1590675"/>
                <a:gd name="connsiteX2" fmla="*/ 3566636 w 3657600"/>
                <a:gd name="connsiteY2" fmla="*/ 7811 h 1590675"/>
                <a:gd name="connsiteX3" fmla="*/ 3658457 w 3657600"/>
                <a:gd name="connsiteY3" fmla="*/ 99060 h 1590675"/>
                <a:gd name="connsiteX4" fmla="*/ 3658457 w 3657600"/>
                <a:gd name="connsiteY4" fmla="*/ 1503521 h 1590675"/>
                <a:gd name="connsiteX5" fmla="*/ 3571970 w 3657600"/>
                <a:gd name="connsiteY5" fmla="*/ 1590104 h 1590675"/>
                <a:gd name="connsiteX6" fmla="*/ 1446848 w 3657600"/>
                <a:gd name="connsiteY6" fmla="*/ 1590104 h 1590675"/>
                <a:gd name="connsiteX7" fmla="*/ 1408652 w 3657600"/>
                <a:gd name="connsiteY7" fmla="*/ 1590104 h 1590675"/>
                <a:gd name="connsiteX8" fmla="*/ 1408652 w 3657600"/>
                <a:gd name="connsiteY8" fmla="*/ 1469136 h 1590675"/>
                <a:gd name="connsiteX9" fmla="*/ 3534442 w 3657600"/>
                <a:gd name="connsiteY9" fmla="*/ 1469136 h 1590675"/>
                <a:gd name="connsiteX10" fmla="*/ 3534442 w 3657600"/>
                <a:gd name="connsiteY10" fmla="*/ 131636 h 1590675"/>
                <a:gd name="connsiteX11" fmla="*/ 130683 w 3657600"/>
                <a:gd name="connsiteY11" fmla="*/ 131636 h 1590675"/>
                <a:gd name="connsiteX12" fmla="*/ 130683 w 3657600"/>
                <a:gd name="connsiteY12" fmla="*/ 1283875 h 1590675"/>
                <a:gd name="connsiteX13" fmla="*/ 7239 w 3657600"/>
                <a:gd name="connsiteY13" fmla="*/ 1283875 h 1590675"/>
                <a:gd name="connsiteX14" fmla="*/ 7144 w 3657600"/>
                <a:gd name="connsiteY14" fmla="*/ 43339 h 1590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657600" h="1590675">
                  <a:moveTo>
                    <a:pt x="7144" y="43339"/>
                  </a:moveTo>
                  <a:cubicBezTo>
                    <a:pt x="31623" y="13716"/>
                    <a:pt x="63056" y="7144"/>
                    <a:pt x="100870" y="7144"/>
                  </a:cubicBezTo>
                  <a:cubicBezTo>
                    <a:pt x="1256062" y="8001"/>
                    <a:pt x="2411349" y="7811"/>
                    <a:pt x="3566636" y="7811"/>
                  </a:cubicBezTo>
                  <a:cubicBezTo>
                    <a:pt x="3642836" y="7811"/>
                    <a:pt x="3658362" y="23241"/>
                    <a:pt x="3658457" y="99060"/>
                  </a:cubicBezTo>
                  <a:cubicBezTo>
                    <a:pt x="3658457" y="567214"/>
                    <a:pt x="3658457" y="1035368"/>
                    <a:pt x="3658457" y="1503521"/>
                  </a:cubicBezTo>
                  <a:cubicBezTo>
                    <a:pt x="3658457" y="1571625"/>
                    <a:pt x="3640074" y="1590104"/>
                    <a:pt x="3571970" y="1590104"/>
                  </a:cubicBezTo>
                  <a:cubicBezTo>
                    <a:pt x="2863596" y="1590104"/>
                    <a:pt x="2155222" y="1590104"/>
                    <a:pt x="1446848" y="1590104"/>
                  </a:cubicBezTo>
                  <a:cubicBezTo>
                    <a:pt x="1435037" y="1590104"/>
                    <a:pt x="1423226" y="1590104"/>
                    <a:pt x="1408652" y="1590104"/>
                  </a:cubicBezTo>
                  <a:cubicBezTo>
                    <a:pt x="1408652" y="1549908"/>
                    <a:pt x="1408652" y="1511522"/>
                    <a:pt x="1408652" y="1469136"/>
                  </a:cubicBezTo>
                  <a:cubicBezTo>
                    <a:pt x="2116455" y="1469136"/>
                    <a:pt x="2824163" y="1469136"/>
                    <a:pt x="3534442" y="1469136"/>
                  </a:cubicBezTo>
                  <a:cubicBezTo>
                    <a:pt x="3534442" y="1021556"/>
                    <a:pt x="3534442" y="577882"/>
                    <a:pt x="3534442" y="131636"/>
                  </a:cubicBezTo>
                  <a:cubicBezTo>
                    <a:pt x="2401348" y="131636"/>
                    <a:pt x="1268063" y="131636"/>
                    <a:pt x="130683" y="131636"/>
                  </a:cubicBezTo>
                  <a:cubicBezTo>
                    <a:pt x="130683" y="513588"/>
                    <a:pt x="130683" y="896588"/>
                    <a:pt x="130683" y="1283875"/>
                  </a:cubicBezTo>
                  <a:cubicBezTo>
                    <a:pt x="86868" y="1283875"/>
                    <a:pt x="47054" y="1283875"/>
                    <a:pt x="7239" y="1283875"/>
                  </a:cubicBezTo>
                  <a:cubicBezTo>
                    <a:pt x="7144" y="870395"/>
                    <a:pt x="7144" y="456914"/>
                    <a:pt x="7144" y="4333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1EC4B199-2411-6E73-0522-3ED6E70D1905}"/>
                </a:ext>
              </a:extLst>
            </p:cNvPr>
            <p:cNvSpPr/>
            <p:nvPr/>
          </p:nvSpPr>
          <p:spPr>
            <a:xfrm>
              <a:off x="7184408" y="3908080"/>
              <a:ext cx="742950" cy="1352550"/>
            </a:xfrm>
            <a:custGeom>
              <a:avLst/>
              <a:gdLst>
                <a:gd name="connsiteX0" fmla="*/ 47162 w 742950"/>
                <a:gd name="connsiteY0" fmla="*/ 1347910 h 1352550"/>
                <a:gd name="connsiteX1" fmla="*/ 7157 w 742950"/>
                <a:gd name="connsiteY1" fmla="*/ 1259328 h 1352550"/>
                <a:gd name="connsiteX2" fmla="*/ 10682 w 742950"/>
                <a:gd name="connsiteY2" fmla="*/ 760408 h 1352550"/>
                <a:gd name="connsiteX3" fmla="*/ 144412 w 742950"/>
                <a:gd name="connsiteY3" fmla="*/ 538095 h 1352550"/>
                <a:gd name="connsiteX4" fmla="*/ 158224 w 742950"/>
                <a:gd name="connsiteY4" fmla="*/ 527617 h 1352550"/>
                <a:gd name="connsiteX5" fmla="*/ 77833 w 742950"/>
                <a:gd name="connsiteY5" fmla="*/ 241200 h 1352550"/>
                <a:gd name="connsiteX6" fmla="*/ 201562 w 742950"/>
                <a:gd name="connsiteY6" fmla="*/ 60130 h 1352550"/>
                <a:gd name="connsiteX7" fmla="*/ 592754 w 742950"/>
                <a:gd name="connsiteY7" fmla="*/ 99373 h 1352550"/>
                <a:gd name="connsiteX8" fmla="*/ 589611 w 742950"/>
                <a:gd name="connsiteY8" fmla="*/ 526855 h 1352550"/>
                <a:gd name="connsiteX9" fmla="*/ 611233 w 742950"/>
                <a:gd name="connsiteY9" fmla="*/ 542952 h 1352550"/>
                <a:gd name="connsiteX10" fmla="*/ 738582 w 742950"/>
                <a:gd name="connsiteY10" fmla="*/ 776601 h 1352550"/>
                <a:gd name="connsiteX11" fmla="*/ 739630 w 742950"/>
                <a:gd name="connsiteY11" fmla="*/ 1254280 h 1352550"/>
                <a:gd name="connsiteX12" fmla="*/ 703339 w 742950"/>
                <a:gd name="connsiteY12" fmla="*/ 1348005 h 1352550"/>
                <a:gd name="connsiteX13" fmla="*/ 47162 w 742950"/>
                <a:gd name="connsiteY13" fmla="*/ 1347910 h 1352550"/>
                <a:gd name="connsiteX14" fmla="*/ 614947 w 742950"/>
                <a:gd name="connsiteY14" fmla="*/ 1225514 h 1352550"/>
                <a:gd name="connsiteX15" fmla="*/ 613138 w 742950"/>
                <a:gd name="connsiteY15" fmla="*/ 760218 h 1352550"/>
                <a:gd name="connsiteX16" fmla="*/ 454166 w 742950"/>
                <a:gd name="connsiteY16" fmla="*/ 619533 h 1352550"/>
                <a:gd name="connsiteX17" fmla="*/ 304433 w 742950"/>
                <a:gd name="connsiteY17" fmla="*/ 619343 h 1352550"/>
                <a:gd name="connsiteX18" fmla="*/ 131839 w 742950"/>
                <a:gd name="connsiteY18" fmla="*/ 791746 h 1352550"/>
                <a:gd name="connsiteX19" fmla="*/ 131839 w 742950"/>
                <a:gd name="connsiteY19" fmla="*/ 1190938 h 1352550"/>
                <a:gd name="connsiteX20" fmla="*/ 133363 w 742950"/>
                <a:gd name="connsiteY20" fmla="*/ 1225419 h 1352550"/>
                <a:gd name="connsiteX21" fmla="*/ 614947 w 742950"/>
                <a:gd name="connsiteY21" fmla="*/ 1225514 h 1352550"/>
                <a:gd name="connsiteX22" fmla="*/ 554559 w 742950"/>
                <a:gd name="connsiteY22" fmla="*/ 310161 h 1352550"/>
                <a:gd name="connsiteX23" fmla="*/ 373584 w 742950"/>
                <a:gd name="connsiteY23" fmla="*/ 129186 h 1352550"/>
                <a:gd name="connsiteX24" fmla="*/ 191752 w 742950"/>
                <a:gd name="connsiteY24" fmla="*/ 310828 h 1352550"/>
                <a:gd name="connsiteX25" fmla="*/ 375870 w 742950"/>
                <a:gd name="connsiteY25" fmla="*/ 492756 h 1352550"/>
                <a:gd name="connsiteX26" fmla="*/ 554559 w 742950"/>
                <a:gd name="connsiteY26" fmla="*/ 310161 h 1352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742950" h="1352550">
                  <a:moveTo>
                    <a:pt x="47162" y="1347910"/>
                  </a:moveTo>
                  <a:cubicBezTo>
                    <a:pt x="14396" y="1327146"/>
                    <a:pt x="6776" y="1295713"/>
                    <a:pt x="7157" y="1259328"/>
                  </a:cubicBezTo>
                  <a:cubicBezTo>
                    <a:pt x="8491" y="1093021"/>
                    <a:pt x="6776" y="926619"/>
                    <a:pt x="10682" y="760408"/>
                  </a:cubicBezTo>
                  <a:cubicBezTo>
                    <a:pt x="12968" y="663253"/>
                    <a:pt x="62783" y="590006"/>
                    <a:pt x="144412" y="538095"/>
                  </a:cubicBezTo>
                  <a:cubicBezTo>
                    <a:pt x="148222" y="535713"/>
                    <a:pt x="151652" y="532665"/>
                    <a:pt x="158224" y="527617"/>
                  </a:cubicBezTo>
                  <a:cubicBezTo>
                    <a:pt x="84881" y="444559"/>
                    <a:pt x="52687" y="349881"/>
                    <a:pt x="77833" y="241200"/>
                  </a:cubicBezTo>
                  <a:cubicBezTo>
                    <a:pt x="95359" y="165477"/>
                    <a:pt x="138412" y="105755"/>
                    <a:pt x="201562" y="60130"/>
                  </a:cubicBezTo>
                  <a:cubicBezTo>
                    <a:pt x="317482" y="-23499"/>
                    <a:pt x="491408" y="-6450"/>
                    <a:pt x="592754" y="99373"/>
                  </a:cubicBezTo>
                  <a:cubicBezTo>
                    <a:pt x="694481" y="205672"/>
                    <a:pt x="717627" y="387123"/>
                    <a:pt x="589611" y="526855"/>
                  </a:cubicBezTo>
                  <a:cubicBezTo>
                    <a:pt x="596945" y="532380"/>
                    <a:pt x="603899" y="537904"/>
                    <a:pt x="611233" y="542952"/>
                  </a:cubicBezTo>
                  <a:cubicBezTo>
                    <a:pt x="693434" y="599245"/>
                    <a:pt x="737820" y="676779"/>
                    <a:pt x="738582" y="776601"/>
                  </a:cubicBezTo>
                  <a:cubicBezTo>
                    <a:pt x="739725" y="935859"/>
                    <a:pt x="737915" y="1095117"/>
                    <a:pt x="739630" y="1254280"/>
                  </a:cubicBezTo>
                  <a:cubicBezTo>
                    <a:pt x="740011" y="1292094"/>
                    <a:pt x="733058" y="1323526"/>
                    <a:pt x="703339" y="1348005"/>
                  </a:cubicBezTo>
                  <a:cubicBezTo>
                    <a:pt x="484550" y="1347910"/>
                    <a:pt x="265856" y="1347910"/>
                    <a:pt x="47162" y="1347910"/>
                  </a:cubicBezTo>
                  <a:close/>
                  <a:moveTo>
                    <a:pt x="614947" y="1225514"/>
                  </a:moveTo>
                  <a:cubicBezTo>
                    <a:pt x="614947" y="1068256"/>
                    <a:pt x="619615" y="913951"/>
                    <a:pt x="613138" y="760218"/>
                  </a:cubicBezTo>
                  <a:cubicBezTo>
                    <a:pt x="609423" y="673064"/>
                    <a:pt x="541700" y="620962"/>
                    <a:pt x="454166" y="619533"/>
                  </a:cubicBezTo>
                  <a:cubicBezTo>
                    <a:pt x="404254" y="618676"/>
                    <a:pt x="354344" y="619057"/>
                    <a:pt x="304433" y="619343"/>
                  </a:cubicBezTo>
                  <a:cubicBezTo>
                    <a:pt x="195371" y="620010"/>
                    <a:pt x="132220" y="682970"/>
                    <a:pt x="131839" y="791746"/>
                  </a:cubicBezTo>
                  <a:cubicBezTo>
                    <a:pt x="131459" y="924810"/>
                    <a:pt x="131744" y="1057874"/>
                    <a:pt x="131839" y="1190938"/>
                  </a:cubicBezTo>
                  <a:cubicBezTo>
                    <a:pt x="131839" y="1202178"/>
                    <a:pt x="132792" y="1213513"/>
                    <a:pt x="133363" y="1225419"/>
                  </a:cubicBezTo>
                  <a:cubicBezTo>
                    <a:pt x="295574" y="1225514"/>
                    <a:pt x="453499" y="1225514"/>
                    <a:pt x="614947" y="1225514"/>
                  </a:cubicBezTo>
                  <a:close/>
                  <a:moveTo>
                    <a:pt x="554559" y="310161"/>
                  </a:moveTo>
                  <a:cubicBezTo>
                    <a:pt x="554178" y="210721"/>
                    <a:pt x="472358" y="128901"/>
                    <a:pt x="373584" y="129186"/>
                  </a:cubicBezTo>
                  <a:cubicBezTo>
                    <a:pt x="275286" y="129472"/>
                    <a:pt x="192418" y="212244"/>
                    <a:pt x="191752" y="310828"/>
                  </a:cubicBezTo>
                  <a:cubicBezTo>
                    <a:pt x="191085" y="410555"/>
                    <a:pt x="275191" y="493613"/>
                    <a:pt x="375870" y="492756"/>
                  </a:cubicBezTo>
                  <a:cubicBezTo>
                    <a:pt x="475692" y="491803"/>
                    <a:pt x="554940" y="410841"/>
                    <a:pt x="554559" y="31016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E27181D2-0DD4-4665-4BE8-223F2535A472}"/>
                </a:ext>
              </a:extLst>
            </p:cNvPr>
            <p:cNvSpPr/>
            <p:nvPr/>
          </p:nvSpPr>
          <p:spPr>
            <a:xfrm>
              <a:off x="6211139" y="3906994"/>
              <a:ext cx="742950" cy="1352550"/>
            </a:xfrm>
            <a:custGeom>
              <a:avLst/>
              <a:gdLst>
                <a:gd name="connsiteX0" fmla="*/ 43357 w 742950"/>
                <a:gd name="connsiteY0" fmla="*/ 1348996 h 1352550"/>
                <a:gd name="connsiteX1" fmla="*/ 7162 w 742950"/>
                <a:gd name="connsiteY1" fmla="*/ 1251460 h 1352550"/>
                <a:gd name="connsiteX2" fmla="*/ 7447 w 742950"/>
                <a:gd name="connsiteY2" fmla="*/ 802356 h 1352550"/>
                <a:gd name="connsiteX3" fmla="*/ 148227 w 742950"/>
                <a:gd name="connsiteY3" fmla="*/ 536418 h 1352550"/>
                <a:gd name="connsiteX4" fmla="*/ 160705 w 742950"/>
                <a:gd name="connsiteY4" fmla="*/ 530608 h 1352550"/>
                <a:gd name="connsiteX5" fmla="*/ 73837 w 742950"/>
                <a:gd name="connsiteY5" fmla="*/ 259050 h 1352550"/>
                <a:gd name="connsiteX6" fmla="*/ 171087 w 742950"/>
                <a:gd name="connsiteY6" fmla="*/ 85409 h 1352550"/>
                <a:gd name="connsiteX7" fmla="*/ 582186 w 742950"/>
                <a:gd name="connsiteY7" fmla="*/ 91029 h 1352550"/>
                <a:gd name="connsiteX8" fmla="*/ 591616 w 742950"/>
                <a:gd name="connsiteY8" fmla="*/ 527369 h 1352550"/>
                <a:gd name="connsiteX9" fmla="*/ 597045 w 742950"/>
                <a:gd name="connsiteY9" fmla="*/ 535466 h 1352550"/>
                <a:gd name="connsiteX10" fmla="*/ 740015 w 742950"/>
                <a:gd name="connsiteY10" fmla="*/ 800737 h 1352550"/>
                <a:gd name="connsiteX11" fmla="*/ 740301 w 742950"/>
                <a:gd name="connsiteY11" fmla="*/ 1260509 h 1352550"/>
                <a:gd name="connsiteX12" fmla="*/ 699534 w 742950"/>
                <a:gd name="connsiteY12" fmla="*/ 1348806 h 1352550"/>
                <a:gd name="connsiteX13" fmla="*/ 43357 w 742950"/>
                <a:gd name="connsiteY13" fmla="*/ 1348996 h 1352550"/>
                <a:gd name="connsiteX14" fmla="*/ 129653 w 742950"/>
                <a:gd name="connsiteY14" fmla="*/ 1225457 h 1352550"/>
                <a:gd name="connsiteX15" fmla="*/ 611809 w 742950"/>
                <a:gd name="connsiteY15" fmla="*/ 1225457 h 1352550"/>
                <a:gd name="connsiteX16" fmla="*/ 614761 w 742950"/>
                <a:gd name="connsiteY16" fmla="*/ 1213550 h 1352550"/>
                <a:gd name="connsiteX17" fmla="*/ 613714 w 742950"/>
                <a:gd name="connsiteY17" fmla="*/ 764542 h 1352550"/>
                <a:gd name="connsiteX18" fmla="*/ 467791 w 742950"/>
                <a:gd name="connsiteY18" fmla="*/ 621381 h 1352550"/>
                <a:gd name="connsiteX19" fmla="*/ 311009 w 742950"/>
                <a:gd name="connsiteY19" fmla="*/ 619857 h 1352550"/>
                <a:gd name="connsiteX20" fmla="*/ 129177 w 742950"/>
                <a:gd name="connsiteY20" fmla="*/ 803594 h 1352550"/>
                <a:gd name="connsiteX21" fmla="*/ 129653 w 742950"/>
                <a:gd name="connsiteY21" fmla="*/ 1070866 h 1352550"/>
                <a:gd name="connsiteX22" fmla="*/ 129653 w 742950"/>
                <a:gd name="connsiteY22" fmla="*/ 1225457 h 1352550"/>
                <a:gd name="connsiteX23" fmla="*/ 192423 w 742950"/>
                <a:gd name="connsiteY23" fmla="*/ 313343 h 1352550"/>
                <a:gd name="connsiteX24" fmla="*/ 373398 w 742950"/>
                <a:gd name="connsiteY24" fmla="*/ 493841 h 1352550"/>
                <a:gd name="connsiteX25" fmla="*/ 555516 w 742950"/>
                <a:gd name="connsiteY25" fmla="*/ 313343 h 1352550"/>
                <a:gd name="connsiteX26" fmla="*/ 371588 w 742950"/>
                <a:gd name="connsiteY26" fmla="*/ 130272 h 1352550"/>
                <a:gd name="connsiteX27" fmla="*/ 192423 w 742950"/>
                <a:gd name="connsiteY27" fmla="*/ 313343 h 1352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742950" h="1352550">
                  <a:moveTo>
                    <a:pt x="43357" y="1348996"/>
                  </a:moveTo>
                  <a:cubicBezTo>
                    <a:pt x="12305" y="1323469"/>
                    <a:pt x="6781" y="1290132"/>
                    <a:pt x="7162" y="1251460"/>
                  </a:cubicBezTo>
                  <a:cubicBezTo>
                    <a:pt x="8876" y="1101727"/>
                    <a:pt x="9257" y="951994"/>
                    <a:pt x="7447" y="802356"/>
                  </a:cubicBezTo>
                  <a:cubicBezTo>
                    <a:pt x="6019" y="687104"/>
                    <a:pt x="49357" y="597569"/>
                    <a:pt x="148227" y="536418"/>
                  </a:cubicBezTo>
                  <a:cubicBezTo>
                    <a:pt x="151275" y="534513"/>
                    <a:pt x="154704" y="533370"/>
                    <a:pt x="160705" y="530608"/>
                  </a:cubicBezTo>
                  <a:cubicBezTo>
                    <a:pt x="86314" y="451074"/>
                    <a:pt x="57454" y="360873"/>
                    <a:pt x="73837" y="259050"/>
                  </a:cubicBezTo>
                  <a:cubicBezTo>
                    <a:pt x="84886" y="190375"/>
                    <a:pt x="117842" y="131225"/>
                    <a:pt x="171087" y="85409"/>
                  </a:cubicBezTo>
                  <a:cubicBezTo>
                    <a:pt x="295007" y="-21175"/>
                    <a:pt x="458075" y="-18508"/>
                    <a:pt x="582186" y="91029"/>
                  </a:cubicBezTo>
                  <a:cubicBezTo>
                    <a:pt x="702868" y="197519"/>
                    <a:pt x="706392" y="355443"/>
                    <a:pt x="591616" y="527369"/>
                  </a:cubicBezTo>
                  <a:cubicBezTo>
                    <a:pt x="593235" y="529941"/>
                    <a:pt x="594473" y="533942"/>
                    <a:pt x="597045" y="535466"/>
                  </a:cubicBezTo>
                  <a:cubicBezTo>
                    <a:pt x="697248" y="595664"/>
                    <a:pt x="740110" y="686627"/>
                    <a:pt x="740015" y="800737"/>
                  </a:cubicBezTo>
                  <a:cubicBezTo>
                    <a:pt x="739920" y="953994"/>
                    <a:pt x="739539" y="1107251"/>
                    <a:pt x="740301" y="1260509"/>
                  </a:cubicBezTo>
                  <a:cubicBezTo>
                    <a:pt x="740491" y="1297180"/>
                    <a:pt x="732110" y="1328136"/>
                    <a:pt x="699534" y="1348806"/>
                  </a:cubicBezTo>
                  <a:cubicBezTo>
                    <a:pt x="480840" y="1348996"/>
                    <a:pt x="262051" y="1348996"/>
                    <a:pt x="43357" y="1348996"/>
                  </a:cubicBezTo>
                  <a:close/>
                  <a:moveTo>
                    <a:pt x="129653" y="1225457"/>
                  </a:moveTo>
                  <a:cubicBezTo>
                    <a:pt x="294340" y="1225457"/>
                    <a:pt x="453122" y="1225457"/>
                    <a:pt x="611809" y="1225457"/>
                  </a:cubicBezTo>
                  <a:cubicBezTo>
                    <a:pt x="613142" y="1220218"/>
                    <a:pt x="614761" y="1216884"/>
                    <a:pt x="614761" y="1213550"/>
                  </a:cubicBezTo>
                  <a:cubicBezTo>
                    <a:pt x="614761" y="1063913"/>
                    <a:pt x="616095" y="914180"/>
                    <a:pt x="613714" y="764542"/>
                  </a:cubicBezTo>
                  <a:cubicBezTo>
                    <a:pt x="612476" y="687961"/>
                    <a:pt x="545134" y="624239"/>
                    <a:pt x="467791" y="621381"/>
                  </a:cubicBezTo>
                  <a:cubicBezTo>
                    <a:pt x="415594" y="619476"/>
                    <a:pt x="363111" y="623286"/>
                    <a:pt x="311009" y="619857"/>
                  </a:cubicBezTo>
                  <a:cubicBezTo>
                    <a:pt x="205663" y="612999"/>
                    <a:pt x="126129" y="686342"/>
                    <a:pt x="129177" y="803594"/>
                  </a:cubicBezTo>
                  <a:cubicBezTo>
                    <a:pt x="131463" y="892653"/>
                    <a:pt x="129653" y="981712"/>
                    <a:pt x="129653" y="1070866"/>
                  </a:cubicBezTo>
                  <a:cubicBezTo>
                    <a:pt x="129653" y="1121634"/>
                    <a:pt x="129653" y="1172402"/>
                    <a:pt x="129653" y="1225457"/>
                  </a:cubicBezTo>
                  <a:close/>
                  <a:moveTo>
                    <a:pt x="192423" y="313343"/>
                  </a:moveTo>
                  <a:cubicBezTo>
                    <a:pt x="192709" y="413260"/>
                    <a:pt x="273481" y="493746"/>
                    <a:pt x="373398" y="493841"/>
                  </a:cubicBezTo>
                  <a:cubicBezTo>
                    <a:pt x="472363" y="493937"/>
                    <a:pt x="554468" y="412498"/>
                    <a:pt x="555516" y="313343"/>
                  </a:cubicBezTo>
                  <a:cubicBezTo>
                    <a:pt x="556564" y="214473"/>
                    <a:pt x="470172" y="128462"/>
                    <a:pt x="371588" y="130272"/>
                  </a:cubicBezTo>
                  <a:cubicBezTo>
                    <a:pt x="272147" y="132177"/>
                    <a:pt x="192042" y="213902"/>
                    <a:pt x="192423" y="31334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4FA09F41-6B3B-90EA-2311-A2F434E6F074}"/>
                </a:ext>
              </a:extLst>
            </p:cNvPr>
            <p:cNvSpPr/>
            <p:nvPr/>
          </p:nvSpPr>
          <p:spPr>
            <a:xfrm>
              <a:off x="6455663" y="2270760"/>
              <a:ext cx="1228725" cy="123825"/>
            </a:xfrm>
            <a:custGeom>
              <a:avLst/>
              <a:gdLst>
                <a:gd name="connsiteX0" fmla="*/ 7144 w 1228725"/>
                <a:gd name="connsiteY0" fmla="*/ 123158 h 123825"/>
                <a:gd name="connsiteX1" fmla="*/ 7144 w 1228725"/>
                <a:gd name="connsiteY1" fmla="*/ 7144 h 123825"/>
                <a:gd name="connsiteX2" fmla="*/ 1222915 w 1228725"/>
                <a:gd name="connsiteY2" fmla="*/ 7144 h 123825"/>
                <a:gd name="connsiteX3" fmla="*/ 1222915 w 1228725"/>
                <a:gd name="connsiteY3" fmla="*/ 123158 h 123825"/>
                <a:gd name="connsiteX4" fmla="*/ 7144 w 1228725"/>
                <a:gd name="connsiteY4" fmla="*/ 123158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8725" h="123825">
                  <a:moveTo>
                    <a:pt x="7144" y="123158"/>
                  </a:moveTo>
                  <a:cubicBezTo>
                    <a:pt x="7144" y="83439"/>
                    <a:pt x="7144" y="46768"/>
                    <a:pt x="7144" y="7144"/>
                  </a:cubicBezTo>
                  <a:cubicBezTo>
                    <a:pt x="412337" y="7144"/>
                    <a:pt x="816674" y="7144"/>
                    <a:pt x="1222915" y="7144"/>
                  </a:cubicBezTo>
                  <a:cubicBezTo>
                    <a:pt x="1222915" y="45148"/>
                    <a:pt x="1222915" y="82772"/>
                    <a:pt x="1222915" y="123158"/>
                  </a:cubicBezTo>
                  <a:cubicBezTo>
                    <a:pt x="818864" y="123158"/>
                    <a:pt x="414528" y="123158"/>
                    <a:pt x="7144" y="12315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63D13B11-F6F4-72ED-C3E5-B8A3EC560D41}"/>
                </a:ext>
              </a:extLst>
            </p:cNvPr>
            <p:cNvSpPr/>
            <p:nvPr/>
          </p:nvSpPr>
          <p:spPr>
            <a:xfrm>
              <a:off x="6213729" y="2635091"/>
              <a:ext cx="1228725" cy="123825"/>
            </a:xfrm>
            <a:custGeom>
              <a:avLst/>
              <a:gdLst>
                <a:gd name="connsiteX0" fmla="*/ 1222724 w 1228725"/>
                <a:gd name="connsiteY0" fmla="*/ 7144 h 123825"/>
                <a:gd name="connsiteX1" fmla="*/ 1222724 w 1228725"/>
                <a:gd name="connsiteY1" fmla="*/ 123349 h 123825"/>
                <a:gd name="connsiteX2" fmla="*/ 7144 w 1228725"/>
                <a:gd name="connsiteY2" fmla="*/ 123349 h 123825"/>
                <a:gd name="connsiteX3" fmla="*/ 7144 w 1228725"/>
                <a:gd name="connsiteY3" fmla="*/ 7144 h 123825"/>
                <a:gd name="connsiteX4" fmla="*/ 1222724 w 1228725"/>
                <a:gd name="connsiteY4" fmla="*/ 7144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8725" h="123825">
                  <a:moveTo>
                    <a:pt x="1222724" y="7144"/>
                  </a:moveTo>
                  <a:cubicBezTo>
                    <a:pt x="1222724" y="47244"/>
                    <a:pt x="1222724" y="83915"/>
                    <a:pt x="1222724" y="123349"/>
                  </a:cubicBezTo>
                  <a:cubicBezTo>
                    <a:pt x="817435" y="123349"/>
                    <a:pt x="413195" y="123349"/>
                    <a:pt x="7144" y="123349"/>
                  </a:cubicBezTo>
                  <a:cubicBezTo>
                    <a:pt x="7144" y="84963"/>
                    <a:pt x="7144" y="47434"/>
                    <a:pt x="7144" y="7144"/>
                  </a:cubicBezTo>
                  <a:cubicBezTo>
                    <a:pt x="411385" y="7144"/>
                    <a:pt x="815626" y="7144"/>
                    <a:pt x="1222724" y="714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86DE380A-5682-4F2B-7531-5822913EC545}"/>
                </a:ext>
              </a:extLst>
            </p:cNvPr>
            <p:cNvSpPr/>
            <p:nvPr/>
          </p:nvSpPr>
          <p:spPr>
            <a:xfrm>
              <a:off x="6275165" y="1905190"/>
              <a:ext cx="1219200" cy="123825"/>
            </a:xfrm>
            <a:custGeom>
              <a:avLst/>
              <a:gdLst>
                <a:gd name="connsiteX0" fmla="*/ 1220534 w 1219200"/>
                <a:gd name="connsiteY0" fmla="*/ 7144 h 123825"/>
                <a:gd name="connsiteX1" fmla="*/ 1220534 w 1219200"/>
                <a:gd name="connsiteY1" fmla="*/ 124301 h 123825"/>
                <a:gd name="connsiteX2" fmla="*/ 7144 w 1219200"/>
                <a:gd name="connsiteY2" fmla="*/ 124301 h 123825"/>
                <a:gd name="connsiteX3" fmla="*/ 7144 w 1219200"/>
                <a:gd name="connsiteY3" fmla="*/ 7144 h 123825"/>
                <a:gd name="connsiteX4" fmla="*/ 1220534 w 1219200"/>
                <a:gd name="connsiteY4" fmla="*/ 7144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19200" h="123825">
                  <a:moveTo>
                    <a:pt x="1220534" y="7144"/>
                  </a:moveTo>
                  <a:cubicBezTo>
                    <a:pt x="1220534" y="46196"/>
                    <a:pt x="1220534" y="83725"/>
                    <a:pt x="1220534" y="124301"/>
                  </a:cubicBezTo>
                  <a:cubicBezTo>
                    <a:pt x="816864" y="124301"/>
                    <a:pt x="413671" y="124301"/>
                    <a:pt x="7144" y="124301"/>
                  </a:cubicBezTo>
                  <a:cubicBezTo>
                    <a:pt x="7144" y="87154"/>
                    <a:pt x="7144" y="48863"/>
                    <a:pt x="7144" y="7144"/>
                  </a:cubicBezTo>
                  <a:cubicBezTo>
                    <a:pt x="409956" y="7144"/>
                    <a:pt x="813054" y="7144"/>
                    <a:pt x="1220534" y="714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62061437"/>
      </p:ext>
    </p:extLst>
  </p:cSld>
  <p:clrMapOvr>
    <a:masterClrMapping/>
  </p:clrMapOvr>
</p:sld>
</file>

<file path=ppt/slides/slide2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7" name="think-cell data - do not delete" hidden="1">
            <a:extLst>
              <a:ext uri="{FF2B5EF4-FFF2-40B4-BE49-F238E27FC236}">
                <a16:creationId xmlns:a16="http://schemas.microsoft.com/office/drawing/2014/main" id="{233B100E-3AAB-BF18-1ED1-A3F13D66297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2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33B100E-3AAB-BF18-1ED1-A3F13D6629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96D7AD6-3F30-AB81-6B84-65F2B27BEC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208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6E834EB-C459-D1DD-5F85-E87AEB148A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Icons </a:t>
            </a:r>
          </a:p>
        </p:txBody>
      </p:sp>
      <p:grpSp>
        <p:nvGrpSpPr>
          <p:cNvPr id="29" name="Shape1_20200717_154412">
            <a:extLst>
              <a:ext uri="{FF2B5EF4-FFF2-40B4-BE49-F238E27FC236}">
                <a16:creationId xmlns:a16="http://schemas.microsoft.com/office/drawing/2014/main" id="{4CA9AF67-2CAA-B7D0-CAE1-93A9D4C0CD5E}"/>
              </a:ext>
            </a:extLst>
          </p:cNvPr>
          <p:cNvGrpSpPr/>
          <p:nvPr/>
        </p:nvGrpSpPr>
        <p:grpSpPr>
          <a:xfrm>
            <a:off x="8515299" y="1392443"/>
            <a:ext cx="383624" cy="335670"/>
            <a:chOff x="-5765030" y="2231754"/>
            <a:chExt cx="339646" cy="297189"/>
          </a:xfrm>
          <a:solidFill>
            <a:schemeClr val="accent1"/>
          </a:solidFill>
        </p:grpSpPr>
        <p:sp>
          <p:nvSpPr>
            <p:cNvPr id="30" name="Freeform 127">
              <a:extLst>
                <a:ext uri="{FF2B5EF4-FFF2-40B4-BE49-F238E27FC236}">
                  <a16:creationId xmlns:a16="http://schemas.microsoft.com/office/drawing/2014/main" id="{BDE1B1EF-30F7-5DB5-A924-75315C32CD41}"/>
                </a:ext>
              </a:extLst>
            </p:cNvPr>
            <p:cNvSpPr>
              <a:spLocks/>
            </p:cNvSpPr>
            <p:nvPr/>
          </p:nvSpPr>
          <p:spPr bwMode="auto">
            <a:xfrm>
              <a:off x="-5765030" y="2231754"/>
              <a:ext cx="339646" cy="178314"/>
            </a:xfrm>
            <a:custGeom>
              <a:avLst/>
              <a:gdLst>
                <a:gd name="T0" fmla="*/ 156 w 160"/>
                <a:gd name="T1" fmla="*/ 83 h 83"/>
                <a:gd name="T2" fmla="*/ 153 w 160"/>
                <a:gd name="T3" fmla="*/ 82 h 83"/>
                <a:gd name="T4" fmla="*/ 80 w 160"/>
                <a:gd name="T5" fmla="*/ 9 h 83"/>
                <a:gd name="T6" fmla="*/ 6 w 160"/>
                <a:gd name="T7" fmla="*/ 82 h 83"/>
                <a:gd name="T8" fmla="*/ 1 w 160"/>
                <a:gd name="T9" fmla="*/ 82 h 83"/>
                <a:gd name="T10" fmla="*/ 1 w 160"/>
                <a:gd name="T11" fmla="*/ 77 h 83"/>
                <a:gd name="T12" fmla="*/ 77 w 160"/>
                <a:gd name="T13" fmla="*/ 1 h 83"/>
                <a:gd name="T14" fmla="*/ 82 w 160"/>
                <a:gd name="T15" fmla="*/ 1 h 83"/>
                <a:gd name="T16" fmla="*/ 158 w 160"/>
                <a:gd name="T17" fmla="*/ 77 h 83"/>
                <a:gd name="T18" fmla="*/ 158 w 160"/>
                <a:gd name="T19" fmla="*/ 82 h 83"/>
                <a:gd name="T20" fmla="*/ 156 w 160"/>
                <a:gd name="T2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0" h="83">
                  <a:moveTo>
                    <a:pt x="156" y="83"/>
                  </a:moveTo>
                  <a:cubicBezTo>
                    <a:pt x="155" y="83"/>
                    <a:pt x="154" y="83"/>
                    <a:pt x="153" y="82"/>
                  </a:cubicBezTo>
                  <a:cubicBezTo>
                    <a:pt x="80" y="9"/>
                    <a:pt x="80" y="9"/>
                    <a:pt x="80" y="9"/>
                  </a:cubicBezTo>
                  <a:cubicBezTo>
                    <a:pt x="6" y="82"/>
                    <a:pt x="6" y="82"/>
                    <a:pt x="6" y="82"/>
                  </a:cubicBezTo>
                  <a:cubicBezTo>
                    <a:pt x="5" y="83"/>
                    <a:pt x="3" y="83"/>
                    <a:pt x="1" y="82"/>
                  </a:cubicBezTo>
                  <a:cubicBezTo>
                    <a:pt x="0" y="81"/>
                    <a:pt x="0" y="78"/>
                    <a:pt x="1" y="77"/>
                  </a:cubicBezTo>
                  <a:cubicBezTo>
                    <a:pt x="77" y="1"/>
                    <a:pt x="77" y="1"/>
                    <a:pt x="77" y="1"/>
                  </a:cubicBezTo>
                  <a:cubicBezTo>
                    <a:pt x="79" y="0"/>
                    <a:pt x="81" y="0"/>
                    <a:pt x="82" y="1"/>
                  </a:cubicBezTo>
                  <a:cubicBezTo>
                    <a:pt x="158" y="77"/>
                    <a:pt x="158" y="77"/>
                    <a:pt x="158" y="77"/>
                  </a:cubicBezTo>
                  <a:cubicBezTo>
                    <a:pt x="160" y="78"/>
                    <a:pt x="160" y="81"/>
                    <a:pt x="158" y="82"/>
                  </a:cubicBezTo>
                  <a:cubicBezTo>
                    <a:pt x="158" y="83"/>
                    <a:pt x="157" y="83"/>
                    <a:pt x="156" y="8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1" name="Freeform 128">
              <a:extLst>
                <a:ext uri="{FF2B5EF4-FFF2-40B4-BE49-F238E27FC236}">
                  <a16:creationId xmlns:a16="http://schemas.microsoft.com/office/drawing/2014/main" id="{2F73E5E7-C396-B0AE-3418-3D7DD0BB9E3E}"/>
                </a:ext>
              </a:extLst>
            </p:cNvPr>
            <p:cNvSpPr>
              <a:spLocks/>
            </p:cNvSpPr>
            <p:nvPr/>
          </p:nvSpPr>
          <p:spPr bwMode="auto">
            <a:xfrm>
              <a:off x="-5765030" y="2350629"/>
              <a:ext cx="339646" cy="178314"/>
            </a:xfrm>
            <a:custGeom>
              <a:avLst/>
              <a:gdLst>
                <a:gd name="T0" fmla="*/ 156 w 160"/>
                <a:gd name="T1" fmla="*/ 83 h 84"/>
                <a:gd name="T2" fmla="*/ 153 w 160"/>
                <a:gd name="T3" fmla="*/ 82 h 84"/>
                <a:gd name="T4" fmla="*/ 80 w 160"/>
                <a:gd name="T5" fmla="*/ 9 h 84"/>
                <a:gd name="T6" fmla="*/ 6 w 160"/>
                <a:gd name="T7" fmla="*/ 82 h 84"/>
                <a:gd name="T8" fmla="*/ 1 w 160"/>
                <a:gd name="T9" fmla="*/ 82 h 84"/>
                <a:gd name="T10" fmla="*/ 1 w 160"/>
                <a:gd name="T11" fmla="*/ 77 h 84"/>
                <a:gd name="T12" fmla="*/ 77 w 160"/>
                <a:gd name="T13" fmla="*/ 1 h 84"/>
                <a:gd name="T14" fmla="*/ 82 w 160"/>
                <a:gd name="T15" fmla="*/ 1 h 84"/>
                <a:gd name="T16" fmla="*/ 158 w 160"/>
                <a:gd name="T17" fmla="*/ 77 h 84"/>
                <a:gd name="T18" fmla="*/ 158 w 160"/>
                <a:gd name="T19" fmla="*/ 82 h 84"/>
                <a:gd name="T20" fmla="*/ 156 w 160"/>
                <a:gd name="T21" fmla="*/ 83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0" h="84">
                  <a:moveTo>
                    <a:pt x="156" y="83"/>
                  </a:moveTo>
                  <a:cubicBezTo>
                    <a:pt x="155" y="83"/>
                    <a:pt x="154" y="83"/>
                    <a:pt x="153" y="82"/>
                  </a:cubicBezTo>
                  <a:cubicBezTo>
                    <a:pt x="80" y="9"/>
                    <a:pt x="80" y="9"/>
                    <a:pt x="80" y="9"/>
                  </a:cubicBezTo>
                  <a:cubicBezTo>
                    <a:pt x="6" y="82"/>
                    <a:pt x="6" y="82"/>
                    <a:pt x="6" y="82"/>
                  </a:cubicBezTo>
                  <a:cubicBezTo>
                    <a:pt x="5" y="84"/>
                    <a:pt x="3" y="84"/>
                    <a:pt x="1" y="82"/>
                  </a:cubicBezTo>
                  <a:cubicBezTo>
                    <a:pt x="0" y="81"/>
                    <a:pt x="0" y="79"/>
                    <a:pt x="1" y="77"/>
                  </a:cubicBezTo>
                  <a:cubicBezTo>
                    <a:pt x="77" y="1"/>
                    <a:pt x="77" y="1"/>
                    <a:pt x="77" y="1"/>
                  </a:cubicBezTo>
                  <a:cubicBezTo>
                    <a:pt x="79" y="0"/>
                    <a:pt x="81" y="0"/>
                    <a:pt x="82" y="1"/>
                  </a:cubicBezTo>
                  <a:cubicBezTo>
                    <a:pt x="158" y="77"/>
                    <a:pt x="158" y="77"/>
                    <a:pt x="158" y="77"/>
                  </a:cubicBezTo>
                  <a:cubicBezTo>
                    <a:pt x="160" y="79"/>
                    <a:pt x="160" y="81"/>
                    <a:pt x="158" y="82"/>
                  </a:cubicBezTo>
                  <a:cubicBezTo>
                    <a:pt x="158" y="83"/>
                    <a:pt x="157" y="83"/>
                    <a:pt x="156" y="8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2" name="Shape2_20200717_154412">
            <a:extLst>
              <a:ext uri="{FF2B5EF4-FFF2-40B4-BE49-F238E27FC236}">
                <a16:creationId xmlns:a16="http://schemas.microsoft.com/office/drawing/2014/main" id="{4F1226BD-8DB5-8007-73C4-D5444EF3CE80}"/>
              </a:ext>
            </a:extLst>
          </p:cNvPr>
          <p:cNvGrpSpPr/>
          <p:nvPr/>
        </p:nvGrpSpPr>
        <p:grpSpPr>
          <a:xfrm>
            <a:off x="603638" y="1417917"/>
            <a:ext cx="540272" cy="332474"/>
            <a:chOff x="-5835793" y="1170363"/>
            <a:chExt cx="478335" cy="294359"/>
          </a:xfrm>
          <a:solidFill>
            <a:schemeClr val="accent1"/>
          </a:solidFill>
        </p:grpSpPr>
        <p:sp>
          <p:nvSpPr>
            <p:cNvPr id="33" name="Freeform 129">
              <a:extLst>
                <a:ext uri="{FF2B5EF4-FFF2-40B4-BE49-F238E27FC236}">
                  <a16:creationId xmlns:a16="http://schemas.microsoft.com/office/drawing/2014/main" id="{00A640EB-B4B2-1641-532D-FF4D03B65F8A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35793" y="1309051"/>
              <a:ext cx="478335" cy="16982"/>
            </a:xfrm>
            <a:custGeom>
              <a:avLst/>
              <a:gdLst>
                <a:gd name="T0" fmla="*/ 220 w 224"/>
                <a:gd name="T1" fmla="*/ 7 h 7"/>
                <a:gd name="T2" fmla="*/ 3 w 224"/>
                <a:gd name="T3" fmla="*/ 7 h 7"/>
                <a:gd name="T4" fmla="*/ 0 w 224"/>
                <a:gd name="T5" fmla="*/ 4 h 7"/>
                <a:gd name="T6" fmla="*/ 3 w 224"/>
                <a:gd name="T7" fmla="*/ 0 h 7"/>
                <a:gd name="T8" fmla="*/ 220 w 224"/>
                <a:gd name="T9" fmla="*/ 0 h 7"/>
                <a:gd name="T10" fmla="*/ 224 w 224"/>
                <a:gd name="T11" fmla="*/ 4 h 7"/>
                <a:gd name="T12" fmla="*/ 220 w 224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4" h="7">
                  <a:moveTo>
                    <a:pt x="220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6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220" y="0"/>
                    <a:pt x="220" y="0"/>
                    <a:pt x="220" y="0"/>
                  </a:cubicBezTo>
                  <a:cubicBezTo>
                    <a:pt x="222" y="0"/>
                    <a:pt x="224" y="2"/>
                    <a:pt x="224" y="4"/>
                  </a:cubicBezTo>
                  <a:cubicBezTo>
                    <a:pt x="224" y="6"/>
                    <a:pt x="222" y="7"/>
                    <a:pt x="220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4" name="Freeform 130">
              <a:extLst>
                <a:ext uri="{FF2B5EF4-FFF2-40B4-BE49-F238E27FC236}">
                  <a16:creationId xmlns:a16="http://schemas.microsoft.com/office/drawing/2014/main" id="{F71288A7-422A-8CB6-980C-278BFBCD6D86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35793" y="1170363"/>
              <a:ext cx="155672" cy="294359"/>
            </a:xfrm>
            <a:custGeom>
              <a:avLst/>
              <a:gdLst>
                <a:gd name="T0" fmla="*/ 68 w 72"/>
                <a:gd name="T1" fmla="*/ 137 h 137"/>
                <a:gd name="T2" fmla="*/ 66 w 72"/>
                <a:gd name="T3" fmla="*/ 136 h 137"/>
                <a:gd name="T4" fmla="*/ 1 w 72"/>
                <a:gd name="T5" fmla="*/ 71 h 137"/>
                <a:gd name="T6" fmla="*/ 0 w 72"/>
                <a:gd name="T7" fmla="*/ 69 h 137"/>
                <a:gd name="T8" fmla="*/ 1 w 72"/>
                <a:gd name="T9" fmla="*/ 66 h 137"/>
                <a:gd name="T10" fmla="*/ 66 w 72"/>
                <a:gd name="T11" fmla="*/ 1 h 137"/>
                <a:gd name="T12" fmla="*/ 71 w 72"/>
                <a:gd name="T13" fmla="*/ 1 h 137"/>
                <a:gd name="T14" fmla="*/ 71 w 72"/>
                <a:gd name="T15" fmla="*/ 6 h 137"/>
                <a:gd name="T16" fmla="*/ 8 w 72"/>
                <a:gd name="T17" fmla="*/ 69 h 137"/>
                <a:gd name="T18" fmla="*/ 71 w 72"/>
                <a:gd name="T19" fmla="*/ 131 h 137"/>
                <a:gd name="T20" fmla="*/ 71 w 72"/>
                <a:gd name="T21" fmla="*/ 136 h 137"/>
                <a:gd name="T22" fmla="*/ 68 w 72"/>
                <a:gd name="T23" fmla="*/ 137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2" h="137">
                  <a:moveTo>
                    <a:pt x="68" y="137"/>
                  </a:moveTo>
                  <a:cubicBezTo>
                    <a:pt x="67" y="137"/>
                    <a:pt x="66" y="137"/>
                    <a:pt x="66" y="136"/>
                  </a:cubicBezTo>
                  <a:cubicBezTo>
                    <a:pt x="1" y="71"/>
                    <a:pt x="1" y="71"/>
                    <a:pt x="1" y="71"/>
                  </a:cubicBezTo>
                  <a:cubicBezTo>
                    <a:pt x="0" y="70"/>
                    <a:pt x="0" y="70"/>
                    <a:pt x="0" y="69"/>
                  </a:cubicBezTo>
                  <a:cubicBezTo>
                    <a:pt x="0" y="68"/>
                    <a:pt x="0" y="67"/>
                    <a:pt x="1" y="66"/>
                  </a:cubicBezTo>
                  <a:cubicBezTo>
                    <a:pt x="66" y="1"/>
                    <a:pt x="66" y="1"/>
                    <a:pt x="66" y="1"/>
                  </a:cubicBezTo>
                  <a:cubicBezTo>
                    <a:pt x="67" y="0"/>
                    <a:pt x="69" y="0"/>
                    <a:pt x="71" y="1"/>
                  </a:cubicBezTo>
                  <a:cubicBezTo>
                    <a:pt x="72" y="2"/>
                    <a:pt x="72" y="5"/>
                    <a:pt x="71" y="6"/>
                  </a:cubicBezTo>
                  <a:cubicBezTo>
                    <a:pt x="8" y="69"/>
                    <a:pt x="8" y="69"/>
                    <a:pt x="8" y="69"/>
                  </a:cubicBezTo>
                  <a:cubicBezTo>
                    <a:pt x="71" y="131"/>
                    <a:pt x="71" y="131"/>
                    <a:pt x="71" y="131"/>
                  </a:cubicBezTo>
                  <a:cubicBezTo>
                    <a:pt x="72" y="132"/>
                    <a:pt x="72" y="135"/>
                    <a:pt x="71" y="136"/>
                  </a:cubicBezTo>
                  <a:cubicBezTo>
                    <a:pt x="70" y="137"/>
                    <a:pt x="69" y="137"/>
                    <a:pt x="68" y="13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5" name="Shape3_20200717_154412">
            <a:extLst>
              <a:ext uri="{FF2B5EF4-FFF2-40B4-BE49-F238E27FC236}">
                <a16:creationId xmlns:a16="http://schemas.microsoft.com/office/drawing/2014/main" id="{4CFDC388-359F-7D29-448D-E41BC87D77A0}"/>
              </a:ext>
            </a:extLst>
          </p:cNvPr>
          <p:cNvGrpSpPr/>
          <p:nvPr/>
        </p:nvGrpSpPr>
        <p:grpSpPr>
          <a:xfrm>
            <a:off x="1853248" y="2729928"/>
            <a:ext cx="652164" cy="246160"/>
            <a:chOff x="-1958174" y="2271379"/>
            <a:chExt cx="577399" cy="217940"/>
          </a:xfrm>
          <a:solidFill>
            <a:schemeClr val="accent1"/>
          </a:solidFill>
        </p:grpSpPr>
        <p:sp>
          <p:nvSpPr>
            <p:cNvPr id="36" name="Freeform 131">
              <a:extLst>
                <a:ext uri="{FF2B5EF4-FFF2-40B4-BE49-F238E27FC236}">
                  <a16:creationId xmlns:a16="http://schemas.microsoft.com/office/drawing/2014/main" id="{AE0A1728-CBEF-5B9B-C7FB-1A54AE77C1DB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58174" y="2373272"/>
              <a:ext cx="356628" cy="14153"/>
            </a:xfrm>
            <a:custGeom>
              <a:avLst/>
              <a:gdLst>
                <a:gd name="T0" fmla="*/ 163 w 167"/>
                <a:gd name="T1" fmla="*/ 7 h 7"/>
                <a:gd name="T2" fmla="*/ 4 w 167"/>
                <a:gd name="T3" fmla="*/ 7 h 7"/>
                <a:gd name="T4" fmla="*/ 0 w 167"/>
                <a:gd name="T5" fmla="*/ 3 h 7"/>
                <a:gd name="T6" fmla="*/ 4 w 167"/>
                <a:gd name="T7" fmla="*/ 0 h 7"/>
                <a:gd name="T8" fmla="*/ 163 w 167"/>
                <a:gd name="T9" fmla="*/ 0 h 7"/>
                <a:gd name="T10" fmla="*/ 167 w 167"/>
                <a:gd name="T11" fmla="*/ 3 h 7"/>
                <a:gd name="T12" fmla="*/ 163 w 167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7" h="7">
                  <a:moveTo>
                    <a:pt x="163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63" y="0"/>
                    <a:pt x="163" y="0"/>
                    <a:pt x="163" y="0"/>
                  </a:cubicBezTo>
                  <a:cubicBezTo>
                    <a:pt x="165" y="0"/>
                    <a:pt x="167" y="1"/>
                    <a:pt x="167" y="3"/>
                  </a:cubicBezTo>
                  <a:cubicBezTo>
                    <a:pt x="167" y="5"/>
                    <a:pt x="165" y="7"/>
                    <a:pt x="163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7" name="Freeform 132">
              <a:extLst>
                <a:ext uri="{FF2B5EF4-FFF2-40B4-BE49-F238E27FC236}">
                  <a16:creationId xmlns:a16="http://schemas.microsoft.com/office/drawing/2014/main" id="{56007C83-D762-65E2-74F8-B8D48C4C04C6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58174" y="2271379"/>
              <a:ext cx="116046" cy="217940"/>
            </a:xfrm>
            <a:custGeom>
              <a:avLst/>
              <a:gdLst>
                <a:gd name="T0" fmla="*/ 51 w 55"/>
                <a:gd name="T1" fmla="*/ 102 h 102"/>
                <a:gd name="T2" fmla="*/ 49 w 55"/>
                <a:gd name="T3" fmla="*/ 101 h 102"/>
                <a:gd name="T4" fmla="*/ 1 w 55"/>
                <a:gd name="T5" fmla="*/ 54 h 102"/>
                <a:gd name="T6" fmla="*/ 1 w 55"/>
                <a:gd name="T7" fmla="*/ 49 h 102"/>
                <a:gd name="T8" fmla="*/ 49 w 55"/>
                <a:gd name="T9" fmla="*/ 1 h 102"/>
                <a:gd name="T10" fmla="*/ 54 w 55"/>
                <a:gd name="T11" fmla="*/ 1 h 102"/>
                <a:gd name="T12" fmla="*/ 54 w 55"/>
                <a:gd name="T13" fmla="*/ 6 h 102"/>
                <a:gd name="T14" fmla="*/ 9 w 55"/>
                <a:gd name="T15" fmla="*/ 51 h 102"/>
                <a:gd name="T16" fmla="*/ 54 w 55"/>
                <a:gd name="T17" fmla="*/ 96 h 102"/>
                <a:gd name="T18" fmla="*/ 54 w 55"/>
                <a:gd name="T19" fmla="*/ 101 h 102"/>
                <a:gd name="T20" fmla="*/ 51 w 55"/>
                <a:gd name="T21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5" h="102">
                  <a:moveTo>
                    <a:pt x="51" y="102"/>
                  </a:moveTo>
                  <a:cubicBezTo>
                    <a:pt x="51" y="102"/>
                    <a:pt x="50" y="102"/>
                    <a:pt x="49" y="101"/>
                  </a:cubicBezTo>
                  <a:cubicBezTo>
                    <a:pt x="1" y="54"/>
                    <a:pt x="1" y="54"/>
                    <a:pt x="1" y="54"/>
                  </a:cubicBezTo>
                  <a:cubicBezTo>
                    <a:pt x="0" y="52"/>
                    <a:pt x="0" y="50"/>
                    <a:pt x="1" y="49"/>
                  </a:cubicBezTo>
                  <a:cubicBezTo>
                    <a:pt x="49" y="1"/>
                    <a:pt x="49" y="1"/>
                    <a:pt x="49" y="1"/>
                  </a:cubicBezTo>
                  <a:cubicBezTo>
                    <a:pt x="50" y="0"/>
                    <a:pt x="53" y="0"/>
                    <a:pt x="54" y="1"/>
                  </a:cubicBezTo>
                  <a:cubicBezTo>
                    <a:pt x="55" y="2"/>
                    <a:pt x="55" y="5"/>
                    <a:pt x="54" y="6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54" y="96"/>
                    <a:pt x="54" y="96"/>
                    <a:pt x="54" y="96"/>
                  </a:cubicBezTo>
                  <a:cubicBezTo>
                    <a:pt x="55" y="98"/>
                    <a:pt x="55" y="100"/>
                    <a:pt x="54" y="101"/>
                  </a:cubicBezTo>
                  <a:cubicBezTo>
                    <a:pt x="53" y="102"/>
                    <a:pt x="52" y="102"/>
                    <a:pt x="51" y="10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8" name="Freeform 133">
              <a:extLst>
                <a:ext uri="{FF2B5EF4-FFF2-40B4-BE49-F238E27FC236}">
                  <a16:creationId xmlns:a16="http://schemas.microsoft.com/office/drawing/2014/main" id="{623E0F9A-601A-7561-B8ED-0ADB1675F15E}"/>
                </a:ext>
              </a:extLst>
            </p:cNvPr>
            <p:cNvSpPr>
              <a:spLocks/>
            </p:cNvSpPr>
            <p:nvPr/>
          </p:nvSpPr>
          <p:spPr bwMode="auto">
            <a:xfrm>
              <a:off x="-1737404" y="2373272"/>
              <a:ext cx="356628" cy="14153"/>
            </a:xfrm>
            <a:custGeom>
              <a:avLst/>
              <a:gdLst>
                <a:gd name="T0" fmla="*/ 163 w 167"/>
                <a:gd name="T1" fmla="*/ 7 h 7"/>
                <a:gd name="T2" fmla="*/ 4 w 167"/>
                <a:gd name="T3" fmla="*/ 7 h 7"/>
                <a:gd name="T4" fmla="*/ 0 w 167"/>
                <a:gd name="T5" fmla="*/ 3 h 7"/>
                <a:gd name="T6" fmla="*/ 4 w 167"/>
                <a:gd name="T7" fmla="*/ 0 h 7"/>
                <a:gd name="T8" fmla="*/ 163 w 167"/>
                <a:gd name="T9" fmla="*/ 0 h 7"/>
                <a:gd name="T10" fmla="*/ 167 w 167"/>
                <a:gd name="T11" fmla="*/ 3 h 7"/>
                <a:gd name="T12" fmla="*/ 163 w 167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7" h="7">
                  <a:moveTo>
                    <a:pt x="163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63" y="0"/>
                    <a:pt x="163" y="0"/>
                    <a:pt x="163" y="0"/>
                  </a:cubicBezTo>
                  <a:cubicBezTo>
                    <a:pt x="165" y="0"/>
                    <a:pt x="167" y="1"/>
                    <a:pt x="167" y="3"/>
                  </a:cubicBezTo>
                  <a:cubicBezTo>
                    <a:pt x="167" y="5"/>
                    <a:pt x="165" y="7"/>
                    <a:pt x="163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9" name="Freeform 134">
              <a:extLst>
                <a:ext uri="{FF2B5EF4-FFF2-40B4-BE49-F238E27FC236}">
                  <a16:creationId xmlns:a16="http://schemas.microsoft.com/office/drawing/2014/main" id="{2517B200-2DD2-ACB6-0AD5-8159CBE8C712}"/>
                </a:ext>
              </a:extLst>
            </p:cNvPr>
            <p:cNvSpPr>
              <a:spLocks/>
            </p:cNvSpPr>
            <p:nvPr/>
          </p:nvSpPr>
          <p:spPr bwMode="auto">
            <a:xfrm>
              <a:off x="-1502482" y="2271379"/>
              <a:ext cx="121707" cy="217940"/>
            </a:xfrm>
            <a:custGeom>
              <a:avLst/>
              <a:gdLst>
                <a:gd name="T0" fmla="*/ 4 w 56"/>
                <a:gd name="T1" fmla="*/ 102 h 102"/>
                <a:gd name="T2" fmla="*/ 2 w 56"/>
                <a:gd name="T3" fmla="*/ 101 h 102"/>
                <a:gd name="T4" fmla="*/ 2 w 56"/>
                <a:gd name="T5" fmla="*/ 96 h 102"/>
                <a:gd name="T6" fmla="*/ 47 w 56"/>
                <a:gd name="T7" fmla="*/ 51 h 102"/>
                <a:gd name="T8" fmla="*/ 2 w 56"/>
                <a:gd name="T9" fmla="*/ 6 h 102"/>
                <a:gd name="T10" fmla="*/ 2 w 56"/>
                <a:gd name="T11" fmla="*/ 1 h 102"/>
                <a:gd name="T12" fmla="*/ 7 w 56"/>
                <a:gd name="T13" fmla="*/ 1 h 102"/>
                <a:gd name="T14" fmla="*/ 55 w 56"/>
                <a:gd name="T15" fmla="*/ 49 h 102"/>
                <a:gd name="T16" fmla="*/ 55 w 56"/>
                <a:gd name="T17" fmla="*/ 54 h 102"/>
                <a:gd name="T18" fmla="*/ 7 w 56"/>
                <a:gd name="T19" fmla="*/ 101 h 102"/>
                <a:gd name="T20" fmla="*/ 4 w 56"/>
                <a:gd name="T21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6" h="102">
                  <a:moveTo>
                    <a:pt x="4" y="102"/>
                  </a:moveTo>
                  <a:cubicBezTo>
                    <a:pt x="3" y="102"/>
                    <a:pt x="3" y="102"/>
                    <a:pt x="2" y="101"/>
                  </a:cubicBezTo>
                  <a:cubicBezTo>
                    <a:pt x="0" y="100"/>
                    <a:pt x="0" y="98"/>
                    <a:pt x="2" y="96"/>
                  </a:cubicBezTo>
                  <a:cubicBezTo>
                    <a:pt x="47" y="51"/>
                    <a:pt x="47" y="51"/>
                    <a:pt x="47" y="51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0" y="5"/>
                    <a:pt x="0" y="2"/>
                    <a:pt x="2" y="1"/>
                  </a:cubicBezTo>
                  <a:cubicBezTo>
                    <a:pt x="3" y="0"/>
                    <a:pt x="6" y="0"/>
                    <a:pt x="7" y="1"/>
                  </a:cubicBezTo>
                  <a:cubicBezTo>
                    <a:pt x="55" y="49"/>
                    <a:pt x="55" y="49"/>
                    <a:pt x="55" y="49"/>
                  </a:cubicBezTo>
                  <a:cubicBezTo>
                    <a:pt x="56" y="50"/>
                    <a:pt x="56" y="52"/>
                    <a:pt x="55" y="54"/>
                  </a:cubicBezTo>
                  <a:cubicBezTo>
                    <a:pt x="7" y="101"/>
                    <a:pt x="7" y="101"/>
                    <a:pt x="7" y="101"/>
                  </a:cubicBezTo>
                  <a:cubicBezTo>
                    <a:pt x="6" y="102"/>
                    <a:pt x="5" y="102"/>
                    <a:pt x="4" y="10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0" name="Shape4_20200717_154412">
            <a:extLst>
              <a:ext uri="{FF2B5EF4-FFF2-40B4-BE49-F238E27FC236}">
                <a16:creationId xmlns:a16="http://schemas.microsoft.com/office/drawing/2014/main" id="{FA655117-42B0-3E37-E398-07A04337A9F1}"/>
              </a:ext>
            </a:extLst>
          </p:cNvPr>
          <p:cNvGrpSpPr/>
          <p:nvPr/>
        </p:nvGrpSpPr>
        <p:grpSpPr>
          <a:xfrm>
            <a:off x="3358609" y="2551615"/>
            <a:ext cx="252554" cy="648966"/>
            <a:chOff x="-800548" y="2093066"/>
            <a:chExt cx="223601" cy="574568"/>
          </a:xfrm>
          <a:solidFill>
            <a:schemeClr val="accent1"/>
          </a:solidFill>
        </p:grpSpPr>
        <p:sp>
          <p:nvSpPr>
            <p:cNvPr id="41" name="Freeform 135">
              <a:extLst>
                <a:ext uri="{FF2B5EF4-FFF2-40B4-BE49-F238E27FC236}">
                  <a16:creationId xmlns:a16="http://schemas.microsoft.com/office/drawing/2014/main" id="{38B4C968-D0E6-3CCD-9B31-B0FB199A1A40}"/>
                </a:ext>
              </a:extLst>
            </p:cNvPr>
            <p:cNvSpPr>
              <a:spLocks/>
            </p:cNvSpPr>
            <p:nvPr/>
          </p:nvSpPr>
          <p:spPr bwMode="auto">
            <a:xfrm>
              <a:off x="-698656" y="2093066"/>
              <a:ext cx="16982" cy="356629"/>
            </a:xfrm>
            <a:custGeom>
              <a:avLst/>
              <a:gdLst>
                <a:gd name="T0" fmla="*/ 4 w 8"/>
                <a:gd name="T1" fmla="*/ 167 h 167"/>
                <a:gd name="T2" fmla="*/ 0 w 8"/>
                <a:gd name="T3" fmla="*/ 163 h 167"/>
                <a:gd name="T4" fmla="*/ 0 w 8"/>
                <a:gd name="T5" fmla="*/ 4 h 167"/>
                <a:gd name="T6" fmla="*/ 4 w 8"/>
                <a:gd name="T7" fmla="*/ 0 h 167"/>
                <a:gd name="T8" fmla="*/ 8 w 8"/>
                <a:gd name="T9" fmla="*/ 4 h 167"/>
                <a:gd name="T10" fmla="*/ 8 w 8"/>
                <a:gd name="T11" fmla="*/ 163 h 167"/>
                <a:gd name="T12" fmla="*/ 4 w 8"/>
                <a:gd name="T13" fmla="*/ 16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167">
                  <a:moveTo>
                    <a:pt x="4" y="167"/>
                  </a:moveTo>
                  <a:cubicBezTo>
                    <a:pt x="2" y="167"/>
                    <a:pt x="0" y="165"/>
                    <a:pt x="0" y="16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163"/>
                    <a:pt x="8" y="163"/>
                    <a:pt x="8" y="163"/>
                  </a:cubicBezTo>
                  <a:cubicBezTo>
                    <a:pt x="8" y="165"/>
                    <a:pt x="6" y="167"/>
                    <a:pt x="4" y="16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2" name="Freeform 136">
              <a:extLst>
                <a:ext uri="{FF2B5EF4-FFF2-40B4-BE49-F238E27FC236}">
                  <a16:creationId xmlns:a16="http://schemas.microsoft.com/office/drawing/2014/main" id="{448ACC93-8113-CD22-2D7C-4186FFBC162B}"/>
                </a:ext>
              </a:extLst>
            </p:cNvPr>
            <p:cNvSpPr>
              <a:spLocks/>
            </p:cNvSpPr>
            <p:nvPr/>
          </p:nvSpPr>
          <p:spPr bwMode="auto">
            <a:xfrm>
              <a:off x="-800548" y="2093066"/>
              <a:ext cx="223601" cy="118876"/>
            </a:xfrm>
            <a:custGeom>
              <a:avLst/>
              <a:gdLst>
                <a:gd name="T0" fmla="*/ 100 w 104"/>
                <a:gd name="T1" fmla="*/ 55 h 56"/>
                <a:gd name="T2" fmla="*/ 97 w 104"/>
                <a:gd name="T3" fmla="*/ 54 h 56"/>
                <a:gd name="T4" fmla="*/ 52 w 104"/>
                <a:gd name="T5" fmla="*/ 9 h 56"/>
                <a:gd name="T6" fmla="*/ 7 w 104"/>
                <a:gd name="T7" fmla="*/ 54 h 56"/>
                <a:gd name="T8" fmla="*/ 2 w 104"/>
                <a:gd name="T9" fmla="*/ 54 h 56"/>
                <a:gd name="T10" fmla="*/ 2 w 104"/>
                <a:gd name="T11" fmla="*/ 49 h 56"/>
                <a:gd name="T12" fmla="*/ 49 w 104"/>
                <a:gd name="T13" fmla="*/ 2 h 56"/>
                <a:gd name="T14" fmla="*/ 55 w 104"/>
                <a:gd name="T15" fmla="*/ 2 h 56"/>
                <a:gd name="T16" fmla="*/ 102 w 104"/>
                <a:gd name="T17" fmla="*/ 49 h 56"/>
                <a:gd name="T18" fmla="*/ 102 w 104"/>
                <a:gd name="T19" fmla="*/ 54 h 56"/>
                <a:gd name="T20" fmla="*/ 100 w 104"/>
                <a:gd name="T21" fmla="*/ 55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4" h="56">
                  <a:moveTo>
                    <a:pt x="100" y="55"/>
                  </a:moveTo>
                  <a:cubicBezTo>
                    <a:pt x="99" y="55"/>
                    <a:pt x="98" y="55"/>
                    <a:pt x="97" y="54"/>
                  </a:cubicBezTo>
                  <a:cubicBezTo>
                    <a:pt x="52" y="9"/>
                    <a:pt x="52" y="9"/>
                    <a:pt x="52" y="9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5" y="56"/>
                    <a:pt x="3" y="56"/>
                    <a:pt x="2" y="54"/>
                  </a:cubicBezTo>
                  <a:cubicBezTo>
                    <a:pt x="0" y="53"/>
                    <a:pt x="0" y="51"/>
                    <a:pt x="2" y="49"/>
                  </a:cubicBezTo>
                  <a:cubicBezTo>
                    <a:pt x="49" y="2"/>
                    <a:pt x="49" y="2"/>
                    <a:pt x="49" y="2"/>
                  </a:cubicBezTo>
                  <a:cubicBezTo>
                    <a:pt x="51" y="0"/>
                    <a:pt x="53" y="0"/>
                    <a:pt x="55" y="2"/>
                  </a:cubicBezTo>
                  <a:cubicBezTo>
                    <a:pt x="102" y="49"/>
                    <a:pt x="102" y="49"/>
                    <a:pt x="102" y="49"/>
                  </a:cubicBezTo>
                  <a:cubicBezTo>
                    <a:pt x="104" y="51"/>
                    <a:pt x="104" y="53"/>
                    <a:pt x="102" y="54"/>
                  </a:cubicBezTo>
                  <a:cubicBezTo>
                    <a:pt x="101" y="55"/>
                    <a:pt x="101" y="55"/>
                    <a:pt x="100" y="5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3" name="Freeform 137">
              <a:extLst>
                <a:ext uri="{FF2B5EF4-FFF2-40B4-BE49-F238E27FC236}">
                  <a16:creationId xmlns:a16="http://schemas.microsoft.com/office/drawing/2014/main" id="{5238F995-6888-229A-67E7-7471BB446DED}"/>
                </a:ext>
              </a:extLst>
            </p:cNvPr>
            <p:cNvSpPr>
              <a:spLocks/>
            </p:cNvSpPr>
            <p:nvPr/>
          </p:nvSpPr>
          <p:spPr bwMode="auto">
            <a:xfrm>
              <a:off x="-698656" y="2311004"/>
              <a:ext cx="16982" cy="356629"/>
            </a:xfrm>
            <a:custGeom>
              <a:avLst/>
              <a:gdLst>
                <a:gd name="T0" fmla="*/ 4 w 8"/>
                <a:gd name="T1" fmla="*/ 167 h 167"/>
                <a:gd name="T2" fmla="*/ 0 w 8"/>
                <a:gd name="T3" fmla="*/ 163 h 167"/>
                <a:gd name="T4" fmla="*/ 0 w 8"/>
                <a:gd name="T5" fmla="*/ 4 h 167"/>
                <a:gd name="T6" fmla="*/ 4 w 8"/>
                <a:gd name="T7" fmla="*/ 0 h 167"/>
                <a:gd name="T8" fmla="*/ 8 w 8"/>
                <a:gd name="T9" fmla="*/ 4 h 167"/>
                <a:gd name="T10" fmla="*/ 8 w 8"/>
                <a:gd name="T11" fmla="*/ 163 h 167"/>
                <a:gd name="T12" fmla="*/ 4 w 8"/>
                <a:gd name="T13" fmla="*/ 16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167">
                  <a:moveTo>
                    <a:pt x="4" y="167"/>
                  </a:moveTo>
                  <a:cubicBezTo>
                    <a:pt x="2" y="167"/>
                    <a:pt x="0" y="165"/>
                    <a:pt x="0" y="16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163"/>
                    <a:pt x="8" y="163"/>
                    <a:pt x="8" y="163"/>
                  </a:cubicBezTo>
                  <a:cubicBezTo>
                    <a:pt x="8" y="165"/>
                    <a:pt x="6" y="167"/>
                    <a:pt x="4" y="16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4" name="Freeform 138">
              <a:extLst>
                <a:ext uri="{FF2B5EF4-FFF2-40B4-BE49-F238E27FC236}">
                  <a16:creationId xmlns:a16="http://schemas.microsoft.com/office/drawing/2014/main" id="{DAF9F53F-D7DC-98AA-1533-35AD2E5D1CC2}"/>
                </a:ext>
              </a:extLst>
            </p:cNvPr>
            <p:cNvSpPr>
              <a:spLocks/>
            </p:cNvSpPr>
            <p:nvPr/>
          </p:nvSpPr>
          <p:spPr bwMode="auto">
            <a:xfrm>
              <a:off x="-800548" y="2551588"/>
              <a:ext cx="223601" cy="116046"/>
            </a:xfrm>
            <a:custGeom>
              <a:avLst/>
              <a:gdLst>
                <a:gd name="T0" fmla="*/ 52 w 104"/>
                <a:gd name="T1" fmla="*/ 55 h 55"/>
                <a:gd name="T2" fmla="*/ 49 w 104"/>
                <a:gd name="T3" fmla="*/ 54 h 55"/>
                <a:gd name="T4" fmla="*/ 2 w 104"/>
                <a:gd name="T5" fmla="*/ 6 h 55"/>
                <a:gd name="T6" fmla="*/ 2 w 104"/>
                <a:gd name="T7" fmla="*/ 1 h 55"/>
                <a:gd name="T8" fmla="*/ 7 w 104"/>
                <a:gd name="T9" fmla="*/ 1 h 55"/>
                <a:gd name="T10" fmla="*/ 52 w 104"/>
                <a:gd name="T11" fmla="*/ 46 h 55"/>
                <a:gd name="T12" fmla="*/ 97 w 104"/>
                <a:gd name="T13" fmla="*/ 1 h 55"/>
                <a:gd name="T14" fmla="*/ 102 w 104"/>
                <a:gd name="T15" fmla="*/ 1 h 55"/>
                <a:gd name="T16" fmla="*/ 102 w 104"/>
                <a:gd name="T17" fmla="*/ 6 h 55"/>
                <a:gd name="T18" fmla="*/ 55 w 104"/>
                <a:gd name="T19" fmla="*/ 54 h 55"/>
                <a:gd name="T20" fmla="*/ 52 w 104"/>
                <a:gd name="T21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4" h="55">
                  <a:moveTo>
                    <a:pt x="52" y="55"/>
                  </a:moveTo>
                  <a:cubicBezTo>
                    <a:pt x="51" y="55"/>
                    <a:pt x="50" y="55"/>
                    <a:pt x="49" y="54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0" y="5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ubicBezTo>
                    <a:pt x="52" y="46"/>
                    <a:pt x="52" y="46"/>
                    <a:pt x="52" y="46"/>
                  </a:cubicBezTo>
                  <a:cubicBezTo>
                    <a:pt x="97" y="1"/>
                    <a:pt x="97" y="1"/>
                    <a:pt x="97" y="1"/>
                  </a:cubicBezTo>
                  <a:cubicBezTo>
                    <a:pt x="98" y="0"/>
                    <a:pt x="101" y="0"/>
                    <a:pt x="102" y="1"/>
                  </a:cubicBezTo>
                  <a:cubicBezTo>
                    <a:pt x="104" y="2"/>
                    <a:pt x="104" y="5"/>
                    <a:pt x="102" y="6"/>
                  </a:cubicBezTo>
                  <a:cubicBezTo>
                    <a:pt x="55" y="54"/>
                    <a:pt x="55" y="54"/>
                    <a:pt x="55" y="54"/>
                  </a:cubicBezTo>
                  <a:cubicBezTo>
                    <a:pt x="54" y="55"/>
                    <a:pt x="53" y="55"/>
                    <a:pt x="52" y="5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5" name="Shape5_20200717_154412">
            <a:extLst>
              <a:ext uri="{FF2B5EF4-FFF2-40B4-BE49-F238E27FC236}">
                <a16:creationId xmlns:a16="http://schemas.microsoft.com/office/drawing/2014/main" id="{C2B16083-BB6A-E07F-FEE7-50EC731FFE97}"/>
              </a:ext>
            </a:extLst>
          </p:cNvPr>
          <p:cNvGrpSpPr/>
          <p:nvPr/>
        </p:nvGrpSpPr>
        <p:grpSpPr>
          <a:xfrm>
            <a:off x="4464362" y="2534919"/>
            <a:ext cx="652161" cy="652164"/>
            <a:chOff x="-5883906" y="3154457"/>
            <a:chExt cx="577397" cy="577400"/>
          </a:xfrm>
          <a:solidFill>
            <a:schemeClr val="accent1"/>
          </a:solidFill>
        </p:grpSpPr>
        <p:sp>
          <p:nvSpPr>
            <p:cNvPr id="46" name="Freeform 139">
              <a:extLst>
                <a:ext uri="{FF2B5EF4-FFF2-40B4-BE49-F238E27FC236}">
                  <a16:creationId xmlns:a16="http://schemas.microsoft.com/office/drawing/2014/main" id="{46C8E431-122A-8901-F580-53246DD743C5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63139" y="3434665"/>
              <a:ext cx="356628" cy="14153"/>
            </a:xfrm>
            <a:custGeom>
              <a:avLst/>
              <a:gdLst>
                <a:gd name="T0" fmla="*/ 163 w 167"/>
                <a:gd name="T1" fmla="*/ 7 h 7"/>
                <a:gd name="T2" fmla="*/ 4 w 167"/>
                <a:gd name="T3" fmla="*/ 7 h 7"/>
                <a:gd name="T4" fmla="*/ 0 w 167"/>
                <a:gd name="T5" fmla="*/ 4 h 7"/>
                <a:gd name="T6" fmla="*/ 4 w 167"/>
                <a:gd name="T7" fmla="*/ 0 h 7"/>
                <a:gd name="T8" fmla="*/ 163 w 167"/>
                <a:gd name="T9" fmla="*/ 0 h 7"/>
                <a:gd name="T10" fmla="*/ 167 w 167"/>
                <a:gd name="T11" fmla="*/ 4 h 7"/>
                <a:gd name="T12" fmla="*/ 163 w 167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7" h="7">
                  <a:moveTo>
                    <a:pt x="163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63" y="0"/>
                    <a:pt x="163" y="0"/>
                    <a:pt x="163" y="0"/>
                  </a:cubicBezTo>
                  <a:cubicBezTo>
                    <a:pt x="165" y="0"/>
                    <a:pt x="167" y="2"/>
                    <a:pt x="167" y="4"/>
                  </a:cubicBezTo>
                  <a:cubicBezTo>
                    <a:pt x="167" y="6"/>
                    <a:pt x="165" y="7"/>
                    <a:pt x="163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7" name="Freeform 140">
              <a:extLst>
                <a:ext uri="{FF2B5EF4-FFF2-40B4-BE49-F238E27FC236}">
                  <a16:creationId xmlns:a16="http://schemas.microsoft.com/office/drawing/2014/main" id="{3406FFB3-E25B-5D83-63B0-E6BF5BAC7966}"/>
                </a:ext>
              </a:extLst>
            </p:cNvPr>
            <p:cNvSpPr>
              <a:spLocks/>
            </p:cNvSpPr>
            <p:nvPr/>
          </p:nvSpPr>
          <p:spPr bwMode="auto">
            <a:xfrm>
              <a:off x="-5428216" y="3332771"/>
              <a:ext cx="121707" cy="220769"/>
            </a:xfrm>
            <a:custGeom>
              <a:avLst/>
              <a:gdLst>
                <a:gd name="T0" fmla="*/ 4 w 56"/>
                <a:gd name="T1" fmla="*/ 103 h 103"/>
                <a:gd name="T2" fmla="*/ 2 w 56"/>
                <a:gd name="T3" fmla="*/ 102 h 103"/>
                <a:gd name="T4" fmla="*/ 2 w 56"/>
                <a:gd name="T5" fmla="*/ 97 h 103"/>
                <a:gd name="T6" fmla="*/ 47 w 56"/>
                <a:gd name="T7" fmla="*/ 52 h 103"/>
                <a:gd name="T8" fmla="*/ 2 w 56"/>
                <a:gd name="T9" fmla="*/ 7 h 103"/>
                <a:gd name="T10" fmla="*/ 2 w 56"/>
                <a:gd name="T11" fmla="*/ 2 h 103"/>
                <a:gd name="T12" fmla="*/ 7 w 56"/>
                <a:gd name="T13" fmla="*/ 2 h 103"/>
                <a:gd name="T14" fmla="*/ 54 w 56"/>
                <a:gd name="T15" fmla="*/ 49 h 103"/>
                <a:gd name="T16" fmla="*/ 54 w 56"/>
                <a:gd name="T17" fmla="*/ 54 h 103"/>
                <a:gd name="T18" fmla="*/ 7 w 56"/>
                <a:gd name="T19" fmla="*/ 102 h 103"/>
                <a:gd name="T20" fmla="*/ 4 w 56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6" h="103">
                  <a:moveTo>
                    <a:pt x="4" y="103"/>
                  </a:moveTo>
                  <a:cubicBezTo>
                    <a:pt x="3" y="103"/>
                    <a:pt x="2" y="103"/>
                    <a:pt x="2" y="102"/>
                  </a:cubicBezTo>
                  <a:cubicBezTo>
                    <a:pt x="0" y="101"/>
                    <a:pt x="0" y="98"/>
                    <a:pt x="2" y="97"/>
                  </a:cubicBezTo>
                  <a:cubicBezTo>
                    <a:pt x="47" y="52"/>
                    <a:pt x="47" y="52"/>
                    <a:pt x="47" y="52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0" y="5"/>
                    <a:pt x="0" y="3"/>
                    <a:pt x="2" y="2"/>
                  </a:cubicBezTo>
                  <a:cubicBezTo>
                    <a:pt x="3" y="0"/>
                    <a:pt x="5" y="0"/>
                    <a:pt x="7" y="2"/>
                  </a:cubicBezTo>
                  <a:cubicBezTo>
                    <a:pt x="54" y="49"/>
                    <a:pt x="54" y="49"/>
                    <a:pt x="54" y="49"/>
                  </a:cubicBezTo>
                  <a:cubicBezTo>
                    <a:pt x="56" y="51"/>
                    <a:pt x="56" y="53"/>
                    <a:pt x="54" y="54"/>
                  </a:cubicBezTo>
                  <a:cubicBezTo>
                    <a:pt x="7" y="102"/>
                    <a:pt x="7" y="102"/>
                    <a:pt x="7" y="102"/>
                  </a:cubicBezTo>
                  <a:cubicBezTo>
                    <a:pt x="6" y="103"/>
                    <a:pt x="5" y="103"/>
                    <a:pt x="4" y="10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8" name="Freeform 141">
              <a:extLst>
                <a:ext uri="{FF2B5EF4-FFF2-40B4-BE49-F238E27FC236}">
                  <a16:creationId xmlns:a16="http://schemas.microsoft.com/office/drawing/2014/main" id="{B815B3DF-BC6B-436A-60F0-3D0EAB55770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83906" y="3434665"/>
              <a:ext cx="356628" cy="14153"/>
            </a:xfrm>
            <a:custGeom>
              <a:avLst/>
              <a:gdLst>
                <a:gd name="T0" fmla="*/ 163 w 167"/>
                <a:gd name="T1" fmla="*/ 7 h 7"/>
                <a:gd name="T2" fmla="*/ 4 w 167"/>
                <a:gd name="T3" fmla="*/ 7 h 7"/>
                <a:gd name="T4" fmla="*/ 0 w 167"/>
                <a:gd name="T5" fmla="*/ 4 h 7"/>
                <a:gd name="T6" fmla="*/ 4 w 167"/>
                <a:gd name="T7" fmla="*/ 0 h 7"/>
                <a:gd name="T8" fmla="*/ 163 w 167"/>
                <a:gd name="T9" fmla="*/ 0 h 7"/>
                <a:gd name="T10" fmla="*/ 167 w 167"/>
                <a:gd name="T11" fmla="*/ 4 h 7"/>
                <a:gd name="T12" fmla="*/ 163 w 167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7" h="7">
                  <a:moveTo>
                    <a:pt x="163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63" y="0"/>
                    <a:pt x="163" y="0"/>
                    <a:pt x="163" y="0"/>
                  </a:cubicBezTo>
                  <a:cubicBezTo>
                    <a:pt x="165" y="0"/>
                    <a:pt x="167" y="2"/>
                    <a:pt x="167" y="4"/>
                  </a:cubicBezTo>
                  <a:cubicBezTo>
                    <a:pt x="167" y="6"/>
                    <a:pt x="165" y="7"/>
                    <a:pt x="163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9" name="Freeform 142">
              <a:extLst>
                <a:ext uri="{FF2B5EF4-FFF2-40B4-BE49-F238E27FC236}">
                  <a16:creationId xmlns:a16="http://schemas.microsoft.com/office/drawing/2014/main" id="{ED7804F0-5C62-B1AD-C70C-D4CAA10E38B7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83906" y="3332771"/>
              <a:ext cx="118876" cy="220769"/>
            </a:xfrm>
            <a:custGeom>
              <a:avLst/>
              <a:gdLst>
                <a:gd name="T0" fmla="*/ 51 w 55"/>
                <a:gd name="T1" fmla="*/ 103 h 103"/>
                <a:gd name="T2" fmla="*/ 49 w 55"/>
                <a:gd name="T3" fmla="*/ 102 h 103"/>
                <a:gd name="T4" fmla="*/ 1 w 55"/>
                <a:gd name="T5" fmla="*/ 54 h 103"/>
                <a:gd name="T6" fmla="*/ 1 w 55"/>
                <a:gd name="T7" fmla="*/ 49 h 103"/>
                <a:gd name="T8" fmla="*/ 49 w 55"/>
                <a:gd name="T9" fmla="*/ 2 h 103"/>
                <a:gd name="T10" fmla="*/ 54 w 55"/>
                <a:gd name="T11" fmla="*/ 2 h 103"/>
                <a:gd name="T12" fmla="*/ 54 w 55"/>
                <a:gd name="T13" fmla="*/ 7 h 103"/>
                <a:gd name="T14" fmla="*/ 9 w 55"/>
                <a:gd name="T15" fmla="*/ 52 h 103"/>
                <a:gd name="T16" fmla="*/ 54 w 55"/>
                <a:gd name="T17" fmla="*/ 97 h 103"/>
                <a:gd name="T18" fmla="*/ 54 w 55"/>
                <a:gd name="T19" fmla="*/ 102 h 103"/>
                <a:gd name="T20" fmla="*/ 51 w 55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5" h="103">
                  <a:moveTo>
                    <a:pt x="51" y="103"/>
                  </a:moveTo>
                  <a:cubicBezTo>
                    <a:pt x="50" y="103"/>
                    <a:pt x="50" y="103"/>
                    <a:pt x="49" y="102"/>
                  </a:cubicBezTo>
                  <a:cubicBezTo>
                    <a:pt x="1" y="54"/>
                    <a:pt x="1" y="54"/>
                    <a:pt x="1" y="54"/>
                  </a:cubicBezTo>
                  <a:cubicBezTo>
                    <a:pt x="0" y="53"/>
                    <a:pt x="0" y="51"/>
                    <a:pt x="1" y="49"/>
                  </a:cubicBezTo>
                  <a:cubicBezTo>
                    <a:pt x="49" y="2"/>
                    <a:pt x="49" y="2"/>
                    <a:pt x="49" y="2"/>
                  </a:cubicBezTo>
                  <a:cubicBezTo>
                    <a:pt x="50" y="0"/>
                    <a:pt x="52" y="0"/>
                    <a:pt x="54" y="2"/>
                  </a:cubicBezTo>
                  <a:cubicBezTo>
                    <a:pt x="55" y="3"/>
                    <a:pt x="55" y="5"/>
                    <a:pt x="54" y="7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54" y="97"/>
                    <a:pt x="54" y="97"/>
                    <a:pt x="54" y="97"/>
                  </a:cubicBezTo>
                  <a:cubicBezTo>
                    <a:pt x="55" y="98"/>
                    <a:pt x="55" y="101"/>
                    <a:pt x="54" y="102"/>
                  </a:cubicBezTo>
                  <a:cubicBezTo>
                    <a:pt x="53" y="103"/>
                    <a:pt x="52" y="103"/>
                    <a:pt x="51" y="10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0" name="Freeform 143">
              <a:extLst>
                <a:ext uri="{FF2B5EF4-FFF2-40B4-BE49-F238E27FC236}">
                  <a16:creationId xmlns:a16="http://schemas.microsoft.com/office/drawing/2014/main" id="{5605829E-7A5C-0D64-E3F4-D8CE64A9334E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3701" y="3375228"/>
              <a:ext cx="14153" cy="356629"/>
            </a:xfrm>
            <a:custGeom>
              <a:avLst/>
              <a:gdLst>
                <a:gd name="T0" fmla="*/ 4 w 7"/>
                <a:gd name="T1" fmla="*/ 167 h 167"/>
                <a:gd name="T2" fmla="*/ 0 w 7"/>
                <a:gd name="T3" fmla="*/ 163 h 167"/>
                <a:gd name="T4" fmla="*/ 0 w 7"/>
                <a:gd name="T5" fmla="*/ 4 h 167"/>
                <a:gd name="T6" fmla="*/ 4 w 7"/>
                <a:gd name="T7" fmla="*/ 0 h 167"/>
                <a:gd name="T8" fmla="*/ 7 w 7"/>
                <a:gd name="T9" fmla="*/ 4 h 167"/>
                <a:gd name="T10" fmla="*/ 7 w 7"/>
                <a:gd name="T11" fmla="*/ 163 h 167"/>
                <a:gd name="T12" fmla="*/ 4 w 7"/>
                <a:gd name="T13" fmla="*/ 16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67">
                  <a:moveTo>
                    <a:pt x="4" y="167"/>
                  </a:moveTo>
                  <a:cubicBezTo>
                    <a:pt x="2" y="167"/>
                    <a:pt x="0" y="165"/>
                    <a:pt x="0" y="16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7" y="2"/>
                    <a:pt x="7" y="4"/>
                  </a:cubicBezTo>
                  <a:cubicBezTo>
                    <a:pt x="7" y="163"/>
                    <a:pt x="7" y="163"/>
                    <a:pt x="7" y="163"/>
                  </a:cubicBezTo>
                  <a:cubicBezTo>
                    <a:pt x="7" y="165"/>
                    <a:pt x="6" y="167"/>
                    <a:pt x="4" y="16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1" name="Freeform 144">
              <a:extLst>
                <a:ext uri="{FF2B5EF4-FFF2-40B4-BE49-F238E27FC236}">
                  <a16:creationId xmlns:a16="http://schemas.microsoft.com/office/drawing/2014/main" id="{F3CCDCDA-52F8-B931-1BA7-D3F2BCB8FD85}"/>
                </a:ext>
              </a:extLst>
            </p:cNvPr>
            <p:cNvSpPr>
              <a:spLocks/>
            </p:cNvSpPr>
            <p:nvPr/>
          </p:nvSpPr>
          <p:spPr bwMode="auto">
            <a:xfrm>
              <a:off x="-5705593" y="3612977"/>
              <a:ext cx="217940" cy="116046"/>
            </a:xfrm>
            <a:custGeom>
              <a:avLst/>
              <a:gdLst>
                <a:gd name="T0" fmla="*/ 52 w 103"/>
                <a:gd name="T1" fmla="*/ 55 h 55"/>
                <a:gd name="T2" fmla="*/ 49 w 103"/>
                <a:gd name="T3" fmla="*/ 54 h 55"/>
                <a:gd name="T4" fmla="*/ 2 w 103"/>
                <a:gd name="T5" fmla="*/ 7 h 55"/>
                <a:gd name="T6" fmla="*/ 2 w 103"/>
                <a:gd name="T7" fmla="*/ 2 h 55"/>
                <a:gd name="T8" fmla="*/ 7 w 103"/>
                <a:gd name="T9" fmla="*/ 2 h 55"/>
                <a:gd name="T10" fmla="*/ 52 w 103"/>
                <a:gd name="T11" fmla="*/ 47 h 55"/>
                <a:gd name="T12" fmla="*/ 97 w 103"/>
                <a:gd name="T13" fmla="*/ 2 h 55"/>
                <a:gd name="T14" fmla="*/ 102 w 103"/>
                <a:gd name="T15" fmla="*/ 2 h 55"/>
                <a:gd name="T16" fmla="*/ 102 w 103"/>
                <a:gd name="T17" fmla="*/ 7 h 55"/>
                <a:gd name="T18" fmla="*/ 54 w 103"/>
                <a:gd name="T19" fmla="*/ 54 h 55"/>
                <a:gd name="T20" fmla="*/ 52 w 103"/>
                <a:gd name="T21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3" h="55">
                  <a:moveTo>
                    <a:pt x="52" y="55"/>
                  </a:moveTo>
                  <a:cubicBezTo>
                    <a:pt x="51" y="55"/>
                    <a:pt x="50" y="55"/>
                    <a:pt x="49" y="54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0" y="5"/>
                    <a:pt x="0" y="3"/>
                    <a:pt x="2" y="2"/>
                  </a:cubicBezTo>
                  <a:cubicBezTo>
                    <a:pt x="3" y="0"/>
                    <a:pt x="5" y="0"/>
                    <a:pt x="7" y="2"/>
                  </a:cubicBezTo>
                  <a:cubicBezTo>
                    <a:pt x="52" y="47"/>
                    <a:pt x="52" y="47"/>
                    <a:pt x="52" y="47"/>
                  </a:cubicBezTo>
                  <a:cubicBezTo>
                    <a:pt x="97" y="2"/>
                    <a:pt x="97" y="2"/>
                    <a:pt x="97" y="2"/>
                  </a:cubicBezTo>
                  <a:cubicBezTo>
                    <a:pt x="98" y="0"/>
                    <a:pt x="101" y="0"/>
                    <a:pt x="102" y="2"/>
                  </a:cubicBezTo>
                  <a:cubicBezTo>
                    <a:pt x="103" y="3"/>
                    <a:pt x="103" y="5"/>
                    <a:pt x="102" y="7"/>
                  </a:cubicBezTo>
                  <a:cubicBezTo>
                    <a:pt x="54" y="54"/>
                    <a:pt x="54" y="54"/>
                    <a:pt x="54" y="54"/>
                  </a:cubicBezTo>
                  <a:cubicBezTo>
                    <a:pt x="54" y="55"/>
                    <a:pt x="53" y="55"/>
                    <a:pt x="52" y="5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2" name="Freeform 145">
              <a:extLst>
                <a:ext uri="{FF2B5EF4-FFF2-40B4-BE49-F238E27FC236}">
                  <a16:creationId xmlns:a16="http://schemas.microsoft.com/office/drawing/2014/main" id="{CB033FFF-0FD0-9B2C-39C2-C8BFB3F40DF9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3701" y="3154457"/>
              <a:ext cx="14153" cy="356629"/>
            </a:xfrm>
            <a:custGeom>
              <a:avLst/>
              <a:gdLst>
                <a:gd name="T0" fmla="*/ 4 w 7"/>
                <a:gd name="T1" fmla="*/ 167 h 167"/>
                <a:gd name="T2" fmla="*/ 0 w 7"/>
                <a:gd name="T3" fmla="*/ 163 h 167"/>
                <a:gd name="T4" fmla="*/ 0 w 7"/>
                <a:gd name="T5" fmla="*/ 4 h 167"/>
                <a:gd name="T6" fmla="*/ 4 w 7"/>
                <a:gd name="T7" fmla="*/ 0 h 167"/>
                <a:gd name="T8" fmla="*/ 7 w 7"/>
                <a:gd name="T9" fmla="*/ 4 h 167"/>
                <a:gd name="T10" fmla="*/ 7 w 7"/>
                <a:gd name="T11" fmla="*/ 163 h 167"/>
                <a:gd name="T12" fmla="*/ 4 w 7"/>
                <a:gd name="T13" fmla="*/ 16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67">
                  <a:moveTo>
                    <a:pt x="4" y="167"/>
                  </a:moveTo>
                  <a:cubicBezTo>
                    <a:pt x="2" y="167"/>
                    <a:pt x="0" y="165"/>
                    <a:pt x="0" y="16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7" y="2"/>
                    <a:pt x="7" y="4"/>
                  </a:cubicBezTo>
                  <a:cubicBezTo>
                    <a:pt x="7" y="163"/>
                    <a:pt x="7" y="163"/>
                    <a:pt x="7" y="163"/>
                  </a:cubicBezTo>
                  <a:cubicBezTo>
                    <a:pt x="7" y="165"/>
                    <a:pt x="6" y="167"/>
                    <a:pt x="4" y="16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3" name="Freeform 146">
              <a:extLst>
                <a:ext uri="{FF2B5EF4-FFF2-40B4-BE49-F238E27FC236}">
                  <a16:creationId xmlns:a16="http://schemas.microsoft.com/office/drawing/2014/main" id="{E7D1CA1C-3298-2D54-E0C4-02D3503ADA41}"/>
                </a:ext>
              </a:extLst>
            </p:cNvPr>
            <p:cNvSpPr>
              <a:spLocks/>
            </p:cNvSpPr>
            <p:nvPr/>
          </p:nvSpPr>
          <p:spPr bwMode="auto">
            <a:xfrm>
              <a:off x="-5705593" y="3154457"/>
              <a:ext cx="217940" cy="118876"/>
            </a:xfrm>
            <a:custGeom>
              <a:avLst/>
              <a:gdLst>
                <a:gd name="T0" fmla="*/ 4 w 103"/>
                <a:gd name="T1" fmla="*/ 55 h 55"/>
                <a:gd name="T2" fmla="*/ 2 w 103"/>
                <a:gd name="T3" fmla="*/ 54 h 55"/>
                <a:gd name="T4" fmla="*/ 2 w 103"/>
                <a:gd name="T5" fmla="*/ 49 h 55"/>
                <a:gd name="T6" fmla="*/ 49 w 103"/>
                <a:gd name="T7" fmla="*/ 1 h 55"/>
                <a:gd name="T8" fmla="*/ 54 w 103"/>
                <a:gd name="T9" fmla="*/ 1 h 55"/>
                <a:gd name="T10" fmla="*/ 102 w 103"/>
                <a:gd name="T11" fmla="*/ 49 h 55"/>
                <a:gd name="T12" fmla="*/ 102 w 103"/>
                <a:gd name="T13" fmla="*/ 54 h 55"/>
                <a:gd name="T14" fmla="*/ 97 w 103"/>
                <a:gd name="T15" fmla="*/ 54 h 55"/>
                <a:gd name="T16" fmla="*/ 52 w 103"/>
                <a:gd name="T17" fmla="*/ 9 h 55"/>
                <a:gd name="T18" fmla="*/ 7 w 103"/>
                <a:gd name="T19" fmla="*/ 54 h 55"/>
                <a:gd name="T20" fmla="*/ 4 w 103"/>
                <a:gd name="T21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3" h="55">
                  <a:moveTo>
                    <a:pt x="4" y="55"/>
                  </a:moveTo>
                  <a:cubicBezTo>
                    <a:pt x="3" y="55"/>
                    <a:pt x="2" y="55"/>
                    <a:pt x="2" y="54"/>
                  </a:cubicBezTo>
                  <a:cubicBezTo>
                    <a:pt x="0" y="52"/>
                    <a:pt x="0" y="50"/>
                    <a:pt x="2" y="49"/>
                  </a:cubicBezTo>
                  <a:cubicBezTo>
                    <a:pt x="49" y="1"/>
                    <a:pt x="49" y="1"/>
                    <a:pt x="49" y="1"/>
                  </a:cubicBezTo>
                  <a:cubicBezTo>
                    <a:pt x="51" y="0"/>
                    <a:pt x="53" y="0"/>
                    <a:pt x="54" y="1"/>
                  </a:cubicBezTo>
                  <a:cubicBezTo>
                    <a:pt x="102" y="49"/>
                    <a:pt x="102" y="49"/>
                    <a:pt x="102" y="49"/>
                  </a:cubicBezTo>
                  <a:cubicBezTo>
                    <a:pt x="103" y="50"/>
                    <a:pt x="103" y="52"/>
                    <a:pt x="102" y="54"/>
                  </a:cubicBezTo>
                  <a:cubicBezTo>
                    <a:pt x="101" y="55"/>
                    <a:pt x="98" y="55"/>
                    <a:pt x="97" y="54"/>
                  </a:cubicBezTo>
                  <a:cubicBezTo>
                    <a:pt x="52" y="9"/>
                    <a:pt x="52" y="9"/>
                    <a:pt x="52" y="9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6" y="55"/>
                    <a:pt x="5" y="55"/>
                    <a:pt x="4" y="5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54" name="Shape6_20200717_154412">
            <a:extLst>
              <a:ext uri="{FF2B5EF4-FFF2-40B4-BE49-F238E27FC236}">
                <a16:creationId xmlns:a16="http://schemas.microsoft.com/office/drawing/2014/main" id="{247AC866-8E3E-2C9A-A247-45E24544DDC8}"/>
              </a:ext>
            </a:extLst>
          </p:cNvPr>
          <p:cNvGrpSpPr/>
          <p:nvPr/>
        </p:nvGrpSpPr>
        <p:grpSpPr>
          <a:xfrm>
            <a:off x="5862627" y="2617001"/>
            <a:ext cx="466743" cy="466744"/>
            <a:chOff x="-4819685" y="3236539"/>
            <a:chExt cx="413235" cy="413236"/>
          </a:xfrm>
          <a:solidFill>
            <a:schemeClr val="accent1"/>
          </a:solidFill>
        </p:grpSpPr>
        <p:sp>
          <p:nvSpPr>
            <p:cNvPr id="55" name="Freeform 147">
              <a:extLst>
                <a:ext uri="{FF2B5EF4-FFF2-40B4-BE49-F238E27FC236}">
                  <a16:creationId xmlns:a16="http://schemas.microsoft.com/office/drawing/2014/main" id="{0BC63A10-C4A5-2427-7929-A38606E8B1A4}"/>
                </a:ext>
              </a:extLst>
            </p:cNvPr>
            <p:cNvSpPr>
              <a:spLocks/>
            </p:cNvSpPr>
            <p:nvPr/>
          </p:nvSpPr>
          <p:spPr bwMode="auto">
            <a:xfrm>
              <a:off x="-4664015" y="3392208"/>
              <a:ext cx="257565" cy="257565"/>
            </a:xfrm>
            <a:custGeom>
              <a:avLst/>
              <a:gdLst>
                <a:gd name="T0" fmla="*/ 117 w 121"/>
                <a:gd name="T1" fmla="*/ 120 h 120"/>
                <a:gd name="T2" fmla="*/ 114 w 121"/>
                <a:gd name="T3" fmla="*/ 119 h 120"/>
                <a:gd name="T4" fmla="*/ 1 w 121"/>
                <a:gd name="T5" fmla="*/ 6 h 120"/>
                <a:gd name="T6" fmla="*/ 1 w 121"/>
                <a:gd name="T7" fmla="*/ 1 h 120"/>
                <a:gd name="T8" fmla="*/ 6 w 121"/>
                <a:gd name="T9" fmla="*/ 1 h 120"/>
                <a:gd name="T10" fmla="*/ 119 w 121"/>
                <a:gd name="T11" fmla="*/ 114 h 120"/>
                <a:gd name="T12" fmla="*/ 119 w 121"/>
                <a:gd name="T13" fmla="*/ 119 h 120"/>
                <a:gd name="T14" fmla="*/ 117 w 121"/>
                <a:gd name="T15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1" h="120">
                  <a:moveTo>
                    <a:pt x="117" y="120"/>
                  </a:moveTo>
                  <a:cubicBezTo>
                    <a:pt x="116" y="120"/>
                    <a:pt x="115" y="120"/>
                    <a:pt x="114" y="119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5"/>
                    <a:pt x="0" y="3"/>
                    <a:pt x="1" y="1"/>
                  </a:cubicBezTo>
                  <a:cubicBezTo>
                    <a:pt x="3" y="0"/>
                    <a:pt x="5" y="0"/>
                    <a:pt x="6" y="1"/>
                  </a:cubicBezTo>
                  <a:cubicBezTo>
                    <a:pt x="119" y="114"/>
                    <a:pt x="119" y="114"/>
                    <a:pt x="119" y="114"/>
                  </a:cubicBezTo>
                  <a:cubicBezTo>
                    <a:pt x="121" y="115"/>
                    <a:pt x="121" y="118"/>
                    <a:pt x="119" y="119"/>
                  </a:cubicBezTo>
                  <a:cubicBezTo>
                    <a:pt x="118" y="120"/>
                    <a:pt x="118" y="120"/>
                    <a:pt x="117" y="1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6" name="Freeform 148">
              <a:extLst>
                <a:ext uri="{FF2B5EF4-FFF2-40B4-BE49-F238E27FC236}">
                  <a16:creationId xmlns:a16="http://schemas.microsoft.com/office/drawing/2014/main" id="{85CC8D97-77F3-9E5F-C385-C2464F85D8E4}"/>
                </a:ext>
              </a:extLst>
            </p:cNvPr>
            <p:cNvSpPr>
              <a:spLocks/>
            </p:cNvSpPr>
            <p:nvPr/>
          </p:nvSpPr>
          <p:spPr bwMode="auto">
            <a:xfrm>
              <a:off x="-4567782" y="3488443"/>
              <a:ext cx="158501" cy="161332"/>
            </a:xfrm>
            <a:custGeom>
              <a:avLst/>
              <a:gdLst>
                <a:gd name="T0" fmla="*/ 71 w 74"/>
                <a:gd name="T1" fmla="*/ 75 h 75"/>
                <a:gd name="T2" fmla="*/ 3 w 74"/>
                <a:gd name="T3" fmla="*/ 75 h 75"/>
                <a:gd name="T4" fmla="*/ 0 w 74"/>
                <a:gd name="T5" fmla="*/ 71 h 75"/>
                <a:gd name="T6" fmla="*/ 3 w 74"/>
                <a:gd name="T7" fmla="*/ 68 h 75"/>
                <a:gd name="T8" fmla="*/ 67 w 74"/>
                <a:gd name="T9" fmla="*/ 68 h 75"/>
                <a:gd name="T10" fmla="*/ 67 w 74"/>
                <a:gd name="T11" fmla="*/ 4 h 75"/>
                <a:gd name="T12" fmla="*/ 71 w 74"/>
                <a:gd name="T13" fmla="*/ 0 h 75"/>
                <a:gd name="T14" fmla="*/ 74 w 74"/>
                <a:gd name="T15" fmla="*/ 4 h 75"/>
                <a:gd name="T16" fmla="*/ 74 w 74"/>
                <a:gd name="T17" fmla="*/ 71 h 75"/>
                <a:gd name="T18" fmla="*/ 71 w 74"/>
                <a:gd name="T19" fmla="*/ 7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4" h="75">
                  <a:moveTo>
                    <a:pt x="71" y="75"/>
                  </a:moveTo>
                  <a:cubicBezTo>
                    <a:pt x="3" y="75"/>
                    <a:pt x="3" y="75"/>
                    <a:pt x="3" y="75"/>
                  </a:cubicBezTo>
                  <a:cubicBezTo>
                    <a:pt x="1" y="75"/>
                    <a:pt x="0" y="73"/>
                    <a:pt x="0" y="71"/>
                  </a:cubicBezTo>
                  <a:cubicBezTo>
                    <a:pt x="0" y="69"/>
                    <a:pt x="1" y="68"/>
                    <a:pt x="3" y="68"/>
                  </a:cubicBezTo>
                  <a:cubicBezTo>
                    <a:pt x="67" y="68"/>
                    <a:pt x="67" y="68"/>
                    <a:pt x="67" y="68"/>
                  </a:cubicBezTo>
                  <a:cubicBezTo>
                    <a:pt x="67" y="4"/>
                    <a:pt x="67" y="4"/>
                    <a:pt x="67" y="4"/>
                  </a:cubicBezTo>
                  <a:cubicBezTo>
                    <a:pt x="67" y="2"/>
                    <a:pt x="69" y="0"/>
                    <a:pt x="71" y="0"/>
                  </a:cubicBezTo>
                  <a:cubicBezTo>
                    <a:pt x="73" y="0"/>
                    <a:pt x="74" y="2"/>
                    <a:pt x="74" y="4"/>
                  </a:cubicBezTo>
                  <a:cubicBezTo>
                    <a:pt x="74" y="71"/>
                    <a:pt x="74" y="71"/>
                    <a:pt x="74" y="71"/>
                  </a:cubicBezTo>
                  <a:cubicBezTo>
                    <a:pt x="74" y="73"/>
                    <a:pt x="73" y="75"/>
                    <a:pt x="71" y="7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7" name="Freeform 149">
              <a:extLst>
                <a:ext uri="{FF2B5EF4-FFF2-40B4-BE49-F238E27FC236}">
                  <a16:creationId xmlns:a16="http://schemas.microsoft.com/office/drawing/2014/main" id="{8B6B87DB-E745-7819-5EA8-18E651A149FD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19685" y="3236539"/>
              <a:ext cx="257565" cy="254734"/>
            </a:xfrm>
            <a:custGeom>
              <a:avLst/>
              <a:gdLst>
                <a:gd name="T0" fmla="*/ 117 w 121"/>
                <a:gd name="T1" fmla="*/ 120 h 120"/>
                <a:gd name="T2" fmla="*/ 114 w 121"/>
                <a:gd name="T3" fmla="*/ 119 h 120"/>
                <a:gd name="T4" fmla="*/ 2 w 121"/>
                <a:gd name="T5" fmla="*/ 7 h 120"/>
                <a:gd name="T6" fmla="*/ 2 w 121"/>
                <a:gd name="T7" fmla="*/ 1 h 120"/>
                <a:gd name="T8" fmla="*/ 7 w 121"/>
                <a:gd name="T9" fmla="*/ 1 h 120"/>
                <a:gd name="T10" fmla="*/ 119 w 121"/>
                <a:gd name="T11" fmla="*/ 114 h 120"/>
                <a:gd name="T12" fmla="*/ 119 w 121"/>
                <a:gd name="T13" fmla="*/ 119 h 120"/>
                <a:gd name="T14" fmla="*/ 117 w 121"/>
                <a:gd name="T15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1" h="120">
                  <a:moveTo>
                    <a:pt x="117" y="120"/>
                  </a:moveTo>
                  <a:cubicBezTo>
                    <a:pt x="116" y="120"/>
                    <a:pt x="115" y="120"/>
                    <a:pt x="114" y="119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0" y="5"/>
                    <a:pt x="0" y="3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ubicBezTo>
                    <a:pt x="119" y="114"/>
                    <a:pt x="119" y="114"/>
                    <a:pt x="119" y="114"/>
                  </a:cubicBezTo>
                  <a:cubicBezTo>
                    <a:pt x="121" y="116"/>
                    <a:pt x="121" y="118"/>
                    <a:pt x="119" y="119"/>
                  </a:cubicBezTo>
                  <a:cubicBezTo>
                    <a:pt x="119" y="120"/>
                    <a:pt x="118" y="120"/>
                    <a:pt x="117" y="1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8" name="Freeform 150">
              <a:extLst>
                <a:ext uri="{FF2B5EF4-FFF2-40B4-BE49-F238E27FC236}">
                  <a16:creationId xmlns:a16="http://schemas.microsoft.com/office/drawing/2014/main" id="{7B0BD95C-267B-4090-5211-14EDA4F27535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19685" y="3236539"/>
              <a:ext cx="158501" cy="161332"/>
            </a:xfrm>
            <a:custGeom>
              <a:avLst/>
              <a:gdLst>
                <a:gd name="T0" fmla="*/ 3 w 74"/>
                <a:gd name="T1" fmla="*/ 75 h 75"/>
                <a:gd name="T2" fmla="*/ 0 w 74"/>
                <a:gd name="T3" fmla="*/ 71 h 75"/>
                <a:gd name="T4" fmla="*/ 0 w 74"/>
                <a:gd name="T5" fmla="*/ 4 h 75"/>
                <a:gd name="T6" fmla="*/ 3 w 74"/>
                <a:gd name="T7" fmla="*/ 0 h 75"/>
                <a:gd name="T8" fmla="*/ 71 w 74"/>
                <a:gd name="T9" fmla="*/ 0 h 75"/>
                <a:gd name="T10" fmla="*/ 74 w 74"/>
                <a:gd name="T11" fmla="*/ 4 h 75"/>
                <a:gd name="T12" fmla="*/ 71 w 74"/>
                <a:gd name="T13" fmla="*/ 8 h 75"/>
                <a:gd name="T14" fmla="*/ 7 w 74"/>
                <a:gd name="T15" fmla="*/ 8 h 75"/>
                <a:gd name="T16" fmla="*/ 7 w 74"/>
                <a:gd name="T17" fmla="*/ 71 h 75"/>
                <a:gd name="T18" fmla="*/ 3 w 74"/>
                <a:gd name="T19" fmla="*/ 7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4" h="75">
                  <a:moveTo>
                    <a:pt x="3" y="75"/>
                  </a:moveTo>
                  <a:cubicBezTo>
                    <a:pt x="1" y="75"/>
                    <a:pt x="0" y="73"/>
                    <a:pt x="0" y="7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72" y="0"/>
                    <a:pt x="74" y="2"/>
                    <a:pt x="74" y="4"/>
                  </a:cubicBezTo>
                  <a:cubicBezTo>
                    <a:pt x="74" y="6"/>
                    <a:pt x="72" y="8"/>
                    <a:pt x="71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71"/>
                    <a:pt x="7" y="71"/>
                    <a:pt x="7" y="71"/>
                  </a:cubicBezTo>
                  <a:cubicBezTo>
                    <a:pt x="7" y="73"/>
                    <a:pt x="5" y="75"/>
                    <a:pt x="3" y="7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9" name="Freeform 151">
              <a:extLst>
                <a:ext uri="{FF2B5EF4-FFF2-40B4-BE49-F238E27FC236}">
                  <a16:creationId xmlns:a16="http://schemas.microsoft.com/office/drawing/2014/main" id="{91231B46-B206-CEAE-13FE-85BC05592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19685" y="3392208"/>
              <a:ext cx="257565" cy="257565"/>
            </a:xfrm>
            <a:custGeom>
              <a:avLst/>
              <a:gdLst>
                <a:gd name="T0" fmla="*/ 4 w 121"/>
                <a:gd name="T1" fmla="*/ 120 h 120"/>
                <a:gd name="T2" fmla="*/ 2 w 121"/>
                <a:gd name="T3" fmla="*/ 119 h 120"/>
                <a:gd name="T4" fmla="*/ 2 w 121"/>
                <a:gd name="T5" fmla="*/ 114 h 120"/>
                <a:gd name="T6" fmla="*/ 114 w 121"/>
                <a:gd name="T7" fmla="*/ 1 h 120"/>
                <a:gd name="T8" fmla="*/ 119 w 121"/>
                <a:gd name="T9" fmla="*/ 1 h 120"/>
                <a:gd name="T10" fmla="*/ 119 w 121"/>
                <a:gd name="T11" fmla="*/ 6 h 120"/>
                <a:gd name="T12" fmla="*/ 7 w 121"/>
                <a:gd name="T13" fmla="*/ 119 h 120"/>
                <a:gd name="T14" fmla="*/ 4 w 121"/>
                <a:gd name="T15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1" h="120">
                  <a:moveTo>
                    <a:pt x="4" y="120"/>
                  </a:moveTo>
                  <a:cubicBezTo>
                    <a:pt x="3" y="120"/>
                    <a:pt x="2" y="120"/>
                    <a:pt x="2" y="119"/>
                  </a:cubicBezTo>
                  <a:cubicBezTo>
                    <a:pt x="0" y="118"/>
                    <a:pt x="0" y="115"/>
                    <a:pt x="2" y="114"/>
                  </a:cubicBezTo>
                  <a:cubicBezTo>
                    <a:pt x="114" y="1"/>
                    <a:pt x="114" y="1"/>
                    <a:pt x="114" y="1"/>
                  </a:cubicBezTo>
                  <a:cubicBezTo>
                    <a:pt x="116" y="0"/>
                    <a:pt x="118" y="0"/>
                    <a:pt x="119" y="1"/>
                  </a:cubicBezTo>
                  <a:cubicBezTo>
                    <a:pt x="121" y="3"/>
                    <a:pt x="121" y="5"/>
                    <a:pt x="119" y="6"/>
                  </a:cubicBezTo>
                  <a:cubicBezTo>
                    <a:pt x="7" y="119"/>
                    <a:pt x="7" y="119"/>
                    <a:pt x="7" y="119"/>
                  </a:cubicBezTo>
                  <a:cubicBezTo>
                    <a:pt x="6" y="120"/>
                    <a:pt x="5" y="120"/>
                    <a:pt x="4" y="1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0" name="Freeform 152">
              <a:extLst>
                <a:ext uri="{FF2B5EF4-FFF2-40B4-BE49-F238E27FC236}">
                  <a16:creationId xmlns:a16="http://schemas.microsoft.com/office/drawing/2014/main" id="{DEEACD6A-44DF-C589-8D35-7494EB604EB2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19685" y="3488443"/>
              <a:ext cx="158501" cy="161332"/>
            </a:xfrm>
            <a:custGeom>
              <a:avLst/>
              <a:gdLst>
                <a:gd name="T0" fmla="*/ 71 w 74"/>
                <a:gd name="T1" fmla="*/ 75 h 75"/>
                <a:gd name="T2" fmla="*/ 3 w 74"/>
                <a:gd name="T3" fmla="*/ 75 h 75"/>
                <a:gd name="T4" fmla="*/ 0 w 74"/>
                <a:gd name="T5" fmla="*/ 71 h 75"/>
                <a:gd name="T6" fmla="*/ 0 w 74"/>
                <a:gd name="T7" fmla="*/ 4 h 75"/>
                <a:gd name="T8" fmla="*/ 3 w 74"/>
                <a:gd name="T9" fmla="*/ 0 h 75"/>
                <a:gd name="T10" fmla="*/ 7 w 74"/>
                <a:gd name="T11" fmla="*/ 4 h 75"/>
                <a:gd name="T12" fmla="*/ 7 w 74"/>
                <a:gd name="T13" fmla="*/ 68 h 75"/>
                <a:gd name="T14" fmla="*/ 71 w 74"/>
                <a:gd name="T15" fmla="*/ 68 h 75"/>
                <a:gd name="T16" fmla="*/ 74 w 74"/>
                <a:gd name="T17" fmla="*/ 71 h 75"/>
                <a:gd name="T18" fmla="*/ 71 w 74"/>
                <a:gd name="T19" fmla="*/ 7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4" h="75">
                  <a:moveTo>
                    <a:pt x="71" y="75"/>
                  </a:moveTo>
                  <a:cubicBezTo>
                    <a:pt x="3" y="75"/>
                    <a:pt x="3" y="75"/>
                    <a:pt x="3" y="75"/>
                  </a:cubicBezTo>
                  <a:cubicBezTo>
                    <a:pt x="1" y="75"/>
                    <a:pt x="0" y="73"/>
                    <a:pt x="0" y="7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68"/>
                    <a:pt x="7" y="68"/>
                    <a:pt x="7" y="68"/>
                  </a:cubicBezTo>
                  <a:cubicBezTo>
                    <a:pt x="71" y="68"/>
                    <a:pt x="71" y="68"/>
                    <a:pt x="71" y="68"/>
                  </a:cubicBezTo>
                  <a:cubicBezTo>
                    <a:pt x="72" y="68"/>
                    <a:pt x="74" y="69"/>
                    <a:pt x="74" y="71"/>
                  </a:cubicBezTo>
                  <a:cubicBezTo>
                    <a:pt x="74" y="73"/>
                    <a:pt x="72" y="75"/>
                    <a:pt x="71" y="7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1" name="Freeform 153">
              <a:extLst>
                <a:ext uri="{FF2B5EF4-FFF2-40B4-BE49-F238E27FC236}">
                  <a16:creationId xmlns:a16="http://schemas.microsoft.com/office/drawing/2014/main" id="{BB30E249-6924-069D-60EE-766BF2B6A3DD}"/>
                </a:ext>
              </a:extLst>
            </p:cNvPr>
            <p:cNvSpPr>
              <a:spLocks/>
            </p:cNvSpPr>
            <p:nvPr/>
          </p:nvSpPr>
          <p:spPr bwMode="auto">
            <a:xfrm>
              <a:off x="-4664015" y="3236539"/>
              <a:ext cx="257565" cy="254734"/>
            </a:xfrm>
            <a:custGeom>
              <a:avLst/>
              <a:gdLst>
                <a:gd name="T0" fmla="*/ 4 w 121"/>
                <a:gd name="T1" fmla="*/ 120 h 120"/>
                <a:gd name="T2" fmla="*/ 1 w 121"/>
                <a:gd name="T3" fmla="*/ 119 h 120"/>
                <a:gd name="T4" fmla="*/ 1 w 121"/>
                <a:gd name="T5" fmla="*/ 114 h 120"/>
                <a:gd name="T6" fmla="*/ 114 w 121"/>
                <a:gd name="T7" fmla="*/ 1 h 120"/>
                <a:gd name="T8" fmla="*/ 119 w 121"/>
                <a:gd name="T9" fmla="*/ 1 h 120"/>
                <a:gd name="T10" fmla="*/ 119 w 121"/>
                <a:gd name="T11" fmla="*/ 7 h 120"/>
                <a:gd name="T12" fmla="*/ 6 w 121"/>
                <a:gd name="T13" fmla="*/ 119 h 120"/>
                <a:gd name="T14" fmla="*/ 4 w 121"/>
                <a:gd name="T15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1" h="120">
                  <a:moveTo>
                    <a:pt x="4" y="120"/>
                  </a:moveTo>
                  <a:cubicBezTo>
                    <a:pt x="3" y="120"/>
                    <a:pt x="2" y="120"/>
                    <a:pt x="1" y="119"/>
                  </a:cubicBezTo>
                  <a:cubicBezTo>
                    <a:pt x="0" y="118"/>
                    <a:pt x="0" y="116"/>
                    <a:pt x="1" y="114"/>
                  </a:cubicBezTo>
                  <a:cubicBezTo>
                    <a:pt x="114" y="1"/>
                    <a:pt x="114" y="1"/>
                    <a:pt x="114" y="1"/>
                  </a:cubicBezTo>
                  <a:cubicBezTo>
                    <a:pt x="115" y="0"/>
                    <a:pt x="118" y="0"/>
                    <a:pt x="119" y="1"/>
                  </a:cubicBezTo>
                  <a:cubicBezTo>
                    <a:pt x="121" y="3"/>
                    <a:pt x="121" y="5"/>
                    <a:pt x="119" y="7"/>
                  </a:cubicBezTo>
                  <a:cubicBezTo>
                    <a:pt x="6" y="119"/>
                    <a:pt x="6" y="119"/>
                    <a:pt x="6" y="119"/>
                  </a:cubicBezTo>
                  <a:cubicBezTo>
                    <a:pt x="6" y="120"/>
                    <a:pt x="5" y="120"/>
                    <a:pt x="4" y="1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2" name="Freeform 154">
              <a:extLst>
                <a:ext uri="{FF2B5EF4-FFF2-40B4-BE49-F238E27FC236}">
                  <a16:creationId xmlns:a16="http://schemas.microsoft.com/office/drawing/2014/main" id="{AC6D5BAA-1108-C0CE-6E5E-3F99B56A170E}"/>
                </a:ext>
              </a:extLst>
            </p:cNvPr>
            <p:cNvSpPr>
              <a:spLocks/>
            </p:cNvSpPr>
            <p:nvPr/>
          </p:nvSpPr>
          <p:spPr bwMode="auto">
            <a:xfrm>
              <a:off x="-4567782" y="3236539"/>
              <a:ext cx="158501" cy="161332"/>
            </a:xfrm>
            <a:custGeom>
              <a:avLst/>
              <a:gdLst>
                <a:gd name="T0" fmla="*/ 71 w 74"/>
                <a:gd name="T1" fmla="*/ 75 h 75"/>
                <a:gd name="T2" fmla="*/ 67 w 74"/>
                <a:gd name="T3" fmla="*/ 71 h 75"/>
                <a:gd name="T4" fmla="*/ 67 w 74"/>
                <a:gd name="T5" fmla="*/ 8 h 75"/>
                <a:gd name="T6" fmla="*/ 3 w 74"/>
                <a:gd name="T7" fmla="*/ 8 h 75"/>
                <a:gd name="T8" fmla="*/ 0 w 74"/>
                <a:gd name="T9" fmla="*/ 4 h 75"/>
                <a:gd name="T10" fmla="*/ 3 w 74"/>
                <a:gd name="T11" fmla="*/ 0 h 75"/>
                <a:gd name="T12" fmla="*/ 71 w 74"/>
                <a:gd name="T13" fmla="*/ 0 h 75"/>
                <a:gd name="T14" fmla="*/ 74 w 74"/>
                <a:gd name="T15" fmla="*/ 4 h 75"/>
                <a:gd name="T16" fmla="*/ 74 w 74"/>
                <a:gd name="T17" fmla="*/ 71 h 75"/>
                <a:gd name="T18" fmla="*/ 71 w 74"/>
                <a:gd name="T19" fmla="*/ 7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4" h="75">
                  <a:moveTo>
                    <a:pt x="71" y="75"/>
                  </a:moveTo>
                  <a:cubicBezTo>
                    <a:pt x="69" y="75"/>
                    <a:pt x="67" y="73"/>
                    <a:pt x="67" y="71"/>
                  </a:cubicBezTo>
                  <a:cubicBezTo>
                    <a:pt x="67" y="8"/>
                    <a:pt x="67" y="8"/>
                    <a:pt x="67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1" y="8"/>
                    <a:pt x="0" y="6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73" y="0"/>
                    <a:pt x="74" y="2"/>
                    <a:pt x="74" y="4"/>
                  </a:cubicBezTo>
                  <a:cubicBezTo>
                    <a:pt x="74" y="71"/>
                    <a:pt x="74" y="71"/>
                    <a:pt x="74" y="71"/>
                  </a:cubicBezTo>
                  <a:cubicBezTo>
                    <a:pt x="74" y="73"/>
                    <a:pt x="73" y="75"/>
                    <a:pt x="71" y="7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63" name="Shape7_20200717_154412">
            <a:extLst>
              <a:ext uri="{FF2B5EF4-FFF2-40B4-BE49-F238E27FC236}">
                <a16:creationId xmlns:a16="http://schemas.microsoft.com/office/drawing/2014/main" id="{A218F314-8771-13C9-EB2B-86981630FD2E}"/>
              </a:ext>
            </a:extLst>
          </p:cNvPr>
          <p:cNvGrpSpPr/>
          <p:nvPr/>
        </p:nvGrpSpPr>
        <p:grpSpPr>
          <a:xfrm>
            <a:off x="1909194" y="1417917"/>
            <a:ext cx="540272" cy="332474"/>
            <a:chOff x="-4853650" y="1170363"/>
            <a:chExt cx="478335" cy="294359"/>
          </a:xfrm>
          <a:solidFill>
            <a:schemeClr val="accent1"/>
          </a:solidFill>
        </p:grpSpPr>
        <p:sp>
          <p:nvSpPr>
            <p:cNvPr id="64" name="Freeform 155">
              <a:extLst>
                <a:ext uri="{FF2B5EF4-FFF2-40B4-BE49-F238E27FC236}">
                  <a16:creationId xmlns:a16="http://schemas.microsoft.com/office/drawing/2014/main" id="{A5668212-97C9-B477-3CA4-2FA1F07BB994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53650" y="1309051"/>
              <a:ext cx="478335" cy="16982"/>
            </a:xfrm>
            <a:custGeom>
              <a:avLst/>
              <a:gdLst>
                <a:gd name="T0" fmla="*/ 221 w 224"/>
                <a:gd name="T1" fmla="*/ 7 h 7"/>
                <a:gd name="T2" fmla="*/ 3 w 224"/>
                <a:gd name="T3" fmla="*/ 7 h 7"/>
                <a:gd name="T4" fmla="*/ 0 w 224"/>
                <a:gd name="T5" fmla="*/ 4 h 7"/>
                <a:gd name="T6" fmla="*/ 3 w 224"/>
                <a:gd name="T7" fmla="*/ 0 h 7"/>
                <a:gd name="T8" fmla="*/ 221 w 224"/>
                <a:gd name="T9" fmla="*/ 0 h 7"/>
                <a:gd name="T10" fmla="*/ 224 w 224"/>
                <a:gd name="T11" fmla="*/ 4 h 7"/>
                <a:gd name="T12" fmla="*/ 221 w 224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4" h="7">
                  <a:moveTo>
                    <a:pt x="221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6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221" y="0"/>
                    <a:pt x="221" y="0"/>
                    <a:pt x="221" y="0"/>
                  </a:cubicBezTo>
                  <a:cubicBezTo>
                    <a:pt x="223" y="0"/>
                    <a:pt x="224" y="2"/>
                    <a:pt x="224" y="4"/>
                  </a:cubicBezTo>
                  <a:cubicBezTo>
                    <a:pt x="224" y="6"/>
                    <a:pt x="223" y="7"/>
                    <a:pt x="221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5" name="Freeform 156">
              <a:extLst>
                <a:ext uri="{FF2B5EF4-FFF2-40B4-BE49-F238E27FC236}">
                  <a16:creationId xmlns:a16="http://schemas.microsoft.com/office/drawing/2014/main" id="{41FA87D0-BA31-76F2-3AFE-3DBF03B6D6E0}"/>
                </a:ext>
              </a:extLst>
            </p:cNvPr>
            <p:cNvSpPr>
              <a:spLocks/>
            </p:cNvSpPr>
            <p:nvPr/>
          </p:nvSpPr>
          <p:spPr bwMode="auto">
            <a:xfrm>
              <a:off x="-4530987" y="1170363"/>
              <a:ext cx="155672" cy="294359"/>
            </a:xfrm>
            <a:custGeom>
              <a:avLst/>
              <a:gdLst>
                <a:gd name="T0" fmla="*/ 4 w 73"/>
                <a:gd name="T1" fmla="*/ 137 h 137"/>
                <a:gd name="T2" fmla="*/ 2 w 73"/>
                <a:gd name="T3" fmla="*/ 136 h 137"/>
                <a:gd name="T4" fmla="*/ 2 w 73"/>
                <a:gd name="T5" fmla="*/ 131 h 137"/>
                <a:gd name="T6" fmla="*/ 64 w 73"/>
                <a:gd name="T7" fmla="*/ 69 h 137"/>
                <a:gd name="T8" fmla="*/ 2 w 73"/>
                <a:gd name="T9" fmla="*/ 6 h 137"/>
                <a:gd name="T10" fmla="*/ 2 w 73"/>
                <a:gd name="T11" fmla="*/ 1 h 137"/>
                <a:gd name="T12" fmla="*/ 7 w 73"/>
                <a:gd name="T13" fmla="*/ 1 h 137"/>
                <a:gd name="T14" fmla="*/ 72 w 73"/>
                <a:gd name="T15" fmla="*/ 66 h 137"/>
                <a:gd name="T16" fmla="*/ 73 w 73"/>
                <a:gd name="T17" fmla="*/ 69 h 137"/>
                <a:gd name="T18" fmla="*/ 72 w 73"/>
                <a:gd name="T19" fmla="*/ 71 h 137"/>
                <a:gd name="T20" fmla="*/ 7 w 73"/>
                <a:gd name="T21" fmla="*/ 136 h 137"/>
                <a:gd name="T22" fmla="*/ 4 w 73"/>
                <a:gd name="T23" fmla="*/ 137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3" h="137">
                  <a:moveTo>
                    <a:pt x="4" y="137"/>
                  </a:moveTo>
                  <a:cubicBezTo>
                    <a:pt x="3" y="137"/>
                    <a:pt x="3" y="137"/>
                    <a:pt x="2" y="136"/>
                  </a:cubicBezTo>
                  <a:cubicBezTo>
                    <a:pt x="0" y="135"/>
                    <a:pt x="0" y="132"/>
                    <a:pt x="2" y="131"/>
                  </a:cubicBezTo>
                  <a:cubicBezTo>
                    <a:pt x="64" y="69"/>
                    <a:pt x="64" y="69"/>
                    <a:pt x="64" y="69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0" y="5"/>
                    <a:pt x="0" y="2"/>
                    <a:pt x="2" y="1"/>
                  </a:cubicBezTo>
                  <a:cubicBezTo>
                    <a:pt x="3" y="0"/>
                    <a:pt x="6" y="0"/>
                    <a:pt x="7" y="1"/>
                  </a:cubicBezTo>
                  <a:cubicBezTo>
                    <a:pt x="72" y="66"/>
                    <a:pt x="72" y="66"/>
                    <a:pt x="72" y="66"/>
                  </a:cubicBezTo>
                  <a:cubicBezTo>
                    <a:pt x="73" y="67"/>
                    <a:pt x="73" y="68"/>
                    <a:pt x="73" y="69"/>
                  </a:cubicBezTo>
                  <a:cubicBezTo>
                    <a:pt x="73" y="70"/>
                    <a:pt x="73" y="70"/>
                    <a:pt x="72" y="71"/>
                  </a:cubicBezTo>
                  <a:cubicBezTo>
                    <a:pt x="7" y="136"/>
                    <a:pt x="7" y="136"/>
                    <a:pt x="7" y="136"/>
                  </a:cubicBezTo>
                  <a:cubicBezTo>
                    <a:pt x="6" y="137"/>
                    <a:pt x="5" y="137"/>
                    <a:pt x="4" y="13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66" name="Shape8_20200717_154412">
            <a:extLst>
              <a:ext uri="{FF2B5EF4-FFF2-40B4-BE49-F238E27FC236}">
                <a16:creationId xmlns:a16="http://schemas.microsoft.com/office/drawing/2014/main" id="{914B641E-7FA9-926D-04F4-B81B873E1CA9}"/>
              </a:ext>
            </a:extLst>
          </p:cNvPr>
          <p:cNvGrpSpPr/>
          <p:nvPr/>
        </p:nvGrpSpPr>
        <p:grpSpPr>
          <a:xfrm>
            <a:off x="9819258" y="1392442"/>
            <a:ext cx="386823" cy="332473"/>
            <a:chOff x="-4785721" y="2231754"/>
            <a:chExt cx="342477" cy="294358"/>
          </a:xfrm>
          <a:solidFill>
            <a:schemeClr val="accent1"/>
          </a:solidFill>
        </p:grpSpPr>
        <p:sp>
          <p:nvSpPr>
            <p:cNvPr id="67" name="Freeform 157">
              <a:extLst>
                <a:ext uri="{FF2B5EF4-FFF2-40B4-BE49-F238E27FC236}">
                  <a16:creationId xmlns:a16="http://schemas.microsoft.com/office/drawing/2014/main" id="{C060C25F-81E4-46AF-9930-EE1891CBE033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85721" y="2350629"/>
              <a:ext cx="342477" cy="175483"/>
            </a:xfrm>
            <a:custGeom>
              <a:avLst/>
              <a:gdLst>
                <a:gd name="T0" fmla="*/ 80 w 160"/>
                <a:gd name="T1" fmla="*/ 83 h 83"/>
                <a:gd name="T2" fmla="*/ 77 w 160"/>
                <a:gd name="T3" fmla="*/ 82 h 83"/>
                <a:gd name="T4" fmla="*/ 1 w 160"/>
                <a:gd name="T5" fmla="*/ 6 h 83"/>
                <a:gd name="T6" fmla="*/ 1 w 160"/>
                <a:gd name="T7" fmla="*/ 1 h 83"/>
                <a:gd name="T8" fmla="*/ 6 w 160"/>
                <a:gd name="T9" fmla="*/ 1 h 83"/>
                <a:gd name="T10" fmla="*/ 80 w 160"/>
                <a:gd name="T11" fmla="*/ 75 h 83"/>
                <a:gd name="T12" fmla="*/ 153 w 160"/>
                <a:gd name="T13" fmla="*/ 1 h 83"/>
                <a:gd name="T14" fmla="*/ 158 w 160"/>
                <a:gd name="T15" fmla="*/ 1 h 83"/>
                <a:gd name="T16" fmla="*/ 158 w 160"/>
                <a:gd name="T17" fmla="*/ 6 h 83"/>
                <a:gd name="T18" fmla="*/ 82 w 160"/>
                <a:gd name="T19" fmla="*/ 82 h 83"/>
                <a:gd name="T20" fmla="*/ 80 w 160"/>
                <a:gd name="T2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0" h="83">
                  <a:moveTo>
                    <a:pt x="80" y="83"/>
                  </a:moveTo>
                  <a:cubicBezTo>
                    <a:pt x="79" y="83"/>
                    <a:pt x="78" y="83"/>
                    <a:pt x="77" y="82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5"/>
                    <a:pt x="0" y="3"/>
                    <a:pt x="1" y="1"/>
                  </a:cubicBezTo>
                  <a:cubicBezTo>
                    <a:pt x="3" y="0"/>
                    <a:pt x="5" y="0"/>
                    <a:pt x="6" y="1"/>
                  </a:cubicBezTo>
                  <a:cubicBezTo>
                    <a:pt x="80" y="75"/>
                    <a:pt x="80" y="75"/>
                    <a:pt x="80" y="75"/>
                  </a:cubicBezTo>
                  <a:cubicBezTo>
                    <a:pt x="153" y="1"/>
                    <a:pt x="153" y="1"/>
                    <a:pt x="153" y="1"/>
                  </a:cubicBezTo>
                  <a:cubicBezTo>
                    <a:pt x="155" y="0"/>
                    <a:pt x="157" y="0"/>
                    <a:pt x="158" y="1"/>
                  </a:cubicBezTo>
                  <a:cubicBezTo>
                    <a:pt x="160" y="3"/>
                    <a:pt x="160" y="5"/>
                    <a:pt x="158" y="6"/>
                  </a:cubicBezTo>
                  <a:cubicBezTo>
                    <a:pt x="82" y="82"/>
                    <a:pt x="82" y="82"/>
                    <a:pt x="82" y="82"/>
                  </a:cubicBezTo>
                  <a:cubicBezTo>
                    <a:pt x="82" y="83"/>
                    <a:pt x="81" y="83"/>
                    <a:pt x="80" y="8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8" name="Freeform 158">
              <a:extLst>
                <a:ext uri="{FF2B5EF4-FFF2-40B4-BE49-F238E27FC236}">
                  <a16:creationId xmlns:a16="http://schemas.microsoft.com/office/drawing/2014/main" id="{A3F00ECB-2ABF-0E6A-9780-0BB93EC9680B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85721" y="2231754"/>
              <a:ext cx="342477" cy="178314"/>
            </a:xfrm>
            <a:custGeom>
              <a:avLst/>
              <a:gdLst>
                <a:gd name="T0" fmla="*/ 80 w 160"/>
                <a:gd name="T1" fmla="*/ 83 h 83"/>
                <a:gd name="T2" fmla="*/ 77 w 160"/>
                <a:gd name="T3" fmla="*/ 82 h 83"/>
                <a:gd name="T4" fmla="*/ 1 w 160"/>
                <a:gd name="T5" fmla="*/ 6 h 83"/>
                <a:gd name="T6" fmla="*/ 1 w 160"/>
                <a:gd name="T7" fmla="*/ 1 h 83"/>
                <a:gd name="T8" fmla="*/ 6 w 160"/>
                <a:gd name="T9" fmla="*/ 1 h 83"/>
                <a:gd name="T10" fmla="*/ 80 w 160"/>
                <a:gd name="T11" fmla="*/ 74 h 83"/>
                <a:gd name="T12" fmla="*/ 153 w 160"/>
                <a:gd name="T13" fmla="*/ 1 h 83"/>
                <a:gd name="T14" fmla="*/ 158 w 160"/>
                <a:gd name="T15" fmla="*/ 1 h 83"/>
                <a:gd name="T16" fmla="*/ 158 w 160"/>
                <a:gd name="T17" fmla="*/ 6 h 83"/>
                <a:gd name="T18" fmla="*/ 82 w 160"/>
                <a:gd name="T19" fmla="*/ 82 h 83"/>
                <a:gd name="T20" fmla="*/ 80 w 160"/>
                <a:gd name="T2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0" h="83">
                  <a:moveTo>
                    <a:pt x="80" y="83"/>
                  </a:moveTo>
                  <a:cubicBezTo>
                    <a:pt x="79" y="83"/>
                    <a:pt x="78" y="83"/>
                    <a:pt x="77" y="82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5"/>
                    <a:pt x="0" y="2"/>
                    <a:pt x="1" y="1"/>
                  </a:cubicBezTo>
                  <a:cubicBezTo>
                    <a:pt x="3" y="0"/>
                    <a:pt x="5" y="0"/>
                    <a:pt x="6" y="1"/>
                  </a:cubicBezTo>
                  <a:cubicBezTo>
                    <a:pt x="80" y="74"/>
                    <a:pt x="80" y="74"/>
                    <a:pt x="80" y="74"/>
                  </a:cubicBezTo>
                  <a:cubicBezTo>
                    <a:pt x="153" y="1"/>
                    <a:pt x="153" y="1"/>
                    <a:pt x="153" y="1"/>
                  </a:cubicBezTo>
                  <a:cubicBezTo>
                    <a:pt x="155" y="0"/>
                    <a:pt x="157" y="0"/>
                    <a:pt x="158" y="1"/>
                  </a:cubicBezTo>
                  <a:cubicBezTo>
                    <a:pt x="160" y="2"/>
                    <a:pt x="160" y="5"/>
                    <a:pt x="158" y="6"/>
                  </a:cubicBezTo>
                  <a:cubicBezTo>
                    <a:pt x="82" y="82"/>
                    <a:pt x="82" y="82"/>
                    <a:pt x="82" y="82"/>
                  </a:cubicBezTo>
                  <a:cubicBezTo>
                    <a:pt x="82" y="83"/>
                    <a:pt x="81" y="83"/>
                    <a:pt x="80" y="8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69" name="Shape9_20200717_154412">
            <a:extLst>
              <a:ext uri="{FF2B5EF4-FFF2-40B4-BE49-F238E27FC236}">
                <a16:creationId xmlns:a16="http://schemas.microsoft.com/office/drawing/2014/main" id="{243A5F4A-06D6-92F5-D5C8-45B837978CE8}"/>
              </a:ext>
            </a:extLst>
          </p:cNvPr>
          <p:cNvGrpSpPr/>
          <p:nvPr/>
        </p:nvGrpSpPr>
        <p:grpSpPr>
          <a:xfrm>
            <a:off x="11151988" y="1369800"/>
            <a:ext cx="332475" cy="386824"/>
            <a:chOff x="-3780937" y="2209111"/>
            <a:chExt cx="294360" cy="342478"/>
          </a:xfrm>
          <a:solidFill>
            <a:schemeClr val="accent1"/>
          </a:solidFill>
        </p:grpSpPr>
        <p:sp>
          <p:nvSpPr>
            <p:cNvPr id="70" name="Freeform 159">
              <a:extLst>
                <a:ext uri="{FF2B5EF4-FFF2-40B4-BE49-F238E27FC236}">
                  <a16:creationId xmlns:a16="http://schemas.microsoft.com/office/drawing/2014/main" id="{F164672E-2F88-FDD1-6C45-855160BCA553}"/>
                </a:ext>
              </a:extLst>
            </p:cNvPr>
            <p:cNvSpPr>
              <a:spLocks/>
            </p:cNvSpPr>
            <p:nvPr/>
          </p:nvSpPr>
          <p:spPr bwMode="auto">
            <a:xfrm>
              <a:off x="-3780937" y="2209111"/>
              <a:ext cx="178315" cy="342478"/>
            </a:xfrm>
            <a:custGeom>
              <a:avLst/>
              <a:gdLst>
                <a:gd name="T0" fmla="*/ 80 w 84"/>
                <a:gd name="T1" fmla="*/ 160 h 160"/>
                <a:gd name="T2" fmla="*/ 78 w 84"/>
                <a:gd name="T3" fmla="*/ 159 h 160"/>
                <a:gd name="T4" fmla="*/ 2 w 84"/>
                <a:gd name="T5" fmla="*/ 83 h 160"/>
                <a:gd name="T6" fmla="*/ 2 w 84"/>
                <a:gd name="T7" fmla="*/ 78 h 160"/>
                <a:gd name="T8" fmla="*/ 78 w 84"/>
                <a:gd name="T9" fmla="*/ 2 h 160"/>
                <a:gd name="T10" fmla="*/ 83 w 84"/>
                <a:gd name="T11" fmla="*/ 2 h 160"/>
                <a:gd name="T12" fmla="*/ 83 w 84"/>
                <a:gd name="T13" fmla="*/ 7 h 160"/>
                <a:gd name="T14" fmla="*/ 9 w 84"/>
                <a:gd name="T15" fmla="*/ 80 h 160"/>
                <a:gd name="T16" fmla="*/ 83 w 84"/>
                <a:gd name="T17" fmla="*/ 154 h 160"/>
                <a:gd name="T18" fmla="*/ 83 w 84"/>
                <a:gd name="T19" fmla="*/ 159 h 160"/>
                <a:gd name="T20" fmla="*/ 80 w 84"/>
                <a:gd name="T21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4" h="160">
                  <a:moveTo>
                    <a:pt x="80" y="160"/>
                  </a:moveTo>
                  <a:cubicBezTo>
                    <a:pt x="79" y="160"/>
                    <a:pt x="78" y="159"/>
                    <a:pt x="78" y="159"/>
                  </a:cubicBezTo>
                  <a:cubicBezTo>
                    <a:pt x="2" y="83"/>
                    <a:pt x="2" y="83"/>
                    <a:pt x="2" y="83"/>
                  </a:cubicBezTo>
                  <a:cubicBezTo>
                    <a:pt x="0" y="81"/>
                    <a:pt x="0" y="79"/>
                    <a:pt x="2" y="78"/>
                  </a:cubicBezTo>
                  <a:cubicBezTo>
                    <a:pt x="78" y="2"/>
                    <a:pt x="78" y="2"/>
                    <a:pt x="78" y="2"/>
                  </a:cubicBezTo>
                  <a:cubicBezTo>
                    <a:pt x="79" y="0"/>
                    <a:pt x="81" y="0"/>
                    <a:pt x="83" y="2"/>
                  </a:cubicBezTo>
                  <a:cubicBezTo>
                    <a:pt x="84" y="3"/>
                    <a:pt x="84" y="5"/>
                    <a:pt x="83" y="7"/>
                  </a:cubicBezTo>
                  <a:cubicBezTo>
                    <a:pt x="9" y="80"/>
                    <a:pt x="9" y="80"/>
                    <a:pt x="9" y="80"/>
                  </a:cubicBezTo>
                  <a:cubicBezTo>
                    <a:pt x="83" y="154"/>
                    <a:pt x="83" y="154"/>
                    <a:pt x="83" y="154"/>
                  </a:cubicBezTo>
                  <a:cubicBezTo>
                    <a:pt x="84" y="155"/>
                    <a:pt x="84" y="157"/>
                    <a:pt x="83" y="159"/>
                  </a:cubicBezTo>
                  <a:cubicBezTo>
                    <a:pt x="82" y="159"/>
                    <a:pt x="81" y="160"/>
                    <a:pt x="80" y="16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1" name="Freeform 160">
              <a:extLst>
                <a:ext uri="{FF2B5EF4-FFF2-40B4-BE49-F238E27FC236}">
                  <a16:creationId xmlns:a16="http://schemas.microsoft.com/office/drawing/2014/main" id="{2309FBD2-8122-DB21-FDCC-B607FF9C57B7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62061" y="2209111"/>
              <a:ext cx="175484" cy="342478"/>
            </a:xfrm>
            <a:custGeom>
              <a:avLst/>
              <a:gdLst>
                <a:gd name="T0" fmla="*/ 79 w 83"/>
                <a:gd name="T1" fmla="*/ 160 h 160"/>
                <a:gd name="T2" fmla="*/ 77 w 83"/>
                <a:gd name="T3" fmla="*/ 159 h 160"/>
                <a:gd name="T4" fmla="*/ 1 w 83"/>
                <a:gd name="T5" fmla="*/ 83 h 160"/>
                <a:gd name="T6" fmla="*/ 1 w 83"/>
                <a:gd name="T7" fmla="*/ 78 h 160"/>
                <a:gd name="T8" fmla="*/ 77 w 83"/>
                <a:gd name="T9" fmla="*/ 2 h 160"/>
                <a:gd name="T10" fmla="*/ 82 w 83"/>
                <a:gd name="T11" fmla="*/ 2 h 160"/>
                <a:gd name="T12" fmla="*/ 82 w 83"/>
                <a:gd name="T13" fmla="*/ 7 h 160"/>
                <a:gd name="T14" fmla="*/ 9 w 83"/>
                <a:gd name="T15" fmla="*/ 80 h 160"/>
                <a:gd name="T16" fmla="*/ 82 w 83"/>
                <a:gd name="T17" fmla="*/ 154 h 160"/>
                <a:gd name="T18" fmla="*/ 82 w 83"/>
                <a:gd name="T19" fmla="*/ 159 h 160"/>
                <a:gd name="T20" fmla="*/ 79 w 83"/>
                <a:gd name="T21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3" h="160">
                  <a:moveTo>
                    <a:pt x="79" y="160"/>
                  </a:moveTo>
                  <a:cubicBezTo>
                    <a:pt x="79" y="160"/>
                    <a:pt x="78" y="159"/>
                    <a:pt x="77" y="159"/>
                  </a:cubicBezTo>
                  <a:cubicBezTo>
                    <a:pt x="1" y="83"/>
                    <a:pt x="1" y="83"/>
                    <a:pt x="1" y="83"/>
                  </a:cubicBezTo>
                  <a:cubicBezTo>
                    <a:pt x="0" y="81"/>
                    <a:pt x="0" y="79"/>
                    <a:pt x="1" y="78"/>
                  </a:cubicBezTo>
                  <a:cubicBezTo>
                    <a:pt x="77" y="2"/>
                    <a:pt x="77" y="2"/>
                    <a:pt x="77" y="2"/>
                  </a:cubicBezTo>
                  <a:cubicBezTo>
                    <a:pt x="78" y="0"/>
                    <a:pt x="81" y="0"/>
                    <a:pt x="82" y="2"/>
                  </a:cubicBezTo>
                  <a:cubicBezTo>
                    <a:pt x="83" y="3"/>
                    <a:pt x="83" y="5"/>
                    <a:pt x="82" y="7"/>
                  </a:cubicBezTo>
                  <a:cubicBezTo>
                    <a:pt x="9" y="80"/>
                    <a:pt x="9" y="80"/>
                    <a:pt x="9" y="80"/>
                  </a:cubicBezTo>
                  <a:cubicBezTo>
                    <a:pt x="82" y="154"/>
                    <a:pt x="82" y="154"/>
                    <a:pt x="82" y="154"/>
                  </a:cubicBezTo>
                  <a:cubicBezTo>
                    <a:pt x="83" y="155"/>
                    <a:pt x="83" y="157"/>
                    <a:pt x="82" y="159"/>
                  </a:cubicBezTo>
                  <a:cubicBezTo>
                    <a:pt x="81" y="159"/>
                    <a:pt x="80" y="160"/>
                    <a:pt x="79" y="16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72" name="Shape10_20200717_154412">
            <a:extLst>
              <a:ext uri="{FF2B5EF4-FFF2-40B4-BE49-F238E27FC236}">
                <a16:creationId xmlns:a16="http://schemas.microsoft.com/office/drawing/2014/main" id="{7ECC6F11-13B9-FF45-F400-43D58E0CAB0A}"/>
              </a:ext>
            </a:extLst>
          </p:cNvPr>
          <p:cNvGrpSpPr/>
          <p:nvPr/>
        </p:nvGrpSpPr>
        <p:grpSpPr>
          <a:xfrm>
            <a:off x="705938" y="2667660"/>
            <a:ext cx="335673" cy="386824"/>
            <a:chOff x="-2801625" y="2209111"/>
            <a:chExt cx="297191" cy="342478"/>
          </a:xfrm>
          <a:solidFill>
            <a:schemeClr val="accent1"/>
          </a:solidFill>
        </p:grpSpPr>
        <p:sp>
          <p:nvSpPr>
            <p:cNvPr id="73" name="Freeform 161">
              <a:extLst>
                <a:ext uri="{FF2B5EF4-FFF2-40B4-BE49-F238E27FC236}">
                  <a16:creationId xmlns:a16="http://schemas.microsoft.com/office/drawing/2014/main" id="{4086A7DD-E75F-ED29-669B-512686969C11}"/>
                </a:ext>
              </a:extLst>
            </p:cNvPr>
            <p:cNvSpPr>
              <a:spLocks/>
            </p:cNvSpPr>
            <p:nvPr/>
          </p:nvSpPr>
          <p:spPr bwMode="auto">
            <a:xfrm>
              <a:off x="-2679918" y="2209111"/>
              <a:ext cx="175484" cy="342478"/>
            </a:xfrm>
            <a:custGeom>
              <a:avLst/>
              <a:gdLst>
                <a:gd name="T0" fmla="*/ 4 w 83"/>
                <a:gd name="T1" fmla="*/ 160 h 160"/>
                <a:gd name="T2" fmla="*/ 1 w 83"/>
                <a:gd name="T3" fmla="*/ 159 h 160"/>
                <a:gd name="T4" fmla="*/ 1 w 83"/>
                <a:gd name="T5" fmla="*/ 154 h 160"/>
                <a:gd name="T6" fmla="*/ 74 w 83"/>
                <a:gd name="T7" fmla="*/ 80 h 160"/>
                <a:gd name="T8" fmla="*/ 1 w 83"/>
                <a:gd name="T9" fmla="*/ 7 h 160"/>
                <a:gd name="T10" fmla="*/ 1 w 83"/>
                <a:gd name="T11" fmla="*/ 2 h 160"/>
                <a:gd name="T12" fmla="*/ 6 w 83"/>
                <a:gd name="T13" fmla="*/ 2 h 160"/>
                <a:gd name="T14" fmla="*/ 82 w 83"/>
                <a:gd name="T15" fmla="*/ 78 h 160"/>
                <a:gd name="T16" fmla="*/ 83 w 83"/>
                <a:gd name="T17" fmla="*/ 80 h 160"/>
                <a:gd name="T18" fmla="*/ 82 w 83"/>
                <a:gd name="T19" fmla="*/ 83 h 160"/>
                <a:gd name="T20" fmla="*/ 6 w 83"/>
                <a:gd name="T21" fmla="*/ 159 h 160"/>
                <a:gd name="T22" fmla="*/ 4 w 83"/>
                <a:gd name="T23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3" h="160">
                  <a:moveTo>
                    <a:pt x="4" y="160"/>
                  </a:moveTo>
                  <a:cubicBezTo>
                    <a:pt x="3" y="160"/>
                    <a:pt x="2" y="159"/>
                    <a:pt x="1" y="159"/>
                  </a:cubicBezTo>
                  <a:cubicBezTo>
                    <a:pt x="0" y="157"/>
                    <a:pt x="0" y="155"/>
                    <a:pt x="1" y="154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5"/>
                    <a:pt x="0" y="3"/>
                    <a:pt x="1" y="2"/>
                  </a:cubicBezTo>
                  <a:cubicBezTo>
                    <a:pt x="2" y="0"/>
                    <a:pt x="5" y="0"/>
                    <a:pt x="6" y="2"/>
                  </a:cubicBezTo>
                  <a:cubicBezTo>
                    <a:pt x="82" y="78"/>
                    <a:pt x="82" y="78"/>
                    <a:pt x="82" y="78"/>
                  </a:cubicBezTo>
                  <a:cubicBezTo>
                    <a:pt x="83" y="78"/>
                    <a:pt x="83" y="79"/>
                    <a:pt x="83" y="80"/>
                  </a:cubicBezTo>
                  <a:cubicBezTo>
                    <a:pt x="83" y="81"/>
                    <a:pt x="83" y="82"/>
                    <a:pt x="82" y="83"/>
                  </a:cubicBezTo>
                  <a:cubicBezTo>
                    <a:pt x="6" y="159"/>
                    <a:pt x="6" y="159"/>
                    <a:pt x="6" y="159"/>
                  </a:cubicBezTo>
                  <a:cubicBezTo>
                    <a:pt x="5" y="159"/>
                    <a:pt x="4" y="160"/>
                    <a:pt x="4" y="16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4" name="Freeform 162">
              <a:extLst>
                <a:ext uri="{FF2B5EF4-FFF2-40B4-BE49-F238E27FC236}">
                  <a16:creationId xmlns:a16="http://schemas.microsoft.com/office/drawing/2014/main" id="{E43E2539-2F22-70EA-6B35-480E7F483867}"/>
                </a:ext>
              </a:extLst>
            </p:cNvPr>
            <p:cNvSpPr>
              <a:spLocks/>
            </p:cNvSpPr>
            <p:nvPr/>
          </p:nvSpPr>
          <p:spPr bwMode="auto">
            <a:xfrm>
              <a:off x="-2801625" y="2209111"/>
              <a:ext cx="181144" cy="342478"/>
            </a:xfrm>
            <a:custGeom>
              <a:avLst/>
              <a:gdLst>
                <a:gd name="T0" fmla="*/ 4 w 84"/>
                <a:gd name="T1" fmla="*/ 160 h 160"/>
                <a:gd name="T2" fmla="*/ 2 w 84"/>
                <a:gd name="T3" fmla="*/ 159 h 160"/>
                <a:gd name="T4" fmla="*/ 2 w 84"/>
                <a:gd name="T5" fmla="*/ 154 h 160"/>
                <a:gd name="T6" fmla="*/ 75 w 84"/>
                <a:gd name="T7" fmla="*/ 80 h 160"/>
                <a:gd name="T8" fmla="*/ 2 w 84"/>
                <a:gd name="T9" fmla="*/ 7 h 160"/>
                <a:gd name="T10" fmla="*/ 2 w 84"/>
                <a:gd name="T11" fmla="*/ 2 h 160"/>
                <a:gd name="T12" fmla="*/ 7 w 84"/>
                <a:gd name="T13" fmla="*/ 2 h 160"/>
                <a:gd name="T14" fmla="*/ 83 w 84"/>
                <a:gd name="T15" fmla="*/ 78 h 160"/>
                <a:gd name="T16" fmla="*/ 84 w 84"/>
                <a:gd name="T17" fmla="*/ 80 h 160"/>
                <a:gd name="T18" fmla="*/ 83 w 84"/>
                <a:gd name="T19" fmla="*/ 83 h 160"/>
                <a:gd name="T20" fmla="*/ 7 w 84"/>
                <a:gd name="T21" fmla="*/ 159 h 160"/>
                <a:gd name="T22" fmla="*/ 4 w 84"/>
                <a:gd name="T23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4" h="160">
                  <a:moveTo>
                    <a:pt x="4" y="160"/>
                  </a:moveTo>
                  <a:cubicBezTo>
                    <a:pt x="3" y="160"/>
                    <a:pt x="2" y="159"/>
                    <a:pt x="2" y="159"/>
                  </a:cubicBezTo>
                  <a:cubicBezTo>
                    <a:pt x="0" y="157"/>
                    <a:pt x="0" y="155"/>
                    <a:pt x="2" y="154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0" y="5"/>
                    <a:pt x="0" y="3"/>
                    <a:pt x="2" y="2"/>
                  </a:cubicBezTo>
                  <a:cubicBezTo>
                    <a:pt x="3" y="0"/>
                    <a:pt x="5" y="0"/>
                    <a:pt x="7" y="2"/>
                  </a:cubicBezTo>
                  <a:cubicBezTo>
                    <a:pt x="83" y="78"/>
                    <a:pt x="83" y="78"/>
                    <a:pt x="83" y="78"/>
                  </a:cubicBezTo>
                  <a:cubicBezTo>
                    <a:pt x="83" y="78"/>
                    <a:pt x="84" y="79"/>
                    <a:pt x="84" y="80"/>
                  </a:cubicBezTo>
                  <a:cubicBezTo>
                    <a:pt x="84" y="81"/>
                    <a:pt x="83" y="82"/>
                    <a:pt x="83" y="83"/>
                  </a:cubicBezTo>
                  <a:cubicBezTo>
                    <a:pt x="7" y="159"/>
                    <a:pt x="7" y="159"/>
                    <a:pt x="7" y="159"/>
                  </a:cubicBezTo>
                  <a:cubicBezTo>
                    <a:pt x="6" y="159"/>
                    <a:pt x="5" y="160"/>
                    <a:pt x="4" y="16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75" name="Shape11_20200717_154412">
            <a:extLst>
              <a:ext uri="{FF2B5EF4-FFF2-40B4-BE49-F238E27FC236}">
                <a16:creationId xmlns:a16="http://schemas.microsoft.com/office/drawing/2014/main" id="{EB6A8D6A-75F8-4645-28BC-5EA56F1E23AE}"/>
              </a:ext>
            </a:extLst>
          </p:cNvPr>
          <p:cNvSpPr>
            <a:spLocks/>
          </p:cNvSpPr>
          <p:nvPr/>
        </p:nvSpPr>
        <p:spPr bwMode="auto">
          <a:xfrm>
            <a:off x="7208144" y="2733046"/>
            <a:ext cx="386822" cy="204599"/>
          </a:xfrm>
          <a:custGeom>
            <a:avLst/>
            <a:gdLst>
              <a:gd name="T0" fmla="*/ 156 w 160"/>
              <a:gd name="T1" fmla="*/ 83 h 84"/>
              <a:gd name="T2" fmla="*/ 153 w 160"/>
              <a:gd name="T3" fmla="*/ 82 h 84"/>
              <a:gd name="T4" fmla="*/ 80 w 160"/>
              <a:gd name="T5" fmla="*/ 9 h 84"/>
              <a:gd name="T6" fmla="*/ 6 w 160"/>
              <a:gd name="T7" fmla="*/ 82 h 84"/>
              <a:gd name="T8" fmla="*/ 1 w 160"/>
              <a:gd name="T9" fmla="*/ 82 h 84"/>
              <a:gd name="T10" fmla="*/ 1 w 160"/>
              <a:gd name="T11" fmla="*/ 77 h 84"/>
              <a:gd name="T12" fmla="*/ 77 w 160"/>
              <a:gd name="T13" fmla="*/ 1 h 84"/>
              <a:gd name="T14" fmla="*/ 82 w 160"/>
              <a:gd name="T15" fmla="*/ 1 h 84"/>
              <a:gd name="T16" fmla="*/ 158 w 160"/>
              <a:gd name="T17" fmla="*/ 77 h 84"/>
              <a:gd name="T18" fmla="*/ 158 w 160"/>
              <a:gd name="T19" fmla="*/ 82 h 84"/>
              <a:gd name="T20" fmla="*/ 156 w 160"/>
              <a:gd name="T21" fmla="*/ 83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60" h="84">
                <a:moveTo>
                  <a:pt x="156" y="83"/>
                </a:moveTo>
                <a:cubicBezTo>
                  <a:pt x="155" y="83"/>
                  <a:pt x="154" y="83"/>
                  <a:pt x="153" y="82"/>
                </a:cubicBezTo>
                <a:cubicBezTo>
                  <a:pt x="80" y="9"/>
                  <a:pt x="80" y="9"/>
                  <a:pt x="80" y="9"/>
                </a:cubicBezTo>
                <a:cubicBezTo>
                  <a:pt x="6" y="82"/>
                  <a:pt x="6" y="82"/>
                  <a:pt x="6" y="82"/>
                </a:cubicBezTo>
                <a:cubicBezTo>
                  <a:pt x="5" y="84"/>
                  <a:pt x="3" y="84"/>
                  <a:pt x="1" y="82"/>
                </a:cubicBezTo>
                <a:cubicBezTo>
                  <a:pt x="0" y="81"/>
                  <a:pt x="0" y="79"/>
                  <a:pt x="1" y="77"/>
                </a:cubicBezTo>
                <a:cubicBezTo>
                  <a:pt x="77" y="1"/>
                  <a:pt x="77" y="1"/>
                  <a:pt x="77" y="1"/>
                </a:cubicBezTo>
                <a:cubicBezTo>
                  <a:pt x="79" y="0"/>
                  <a:pt x="81" y="0"/>
                  <a:pt x="82" y="1"/>
                </a:cubicBezTo>
                <a:cubicBezTo>
                  <a:pt x="158" y="77"/>
                  <a:pt x="158" y="77"/>
                  <a:pt x="158" y="77"/>
                </a:cubicBezTo>
                <a:cubicBezTo>
                  <a:pt x="160" y="79"/>
                  <a:pt x="160" y="81"/>
                  <a:pt x="158" y="82"/>
                </a:cubicBezTo>
                <a:cubicBezTo>
                  <a:pt x="158" y="83"/>
                  <a:pt x="157" y="83"/>
                  <a:pt x="156" y="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76" name="Shape12_20200717_154412">
            <a:extLst>
              <a:ext uri="{FF2B5EF4-FFF2-40B4-BE49-F238E27FC236}">
                <a16:creationId xmlns:a16="http://schemas.microsoft.com/office/drawing/2014/main" id="{71664867-AA45-3628-30D9-544171F536EC}"/>
              </a:ext>
            </a:extLst>
          </p:cNvPr>
          <p:cNvSpPr>
            <a:spLocks/>
          </p:cNvSpPr>
          <p:nvPr/>
        </p:nvSpPr>
        <p:spPr bwMode="auto">
          <a:xfrm>
            <a:off x="8515299" y="2733046"/>
            <a:ext cx="383625" cy="201403"/>
          </a:xfrm>
          <a:custGeom>
            <a:avLst/>
            <a:gdLst>
              <a:gd name="T0" fmla="*/ 80 w 160"/>
              <a:gd name="T1" fmla="*/ 83 h 83"/>
              <a:gd name="T2" fmla="*/ 77 w 160"/>
              <a:gd name="T3" fmla="*/ 82 h 83"/>
              <a:gd name="T4" fmla="*/ 1 w 160"/>
              <a:gd name="T5" fmla="*/ 6 h 83"/>
              <a:gd name="T6" fmla="*/ 1 w 160"/>
              <a:gd name="T7" fmla="*/ 1 h 83"/>
              <a:gd name="T8" fmla="*/ 7 w 160"/>
              <a:gd name="T9" fmla="*/ 1 h 83"/>
              <a:gd name="T10" fmla="*/ 80 w 160"/>
              <a:gd name="T11" fmla="*/ 75 h 83"/>
              <a:gd name="T12" fmla="*/ 153 w 160"/>
              <a:gd name="T13" fmla="*/ 1 h 83"/>
              <a:gd name="T14" fmla="*/ 158 w 160"/>
              <a:gd name="T15" fmla="*/ 1 h 83"/>
              <a:gd name="T16" fmla="*/ 158 w 160"/>
              <a:gd name="T17" fmla="*/ 6 h 83"/>
              <a:gd name="T18" fmla="*/ 82 w 160"/>
              <a:gd name="T19" fmla="*/ 82 h 83"/>
              <a:gd name="T20" fmla="*/ 80 w 160"/>
              <a:gd name="T21" fmla="*/ 83 h 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60" h="83">
                <a:moveTo>
                  <a:pt x="80" y="83"/>
                </a:moveTo>
                <a:cubicBezTo>
                  <a:pt x="79" y="83"/>
                  <a:pt x="78" y="83"/>
                  <a:pt x="77" y="82"/>
                </a:cubicBezTo>
                <a:cubicBezTo>
                  <a:pt x="1" y="6"/>
                  <a:pt x="1" y="6"/>
                  <a:pt x="1" y="6"/>
                </a:cubicBezTo>
                <a:cubicBezTo>
                  <a:pt x="0" y="5"/>
                  <a:pt x="0" y="3"/>
                  <a:pt x="1" y="1"/>
                </a:cubicBezTo>
                <a:cubicBezTo>
                  <a:pt x="3" y="0"/>
                  <a:pt x="5" y="0"/>
                  <a:pt x="7" y="1"/>
                </a:cubicBezTo>
                <a:cubicBezTo>
                  <a:pt x="80" y="75"/>
                  <a:pt x="80" y="75"/>
                  <a:pt x="80" y="75"/>
                </a:cubicBezTo>
                <a:cubicBezTo>
                  <a:pt x="153" y="1"/>
                  <a:pt x="153" y="1"/>
                  <a:pt x="153" y="1"/>
                </a:cubicBezTo>
                <a:cubicBezTo>
                  <a:pt x="155" y="0"/>
                  <a:pt x="157" y="0"/>
                  <a:pt x="158" y="1"/>
                </a:cubicBezTo>
                <a:cubicBezTo>
                  <a:pt x="160" y="3"/>
                  <a:pt x="160" y="5"/>
                  <a:pt x="158" y="6"/>
                </a:cubicBezTo>
                <a:cubicBezTo>
                  <a:pt x="82" y="82"/>
                  <a:pt x="82" y="82"/>
                  <a:pt x="82" y="82"/>
                </a:cubicBezTo>
                <a:cubicBezTo>
                  <a:pt x="82" y="83"/>
                  <a:pt x="81" y="83"/>
                  <a:pt x="80" y="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77" name="Shape13_20200717_154412">
            <a:extLst>
              <a:ext uri="{FF2B5EF4-FFF2-40B4-BE49-F238E27FC236}">
                <a16:creationId xmlns:a16="http://schemas.microsoft.com/office/drawing/2014/main" id="{53006E45-4C9F-E86B-7D0B-3ED4AA4AE5D2}"/>
              </a:ext>
            </a:extLst>
          </p:cNvPr>
          <p:cNvSpPr>
            <a:spLocks/>
          </p:cNvSpPr>
          <p:nvPr/>
        </p:nvSpPr>
        <p:spPr bwMode="auto">
          <a:xfrm>
            <a:off x="9911967" y="2653795"/>
            <a:ext cx="201404" cy="383624"/>
          </a:xfrm>
          <a:custGeom>
            <a:avLst/>
            <a:gdLst>
              <a:gd name="T0" fmla="*/ 80 w 84"/>
              <a:gd name="T1" fmla="*/ 159 h 159"/>
              <a:gd name="T2" fmla="*/ 77 w 84"/>
              <a:gd name="T3" fmla="*/ 158 h 159"/>
              <a:gd name="T4" fmla="*/ 1 w 84"/>
              <a:gd name="T5" fmla="*/ 82 h 159"/>
              <a:gd name="T6" fmla="*/ 0 w 84"/>
              <a:gd name="T7" fmla="*/ 80 h 159"/>
              <a:gd name="T8" fmla="*/ 1 w 84"/>
              <a:gd name="T9" fmla="*/ 77 h 159"/>
              <a:gd name="T10" fmla="*/ 77 w 84"/>
              <a:gd name="T11" fmla="*/ 1 h 159"/>
              <a:gd name="T12" fmla="*/ 82 w 84"/>
              <a:gd name="T13" fmla="*/ 1 h 159"/>
              <a:gd name="T14" fmla="*/ 82 w 84"/>
              <a:gd name="T15" fmla="*/ 6 h 159"/>
              <a:gd name="T16" fmla="*/ 9 w 84"/>
              <a:gd name="T17" fmla="*/ 80 h 159"/>
              <a:gd name="T18" fmla="*/ 82 w 84"/>
              <a:gd name="T19" fmla="*/ 153 h 159"/>
              <a:gd name="T20" fmla="*/ 82 w 84"/>
              <a:gd name="T21" fmla="*/ 158 h 159"/>
              <a:gd name="T22" fmla="*/ 80 w 84"/>
              <a:gd name="T23" fmla="*/ 159 h 1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84" h="159">
                <a:moveTo>
                  <a:pt x="80" y="159"/>
                </a:moveTo>
                <a:cubicBezTo>
                  <a:pt x="79" y="159"/>
                  <a:pt x="78" y="159"/>
                  <a:pt x="77" y="158"/>
                </a:cubicBezTo>
                <a:cubicBezTo>
                  <a:pt x="1" y="82"/>
                  <a:pt x="1" y="82"/>
                  <a:pt x="1" y="82"/>
                </a:cubicBezTo>
                <a:cubicBezTo>
                  <a:pt x="1" y="82"/>
                  <a:pt x="0" y="81"/>
                  <a:pt x="0" y="80"/>
                </a:cubicBezTo>
                <a:cubicBezTo>
                  <a:pt x="0" y="79"/>
                  <a:pt x="1" y="78"/>
                  <a:pt x="1" y="77"/>
                </a:cubicBezTo>
                <a:cubicBezTo>
                  <a:pt x="77" y="1"/>
                  <a:pt x="77" y="1"/>
                  <a:pt x="77" y="1"/>
                </a:cubicBezTo>
                <a:cubicBezTo>
                  <a:pt x="79" y="0"/>
                  <a:pt x="81" y="0"/>
                  <a:pt x="82" y="1"/>
                </a:cubicBezTo>
                <a:cubicBezTo>
                  <a:pt x="84" y="3"/>
                  <a:pt x="84" y="5"/>
                  <a:pt x="82" y="6"/>
                </a:cubicBezTo>
                <a:cubicBezTo>
                  <a:pt x="9" y="80"/>
                  <a:pt x="9" y="80"/>
                  <a:pt x="9" y="80"/>
                </a:cubicBezTo>
                <a:cubicBezTo>
                  <a:pt x="82" y="153"/>
                  <a:pt x="82" y="153"/>
                  <a:pt x="82" y="153"/>
                </a:cubicBezTo>
                <a:cubicBezTo>
                  <a:pt x="84" y="155"/>
                  <a:pt x="84" y="157"/>
                  <a:pt x="82" y="158"/>
                </a:cubicBezTo>
                <a:cubicBezTo>
                  <a:pt x="82" y="159"/>
                  <a:pt x="81" y="159"/>
                  <a:pt x="80" y="15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78" name="Shape14_20200717_154412">
            <a:extLst>
              <a:ext uri="{FF2B5EF4-FFF2-40B4-BE49-F238E27FC236}">
                <a16:creationId xmlns:a16="http://schemas.microsoft.com/office/drawing/2014/main" id="{89C6C6A0-40E8-7C2E-4193-5600B261DDAB}"/>
              </a:ext>
            </a:extLst>
          </p:cNvPr>
          <p:cNvSpPr>
            <a:spLocks/>
          </p:cNvSpPr>
          <p:nvPr/>
        </p:nvSpPr>
        <p:spPr bwMode="auto">
          <a:xfrm>
            <a:off x="11217523" y="2653795"/>
            <a:ext cx="201404" cy="383624"/>
          </a:xfrm>
          <a:custGeom>
            <a:avLst/>
            <a:gdLst>
              <a:gd name="T0" fmla="*/ 4 w 84"/>
              <a:gd name="T1" fmla="*/ 159 h 159"/>
              <a:gd name="T2" fmla="*/ 1 w 84"/>
              <a:gd name="T3" fmla="*/ 158 h 159"/>
              <a:gd name="T4" fmla="*/ 1 w 84"/>
              <a:gd name="T5" fmla="*/ 153 h 159"/>
              <a:gd name="T6" fmla="*/ 75 w 84"/>
              <a:gd name="T7" fmla="*/ 80 h 159"/>
              <a:gd name="T8" fmla="*/ 1 w 84"/>
              <a:gd name="T9" fmla="*/ 6 h 159"/>
              <a:gd name="T10" fmla="*/ 1 w 84"/>
              <a:gd name="T11" fmla="*/ 1 h 159"/>
              <a:gd name="T12" fmla="*/ 7 w 84"/>
              <a:gd name="T13" fmla="*/ 1 h 159"/>
              <a:gd name="T14" fmla="*/ 82 w 84"/>
              <a:gd name="T15" fmla="*/ 77 h 159"/>
              <a:gd name="T16" fmla="*/ 84 w 84"/>
              <a:gd name="T17" fmla="*/ 80 h 159"/>
              <a:gd name="T18" fmla="*/ 82 w 84"/>
              <a:gd name="T19" fmla="*/ 82 h 159"/>
              <a:gd name="T20" fmla="*/ 7 w 84"/>
              <a:gd name="T21" fmla="*/ 158 h 159"/>
              <a:gd name="T22" fmla="*/ 4 w 84"/>
              <a:gd name="T23" fmla="*/ 159 h 1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84" h="159">
                <a:moveTo>
                  <a:pt x="4" y="159"/>
                </a:moveTo>
                <a:cubicBezTo>
                  <a:pt x="3" y="159"/>
                  <a:pt x="2" y="159"/>
                  <a:pt x="1" y="158"/>
                </a:cubicBezTo>
                <a:cubicBezTo>
                  <a:pt x="0" y="157"/>
                  <a:pt x="0" y="155"/>
                  <a:pt x="1" y="153"/>
                </a:cubicBezTo>
                <a:cubicBezTo>
                  <a:pt x="75" y="80"/>
                  <a:pt x="75" y="80"/>
                  <a:pt x="75" y="80"/>
                </a:cubicBezTo>
                <a:cubicBezTo>
                  <a:pt x="1" y="6"/>
                  <a:pt x="1" y="6"/>
                  <a:pt x="1" y="6"/>
                </a:cubicBezTo>
                <a:cubicBezTo>
                  <a:pt x="0" y="5"/>
                  <a:pt x="0" y="3"/>
                  <a:pt x="1" y="1"/>
                </a:cubicBezTo>
                <a:cubicBezTo>
                  <a:pt x="3" y="0"/>
                  <a:pt x="5" y="0"/>
                  <a:pt x="7" y="1"/>
                </a:cubicBezTo>
                <a:cubicBezTo>
                  <a:pt x="82" y="77"/>
                  <a:pt x="82" y="77"/>
                  <a:pt x="82" y="77"/>
                </a:cubicBezTo>
                <a:cubicBezTo>
                  <a:pt x="83" y="78"/>
                  <a:pt x="84" y="79"/>
                  <a:pt x="84" y="80"/>
                </a:cubicBezTo>
                <a:cubicBezTo>
                  <a:pt x="84" y="81"/>
                  <a:pt x="83" y="82"/>
                  <a:pt x="82" y="82"/>
                </a:cubicBezTo>
                <a:cubicBezTo>
                  <a:pt x="7" y="158"/>
                  <a:pt x="7" y="158"/>
                  <a:pt x="7" y="158"/>
                </a:cubicBezTo>
                <a:cubicBezTo>
                  <a:pt x="6" y="159"/>
                  <a:pt x="5" y="159"/>
                  <a:pt x="4" y="15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grpSp>
        <p:nvGrpSpPr>
          <p:cNvPr id="79" name="Shape15_20200717_154412">
            <a:extLst>
              <a:ext uri="{FF2B5EF4-FFF2-40B4-BE49-F238E27FC236}">
                <a16:creationId xmlns:a16="http://schemas.microsoft.com/office/drawing/2014/main" id="{682F00D9-8BA7-ECD7-04E6-B270FC7ED91C}"/>
              </a:ext>
            </a:extLst>
          </p:cNvPr>
          <p:cNvGrpSpPr/>
          <p:nvPr/>
        </p:nvGrpSpPr>
        <p:grpSpPr>
          <a:xfrm>
            <a:off x="3318649" y="1324514"/>
            <a:ext cx="332475" cy="543466"/>
            <a:chOff x="-3780937" y="1076960"/>
            <a:chExt cx="294360" cy="481163"/>
          </a:xfrm>
          <a:solidFill>
            <a:schemeClr val="accent1"/>
          </a:solidFill>
        </p:grpSpPr>
        <p:sp>
          <p:nvSpPr>
            <p:cNvPr id="80" name="Freeform 167">
              <a:extLst>
                <a:ext uri="{FF2B5EF4-FFF2-40B4-BE49-F238E27FC236}">
                  <a16:creationId xmlns:a16="http://schemas.microsoft.com/office/drawing/2014/main" id="{A731C901-0FAE-E353-52A3-F4BD869C3380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42247" y="1076960"/>
              <a:ext cx="16982" cy="481163"/>
            </a:xfrm>
            <a:custGeom>
              <a:avLst/>
              <a:gdLst>
                <a:gd name="T0" fmla="*/ 4 w 7"/>
                <a:gd name="T1" fmla="*/ 225 h 225"/>
                <a:gd name="T2" fmla="*/ 0 w 7"/>
                <a:gd name="T3" fmla="*/ 221 h 225"/>
                <a:gd name="T4" fmla="*/ 0 w 7"/>
                <a:gd name="T5" fmla="*/ 4 h 225"/>
                <a:gd name="T6" fmla="*/ 4 w 7"/>
                <a:gd name="T7" fmla="*/ 0 h 225"/>
                <a:gd name="T8" fmla="*/ 7 w 7"/>
                <a:gd name="T9" fmla="*/ 4 h 225"/>
                <a:gd name="T10" fmla="*/ 7 w 7"/>
                <a:gd name="T11" fmla="*/ 221 h 225"/>
                <a:gd name="T12" fmla="*/ 4 w 7"/>
                <a:gd name="T13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225">
                  <a:moveTo>
                    <a:pt x="4" y="225"/>
                  </a:moveTo>
                  <a:cubicBezTo>
                    <a:pt x="2" y="225"/>
                    <a:pt x="0" y="223"/>
                    <a:pt x="0" y="22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7" y="2"/>
                    <a:pt x="7" y="4"/>
                  </a:cubicBezTo>
                  <a:cubicBezTo>
                    <a:pt x="7" y="221"/>
                    <a:pt x="7" y="221"/>
                    <a:pt x="7" y="221"/>
                  </a:cubicBezTo>
                  <a:cubicBezTo>
                    <a:pt x="7" y="223"/>
                    <a:pt x="6" y="225"/>
                    <a:pt x="4" y="22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1" name="Freeform 168">
              <a:extLst>
                <a:ext uri="{FF2B5EF4-FFF2-40B4-BE49-F238E27FC236}">
                  <a16:creationId xmlns:a16="http://schemas.microsoft.com/office/drawing/2014/main" id="{8186AA55-63C9-7B05-5C90-E6D802B7D097}"/>
                </a:ext>
              </a:extLst>
            </p:cNvPr>
            <p:cNvSpPr>
              <a:spLocks/>
            </p:cNvSpPr>
            <p:nvPr/>
          </p:nvSpPr>
          <p:spPr bwMode="auto">
            <a:xfrm>
              <a:off x="-3780937" y="1076960"/>
              <a:ext cx="294360" cy="155671"/>
            </a:xfrm>
            <a:custGeom>
              <a:avLst/>
              <a:gdLst>
                <a:gd name="T0" fmla="*/ 4 w 138"/>
                <a:gd name="T1" fmla="*/ 73 h 73"/>
                <a:gd name="T2" fmla="*/ 1 w 138"/>
                <a:gd name="T3" fmla="*/ 72 h 73"/>
                <a:gd name="T4" fmla="*/ 1 w 138"/>
                <a:gd name="T5" fmla="*/ 66 h 73"/>
                <a:gd name="T6" fmla="*/ 66 w 138"/>
                <a:gd name="T7" fmla="*/ 2 h 73"/>
                <a:gd name="T8" fmla="*/ 69 w 138"/>
                <a:gd name="T9" fmla="*/ 0 h 73"/>
                <a:gd name="T10" fmla="*/ 69 w 138"/>
                <a:gd name="T11" fmla="*/ 0 h 73"/>
                <a:gd name="T12" fmla="*/ 71 w 138"/>
                <a:gd name="T13" fmla="*/ 2 h 73"/>
                <a:gd name="T14" fmla="*/ 136 w 138"/>
                <a:gd name="T15" fmla="*/ 66 h 73"/>
                <a:gd name="T16" fmla="*/ 136 w 138"/>
                <a:gd name="T17" fmla="*/ 72 h 73"/>
                <a:gd name="T18" fmla="*/ 131 w 138"/>
                <a:gd name="T19" fmla="*/ 72 h 73"/>
                <a:gd name="T20" fmla="*/ 69 w 138"/>
                <a:gd name="T21" fmla="*/ 9 h 73"/>
                <a:gd name="T22" fmla="*/ 6 w 138"/>
                <a:gd name="T23" fmla="*/ 72 h 73"/>
                <a:gd name="T24" fmla="*/ 4 w 138"/>
                <a:gd name="T25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8" h="73">
                  <a:moveTo>
                    <a:pt x="4" y="73"/>
                  </a:moveTo>
                  <a:cubicBezTo>
                    <a:pt x="3" y="73"/>
                    <a:pt x="2" y="72"/>
                    <a:pt x="1" y="72"/>
                  </a:cubicBezTo>
                  <a:cubicBezTo>
                    <a:pt x="0" y="70"/>
                    <a:pt x="0" y="68"/>
                    <a:pt x="1" y="66"/>
                  </a:cubicBezTo>
                  <a:cubicBezTo>
                    <a:pt x="66" y="2"/>
                    <a:pt x="66" y="2"/>
                    <a:pt x="66" y="2"/>
                  </a:cubicBezTo>
                  <a:cubicBezTo>
                    <a:pt x="67" y="1"/>
                    <a:pt x="68" y="0"/>
                    <a:pt x="69" y="0"/>
                  </a:cubicBezTo>
                  <a:cubicBezTo>
                    <a:pt x="69" y="0"/>
                    <a:pt x="69" y="0"/>
                    <a:pt x="69" y="0"/>
                  </a:cubicBezTo>
                  <a:cubicBezTo>
                    <a:pt x="70" y="0"/>
                    <a:pt x="71" y="1"/>
                    <a:pt x="71" y="2"/>
                  </a:cubicBezTo>
                  <a:cubicBezTo>
                    <a:pt x="136" y="66"/>
                    <a:pt x="136" y="66"/>
                    <a:pt x="136" y="66"/>
                  </a:cubicBezTo>
                  <a:cubicBezTo>
                    <a:pt x="138" y="68"/>
                    <a:pt x="138" y="70"/>
                    <a:pt x="136" y="72"/>
                  </a:cubicBezTo>
                  <a:cubicBezTo>
                    <a:pt x="135" y="73"/>
                    <a:pt x="133" y="73"/>
                    <a:pt x="131" y="72"/>
                  </a:cubicBezTo>
                  <a:cubicBezTo>
                    <a:pt x="69" y="9"/>
                    <a:pt x="69" y="9"/>
                    <a:pt x="69" y="9"/>
                  </a:cubicBezTo>
                  <a:cubicBezTo>
                    <a:pt x="6" y="72"/>
                    <a:pt x="6" y="72"/>
                    <a:pt x="6" y="72"/>
                  </a:cubicBezTo>
                  <a:cubicBezTo>
                    <a:pt x="6" y="72"/>
                    <a:pt x="5" y="73"/>
                    <a:pt x="4" y="7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82" name="Shape0_20200717_154412">
            <a:extLst>
              <a:ext uri="{FF2B5EF4-FFF2-40B4-BE49-F238E27FC236}">
                <a16:creationId xmlns:a16="http://schemas.microsoft.com/office/drawing/2014/main" id="{C42EE382-4F7A-F786-3469-2A12AC1A145D}"/>
              </a:ext>
            </a:extLst>
          </p:cNvPr>
          <p:cNvGrpSpPr/>
          <p:nvPr/>
        </p:nvGrpSpPr>
        <p:grpSpPr>
          <a:xfrm>
            <a:off x="4624205" y="1324514"/>
            <a:ext cx="332475" cy="543469"/>
            <a:chOff x="-2798794" y="1076960"/>
            <a:chExt cx="294360" cy="481165"/>
          </a:xfrm>
          <a:solidFill>
            <a:schemeClr val="accent1"/>
          </a:solidFill>
        </p:grpSpPr>
        <p:sp>
          <p:nvSpPr>
            <p:cNvPr id="83" name="Freeform 169">
              <a:extLst>
                <a:ext uri="{FF2B5EF4-FFF2-40B4-BE49-F238E27FC236}">
                  <a16:creationId xmlns:a16="http://schemas.microsoft.com/office/drawing/2014/main" id="{A89DCF64-850E-8029-D74B-F8F151FC1F7B}"/>
                </a:ext>
              </a:extLst>
            </p:cNvPr>
            <p:cNvSpPr>
              <a:spLocks/>
            </p:cNvSpPr>
            <p:nvPr/>
          </p:nvSpPr>
          <p:spPr bwMode="auto">
            <a:xfrm>
              <a:off x="-2660106" y="1076960"/>
              <a:ext cx="16982" cy="481163"/>
            </a:xfrm>
            <a:custGeom>
              <a:avLst/>
              <a:gdLst>
                <a:gd name="T0" fmla="*/ 4 w 8"/>
                <a:gd name="T1" fmla="*/ 225 h 225"/>
                <a:gd name="T2" fmla="*/ 0 w 8"/>
                <a:gd name="T3" fmla="*/ 221 h 225"/>
                <a:gd name="T4" fmla="*/ 0 w 8"/>
                <a:gd name="T5" fmla="*/ 4 h 225"/>
                <a:gd name="T6" fmla="*/ 4 w 8"/>
                <a:gd name="T7" fmla="*/ 0 h 225"/>
                <a:gd name="T8" fmla="*/ 8 w 8"/>
                <a:gd name="T9" fmla="*/ 4 h 225"/>
                <a:gd name="T10" fmla="*/ 8 w 8"/>
                <a:gd name="T11" fmla="*/ 221 h 225"/>
                <a:gd name="T12" fmla="*/ 4 w 8"/>
                <a:gd name="T13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225">
                  <a:moveTo>
                    <a:pt x="4" y="225"/>
                  </a:moveTo>
                  <a:cubicBezTo>
                    <a:pt x="2" y="225"/>
                    <a:pt x="0" y="223"/>
                    <a:pt x="0" y="22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221"/>
                    <a:pt x="8" y="221"/>
                    <a:pt x="8" y="221"/>
                  </a:cubicBezTo>
                  <a:cubicBezTo>
                    <a:pt x="8" y="223"/>
                    <a:pt x="6" y="225"/>
                    <a:pt x="4" y="22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4" name="Freeform 170">
              <a:extLst>
                <a:ext uri="{FF2B5EF4-FFF2-40B4-BE49-F238E27FC236}">
                  <a16:creationId xmlns:a16="http://schemas.microsoft.com/office/drawing/2014/main" id="{DFF9C989-1ECA-BCB8-0FDF-9DA78433DDF9}"/>
                </a:ext>
              </a:extLst>
            </p:cNvPr>
            <p:cNvSpPr>
              <a:spLocks/>
            </p:cNvSpPr>
            <p:nvPr/>
          </p:nvSpPr>
          <p:spPr bwMode="auto">
            <a:xfrm>
              <a:off x="-2798794" y="1402454"/>
              <a:ext cx="294360" cy="155671"/>
            </a:xfrm>
            <a:custGeom>
              <a:avLst/>
              <a:gdLst>
                <a:gd name="T0" fmla="*/ 69 w 138"/>
                <a:gd name="T1" fmla="*/ 73 h 73"/>
                <a:gd name="T2" fmla="*/ 66 w 138"/>
                <a:gd name="T3" fmla="*/ 72 h 73"/>
                <a:gd name="T4" fmla="*/ 1 w 138"/>
                <a:gd name="T5" fmla="*/ 7 h 73"/>
                <a:gd name="T6" fmla="*/ 1 w 138"/>
                <a:gd name="T7" fmla="*/ 2 h 73"/>
                <a:gd name="T8" fmla="*/ 6 w 138"/>
                <a:gd name="T9" fmla="*/ 2 h 73"/>
                <a:gd name="T10" fmla="*/ 69 w 138"/>
                <a:gd name="T11" fmla="*/ 64 h 73"/>
                <a:gd name="T12" fmla="*/ 131 w 138"/>
                <a:gd name="T13" fmla="*/ 2 h 73"/>
                <a:gd name="T14" fmla="*/ 136 w 138"/>
                <a:gd name="T15" fmla="*/ 2 h 73"/>
                <a:gd name="T16" fmla="*/ 136 w 138"/>
                <a:gd name="T17" fmla="*/ 7 h 73"/>
                <a:gd name="T18" fmla="*/ 71 w 138"/>
                <a:gd name="T19" fmla="*/ 72 h 73"/>
                <a:gd name="T20" fmla="*/ 69 w 138"/>
                <a:gd name="T21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8" h="73">
                  <a:moveTo>
                    <a:pt x="69" y="73"/>
                  </a:moveTo>
                  <a:cubicBezTo>
                    <a:pt x="68" y="73"/>
                    <a:pt x="67" y="72"/>
                    <a:pt x="66" y="72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5"/>
                    <a:pt x="0" y="3"/>
                    <a:pt x="1" y="2"/>
                  </a:cubicBezTo>
                  <a:cubicBezTo>
                    <a:pt x="3" y="0"/>
                    <a:pt x="5" y="0"/>
                    <a:pt x="6" y="2"/>
                  </a:cubicBezTo>
                  <a:cubicBezTo>
                    <a:pt x="69" y="64"/>
                    <a:pt x="69" y="64"/>
                    <a:pt x="69" y="64"/>
                  </a:cubicBezTo>
                  <a:cubicBezTo>
                    <a:pt x="131" y="2"/>
                    <a:pt x="131" y="2"/>
                    <a:pt x="131" y="2"/>
                  </a:cubicBezTo>
                  <a:cubicBezTo>
                    <a:pt x="133" y="0"/>
                    <a:pt x="135" y="0"/>
                    <a:pt x="136" y="2"/>
                  </a:cubicBezTo>
                  <a:cubicBezTo>
                    <a:pt x="138" y="3"/>
                    <a:pt x="138" y="5"/>
                    <a:pt x="136" y="7"/>
                  </a:cubicBezTo>
                  <a:cubicBezTo>
                    <a:pt x="71" y="72"/>
                    <a:pt x="71" y="72"/>
                    <a:pt x="71" y="72"/>
                  </a:cubicBezTo>
                  <a:cubicBezTo>
                    <a:pt x="71" y="72"/>
                    <a:pt x="70" y="73"/>
                    <a:pt x="69" y="7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85" name="Shape16_20200717_154412">
            <a:extLst>
              <a:ext uri="{FF2B5EF4-FFF2-40B4-BE49-F238E27FC236}">
                <a16:creationId xmlns:a16="http://schemas.microsoft.com/office/drawing/2014/main" id="{DA458E72-8709-08CE-2FF3-6C19C15EB157}"/>
              </a:ext>
            </a:extLst>
          </p:cNvPr>
          <p:cNvGrpSpPr/>
          <p:nvPr/>
        </p:nvGrpSpPr>
        <p:grpSpPr>
          <a:xfrm>
            <a:off x="5900989" y="1392443"/>
            <a:ext cx="390018" cy="390017"/>
            <a:chOff x="-1842128" y="1144889"/>
            <a:chExt cx="345306" cy="345305"/>
          </a:xfrm>
          <a:solidFill>
            <a:schemeClr val="accent1"/>
          </a:solidFill>
        </p:grpSpPr>
        <p:sp>
          <p:nvSpPr>
            <p:cNvPr id="86" name="Freeform 171">
              <a:extLst>
                <a:ext uri="{FF2B5EF4-FFF2-40B4-BE49-F238E27FC236}">
                  <a16:creationId xmlns:a16="http://schemas.microsoft.com/office/drawing/2014/main" id="{D325BBD6-5B74-5201-E2C5-7A617B7A7AAA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42128" y="1144889"/>
              <a:ext cx="345306" cy="345305"/>
            </a:xfrm>
            <a:custGeom>
              <a:avLst/>
              <a:gdLst>
                <a:gd name="T0" fmla="*/ 158 w 162"/>
                <a:gd name="T1" fmla="*/ 161 h 161"/>
                <a:gd name="T2" fmla="*/ 155 w 162"/>
                <a:gd name="T3" fmla="*/ 160 h 161"/>
                <a:gd name="T4" fmla="*/ 2 w 162"/>
                <a:gd name="T5" fmla="*/ 6 h 161"/>
                <a:gd name="T6" fmla="*/ 2 w 162"/>
                <a:gd name="T7" fmla="*/ 1 h 161"/>
                <a:gd name="T8" fmla="*/ 7 w 162"/>
                <a:gd name="T9" fmla="*/ 1 h 161"/>
                <a:gd name="T10" fmla="*/ 160 w 162"/>
                <a:gd name="T11" fmla="*/ 155 h 161"/>
                <a:gd name="T12" fmla="*/ 160 w 162"/>
                <a:gd name="T13" fmla="*/ 160 h 161"/>
                <a:gd name="T14" fmla="*/ 158 w 162"/>
                <a:gd name="T15" fmla="*/ 161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2" h="161">
                  <a:moveTo>
                    <a:pt x="158" y="161"/>
                  </a:moveTo>
                  <a:cubicBezTo>
                    <a:pt x="157" y="161"/>
                    <a:pt x="156" y="161"/>
                    <a:pt x="155" y="160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0" y="5"/>
                    <a:pt x="0" y="3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ubicBezTo>
                    <a:pt x="160" y="155"/>
                    <a:pt x="160" y="155"/>
                    <a:pt x="160" y="155"/>
                  </a:cubicBezTo>
                  <a:cubicBezTo>
                    <a:pt x="162" y="156"/>
                    <a:pt x="162" y="159"/>
                    <a:pt x="160" y="160"/>
                  </a:cubicBezTo>
                  <a:cubicBezTo>
                    <a:pt x="160" y="161"/>
                    <a:pt x="159" y="161"/>
                    <a:pt x="158" y="16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7" name="Freeform 172">
              <a:extLst>
                <a:ext uri="{FF2B5EF4-FFF2-40B4-BE49-F238E27FC236}">
                  <a16:creationId xmlns:a16="http://schemas.microsoft.com/office/drawing/2014/main" id="{6CF3F4DC-F014-E6D5-9910-6D04ACC1264F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42128" y="1144889"/>
              <a:ext cx="212279" cy="212279"/>
            </a:xfrm>
            <a:custGeom>
              <a:avLst/>
              <a:gdLst>
                <a:gd name="T0" fmla="*/ 3 w 99"/>
                <a:gd name="T1" fmla="*/ 99 h 99"/>
                <a:gd name="T2" fmla="*/ 0 w 99"/>
                <a:gd name="T3" fmla="*/ 96 h 99"/>
                <a:gd name="T4" fmla="*/ 0 w 99"/>
                <a:gd name="T5" fmla="*/ 4 h 99"/>
                <a:gd name="T6" fmla="*/ 3 w 99"/>
                <a:gd name="T7" fmla="*/ 0 h 99"/>
                <a:gd name="T8" fmla="*/ 95 w 99"/>
                <a:gd name="T9" fmla="*/ 0 h 99"/>
                <a:gd name="T10" fmla="*/ 99 w 99"/>
                <a:gd name="T11" fmla="*/ 4 h 99"/>
                <a:gd name="T12" fmla="*/ 95 w 99"/>
                <a:gd name="T13" fmla="*/ 7 h 99"/>
                <a:gd name="T14" fmla="*/ 7 w 99"/>
                <a:gd name="T15" fmla="*/ 7 h 99"/>
                <a:gd name="T16" fmla="*/ 7 w 99"/>
                <a:gd name="T17" fmla="*/ 96 h 99"/>
                <a:gd name="T18" fmla="*/ 3 w 99"/>
                <a:gd name="T19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9" h="99">
                  <a:moveTo>
                    <a:pt x="3" y="99"/>
                  </a:moveTo>
                  <a:cubicBezTo>
                    <a:pt x="1" y="99"/>
                    <a:pt x="0" y="98"/>
                    <a:pt x="0" y="9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97" y="0"/>
                    <a:pt x="99" y="2"/>
                    <a:pt x="99" y="4"/>
                  </a:cubicBezTo>
                  <a:cubicBezTo>
                    <a:pt x="99" y="6"/>
                    <a:pt x="97" y="7"/>
                    <a:pt x="95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96"/>
                    <a:pt x="7" y="96"/>
                    <a:pt x="7" y="96"/>
                  </a:cubicBezTo>
                  <a:cubicBezTo>
                    <a:pt x="7" y="98"/>
                    <a:pt x="5" y="99"/>
                    <a:pt x="3" y="9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88" name="Shape17_20200717_154412">
            <a:extLst>
              <a:ext uri="{FF2B5EF4-FFF2-40B4-BE49-F238E27FC236}">
                <a16:creationId xmlns:a16="http://schemas.microsoft.com/office/drawing/2014/main" id="{5A49095B-D603-A0D3-9048-7397EF96EADA}"/>
              </a:ext>
            </a:extLst>
          </p:cNvPr>
          <p:cNvGrpSpPr/>
          <p:nvPr/>
        </p:nvGrpSpPr>
        <p:grpSpPr>
          <a:xfrm>
            <a:off x="7204947" y="1392443"/>
            <a:ext cx="393217" cy="390019"/>
            <a:chOff x="-862818" y="1144889"/>
            <a:chExt cx="348138" cy="345307"/>
          </a:xfrm>
          <a:solidFill>
            <a:schemeClr val="accent1"/>
          </a:solidFill>
        </p:grpSpPr>
        <p:sp>
          <p:nvSpPr>
            <p:cNvPr id="89" name="Freeform 173">
              <a:extLst>
                <a:ext uri="{FF2B5EF4-FFF2-40B4-BE49-F238E27FC236}">
                  <a16:creationId xmlns:a16="http://schemas.microsoft.com/office/drawing/2014/main" id="{D17931DE-F2B8-1BDB-6512-C6CB6D62B13E}"/>
                </a:ext>
              </a:extLst>
            </p:cNvPr>
            <p:cNvSpPr>
              <a:spLocks/>
            </p:cNvSpPr>
            <p:nvPr/>
          </p:nvSpPr>
          <p:spPr bwMode="auto">
            <a:xfrm>
              <a:off x="-862818" y="1144889"/>
              <a:ext cx="348138" cy="345305"/>
            </a:xfrm>
            <a:custGeom>
              <a:avLst/>
              <a:gdLst>
                <a:gd name="T0" fmla="*/ 158 w 162"/>
                <a:gd name="T1" fmla="*/ 161 h 161"/>
                <a:gd name="T2" fmla="*/ 155 w 162"/>
                <a:gd name="T3" fmla="*/ 160 h 161"/>
                <a:gd name="T4" fmla="*/ 2 w 162"/>
                <a:gd name="T5" fmla="*/ 6 h 161"/>
                <a:gd name="T6" fmla="*/ 2 w 162"/>
                <a:gd name="T7" fmla="*/ 1 h 161"/>
                <a:gd name="T8" fmla="*/ 7 w 162"/>
                <a:gd name="T9" fmla="*/ 1 h 161"/>
                <a:gd name="T10" fmla="*/ 160 w 162"/>
                <a:gd name="T11" fmla="*/ 155 h 161"/>
                <a:gd name="T12" fmla="*/ 160 w 162"/>
                <a:gd name="T13" fmla="*/ 160 h 161"/>
                <a:gd name="T14" fmla="*/ 158 w 162"/>
                <a:gd name="T15" fmla="*/ 161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2" h="161">
                  <a:moveTo>
                    <a:pt x="158" y="161"/>
                  </a:moveTo>
                  <a:cubicBezTo>
                    <a:pt x="157" y="161"/>
                    <a:pt x="156" y="161"/>
                    <a:pt x="155" y="160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0" y="5"/>
                    <a:pt x="0" y="3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ubicBezTo>
                    <a:pt x="160" y="155"/>
                    <a:pt x="160" y="155"/>
                    <a:pt x="160" y="155"/>
                  </a:cubicBezTo>
                  <a:cubicBezTo>
                    <a:pt x="162" y="156"/>
                    <a:pt x="162" y="159"/>
                    <a:pt x="160" y="160"/>
                  </a:cubicBezTo>
                  <a:cubicBezTo>
                    <a:pt x="160" y="161"/>
                    <a:pt x="159" y="161"/>
                    <a:pt x="158" y="16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0" name="Freeform 174">
              <a:extLst>
                <a:ext uri="{FF2B5EF4-FFF2-40B4-BE49-F238E27FC236}">
                  <a16:creationId xmlns:a16="http://schemas.microsoft.com/office/drawing/2014/main" id="{8603C6B5-21BA-EA83-ECD2-AC782DA47F34}"/>
                </a:ext>
              </a:extLst>
            </p:cNvPr>
            <p:cNvSpPr>
              <a:spLocks/>
            </p:cNvSpPr>
            <p:nvPr/>
          </p:nvSpPr>
          <p:spPr bwMode="auto">
            <a:xfrm>
              <a:off x="-729789" y="1277917"/>
              <a:ext cx="212279" cy="212279"/>
            </a:xfrm>
            <a:custGeom>
              <a:avLst/>
              <a:gdLst>
                <a:gd name="T0" fmla="*/ 96 w 99"/>
                <a:gd name="T1" fmla="*/ 99 h 99"/>
                <a:gd name="T2" fmla="*/ 4 w 99"/>
                <a:gd name="T3" fmla="*/ 99 h 99"/>
                <a:gd name="T4" fmla="*/ 0 w 99"/>
                <a:gd name="T5" fmla="*/ 95 h 99"/>
                <a:gd name="T6" fmla="*/ 4 w 99"/>
                <a:gd name="T7" fmla="*/ 92 h 99"/>
                <a:gd name="T8" fmla="*/ 92 w 99"/>
                <a:gd name="T9" fmla="*/ 92 h 99"/>
                <a:gd name="T10" fmla="*/ 92 w 99"/>
                <a:gd name="T11" fmla="*/ 3 h 99"/>
                <a:gd name="T12" fmla="*/ 96 w 99"/>
                <a:gd name="T13" fmla="*/ 0 h 99"/>
                <a:gd name="T14" fmla="*/ 99 w 99"/>
                <a:gd name="T15" fmla="*/ 3 h 99"/>
                <a:gd name="T16" fmla="*/ 99 w 99"/>
                <a:gd name="T17" fmla="*/ 95 h 99"/>
                <a:gd name="T18" fmla="*/ 96 w 99"/>
                <a:gd name="T19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9" h="99">
                  <a:moveTo>
                    <a:pt x="96" y="99"/>
                  </a:moveTo>
                  <a:cubicBezTo>
                    <a:pt x="4" y="99"/>
                    <a:pt x="4" y="99"/>
                    <a:pt x="4" y="99"/>
                  </a:cubicBezTo>
                  <a:cubicBezTo>
                    <a:pt x="2" y="99"/>
                    <a:pt x="0" y="97"/>
                    <a:pt x="0" y="95"/>
                  </a:cubicBezTo>
                  <a:cubicBezTo>
                    <a:pt x="0" y="93"/>
                    <a:pt x="2" y="92"/>
                    <a:pt x="4" y="92"/>
                  </a:cubicBezTo>
                  <a:cubicBezTo>
                    <a:pt x="92" y="92"/>
                    <a:pt x="92" y="92"/>
                    <a:pt x="92" y="92"/>
                  </a:cubicBezTo>
                  <a:cubicBezTo>
                    <a:pt x="92" y="3"/>
                    <a:pt x="92" y="3"/>
                    <a:pt x="92" y="3"/>
                  </a:cubicBezTo>
                  <a:cubicBezTo>
                    <a:pt x="92" y="1"/>
                    <a:pt x="94" y="0"/>
                    <a:pt x="96" y="0"/>
                  </a:cubicBezTo>
                  <a:cubicBezTo>
                    <a:pt x="98" y="0"/>
                    <a:pt x="99" y="1"/>
                    <a:pt x="99" y="3"/>
                  </a:cubicBezTo>
                  <a:cubicBezTo>
                    <a:pt x="99" y="95"/>
                    <a:pt x="99" y="95"/>
                    <a:pt x="99" y="95"/>
                  </a:cubicBezTo>
                  <a:cubicBezTo>
                    <a:pt x="99" y="97"/>
                    <a:pt x="98" y="99"/>
                    <a:pt x="96" y="9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91" name="Shape18_20200717_154412">
            <a:extLst>
              <a:ext uri="{FF2B5EF4-FFF2-40B4-BE49-F238E27FC236}">
                <a16:creationId xmlns:a16="http://schemas.microsoft.com/office/drawing/2014/main" id="{C0ABA03D-3645-8EAE-B482-BBF9D4932925}"/>
              </a:ext>
            </a:extLst>
          </p:cNvPr>
          <p:cNvGrpSpPr/>
          <p:nvPr/>
        </p:nvGrpSpPr>
        <p:grpSpPr>
          <a:xfrm>
            <a:off x="531709" y="3797087"/>
            <a:ext cx="684130" cy="687329"/>
            <a:chOff x="-5898061" y="4201695"/>
            <a:chExt cx="605701" cy="608533"/>
          </a:xfrm>
          <a:solidFill>
            <a:schemeClr val="accent1"/>
          </a:solidFill>
        </p:grpSpPr>
        <p:sp>
          <p:nvSpPr>
            <p:cNvPr id="92" name="Freeform 175">
              <a:extLst>
                <a:ext uri="{FF2B5EF4-FFF2-40B4-BE49-F238E27FC236}">
                  <a16:creationId xmlns:a16="http://schemas.microsoft.com/office/drawing/2014/main" id="{8B178063-F5F4-421B-E2F1-269C064C9732}"/>
                </a:ext>
              </a:extLst>
            </p:cNvPr>
            <p:cNvSpPr>
              <a:spLocks/>
            </p:cNvSpPr>
            <p:nvPr/>
          </p:nvSpPr>
          <p:spPr bwMode="auto">
            <a:xfrm>
              <a:off x="-5762203" y="4498885"/>
              <a:ext cx="333985" cy="14153"/>
            </a:xfrm>
            <a:custGeom>
              <a:avLst/>
              <a:gdLst>
                <a:gd name="T0" fmla="*/ 152 w 156"/>
                <a:gd name="T1" fmla="*/ 7 h 7"/>
                <a:gd name="T2" fmla="*/ 3 w 156"/>
                <a:gd name="T3" fmla="*/ 7 h 7"/>
                <a:gd name="T4" fmla="*/ 0 w 156"/>
                <a:gd name="T5" fmla="*/ 3 h 7"/>
                <a:gd name="T6" fmla="*/ 3 w 156"/>
                <a:gd name="T7" fmla="*/ 0 h 7"/>
                <a:gd name="T8" fmla="*/ 152 w 156"/>
                <a:gd name="T9" fmla="*/ 0 h 7"/>
                <a:gd name="T10" fmla="*/ 156 w 156"/>
                <a:gd name="T11" fmla="*/ 3 h 7"/>
                <a:gd name="T12" fmla="*/ 152 w 156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6" h="7">
                  <a:moveTo>
                    <a:pt x="152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154" y="0"/>
                    <a:pt x="156" y="1"/>
                    <a:pt x="156" y="3"/>
                  </a:cubicBezTo>
                  <a:cubicBezTo>
                    <a:pt x="156" y="5"/>
                    <a:pt x="154" y="7"/>
                    <a:pt x="152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3" name="Freeform 176">
              <a:extLst>
                <a:ext uri="{FF2B5EF4-FFF2-40B4-BE49-F238E27FC236}">
                  <a16:creationId xmlns:a16="http://schemas.microsoft.com/office/drawing/2014/main" id="{864429E5-EE0E-1AB8-7D84-1FB89D64F39A}"/>
                </a:ext>
              </a:extLst>
            </p:cNvPr>
            <p:cNvSpPr>
              <a:spLocks/>
            </p:cNvSpPr>
            <p:nvPr/>
          </p:nvSpPr>
          <p:spPr bwMode="auto">
            <a:xfrm>
              <a:off x="-5765030" y="4402654"/>
              <a:ext cx="113215" cy="203787"/>
            </a:xfrm>
            <a:custGeom>
              <a:avLst/>
              <a:gdLst>
                <a:gd name="T0" fmla="*/ 49 w 53"/>
                <a:gd name="T1" fmla="*/ 96 h 96"/>
                <a:gd name="T2" fmla="*/ 46 w 53"/>
                <a:gd name="T3" fmla="*/ 95 h 96"/>
                <a:gd name="T4" fmla="*/ 2 w 53"/>
                <a:gd name="T5" fmla="*/ 51 h 96"/>
                <a:gd name="T6" fmla="*/ 2 w 53"/>
                <a:gd name="T7" fmla="*/ 46 h 96"/>
                <a:gd name="T8" fmla="*/ 46 w 53"/>
                <a:gd name="T9" fmla="*/ 1 h 96"/>
                <a:gd name="T10" fmla="*/ 51 w 53"/>
                <a:gd name="T11" fmla="*/ 1 h 96"/>
                <a:gd name="T12" fmla="*/ 51 w 53"/>
                <a:gd name="T13" fmla="*/ 6 h 96"/>
                <a:gd name="T14" fmla="*/ 9 w 53"/>
                <a:gd name="T15" fmla="*/ 48 h 96"/>
                <a:gd name="T16" fmla="*/ 51 w 53"/>
                <a:gd name="T17" fmla="*/ 90 h 96"/>
                <a:gd name="T18" fmla="*/ 51 w 53"/>
                <a:gd name="T19" fmla="*/ 95 h 96"/>
                <a:gd name="T20" fmla="*/ 49 w 53"/>
                <a:gd name="T21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3" h="96">
                  <a:moveTo>
                    <a:pt x="49" y="96"/>
                  </a:moveTo>
                  <a:cubicBezTo>
                    <a:pt x="48" y="96"/>
                    <a:pt x="47" y="96"/>
                    <a:pt x="46" y="95"/>
                  </a:cubicBezTo>
                  <a:cubicBezTo>
                    <a:pt x="2" y="51"/>
                    <a:pt x="2" y="51"/>
                    <a:pt x="2" y="51"/>
                  </a:cubicBezTo>
                  <a:cubicBezTo>
                    <a:pt x="0" y="50"/>
                    <a:pt x="0" y="47"/>
                    <a:pt x="2" y="46"/>
                  </a:cubicBezTo>
                  <a:cubicBezTo>
                    <a:pt x="46" y="1"/>
                    <a:pt x="46" y="1"/>
                    <a:pt x="46" y="1"/>
                  </a:cubicBezTo>
                  <a:cubicBezTo>
                    <a:pt x="48" y="0"/>
                    <a:pt x="50" y="0"/>
                    <a:pt x="51" y="1"/>
                  </a:cubicBezTo>
                  <a:cubicBezTo>
                    <a:pt x="53" y="3"/>
                    <a:pt x="53" y="5"/>
                    <a:pt x="51" y="6"/>
                  </a:cubicBezTo>
                  <a:cubicBezTo>
                    <a:pt x="9" y="48"/>
                    <a:pt x="9" y="48"/>
                    <a:pt x="9" y="48"/>
                  </a:cubicBezTo>
                  <a:cubicBezTo>
                    <a:pt x="51" y="90"/>
                    <a:pt x="51" y="90"/>
                    <a:pt x="51" y="90"/>
                  </a:cubicBezTo>
                  <a:cubicBezTo>
                    <a:pt x="53" y="92"/>
                    <a:pt x="53" y="94"/>
                    <a:pt x="51" y="95"/>
                  </a:cubicBezTo>
                  <a:cubicBezTo>
                    <a:pt x="51" y="96"/>
                    <a:pt x="50" y="96"/>
                    <a:pt x="49" y="9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4" name="Freeform 177">
              <a:extLst>
                <a:ext uri="{FF2B5EF4-FFF2-40B4-BE49-F238E27FC236}">
                  <a16:creationId xmlns:a16="http://schemas.microsoft.com/office/drawing/2014/main" id="{13D467EB-FA0A-E7F6-932E-C25DF93703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898061" y="4201695"/>
              <a:ext cx="605701" cy="608533"/>
            </a:xfrm>
            <a:custGeom>
              <a:avLst/>
              <a:gdLst>
                <a:gd name="T0" fmla="*/ 142 w 284"/>
                <a:gd name="T1" fmla="*/ 285 h 285"/>
                <a:gd name="T2" fmla="*/ 0 w 284"/>
                <a:gd name="T3" fmla="*/ 142 h 285"/>
                <a:gd name="T4" fmla="*/ 142 w 284"/>
                <a:gd name="T5" fmla="*/ 0 h 285"/>
                <a:gd name="T6" fmla="*/ 284 w 284"/>
                <a:gd name="T7" fmla="*/ 142 h 285"/>
                <a:gd name="T8" fmla="*/ 142 w 284"/>
                <a:gd name="T9" fmla="*/ 285 h 285"/>
                <a:gd name="T10" fmla="*/ 142 w 284"/>
                <a:gd name="T11" fmla="*/ 7 h 285"/>
                <a:gd name="T12" fmla="*/ 7 w 284"/>
                <a:gd name="T13" fmla="*/ 142 h 285"/>
                <a:gd name="T14" fmla="*/ 142 w 284"/>
                <a:gd name="T15" fmla="*/ 277 h 285"/>
                <a:gd name="T16" fmla="*/ 277 w 284"/>
                <a:gd name="T17" fmla="*/ 142 h 285"/>
                <a:gd name="T18" fmla="*/ 142 w 284"/>
                <a:gd name="T19" fmla="*/ 7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4" h="285">
                  <a:moveTo>
                    <a:pt x="142" y="285"/>
                  </a:moveTo>
                  <a:cubicBezTo>
                    <a:pt x="63" y="285"/>
                    <a:pt x="0" y="221"/>
                    <a:pt x="0" y="142"/>
                  </a:cubicBezTo>
                  <a:cubicBezTo>
                    <a:pt x="0" y="64"/>
                    <a:pt x="63" y="0"/>
                    <a:pt x="142" y="0"/>
                  </a:cubicBezTo>
                  <a:cubicBezTo>
                    <a:pt x="220" y="0"/>
                    <a:pt x="284" y="64"/>
                    <a:pt x="284" y="142"/>
                  </a:cubicBezTo>
                  <a:cubicBezTo>
                    <a:pt x="284" y="221"/>
                    <a:pt x="220" y="285"/>
                    <a:pt x="142" y="285"/>
                  </a:cubicBezTo>
                  <a:close/>
                  <a:moveTo>
                    <a:pt x="142" y="7"/>
                  </a:moveTo>
                  <a:cubicBezTo>
                    <a:pt x="67" y="7"/>
                    <a:pt x="7" y="68"/>
                    <a:pt x="7" y="142"/>
                  </a:cubicBezTo>
                  <a:cubicBezTo>
                    <a:pt x="7" y="217"/>
                    <a:pt x="67" y="277"/>
                    <a:pt x="142" y="277"/>
                  </a:cubicBezTo>
                  <a:cubicBezTo>
                    <a:pt x="216" y="277"/>
                    <a:pt x="277" y="217"/>
                    <a:pt x="277" y="142"/>
                  </a:cubicBezTo>
                  <a:cubicBezTo>
                    <a:pt x="277" y="68"/>
                    <a:pt x="216" y="7"/>
                    <a:pt x="142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95" name="Shape19_20200717_154412">
            <a:extLst>
              <a:ext uri="{FF2B5EF4-FFF2-40B4-BE49-F238E27FC236}">
                <a16:creationId xmlns:a16="http://schemas.microsoft.com/office/drawing/2014/main" id="{5245B7D6-A64B-EC7E-8352-BD36FF73FB62}"/>
              </a:ext>
            </a:extLst>
          </p:cNvPr>
          <p:cNvGrpSpPr/>
          <p:nvPr/>
        </p:nvGrpSpPr>
        <p:grpSpPr>
          <a:xfrm>
            <a:off x="1837265" y="3797087"/>
            <a:ext cx="684130" cy="687329"/>
            <a:chOff x="-4915918" y="4201695"/>
            <a:chExt cx="605701" cy="608533"/>
          </a:xfrm>
          <a:solidFill>
            <a:schemeClr val="accent1"/>
          </a:solidFill>
        </p:grpSpPr>
        <p:sp>
          <p:nvSpPr>
            <p:cNvPr id="96" name="Freeform 178">
              <a:extLst>
                <a:ext uri="{FF2B5EF4-FFF2-40B4-BE49-F238E27FC236}">
                  <a16:creationId xmlns:a16="http://schemas.microsoft.com/office/drawing/2014/main" id="{A9244320-79E4-7C75-5478-01DB28EEB0F3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80060" y="4498885"/>
              <a:ext cx="331155" cy="14153"/>
            </a:xfrm>
            <a:custGeom>
              <a:avLst/>
              <a:gdLst>
                <a:gd name="T0" fmla="*/ 152 w 156"/>
                <a:gd name="T1" fmla="*/ 7 h 7"/>
                <a:gd name="T2" fmla="*/ 3 w 156"/>
                <a:gd name="T3" fmla="*/ 7 h 7"/>
                <a:gd name="T4" fmla="*/ 0 w 156"/>
                <a:gd name="T5" fmla="*/ 3 h 7"/>
                <a:gd name="T6" fmla="*/ 3 w 156"/>
                <a:gd name="T7" fmla="*/ 0 h 7"/>
                <a:gd name="T8" fmla="*/ 152 w 156"/>
                <a:gd name="T9" fmla="*/ 0 h 7"/>
                <a:gd name="T10" fmla="*/ 156 w 156"/>
                <a:gd name="T11" fmla="*/ 3 h 7"/>
                <a:gd name="T12" fmla="*/ 152 w 156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6" h="7">
                  <a:moveTo>
                    <a:pt x="152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154" y="0"/>
                    <a:pt x="156" y="1"/>
                    <a:pt x="156" y="3"/>
                  </a:cubicBezTo>
                  <a:cubicBezTo>
                    <a:pt x="156" y="5"/>
                    <a:pt x="154" y="7"/>
                    <a:pt x="152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7" name="Freeform 179">
              <a:extLst>
                <a:ext uri="{FF2B5EF4-FFF2-40B4-BE49-F238E27FC236}">
                  <a16:creationId xmlns:a16="http://schemas.microsoft.com/office/drawing/2014/main" id="{E927EFC0-F760-721D-7D60-33C52160F48B}"/>
                </a:ext>
              </a:extLst>
            </p:cNvPr>
            <p:cNvSpPr>
              <a:spLocks/>
            </p:cNvSpPr>
            <p:nvPr/>
          </p:nvSpPr>
          <p:spPr bwMode="auto">
            <a:xfrm>
              <a:off x="-4559290" y="4402654"/>
              <a:ext cx="110386" cy="203787"/>
            </a:xfrm>
            <a:custGeom>
              <a:avLst/>
              <a:gdLst>
                <a:gd name="T0" fmla="*/ 4 w 52"/>
                <a:gd name="T1" fmla="*/ 96 h 96"/>
                <a:gd name="T2" fmla="*/ 1 w 52"/>
                <a:gd name="T3" fmla="*/ 95 h 96"/>
                <a:gd name="T4" fmla="*/ 1 w 52"/>
                <a:gd name="T5" fmla="*/ 90 h 96"/>
                <a:gd name="T6" fmla="*/ 43 w 52"/>
                <a:gd name="T7" fmla="*/ 48 h 96"/>
                <a:gd name="T8" fmla="*/ 1 w 52"/>
                <a:gd name="T9" fmla="*/ 6 h 96"/>
                <a:gd name="T10" fmla="*/ 1 w 52"/>
                <a:gd name="T11" fmla="*/ 1 h 96"/>
                <a:gd name="T12" fmla="*/ 6 w 52"/>
                <a:gd name="T13" fmla="*/ 1 h 96"/>
                <a:gd name="T14" fmla="*/ 51 w 52"/>
                <a:gd name="T15" fmla="*/ 46 h 96"/>
                <a:gd name="T16" fmla="*/ 51 w 52"/>
                <a:gd name="T17" fmla="*/ 51 h 96"/>
                <a:gd name="T18" fmla="*/ 6 w 52"/>
                <a:gd name="T19" fmla="*/ 95 h 96"/>
                <a:gd name="T20" fmla="*/ 4 w 52"/>
                <a:gd name="T21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2" h="96">
                  <a:moveTo>
                    <a:pt x="4" y="96"/>
                  </a:moveTo>
                  <a:cubicBezTo>
                    <a:pt x="3" y="96"/>
                    <a:pt x="2" y="96"/>
                    <a:pt x="1" y="95"/>
                  </a:cubicBezTo>
                  <a:cubicBezTo>
                    <a:pt x="0" y="94"/>
                    <a:pt x="0" y="92"/>
                    <a:pt x="1" y="90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5"/>
                    <a:pt x="0" y="3"/>
                    <a:pt x="1" y="1"/>
                  </a:cubicBezTo>
                  <a:cubicBezTo>
                    <a:pt x="3" y="0"/>
                    <a:pt x="5" y="0"/>
                    <a:pt x="6" y="1"/>
                  </a:cubicBezTo>
                  <a:cubicBezTo>
                    <a:pt x="51" y="46"/>
                    <a:pt x="51" y="46"/>
                    <a:pt x="51" y="46"/>
                  </a:cubicBezTo>
                  <a:cubicBezTo>
                    <a:pt x="52" y="47"/>
                    <a:pt x="52" y="50"/>
                    <a:pt x="51" y="51"/>
                  </a:cubicBezTo>
                  <a:cubicBezTo>
                    <a:pt x="6" y="95"/>
                    <a:pt x="6" y="95"/>
                    <a:pt x="6" y="95"/>
                  </a:cubicBezTo>
                  <a:cubicBezTo>
                    <a:pt x="6" y="96"/>
                    <a:pt x="5" y="96"/>
                    <a:pt x="4" y="9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8" name="Freeform 180">
              <a:extLst>
                <a:ext uri="{FF2B5EF4-FFF2-40B4-BE49-F238E27FC236}">
                  <a16:creationId xmlns:a16="http://schemas.microsoft.com/office/drawing/2014/main" id="{DF4AC29C-30CC-F303-9CE2-3A57CB5ADC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915918" y="4201695"/>
              <a:ext cx="605701" cy="608533"/>
            </a:xfrm>
            <a:custGeom>
              <a:avLst/>
              <a:gdLst>
                <a:gd name="T0" fmla="*/ 142 w 284"/>
                <a:gd name="T1" fmla="*/ 285 h 285"/>
                <a:gd name="T2" fmla="*/ 0 w 284"/>
                <a:gd name="T3" fmla="*/ 142 h 285"/>
                <a:gd name="T4" fmla="*/ 142 w 284"/>
                <a:gd name="T5" fmla="*/ 0 h 285"/>
                <a:gd name="T6" fmla="*/ 284 w 284"/>
                <a:gd name="T7" fmla="*/ 142 h 285"/>
                <a:gd name="T8" fmla="*/ 142 w 284"/>
                <a:gd name="T9" fmla="*/ 285 h 285"/>
                <a:gd name="T10" fmla="*/ 142 w 284"/>
                <a:gd name="T11" fmla="*/ 7 h 285"/>
                <a:gd name="T12" fmla="*/ 7 w 284"/>
                <a:gd name="T13" fmla="*/ 142 h 285"/>
                <a:gd name="T14" fmla="*/ 142 w 284"/>
                <a:gd name="T15" fmla="*/ 277 h 285"/>
                <a:gd name="T16" fmla="*/ 277 w 284"/>
                <a:gd name="T17" fmla="*/ 142 h 285"/>
                <a:gd name="T18" fmla="*/ 142 w 284"/>
                <a:gd name="T19" fmla="*/ 7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4" h="285">
                  <a:moveTo>
                    <a:pt x="142" y="285"/>
                  </a:moveTo>
                  <a:cubicBezTo>
                    <a:pt x="63" y="285"/>
                    <a:pt x="0" y="221"/>
                    <a:pt x="0" y="142"/>
                  </a:cubicBezTo>
                  <a:cubicBezTo>
                    <a:pt x="0" y="64"/>
                    <a:pt x="63" y="0"/>
                    <a:pt x="142" y="0"/>
                  </a:cubicBezTo>
                  <a:cubicBezTo>
                    <a:pt x="220" y="0"/>
                    <a:pt x="284" y="64"/>
                    <a:pt x="284" y="142"/>
                  </a:cubicBezTo>
                  <a:cubicBezTo>
                    <a:pt x="284" y="221"/>
                    <a:pt x="220" y="285"/>
                    <a:pt x="142" y="285"/>
                  </a:cubicBezTo>
                  <a:close/>
                  <a:moveTo>
                    <a:pt x="142" y="7"/>
                  </a:moveTo>
                  <a:cubicBezTo>
                    <a:pt x="67" y="7"/>
                    <a:pt x="7" y="68"/>
                    <a:pt x="7" y="142"/>
                  </a:cubicBezTo>
                  <a:cubicBezTo>
                    <a:pt x="7" y="217"/>
                    <a:pt x="67" y="277"/>
                    <a:pt x="142" y="277"/>
                  </a:cubicBezTo>
                  <a:cubicBezTo>
                    <a:pt x="216" y="277"/>
                    <a:pt x="277" y="217"/>
                    <a:pt x="277" y="142"/>
                  </a:cubicBezTo>
                  <a:cubicBezTo>
                    <a:pt x="277" y="68"/>
                    <a:pt x="216" y="7"/>
                    <a:pt x="142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99" name="Shape20_20200717_154412">
            <a:extLst>
              <a:ext uri="{FF2B5EF4-FFF2-40B4-BE49-F238E27FC236}">
                <a16:creationId xmlns:a16="http://schemas.microsoft.com/office/drawing/2014/main" id="{0BD6E946-22BB-1351-0EB5-D2B9AA164AA7}"/>
              </a:ext>
            </a:extLst>
          </p:cNvPr>
          <p:cNvGrpSpPr/>
          <p:nvPr/>
        </p:nvGrpSpPr>
        <p:grpSpPr>
          <a:xfrm>
            <a:off x="3142821" y="3797090"/>
            <a:ext cx="684130" cy="687329"/>
            <a:chOff x="-3936607" y="4201698"/>
            <a:chExt cx="605701" cy="608533"/>
          </a:xfrm>
          <a:solidFill>
            <a:schemeClr val="accent1"/>
          </a:solidFill>
        </p:grpSpPr>
        <p:sp>
          <p:nvSpPr>
            <p:cNvPr id="100" name="Freeform 181">
              <a:extLst>
                <a:ext uri="{FF2B5EF4-FFF2-40B4-BE49-F238E27FC236}">
                  <a16:creationId xmlns:a16="http://schemas.microsoft.com/office/drawing/2014/main" id="{8F57F2E3-70BA-E472-C5F7-82B8AA58D0B1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42247" y="4337553"/>
              <a:ext cx="16982" cy="333986"/>
            </a:xfrm>
            <a:custGeom>
              <a:avLst/>
              <a:gdLst>
                <a:gd name="T0" fmla="*/ 4 w 7"/>
                <a:gd name="T1" fmla="*/ 156 h 156"/>
                <a:gd name="T2" fmla="*/ 0 w 7"/>
                <a:gd name="T3" fmla="*/ 153 h 156"/>
                <a:gd name="T4" fmla="*/ 0 w 7"/>
                <a:gd name="T5" fmla="*/ 4 h 156"/>
                <a:gd name="T6" fmla="*/ 4 w 7"/>
                <a:gd name="T7" fmla="*/ 0 h 156"/>
                <a:gd name="T8" fmla="*/ 7 w 7"/>
                <a:gd name="T9" fmla="*/ 4 h 156"/>
                <a:gd name="T10" fmla="*/ 7 w 7"/>
                <a:gd name="T11" fmla="*/ 153 h 156"/>
                <a:gd name="T12" fmla="*/ 4 w 7"/>
                <a:gd name="T13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56">
                  <a:moveTo>
                    <a:pt x="4" y="156"/>
                  </a:moveTo>
                  <a:cubicBezTo>
                    <a:pt x="2" y="156"/>
                    <a:pt x="0" y="155"/>
                    <a:pt x="0" y="1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7" y="2"/>
                    <a:pt x="7" y="4"/>
                  </a:cubicBezTo>
                  <a:cubicBezTo>
                    <a:pt x="7" y="153"/>
                    <a:pt x="7" y="153"/>
                    <a:pt x="7" y="153"/>
                  </a:cubicBezTo>
                  <a:cubicBezTo>
                    <a:pt x="7" y="155"/>
                    <a:pt x="6" y="156"/>
                    <a:pt x="4" y="15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1" name="Freeform 182">
              <a:extLst>
                <a:ext uri="{FF2B5EF4-FFF2-40B4-BE49-F238E27FC236}">
                  <a16:creationId xmlns:a16="http://schemas.microsoft.com/office/drawing/2014/main" id="{C7688C0F-5C73-F71B-FB14-0F3948556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-3738480" y="4337553"/>
              <a:ext cx="209448" cy="110385"/>
            </a:xfrm>
            <a:custGeom>
              <a:avLst/>
              <a:gdLst>
                <a:gd name="T0" fmla="*/ 93 w 97"/>
                <a:gd name="T1" fmla="*/ 52 h 52"/>
                <a:gd name="T2" fmla="*/ 91 w 97"/>
                <a:gd name="T3" fmla="*/ 51 h 52"/>
                <a:gd name="T4" fmla="*/ 49 w 97"/>
                <a:gd name="T5" fmla="*/ 9 h 52"/>
                <a:gd name="T6" fmla="*/ 7 w 97"/>
                <a:gd name="T7" fmla="*/ 51 h 52"/>
                <a:gd name="T8" fmla="*/ 2 w 97"/>
                <a:gd name="T9" fmla="*/ 51 h 52"/>
                <a:gd name="T10" fmla="*/ 2 w 97"/>
                <a:gd name="T11" fmla="*/ 46 h 52"/>
                <a:gd name="T12" fmla="*/ 46 w 97"/>
                <a:gd name="T13" fmla="*/ 1 h 52"/>
                <a:gd name="T14" fmla="*/ 51 w 97"/>
                <a:gd name="T15" fmla="*/ 1 h 52"/>
                <a:gd name="T16" fmla="*/ 96 w 97"/>
                <a:gd name="T17" fmla="*/ 46 h 52"/>
                <a:gd name="T18" fmla="*/ 96 w 97"/>
                <a:gd name="T19" fmla="*/ 51 h 52"/>
                <a:gd name="T20" fmla="*/ 93 w 97"/>
                <a:gd name="T21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7" h="52">
                  <a:moveTo>
                    <a:pt x="93" y="52"/>
                  </a:moveTo>
                  <a:cubicBezTo>
                    <a:pt x="92" y="52"/>
                    <a:pt x="92" y="52"/>
                    <a:pt x="91" y="51"/>
                  </a:cubicBezTo>
                  <a:cubicBezTo>
                    <a:pt x="49" y="9"/>
                    <a:pt x="49" y="9"/>
                    <a:pt x="49" y="9"/>
                  </a:cubicBezTo>
                  <a:cubicBezTo>
                    <a:pt x="7" y="51"/>
                    <a:pt x="7" y="51"/>
                    <a:pt x="7" y="51"/>
                  </a:cubicBezTo>
                  <a:cubicBezTo>
                    <a:pt x="5" y="52"/>
                    <a:pt x="3" y="52"/>
                    <a:pt x="2" y="51"/>
                  </a:cubicBezTo>
                  <a:cubicBezTo>
                    <a:pt x="0" y="50"/>
                    <a:pt x="0" y="47"/>
                    <a:pt x="2" y="46"/>
                  </a:cubicBezTo>
                  <a:cubicBezTo>
                    <a:pt x="46" y="1"/>
                    <a:pt x="46" y="1"/>
                    <a:pt x="46" y="1"/>
                  </a:cubicBezTo>
                  <a:cubicBezTo>
                    <a:pt x="48" y="0"/>
                    <a:pt x="50" y="0"/>
                    <a:pt x="51" y="1"/>
                  </a:cubicBezTo>
                  <a:cubicBezTo>
                    <a:pt x="96" y="46"/>
                    <a:pt x="96" y="46"/>
                    <a:pt x="96" y="46"/>
                  </a:cubicBezTo>
                  <a:cubicBezTo>
                    <a:pt x="97" y="47"/>
                    <a:pt x="97" y="50"/>
                    <a:pt x="96" y="51"/>
                  </a:cubicBezTo>
                  <a:cubicBezTo>
                    <a:pt x="95" y="52"/>
                    <a:pt x="94" y="52"/>
                    <a:pt x="93" y="5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2" name="Freeform 183">
              <a:extLst>
                <a:ext uri="{FF2B5EF4-FFF2-40B4-BE49-F238E27FC236}">
                  <a16:creationId xmlns:a16="http://schemas.microsoft.com/office/drawing/2014/main" id="{29714C98-DE3E-2D57-0AC7-1765D1F999C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936607" y="4201698"/>
              <a:ext cx="605701" cy="608533"/>
            </a:xfrm>
            <a:custGeom>
              <a:avLst/>
              <a:gdLst>
                <a:gd name="T0" fmla="*/ 142 w 284"/>
                <a:gd name="T1" fmla="*/ 285 h 285"/>
                <a:gd name="T2" fmla="*/ 0 w 284"/>
                <a:gd name="T3" fmla="*/ 142 h 285"/>
                <a:gd name="T4" fmla="*/ 142 w 284"/>
                <a:gd name="T5" fmla="*/ 0 h 285"/>
                <a:gd name="T6" fmla="*/ 284 w 284"/>
                <a:gd name="T7" fmla="*/ 142 h 285"/>
                <a:gd name="T8" fmla="*/ 142 w 284"/>
                <a:gd name="T9" fmla="*/ 285 h 285"/>
                <a:gd name="T10" fmla="*/ 142 w 284"/>
                <a:gd name="T11" fmla="*/ 7 h 285"/>
                <a:gd name="T12" fmla="*/ 7 w 284"/>
                <a:gd name="T13" fmla="*/ 142 h 285"/>
                <a:gd name="T14" fmla="*/ 142 w 284"/>
                <a:gd name="T15" fmla="*/ 277 h 285"/>
                <a:gd name="T16" fmla="*/ 277 w 284"/>
                <a:gd name="T17" fmla="*/ 142 h 285"/>
                <a:gd name="T18" fmla="*/ 142 w 284"/>
                <a:gd name="T19" fmla="*/ 7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4" h="285">
                  <a:moveTo>
                    <a:pt x="142" y="285"/>
                  </a:moveTo>
                  <a:cubicBezTo>
                    <a:pt x="63" y="285"/>
                    <a:pt x="0" y="221"/>
                    <a:pt x="0" y="142"/>
                  </a:cubicBezTo>
                  <a:cubicBezTo>
                    <a:pt x="0" y="64"/>
                    <a:pt x="63" y="0"/>
                    <a:pt x="142" y="0"/>
                  </a:cubicBezTo>
                  <a:cubicBezTo>
                    <a:pt x="220" y="0"/>
                    <a:pt x="284" y="64"/>
                    <a:pt x="284" y="142"/>
                  </a:cubicBezTo>
                  <a:cubicBezTo>
                    <a:pt x="284" y="221"/>
                    <a:pt x="220" y="285"/>
                    <a:pt x="142" y="285"/>
                  </a:cubicBezTo>
                  <a:close/>
                  <a:moveTo>
                    <a:pt x="142" y="7"/>
                  </a:moveTo>
                  <a:cubicBezTo>
                    <a:pt x="67" y="7"/>
                    <a:pt x="7" y="68"/>
                    <a:pt x="7" y="142"/>
                  </a:cubicBezTo>
                  <a:cubicBezTo>
                    <a:pt x="7" y="217"/>
                    <a:pt x="67" y="277"/>
                    <a:pt x="142" y="277"/>
                  </a:cubicBezTo>
                  <a:cubicBezTo>
                    <a:pt x="216" y="277"/>
                    <a:pt x="277" y="217"/>
                    <a:pt x="277" y="142"/>
                  </a:cubicBezTo>
                  <a:cubicBezTo>
                    <a:pt x="277" y="68"/>
                    <a:pt x="216" y="7"/>
                    <a:pt x="142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103" name="Shape21_20200717_154412">
            <a:extLst>
              <a:ext uri="{FF2B5EF4-FFF2-40B4-BE49-F238E27FC236}">
                <a16:creationId xmlns:a16="http://schemas.microsoft.com/office/drawing/2014/main" id="{FFB4384E-D41A-4DDA-5B6C-B26E827F6D7D}"/>
              </a:ext>
            </a:extLst>
          </p:cNvPr>
          <p:cNvGrpSpPr/>
          <p:nvPr/>
        </p:nvGrpSpPr>
        <p:grpSpPr>
          <a:xfrm>
            <a:off x="4448377" y="3797088"/>
            <a:ext cx="684130" cy="687329"/>
            <a:chOff x="-2954468" y="4201696"/>
            <a:chExt cx="605701" cy="608533"/>
          </a:xfrm>
          <a:solidFill>
            <a:schemeClr val="accent1"/>
          </a:solidFill>
        </p:grpSpPr>
        <p:sp>
          <p:nvSpPr>
            <p:cNvPr id="104" name="Freeform 184">
              <a:extLst>
                <a:ext uri="{FF2B5EF4-FFF2-40B4-BE49-F238E27FC236}">
                  <a16:creationId xmlns:a16="http://schemas.microsoft.com/office/drawing/2014/main" id="{9E81B7B1-9714-6C4F-1104-8A0BE91E5075}"/>
                </a:ext>
              </a:extLst>
            </p:cNvPr>
            <p:cNvSpPr>
              <a:spLocks/>
            </p:cNvSpPr>
            <p:nvPr/>
          </p:nvSpPr>
          <p:spPr bwMode="auto">
            <a:xfrm>
              <a:off x="-2660106" y="4337556"/>
              <a:ext cx="16982" cy="333986"/>
            </a:xfrm>
            <a:custGeom>
              <a:avLst/>
              <a:gdLst>
                <a:gd name="T0" fmla="*/ 4 w 8"/>
                <a:gd name="T1" fmla="*/ 156 h 156"/>
                <a:gd name="T2" fmla="*/ 0 w 8"/>
                <a:gd name="T3" fmla="*/ 153 h 156"/>
                <a:gd name="T4" fmla="*/ 0 w 8"/>
                <a:gd name="T5" fmla="*/ 4 h 156"/>
                <a:gd name="T6" fmla="*/ 4 w 8"/>
                <a:gd name="T7" fmla="*/ 0 h 156"/>
                <a:gd name="T8" fmla="*/ 8 w 8"/>
                <a:gd name="T9" fmla="*/ 4 h 156"/>
                <a:gd name="T10" fmla="*/ 8 w 8"/>
                <a:gd name="T11" fmla="*/ 153 h 156"/>
                <a:gd name="T12" fmla="*/ 4 w 8"/>
                <a:gd name="T13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156">
                  <a:moveTo>
                    <a:pt x="4" y="156"/>
                  </a:moveTo>
                  <a:cubicBezTo>
                    <a:pt x="2" y="156"/>
                    <a:pt x="0" y="155"/>
                    <a:pt x="0" y="1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153"/>
                    <a:pt x="8" y="153"/>
                    <a:pt x="8" y="153"/>
                  </a:cubicBezTo>
                  <a:cubicBezTo>
                    <a:pt x="8" y="155"/>
                    <a:pt x="6" y="156"/>
                    <a:pt x="4" y="15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5" name="Freeform 185">
              <a:extLst>
                <a:ext uri="{FF2B5EF4-FFF2-40B4-BE49-F238E27FC236}">
                  <a16:creationId xmlns:a16="http://schemas.microsoft.com/office/drawing/2014/main" id="{541C50DC-7FE4-E2AA-E79F-C904AA282EA6}"/>
                </a:ext>
              </a:extLst>
            </p:cNvPr>
            <p:cNvSpPr>
              <a:spLocks/>
            </p:cNvSpPr>
            <p:nvPr/>
          </p:nvSpPr>
          <p:spPr bwMode="auto">
            <a:xfrm>
              <a:off x="-2756339" y="4561156"/>
              <a:ext cx="206619" cy="110385"/>
            </a:xfrm>
            <a:custGeom>
              <a:avLst/>
              <a:gdLst>
                <a:gd name="T0" fmla="*/ 49 w 97"/>
                <a:gd name="T1" fmla="*/ 52 h 52"/>
                <a:gd name="T2" fmla="*/ 46 w 97"/>
                <a:gd name="T3" fmla="*/ 51 h 52"/>
                <a:gd name="T4" fmla="*/ 2 w 97"/>
                <a:gd name="T5" fmla="*/ 7 h 52"/>
                <a:gd name="T6" fmla="*/ 2 w 97"/>
                <a:gd name="T7" fmla="*/ 2 h 52"/>
                <a:gd name="T8" fmla="*/ 7 w 97"/>
                <a:gd name="T9" fmla="*/ 2 h 52"/>
                <a:gd name="T10" fmla="*/ 49 w 97"/>
                <a:gd name="T11" fmla="*/ 44 h 52"/>
                <a:gd name="T12" fmla="*/ 91 w 97"/>
                <a:gd name="T13" fmla="*/ 2 h 52"/>
                <a:gd name="T14" fmla="*/ 96 w 97"/>
                <a:gd name="T15" fmla="*/ 2 h 52"/>
                <a:gd name="T16" fmla="*/ 96 w 97"/>
                <a:gd name="T17" fmla="*/ 7 h 52"/>
                <a:gd name="T18" fmla="*/ 51 w 97"/>
                <a:gd name="T19" fmla="*/ 51 h 52"/>
                <a:gd name="T20" fmla="*/ 49 w 97"/>
                <a:gd name="T21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7" h="52">
                  <a:moveTo>
                    <a:pt x="49" y="52"/>
                  </a:moveTo>
                  <a:cubicBezTo>
                    <a:pt x="48" y="52"/>
                    <a:pt x="47" y="52"/>
                    <a:pt x="46" y="51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0" y="5"/>
                    <a:pt x="0" y="3"/>
                    <a:pt x="2" y="2"/>
                  </a:cubicBezTo>
                  <a:cubicBezTo>
                    <a:pt x="3" y="0"/>
                    <a:pt x="6" y="0"/>
                    <a:pt x="7" y="2"/>
                  </a:cubicBezTo>
                  <a:cubicBezTo>
                    <a:pt x="49" y="44"/>
                    <a:pt x="49" y="44"/>
                    <a:pt x="49" y="44"/>
                  </a:cubicBezTo>
                  <a:cubicBezTo>
                    <a:pt x="91" y="2"/>
                    <a:pt x="91" y="2"/>
                    <a:pt x="91" y="2"/>
                  </a:cubicBezTo>
                  <a:cubicBezTo>
                    <a:pt x="92" y="0"/>
                    <a:pt x="95" y="0"/>
                    <a:pt x="96" y="2"/>
                  </a:cubicBezTo>
                  <a:cubicBezTo>
                    <a:pt x="97" y="3"/>
                    <a:pt x="97" y="5"/>
                    <a:pt x="96" y="7"/>
                  </a:cubicBezTo>
                  <a:cubicBezTo>
                    <a:pt x="51" y="51"/>
                    <a:pt x="51" y="51"/>
                    <a:pt x="51" y="51"/>
                  </a:cubicBezTo>
                  <a:cubicBezTo>
                    <a:pt x="51" y="52"/>
                    <a:pt x="50" y="52"/>
                    <a:pt x="49" y="5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6" name="Freeform 186">
              <a:extLst>
                <a:ext uri="{FF2B5EF4-FFF2-40B4-BE49-F238E27FC236}">
                  <a16:creationId xmlns:a16="http://schemas.microsoft.com/office/drawing/2014/main" id="{2F81BB75-D4CE-5257-5864-FA8DC69A40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954468" y="4201696"/>
              <a:ext cx="605701" cy="608533"/>
            </a:xfrm>
            <a:custGeom>
              <a:avLst/>
              <a:gdLst>
                <a:gd name="T0" fmla="*/ 142 w 284"/>
                <a:gd name="T1" fmla="*/ 285 h 285"/>
                <a:gd name="T2" fmla="*/ 0 w 284"/>
                <a:gd name="T3" fmla="*/ 142 h 285"/>
                <a:gd name="T4" fmla="*/ 142 w 284"/>
                <a:gd name="T5" fmla="*/ 0 h 285"/>
                <a:gd name="T6" fmla="*/ 284 w 284"/>
                <a:gd name="T7" fmla="*/ 142 h 285"/>
                <a:gd name="T8" fmla="*/ 142 w 284"/>
                <a:gd name="T9" fmla="*/ 285 h 285"/>
                <a:gd name="T10" fmla="*/ 142 w 284"/>
                <a:gd name="T11" fmla="*/ 7 h 285"/>
                <a:gd name="T12" fmla="*/ 7 w 284"/>
                <a:gd name="T13" fmla="*/ 142 h 285"/>
                <a:gd name="T14" fmla="*/ 142 w 284"/>
                <a:gd name="T15" fmla="*/ 277 h 285"/>
                <a:gd name="T16" fmla="*/ 277 w 284"/>
                <a:gd name="T17" fmla="*/ 142 h 285"/>
                <a:gd name="T18" fmla="*/ 142 w 284"/>
                <a:gd name="T19" fmla="*/ 7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4" h="285">
                  <a:moveTo>
                    <a:pt x="142" y="285"/>
                  </a:moveTo>
                  <a:cubicBezTo>
                    <a:pt x="63" y="285"/>
                    <a:pt x="0" y="221"/>
                    <a:pt x="0" y="142"/>
                  </a:cubicBezTo>
                  <a:cubicBezTo>
                    <a:pt x="0" y="64"/>
                    <a:pt x="63" y="0"/>
                    <a:pt x="142" y="0"/>
                  </a:cubicBezTo>
                  <a:cubicBezTo>
                    <a:pt x="220" y="0"/>
                    <a:pt x="284" y="64"/>
                    <a:pt x="284" y="142"/>
                  </a:cubicBezTo>
                  <a:cubicBezTo>
                    <a:pt x="284" y="221"/>
                    <a:pt x="220" y="285"/>
                    <a:pt x="142" y="285"/>
                  </a:cubicBezTo>
                  <a:close/>
                  <a:moveTo>
                    <a:pt x="142" y="7"/>
                  </a:moveTo>
                  <a:cubicBezTo>
                    <a:pt x="67" y="7"/>
                    <a:pt x="7" y="68"/>
                    <a:pt x="7" y="142"/>
                  </a:cubicBezTo>
                  <a:cubicBezTo>
                    <a:pt x="7" y="217"/>
                    <a:pt x="67" y="277"/>
                    <a:pt x="142" y="277"/>
                  </a:cubicBezTo>
                  <a:cubicBezTo>
                    <a:pt x="216" y="277"/>
                    <a:pt x="277" y="217"/>
                    <a:pt x="277" y="142"/>
                  </a:cubicBezTo>
                  <a:cubicBezTo>
                    <a:pt x="277" y="68"/>
                    <a:pt x="216" y="7"/>
                    <a:pt x="142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107" name="Shape22_20200717_154412">
            <a:extLst>
              <a:ext uri="{FF2B5EF4-FFF2-40B4-BE49-F238E27FC236}">
                <a16:creationId xmlns:a16="http://schemas.microsoft.com/office/drawing/2014/main" id="{0B9876DB-A210-FF69-95DF-7E233CB56B33}"/>
              </a:ext>
            </a:extLst>
          </p:cNvPr>
          <p:cNvGrpSpPr/>
          <p:nvPr/>
        </p:nvGrpSpPr>
        <p:grpSpPr>
          <a:xfrm>
            <a:off x="5753933" y="3797083"/>
            <a:ext cx="684130" cy="687326"/>
            <a:chOff x="-1972325" y="4201691"/>
            <a:chExt cx="605701" cy="608531"/>
          </a:xfrm>
          <a:solidFill>
            <a:schemeClr val="accent1"/>
          </a:solidFill>
        </p:grpSpPr>
        <p:sp>
          <p:nvSpPr>
            <p:cNvPr id="108" name="Freeform 187">
              <a:extLst>
                <a:ext uri="{FF2B5EF4-FFF2-40B4-BE49-F238E27FC236}">
                  <a16:creationId xmlns:a16="http://schemas.microsoft.com/office/drawing/2014/main" id="{240EEAF8-C945-4E65-958B-C14A0F4D831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751555" y="4368689"/>
              <a:ext cx="212279" cy="274549"/>
            </a:xfrm>
            <a:custGeom>
              <a:avLst/>
              <a:gdLst>
                <a:gd name="T0" fmla="*/ 3 w 99"/>
                <a:gd name="T1" fmla="*/ 129 h 129"/>
                <a:gd name="T2" fmla="*/ 2 w 99"/>
                <a:gd name="T3" fmla="*/ 128 h 129"/>
                <a:gd name="T4" fmla="*/ 0 w 99"/>
                <a:gd name="T5" fmla="*/ 125 h 129"/>
                <a:gd name="T6" fmla="*/ 0 w 99"/>
                <a:gd name="T7" fmla="*/ 4 h 129"/>
                <a:gd name="T8" fmla="*/ 2 w 99"/>
                <a:gd name="T9" fmla="*/ 1 h 129"/>
                <a:gd name="T10" fmla="*/ 5 w 99"/>
                <a:gd name="T11" fmla="*/ 1 h 129"/>
                <a:gd name="T12" fmla="*/ 98 w 99"/>
                <a:gd name="T13" fmla="*/ 61 h 129"/>
                <a:gd name="T14" fmla="*/ 99 w 99"/>
                <a:gd name="T15" fmla="*/ 64 h 129"/>
                <a:gd name="T16" fmla="*/ 98 w 99"/>
                <a:gd name="T17" fmla="*/ 67 h 129"/>
                <a:gd name="T18" fmla="*/ 5 w 99"/>
                <a:gd name="T19" fmla="*/ 128 h 129"/>
                <a:gd name="T20" fmla="*/ 3 w 99"/>
                <a:gd name="T21" fmla="*/ 129 h 129"/>
                <a:gd name="T22" fmla="*/ 7 w 99"/>
                <a:gd name="T23" fmla="*/ 10 h 129"/>
                <a:gd name="T24" fmla="*/ 7 w 99"/>
                <a:gd name="T25" fmla="*/ 118 h 129"/>
                <a:gd name="T26" fmla="*/ 89 w 99"/>
                <a:gd name="T27" fmla="*/ 64 h 129"/>
                <a:gd name="T28" fmla="*/ 7 w 99"/>
                <a:gd name="T29" fmla="*/ 10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29">
                  <a:moveTo>
                    <a:pt x="3" y="129"/>
                  </a:moveTo>
                  <a:cubicBezTo>
                    <a:pt x="3" y="129"/>
                    <a:pt x="2" y="128"/>
                    <a:pt x="2" y="128"/>
                  </a:cubicBezTo>
                  <a:cubicBezTo>
                    <a:pt x="1" y="128"/>
                    <a:pt x="0" y="126"/>
                    <a:pt x="0" y="12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1"/>
                    <a:pt x="2" y="1"/>
                  </a:cubicBezTo>
                  <a:cubicBezTo>
                    <a:pt x="3" y="0"/>
                    <a:pt x="4" y="0"/>
                    <a:pt x="5" y="1"/>
                  </a:cubicBezTo>
                  <a:cubicBezTo>
                    <a:pt x="98" y="61"/>
                    <a:pt x="98" y="61"/>
                    <a:pt x="98" y="61"/>
                  </a:cubicBezTo>
                  <a:cubicBezTo>
                    <a:pt x="99" y="62"/>
                    <a:pt x="99" y="63"/>
                    <a:pt x="99" y="64"/>
                  </a:cubicBezTo>
                  <a:cubicBezTo>
                    <a:pt x="99" y="66"/>
                    <a:pt x="99" y="67"/>
                    <a:pt x="98" y="67"/>
                  </a:cubicBezTo>
                  <a:cubicBezTo>
                    <a:pt x="5" y="128"/>
                    <a:pt x="5" y="128"/>
                    <a:pt x="5" y="128"/>
                  </a:cubicBezTo>
                  <a:cubicBezTo>
                    <a:pt x="5" y="128"/>
                    <a:pt x="4" y="129"/>
                    <a:pt x="3" y="129"/>
                  </a:cubicBezTo>
                  <a:close/>
                  <a:moveTo>
                    <a:pt x="7" y="10"/>
                  </a:moveTo>
                  <a:cubicBezTo>
                    <a:pt x="7" y="118"/>
                    <a:pt x="7" y="118"/>
                    <a:pt x="7" y="118"/>
                  </a:cubicBezTo>
                  <a:cubicBezTo>
                    <a:pt x="89" y="64"/>
                    <a:pt x="89" y="64"/>
                    <a:pt x="89" y="64"/>
                  </a:cubicBezTo>
                  <a:lnTo>
                    <a:pt x="7" y="1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9" name="Freeform 188">
              <a:extLst>
                <a:ext uri="{FF2B5EF4-FFF2-40B4-BE49-F238E27FC236}">
                  <a16:creationId xmlns:a16="http://schemas.microsoft.com/office/drawing/2014/main" id="{7CECBD6A-46E9-BCF7-A3FA-61FD105FB6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972325" y="4201691"/>
              <a:ext cx="605701" cy="608531"/>
            </a:xfrm>
            <a:custGeom>
              <a:avLst/>
              <a:gdLst>
                <a:gd name="T0" fmla="*/ 142 w 284"/>
                <a:gd name="T1" fmla="*/ 285 h 285"/>
                <a:gd name="T2" fmla="*/ 0 w 284"/>
                <a:gd name="T3" fmla="*/ 142 h 285"/>
                <a:gd name="T4" fmla="*/ 142 w 284"/>
                <a:gd name="T5" fmla="*/ 0 h 285"/>
                <a:gd name="T6" fmla="*/ 284 w 284"/>
                <a:gd name="T7" fmla="*/ 142 h 285"/>
                <a:gd name="T8" fmla="*/ 142 w 284"/>
                <a:gd name="T9" fmla="*/ 285 h 285"/>
                <a:gd name="T10" fmla="*/ 142 w 284"/>
                <a:gd name="T11" fmla="*/ 7 h 285"/>
                <a:gd name="T12" fmla="*/ 7 w 284"/>
                <a:gd name="T13" fmla="*/ 142 h 285"/>
                <a:gd name="T14" fmla="*/ 142 w 284"/>
                <a:gd name="T15" fmla="*/ 277 h 285"/>
                <a:gd name="T16" fmla="*/ 277 w 284"/>
                <a:gd name="T17" fmla="*/ 142 h 285"/>
                <a:gd name="T18" fmla="*/ 142 w 284"/>
                <a:gd name="T19" fmla="*/ 7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4" h="285">
                  <a:moveTo>
                    <a:pt x="142" y="285"/>
                  </a:moveTo>
                  <a:cubicBezTo>
                    <a:pt x="64" y="285"/>
                    <a:pt x="0" y="221"/>
                    <a:pt x="0" y="142"/>
                  </a:cubicBezTo>
                  <a:cubicBezTo>
                    <a:pt x="0" y="64"/>
                    <a:pt x="64" y="0"/>
                    <a:pt x="142" y="0"/>
                  </a:cubicBezTo>
                  <a:cubicBezTo>
                    <a:pt x="220" y="0"/>
                    <a:pt x="284" y="64"/>
                    <a:pt x="284" y="142"/>
                  </a:cubicBezTo>
                  <a:cubicBezTo>
                    <a:pt x="284" y="221"/>
                    <a:pt x="220" y="285"/>
                    <a:pt x="142" y="285"/>
                  </a:cubicBezTo>
                  <a:close/>
                  <a:moveTo>
                    <a:pt x="142" y="7"/>
                  </a:moveTo>
                  <a:cubicBezTo>
                    <a:pt x="67" y="7"/>
                    <a:pt x="7" y="68"/>
                    <a:pt x="7" y="142"/>
                  </a:cubicBezTo>
                  <a:cubicBezTo>
                    <a:pt x="7" y="217"/>
                    <a:pt x="67" y="277"/>
                    <a:pt x="142" y="277"/>
                  </a:cubicBezTo>
                  <a:cubicBezTo>
                    <a:pt x="216" y="277"/>
                    <a:pt x="277" y="217"/>
                    <a:pt x="277" y="142"/>
                  </a:cubicBezTo>
                  <a:cubicBezTo>
                    <a:pt x="277" y="68"/>
                    <a:pt x="216" y="7"/>
                    <a:pt x="142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110" name="Shape23_20200717_154412">
            <a:extLst>
              <a:ext uri="{FF2B5EF4-FFF2-40B4-BE49-F238E27FC236}">
                <a16:creationId xmlns:a16="http://schemas.microsoft.com/office/drawing/2014/main" id="{03B171F8-05B1-BF4B-B2DB-8C406A32A8F3}"/>
              </a:ext>
            </a:extLst>
          </p:cNvPr>
          <p:cNvGrpSpPr/>
          <p:nvPr/>
        </p:nvGrpSpPr>
        <p:grpSpPr>
          <a:xfrm>
            <a:off x="7019531" y="3835747"/>
            <a:ext cx="764049" cy="597823"/>
            <a:chOff x="-1026978" y="4241307"/>
            <a:chExt cx="676458" cy="529288"/>
          </a:xfrm>
          <a:solidFill>
            <a:schemeClr val="accent1"/>
          </a:solidFill>
        </p:grpSpPr>
        <p:sp>
          <p:nvSpPr>
            <p:cNvPr id="111" name="Freeform 189">
              <a:extLst>
                <a:ext uri="{FF2B5EF4-FFF2-40B4-BE49-F238E27FC236}">
                  <a16:creationId xmlns:a16="http://schemas.microsoft.com/office/drawing/2014/main" id="{9899C968-7496-F22A-941E-7C07185F4AFD}"/>
                </a:ext>
              </a:extLst>
            </p:cNvPr>
            <p:cNvSpPr>
              <a:spLocks/>
            </p:cNvSpPr>
            <p:nvPr/>
          </p:nvSpPr>
          <p:spPr bwMode="auto">
            <a:xfrm>
              <a:off x="-531664" y="4496050"/>
              <a:ext cx="181144" cy="110385"/>
            </a:xfrm>
            <a:custGeom>
              <a:avLst/>
              <a:gdLst>
                <a:gd name="T0" fmla="*/ 82 w 86"/>
                <a:gd name="T1" fmla="*/ 51 h 51"/>
                <a:gd name="T2" fmla="*/ 79 w 86"/>
                <a:gd name="T3" fmla="*/ 49 h 51"/>
                <a:gd name="T4" fmla="*/ 46 w 86"/>
                <a:gd name="T5" fmla="*/ 9 h 51"/>
                <a:gd name="T6" fmla="*/ 7 w 86"/>
                <a:gd name="T7" fmla="*/ 42 h 51"/>
                <a:gd name="T8" fmla="*/ 2 w 86"/>
                <a:gd name="T9" fmla="*/ 41 h 51"/>
                <a:gd name="T10" fmla="*/ 2 w 86"/>
                <a:gd name="T11" fmla="*/ 36 h 51"/>
                <a:gd name="T12" fmla="*/ 45 w 86"/>
                <a:gd name="T13" fmla="*/ 2 h 51"/>
                <a:gd name="T14" fmla="*/ 50 w 86"/>
                <a:gd name="T15" fmla="*/ 2 h 51"/>
                <a:gd name="T16" fmla="*/ 84 w 86"/>
                <a:gd name="T17" fmla="*/ 45 h 51"/>
                <a:gd name="T18" fmla="*/ 84 w 86"/>
                <a:gd name="T19" fmla="*/ 50 h 51"/>
                <a:gd name="T20" fmla="*/ 82 w 86"/>
                <a:gd name="T21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51">
                  <a:moveTo>
                    <a:pt x="82" y="51"/>
                  </a:moveTo>
                  <a:cubicBezTo>
                    <a:pt x="81" y="51"/>
                    <a:pt x="80" y="50"/>
                    <a:pt x="79" y="49"/>
                  </a:cubicBezTo>
                  <a:cubicBezTo>
                    <a:pt x="46" y="9"/>
                    <a:pt x="46" y="9"/>
                    <a:pt x="46" y="9"/>
                  </a:cubicBezTo>
                  <a:cubicBezTo>
                    <a:pt x="7" y="42"/>
                    <a:pt x="7" y="42"/>
                    <a:pt x="7" y="42"/>
                  </a:cubicBezTo>
                  <a:cubicBezTo>
                    <a:pt x="5" y="43"/>
                    <a:pt x="3" y="43"/>
                    <a:pt x="2" y="41"/>
                  </a:cubicBezTo>
                  <a:cubicBezTo>
                    <a:pt x="0" y="40"/>
                    <a:pt x="1" y="38"/>
                    <a:pt x="2" y="36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6" y="0"/>
                    <a:pt x="48" y="1"/>
                    <a:pt x="50" y="2"/>
                  </a:cubicBezTo>
                  <a:cubicBezTo>
                    <a:pt x="84" y="45"/>
                    <a:pt x="84" y="45"/>
                    <a:pt x="84" y="45"/>
                  </a:cubicBezTo>
                  <a:cubicBezTo>
                    <a:pt x="86" y="46"/>
                    <a:pt x="85" y="49"/>
                    <a:pt x="84" y="50"/>
                  </a:cubicBezTo>
                  <a:cubicBezTo>
                    <a:pt x="83" y="50"/>
                    <a:pt x="82" y="51"/>
                    <a:pt x="82" y="5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2" name="Freeform 190">
              <a:extLst>
                <a:ext uri="{FF2B5EF4-FFF2-40B4-BE49-F238E27FC236}">
                  <a16:creationId xmlns:a16="http://schemas.microsoft.com/office/drawing/2014/main" id="{BA54CA99-247F-46FC-9B26-1E121C3E1EAE}"/>
                </a:ext>
              </a:extLst>
            </p:cNvPr>
            <p:cNvSpPr>
              <a:spLocks/>
            </p:cNvSpPr>
            <p:nvPr/>
          </p:nvSpPr>
          <p:spPr bwMode="auto">
            <a:xfrm>
              <a:off x="-1026978" y="4405478"/>
              <a:ext cx="181144" cy="107554"/>
            </a:xfrm>
            <a:custGeom>
              <a:avLst/>
              <a:gdLst>
                <a:gd name="T0" fmla="*/ 39 w 86"/>
                <a:gd name="T1" fmla="*/ 50 h 50"/>
                <a:gd name="T2" fmla="*/ 36 w 86"/>
                <a:gd name="T3" fmla="*/ 49 h 50"/>
                <a:gd name="T4" fmla="*/ 1 w 86"/>
                <a:gd name="T5" fmla="*/ 6 h 50"/>
                <a:gd name="T6" fmla="*/ 2 w 86"/>
                <a:gd name="T7" fmla="*/ 1 h 50"/>
                <a:gd name="T8" fmla="*/ 7 w 86"/>
                <a:gd name="T9" fmla="*/ 2 h 50"/>
                <a:gd name="T10" fmla="*/ 40 w 86"/>
                <a:gd name="T11" fmla="*/ 42 h 50"/>
                <a:gd name="T12" fmla="*/ 79 w 86"/>
                <a:gd name="T13" fmla="*/ 9 h 50"/>
                <a:gd name="T14" fmla="*/ 84 w 86"/>
                <a:gd name="T15" fmla="*/ 10 h 50"/>
                <a:gd name="T16" fmla="*/ 84 w 86"/>
                <a:gd name="T17" fmla="*/ 15 h 50"/>
                <a:gd name="T18" fmla="*/ 41 w 86"/>
                <a:gd name="T19" fmla="*/ 49 h 50"/>
                <a:gd name="T20" fmla="*/ 39 w 86"/>
                <a:gd name="T21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50">
                  <a:moveTo>
                    <a:pt x="39" y="50"/>
                  </a:moveTo>
                  <a:cubicBezTo>
                    <a:pt x="38" y="50"/>
                    <a:pt x="37" y="50"/>
                    <a:pt x="36" y="49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5"/>
                    <a:pt x="0" y="2"/>
                    <a:pt x="2" y="1"/>
                  </a:cubicBezTo>
                  <a:cubicBezTo>
                    <a:pt x="4" y="0"/>
                    <a:pt x="6" y="0"/>
                    <a:pt x="7" y="2"/>
                  </a:cubicBezTo>
                  <a:cubicBezTo>
                    <a:pt x="40" y="42"/>
                    <a:pt x="40" y="42"/>
                    <a:pt x="40" y="42"/>
                  </a:cubicBezTo>
                  <a:cubicBezTo>
                    <a:pt x="79" y="9"/>
                    <a:pt x="79" y="9"/>
                    <a:pt x="79" y="9"/>
                  </a:cubicBezTo>
                  <a:cubicBezTo>
                    <a:pt x="81" y="8"/>
                    <a:pt x="83" y="8"/>
                    <a:pt x="84" y="10"/>
                  </a:cubicBezTo>
                  <a:cubicBezTo>
                    <a:pt x="86" y="11"/>
                    <a:pt x="85" y="13"/>
                    <a:pt x="84" y="15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50"/>
                    <a:pt x="40" y="50"/>
                    <a:pt x="39" y="5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3" name="Freeform 191">
              <a:extLst>
                <a:ext uri="{FF2B5EF4-FFF2-40B4-BE49-F238E27FC236}">
                  <a16:creationId xmlns:a16="http://schemas.microsoft.com/office/drawing/2014/main" id="{BA0D8C85-58FB-7572-1042-A536B04604F0}"/>
                </a:ext>
              </a:extLst>
            </p:cNvPr>
            <p:cNvSpPr>
              <a:spLocks/>
            </p:cNvSpPr>
            <p:nvPr/>
          </p:nvSpPr>
          <p:spPr bwMode="auto">
            <a:xfrm>
              <a:off x="-919425" y="4498879"/>
              <a:ext cx="492486" cy="271716"/>
            </a:xfrm>
            <a:custGeom>
              <a:avLst/>
              <a:gdLst>
                <a:gd name="T0" fmla="*/ 108 w 231"/>
                <a:gd name="T1" fmla="*/ 127 h 127"/>
                <a:gd name="T2" fmla="*/ 1 w 231"/>
                <a:gd name="T3" fmla="*/ 65 h 127"/>
                <a:gd name="T4" fmla="*/ 2 w 231"/>
                <a:gd name="T5" fmla="*/ 60 h 127"/>
                <a:gd name="T6" fmla="*/ 7 w 231"/>
                <a:gd name="T7" fmla="*/ 62 h 127"/>
                <a:gd name="T8" fmla="*/ 108 w 231"/>
                <a:gd name="T9" fmla="*/ 120 h 127"/>
                <a:gd name="T10" fmla="*/ 224 w 231"/>
                <a:gd name="T11" fmla="*/ 3 h 127"/>
                <a:gd name="T12" fmla="*/ 228 w 231"/>
                <a:gd name="T13" fmla="*/ 0 h 127"/>
                <a:gd name="T14" fmla="*/ 231 w 231"/>
                <a:gd name="T15" fmla="*/ 3 h 127"/>
                <a:gd name="T16" fmla="*/ 108 w 231"/>
                <a:gd name="T17" fmla="*/ 12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1" h="127">
                  <a:moveTo>
                    <a:pt x="108" y="127"/>
                  </a:moveTo>
                  <a:cubicBezTo>
                    <a:pt x="64" y="127"/>
                    <a:pt x="23" y="103"/>
                    <a:pt x="1" y="65"/>
                  </a:cubicBezTo>
                  <a:cubicBezTo>
                    <a:pt x="0" y="63"/>
                    <a:pt x="1" y="61"/>
                    <a:pt x="2" y="60"/>
                  </a:cubicBezTo>
                  <a:cubicBezTo>
                    <a:pt x="4" y="59"/>
                    <a:pt x="6" y="60"/>
                    <a:pt x="7" y="62"/>
                  </a:cubicBezTo>
                  <a:cubicBezTo>
                    <a:pt x="28" y="97"/>
                    <a:pt x="67" y="120"/>
                    <a:pt x="108" y="120"/>
                  </a:cubicBezTo>
                  <a:cubicBezTo>
                    <a:pt x="172" y="120"/>
                    <a:pt x="224" y="68"/>
                    <a:pt x="224" y="3"/>
                  </a:cubicBezTo>
                  <a:cubicBezTo>
                    <a:pt x="224" y="1"/>
                    <a:pt x="226" y="0"/>
                    <a:pt x="228" y="0"/>
                  </a:cubicBezTo>
                  <a:cubicBezTo>
                    <a:pt x="230" y="0"/>
                    <a:pt x="231" y="1"/>
                    <a:pt x="231" y="3"/>
                  </a:cubicBezTo>
                  <a:cubicBezTo>
                    <a:pt x="231" y="71"/>
                    <a:pt x="176" y="127"/>
                    <a:pt x="108" y="12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4" name="Freeform 192">
              <a:extLst>
                <a:ext uri="{FF2B5EF4-FFF2-40B4-BE49-F238E27FC236}">
                  <a16:creationId xmlns:a16="http://schemas.microsoft.com/office/drawing/2014/main" id="{2BC6481D-605A-0130-0677-C343712407BB}"/>
                </a:ext>
              </a:extLst>
            </p:cNvPr>
            <p:cNvSpPr>
              <a:spLocks/>
            </p:cNvSpPr>
            <p:nvPr/>
          </p:nvSpPr>
          <p:spPr bwMode="auto">
            <a:xfrm>
              <a:off x="-953386" y="4241307"/>
              <a:ext cx="498147" cy="271716"/>
            </a:xfrm>
            <a:custGeom>
              <a:avLst/>
              <a:gdLst>
                <a:gd name="T0" fmla="*/ 4 w 233"/>
                <a:gd name="T1" fmla="*/ 127 h 127"/>
                <a:gd name="T2" fmla="*/ 0 w 233"/>
                <a:gd name="T3" fmla="*/ 123 h 127"/>
                <a:gd name="T4" fmla="*/ 124 w 233"/>
                <a:gd name="T5" fmla="*/ 0 h 127"/>
                <a:gd name="T6" fmla="*/ 232 w 233"/>
                <a:gd name="T7" fmla="*/ 64 h 127"/>
                <a:gd name="T8" fmla="*/ 231 w 233"/>
                <a:gd name="T9" fmla="*/ 69 h 127"/>
                <a:gd name="T10" fmla="*/ 226 w 233"/>
                <a:gd name="T11" fmla="*/ 67 h 127"/>
                <a:gd name="T12" fmla="*/ 124 w 233"/>
                <a:gd name="T13" fmla="*/ 7 h 127"/>
                <a:gd name="T14" fmla="*/ 8 w 233"/>
                <a:gd name="T15" fmla="*/ 123 h 127"/>
                <a:gd name="T16" fmla="*/ 4 w 233"/>
                <a:gd name="T17" fmla="*/ 12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3" h="127">
                  <a:moveTo>
                    <a:pt x="4" y="127"/>
                  </a:moveTo>
                  <a:cubicBezTo>
                    <a:pt x="2" y="127"/>
                    <a:pt x="0" y="125"/>
                    <a:pt x="0" y="123"/>
                  </a:cubicBezTo>
                  <a:cubicBezTo>
                    <a:pt x="0" y="55"/>
                    <a:pt x="56" y="0"/>
                    <a:pt x="124" y="0"/>
                  </a:cubicBezTo>
                  <a:cubicBezTo>
                    <a:pt x="169" y="0"/>
                    <a:pt x="211" y="24"/>
                    <a:pt x="232" y="64"/>
                  </a:cubicBezTo>
                  <a:cubicBezTo>
                    <a:pt x="233" y="66"/>
                    <a:pt x="233" y="68"/>
                    <a:pt x="231" y="69"/>
                  </a:cubicBezTo>
                  <a:cubicBezTo>
                    <a:pt x="229" y="70"/>
                    <a:pt x="227" y="69"/>
                    <a:pt x="226" y="67"/>
                  </a:cubicBezTo>
                  <a:cubicBezTo>
                    <a:pt x="205" y="30"/>
                    <a:pt x="166" y="7"/>
                    <a:pt x="124" y="7"/>
                  </a:cubicBezTo>
                  <a:cubicBezTo>
                    <a:pt x="60" y="7"/>
                    <a:pt x="8" y="59"/>
                    <a:pt x="8" y="123"/>
                  </a:cubicBezTo>
                  <a:cubicBezTo>
                    <a:pt x="8" y="125"/>
                    <a:pt x="6" y="127"/>
                    <a:pt x="4" y="12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115" name="Group 114">
            <a:extLst>
              <a:ext uri="{FF2B5EF4-FFF2-40B4-BE49-F238E27FC236}">
                <a16:creationId xmlns:a16="http://schemas.microsoft.com/office/drawing/2014/main" id="{AB47F540-A0A5-BC25-3CF8-010EE70FB7FA}"/>
              </a:ext>
            </a:extLst>
          </p:cNvPr>
          <p:cNvGrpSpPr/>
          <p:nvPr/>
        </p:nvGrpSpPr>
        <p:grpSpPr>
          <a:xfrm>
            <a:off x="8410713" y="3838260"/>
            <a:ext cx="592797" cy="592797"/>
            <a:chOff x="8401060" y="3486224"/>
            <a:chExt cx="592797" cy="592797"/>
          </a:xfrm>
          <a:solidFill>
            <a:schemeClr val="accent1"/>
          </a:solidFill>
        </p:grpSpPr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6D6203DE-6036-15CA-FB16-7823E11D813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401060" y="3486224"/>
              <a:ext cx="592797" cy="592797"/>
            </a:xfrm>
            <a:custGeom>
              <a:avLst/>
              <a:gdLst>
                <a:gd name="connsiteX0" fmla="*/ 2470657 w 4941025"/>
                <a:gd name="connsiteY0" fmla="*/ 8328 h 4941025"/>
                <a:gd name="connsiteX1" fmla="*/ 729529 w 4941025"/>
                <a:gd name="connsiteY1" fmla="*/ 729529 h 4941025"/>
                <a:gd name="connsiteX2" fmla="*/ 8328 w 4941025"/>
                <a:gd name="connsiteY2" fmla="*/ 2470657 h 4941025"/>
                <a:gd name="connsiteX3" fmla="*/ 729529 w 4941025"/>
                <a:gd name="connsiteY3" fmla="*/ 4211786 h 4941025"/>
                <a:gd name="connsiteX4" fmla="*/ 2470657 w 4941025"/>
                <a:gd name="connsiteY4" fmla="*/ 4932987 h 4941025"/>
                <a:gd name="connsiteX5" fmla="*/ 4211786 w 4941025"/>
                <a:gd name="connsiteY5" fmla="*/ 4211786 h 4941025"/>
                <a:gd name="connsiteX6" fmla="*/ 4932987 w 4941025"/>
                <a:gd name="connsiteY6" fmla="*/ 2470657 h 4941025"/>
                <a:gd name="connsiteX7" fmla="*/ 4209965 w 4941025"/>
                <a:gd name="connsiteY7" fmla="*/ 731416 h 4941025"/>
                <a:gd name="connsiteX8" fmla="*/ 2470724 w 4941025"/>
                <a:gd name="connsiteY8" fmla="*/ 8394 h 4941025"/>
                <a:gd name="connsiteX9" fmla="*/ 2470657 w 4941025"/>
                <a:gd name="connsiteY9" fmla="*/ 4684204 h 4941025"/>
                <a:gd name="connsiteX10" fmla="*/ 905407 w 4941025"/>
                <a:gd name="connsiteY10" fmla="*/ 4035863 h 4941025"/>
                <a:gd name="connsiteX11" fmla="*/ 257067 w 4941025"/>
                <a:gd name="connsiteY11" fmla="*/ 2470613 h 4941025"/>
                <a:gd name="connsiteX12" fmla="*/ 905407 w 4941025"/>
                <a:gd name="connsiteY12" fmla="*/ 905362 h 4941025"/>
                <a:gd name="connsiteX13" fmla="*/ 2470657 w 4941025"/>
                <a:gd name="connsiteY13" fmla="*/ 257022 h 4941025"/>
                <a:gd name="connsiteX14" fmla="*/ 4035908 w 4941025"/>
                <a:gd name="connsiteY14" fmla="*/ 905362 h 4941025"/>
                <a:gd name="connsiteX15" fmla="*/ 4684248 w 4941025"/>
                <a:gd name="connsiteY15" fmla="*/ 2470613 h 4941025"/>
                <a:gd name="connsiteX16" fmla="*/ 4034087 w 4941025"/>
                <a:gd name="connsiteY16" fmla="*/ 4033976 h 4941025"/>
                <a:gd name="connsiteX17" fmla="*/ 2470724 w 4941025"/>
                <a:gd name="connsiteY17" fmla="*/ 4684137 h 494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941025" h="4941025">
                  <a:moveTo>
                    <a:pt x="2470657" y="8328"/>
                  </a:moveTo>
                  <a:cubicBezTo>
                    <a:pt x="1817642" y="8328"/>
                    <a:pt x="1191320" y="267781"/>
                    <a:pt x="729529" y="729529"/>
                  </a:cubicBezTo>
                  <a:cubicBezTo>
                    <a:pt x="267781" y="1191320"/>
                    <a:pt x="8328" y="1817620"/>
                    <a:pt x="8328" y="2470657"/>
                  </a:cubicBezTo>
                  <a:cubicBezTo>
                    <a:pt x="8328" y="3123694"/>
                    <a:pt x="267781" y="3749994"/>
                    <a:pt x="729529" y="4211786"/>
                  </a:cubicBezTo>
                  <a:cubicBezTo>
                    <a:pt x="1191320" y="4673533"/>
                    <a:pt x="1817620" y="4932987"/>
                    <a:pt x="2470657" y="4932987"/>
                  </a:cubicBezTo>
                  <a:cubicBezTo>
                    <a:pt x="3123694" y="4932987"/>
                    <a:pt x="3749994" y="4673533"/>
                    <a:pt x="4211786" y="4211786"/>
                  </a:cubicBezTo>
                  <a:cubicBezTo>
                    <a:pt x="4673533" y="3749994"/>
                    <a:pt x="4932987" y="3123694"/>
                    <a:pt x="4932987" y="2470657"/>
                  </a:cubicBezTo>
                  <a:cubicBezTo>
                    <a:pt x="4931339" y="1818109"/>
                    <a:pt x="4671368" y="1192764"/>
                    <a:pt x="4209965" y="731416"/>
                  </a:cubicBezTo>
                  <a:cubicBezTo>
                    <a:pt x="3748562" y="270013"/>
                    <a:pt x="3123217" y="10037"/>
                    <a:pt x="2470724" y="8394"/>
                  </a:cubicBezTo>
                  <a:close/>
                  <a:moveTo>
                    <a:pt x="2470657" y="4684204"/>
                  </a:moveTo>
                  <a:cubicBezTo>
                    <a:pt x="1883563" y="4684204"/>
                    <a:pt x="1320564" y="4450987"/>
                    <a:pt x="905407" y="4035863"/>
                  </a:cubicBezTo>
                  <a:cubicBezTo>
                    <a:pt x="490250" y="3620739"/>
                    <a:pt x="257067" y="3057718"/>
                    <a:pt x="257067" y="2470613"/>
                  </a:cubicBezTo>
                  <a:cubicBezTo>
                    <a:pt x="257067" y="1883508"/>
                    <a:pt x="490283" y="1320520"/>
                    <a:pt x="905407" y="905362"/>
                  </a:cubicBezTo>
                  <a:cubicBezTo>
                    <a:pt x="1320531" y="490205"/>
                    <a:pt x="1883552" y="257022"/>
                    <a:pt x="2470657" y="257022"/>
                  </a:cubicBezTo>
                  <a:cubicBezTo>
                    <a:pt x="3057762" y="257022"/>
                    <a:pt x="3620750" y="490239"/>
                    <a:pt x="4035908" y="905362"/>
                  </a:cubicBezTo>
                  <a:cubicBezTo>
                    <a:pt x="4451065" y="1320486"/>
                    <a:pt x="4684248" y="1883508"/>
                    <a:pt x="4684248" y="2470613"/>
                  </a:cubicBezTo>
                  <a:cubicBezTo>
                    <a:pt x="4682600" y="3057185"/>
                    <a:pt x="4448866" y="3619263"/>
                    <a:pt x="4034087" y="4033976"/>
                  </a:cubicBezTo>
                  <a:cubicBezTo>
                    <a:pt x="3619318" y="4448744"/>
                    <a:pt x="3057240" y="4682483"/>
                    <a:pt x="2470724" y="468413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12F44581-98FE-7840-26AF-66195AD556DE}"/>
                </a:ext>
              </a:extLst>
            </p:cNvPr>
            <p:cNvSpPr/>
            <p:nvPr/>
          </p:nvSpPr>
          <p:spPr>
            <a:xfrm>
              <a:off x="8559214" y="3685408"/>
              <a:ext cx="279747" cy="190494"/>
            </a:xfrm>
            <a:custGeom>
              <a:avLst/>
              <a:gdLst>
                <a:gd name="connsiteX0" fmla="*/ 853965 w 2331720"/>
                <a:gd name="connsiteY0" fmla="*/ 1239465 h 1587790"/>
                <a:gd name="connsiteX1" fmla="*/ 188625 w 2331720"/>
                <a:gd name="connsiteY1" fmla="*/ 555471 h 1587790"/>
                <a:gd name="connsiteX2" fmla="*/ 8328 w 2331720"/>
                <a:gd name="connsiteY2" fmla="*/ 729573 h 1587790"/>
                <a:gd name="connsiteX3" fmla="*/ 841518 w 2331720"/>
                <a:gd name="connsiteY3" fmla="*/ 1587657 h 1587790"/>
                <a:gd name="connsiteX4" fmla="*/ 2327601 w 2331720"/>
                <a:gd name="connsiteY4" fmla="*/ 188625 h 1587790"/>
                <a:gd name="connsiteX5" fmla="*/ 2159706 w 2331720"/>
                <a:gd name="connsiteY5" fmla="*/ 8328 h 1587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31720" h="1587790">
                  <a:moveTo>
                    <a:pt x="853965" y="1239465"/>
                  </a:moveTo>
                  <a:lnTo>
                    <a:pt x="188625" y="555471"/>
                  </a:lnTo>
                  <a:lnTo>
                    <a:pt x="8328" y="729573"/>
                  </a:lnTo>
                  <a:lnTo>
                    <a:pt x="841518" y="1587657"/>
                  </a:lnTo>
                  <a:lnTo>
                    <a:pt x="2327601" y="188625"/>
                  </a:lnTo>
                  <a:lnTo>
                    <a:pt x="2159706" y="832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</p:grp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5C1FC870-90C0-3F45-8912-7057517DFDDA}"/>
              </a:ext>
            </a:extLst>
          </p:cNvPr>
          <p:cNvGrpSpPr>
            <a:grpSpLocks noChangeAspect="1"/>
          </p:cNvGrpSpPr>
          <p:nvPr/>
        </p:nvGrpSpPr>
        <p:grpSpPr>
          <a:xfrm>
            <a:off x="9716271" y="3838260"/>
            <a:ext cx="592797" cy="592797"/>
            <a:chOff x="3948956" y="596176"/>
            <a:chExt cx="4291149" cy="4291149"/>
          </a:xfrm>
          <a:solidFill>
            <a:schemeClr val="accent1"/>
          </a:solidFill>
        </p:grpSpPr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1B21FB03-E1D0-15A5-D900-B484EF93E5F0}"/>
                </a:ext>
              </a:extLst>
            </p:cNvPr>
            <p:cNvSpPr/>
            <p:nvPr/>
          </p:nvSpPr>
          <p:spPr>
            <a:xfrm>
              <a:off x="3948956" y="596176"/>
              <a:ext cx="4291149" cy="4291149"/>
            </a:xfrm>
            <a:custGeom>
              <a:avLst/>
              <a:gdLst>
                <a:gd name="connsiteX0" fmla="*/ 2147044 w 4291148"/>
                <a:gd name="connsiteY0" fmla="*/ 7348 h 4291148"/>
                <a:gd name="connsiteX1" fmla="*/ 7348 w 4291148"/>
                <a:gd name="connsiteY1" fmla="*/ 2147044 h 4291148"/>
                <a:gd name="connsiteX2" fmla="*/ 2147044 w 4291148"/>
                <a:gd name="connsiteY2" fmla="*/ 4286740 h 4291148"/>
                <a:gd name="connsiteX3" fmla="*/ 4286740 w 4291148"/>
                <a:gd name="connsiteY3" fmla="*/ 2147044 h 4291148"/>
                <a:gd name="connsiteX4" fmla="*/ 2147044 w 4291148"/>
                <a:gd name="connsiteY4" fmla="*/ 7348 h 4291148"/>
                <a:gd name="connsiteX5" fmla="*/ 2147044 w 4291148"/>
                <a:gd name="connsiteY5" fmla="*/ 4067284 h 4291148"/>
                <a:gd name="connsiteX6" fmla="*/ 226804 w 4291148"/>
                <a:gd name="connsiteY6" fmla="*/ 2147044 h 4291148"/>
                <a:gd name="connsiteX7" fmla="*/ 2147044 w 4291148"/>
                <a:gd name="connsiteY7" fmla="*/ 226804 h 4291148"/>
                <a:gd name="connsiteX8" fmla="*/ 4067284 w 4291148"/>
                <a:gd name="connsiteY8" fmla="*/ 2147044 h 4291148"/>
                <a:gd name="connsiteX9" fmla="*/ 2147044 w 4291148"/>
                <a:gd name="connsiteY9" fmla="*/ 4067284 h 4291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91148" h="4291148">
                  <a:moveTo>
                    <a:pt x="2147044" y="7348"/>
                  </a:moveTo>
                  <a:cubicBezTo>
                    <a:pt x="967468" y="7348"/>
                    <a:pt x="7348" y="967468"/>
                    <a:pt x="7348" y="2147044"/>
                  </a:cubicBezTo>
                  <a:cubicBezTo>
                    <a:pt x="7348" y="3326620"/>
                    <a:pt x="967468" y="4286740"/>
                    <a:pt x="2147044" y="4286740"/>
                  </a:cubicBezTo>
                  <a:cubicBezTo>
                    <a:pt x="3326620" y="4286740"/>
                    <a:pt x="4286740" y="3326620"/>
                    <a:pt x="4286740" y="2147044"/>
                  </a:cubicBezTo>
                  <a:cubicBezTo>
                    <a:pt x="4286740" y="967468"/>
                    <a:pt x="3326620" y="7348"/>
                    <a:pt x="2147044" y="7348"/>
                  </a:cubicBezTo>
                  <a:close/>
                  <a:moveTo>
                    <a:pt x="2147044" y="4067284"/>
                  </a:moveTo>
                  <a:cubicBezTo>
                    <a:pt x="1088169" y="4067284"/>
                    <a:pt x="226804" y="3205899"/>
                    <a:pt x="226804" y="2147044"/>
                  </a:cubicBezTo>
                  <a:cubicBezTo>
                    <a:pt x="226804" y="1088188"/>
                    <a:pt x="1088188" y="226804"/>
                    <a:pt x="2147044" y="226804"/>
                  </a:cubicBezTo>
                  <a:cubicBezTo>
                    <a:pt x="3205900" y="226804"/>
                    <a:pt x="4067284" y="1088188"/>
                    <a:pt x="4067284" y="2147044"/>
                  </a:cubicBezTo>
                  <a:cubicBezTo>
                    <a:pt x="4067284" y="3205899"/>
                    <a:pt x="3205900" y="4067284"/>
                    <a:pt x="2147044" y="406728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0CDAC2EB-1137-61A9-0533-8F0E14616FC3}"/>
                </a:ext>
              </a:extLst>
            </p:cNvPr>
            <p:cNvSpPr/>
            <p:nvPr/>
          </p:nvSpPr>
          <p:spPr>
            <a:xfrm>
              <a:off x="5358144" y="2005324"/>
              <a:ext cx="1469571" cy="1469571"/>
            </a:xfrm>
            <a:custGeom>
              <a:avLst/>
              <a:gdLst>
                <a:gd name="connsiteX0" fmla="*/ 1436295 w 1469571"/>
                <a:gd name="connsiteY0" fmla="*/ 39437 h 1469571"/>
                <a:gd name="connsiteX1" fmla="*/ 1281029 w 1469571"/>
                <a:gd name="connsiteY1" fmla="*/ 39437 h 1469571"/>
                <a:gd name="connsiteX2" fmla="*/ 737866 w 1469571"/>
                <a:gd name="connsiteY2" fmla="*/ 582601 h 1469571"/>
                <a:gd name="connsiteX3" fmla="*/ 194703 w 1469571"/>
                <a:gd name="connsiteY3" fmla="*/ 39437 h 1469571"/>
                <a:gd name="connsiteX4" fmla="*/ 39438 w 1469571"/>
                <a:gd name="connsiteY4" fmla="*/ 39437 h 1469571"/>
                <a:gd name="connsiteX5" fmla="*/ 39438 w 1469571"/>
                <a:gd name="connsiteY5" fmla="*/ 194702 h 1469571"/>
                <a:gd name="connsiteX6" fmla="*/ 582601 w 1469571"/>
                <a:gd name="connsiteY6" fmla="*/ 737866 h 1469571"/>
                <a:gd name="connsiteX7" fmla="*/ 39438 w 1469571"/>
                <a:gd name="connsiteY7" fmla="*/ 1281029 h 1469571"/>
                <a:gd name="connsiteX8" fmla="*/ 39438 w 1469571"/>
                <a:gd name="connsiteY8" fmla="*/ 1436294 h 1469571"/>
                <a:gd name="connsiteX9" fmla="*/ 116781 w 1469571"/>
                <a:gd name="connsiteY9" fmla="*/ 1468671 h 1469571"/>
                <a:gd name="connsiteX10" fmla="*/ 194125 w 1469571"/>
                <a:gd name="connsiteY10" fmla="*/ 1436294 h 1469571"/>
                <a:gd name="connsiteX11" fmla="*/ 737288 w 1469571"/>
                <a:gd name="connsiteY11" fmla="*/ 893131 h 1469571"/>
                <a:gd name="connsiteX12" fmla="*/ 1280451 w 1469571"/>
                <a:gd name="connsiteY12" fmla="*/ 1436294 h 1469571"/>
                <a:gd name="connsiteX13" fmla="*/ 1357795 w 1469571"/>
                <a:gd name="connsiteY13" fmla="*/ 1468671 h 1469571"/>
                <a:gd name="connsiteX14" fmla="*/ 1435139 w 1469571"/>
                <a:gd name="connsiteY14" fmla="*/ 1436294 h 1469571"/>
                <a:gd name="connsiteX15" fmla="*/ 1435139 w 1469571"/>
                <a:gd name="connsiteY15" fmla="*/ 1281029 h 1469571"/>
                <a:gd name="connsiteX16" fmla="*/ 891975 w 1469571"/>
                <a:gd name="connsiteY16" fmla="*/ 737866 h 1469571"/>
                <a:gd name="connsiteX17" fmla="*/ 1435139 w 1469571"/>
                <a:gd name="connsiteY17" fmla="*/ 194702 h 1469571"/>
                <a:gd name="connsiteX18" fmla="*/ 1436287 w 1469571"/>
                <a:gd name="connsiteY18" fmla="*/ 39437 h 1469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469571" h="1469571">
                  <a:moveTo>
                    <a:pt x="1436295" y="39437"/>
                  </a:moveTo>
                  <a:cubicBezTo>
                    <a:pt x="1393508" y="-3349"/>
                    <a:pt x="1323823" y="-3349"/>
                    <a:pt x="1281029" y="39437"/>
                  </a:cubicBezTo>
                  <a:lnTo>
                    <a:pt x="737866" y="582601"/>
                  </a:lnTo>
                  <a:lnTo>
                    <a:pt x="194703" y="39437"/>
                  </a:lnTo>
                  <a:cubicBezTo>
                    <a:pt x="151917" y="-3349"/>
                    <a:pt x="82231" y="-3349"/>
                    <a:pt x="39438" y="39437"/>
                  </a:cubicBezTo>
                  <a:cubicBezTo>
                    <a:pt x="-3349" y="82223"/>
                    <a:pt x="-3349" y="151909"/>
                    <a:pt x="39438" y="194702"/>
                  </a:cubicBezTo>
                  <a:lnTo>
                    <a:pt x="582601" y="737866"/>
                  </a:lnTo>
                  <a:lnTo>
                    <a:pt x="39438" y="1281029"/>
                  </a:lnTo>
                  <a:cubicBezTo>
                    <a:pt x="-3349" y="1323815"/>
                    <a:pt x="-3349" y="1393501"/>
                    <a:pt x="39438" y="1436294"/>
                  </a:cubicBezTo>
                  <a:cubicBezTo>
                    <a:pt x="60831" y="1457687"/>
                    <a:pt x="88806" y="1468671"/>
                    <a:pt x="116781" y="1468671"/>
                  </a:cubicBezTo>
                  <a:cubicBezTo>
                    <a:pt x="144756" y="1468671"/>
                    <a:pt x="172732" y="1457687"/>
                    <a:pt x="194125" y="1436294"/>
                  </a:cubicBezTo>
                  <a:lnTo>
                    <a:pt x="737288" y="893131"/>
                  </a:lnTo>
                  <a:lnTo>
                    <a:pt x="1280451" y="1436294"/>
                  </a:lnTo>
                  <a:cubicBezTo>
                    <a:pt x="1301844" y="1457687"/>
                    <a:pt x="1329820" y="1468671"/>
                    <a:pt x="1357795" y="1468671"/>
                  </a:cubicBezTo>
                  <a:cubicBezTo>
                    <a:pt x="1385771" y="1468671"/>
                    <a:pt x="1413746" y="1457687"/>
                    <a:pt x="1435139" y="1436294"/>
                  </a:cubicBezTo>
                  <a:cubicBezTo>
                    <a:pt x="1477925" y="1393508"/>
                    <a:pt x="1477925" y="1323823"/>
                    <a:pt x="1435139" y="1281029"/>
                  </a:cubicBezTo>
                  <a:lnTo>
                    <a:pt x="891975" y="737866"/>
                  </a:lnTo>
                  <a:lnTo>
                    <a:pt x="1435139" y="194702"/>
                  </a:lnTo>
                  <a:cubicBezTo>
                    <a:pt x="1479073" y="151916"/>
                    <a:pt x="1479073" y="82231"/>
                    <a:pt x="1436287" y="3943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</p:grpSp>
      <p:sp>
        <p:nvSpPr>
          <p:cNvPr id="123" name="Freeform: Shape 122">
            <a:extLst>
              <a:ext uri="{FF2B5EF4-FFF2-40B4-BE49-F238E27FC236}">
                <a16:creationId xmlns:a16="http://schemas.microsoft.com/office/drawing/2014/main" id="{B11E3BDD-02B9-3E5C-8B8B-5EB07D97F68B}"/>
              </a:ext>
            </a:extLst>
          </p:cNvPr>
          <p:cNvSpPr>
            <a:spLocks noChangeAspect="1"/>
          </p:cNvSpPr>
          <p:nvPr/>
        </p:nvSpPr>
        <p:spPr>
          <a:xfrm>
            <a:off x="11021827" y="3838260"/>
            <a:ext cx="592797" cy="592797"/>
          </a:xfrm>
          <a:custGeom>
            <a:avLst/>
            <a:gdLst>
              <a:gd name="connsiteX0" fmla="*/ 1975104 w 3950207"/>
              <a:gd name="connsiteY0" fmla="*/ 0 h 3950207"/>
              <a:gd name="connsiteX1" fmla="*/ 0 w 3950207"/>
              <a:gd name="connsiteY1" fmla="*/ 1975104 h 3950207"/>
              <a:gd name="connsiteX2" fmla="*/ 1975104 w 3950207"/>
              <a:gd name="connsiteY2" fmla="*/ 3950208 h 3950207"/>
              <a:gd name="connsiteX3" fmla="*/ 3950208 w 3950207"/>
              <a:gd name="connsiteY3" fmla="*/ 1975104 h 3950207"/>
              <a:gd name="connsiteX4" fmla="*/ 1975104 w 3950207"/>
              <a:gd name="connsiteY4" fmla="*/ 0 h 3950207"/>
              <a:gd name="connsiteX5" fmla="*/ 1975104 w 3950207"/>
              <a:gd name="connsiteY5" fmla="*/ 219476 h 3950207"/>
              <a:gd name="connsiteX6" fmla="*/ 3730752 w 3950207"/>
              <a:gd name="connsiteY6" fmla="*/ 1975124 h 3950207"/>
              <a:gd name="connsiteX7" fmla="*/ 1975104 w 3950207"/>
              <a:gd name="connsiteY7" fmla="*/ 3730772 h 3950207"/>
              <a:gd name="connsiteX8" fmla="*/ 219456 w 3950207"/>
              <a:gd name="connsiteY8" fmla="*/ 1975124 h 3950207"/>
              <a:gd name="connsiteX9" fmla="*/ 1975104 w 3950207"/>
              <a:gd name="connsiteY9" fmla="*/ 219476 h 3950207"/>
              <a:gd name="connsiteX10" fmla="*/ 1973382 w 3950207"/>
              <a:gd name="connsiteY10" fmla="*/ 932717 h 3950207"/>
              <a:gd name="connsiteX11" fmla="*/ 1327035 w 3950207"/>
              <a:gd name="connsiteY11" fmla="*/ 1380172 h 3950207"/>
              <a:gd name="connsiteX12" fmla="*/ 1318118 w 3950207"/>
              <a:gd name="connsiteY12" fmla="*/ 1468079 h 3950207"/>
              <a:gd name="connsiteX13" fmla="*/ 1376901 w 3950207"/>
              <a:gd name="connsiteY13" fmla="*/ 1534057 h 3950207"/>
              <a:gd name="connsiteX14" fmla="*/ 1465266 w 3950207"/>
              <a:gd name="connsiteY14" fmla="*/ 1535320 h 3950207"/>
              <a:gd name="connsiteX15" fmla="*/ 1525886 w 3950207"/>
              <a:gd name="connsiteY15" fmla="*/ 1471065 h 3950207"/>
              <a:gd name="connsiteX16" fmla="*/ 1975105 w 3950207"/>
              <a:gd name="connsiteY16" fmla="*/ 1152158 h 3950207"/>
              <a:gd name="connsiteX17" fmla="*/ 1976827 w 3950207"/>
              <a:gd name="connsiteY17" fmla="*/ 1152158 h 3950207"/>
              <a:gd name="connsiteX18" fmla="*/ 2340281 w 3950207"/>
              <a:gd name="connsiteY18" fmla="*/ 1275621 h 3950207"/>
              <a:gd name="connsiteX19" fmla="*/ 2468869 w 3950207"/>
              <a:gd name="connsiteY19" fmla="*/ 1591080 h 3950207"/>
              <a:gd name="connsiteX20" fmla="*/ 2398605 w 3950207"/>
              <a:gd name="connsiteY20" fmla="*/ 1779675 h 3950207"/>
              <a:gd name="connsiteX21" fmla="*/ 2206561 w 3950207"/>
              <a:gd name="connsiteY21" fmla="*/ 1971679 h 3950207"/>
              <a:gd name="connsiteX22" fmla="*/ 1865385 w 3950207"/>
              <a:gd name="connsiteY22" fmla="*/ 2520319 h 3950207"/>
              <a:gd name="connsiteX23" fmla="*/ 1895618 w 3950207"/>
              <a:gd name="connsiteY23" fmla="*/ 2598811 h 3950207"/>
              <a:gd name="connsiteX24" fmla="*/ 1972542 w 3950207"/>
              <a:gd name="connsiteY24" fmla="*/ 2632833 h 3950207"/>
              <a:gd name="connsiteX25" fmla="*/ 2050957 w 3950207"/>
              <a:gd name="connsiteY25" fmla="*/ 2602447 h 3950207"/>
              <a:gd name="connsiteX26" fmla="*/ 2084826 w 3950207"/>
              <a:gd name="connsiteY26" fmla="*/ 2525485 h 3950207"/>
              <a:gd name="connsiteX27" fmla="*/ 2352297 w 3950207"/>
              <a:gd name="connsiteY27" fmla="*/ 2136274 h 3950207"/>
              <a:gd name="connsiteX28" fmla="*/ 2573458 w 3950207"/>
              <a:gd name="connsiteY28" fmla="*/ 1911665 h 3950207"/>
              <a:gd name="connsiteX29" fmla="*/ 2688349 w 3950207"/>
              <a:gd name="connsiteY29" fmla="*/ 1591073 h 3950207"/>
              <a:gd name="connsiteX30" fmla="*/ 2487733 w 3950207"/>
              <a:gd name="connsiteY30" fmla="*/ 1112737 h 3950207"/>
              <a:gd name="connsiteX31" fmla="*/ 1975107 w 3950207"/>
              <a:gd name="connsiteY31" fmla="*/ 932715 h 3950207"/>
              <a:gd name="connsiteX32" fmla="*/ 1973385 w 3950207"/>
              <a:gd name="connsiteY32" fmla="*/ 932715 h 3950207"/>
              <a:gd name="connsiteX33" fmla="*/ 1920225 w 3950207"/>
              <a:gd name="connsiteY33" fmla="*/ 2798094 h 3950207"/>
              <a:gd name="connsiteX34" fmla="*/ 1865383 w 3950207"/>
              <a:gd name="connsiteY34" fmla="*/ 2852973 h 3950207"/>
              <a:gd name="connsiteX35" fmla="*/ 1865383 w 3950207"/>
              <a:gd name="connsiteY35" fmla="*/ 2962691 h 3950207"/>
              <a:gd name="connsiteX36" fmla="*/ 1920225 w 3950207"/>
              <a:gd name="connsiteY36" fmla="*/ 3017533 h 3950207"/>
              <a:gd name="connsiteX37" fmla="*/ 2029982 w 3950207"/>
              <a:gd name="connsiteY37" fmla="*/ 3017533 h 3950207"/>
              <a:gd name="connsiteX38" fmla="*/ 2084824 w 3950207"/>
              <a:gd name="connsiteY38" fmla="*/ 2962691 h 3950207"/>
              <a:gd name="connsiteX39" fmla="*/ 2084824 w 3950207"/>
              <a:gd name="connsiteY39" fmla="*/ 2852973 h 3950207"/>
              <a:gd name="connsiteX40" fmla="*/ 2029982 w 3950207"/>
              <a:gd name="connsiteY40" fmla="*/ 2798094 h 39502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3950207" h="3950207">
                <a:moveTo>
                  <a:pt x="1975104" y="0"/>
                </a:moveTo>
                <a:cubicBezTo>
                  <a:pt x="885564" y="0"/>
                  <a:pt x="0" y="885613"/>
                  <a:pt x="0" y="1975104"/>
                </a:cubicBezTo>
                <a:cubicBezTo>
                  <a:pt x="0" y="3064595"/>
                  <a:pt x="885613" y="3950208"/>
                  <a:pt x="1975104" y="3950208"/>
                </a:cubicBezTo>
                <a:cubicBezTo>
                  <a:pt x="3064595" y="3950208"/>
                  <a:pt x="3950208" y="3064595"/>
                  <a:pt x="3950208" y="1975104"/>
                </a:cubicBezTo>
                <a:cubicBezTo>
                  <a:pt x="3950208" y="885613"/>
                  <a:pt x="3064595" y="0"/>
                  <a:pt x="1975104" y="0"/>
                </a:cubicBezTo>
                <a:close/>
                <a:moveTo>
                  <a:pt x="1975104" y="219476"/>
                </a:moveTo>
                <a:cubicBezTo>
                  <a:pt x="2946021" y="219476"/>
                  <a:pt x="3730752" y="1004207"/>
                  <a:pt x="3730752" y="1975124"/>
                </a:cubicBezTo>
                <a:cubicBezTo>
                  <a:pt x="3730752" y="2946040"/>
                  <a:pt x="2946021" y="3730772"/>
                  <a:pt x="1975104" y="3730772"/>
                </a:cubicBezTo>
                <a:cubicBezTo>
                  <a:pt x="1004188" y="3730772"/>
                  <a:pt x="219456" y="2946040"/>
                  <a:pt x="219456" y="1975124"/>
                </a:cubicBezTo>
                <a:cubicBezTo>
                  <a:pt x="219456" y="1004207"/>
                  <a:pt x="1004188" y="219476"/>
                  <a:pt x="1975104" y="219476"/>
                </a:cubicBezTo>
                <a:close/>
                <a:moveTo>
                  <a:pt x="1973382" y="932717"/>
                </a:moveTo>
                <a:cubicBezTo>
                  <a:pt x="1697220" y="935549"/>
                  <a:pt x="1446482" y="1114082"/>
                  <a:pt x="1327035" y="1380172"/>
                </a:cubicBezTo>
                <a:cubicBezTo>
                  <a:pt x="1311880" y="1406962"/>
                  <a:pt x="1308665" y="1438841"/>
                  <a:pt x="1318118" y="1468079"/>
                </a:cubicBezTo>
                <a:cubicBezTo>
                  <a:pt x="1327609" y="1497356"/>
                  <a:pt x="1348963" y="1521275"/>
                  <a:pt x="1376901" y="1534057"/>
                </a:cubicBezTo>
                <a:cubicBezTo>
                  <a:pt x="1404877" y="1546840"/>
                  <a:pt x="1436947" y="1547299"/>
                  <a:pt x="1465266" y="1535320"/>
                </a:cubicBezTo>
                <a:cubicBezTo>
                  <a:pt x="1493586" y="1523341"/>
                  <a:pt x="1515591" y="1500035"/>
                  <a:pt x="1525886" y="1471065"/>
                </a:cubicBezTo>
                <a:cubicBezTo>
                  <a:pt x="1612798" y="1277414"/>
                  <a:pt x="1795082" y="1154764"/>
                  <a:pt x="1975105" y="1152158"/>
                </a:cubicBezTo>
                <a:lnTo>
                  <a:pt x="1976827" y="1152158"/>
                </a:lnTo>
                <a:cubicBezTo>
                  <a:pt x="2136109" y="1153689"/>
                  <a:pt x="2258269" y="1200952"/>
                  <a:pt x="2340281" y="1275621"/>
                </a:cubicBezTo>
                <a:cubicBezTo>
                  <a:pt x="2422638" y="1350554"/>
                  <a:pt x="2468869" y="1454155"/>
                  <a:pt x="2468869" y="1591080"/>
                </a:cubicBezTo>
                <a:cubicBezTo>
                  <a:pt x="2468869" y="1662262"/>
                  <a:pt x="2445179" y="1717600"/>
                  <a:pt x="2398605" y="1779675"/>
                </a:cubicBezTo>
                <a:cubicBezTo>
                  <a:pt x="2351992" y="1841710"/>
                  <a:pt x="2281499" y="1904970"/>
                  <a:pt x="2206561" y="1971679"/>
                </a:cubicBezTo>
                <a:cubicBezTo>
                  <a:pt x="2056694" y="2105126"/>
                  <a:pt x="1870666" y="2265133"/>
                  <a:pt x="1865385" y="2520319"/>
                </a:cubicBezTo>
                <a:cubicBezTo>
                  <a:pt x="1864658" y="2549481"/>
                  <a:pt x="1875527" y="2577686"/>
                  <a:pt x="1895618" y="2598811"/>
                </a:cubicBezTo>
                <a:cubicBezTo>
                  <a:pt x="1915710" y="2619897"/>
                  <a:pt x="1943379" y="2632144"/>
                  <a:pt x="1972542" y="2632833"/>
                </a:cubicBezTo>
                <a:cubicBezTo>
                  <a:pt x="2001666" y="2633522"/>
                  <a:pt x="2029870" y="2622577"/>
                  <a:pt x="2050957" y="2602447"/>
                </a:cubicBezTo>
                <a:cubicBezTo>
                  <a:pt x="2072005" y="2582316"/>
                  <a:pt x="2084213" y="2554609"/>
                  <a:pt x="2084826" y="2525485"/>
                </a:cubicBezTo>
                <a:cubicBezTo>
                  <a:pt x="2087887" y="2377725"/>
                  <a:pt x="2202470" y="2269692"/>
                  <a:pt x="2352297" y="2136274"/>
                </a:cubicBezTo>
                <a:cubicBezTo>
                  <a:pt x="2427192" y="2069569"/>
                  <a:pt x="2508209" y="1998575"/>
                  <a:pt x="2573458" y="1911665"/>
                </a:cubicBezTo>
                <a:cubicBezTo>
                  <a:pt x="2638709" y="1824753"/>
                  <a:pt x="2688349" y="1717368"/>
                  <a:pt x="2688349" y="1591073"/>
                </a:cubicBezTo>
                <a:cubicBezTo>
                  <a:pt x="2688349" y="1400636"/>
                  <a:pt x="2616134" y="1229578"/>
                  <a:pt x="2487733" y="1112737"/>
                </a:cubicBezTo>
                <a:cubicBezTo>
                  <a:pt x="2359342" y="995857"/>
                  <a:pt x="2178898" y="934164"/>
                  <a:pt x="1975107" y="932715"/>
                </a:cubicBezTo>
                <a:cubicBezTo>
                  <a:pt x="1974533" y="932676"/>
                  <a:pt x="1973959" y="932676"/>
                  <a:pt x="1973385" y="932715"/>
                </a:cubicBezTo>
                <a:close/>
                <a:moveTo>
                  <a:pt x="1920225" y="2798094"/>
                </a:moveTo>
                <a:cubicBezTo>
                  <a:pt x="1889838" y="2798094"/>
                  <a:pt x="1865383" y="2822548"/>
                  <a:pt x="1865383" y="2852973"/>
                </a:cubicBezTo>
                <a:lnTo>
                  <a:pt x="1865383" y="2962691"/>
                </a:lnTo>
                <a:cubicBezTo>
                  <a:pt x="1865383" y="2993078"/>
                  <a:pt x="1889838" y="3017533"/>
                  <a:pt x="1920225" y="3017533"/>
                </a:cubicBezTo>
                <a:lnTo>
                  <a:pt x="2029982" y="3017533"/>
                </a:lnTo>
                <a:cubicBezTo>
                  <a:pt x="2060369" y="3017533"/>
                  <a:pt x="2084824" y="2993078"/>
                  <a:pt x="2084824" y="2962691"/>
                </a:cubicBezTo>
                <a:lnTo>
                  <a:pt x="2084824" y="2852973"/>
                </a:lnTo>
                <a:cubicBezTo>
                  <a:pt x="2084824" y="2822548"/>
                  <a:pt x="2060369" y="2798094"/>
                  <a:pt x="2029982" y="279809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N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0436035"/>
      </p:ext>
    </p:extLst>
  </p:cSld>
  <p:clrMapOvr>
    <a:masterClrMapping/>
  </p:clrMapOvr>
</p:sld>
</file>

<file path=ppt/slides/slide2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7B7015-FAC3-7ABC-B593-137766E4C3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4" name="think-cell data - do not delete" hidden="1">
            <a:extLst>
              <a:ext uri="{FF2B5EF4-FFF2-40B4-BE49-F238E27FC236}">
                <a16:creationId xmlns:a16="http://schemas.microsoft.com/office/drawing/2014/main" id="{7CC66641-2910-5349-2B73-2B257416C2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9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CC66641-2910-5349-2B73-2B257416C2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A639D59-B9AD-E901-63BC-20EEF4FC49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209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D0FCB31-B2E9-990A-DA55-9408FA0791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Icons </a:t>
            </a:r>
          </a:p>
        </p:txBody>
      </p:sp>
      <p:grpSp>
        <p:nvGrpSpPr>
          <p:cNvPr id="29" name="Shape1_20200717_154431">
            <a:extLst>
              <a:ext uri="{FF2B5EF4-FFF2-40B4-BE49-F238E27FC236}">
                <a16:creationId xmlns:a16="http://schemas.microsoft.com/office/drawing/2014/main" id="{5CB2F6F5-CF18-F97B-164E-053C25885AB9}"/>
              </a:ext>
            </a:extLst>
          </p:cNvPr>
          <p:cNvGrpSpPr>
            <a:grpSpLocks noChangeAspect="1"/>
          </p:cNvGrpSpPr>
          <p:nvPr/>
        </p:nvGrpSpPr>
        <p:grpSpPr>
          <a:xfrm>
            <a:off x="604703" y="2473622"/>
            <a:ext cx="538143" cy="593055"/>
            <a:chOff x="-3389928" y="2225973"/>
            <a:chExt cx="538143" cy="593055"/>
          </a:xfrm>
          <a:solidFill>
            <a:schemeClr val="accent1"/>
          </a:solidFill>
        </p:grpSpPr>
        <p:sp>
          <p:nvSpPr>
            <p:cNvPr id="190" name="Freeform 193">
              <a:extLst>
                <a:ext uri="{FF2B5EF4-FFF2-40B4-BE49-F238E27FC236}">
                  <a16:creationId xmlns:a16="http://schemas.microsoft.com/office/drawing/2014/main" id="{B21AB152-3957-558E-EDC2-CE45308FF8C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335016" y="2225973"/>
              <a:ext cx="428318" cy="534481"/>
            </a:xfrm>
            <a:custGeom>
              <a:avLst/>
              <a:gdLst>
                <a:gd name="T0" fmla="*/ 77 w 155"/>
                <a:gd name="T1" fmla="*/ 194 h 194"/>
                <a:gd name="T2" fmla="*/ 75 w 155"/>
                <a:gd name="T3" fmla="*/ 193 h 194"/>
                <a:gd name="T4" fmla="*/ 17 w 155"/>
                <a:gd name="T5" fmla="*/ 125 h 194"/>
                <a:gd name="T6" fmla="*/ 0 w 155"/>
                <a:gd name="T7" fmla="*/ 76 h 194"/>
                <a:gd name="T8" fmla="*/ 76 w 155"/>
                <a:gd name="T9" fmla="*/ 0 h 194"/>
                <a:gd name="T10" fmla="*/ 79 w 155"/>
                <a:gd name="T11" fmla="*/ 0 h 194"/>
                <a:gd name="T12" fmla="*/ 155 w 155"/>
                <a:gd name="T13" fmla="*/ 76 h 194"/>
                <a:gd name="T14" fmla="*/ 137 w 155"/>
                <a:gd name="T15" fmla="*/ 125 h 194"/>
                <a:gd name="T16" fmla="*/ 80 w 155"/>
                <a:gd name="T17" fmla="*/ 193 h 194"/>
                <a:gd name="T18" fmla="*/ 77 w 155"/>
                <a:gd name="T19" fmla="*/ 194 h 194"/>
                <a:gd name="T20" fmla="*/ 76 w 155"/>
                <a:gd name="T21" fmla="*/ 7 h 194"/>
                <a:gd name="T22" fmla="*/ 7 w 155"/>
                <a:gd name="T23" fmla="*/ 76 h 194"/>
                <a:gd name="T24" fmla="*/ 23 w 155"/>
                <a:gd name="T25" fmla="*/ 120 h 194"/>
                <a:gd name="T26" fmla="*/ 77 w 155"/>
                <a:gd name="T27" fmla="*/ 185 h 194"/>
                <a:gd name="T28" fmla="*/ 132 w 155"/>
                <a:gd name="T29" fmla="*/ 120 h 194"/>
                <a:gd name="T30" fmla="*/ 132 w 155"/>
                <a:gd name="T31" fmla="*/ 120 h 194"/>
                <a:gd name="T32" fmla="*/ 148 w 155"/>
                <a:gd name="T33" fmla="*/ 76 h 194"/>
                <a:gd name="T34" fmla="*/ 79 w 155"/>
                <a:gd name="T35" fmla="*/ 7 h 194"/>
                <a:gd name="T36" fmla="*/ 76 w 155"/>
                <a:gd name="T37" fmla="*/ 7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55" h="194">
                  <a:moveTo>
                    <a:pt x="77" y="194"/>
                  </a:moveTo>
                  <a:cubicBezTo>
                    <a:pt x="76" y="194"/>
                    <a:pt x="75" y="194"/>
                    <a:pt x="75" y="193"/>
                  </a:cubicBezTo>
                  <a:cubicBezTo>
                    <a:pt x="17" y="125"/>
                    <a:pt x="17" y="125"/>
                    <a:pt x="17" y="125"/>
                  </a:cubicBezTo>
                  <a:cubicBezTo>
                    <a:pt x="6" y="111"/>
                    <a:pt x="0" y="94"/>
                    <a:pt x="0" y="76"/>
                  </a:cubicBezTo>
                  <a:cubicBezTo>
                    <a:pt x="0" y="34"/>
                    <a:pt x="34" y="0"/>
                    <a:pt x="76" y="0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121" y="0"/>
                    <a:pt x="155" y="34"/>
                    <a:pt x="155" y="76"/>
                  </a:cubicBezTo>
                  <a:cubicBezTo>
                    <a:pt x="155" y="94"/>
                    <a:pt x="149" y="111"/>
                    <a:pt x="137" y="125"/>
                  </a:cubicBezTo>
                  <a:cubicBezTo>
                    <a:pt x="80" y="193"/>
                    <a:pt x="80" y="193"/>
                    <a:pt x="80" y="193"/>
                  </a:cubicBezTo>
                  <a:cubicBezTo>
                    <a:pt x="79" y="194"/>
                    <a:pt x="78" y="194"/>
                    <a:pt x="77" y="194"/>
                  </a:cubicBezTo>
                  <a:close/>
                  <a:moveTo>
                    <a:pt x="76" y="7"/>
                  </a:moveTo>
                  <a:cubicBezTo>
                    <a:pt x="38" y="7"/>
                    <a:pt x="7" y="38"/>
                    <a:pt x="7" y="76"/>
                  </a:cubicBezTo>
                  <a:cubicBezTo>
                    <a:pt x="7" y="92"/>
                    <a:pt x="12" y="108"/>
                    <a:pt x="23" y="120"/>
                  </a:cubicBezTo>
                  <a:cubicBezTo>
                    <a:pt x="77" y="185"/>
                    <a:pt x="77" y="185"/>
                    <a:pt x="77" y="185"/>
                  </a:cubicBezTo>
                  <a:cubicBezTo>
                    <a:pt x="132" y="120"/>
                    <a:pt x="132" y="120"/>
                    <a:pt x="132" y="120"/>
                  </a:cubicBezTo>
                  <a:cubicBezTo>
                    <a:pt x="132" y="120"/>
                    <a:pt x="132" y="120"/>
                    <a:pt x="132" y="120"/>
                  </a:cubicBezTo>
                  <a:cubicBezTo>
                    <a:pt x="142" y="108"/>
                    <a:pt x="148" y="92"/>
                    <a:pt x="148" y="76"/>
                  </a:cubicBezTo>
                  <a:cubicBezTo>
                    <a:pt x="148" y="38"/>
                    <a:pt x="117" y="7"/>
                    <a:pt x="79" y="7"/>
                  </a:cubicBezTo>
                  <a:lnTo>
                    <a:pt x="76" y="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1" name="Freeform 194">
              <a:extLst>
                <a:ext uri="{FF2B5EF4-FFF2-40B4-BE49-F238E27FC236}">
                  <a16:creationId xmlns:a16="http://schemas.microsoft.com/office/drawing/2014/main" id="{2D38310C-8841-1E0A-62A4-5EE4601C81F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50816" y="2306511"/>
              <a:ext cx="256258" cy="256258"/>
            </a:xfrm>
            <a:custGeom>
              <a:avLst/>
              <a:gdLst>
                <a:gd name="T0" fmla="*/ 46 w 92"/>
                <a:gd name="T1" fmla="*/ 92 h 92"/>
                <a:gd name="T2" fmla="*/ 0 w 92"/>
                <a:gd name="T3" fmla="*/ 46 h 92"/>
                <a:gd name="T4" fmla="*/ 46 w 92"/>
                <a:gd name="T5" fmla="*/ 0 h 92"/>
                <a:gd name="T6" fmla="*/ 92 w 92"/>
                <a:gd name="T7" fmla="*/ 46 h 92"/>
                <a:gd name="T8" fmla="*/ 46 w 92"/>
                <a:gd name="T9" fmla="*/ 92 h 92"/>
                <a:gd name="T10" fmla="*/ 46 w 92"/>
                <a:gd name="T11" fmla="*/ 7 h 92"/>
                <a:gd name="T12" fmla="*/ 8 w 92"/>
                <a:gd name="T13" fmla="*/ 46 h 92"/>
                <a:gd name="T14" fmla="*/ 46 w 92"/>
                <a:gd name="T15" fmla="*/ 85 h 92"/>
                <a:gd name="T16" fmla="*/ 85 w 92"/>
                <a:gd name="T17" fmla="*/ 46 h 92"/>
                <a:gd name="T18" fmla="*/ 46 w 92"/>
                <a:gd name="T19" fmla="*/ 7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2" h="92">
                  <a:moveTo>
                    <a:pt x="46" y="92"/>
                  </a:moveTo>
                  <a:cubicBezTo>
                    <a:pt x="21" y="92"/>
                    <a:pt x="0" y="71"/>
                    <a:pt x="0" y="46"/>
                  </a:cubicBezTo>
                  <a:cubicBezTo>
                    <a:pt x="0" y="21"/>
                    <a:pt x="21" y="0"/>
                    <a:pt x="46" y="0"/>
                  </a:cubicBezTo>
                  <a:cubicBezTo>
                    <a:pt x="72" y="0"/>
                    <a:pt x="92" y="21"/>
                    <a:pt x="92" y="46"/>
                  </a:cubicBezTo>
                  <a:cubicBezTo>
                    <a:pt x="92" y="71"/>
                    <a:pt x="72" y="92"/>
                    <a:pt x="46" y="92"/>
                  </a:cubicBezTo>
                  <a:close/>
                  <a:moveTo>
                    <a:pt x="46" y="7"/>
                  </a:moveTo>
                  <a:cubicBezTo>
                    <a:pt x="25" y="7"/>
                    <a:pt x="8" y="25"/>
                    <a:pt x="8" y="46"/>
                  </a:cubicBezTo>
                  <a:cubicBezTo>
                    <a:pt x="8" y="67"/>
                    <a:pt x="25" y="85"/>
                    <a:pt x="46" y="85"/>
                  </a:cubicBezTo>
                  <a:cubicBezTo>
                    <a:pt x="68" y="85"/>
                    <a:pt x="85" y="67"/>
                    <a:pt x="85" y="46"/>
                  </a:cubicBezTo>
                  <a:cubicBezTo>
                    <a:pt x="85" y="25"/>
                    <a:pt x="68" y="7"/>
                    <a:pt x="46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2" name="Freeform 195">
              <a:extLst>
                <a:ext uri="{FF2B5EF4-FFF2-40B4-BE49-F238E27FC236}">
                  <a16:creationId xmlns:a16="http://schemas.microsoft.com/office/drawing/2014/main" id="{08545178-68F8-A9C0-717B-8D048FF9DF51}"/>
                </a:ext>
              </a:extLst>
            </p:cNvPr>
            <p:cNvSpPr>
              <a:spLocks/>
            </p:cNvSpPr>
            <p:nvPr/>
          </p:nvSpPr>
          <p:spPr bwMode="auto">
            <a:xfrm>
              <a:off x="-3389928" y="2635986"/>
              <a:ext cx="538143" cy="183042"/>
            </a:xfrm>
            <a:custGeom>
              <a:avLst/>
              <a:gdLst>
                <a:gd name="T0" fmla="*/ 191 w 195"/>
                <a:gd name="T1" fmla="*/ 66 h 66"/>
                <a:gd name="T2" fmla="*/ 4 w 195"/>
                <a:gd name="T3" fmla="*/ 66 h 66"/>
                <a:gd name="T4" fmla="*/ 1 w 195"/>
                <a:gd name="T5" fmla="*/ 64 h 66"/>
                <a:gd name="T6" fmla="*/ 1 w 195"/>
                <a:gd name="T7" fmla="*/ 61 h 66"/>
                <a:gd name="T8" fmla="*/ 32 w 195"/>
                <a:gd name="T9" fmla="*/ 2 h 66"/>
                <a:gd name="T10" fmla="*/ 35 w 195"/>
                <a:gd name="T11" fmla="*/ 0 h 66"/>
                <a:gd name="T12" fmla="*/ 62 w 195"/>
                <a:gd name="T13" fmla="*/ 0 h 66"/>
                <a:gd name="T14" fmla="*/ 66 w 195"/>
                <a:gd name="T15" fmla="*/ 3 h 66"/>
                <a:gd name="T16" fmla="*/ 62 w 195"/>
                <a:gd name="T17" fmla="*/ 7 h 66"/>
                <a:gd name="T18" fmla="*/ 37 w 195"/>
                <a:gd name="T19" fmla="*/ 7 h 66"/>
                <a:gd name="T20" fmla="*/ 10 w 195"/>
                <a:gd name="T21" fmla="*/ 59 h 66"/>
                <a:gd name="T22" fmla="*/ 185 w 195"/>
                <a:gd name="T23" fmla="*/ 59 h 66"/>
                <a:gd name="T24" fmla="*/ 158 w 195"/>
                <a:gd name="T25" fmla="*/ 7 h 66"/>
                <a:gd name="T26" fmla="*/ 133 w 195"/>
                <a:gd name="T27" fmla="*/ 7 h 66"/>
                <a:gd name="T28" fmla="*/ 130 w 195"/>
                <a:gd name="T29" fmla="*/ 3 h 66"/>
                <a:gd name="T30" fmla="*/ 133 w 195"/>
                <a:gd name="T31" fmla="*/ 0 h 66"/>
                <a:gd name="T32" fmla="*/ 160 w 195"/>
                <a:gd name="T33" fmla="*/ 0 h 66"/>
                <a:gd name="T34" fmla="*/ 163 w 195"/>
                <a:gd name="T35" fmla="*/ 2 h 66"/>
                <a:gd name="T36" fmla="*/ 194 w 195"/>
                <a:gd name="T37" fmla="*/ 61 h 66"/>
                <a:gd name="T38" fmla="*/ 194 w 195"/>
                <a:gd name="T39" fmla="*/ 64 h 66"/>
                <a:gd name="T40" fmla="*/ 191 w 195"/>
                <a:gd name="T41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5" h="66">
                  <a:moveTo>
                    <a:pt x="191" y="66"/>
                  </a:moveTo>
                  <a:cubicBezTo>
                    <a:pt x="4" y="66"/>
                    <a:pt x="4" y="66"/>
                    <a:pt x="4" y="66"/>
                  </a:cubicBezTo>
                  <a:cubicBezTo>
                    <a:pt x="3" y="66"/>
                    <a:pt x="1" y="65"/>
                    <a:pt x="1" y="64"/>
                  </a:cubicBezTo>
                  <a:cubicBezTo>
                    <a:pt x="0" y="63"/>
                    <a:pt x="0" y="62"/>
                    <a:pt x="1" y="61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0"/>
                    <a:pt x="34" y="0"/>
                    <a:pt x="35" y="0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64" y="0"/>
                    <a:pt x="66" y="1"/>
                    <a:pt x="66" y="3"/>
                  </a:cubicBezTo>
                  <a:cubicBezTo>
                    <a:pt x="66" y="5"/>
                    <a:pt x="64" y="7"/>
                    <a:pt x="62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10" y="59"/>
                    <a:pt x="10" y="59"/>
                    <a:pt x="10" y="59"/>
                  </a:cubicBezTo>
                  <a:cubicBezTo>
                    <a:pt x="185" y="59"/>
                    <a:pt x="185" y="59"/>
                    <a:pt x="185" y="59"/>
                  </a:cubicBezTo>
                  <a:cubicBezTo>
                    <a:pt x="158" y="7"/>
                    <a:pt x="158" y="7"/>
                    <a:pt x="158" y="7"/>
                  </a:cubicBezTo>
                  <a:cubicBezTo>
                    <a:pt x="133" y="7"/>
                    <a:pt x="133" y="7"/>
                    <a:pt x="133" y="7"/>
                  </a:cubicBezTo>
                  <a:cubicBezTo>
                    <a:pt x="132" y="7"/>
                    <a:pt x="130" y="5"/>
                    <a:pt x="130" y="3"/>
                  </a:cubicBezTo>
                  <a:cubicBezTo>
                    <a:pt x="130" y="1"/>
                    <a:pt x="132" y="0"/>
                    <a:pt x="133" y="0"/>
                  </a:cubicBezTo>
                  <a:cubicBezTo>
                    <a:pt x="160" y="0"/>
                    <a:pt x="160" y="0"/>
                    <a:pt x="160" y="0"/>
                  </a:cubicBezTo>
                  <a:cubicBezTo>
                    <a:pt x="161" y="0"/>
                    <a:pt x="162" y="0"/>
                    <a:pt x="163" y="2"/>
                  </a:cubicBezTo>
                  <a:cubicBezTo>
                    <a:pt x="194" y="61"/>
                    <a:pt x="194" y="61"/>
                    <a:pt x="194" y="61"/>
                  </a:cubicBezTo>
                  <a:cubicBezTo>
                    <a:pt x="195" y="62"/>
                    <a:pt x="195" y="63"/>
                    <a:pt x="194" y="64"/>
                  </a:cubicBezTo>
                  <a:cubicBezTo>
                    <a:pt x="193" y="65"/>
                    <a:pt x="192" y="66"/>
                    <a:pt x="191" y="6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0" name="Shape2_20200717_154431">
            <a:extLst>
              <a:ext uri="{FF2B5EF4-FFF2-40B4-BE49-F238E27FC236}">
                <a16:creationId xmlns:a16="http://schemas.microsoft.com/office/drawing/2014/main" id="{0E285B9E-816A-46AD-79F8-1795DDDB14FD}"/>
              </a:ext>
            </a:extLst>
          </p:cNvPr>
          <p:cNvGrpSpPr>
            <a:grpSpLocks noChangeAspect="1"/>
          </p:cNvGrpSpPr>
          <p:nvPr/>
        </p:nvGrpSpPr>
        <p:grpSpPr>
          <a:xfrm>
            <a:off x="639481" y="3851620"/>
            <a:ext cx="468586" cy="589395"/>
            <a:chOff x="-7237463" y="5008205"/>
            <a:chExt cx="468586" cy="589395"/>
          </a:xfrm>
          <a:solidFill>
            <a:schemeClr val="accent1"/>
          </a:solidFill>
        </p:grpSpPr>
        <p:sp>
          <p:nvSpPr>
            <p:cNvPr id="188" name="Freeform 196">
              <a:extLst>
                <a:ext uri="{FF2B5EF4-FFF2-40B4-BE49-F238E27FC236}">
                  <a16:creationId xmlns:a16="http://schemas.microsoft.com/office/drawing/2014/main" id="{A5D631E8-144B-750D-BEE3-3826D45BD0F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237463" y="5008205"/>
              <a:ext cx="468586" cy="589395"/>
            </a:xfrm>
            <a:custGeom>
              <a:avLst/>
              <a:gdLst>
                <a:gd name="T0" fmla="*/ 85 w 170"/>
                <a:gd name="T1" fmla="*/ 213 h 213"/>
                <a:gd name="T2" fmla="*/ 82 w 170"/>
                <a:gd name="T3" fmla="*/ 212 h 213"/>
                <a:gd name="T4" fmla="*/ 19 w 170"/>
                <a:gd name="T5" fmla="*/ 137 h 213"/>
                <a:gd name="T6" fmla="*/ 0 w 170"/>
                <a:gd name="T7" fmla="*/ 83 h 213"/>
                <a:gd name="T8" fmla="*/ 83 w 170"/>
                <a:gd name="T9" fmla="*/ 0 h 213"/>
                <a:gd name="T10" fmla="*/ 87 w 170"/>
                <a:gd name="T11" fmla="*/ 0 h 213"/>
                <a:gd name="T12" fmla="*/ 170 w 170"/>
                <a:gd name="T13" fmla="*/ 83 h 213"/>
                <a:gd name="T14" fmla="*/ 151 w 170"/>
                <a:gd name="T15" fmla="*/ 137 h 213"/>
                <a:gd name="T16" fmla="*/ 88 w 170"/>
                <a:gd name="T17" fmla="*/ 212 h 213"/>
                <a:gd name="T18" fmla="*/ 85 w 170"/>
                <a:gd name="T19" fmla="*/ 213 h 213"/>
                <a:gd name="T20" fmla="*/ 83 w 170"/>
                <a:gd name="T21" fmla="*/ 7 h 213"/>
                <a:gd name="T22" fmla="*/ 7 w 170"/>
                <a:gd name="T23" fmla="*/ 83 h 213"/>
                <a:gd name="T24" fmla="*/ 25 w 170"/>
                <a:gd name="T25" fmla="*/ 132 h 213"/>
                <a:gd name="T26" fmla="*/ 85 w 170"/>
                <a:gd name="T27" fmla="*/ 204 h 213"/>
                <a:gd name="T28" fmla="*/ 145 w 170"/>
                <a:gd name="T29" fmla="*/ 132 h 213"/>
                <a:gd name="T30" fmla="*/ 145 w 170"/>
                <a:gd name="T31" fmla="*/ 132 h 213"/>
                <a:gd name="T32" fmla="*/ 163 w 170"/>
                <a:gd name="T33" fmla="*/ 83 h 213"/>
                <a:gd name="T34" fmla="*/ 87 w 170"/>
                <a:gd name="T35" fmla="*/ 7 h 213"/>
                <a:gd name="T36" fmla="*/ 83 w 170"/>
                <a:gd name="T37" fmla="*/ 7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70" h="213">
                  <a:moveTo>
                    <a:pt x="85" y="213"/>
                  </a:moveTo>
                  <a:cubicBezTo>
                    <a:pt x="84" y="213"/>
                    <a:pt x="83" y="213"/>
                    <a:pt x="82" y="212"/>
                  </a:cubicBezTo>
                  <a:cubicBezTo>
                    <a:pt x="19" y="137"/>
                    <a:pt x="19" y="137"/>
                    <a:pt x="19" y="137"/>
                  </a:cubicBezTo>
                  <a:cubicBezTo>
                    <a:pt x="7" y="122"/>
                    <a:pt x="0" y="103"/>
                    <a:pt x="0" y="83"/>
                  </a:cubicBezTo>
                  <a:cubicBezTo>
                    <a:pt x="0" y="37"/>
                    <a:pt x="37" y="0"/>
                    <a:pt x="83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133" y="0"/>
                    <a:pt x="170" y="37"/>
                    <a:pt x="170" y="83"/>
                  </a:cubicBezTo>
                  <a:cubicBezTo>
                    <a:pt x="170" y="103"/>
                    <a:pt x="163" y="122"/>
                    <a:pt x="151" y="137"/>
                  </a:cubicBezTo>
                  <a:cubicBezTo>
                    <a:pt x="88" y="212"/>
                    <a:pt x="88" y="212"/>
                    <a:pt x="88" y="212"/>
                  </a:cubicBezTo>
                  <a:cubicBezTo>
                    <a:pt x="87" y="213"/>
                    <a:pt x="86" y="213"/>
                    <a:pt x="85" y="213"/>
                  </a:cubicBezTo>
                  <a:close/>
                  <a:moveTo>
                    <a:pt x="83" y="7"/>
                  </a:moveTo>
                  <a:cubicBezTo>
                    <a:pt x="41" y="7"/>
                    <a:pt x="7" y="41"/>
                    <a:pt x="7" y="83"/>
                  </a:cubicBezTo>
                  <a:cubicBezTo>
                    <a:pt x="7" y="101"/>
                    <a:pt x="13" y="118"/>
                    <a:pt x="25" y="132"/>
                  </a:cubicBezTo>
                  <a:cubicBezTo>
                    <a:pt x="85" y="204"/>
                    <a:pt x="85" y="204"/>
                    <a:pt x="85" y="204"/>
                  </a:cubicBezTo>
                  <a:cubicBezTo>
                    <a:pt x="145" y="132"/>
                    <a:pt x="145" y="132"/>
                    <a:pt x="145" y="132"/>
                  </a:cubicBezTo>
                  <a:cubicBezTo>
                    <a:pt x="145" y="132"/>
                    <a:pt x="145" y="132"/>
                    <a:pt x="145" y="132"/>
                  </a:cubicBezTo>
                  <a:cubicBezTo>
                    <a:pt x="157" y="118"/>
                    <a:pt x="163" y="101"/>
                    <a:pt x="163" y="83"/>
                  </a:cubicBezTo>
                  <a:cubicBezTo>
                    <a:pt x="163" y="41"/>
                    <a:pt x="129" y="7"/>
                    <a:pt x="87" y="7"/>
                  </a:cubicBezTo>
                  <a:lnTo>
                    <a:pt x="83" y="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9" name="Freeform 197">
              <a:extLst>
                <a:ext uri="{FF2B5EF4-FFF2-40B4-BE49-F238E27FC236}">
                  <a16:creationId xmlns:a16="http://schemas.microsoft.com/office/drawing/2014/main" id="{3C8A71A7-B4F0-5DD8-D560-17AFD0E046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142281" y="5099727"/>
              <a:ext cx="278223" cy="278223"/>
            </a:xfrm>
            <a:custGeom>
              <a:avLst/>
              <a:gdLst>
                <a:gd name="T0" fmla="*/ 50 w 100"/>
                <a:gd name="T1" fmla="*/ 100 h 100"/>
                <a:gd name="T2" fmla="*/ 0 w 100"/>
                <a:gd name="T3" fmla="*/ 50 h 100"/>
                <a:gd name="T4" fmla="*/ 50 w 100"/>
                <a:gd name="T5" fmla="*/ 0 h 100"/>
                <a:gd name="T6" fmla="*/ 100 w 100"/>
                <a:gd name="T7" fmla="*/ 50 h 100"/>
                <a:gd name="T8" fmla="*/ 50 w 100"/>
                <a:gd name="T9" fmla="*/ 100 h 100"/>
                <a:gd name="T10" fmla="*/ 50 w 100"/>
                <a:gd name="T11" fmla="*/ 7 h 100"/>
                <a:gd name="T12" fmla="*/ 7 w 100"/>
                <a:gd name="T13" fmla="*/ 50 h 100"/>
                <a:gd name="T14" fmla="*/ 50 w 100"/>
                <a:gd name="T15" fmla="*/ 93 h 100"/>
                <a:gd name="T16" fmla="*/ 93 w 100"/>
                <a:gd name="T17" fmla="*/ 50 h 100"/>
                <a:gd name="T18" fmla="*/ 50 w 100"/>
                <a:gd name="T19" fmla="*/ 7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0" h="100">
                  <a:moveTo>
                    <a:pt x="50" y="100"/>
                  </a:moveTo>
                  <a:cubicBezTo>
                    <a:pt x="22" y="100"/>
                    <a:pt x="0" y="78"/>
                    <a:pt x="0" y="50"/>
                  </a:cubicBezTo>
                  <a:cubicBezTo>
                    <a:pt x="0" y="22"/>
                    <a:pt x="22" y="0"/>
                    <a:pt x="50" y="0"/>
                  </a:cubicBezTo>
                  <a:cubicBezTo>
                    <a:pt x="78" y="0"/>
                    <a:pt x="100" y="22"/>
                    <a:pt x="100" y="50"/>
                  </a:cubicBezTo>
                  <a:cubicBezTo>
                    <a:pt x="100" y="78"/>
                    <a:pt x="78" y="100"/>
                    <a:pt x="50" y="100"/>
                  </a:cubicBezTo>
                  <a:close/>
                  <a:moveTo>
                    <a:pt x="50" y="7"/>
                  </a:moveTo>
                  <a:cubicBezTo>
                    <a:pt x="26" y="7"/>
                    <a:pt x="7" y="26"/>
                    <a:pt x="7" y="50"/>
                  </a:cubicBezTo>
                  <a:cubicBezTo>
                    <a:pt x="7" y="74"/>
                    <a:pt x="26" y="93"/>
                    <a:pt x="50" y="93"/>
                  </a:cubicBezTo>
                  <a:cubicBezTo>
                    <a:pt x="74" y="93"/>
                    <a:pt x="93" y="74"/>
                    <a:pt x="93" y="50"/>
                  </a:cubicBezTo>
                  <a:cubicBezTo>
                    <a:pt x="93" y="26"/>
                    <a:pt x="74" y="7"/>
                    <a:pt x="50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1" name="Shape3_20200717_154431">
            <a:extLst>
              <a:ext uri="{FF2B5EF4-FFF2-40B4-BE49-F238E27FC236}">
                <a16:creationId xmlns:a16="http://schemas.microsoft.com/office/drawing/2014/main" id="{6D559833-58B4-5692-ED76-47686BA8608F}"/>
              </a:ext>
            </a:extLst>
          </p:cNvPr>
          <p:cNvGrpSpPr>
            <a:grpSpLocks noChangeAspect="1"/>
          </p:cNvGrpSpPr>
          <p:nvPr/>
        </p:nvGrpSpPr>
        <p:grpSpPr>
          <a:xfrm>
            <a:off x="8341027" y="1201296"/>
            <a:ext cx="732168" cy="666271"/>
            <a:chOff x="-7369255" y="2189365"/>
            <a:chExt cx="732168" cy="666271"/>
          </a:xfrm>
          <a:solidFill>
            <a:schemeClr val="accent1"/>
          </a:solidFill>
        </p:grpSpPr>
        <p:sp>
          <p:nvSpPr>
            <p:cNvPr id="178" name="Freeform 198">
              <a:extLst>
                <a:ext uri="{FF2B5EF4-FFF2-40B4-BE49-F238E27FC236}">
                  <a16:creationId xmlns:a16="http://schemas.microsoft.com/office/drawing/2014/main" id="{BCA95BD4-6839-9172-7338-069BF6BFD38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263087" y="2262581"/>
              <a:ext cx="523500" cy="519838"/>
            </a:xfrm>
            <a:custGeom>
              <a:avLst/>
              <a:gdLst>
                <a:gd name="T0" fmla="*/ 95 w 189"/>
                <a:gd name="T1" fmla="*/ 189 h 189"/>
                <a:gd name="T2" fmla="*/ 0 w 189"/>
                <a:gd name="T3" fmla="*/ 94 h 189"/>
                <a:gd name="T4" fmla="*/ 95 w 189"/>
                <a:gd name="T5" fmla="*/ 0 h 189"/>
                <a:gd name="T6" fmla="*/ 189 w 189"/>
                <a:gd name="T7" fmla="*/ 94 h 189"/>
                <a:gd name="T8" fmla="*/ 95 w 189"/>
                <a:gd name="T9" fmla="*/ 189 h 189"/>
                <a:gd name="T10" fmla="*/ 95 w 189"/>
                <a:gd name="T11" fmla="*/ 7 h 189"/>
                <a:gd name="T12" fmla="*/ 7 w 189"/>
                <a:gd name="T13" fmla="*/ 94 h 189"/>
                <a:gd name="T14" fmla="*/ 95 w 189"/>
                <a:gd name="T15" fmla="*/ 182 h 189"/>
                <a:gd name="T16" fmla="*/ 182 w 189"/>
                <a:gd name="T17" fmla="*/ 94 h 189"/>
                <a:gd name="T18" fmla="*/ 95 w 189"/>
                <a:gd name="T19" fmla="*/ 7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9" h="189">
                  <a:moveTo>
                    <a:pt x="95" y="189"/>
                  </a:moveTo>
                  <a:cubicBezTo>
                    <a:pt x="42" y="189"/>
                    <a:pt x="0" y="147"/>
                    <a:pt x="0" y="94"/>
                  </a:cubicBezTo>
                  <a:cubicBezTo>
                    <a:pt x="0" y="42"/>
                    <a:pt x="42" y="0"/>
                    <a:pt x="95" y="0"/>
                  </a:cubicBezTo>
                  <a:cubicBezTo>
                    <a:pt x="147" y="0"/>
                    <a:pt x="189" y="42"/>
                    <a:pt x="189" y="94"/>
                  </a:cubicBezTo>
                  <a:cubicBezTo>
                    <a:pt x="189" y="147"/>
                    <a:pt x="147" y="189"/>
                    <a:pt x="95" y="189"/>
                  </a:cubicBezTo>
                  <a:close/>
                  <a:moveTo>
                    <a:pt x="95" y="7"/>
                  </a:moveTo>
                  <a:cubicBezTo>
                    <a:pt x="46" y="7"/>
                    <a:pt x="7" y="46"/>
                    <a:pt x="7" y="94"/>
                  </a:cubicBezTo>
                  <a:cubicBezTo>
                    <a:pt x="7" y="143"/>
                    <a:pt x="46" y="182"/>
                    <a:pt x="95" y="182"/>
                  </a:cubicBezTo>
                  <a:cubicBezTo>
                    <a:pt x="143" y="182"/>
                    <a:pt x="182" y="143"/>
                    <a:pt x="182" y="94"/>
                  </a:cubicBezTo>
                  <a:cubicBezTo>
                    <a:pt x="182" y="46"/>
                    <a:pt x="143" y="7"/>
                    <a:pt x="95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9" name="Freeform 199">
              <a:extLst>
                <a:ext uri="{FF2B5EF4-FFF2-40B4-BE49-F238E27FC236}">
                  <a16:creationId xmlns:a16="http://schemas.microsoft.com/office/drawing/2014/main" id="{D5D7485D-3E62-EEB0-F450-B96BC73FBC66}"/>
                </a:ext>
              </a:extLst>
            </p:cNvPr>
            <p:cNvSpPr>
              <a:spLocks/>
            </p:cNvSpPr>
            <p:nvPr/>
          </p:nvSpPr>
          <p:spPr bwMode="auto">
            <a:xfrm>
              <a:off x="-7186211" y="2328476"/>
              <a:ext cx="369745" cy="91522"/>
            </a:xfrm>
            <a:custGeom>
              <a:avLst/>
              <a:gdLst>
                <a:gd name="T0" fmla="*/ 67 w 134"/>
                <a:gd name="T1" fmla="*/ 33 h 33"/>
                <a:gd name="T2" fmla="*/ 2 w 134"/>
                <a:gd name="T3" fmla="*/ 7 h 33"/>
                <a:gd name="T4" fmla="*/ 2 w 134"/>
                <a:gd name="T5" fmla="*/ 2 h 33"/>
                <a:gd name="T6" fmla="*/ 7 w 134"/>
                <a:gd name="T7" fmla="*/ 2 h 33"/>
                <a:gd name="T8" fmla="*/ 67 w 134"/>
                <a:gd name="T9" fmla="*/ 26 h 33"/>
                <a:gd name="T10" fmla="*/ 127 w 134"/>
                <a:gd name="T11" fmla="*/ 2 h 33"/>
                <a:gd name="T12" fmla="*/ 132 w 134"/>
                <a:gd name="T13" fmla="*/ 2 h 33"/>
                <a:gd name="T14" fmla="*/ 132 w 134"/>
                <a:gd name="T15" fmla="*/ 7 h 33"/>
                <a:gd name="T16" fmla="*/ 67 w 134"/>
                <a:gd name="T17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4" h="33">
                  <a:moveTo>
                    <a:pt x="67" y="33"/>
                  </a:moveTo>
                  <a:cubicBezTo>
                    <a:pt x="42" y="33"/>
                    <a:pt x="19" y="24"/>
                    <a:pt x="2" y="7"/>
                  </a:cubicBezTo>
                  <a:cubicBezTo>
                    <a:pt x="0" y="6"/>
                    <a:pt x="0" y="4"/>
                    <a:pt x="2" y="2"/>
                  </a:cubicBezTo>
                  <a:cubicBezTo>
                    <a:pt x="3" y="1"/>
                    <a:pt x="5" y="1"/>
                    <a:pt x="7" y="2"/>
                  </a:cubicBezTo>
                  <a:cubicBezTo>
                    <a:pt x="23" y="18"/>
                    <a:pt x="44" y="26"/>
                    <a:pt x="67" y="26"/>
                  </a:cubicBezTo>
                  <a:cubicBezTo>
                    <a:pt x="89" y="26"/>
                    <a:pt x="111" y="17"/>
                    <a:pt x="127" y="2"/>
                  </a:cubicBezTo>
                  <a:cubicBezTo>
                    <a:pt x="129" y="0"/>
                    <a:pt x="131" y="0"/>
                    <a:pt x="132" y="2"/>
                  </a:cubicBezTo>
                  <a:cubicBezTo>
                    <a:pt x="134" y="3"/>
                    <a:pt x="133" y="6"/>
                    <a:pt x="132" y="7"/>
                  </a:cubicBezTo>
                  <a:cubicBezTo>
                    <a:pt x="114" y="24"/>
                    <a:pt x="91" y="33"/>
                    <a:pt x="67" y="3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0" name="Freeform 200">
              <a:extLst>
                <a:ext uri="{FF2B5EF4-FFF2-40B4-BE49-F238E27FC236}">
                  <a16:creationId xmlns:a16="http://schemas.microsoft.com/office/drawing/2014/main" id="{621D6254-A6B7-EFE4-901D-37C430322791}"/>
                </a:ext>
              </a:extLst>
            </p:cNvPr>
            <p:cNvSpPr>
              <a:spLocks/>
            </p:cNvSpPr>
            <p:nvPr/>
          </p:nvSpPr>
          <p:spPr bwMode="auto">
            <a:xfrm>
              <a:off x="-7182549" y="2625005"/>
              <a:ext cx="362423" cy="87860"/>
            </a:xfrm>
            <a:custGeom>
              <a:avLst/>
              <a:gdLst>
                <a:gd name="T0" fmla="*/ 4 w 131"/>
                <a:gd name="T1" fmla="*/ 31 h 31"/>
                <a:gd name="T2" fmla="*/ 1 w 131"/>
                <a:gd name="T3" fmla="*/ 30 h 31"/>
                <a:gd name="T4" fmla="*/ 1 w 131"/>
                <a:gd name="T5" fmla="*/ 25 h 31"/>
                <a:gd name="T6" fmla="*/ 66 w 131"/>
                <a:gd name="T7" fmla="*/ 0 h 31"/>
                <a:gd name="T8" fmla="*/ 130 w 131"/>
                <a:gd name="T9" fmla="*/ 25 h 31"/>
                <a:gd name="T10" fmla="*/ 130 w 131"/>
                <a:gd name="T11" fmla="*/ 30 h 31"/>
                <a:gd name="T12" fmla="*/ 125 w 131"/>
                <a:gd name="T13" fmla="*/ 30 h 31"/>
                <a:gd name="T14" fmla="*/ 66 w 131"/>
                <a:gd name="T15" fmla="*/ 7 h 31"/>
                <a:gd name="T16" fmla="*/ 6 w 131"/>
                <a:gd name="T17" fmla="*/ 30 h 31"/>
                <a:gd name="T18" fmla="*/ 4 w 131"/>
                <a:gd name="T1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1" h="31">
                  <a:moveTo>
                    <a:pt x="4" y="31"/>
                  </a:moveTo>
                  <a:cubicBezTo>
                    <a:pt x="3" y="31"/>
                    <a:pt x="2" y="31"/>
                    <a:pt x="1" y="30"/>
                  </a:cubicBezTo>
                  <a:cubicBezTo>
                    <a:pt x="0" y="29"/>
                    <a:pt x="0" y="26"/>
                    <a:pt x="1" y="25"/>
                  </a:cubicBezTo>
                  <a:cubicBezTo>
                    <a:pt x="19" y="9"/>
                    <a:pt x="42" y="0"/>
                    <a:pt x="66" y="0"/>
                  </a:cubicBezTo>
                  <a:cubicBezTo>
                    <a:pt x="89" y="0"/>
                    <a:pt x="112" y="8"/>
                    <a:pt x="130" y="25"/>
                  </a:cubicBezTo>
                  <a:cubicBezTo>
                    <a:pt x="131" y="26"/>
                    <a:pt x="131" y="28"/>
                    <a:pt x="130" y="30"/>
                  </a:cubicBezTo>
                  <a:cubicBezTo>
                    <a:pt x="129" y="31"/>
                    <a:pt x="126" y="31"/>
                    <a:pt x="125" y="30"/>
                  </a:cubicBezTo>
                  <a:cubicBezTo>
                    <a:pt x="109" y="15"/>
                    <a:pt x="88" y="7"/>
                    <a:pt x="66" y="7"/>
                  </a:cubicBezTo>
                  <a:cubicBezTo>
                    <a:pt x="43" y="7"/>
                    <a:pt x="22" y="15"/>
                    <a:pt x="6" y="30"/>
                  </a:cubicBezTo>
                  <a:cubicBezTo>
                    <a:pt x="5" y="31"/>
                    <a:pt x="4" y="31"/>
                    <a:pt x="4" y="3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1" name="Freeform 201">
              <a:extLst>
                <a:ext uri="{FF2B5EF4-FFF2-40B4-BE49-F238E27FC236}">
                  <a16:creationId xmlns:a16="http://schemas.microsoft.com/office/drawing/2014/main" id="{0A79E26A-95F5-EBE9-372F-75DC14DBBF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142281" y="2262581"/>
              <a:ext cx="281885" cy="519838"/>
            </a:xfrm>
            <a:custGeom>
              <a:avLst/>
              <a:gdLst>
                <a:gd name="T0" fmla="*/ 52 w 103"/>
                <a:gd name="T1" fmla="*/ 189 h 189"/>
                <a:gd name="T2" fmla="*/ 0 w 103"/>
                <a:gd name="T3" fmla="*/ 94 h 189"/>
                <a:gd name="T4" fmla="*/ 52 w 103"/>
                <a:gd name="T5" fmla="*/ 0 h 189"/>
                <a:gd name="T6" fmla="*/ 103 w 103"/>
                <a:gd name="T7" fmla="*/ 94 h 189"/>
                <a:gd name="T8" fmla="*/ 52 w 103"/>
                <a:gd name="T9" fmla="*/ 189 h 189"/>
                <a:gd name="T10" fmla="*/ 52 w 103"/>
                <a:gd name="T11" fmla="*/ 7 h 189"/>
                <a:gd name="T12" fmla="*/ 7 w 103"/>
                <a:gd name="T13" fmla="*/ 94 h 189"/>
                <a:gd name="T14" fmla="*/ 52 w 103"/>
                <a:gd name="T15" fmla="*/ 182 h 189"/>
                <a:gd name="T16" fmla="*/ 96 w 103"/>
                <a:gd name="T17" fmla="*/ 94 h 189"/>
                <a:gd name="T18" fmla="*/ 52 w 103"/>
                <a:gd name="T19" fmla="*/ 7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3" h="189">
                  <a:moveTo>
                    <a:pt x="52" y="189"/>
                  </a:moveTo>
                  <a:cubicBezTo>
                    <a:pt x="23" y="189"/>
                    <a:pt x="0" y="148"/>
                    <a:pt x="0" y="94"/>
                  </a:cubicBezTo>
                  <a:cubicBezTo>
                    <a:pt x="0" y="41"/>
                    <a:pt x="23" y="0"/>
                    <a:pt x="52" y="0"/>
                  </a:cubicBezTo>
                  <a:cubicBezTo>
                    <a:pt x="80" y="0"/>
                    <a:pt x="103" y="41"/>
                    <a:pt x="103" y="94"/>
                  </a:cubicBezTo>
                  <a:cubicBezTo>
                    <a:pt x="103" y="148"/>
                    <a:pt x="80" y="189"/>
                    <a:pt x="52" y="189"/>
                  </a:cubicBezTo>
                  <a:close/>
                  <a:moveTo>
                    <a:pt x="52" y="7"/>
                  </a:moveTo>
                  <a:cubicBezTo>
                    <a:pt x="28" y="7"/>
                    <a:pt x="7" y="47"/>
                    <a:pt x="7" y="94"/>
                  </a:cubicBezTo>
                  <a:cubicBezTo>
                    <a:pt x="7" y="142"/>
                    <a:pt x="28" y="182"/>
                    <a:pt x="52" y="182"/>
                  </a:cubicBezTo>
                  <a:cubicBezTo>
                    <a:pt x="76" y="182"/>
                    <a:pt x="96" y="142"/>
                    <a:pt x="96" y="94"/>
                  </a:cubicBezTo>
                  <a:cubicBezTo>
                    <a:pt x="96" y="47"/>
                    <a:pt x="76" y="7"/>
                    <a:pt x="52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2" name="Freeform 202">
              <a:extLst>
                <a:ext uri="{FF2B5EF4-FFF2-40B4-BE49-F238E27FC236}">
                  <a16:creationId xmlns:a16="http://schemas.microsoft.com/office/drawing/2014/main" id="{B5D949A5-37B5-3D53-C7EF-93586C47355B}"/>
                </a:ext>
              </a:extLst>
            </p:cNvPr>
            <p:cNvSpPr>
              <a:spLocks/>
            </p:cNvSpPr>
            <p:nvPr/>
          </p:nvSpPr>
          <p:spPr bwMode="auto">
            <a:xfrm>
              <a:off x="-7263087" y="2511518"/>
              <a:ext cx="523500" cy="18305"/>
            </a:xfrm>
            <a:custGeom>
              <a:avLst/>
              <a:gdLst>
                <a:gd name="T0" fmla="*/ 186 w 189"/>
                <a:gd name="T1" fmla="*/ 7 h 7"/>
                <a:gd name="T2" fmla="*/ 4 w 189"/>
                <a:gd name="T3" fmla="*/ 7 h 7"/>
                <a:gd name="T4" fmla="*/ 0 w 189"/>
                <a:gd name="T5" fmla="*/ 3 h 7"/>
                <a:gd name="T6" fmla="*/ 4 w 189"/>
                <a:gd name="T7" fmla="*/ 0 h 7"/>
                <a:gd name="T8" fmla="*/ 186 w 189"/>
                <a:gd name="T9" fmla="*/ 0 h 7"/>
                <a:gd name="T10" fmla="*/ 189 w 189"/>
                <a:gd name="T11" fmla="*/ 3 h 7"/>
                <a:gd name="T12" fmla="*/ 186 w 189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9" h="7">
                  <a:moveTo>
                    <a:pt x="186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86" y="0"/>
                    <a:pt x="186" y="0"/>
                    <a:pt x="186" y="0"/>
                  </a:cubicBezTo>
                  <a:cubicBezTo>
                    <a:pt x="188" y="0"/>
                    <a:pt x="189" y="1"/>
                    <a:pt x="189" y="3"/>
                  </a:cubicBezTo>
                  <a:cubicBezTo>
                    <a:pt x="189" y="5"/>
                    <a:pt x="188" y="7"/>
                    <a:pt x="186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3" name="Freeform 203">
              <a:extLst>
                <a:ext uri="{FF2B5EF4-FFF2-40B4-BE49-F238E27FC236}">
                  <a16:creationId xmlns:a16="http://schemas.microsoft.com/office/drawing/2014/main" id="{F59EC067-8E44-17E7-77A4-F4B0CA7C79E6}"/>
                </a:ext>
              </a:extLst>
            </p:cNvPr>
            <p:cNvSpPr>
              <a:spLocks/>
            </p:cNvSpPr>
            <p:nvPr/>
          </p:nvSpPr>
          <p:spPr bwMode="auto">
            <a:xfrm>
              <a:off x="-7010491" y="2262581"/>
              <a:ext cx="18305" cy="519838"/>
            </a:xfrm>
            <a:custGeom>
              <a:avLst/>
              <a:gdLst>
                <a:gd name="T0" fmla="*/ 4 w 7"/>
                <a:gd name="T1" fmla="*/ 189 h 189"/>
                <a:gd name="T2" fmla="*/ 0 w 7"/>
                <a:gd name="T3" fmla="*/ 186 h 189"/>
                <a:gd name="T4" fmla="*/ 0 w 7"/>
                <a:gd name="T5" fmla="*/ 3 h 189"/>
                <a:gd name="T6" fmla="*/ 4 w 7"/>
                <a:gd name="T7" fmla="*/ 0 h 189"/>
                <a:gd name="T8" fmla="*/ 7 w 7"/>
                <a:gd name="T9" fmla="*/ 3 h 189"/>
                <a:gd name="T10" fmla="*/ 7 w 7"/>
                <a:gd name="T11" fmla="*/ 186 h 189"/>
                <a:gd name="T12" fmla="*/ 4 w 7"/>
                <a:gd name="T13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89">
                  <a:moveTo>
                    <a:pt x="4" y="189"/>
                  </a:moveTo>
                  <a:cubicBezTo>
                    <a:pt x="2" y="189"/>
                    <a:pt x="0" y="187"/>
                    <a:pt x="0" y="186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" y="0"/>
                    <a:pt x="7" y="1"/>
                    <a:pt x="7" y="3"/>
                  </a:cubicBezTo>
                  <a:cubicBezTo>
                    <a:pt x="7" y="186"/>
                    <a:pt x="7" y="186"/>
                    <a:pt x="7" y="186"/>
                  </a:cubicBezTo>
                  <a:cubicBezTo>
                    <a:pt x="7" y="187"/>
                    <a:pt x="6" y="189"/>
                    <a:pt x="4" y="18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4" name="Freeform 204">
              <a:extLst>
                <a:ext uri="{FF2B5EF4-FFF2-40B4-BE49-F238E27FC236}">
                  <a16:creationId xmlns:a16="http://schemas.microsoft.com/office/drawing/2014/main" id="{0CC51EE4-C269-B933-D0D3-C440E40C0ACD}"/>
                </a:ext>
              </a:extLst>
            </p:cNvPr>
            <p:cNvSpPr>
              <a:spLocks/>
            </p:cNvSpPr>
            <p:nvPr/>
          </p:nvSpPr>
          <p:spPr bwMode="auto">
            <a:xfrm>
              <a:off x="-7233801" y="2511518"/>
              <a:ext cx="563768" cy="344118"/>
            </a:xfrm>
            <a:custGeom>
              <a:avLst/>
              <a:gdLst>
                <a:gd name="T0" fmla="*/ 85 w 205"/>
                <a:gd name="T1" fmla="*/ 124 h 124"/>
                <a:gd name="T2" fmla="*/ 2 w 205"/>
                <a:gd name="T3" fmla="*/ 91 h 124"/>
                <a:gd name="T4" fmla="*/ 1 w 205"/>
                <a:gd name="T5" fmla="*/ 85 h 124"/>
                <a:gd name="T6" fmla="*/ 6 w 205"/>
                <a:gd name="T7" fmla="*/ 85 h 124"/>
                <a:gd name="T8" fmla="*/ 85 w 205"/>
                <a:gd name="T9" fmla="*/ 117 h 124"/>
                <a:gd name="T10" fmla="*/ 198 w 205"/>
                <a:gd name="T11" fmla="*/ 3 h 124"/>
                <a:gd name="T12" fmla="*/ 202 w 205"/>
                <a:gd name="T13" fmla="*/ 0 h 124"/>
                <a:gd name="T14" fmla="*/ 205 w 205"/>
                <a:gd name="T15" fmla="*/ 3 h 124"/>
                <a:gd name="T16" fmla="*/ 85 w 205"/>
                <a:gd name="T17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5" h="124">
                  <a:moveTo>
                    <a:pt x="85" y="124"/>
                  </a:moveTo>
                  <a:cubicBezTo>
                    <a:pt x="54" y="124"/>
                    <a:pt x="24" y="112"/>
                    <a:pt x="2" y="91"/>
                  </a:cubicBezTo>
                  <a:cubicBezTo>
                    <a:pt x="0" y="89"/>
                    <a:pt x="0" y="87"/>
                    <a:pt x="1" y="85"/>
                  </a:cubicBezTo>
                  <a:cubicBezTo>
                    <a:pt x="3" y="84"/>
                    <a:pt x="5" y="84"/>
                    <a:pt x="6" y="85"/>
                  </a:cubicBezTo>
                  <a:cubicBezTo>
                    <a:pt x="28" y="106"/>
                    <a:pt x="55" y="117"/>
                    <a:pt x="85" y="117"/>
                  </a:cubicBezTo>
                  <a:cubicBezTo>
                    <a:pt x="147" y="117"/>
                    <a:pt x="198" y="66"/>
                    <a:pt x="198" y="3"/>
                  </a:cubicBezTo>
                  <a:cubicBezTo>
                    <a:pt x="198" y="1"/>
                    <a:pt x="200" y="0"/>
                    <a:pt x="202" y="0"/>
                  </a:cubicBezTo>
                  <a:cubicBezTo>
                    <a:pt x="204" y="0"/>
                    <a:pt x="205" y="1"/>
                    <a:pt x="205" y="3"/>
                  </a:cubicBezTo>
                  <a:cubicBezTo>
                    <a:pt x="205" y="70"/>
                    <a:pt x="151" y="124"/>
                    <a:pt x="85" y="12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5" name="Freeform 206">
              <a:extLst>
                <a:ext uri="{FF2B5EF4-FFF2-40B4-BE49-F238E27FC236}">
                  <a16:creationId xmlns:a16="http://schemas.microsoft.com/office/drawing/2014/main" id="{D4B7A636-2154-2267-ABED-1C176C6944C5}"/>
                </a:ext>
              </a:extLst>
            </p:cNvPr>
            <p:cNvSpPr>
              <a:spLocks/>
            </p:cNvSpPr>
            <p:nvPr/>
          </p:nvSpPr>
          <p:spPr bwMode="auto">
            <a:xfrm>
              <a:off x="-7332647" y="2189365"/>
              <a:ext cx="560108" cy="340458"/>
            </a:xfrm>
            <a:custGeom>
              <a:avLst/>
              <a:gdLst>
                <a:gd name="T0" fmla="*/ 4 w 203"/>
                <a:gd name="T1" fmla="*/ 124 h 124"/>
                <a:gd name="T2" fmla="*/ 0 w 203"/>
                <a:gd name="T3" fmla="*/ 120 h 124"/>
                <a:gd name="T4" fmla="*/ 121 w 203"/>
                <a:gd name="T5" fmla="*/ 0 h 124"/>
                <a:gd name="T6" fmla="*/ 201 w 203"/>
                <a:gd name="T7" fmla="*/ 31 h 124"/>
                <a:gd name="T8" fmla="*/ 201 w 203"/>
                <a:gd name="T9" fmla="*/ 36 h 124"/>
                <a:gd name="T10" fmla="*/ 196 w 203"/>
                <a:gd name="T11" fmla="*/ 36 h 124"/>
                <a:gd name="T12" fmla="*/ 121 w 203"/>
                <a:gd name="T13" fmla="*/ 7 h 124"/>
                <a:gd name="T14" fmla="*/ 7 w 203"/>
                <a:gd name="T15" fmla="*/ 120 h 124"/>
                <a:gd name="T16" fmla="*/ 4 w 203"/>
                <a:gd name="T17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3" h="124">
                  <a:moveTo>
                    <a:pt x="4" y="124"/>
                  </a:moveTo>
                  <a:cubicBezTo>
                    <a:pt x="2" y="124"/>
                    <a:pt x="0" y="122"/>
                    <a:pt x="0" y="120"/>
                  </a:cubicBezTo>
                  <a:cubicBezTo>
                    <a:pt x="0" y="54"/>
                    <a:pt x="54" y="0"/>
                    <a:pt x="121" y="0"/>
                  </a:cubicBezTo>
                  <a:cubicBezTo>
                    <a:pt x="150" y="0"/>
                    <a:pt x="179" y="11"/>
                    <a:pt x="201" y="31"/>
                  </a:cubicBezTo>
                  <a:cubicBezTo>
                    <a:pt x="203" y="32"/>
                    <a:pt x="203" y="34"/>
                    <a:pt x="201" y="36"/>
                  </a:cubicBezTo>
                  <a:cubicBezTo>
                    <a:pt x="200" y="37"/>
                    <a:pt x="198" y="37"/>
                    <a:pt x="196" y="36"/>
                  </a:cubicBezTo>
                  <a:cubicBezTo>
                    <a:pt x="176" y="17"/>
                    <a:pt x="149" y="7"/>
                    <a:pt x="121" y="7"/>
                  </a:cubicBezTo>
                  <a:cubicBezTo>
                    <a:pt x="58" y="7"/>
                    <a:pt x="7" y="58"/>
                    <a:pt x="7" y="120"/>
                  </a:cubicBezTo>
                  <a:cubicBezTo>
                    <a:pt x="7" y="122"/>
                    <a:pt x="6" y="124"/>
                    <a:pt x="4" y="12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6" name="Freeform 207">
              <a:extLst>
                <a:ext uri="{FF2B5EF4-FFF2-40B4-BE49-F238E27FC236}">
                  <a16:creationId xmlns:a16="http://schemas.microsoft.com/office/drawing/2014/main" id="{BE3BBD30-368E-7521-1283-EF64719C7B7E}"/>
                </a:ext>
              </a:extLst>
            </p:cNvPr>
            <p:cNvSpPr>
              <a:spLocks/>
            </p:cNvSpPr>
            <p:nvPr/>
          </p:nvSpPr>
          <p:spPr bwMode="auto">
            <a:xfrm>
              <a:off x="-7369255" y="2474909"/>
              <a:ext cx="91522" cy="54914"/>
            </a:xfrm>
            <a:custGeom>
              <a:avLst/>
              <a:gdLst>
                <a:gd name="T0" fmla="*/ 17 w 33"/>
                <a:gd name="T1" fmla="*/ 20 h 20"/>
                <a:gd name="T2" fmla="*/ 14 w 33"/>
                <a:gd name="T3" fmla="*/ 19 h 20"/>
                <a:gd name="T4" fmla="*/ 2 w 33"/>
                <a:gd name="T5" fmla="*/ 6 h 20"/>
                <a:gd name="T6" fmla="*/ 2 w 33"/>
                <a:gd name="T7" fmla="*/ 1 h 20"/>
                <a:gd name="T8" fmla="*/ 7 w 33"/>
                <a:gd name="T9" fmla="*/ 1 h 20"/>
                <a:gd name="T10" fmla="*/ 17 w 33"/>
                <a:gd name="T11" fmla="*/ 11 h 20"/>
                <a:gd name="T12" fmla="*/ 27 w 33"/>
                <a:gd name="T13" fmla="*/ 1 h 20"/>
                <a:gd name="T14" fmla="*/ 32 w 33"/>
                <a:gd name="T15" fmla="*/ 1 h 20"/>
                <a:gd name="T16" fmla="*/ 32 w 33"/>
                <a:gd name="T17" fmla="*/ 6 h 20"/>
                <a:gd name="T18" fmla="*/ 19 w 33"/>
                <a:gd name="T19" fmla="*/ 19 h 20"/>
                <a:gd name="T20" fmla="*/ 17 w 33"/>
                <a:gd name="T21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" h="20">
                  <a:moveTo>
                    <a:pt x="17" y="20"/>
                  </a:moveTo>
                  <a:cubicBezTo>
                    <a:pt x="16" y="20"/>
                    <a:pt x="15" y="20"/>
                    <a:pt x="14" y="19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0" y="5"/>
                    <a:pt x="0" y="3"/>
                    <a:pt x="2" y="1"/>
                  </a:cubicBezTo>
                  <a:cubicBezTo>
                    <a:pt x="3" y="0"/>
                    <a:pt x="6" y="0"/>
                    <a:pt x="7" y="1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27" y="1"/>
                    <a:pt x="27" y="1"/>
                    <a:pt x="27" y="1"/>
                  </a:cubicBezTo>
                  <a:cubicBezTo>
                    <a:pt x="28" y="0"/>
                    <a:pt x="30" y="0"/>
                    <a:pt x="32" y="1"/>
                  </a:cubicBezTo>
                  <a:cubicBezTo>
                    <a:pt x="33" y="3"/>
                    <a:pt x="33" y="5"/>
                    <a:pt x="32" y="6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19" y="20"/>
                    <a:pt x="18" y="20"/>
                    <a:pt x="17" y="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7" name="Freeform 208">
              <a:extLst>
                <a:ext uri="{FF2B5EF4-FFF2-40B4-BE49-F238E27FC236}">
                  <a16:creationId xmlns:a16="http://schemas.microsoft.com/office/drawing/2014/main" id="{C389F2B7-B4A4-1313-2AB7-CF68B33D3E17}"/>
                </a:ext>
              </a:extLst>
            </p:cNvPr>
            <p:cNvSpPr>
              <a:spLocks/>
            </p:cNvSpPr>
            <p:nvPr/>
          </p:nvSpPr>
          <p:spPr bwMode="auto">
            <a:xfrm>
              <a:off x="-6721287" y="2507858"/>
              <a:ext cx="84200" cy="58573"/>
            </a:xfrm>
            <a:custGeom>
              <a:avLst/>
              <a:gdLst>
                <a:gd name="T0" fmla="*/ 4 w 31"/>
                <a:gd name="T1" fmla="*/ 19 h 20"/>
                <a:gd name="T2" fmla="*/ 2 w 31"/>
                <a:gd name="T3" fmla="*/ 18 h 20"/>
                <a:gd name="T4" fmla="*/ 2 w 31"/>
                <a:gd name="T5" fmla="*/ 13 h 20"/>
                <a:gd name="T6" fmla="*/ 13 w 31"/>
                <a:gd name="T7" fmla="*/ 2 h 20"/>
                <a:gd name="T8" fmla="*/ 18 w 31"/>
                <a:gd name="T9" fmla="*/ 2 h 20"/>
                <a:gd name="T10" fmla="*/ 29 w 31"/>
                <a:gd name="T11" fmla="*/ 13 h 20"/>
                <a:gd name="T12" fmla="*/ 29 w 31"/>
                <a:gd name="T13" fmla="*/ 18 h 20"/>
                <a:gd name="T14" fmla="*/ 24 w 31"/>
                <a:gd name="T15" fmla="*/ 18 h 20"/>
                <a:gd name="T16" fmla="*/ 16 w 31"/>
                <a:gd name="T17" fmla="*/ 9 h 20"/>
                <a:gd name="T18" fmla="*/ 7 w 31"/>
                <a:gd name="T19" fmla="*/ 18 h 20"/>
                <a:gd name="T20" fmla="*/ 4 w 31"/>
                <a:gd name="T21" fmla="*/ 1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" h="20">
                  <a:moveTo>
                    <a:pt x="4" y="19"/>
                  </a:moveTo>
                  <a:cubicBezTo>
                    <a:pt x="3" y="19"/>
                    <a:pt x="2" y="19"/>
                    <a:pt x="2" y="18"/>
                  </a:cubicBezTo>
                  <a:cubicBezTo>
                    <a:pt x="0" y="17"/>
                    <a:pt x="0" y="14"/>
                    <a:pt x="2" y="13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4" y="0"/>
                    <a:pt x="17" y="0"/>
                    <a:pt x="18" y="2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31" y="14"/>
                    <a:pt x="31" y="17"/>
                    <a:pt x="29" y="18"/>
                  </a:cubicBezTo>
                  <a:cubicBezTo>
                    <a:pt x="28" y="20"/>
                    <a:pt x="26" y="20"/>
                    <a:pt x="24" y="18"/>
                  </a:cubicBezTo>
                  <a:cubicBezTo>
                    <a:pt x="16" y="9"/>
                    <a:pt x="16" y="9"/>
                    <a:pt x="16" y="9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6" y="19"/>
                    <a:pt x="5" y="19"/>
                    <a:pt x="4" y="1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2" name="Shape4_20200717_154431">
            <a:extLst>
              <a:ext uri="{FF2B5EF4-FFF2-40B4-BE49-F238E27FC236}">
                <a16:creationId xmlns:a16="http://schemas.microsoft.com/office/drawing/2014/main" id="{E9576C97-9C54-3C3F-E29F-60649E27B576}"/>
              </a:ext>
            </a:extLst>
          </p:cNvPr>
          <p:cNvGrpSpPr>
            <a:grpSpLocks noChangeAspect="1"/>
          </p:cNvGrpSpPr>
          <p:nvPr/>
        </p:nvGrpSpPr>
        <p:grpSpPr>
          <a:xfrm>
            <a:off x="7051945" y="2484605"/>
            <a:ext cx="699221" cy="699220"/>
            <a:chOff x="-4766403" y="3562177"/>
            <a:chExt cx="699221" cy="699220"/>
          </a:xfrm>
          <a:solidFill>
            <a:schemeClr val="accent1"/>
          </a:solidFill>
        </p:grpSpPr>
        <p:sp>
          <p:nvSpPr>
            <p:cNvPr id="164" name="Freeform 209">
              <a:extLst>
                <a:ext uri="{FF2B5EF4-FFF2-40B4-BE49-F238E27FC236}">
                  <a16:creationId xmlns:a16="http://schemas.microsoft.com/office/drawing/2014/main" id="{35F6C9AC-CCE1-A689-32E1-10F574BA3E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674883" y="3646375"/>
              <a:ext cx="523500" cy="523500"/>
            </a:xfrm>
            <a:custGeom>
              <a:avLst/>
              <a:gdLst>
                <a:gd name="T0" fmla="*/ 95 w 190"/>
                <a:gd name="T1" fmla="*/ 190 h 190"/>
                <a:gd name="T2" fmla="*/ 0 w 190"/>
                <a:gd name="T3" fmla="*/ 95 h 190"/>
                <a:gd name="T4" fmla="*/ 95 w 190"/>
                <a:gd name="T5" fmla="*/ 0 h 190"/>
                <a:gd name="T6" fmla="*/ 190 w 190"/>
                <a:gd name="T7" fmla="*/ 95 h 190"/>
                <a:gd name="T8" fmla="*/ 95 w 190"/>
                <a:gd name="T9" fmla="*/ 190 h 190"/>
                <a:gd name="T10" fmla="*/ 95 w 190"/>
                <a:gd name="T11" fmla="*/ 7 h 190"/>
                <a:gd name="T12" fmla="*/ 7 w 190"/>
                <a:gd name="T13" fmla="*/ 95 h 190"/>
                <a:gd name="T14" fmla="*/ 95 w 190"/>
                <a:gd name="T15" fmla="*/ 182 h 190"/>
                <a:gd name="T16" fmla="*/ 182 w 190"/>
                <a:gd name="T17" fmla="*/ 95 h 190"/>
                <a:gd name="T18" fmla="*/ 95 w 190"/>
                <a:gd name="T19" fmla="*/ 7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0" h="190">
                  <a:moveTo>
                    <a:pt x="95" y="190"/>
                  </a:moveTo>
                  <a:cubicBezTo>
                    <a:pt x="43" y="190"/>
                    <a:pt x="0" y="147"/>
                    <a:pt x="0" y="95"/>
                  </a:cubicBezTo>
                  <a:cubicBezTo>
                    <a:pt x="0" y="43"/>
                    <a:pt x="43" y="0"/>
                    <a:pt x="95" y="0"/>
                  </a:cubicBezTo>
                  <a:cubicBezTo>
                    <a:pt x="147" y="0"/>
                    <a:pt x="190" y="43"/>
                    <a:pt x="190" y="95"/>
                  </a:cubicBezTo>
                  <a:cubicBezTo>
                    <a:pt x="190" y="147"/>
                    <a:pt x="147" y="190"/>
                    <a:pt x="95" y="190"/>
                  </a:cubicBezTo>
                  <a:close/>
                  <a:moveTo>
                    <a:pt x="95" y="7"/>
                  </a:moveTo>
                  <a:cubicBezTo>
                    <a:pt x="47" y="7"/>
                    <a:pt x="7" y="47"/>
                    <a:pt x="7" y="95"/>
                  </a:cubicBezTo>
                  <a:cubicBezTo>
                    <a:pt x="7" y="143"/>
                    <a:pt x="47" y="182"/>
                    <a:pt x="95" y="182"/>
                  </a:cubicBezTo>
                  <a:cubicBezTo>
                    <a:pt x="143" y="182"/>
                    <a:pt x="182" y="143"/>
                    <a:pt x="182" y="95"/>
                  </a:cubicBezTo>
                  <a:cubicBezTo>
                    <a:pt x="182" y="47"/>
                    <a:pt x="143" y="7"/>
                    <a:pt x="95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5" name="Freeform 210">
              <a:extLst>
                <a:ext uri="{FF2B5EF4-FFF2-40B4-BE49-F238E27FC236}">
                  <a16:creationId xmlns:a16="http://schemas.microsoft.com/office/drawing/2014/main" id="{4A2309F8-C69C-5337-8A86-B62791CCCAE6}"/>
                </a:ext>
              </a:extLst>
            </p:cNvPr>
            <p:cNvSpPr>
              <a:spLocks/>
            </p:cNvSpPr>
            <p:nvPr/>
          </p:nvSpPr>
          <p:spPr bwMode="auto">
            <a:xfrm>
              <a:off x="-4594345" y="3712270"/>
              <a:ext cx="366083" cy="91522"/>
            </a:xfrm>
            <a:custGeom>
              <a:avLst/>
              <a:gdLst>
                <a:gd name="T0" fmla="*/ 66 w 133"/>
                <a:gd name="T1" fmla="*/ 33 h 33"/>
                <a:gd name="T2" fmla="*/ 1 w 133"/>
                <a:gd name="T3" fmla="*/ 7 h 33"/>
                <a:gd name="T4" fmla="*/ 1 w 133"/>
                <a:gd name="T5" fmla="*/ 2 h 33"/>
                <a:gd name="T6" fmla="*/ 6 w 133"/>
                <a:gd name="T7" fmla="*/ 2 h 33"/>
                <a:gd name="T8" fmla="*/ 66 w 133"/>
                <a:gd name="T9" fmla="*/ 26 h 33"/>
                <a:gd name="T10" fmla="*/ 126 w 133"/>
                <a:gd name="T11" fmla="*/ 1 h 33"/>
                <a:gd name="T12" fmla="*/ 131 w 133"/>
                <a:gd name="T13" fmla="*/ 2 h 33"/>
                <a:gd name="T14" fmla="*/ 131 w 133"/>
                <a:gd name="T15" fmla="*/ 7 h 33"/>
                <a:gd name="T16" fmla="*/ 66 w 133"/>
                <a:gd name="T17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3" h="33">
                  <a:moveTo>
                    <a:pt x="66" y="33"/>
                  </a:moveTo>
                  <a:cubicBezTo>
                    <a:pt x="42" y="33"/>
                    <a:pt x="19" y="24"/>
                    <a:pt x="1" y="7"/>
                  </a:cubicBezTo>
                  <a:cubicBezTo>
                    <a:pt x="0" y="6"/>
                    <a:pt x="0" y="3"/>
                    <a:pt x="1" y="2"/>
                  </a:cubicBezTo>
                  <a:cubicBezTo>
                    <a:pt x="2" y="0"/>
                    <a:pt x="5" y="0"/>
                    <a:pt x="6" y="2"/>
                  </a:cubicBezTo>
                  <a:cubicBezTo>
                    <a:pt x="22" y="17"/>
                    <a:pt x="44" y="26"/>
                    <a:pt x="66" y="26"/>
                  </a:cubicBezTo>
                  <a:cubicBezTo>
                    <a:pt x="89" y="26"/>
                    <a:pt x="110" y="17"/>
                    <a:pt x="126" y="1"/>
                  </a:cubicBezTo>
                  <a:cubicBezTo>
                    <a:pt x="128" y="0"/>
                    <a:pt x="130" y="0"/>
                    <a:pt x="131" y="2"/>
                  </a:cubicBezTo>
                  <a:cubicBezTo>
                    <a:pt x="133" y="3"/>
                    <a:pt x="133" y="5"/>
                    <a:pt x="131" y="7"/>
                  </a:cubicBezTo>
                  <a:cubicBezTo>
                    <a:pt x="114" y="23"/>
                    <a:pt x="90" y="33"/>
                    <a:pt x="66" y="3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6" name="Freeform 211">
              <a:extLst>
                <a:ext uri="{FF2B5EF4-FFF2-40B4-BE49-F238E27FC236}">
                  <a16:creationId xmlns:a16="http://schemas.microsoft.com/office/drawing/2014/main" id="{B25AD059-BB83-B4A6-F34F-A99510ADC603}"/>
                </a:ext>
              </a:extLst>
            </p:cNvPr>
            <p:cNvSpPr>
              <a:spLocks/>
            </p:cNvSpPr>
            <p:nvPr/>
          </p:nvSpPr>
          <p:spPr bwMode="auto">
            <a:xfrm>
              <a:off x="-4594345" y="4008799"/>
              <a:ext cx="366083" cy="87860"/>
            </a:xfrm>
            <a:custGeom>
              <a:avLst/>
              <a:gdLst>
                <a:gd name="T0" fmla="*/ 4 w 132"/>
                <a:gd name="T1" fmla="*/ 32 h 32"/>
                <a:gd name="T2" fmla="*/ 1 w 132"/>
                <a:gd name="T3" fmla="*/ 31 h 32"/>
                <a:gd name="T4" fmla="*/ 1 w 132"/>
                <a:gd name="T5" fmla="*/ 26 h 32"/>
                <a:gd name="T6" fmla="*/ 66 w 132"/>
                <a:gd name="T7" fmla="*/ 0 h 32"/>
                <a:gd name="T8" fmla="*/ 130 w 132"/>
                <a:gd name="T9" fmla="*/ 25 h 32"/>
                <a:gd name="T10" fmla="*/ 130 w 132"/>
                <a:gd name="T11" fmla="*/ 30 h 32"/>
                <a:gd name="T12" fmla="*/ 125 w 132"/>
                <a:gd name="T13" fmla="*/ 30 h 32"/>
                <a:gd name="T14" fmla="*/ 66 w 132"/>
                <a:gd name="T15" fmla="*/ 7 h 32"/>
                <a:gd name="T16" fmla="*/ 6 w 132"/>
                <a:gd name="T17" fmla="*/ 31 h 32"/>
                <a:gd name="T18" fmla="*/ 4 w 132"/>
                <a:gd name="T19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2" h="32">
                  <a:moveTo>
                    <a:pt x="4" y="32"/>
                  </a:moveTo>
                  <a:cubicBezTo>
                    <a:pt x="3" y="32"/>
                    <a:pt x="2" y="31"/>
                    <a:pt x="1" y="31"/>
                  </a:cubicBezTo>
                  <a:cubicBezTo>
                    <a:pt x="0" y="29"/>
                    <a:pt x="0" y="27"/>
                    <a:pt x="1" y="26"/>
                  </a:cubicBezTo>
                  <a:cubicBezTo>
                    <a:pt x="19" y="9"/>
                    <a:pt x="42" y="0"/>
                    <a:pt x="66" y="0"/>
                  </a:cubicBezTo>
                  <a:cubicBezTo>
                    <a:pt x="90" y="0"/>
                    <a:pt x="112" y="9"/>
                    <a:pt x="130" y="25"/>
                  </a:cubicBezTo>
                  <a:cubicBezTo>
                    <a:pt x="131" y="26"/>
                    <a:pt x="132" y="29"/>
                    <a:pt x="130" y="30"/>
                  </a:cubicBezTo>
                  <a:cubicBezTo>
                    <a:pt x="129" y="32"/>
                    <a:pt x="127" y="32"/>
                    <a:pt x="125" y="30"/>
                  </a:cubicBezTo>
                  <a:cubicBezTo>
                    <a:pt x="109" y="16"/>
                    <a:pt x="88" y="7"/>
                    <a:pt x="66" y="7"/>
                  </a:cubicBezTo>
                  <a:cubicBezTo>
                    <a:pt x="44" y="7"/>
                    <a:pt x="23" y="16"/>
                    <a:pt x="6" y="31"/>
                  </a:cubicBezTo>
                  <a:cubicBezTo>
                    <a:pt x="6" y="31"/>
                    <a:pt x="5" y="32"/>
                    <a:pt x="4" y="3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7" name="Freeform 212">
              <a:extLst>
                <a:ext uri="{FF2B5EF4-FFF2-40B4-BE49-F238E27FC236}">
                  <a16:creationId xmlns:a16="http://schemas.microsoft.com/office/drawing/2014/main" id="{53CF0213-BA2D-E185-3865-238F949180F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554074" y="3646375"/>
              <a:ext cx="281885" cy="523500"/>
            </a:xfrm>
            <a:custGeom>
              <a:avLst/>
              <a:gdLst>
                <a:gd name="T0" fmla="*/ 51 w 102"/>
                <a:gd name="T1" fmla="*/ 190 h 190"/>
                <a:gd name="T2" fmla="*/ 0 w 102"/>
                <a:gd name="T3" fmla="*/ 95 h 190"/>
                <a:gd name="T4" fmla="*/ 51 w 102"/>
                <a:gd name="T5" fmla="*/ 0 h 190"/>
                <a:gd name="T6" fmla="*/ 102 w 102"/>
                <a:gd name="T7" fmla="*/ 95 h 190"/>
                <a:gd name="T8" fmla="*/ 51 w 102"/>
                <a:gd name="T9" fmla="*/ 190 h 190"/>
                <a:gd name="T10" fmla="*/ 51 w 102"/>
                <a:gd name="T11" fmla="*/ 7 h 190"/>
                <a:gd name="T12" fmla="*/ 7 w 102"/>
                <a:gd name="T13" fmla="*/ 95 h 190"/>
                <a:gd name="T14" fmla="*/ 51 w 102"/>
                <a:gd name="T15" fmla="*/ 182 h 190"/>
                <a:gd name="T16" fmla="*/ 95 w 102"/>
                <a:gd name="T17" fmla="*/ 95 h 190"/>
                <a:gd name="T18" fmla="*/ 51 w 102"/>
                <a:gd name="T19" fmla="*/ 7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2" h="190">
                  <a:moveTo>
                    <a:pt x="51" y="190"/>
                  </a:moveTo>
                  <a:cubicBezTo>
                    <a:pt x="22" y="190"/>
                    <a:pt x="0" y="148"/>
                    <a:pt x="0" y="95"/>
                  </a:cubicBezTo>
                  <a:cubicBezTo>
                    <a:pt x="0" y="42"/>
                    <a:pt x="22" y="0"/>
                    <a:pt x="51" y="0"/>
                  </a:cubicBezTo>
                  <a:cubicBezTo>
                    <a:pt x="80" y="0"/>
                    <a:pt x="102" y="42"/>
                    <a:pt x="102" y="95"/>
                  </a:cubicBezTo>
                  <a:cubicBezTo>
                    <a:pt x="102" y="148"/>
                    <a:pt x="80" y="190"/>
                    <a:pt x="51" y="190"/>
                  </a:cubicBezTo>
                  <a:close/>
                  <a:moveTo>
                    <a:pt x="51" y="7"/>
                  </a:moveTo>
                  <a:cubicBezTo>
                    <a:pt x="27" y="7"/>
                    <a:pt x="7" y="48"/>
                    <a:pt x="7" y="95"/>
                  </a:cubicBezTo>
                  <a:cubicBezTo>
                    <a:pt x="7" y="142"/>
                    <a:pt x="27" y="182"/>
                    <a:pt x="51" y="182"/>
                  </a:cubicBezTo>
                  <a:cubicBezTo>
                    <a:pt x="75" y="182"/>
                    <a:pt x="95" y="142"/>
                    <a:pt x="95" y="95"/>
                  </a:cubicBezTo>
                  <a:cubicBezTo>
                    <a:pt x="95" y="48"/>
                    <a:pt x="75" y="7"/>
                    <a:pt x="51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8" name="Freeform 213">
              <a:extLst>
                <a:ext uri="{FF2B5EF4-FFF2-40B4-BE49-F238E27FC236}">
                  <a16:creationId xmlns:a16="http://schemas.microsoft.com/office/drawing/2014/main" id="{29925007-9477-321C-C09B-7179C0EA08A4}"/>
                </a:ext>
              </a:extLst>
            </p:cNvPr>
            <p:cNvSpPr>
              <a:spLocks/>
            </p:cNvSpPr>
            <p:nvPr/>
          </p:nvSpPr>
          <p:spPr bwMode="auto">
            <a:xfrm>
              <a:off x="-4674883" y="3895312"/>
              <a:ext cx="523500" cy="21965"/>
            </a:xfrm>
            <a:custGeom>
              <a:avLst/>
              <a:gdLst>
                <a:gd name="T0" fmla="*/ 186 w 190"/>
                <a:gd name="T1" fmla="*/ 8 h 8"/>
                <a:gd name="T2" fmla="*/ 4 w 190"/>
                <a:gd name="T3" fmla="*/ 8 h 8"/>
                <a:gd name="T4" fmla="*/ 0 w 190"/>
                <a:gd name="T5" fmla="*/ 4 h 8"/>
                <a:gd name="T6" fmla="*/ 4 w 190"/>
                <a:gd name="T7" fmla="*/ 0 h 8"/>
                <a:gd name="T8" fmla="*/ 186 w 190"/>
                <a:gd name="T9" fmla="*/ 0 h 8"/>
                <a:gd name="T10" fmla="*/ 190 w 190"/>
                <a:gd name="T11" fmla="*/ 4 h 8"/>
                <a:gd name="T12" fmla="*/ 186 w 190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0" h="8">
                  <a:moveTo>
                    <a:pt x="186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86" y="0"/>
                    <a:pt x="186" y="0"/>
                    <a:pt x="186" y="0"/>
                  </a:cubicBezTo>
                  <a:cubicBezTo>
                    <a:pt x="188" y="0"/>
                    <a:pt x="190" y="2"/>
                    <a:pt x="190" y="4"/>
                  </a:cubicBezTo>
                  <a:cubicBezTo>
                    <a:pt x="190" y="6"/>
                    <a:pt x="188" y="8"/>
                    <a:pt x="186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9" name="Freeform 214">
              <a:extLst>
                <a:ext uri="{FF2B5EF4-FFF2-40B4-BE49-F238E27FC236}">
                  <a16:creationId xmlns:a16="http://schemas.microsoft.com/office/drawing/2014/main" id="{3427033C-EF6D-B522-E095-8987F4A8BFAF}"/>
                </a:ext>
              </a:extLst>
            </p:cNvPr>
            <p:cNvSpPr>
              <a:spLocks/>
            </p:cNvSpPr>
            <p:nvPr/>
          </p:nvSpPr>
          <p:spPr bwMode="auto">
            <a:xfrm>
              <a:off x="-4422284" y="3646375"/>
              <a:ext cx="21965" cy="523500"/>
            </a:xfrm>
            <a:custGeom>
              <a:avLst/>
              <a:gdLst>
                <a:gd name="T0" fmla="*/ 4 w 8"/>
                <a:gd name="T1" fmla="*/ 190 h 190"/>
                <a:gd name="T2" fmla="*/ 0 w 8"/>
                <a:gd name="T3" fmla="*/ 186 h 190"/>
                <a:gd name="T4" fmla="*/ 0 w 8"/>
                <a:gd name="T5" fmla="*/ 4 h 190"/>
                <a:gd name="T6" fmla="*/ 4 w 8"/>
                <a:gd name="T7" fmla="*/ 0 h 190"/>
                <a:gd name="T8" fmla="*/ 8 w 8"/>
                <a:gd name="T9" fmla="*/ 4 h 190"/>
                <a:gd name="T10" fmla="*/ 8 w 8"/>
                <a:gd name="T11" fmla="*/ 186 h 190"/>
                <a:gd name="T12" fmla="*/ 4 w 8"/>
                <a:gd name="T13" fmla="*/ 19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190">
                  <a:moveTo>
                    <a:pt x="4" y="190"/>
                  </a:moveTo>
                  <a:cubicBezTo>
                    <a:pt x="2" y="190"/>
                    <a:pt x="0" y="188"/>
                    <a:pt x="0" y="18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186"/>
                    <a:pt x="8" y="186"/>
                    <a:pt x="8" y="186"/>
                  </a:cubicBezTo>
                  <a:cubicBezTo>
                    <a:pt x="8" y="188"/>
                    <a:pt x="6" y="190"/>
                    <a:pt x="4" y="19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0" name="Freeform 215">
              <a:extLst>
                <a:ext uri="{FF2B5EF4-FFF2-40B4-BE49-F238E27FC236}">
                  <a16:creationId xmlns:a16="http://schemas.microsoft.com/office/drawing/2014/main" id="{C1DC4512-2458-6977-ED82-22F6F1C5CF50}"/>
                </a:ext>
              </a:extLst>
            </p:cNvPr>
            <p:cNvSpPr>
              <a:spLocks/>
            </p:cNvSpPr>
            <p:nvPr/>
          </p:nvSpPr>
          <p:spPr bwMode="auto">
            <a:xfrm>
              <a:off x="-4129418" y="3767184"/>
              <a:ext cx="58573" cy="281885"/>
            </a:xfrm>
            <a:custGeom>
              <a:avLst/>
              <a:gdLst>
                <a:gd name="T0" fmla="*/ 4 w 21"/>
                <a:gd name="T1" fmla="*/ 103 h 103"/>
                <a:gd name="T2" fmla="*/ 2 w 21"/>
                <a:gd name="T3" fmla="*/ 103 h 103"/>
                <a:gd name="T4" fmla="*/ 0 w 21"/>
                <a:gd name="T5" fmla="*/ 98 h 103"/>
                <a:gd name="T6" fmla="*/ 1 w 21"/>
                <a:gd name="T7" fmla="*/ 6 h 103"/>
                <a:gd name="T8" fmla="*/ 3 w 21"/>
                <a:gd name="T9" fmla="*/ 1 h 103"/>
                <a:gd name="T10" fmla="*/ 8 w 21"/>
                <a:gd name="T11" fmla="*/ 3 h 103"/>
                <a:gd name="T12" fmla="*/ 7 w 21"/>
                <a:gd name="T13" fmla="*/ 101 h 103"/>
                <a:gd name="T14" fmla="*/ 4 w 21"/>
                <a:gd name="T1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103">
                  <a:moveTo>
                    <a:pt x="4" y="103"/>
                  </a:moveTo>
                  <a:cubicBezTo>
                    <a:pt x="3" y="103"/>
                    <a:pt x="3" y="103"/>
                    <a:pt x="2" y="103"/>
                  </a:cubicBezTo>
                  <a:cubicBezTo>
                    <a:pt x="0" y="102"/>
                    <a:pt x="0" y="100"/>
                    <a:pt x="0" y="98"/>
                  </a:cubicBezTo>
                  <a:cubicBezTo>
                    <a:pt x="14" y="69"/>
                    <a:pt x="14" y="35"/>
                    <a:pt x="1" y="6"/>
                  </a:cubicBezTo>
                  <a:cubicBezTo>
                    <a:pt x="0" y="4"/>
                    <a:pt x="1" y="2"/>
                    <a:pt x="3" y="1"/>
                  </a:cubicBezTo>
                  <a:cubicBezTo>
                    <a:pt x="5" y="0"/>
                    <a:pt x="7" y="1"/>
                    <a:pt x="8" y="3"/>
                  </a:cubicBezTo>
                  <a:cubicBezTo>
                    <a:pt x="21" y="34"/>
                    <a:pt x="21" y="70"/>
                    <a:pt x="7" y="101"/>
                  </a:cubicBezTo>
                  <a:cubicBezTo>
                    <a:pt x="6" y="102"/>
                    <a:pt x="5" y="103"/>
                    <a:pt x="4" y="10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1" name="Freeform 216">
              <a:extLst>
                <a:ext uri="{FF2B5EF4-FFF2-40B4-BE49-F238E27FC236}">
                  <a16:creationId xmlns:a16="http://schemas.microsoft.com/office/drawing/2014/main" id="{1D880094-2C0B-8F75-729B-5E38EE182554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55421" y="3767184"/>
              <a:ext cx="54914" cy="278223"/>
            </a:xfrm>
            <a:custGeom>
              <a:avLst/>
              <a:gdLst>
                <a:gd name="T0" fmla="*/ 16 w 20"/>
                <a:gd name="T1" fmla="*/ 100 h 100"/>
                <a:gd name="T2" fmla="*/ 13 w 20"/>
                <a:gd name="T3" fmla="*/ 98 h 100"/>
                <a:gd name="T4" fmla="*/ 12 w 20"/>
                <a:gd name="T5" fmla="*/ 3 h 100"/>
                <a:gd name="T6" fmla="*/ 17 w 20"/>
                <a:gd name="T7" fmla="*/ 1 h 100"/>
                <a:gd name="T8" fmla="*/ 19 w 20"/>
                <a:gd name="T9" fmla="*/ 6 h 100"/>
                <a:gd name="T10" fmla="*/ 20 w 20"/>
                <a:gd name="T11" fmla="*/ 95 h 100"/>
                <a:gd name="T12" fmla="*/ 18 w 20"/>
                <a:gd name="T13" fmla="*/ 100 h 100"/>
                <a:gd name="T14" fmla="*/ 16 w 20"/>
                <a:gd name="T15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100">
                  <a:moveTo>
                    <a:pt x="16" y="100"/>
                  </a:moveTo>
                  <a:cubicBezTo>
                    <a:pt x="15" y="100"/>
                    <a:pt x="14" y="99"/>
                    <a:pt x="13" y="98"/>
                  </a:cubicBezTo>
                  <a:cubicBezTo>
                    <a:pt x="0" y="67"/>
                    <a:pt x="0" y="34"/>
                    <a:pt x="12" y="3"/>
                  </a:cubicBezTo>
                  <a:cubicBezTo>
                    <a:pt x="13" y="1"/>
                    <a:pt x="15" y="0"/>
                    <a:pt x="17" y="1"/>
                  </a:cubicBezTo>
                  <a:cubicBezTo>
                    <a:pt x="19" y="2"/>
                    <a:pt x="20" y="4"/>
                    <a:pt x="19" y="6"/>
                  </a:cubicBezTo>
                  <a:cubicBezTo>
                    <a:pt x="7" y="35"/>
                    <a:pt x="7" y="66"/>
                    <a:pt x="20" y="95"/>
                  </a:cubicBezTo>
                  <a:cubicBezTo>
                    <a:pt x="20" y="97"/>
                    <a:pt x="20" y="99"/>
                    <a:pt x="18" y="100"/>
                  </a:cubicBezTo>
                  <a:cubicBezTo>
                    <a:pt x="17" y="100"/>
                    <a:pt x="17" y="100"/>
                    <a:pt x="16" y="10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2" name="Freeform 217">
              <a:extLst>
                <a:ext uri="{FF2B5EF4-FFF2-40B4-BE49-F238E27FC236}">
                  <a16:creationId xmlns:a16="http://schemas.microsoft.com/office/drawing/2014/main" id="{F1CBA8A5-4F39-2CE1-F34A-9B1CBA57CB64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66403" y="3979512"/>
              <a:ext cx="87860" cy="65895"/>
            </a:xfrm>
            <a:custGeom>
              <a:avLst/>
              <a:gdLst>
                <a:gd name="T0" fmla="*/ 20 w 31"/>
                <a:gd name="T1" fmla="*/ 24 h 24"/>
                <a:gd name="T2" fmla="*/ 19 w 31"/>
                <a:gd name="T3" fmla="*/ 24 h 24"/>
                <a:gd name="T4" fmla="*/ 3 w 31"/>
                <a:gd name="T5" fmla="*/ 17 h 24"/>
                <a:gd name="T6" fmla="*/ 1 w 31"/>
                <a:gd name="T7" fmla="*/ 13 h 24"/>
                <a:gd name="T8" fmla="*/ 5 w 31"/>
                <a:gd name="T9" fmla="*/ 11 h 24"/>
                <a:gd name="T10" fmla="*/ 18 w 31"/>
                <a:gd name="T11" fmla="*/ 16 h 24"/>
                <a:gd name="T12" fmla="*/ 23 w 31"/>
                <a:gd name="T13" fmla="*/ 3 h 24"/>
                <a:gd name="T14" fmla="*/ 28 w 31"/>
                <a:gd name="T15" fmla="*/ 1 h 24"/>
                <a:gd name="T16" fmla="*/ 30 w 31"/>
                <a:gd name="T17" fmla="*/ 5 h 24"/>
                <a:gd name="T18" fmla="*/ 24 w 31"/>
                <a:gd name="T19" fmla="*/ 22 h 24"/>
                <a:gd name="T20" fmla="*/ 20 w 31"/>
                <a:gd name="T21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" h="24">
                  <a:moveTo>
                    <a:pt x="20" y="24"/>
                  </a:moveTo>
                  <a:cubicBezTo>
                    <a:pt x="20" y="24"/>
                    <a:pt x="19" y="24"/>
                    <a:pt x="19" y="24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1" y="17"/>
                    <a:pt x="0" y="15"/>
                    <a:pt x="1" y="13"/>
                  </a:cubicBezTo>
                  <a:cubicBezTo>
                    <a:pt x="1" y="11"/>
                    <a:pt x="3" y="10"/>
                    <a:pt x="5" y="11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4" y="1"/>
                    <a:pt x="26" y="0"/>
                    <a:pt x="28" y="1"/>
                  </a:cubicBezTo>
                  <a:cubicBezTo>
                    <a:pt x="30" y="1"/>
                    <a:pt x="31" y="4"/>
                    <a:pt x="30" y="5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3" y="23"/>
                    <a:pt x="22" y="24"/>
                    <a:pt x="20" y="2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3" name="Freeform 218">
              <a:extLst>
                <a:ext uri="{FF2B5EF4-FFF2-40B4-BE49-F238E27FC236}">
                  <a16:creationId xmlns:a16="http://schemas.microsoft.com/office/drawing/2014/main" id="{6BB810D1-464B-4F5F-F7D2-A4CFC8380132}"/>
                </a:ext>
              </a:extLst>
            </p:cNvPr>
            <p:cNvSpPr>
              <a:spLocks/>
            </p:cNvSpPr>
            <p:nvPr/>
          </p:nvSpPr>
          <p:spPr bwMode="auto">
            <a:xfrm>
              <a:off x="-4144061" y="3767184"/>
              <a:ext cx="76879" cy="62235"/>
            </a:xfrm>
            <a:custGeom>
              <a:avLst/>
              <a:gdLst>
                <a:gd name="T0" fmla="*/ 4 w 28"/>
                <a:gd name="T1" fmla="*/ 23 h 23"/>
                <a:gd name="T2" fmla="*/ 2 w 28"/>
                <a:gd name="T3" fmla="*/ 22 h 23"/>
                <a:gd name="T4" fmla="*/ 0 w 28"/>
                <a:gd name="T5" fmla="*/ 18 h 23"/>
                <a:gd name="T6" fmla="*/ 6 w 28"/>
                <a:gd name="T7" fmla="*/ 3 h 23"/>
                <a:gd name="T8" fmla="*/ 11 w 28"/>
                <a:gd name="T9" fmla="*/ 1 h 23"/>
                <a:gd name="T10" fmla="*/ 26 w 28"/>
                <a:gd name="T11" fmla="*/ 7 h 23"/>
                <a:gd name="T12" fmla="*/ 28 w 28"/>
                <a:gd name="T13" fmla="*/ 11 h 23"/>
                <a:gd name="T14" fmla="*/ 23 w 28"/>
                <a:gd name="T15" fmla="*/ 13 h 23"/>
                <a:gd name="T16" fmla="*/ 12 w 28"/>
                <a:gd name="T17" fmla="*/ 9 h 23"/>
                <a:gd name="T18" fmla="*/ 7 w 28"/>
                <a:gd name="T19" fmla="*/ 20 h 23"/>
                <a:gd name="T20" fmla="*/ 4 w 28"/>
                <a:gd name="T21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" h="23">
                  <a:moveTo>
                    <a:pt x="4" y="23"/>
                  </a:moveTo>
                  <a:cubicBezTo>
                    <a:pt x="3" y="23"/>
                    <a:pt x="3" y="22"/>
                    <a:pt x="2" y="22"/>
                  </a:cubicBezTo>
                  <a:cubicBezTo>
                    <a:pt x="1" y="22"/>
                    <a:pt x="0" y="19"/>
                    <a:pt x="0" y="18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7" y="1"/>
                    <a:pt x="9" y="0"/>
                    <a:pt x="11" y="1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8" y="7"/>
                    <a:pt x="28" y="9"/>
                    <a:pt x="28" y="11"/>
                  </a:cubicBezTo>
                  <a:cubicBezTo>
                    <a:pt x="27" y="13"/>
                    <a:pt x="25" y="14"/>
                    <a:pt x="23" y="13"/>
                  </a:cubicBezTo>
                  <a:cubicBezTo>
                    <a:pt x="12" y="9"/>
                    <a:pt x="12" y="9"/>
                    <a:pt x="12" y="9"/>
                  </a:cubicBezTo>
                  <a:cubicBezTo>
                    <a:pt x="7" y="20"/>
                    <a:pt x="7" y="20"/>
                    <a:pt x="7" y="20"/>
                  </a:cubicBezTo>
                  <a:cubicBezTo>
                    <a:pt x="7" y="22"/>
                    <a:pt x="5" y="23"/>
                    <a:pt x="4" y="2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4" name="Freeform 219">
              <a:extLst>
                <a:ext uri="{FF2B5EF4-FFF2-40B4-BE49-F238E27FC236}">
                  <a16:creationId xmlns:a16="http://schemas.microsoft.com/office/drawing/2014/main" id="{751D86E5-107B-C21D-454A-4E6B003FA505}"/>
                </a:ext>
              </a:extLst>
            </p:cNvPr>
            <p:cNvSpPr>
              <a:spLocks/>
            </p:cNvSpPr>
            <p:nvPr/>
          </p:nvSpPr>
          <p:spPr bwMode="auto">
            <a:xfrm>
              <a:off x="-4557736" y="3565837"/>
              <a:ext cx="285545" cy="58573"/>
            </a:xfrm>
            <a:custGeom>
              <a:avLst/>
              <a:gdLst>
                <a:gd name="T0" fmla="*/ 100 w 104"/>
                <a:gd name="T1" fmla="*/ 21 h 21"/>
                <a:gd name="T2" fmla="*/ 98 w 104"/>
                <a:gd name="T3" fmla="*/ 21 h 21"/>
                <a:gd name="T4" fmla="*/ 6 w 104"/>
                <a:gd name="T5" fmla="*/ 20 h 21"/>
                <a:gd name="T6" fmla="*/ 1 w 104"/>
                <a:gd name="T7" fmla="*/ 18 h 21"/>
                <a:gd name="T8" fmla="*/ 3 w 104"/>
                <a:gd name="T9" fmla="*/ 14 h 21"/>
                <a:gd name="T10" fmla="*/ 101 w 104"/>
                <a:gd name="T11" fmla="*/ 14 h 21"/>
                <a:gd name="T12" fmla="*/ 103 w 104"/>
                <a:gd name="T13" fmla="*/ 19 h 21"/>
                <a:gd name="T14" fmla="*/ 100 w 104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4" h="21">
                  <a:moveTo>
                    <a:pt x="100" y="21"/>
                  </a:moveTo>
                  <a:cubicBezTo>
                    <a:pt x="99" y="21"/>
                    <a:pt x="98" y="21"/>
                    <a:pt x="98" y="21"/>
                  </a:cubicBezTo>
                  <a:cubicBezTo>
                    <a:pt x="69" y="8"/>
                    <a:pt x="35" y="7"/>
                    <a:pt x="6" y="20"/>
                  </a:cubicBezTo>
                  <a:cubicBezTo>
                    <a:pt x="4" y="21"/>
                    <a:pt x="2" y="20"/>
                    <a:pt x="1" y="18"/>
                  </a:cubicBezTo>
                  <a:cubicBezTo>
                    <a:pt x="0" y="16"/>
                    <a:pt x="1" y="14"/>
                    <a:pt x="3" y="14"/>
                  </a:cubicBezTo>
                  <a:cubicBezTo>
                    <a:pt x="34" y="0"/>
                    <a:pt x="70" y="0"/>
                    <a:pt x="101" y="14"/>
                  </a:cubicBezTo>
                  <a:cubicBezTo>
                    <a:pt x="103" y="15"/>
                    <a:pt x="104" y="17"/>
                    <a:pt x="103" y="19"/>
                  </a:cubicBezTo>
                  <a:cubicBezTo>
                    <a:pt x="102" y="21"/>
                    <a:pt x="101" y="21"/>
                    <a:pt x="100" y="2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5" name="Freeform 220">
              <a:extLst>
                <a:ext uri="{FF2B5EF4-FFF2-40B4-BE49-F238E27FC236}">
                  <a16:creationId xmlns:a16="http://schemas.microsoft.com/office/drawing/2014/main" id="{076D423C-3241-9D19-4B39-9FE36CF189EE}"/>
                </a:ext>
              </a:extLst>
            </p:cNvPr>
            <p:cNvSpPr>
              <a:spLocks/>
            </p:cNvSpPr>
            <p:nvPr/>
          </p:nvSpPr>
          <p:spPr bwMode="auto">
            <a:xfrm>
              <a:off x="-4554074" y="4195500"/>
              <a:ext cx="278223" cy="47592"/>
            </a:xfrm>
            <a:custGeom>
              <a:avLst/>
              <a:gdLst>
                <a:gd name="T0" fmla="*/ 49 w 100"/>
                <a:gd name="T1" fmla="*/ 18 h 18"/>
                <a:gd name="T2" fmla="*/ 2 w 100"/>
                <a:gd name="T3" fmla="*/ 8 h 18"/>
                <a:gd name="T4" fmla="*/ 0 w 100"/>
                <a:gd name="T5" fmla="*/ 3 h 18"/>
                <a:gd name="T6" fmla="*/ 5 w 100"/>
                <a:gd name="T7" fmla="*/ 1 h 18"/>
                <a:gd name="T8" fmla="*/ 94 w 100"/>
                <a:gd name="T9" fmla="*/ 1 h 18"/>
                <a:gd name="T10" fmla="*/ 99 w 100"/>
                <a:gd name="T11" fmla="*/ 3 h 18"/>
                <a:gd name="T12" fmla="*/ 97 w 100"/>
                <a:gd name="T13" fmla="*/ 7 h 18"/>
                <a:gd name="T14" fmla="*/ 49 w 100"/>
                <a:gd name="T1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0" h="18">
                  <a:moveTo>
                    <a:pt x="49" y="18"/>
                  </a:moveTo>
                  <a:cubicBezTo>
                    <a:pt x="33" y="18"/>
                    <a:pt x="17" y="14"/>
                    <a:pt x="2" y="8"/>
                  </a:cubicBezTo>
                  <a:cubicBezTo>
                    <a:pt x="0" y="7"/>
                    <a:pt x="0" y="5"/>
                    <a:pt x="0" y="3"/>
                  </a:cubicBezTo>
                  <a:cubicBezTo>
                    <a:pt x="1" y="2"/>
                    <a:pt x="3" y="1"/>
                    <a:pt x="5" y="1"/>
                  </a:cubicBezTo>
                  <a:cubicBezTo>
                    <a:pt x="34" y="14"/>
                    <a:pt x="66" y="13"/>
                    <a:pt x="94" y="1"/>
                  </a:cubicBezTo>
                  <a:cubicBezTo>
                    <a:pt x="96" y="0"/>
                    <a:pt x="98" y="1"/>
                    <a:pt x="99" y="3"/>
                  </a:cubicBezTo>
                  <a:cubicBezTo>
                    <a:pt x="100" y="5"/>
                    <a:pt x="99" y="7"/>
                    <a:pt x="97" y="7"/>
                  </a:cubicBezTo>
                  <a:cubicBezTo>
                    <a:pt x="82" y="14"/>
                    <a:pt x="65" y="18"/>
                    <a:pt x="49" y="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6" name="Freeform 221">
              <a:extLst>
                <a:ext uri="{FF2B5EF4-FFF2-40B4-BE49-F238E27FC236}">
                  <a16:creationId xmlns:a16="http://schemas.microsoft.com/office/drawing/2014/main" id="{F9564BA0-966E-B922-3FAD-2B443DA5DF09}"/>
                </a:ext>
              </a:extLst>
            </p:cNvPr>
            <p:cNvSpPr>
              <a:spLocks/>
            </p:cNvSpPr>
            <p:nvPr/>
          </p:nvSpPr>
          <p:spPr bwMode="auto">
            <a:xfrm>
              <a:off x="-4345408" y="4177197"/>
              <a:ext cx="69557" cy="84200"/>
            </a:xfrm>
            <a:custGeom>
              <a:avLst/>
              <a:gdLst>
                <a:gd name="T0" fmla="*/ 14 w 25"/>
                <a:gd name="T1" fmla="*/ 30 h 30"/>
                <a:gd name="T2" fmla="*/ 13 w 25"/>
                <a:gd name="T3" fmla="*/ 30 h 30"/>
                <a:gd name="T4" fmla="*/ 11 w 25"/>
                <a:gd name="T5" fmla="*/ 25 h 30"/>
                <a:gd name="T6" fmla="*/ 16 w 25"/>
                <a:gd name="T7" fmla="*/ 12 h 30"/>
                <a:gd name="T8" fmla="*/ 3 w 25"/>
                <a:gd name="T9" fmla="*/ 7 h 30"/>
                <a:gd name="T10" fmla="*/ 1 w 25"/>
                <a:gd name="T11" fmla="*/ 2 h 30"/>
                <a:gd name="T12" fmla="*/ 6 w 25"/>
                <a:gd name="T13" fmla="*/ 0 h 30"/>
                <a:gd name="T14" fmla="*/ 22 w 25"/>
                <a:gd name="T15" fmla="*/ 7 h 30"/>
                <a:gd name="T16" fmla="*/ 24 w 25"/>
                <a:gd name="T17" fmla="*/ 12 h 30"/>
                <a:gd name="T18" fmla="*/ 18 w 25"/>
                <a:gd name="T19" fmla="*/ 28 h 30"/>
                <a:gd name="T20" fmla="*/ 14 w 25"/>
                <a:gd name="T2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" h="30">
                  <a:moveTo>
                    <a:pt x="14" y="30"/>
                  </a:moveTo>
                  <a:cubicBezTo>
                    <a:pt x="14" y="30"/>
                    <a:pt x="13" y="30"/>
                    <a:pt x="13" y="30"/>
                  </a:cubicBezTo>
                  <a:cubicBezTo>
                    <a:pt x="11" y="29"/>
                    <a:pt x="10" y="27"/>
                    <a:pt x="11" y="25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" y="6"/>
                    <a:pt x="0" y="4"/>
                    <a:pt x="1" y="2"/>
                  </a:cubicBezTo>
                  <a:cubicBezTo>
                    <a:pt x="2" y="1"/>
                    <a:pt x="4" y="0"/>
                    <a:pt x="6" y="0"/>
                  </a:cubicBezTo>
                  <a:cubicBezTo>
                    <a:pt x="22" y="7"/>
                    <a:pt x="22" y="7"/>
                    <a:pt x="22" y="7"/>
                  </a:cubicBezTo>
                  <a:cubicBezTo>
                    <a:pt x="24" y="8"/>
                    <a:pt x="25" y="10"/>
                    <a:pt x="24" y="12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7" y="29"/>
                    <a:pt x="16" y="30"/>
                    <a:pt x="14" y="3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7" name="Freeform 222">
              <a:extLst>
                <a:ext uri="{FF2B5EF4-FFF2-40B4-BE49-F238E27FC236}">
                  <a16:creationId xmlns:a16="http://schemas.microsoft.com/office/drawing/2014/main" id="{F178D5F2-0265-4E9D-3886-34A503B512A0}"/>
                </a:ext>
              </a:extLst>
            </p:cNvPr>
            <p:cNvSpPr>
              <a:spLocks/>
            </p:cNvSpPr>
            <p:nvPr/>
          </p:nvSpPr>
          <p:spPr bwMode="auto">
            <a:xfrm>
              <a:off x="-4557736" y="3562177"/>
              <a:ext cx="62235" cy="76879"/>
            </a:xfrm>
            <a:custGeom>
              <a:avLst/>
              <a:gdLst>
                <a:gd name="T0" fmla="*/ 19 w 23"/>
                <a:gd name="T1" fmla="*/ 28 h 28"/>
                <a:gd name="T2" fmla="*/ 18 w 23"/>
                <a:gd name="T3" fmla="*/ 28 h 28"/>
                <a:gd name="T4" fmla="*/ 3 w 23"/>
                <a:gd name="T5" fmla="*/ 22 h 28"/>
                <a:gd name="T6" fmla="*/ 1 w 23"/>
                <a:gd name="T7" fmla="*/ 18 h 28"/>
                <a:gd name="T8" fmla="*/ 7 w 23"/>
                <a:gd name="T9" fmla="*/ 3 h 28"/>
                <a:gd name="T10" fmla="*/ 12 w 23"/>
                <a:gd name="T11" fmla="*/ 1 h 28"/>
                <a:gd name="T12" fmla="*/ 14 w 23"/>
                <a:gd name="T13" fmla="*/ 5 h 28"/>
                <a:gd name="T14" fmla="*/ 9 w 23"/>
                <a:gd name="T15" fmla="*/ 17 h 28"/>
                <a:gd name="T16" fmla="*/ 20 w 23"/>
                <a:gd name="T17" fmla="*/ 21 h 28"/>
                <a:gd name="T18" fmla="*/ 23 w 23"/>
                <a:gd name="T19" fmla="*/ 26 h 28"/>
                <a:gd name="T20" fmla="*/ 19 w 23"/>
                <a:gd name="T2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" h="28">
                  <a:moveTo>
                    <a:pt x="19" y="28"/>
                  </a:moveTo>
                  <a:cubicBezTo>
                    <a:pt x="19" y="28"/>
                    <a:pt x="18" y="28"/>
                    <a:pt x="18" y="28"/>
                  </a:cubicBezTo>
                  <a:cubicBezTo>
                    <a:pt x="3" y="22"/>
                    <a:pt x="3" y="22"/>
                    <a:pt x="3" y="22"/>
                  </a:cubicBezTo>
                  <a:cubicBezTo>
                    <a:pt x="1" y="21"/>
                    <a:pt x="0" y="19"/>
                    <a:pt x="1" y="18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8" y="1"/>
                    <a:pt x="10" y="0"/>
                    <a:pt x="12" y="1"/>
                  </a:cubicBezTo>
                  <a:cubicBezTo>
                    <a:pt x="13" y="1"/>
                    <a:pt x="14" y="4"/>
                    <a:pt x="14" y="5"/>
                  </a:cubicBezTo>
                  <a:cubicBezTo>
                    <a:pt x="9" y="17"/>
                    <a:pt x="9" y="17"/>
                    <a:pt x="9" y="17"/>
                  </a:cubicBezTo>
                  <a:cubicBezTo>
                    <a:pt x="20" y="21"/>
                    <a:pt x="20" y="21"/>
                    <a:pt x="20" y="21"/>
                  </a:cubicBezTo>
                  <a:cubicBezTo>
                    <a:pt x="22" y="22"/>
                    <a:pt x="23" y="24"/>
                    <a:pt x="23" y="26"/>
                  </a:cubicBezTo>
                  <a:cubicBezTo>
                    <a:pt x="22" y="27"/>
                    <a:pt x="21" y="28"/>
                    <a:pt x="19" y="2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3" name="Shape5_20200717_154431">
            <a:extLst>
              <a:ext uri="{FF2B5EF4-FFF2-40B4-BE49-F238E27FC236}">
                <a16:creationId xmlns:a16="http://schemas.microsoft.com/office/drawing/2014/main" id="{6617E0E8-46C2-C89B-9049-2C1DA0E395C8}"/>
              </a:ext>
            </a:extLst>
          </p:cNvPr>
          <p:cNvGrpSpPr>
            <a:grpSpLocks noChangeAspect="1"/>
          </p:cNvGrpSpPr>
          <p:nvPr/>
        </p:nvGrpSpPr>
        <p:grpSpPr>
          <a:xfrm>
            <a:off x="566264" y="1189845"/>
            <a:ext cx="615020" cy="615020"/>
            <a:chOff x="-7310682" y="823876"/>
            <a:chExt cx="615020" cy="615020"/>
          </a:xfrm>
          <a:solidFill>
            <a:schemeClr val="accent1"/>
          </a:solidFill>
        </p:grpSpPr>
        <p:sp>
          <p:nvSpPr>
            <p:cNvPr id="158" name="Freeform 223">
              <a:extLst>
                <a:ext uri="{FF2B5EF4-FFF2-40B4-BE49-F238E27FC236}">
                  <a16:creationId xmlns:a16="http://schemas.microsoft.com/office/drawing/2014/main" id="{CBDC91B6-624A-9D4A-1C97-65B9F7F77AC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310682" y="823876"/>
              <a:ext cx="615020" cy="615020"/>
            </a:xfrm>
            <a:custGeom>
              <a:avLst/>
              <a:gdLst>
                <a:gd name="T0" fmla="*/ 111 w 222"/>
                <a:gd name="T1" fmla="*/ 222 h 222"/>
                <a:gd name="T2" fmla="*/ 0 w 222"/>
                <a:gd name="T3" fmla="*/ 111 h 222"/>
                <a:gd name="T4" fmla="*/ 111 w 222"/>
                <a:gd name="T5" fmla="*/ 0 h 222"/>
                <a:gd name="T6" fmla="*/ 222 w 222"/>
                <a:gd name="T7" fmla="*/ 111 h 222"/>
                <a:gd name="T8" fmla="*/ 111 w 222"/>
                <a:gd name="T9" fmla="*/ 222 h 222"/>
                <a:gd name="T10" fmla="*/ 111 w 222"/>
                <a:gd name="T11" fmla="*/ 7 h 222"/>
                <a:gd name="T12" fmla="*/ 8 w 222"/>
                <a:gd name="T13" fmla="*/ 111 h 222"/>
                <a:gd name="T14" fmla="*/ 111 w 222"/>
                <a:gd name="T15" fmla="*/ 214 h 222"/>
                <a:gd name="T16" fmla="*/ 215 w 222"/>
                <a:gd name="T17" fmla="*/ 111 h 222"/>
                <a:gd name="T18" fmla="*/ 111 w 222"/>
                <a:gd name="T19" fmla="*/ 7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2" h="222">
                  <a:moveTo>
                    <a:pt x="111" y="222"/>
                  </a:moveTo>
                  <a:cubicBezTo>
                    <a:pt x="50" y="222"/>
                    <a:pt x="0" y="172"/>
                    <a:pt x="0" y="111"/>
                  </a:cubicBezTo>
                  <a:cubicBezTo>
                    <a:pt x="0" y="50"/>
                    <a:pt x="50" y="0"/>
                    <a:pt x="111" y="0"/>
                  </a:cubicBezTo>
                  <a:cubicBezTo>
                    <a:pt x="172" y="0"/>
                    <a:pt x="222" y="50"/>
                    <a:pt x="222" y="111"/>
                  </a:cubicBezTo>
                  <a:cubicBezTo>
                    <a:pt x="222" y="172"/>
                    <a:pt x="172" y="222"/>
                    <a:pt x="111" y="222"/>
                  </a:cubicBezTo>
                  <a:close/>
                  <a:moveTo>
                    <a:pt x="111" y="7"/>
                  </a:moveTo>
                  <a:cubicBezTo>
                    <a:pt x="54" y="7"/>
                    <a:pt x="8" y="54"/>
                    <a:pt x="8" y="111"/>
                  </a:cubicBezTo>
                  <a:cubicBezTo>
                    <a:pt x="8" y="168"/>
                    <a:pt x="54" y="214"/>
                    <a:pt x="111" y="214"/>
                  </a:cubicBezTo>
                  <a:cubicBezTo>
                    <a:pt x="168" y="214"/>
                    <a:pt x="215" y="168"/>
                    <a:pt x="215" y="111"/>
                  </a:cubicBezTo>
                  <a:cubicBezTo>
                    <a:pt x="215" y="54"/>
                    <a:pt x="168" y="7"/>
                    <a:pt x="111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9" name="Freeform 224">
              <a:extLst>
                <a:ext uri="{FF2B5EF4-FFF2-40B4-BE49-F238E27FC236}">
                  <a16:creationId xmlns:a16="http://schemas.microsoft.com/office/drawing/2014/main" id="{FBF79383-C3F0-B9AE-0B0D-7122F6BE8F18}"/>
                </a:ext>
              </a:extLst>
            </p:cNvPr>
            <p:cNvSpPr>
              <a:spLocks/>
            </p:cNvSpPr>
            <p:nvPr/>
          </p:nvSpPr>
          <p:spPr bwMode="auto">
            <a:xfrm>
              <a:off x="-7215500" y="904414"/>
              <a:ext cx="428318" cy="106165"/>
            </a:xfrm>
            <a:custGeom>
              <a:avLst/>
              <a:gdLst>
                <a:gd name="T0" fmla="*/ 77 w 155"/>
                <a:gd name="T1" fmla="*/ 38 h 38"/>
                <a:gd name="T2" fmla="*/ 1 w 155"/>
                <a:gd name="T3" fmla="*/ 7 h 38"/>
                <a:gd name="T4" fmla="*/ 1 w 155"/>
                <a:gd name="T5" fmla="*/ 2 h 38"/>
                <a:gd name="T6" fmla="*/ 6 w 155"/>
                <a:gd name="T7" fmla="*/ 2 h 38"/>
                <a:gd name="T8" fmla="*/ 77 w 155"/>
                <a:gd name="T9" fmla="*/ 30 h 38"/>
                <a:gd name="T10" fmla="*/ 148 w 155"/>
                <a:gd name="T11" fmla="*/ 2 h 38"/>
                <a:gd name="T12" fmla="*/ 154 w 155"/>
                <a:gd name="T13" fmla="*/ 2 h 38"/>
                <a:gd name="T14" fmla="*/ 153 w 155"/>
                <a:gd name="T15" fmla="*/ 7 h 38"/>
                <a:gd name="T16" fmla="*/ 77 w 155"/>
                <a:gd name="T17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5" h="38">
                  <a:moveTo>
                    <a:pt x="77" y="38"/>
                  </a:moveTo>
                  <a:cubicBezTo>
                    <a:pt x="49" y="38"/>
                    <a:pt x="22" y="27"/>
                    <a:pt x="1" y="7"/>
                  </a:cubicBezTo>
                  <a:cubicBezTo>
                    <a:pt x="0" y="6"/>
                    <a:pt x="0" y="4"/>
                    <a:pt x="1" y="2"/>
                  </a:cubicBezTo>
                  <a:cubicBezTo>
                    <a:pt x="2" y="1"/>
                    <a:pt x="5" y="1"/>
                    <a:pt x="6" y="2"/>
                  </a:cubicBezTo>
                  <a:cubicBezTo>
                    <a:pt x="25" y="20"/>
                    <a:pt x="51" y="30"/>
                    <a:pt x="77" y="30"/>
                  </a:cubicBezTo>
                  <a:cubicBezTo>
                    <a:pt x="104" y="30"/>
                    <a:pt x="129" y="20"/>
                    <a:pt x="148" y="2"/>
                  </a:cubicBezTo>
                  <a:cubicBezTo>
                    <a:pt x="150" y="0"/>
                    <a:pt x="152" y="0"/>
                    <a:pt x="154" y="2"/>
                  </a:cubicBezTo>
                  <a:cubicBezTo>
                    <a:pt x="155" y="3"/>
                    <a:pt x="155" y="6"/>
                    <a:pt x="153" y="7"/>
                  </a:cubicBezTo>
                  <a:cubicBezTo>
                    <a:pt x="133" y="27"/>
                    <a:pt x="106" y="38"/>
                    <a:pt x="77" y="3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0" name="Freeform 225">
              <a:extLst>
                <a:ext uri="{FF2B5EF4-FFF2-40B4-BE49-F238E27FC236}">
                  <a16:creationId xmlns:a16="http://schemas.microsoft.com/office/drawing/2014/main" id="{79A3516C-8E09-DED0-4023-CFED0C5115CF}"/>
                </a:ext>
              </a:extLst>
            </p:cNvPr>
            <p:cNvSpPr>
              <a:spLocks/>
            </p:cNvSpPr>
            <p:nvPr/>
          </p:nvSpPr>
          <p:spPr bwMode="auto">
            <a:xfrm>
              <a:off x="-7215500" y="1252192"/>
              <a:ext cx="420997" cy="98844"/>
            </a:xfrm>
            <a:custGeom>
              <a:avLst/>
              <a:gdLst>
                <a:gd name="T0" fmla="*/ 4 w 153"/>
                <a:gd name="T1" fmla="*/ 36 h 36"/>
                <a:gd name="T2" fmla="*/ 1 w 153"/>
                <a:gd name="T3" fmla="*/ 35 h 36"/>
                <a:gd name="T4" fmla="*/ 2 w 153"/>
                <a:gd name="T5" fmla="*/ 30 h 36"/>
                <a:gd name="T6" fmla="*/ 77 w 153"/>
                <a:gd name="T7" fmla="*/ 0 h 36"/>
                <a:gd name="T8" fmla="*/ 152 w 153"/>
                <a:gd name="T9" fmla="*/ 29 h 36"/>
                <a:gd name="T10" fmla="*/ 152 w 153"/>
                <a:gd name="T11" fmla="*/ 35 h 36"/>
                <a:gd name="T12" fmla="*/ 147 w 153"/>
                <a:gd name="T13" fmla="*/ 35 h 36"/>
                <a:gd name="T14" fmla="*/ 77 w 153"/>
                <a:gd name="T15" fmla="*/ 7 h 36"/>
                <a:gd name="T16" fmla="*/ 7 w 153"/>
                <a:gd name="T17" fmla="*/ 35 h 36"/>
                <a:gd name="T18" fmla="*/ 4 w 153"/>
                <a:gd name="T19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3" h="36">
                  <a:moveTo>
                    <a:pt x="4" y="36"/>
                  </a:moveTo>
                  <a:cubicBezTo>
                    <a:pt x="3" y="36"/>
                    <a:pt x="2" y="36"/>
                    <a:pt x="1" y="35"/>
                  </a:cubicBezTo>
                  <a:cubicBezTo>
                    <a:pt x="0" y="34"/>
                    <a:pt x="0" y="31"/>
                    <a:pt x="2" y="30"/>
                  </a:cubicBezTo>
                  <a:cubicBezTo>
                    <a:pt x="22" y="11"/>
                    <a:pt x="49" y="0"/>
                    <a:pt x="77" y="0"/>
                  </a:cubicBezTo>
                  <a:cubicBezTo>
                    <a:pt x="105" y="0"/>
                    <a:pt x="131" y="11"/>
                    <a:pt x="152" y="29"/>
                  </a:cubicBezTo>
                  <a:cubicBezTo>
                    <a:pt x="153" y="31"/>
                    <a:pt x="153" y="33"/>
                    <a:pt x="152" y="35"/>
                  </a:cubicBezTo>
                  <a:cubicBezTo>
                    <a:pt x="151" y="36"/>
                    <a:pt x="149" y="36"/>
                    <a:pt x="147" y="35"/>
                  </a:cubicBezTo>
                  <a:cubicBezTo>
                    <a:pt x="128" y="17"/>
                    <a:pt x="103" y="7"/>
                    <a:pt x="77" y="7"/>
                  </a:cubicBezTo>
                  <a:cubicBezTo>
                    <a:pt x="51" y="7"/>
                    <a:pt x="26" y="17"/>
                    <a:pt x="7" y="35"/>
                  </a:cubicBezTo>
                  <a:cubicBezTo>
                    <a:pt x="6" y="36"/>
                    <a:pt x="5" y="36"/>
                    <a:pt x="4" y="3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1" name="Freeform 226">
              <a:extLst>
                <a:ext uri="{FF2B5EF4-FFF2-40B4-BE49-F238E27FC236}">
                  <a16:creationId xmlns:a16="http://schemas.microsoft.com/office/drawing/2014/main" id="{0F0C077F-547A-089A-843B-2CA4F23C66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167908" y="823876"/>
              <a:ext cx="329475" cy="615020"/>
            </a:xfrm>
            <a:custGeom>
              <a:avLst/>
              <a:gdLst>
                <a:gd name="T0" fmla="*/ 60 w 120"/>
                <a:gd name="T1" fmla="*/ 222 h 222"/>
                <a:gd name="T2" fmla="*/ 0 w 120"/>
                <a:gd name="T3" fmla="*/ 111 h 222"/>
                <a:gd name="T4" fmla="*/ 60 w 120"/>
                <a:gd name="T5" fmla="*/ 0 h 222"/>
                <a:gd name="T6" fmla="*/ 120 w 120"/>
                <a:gd name="T7" fmla="*/ 111 h 222"/>
                <a:gd name="T8" fmla="*/ 60 w 120"/>
                <a:gd name="T9" fmla="*/ 222 h 222"/>
                <a:gd name="T10" fmla="*/ 60 w 120"/>
                <a:gd name="T11" fmla="*/ 7 h 222"/>
                <a:gd name="T12" fmla="*/ 7 w 120"/>
                <a:gd name="T13" fmla="*/ 111 h 222"/>
                <a:gd name="T14" fmla="*/ 60 w 120"/>
                <a:gd name="T15" fmla="*/ 214 h 222"/>
                <a:gd name="T16" fmla="*/ 113 w 120"/>
                <a:gd name="T17" fmla="*/ 111 h 222"/>
                <a:gd name="T18" fmla="*/ 60 w 120"/>
                <a:gd name="T19" fmla="*/ 7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0" h="222">
                  <a:moveTo>
                    <a:pt x="60" y="222"/>
                  </a:moveTo>
                  <a:cubicBezTo>
                    <a:pt x="27" y="222"/>
                    <a:pt x="0" y="173"/>
                    <a:pt x="0" y="111"/>
                  </a:cubicBezTo>
                  <a:cubicBezTo>
                    <a:pt x="0" y="49"/>
                    <a:pt x="27" y="0"/>
                    <a:pt x="60" y="0"/>
                  </a:cubicBezTo>
                  <a:cubicBezTo>
                    <a:pt x="94" y="0"/>
                    <a:pt x="120" y="49"/>
                    <a:pt x="120" y="111"/>
                  </a:cubicBezTo>
                  <a:cubicBezTo>
                    <a:pt x="120" y="173"/>
                    <a:pt x="94" y="222"/>
                    <a:pt x="60" y="222"/>
                  </a:cubicBezTo>
                  <a:close/>
                  <a:moveTo>
                    <a:pt x="60" y="7"/>
                  </a:moveTo>
                  <a:cubicBezTo>
                    <a:pt x="31" y="7"/>
                    <a:pt x="7" y="54"/>
                    <a:pt x="7" y="111"/>
                  </a:cubicBezTo>
                  <a:cubicBezTo>
                    <a:pt x="7" y="168"/>
                    <a:pt x="31" y="214"/>
                    <a:pt x="60" y="214"/>
                  </a:cubicBezTo>
                  <a:cubicBezTo>
                    <a:pt x="89" y="214"/>
                    <a:pt x="113" y="168"/>
                    <a:pt x="113" y="111"/>
                  </a:cubicBezTo>
                  <a:cubicBezTo>
                    <a:pt x="113" y="54"/>
                    <a:pt x="89" y="7"/>
                    <a:pt x="60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2" name="Freeform 227">
              <a:extLst>
                <a:ext uri="{FF2B5EF4-FFF2-40B4-BE49-F238E27FC236}">
                  <a16:creationId xmlns:a16="http://schemas.microsoft.com/office/drawing/2014/main" id="{BC704E2C-6BC8-F961-FC00-F1E1BA3D4564}"/>
                </a:ext>
              </a:extLst>
            </p:cNvPr>
            <p:cNvSpPr>
              <a:spLocks/>
            </p:cNvSpPr>
            <p:nvPr/>
          </p:nvSpPr>
          <p:spPr bwMode="auto">
            <a:xfrm>
              <a:off x="-7310682" y="1120402"/>
              <a:ext cx="615020" cy="21965"/>
            </a:xfrm>
            <a:custGeom>
              <a:avLst/>
              <a:gdLst>
                <a:gd name="T0" fmla="*/ 218 w 222"/>
                <a:gd name="T1" fmla="*/ 8 h 8"/>
                <a:gd name="T2" fmla="*/ 4 w 222"/>
                <a:gd name="T3" fmla="*/ 8 h 8"/>
                <a:gd name="T4" fmla="*/ 0 w 222"/>
                <a:gd name="T5" fmla="*/ 4 h 8"/>
                <a:gd name="T6" fmla="*/ 4 w 222"/>
                <a:gd name="T7" fmla="*/ 0 h 8"/>
                <a:gd name="T8" fmla="*/ 218 w 222"/>
                <a:gd name="T9" fmla="*/ 0 h 8"/>
                <a:gd name="T10" fmla="*/ 222 w 222"/>
                <a:gd name="T11" fmla="*/ 4 h 8"/>
                <a:gd name="T12" fmla="*/ 218 w 222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2" h="8">
                  <a:moveTo>
                    <a:pt x="218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18" y="0"/>
                    <a:pt x="218" y="0"/>
                    <a:pt x="218" y="0"/>
                  </a:cubicBezTo>
                  <a:cubicBezTo>
                    <a:pt x="220" y="0"/>
                    <a:pt x="222" y="2"/>
                    <a:pt x="222" y="4"/>
                  </a:cubicBezTo>
                  <a:cubicBezTo>
                    <a:pt x="222" y="6"/>
                    <a:pt x="220" y="8"/>
                    <a:pt x="218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3" name="Freeform 228">
              <a:extLst>
                <a:ext uri="{FF2B5EF4-FFF2-40B4-BE49-F238E27FC236}">
                  <a16:creationId xmlns:a16="http://schemas.microsoft.com/office/drawing/2014/main" id="{0A004705-7F90-F982-323F-D1386A235ECB}"/>
                </a:ext>
              </a:extLst>
            </p:cNvPr>
            <p:cNvSpPr>
              <a:spLocks/>
            </p:cNvSpPr>
            <p:nvPr/>
          </p:nvSpPr>
          <p:spPr bwMode="auto">
            <a:xfrm>
              <a:off x="-7014153" y="823876"/>
              <a:ext cx="21965" cy="615020"/>
            </a:xfrm>
            <a:custGeom>
              <a:avLst/>
              <a:gdLst>
                <a:gd name="T0" fmla="*/ 4 w 8"/>
                <a:gd name="T1" fmla="*/ 222 h 222"/>
                <a:gd name="T2" fmla="*/ 0 w 8"/>
                <a:gd name="T3" fmla="*/ 218 h 222"/>
                <a:gd name="T4" fmla="*/ 0 w 8"/>
                <a:gd name="T5" fmla="*/ 4 h 222"/>
                <a:gd name="T6" fmla="*/ 4 w 8"/>
                <a:gd name="T7" fmla="*/ 0 h 222"/>
                <a:gd name="T8" fmla="*/ 8 w 8"/>
                <a:gd name="T9" fmla="*/ 4 h 222"/>
                <a:gd name="T10" fmla="*/ 8 w 8"/>
                <a:gd name="T11" fmla="*/ 218 h 222"/>
                <a:gd name="T12" fmla="*/ 4 w 8"/>
                <a:gd name="T13" fmla="*/ 222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222">
                  <a:moveTo>
                    <a:pt x="4" y="222"/>
                  </a:moveTo>
                  <a:cubicBezTo>
                    <a:pt x="2" y="222"/>
                    <a:pt x="0" y="220"/>
                    <a:pt x="0" y="218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218"/>
                    <a:pt x="8" y="218"/>
                    <a:pt x="8" y="218"/>
                  </a:cubicBezTo>
                  <a:cubicBezTo>
                    <a:pt x="8" y="220"/>
                    <a:pt x="6" y="222"/>
                    <a:pt x="4" y="22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4" name="Shape6_20200717_154431">
            <a:extLst>
              <a:ext uri="{FF2B5EF4-FFF2-40B4-BE49-F238E27FC236}">
                <a16:creationId xmlns:a16="http://schemas.microsoft.com/office/drawing/2014/main" id="{FA103F89-A67D-29EE-A463-1CF0DBA15E90}"/>
              </a:ext>
            </a:extLst>
          </p:cNvPr>
          <p:cNvGrpSpPr>
            <a:grpSpLocks noChangeAspect="1"/>
          </p:cNvGrpSpPr>
          <p:nvPr/>
        </p:nvGrpSpPr>
        <p:grpSpPr>
          <a:xfrm>
            <a:off x="7061098" y="1156896"/>
            <a:ext cx="680915" cy="680915"/>
            <a:chOff x="-874940" y="790927"/>
            <a:chExt cx="680915" cy="680915"/>
          </a:xfrm>
          <a:solidFill>
            <a:schemeClr val="accent1"/>
          </a:solidFill>
        </p:grpSpPr>
        <p:sp>
          <p:nvSpPr>
            <p:cNvPr id="150" name="Freeform 229">
              <a:extLst>
                <a:ext uri="{FF2B5EF4-FFF2-40B4-BE49-F238E27FC236}">
                  <a16:creationId xmlns:a16="http://schemas.microsoft.com/office/drawing/2014/main" id="{FDEC505B-E3E4-213F-831C-6EF467D398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97873" y="1171653"/>
              <a:ext cx="237955" cy="234293"/>
            </a:xfrm>
            <a:custGeom>
              <a:avLst/>
              <a:gdLst>
                <a:gd name="T0" fmla="*/ 43 w 86"/>
                <a:gd name="T1" fmla="*/ 86 h 86"/>
                <a:gd name="T2" fmla="*/ 0 w 86"/>
                <a:gd name="T3" fmla="*/ 43 h 86"/>
                <a:gd name="T4" fmla="*/ 43 w 86"/>
                <a:gd name="T5" fmla="*/ 0 h 86"/>
                <a:gd name="T6" fmla="*/ 86 w 86"/>
                <a:gd name="T7" fmla="*/ 43 h 86"/>
                <a:gd name="T8" fmla="*/ 43 w 86"/>
                <a:gd name="T9" fmla="*/ 86 h 86"/>
                <a:gd name="T10" fmla="*/ 43 w 86"/>
                <a:gd name="T11" fmla="*/ 7 h 86"/>
                <a:gd name="T12" fmla="*/ 7 w 86"/>
                <a:gd name="T13" fmla="*/ 43 h 86"/>
                <a:gd name="T14" fmla="*/ 43 w 86"/>
                <a:gd name="T15" fmla="*/ 78 h 86"/>
                <a:gd name="T16" fmla="*/ 78 w 86"/>
                <a:gd name="T17" fmla="*/ 43 h 86"/>
                <a:gd name="T18" fmla="*/ 43 w 86"/>
                <a:gd name="T19" fmla="*/ 7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6" h="86">
                  <a:moveTo>
                    <a:pt x="43" y="86"/>
                  </a:moveTo>
                  <a:cubicBezTo>
                    <a:pt x="19" y="86"/>
                    <a:pt x="0" y="66"/>
                    <a:pt x="0" y="43"/>
                  </a:cubicBezTo>
                  <a:cubicBezTo>
                    <a:pt x="0" y="19"/>
                    <a:pt x="19" y="0"/>
                    <a:pt x="43" y="0"/>
                  </a:cubicBezTo>
                  <a:cubicBezTo>
                    <a:pt x="66" y="0"/>
                    <a:pt x="86" y="19"/>
                    <a:pt x="86" y="43"/>
                  </a:cubicBezTo>
                  <a:cubicBezTo>
                    <a:pt x="86" y="66"/>
                    <a:pt x="66" y="86"/>
                    <a:pt x="43" y="86"/>
                  </a:cubicBezTo>
                  <a:close/>
                  <a:moveTo>
                    <a:pt x="43" y="7"/>
                  </a:moveTo>
                  <a:cubicBezTo>
                    <a:pt x="23" y="7"/>
                    <a:pt x="7" y="23"/>
                    <a:pt x="7" y="43"/>
                  </a:cubicBezTo>
                  <a:cubicBezTo>
                    <a:pt x="7" y="62"/>
                    <a:pt x="23" y="78"/>
                    <a:pt x="43" y="78"/>
                  </a:cubicBezTo>
                  <a:cubicBezTo>
                    <a:pt x="62" y="78"/>
                    <a:pt x="78" y="62"/>
                    <a:pt x="78" y="43"/>
                  </a:cubicBezTo>
                  <a:cubicBezTo>
                    <a:pt x="78" y="23"/>
                    <a:pt x="62" y="7"/>
                    <a:pt x="43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1" name="Freeform 230">
              <a:extLst>
                <a:ext uri="{FF2B5EF4-FFF2-40B4-BE49-F238E27FC236}">
                  <a16:creationId xmlns:a16="http://schemas.microsoft.com/office/drawing/2014/main" id="{74CAD915-7407-191C-4FD5-F5910CA2152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5815" y="1340052"/>
              <a:ext cx="131790" cy="131790"/>
            </a:xfrm>
            <a:custGeom>
              <a:avLst/>
              <a:gdLst>
                <a:gd name="T0" fmla="*/ 36 w 48"/>
                <a:gd name="T1" fmla="*/ 47 h 47"/>
                <a:gd name="T2" fmla="*/ 28 w 48"/>
                <a:gd name="T3" fmla="*/ 44 h 47"/>
                <a:gd name="T4" fmla="*/ 28 w 48"/>
                <a:gd name="T5" fmla="*/ 44 h 47"/>
                <a:gd name="T6" fmla="*/ 1 w 48"/>
                <a:gd name="T7" fmla="*/ 17 h 47"/>
                <a:gd name="T8" fmla="*/ 1 w 48"/>
                <a:gd name="T9" fmla="*/ 11 h 47"/>
                <a:gd name="T10" fmla="*/ 12 w 48"/>
                <a:gd name="T11" fmla="*/ 1 h 47"/>
                <a:gd name="T12" fmla="*/ 17 w 48"/>
                <a:gd name="T13" fmla="*/ 1 h 47"/>
                <a:gd name="T14" fmla="*/ 44 w 48"/>
                <a:gd name="T15" fmla="*/ 28 h 47"/>
                <a:gd name="T16" fmla="*/ 44 w 48"/>
                <a:gd name="T17" fmla="*/ 44 h 47"/>
                <a:gd name="T18" fmla="*/ 36 w 48"/>
                <a:gd name="T19" fmla="*/ 47 h 47"/>
                <a:gd name="T20" fmla="*/ 33 w 48"/>
                <a:gd name="T21" fmla="*/ 39 h 47"/>
                <a:gd name="T22" fmla="*/ 39 w 48"/>
                <a:gd name="T23" fmla="*/ 39 h 47"/>
                <a:gd name="T24" fmla="*/ 39 w 48"/>
                <a:gd name="T25" fmla="*/ 33 h 47"/>
                <a:gd name="T26" fmla="*/ 14 w 48"/>
                <a:gd name="T27" fmla="*/ 9 h 47"/>
                <a:gd name="T28" fmla="*/ 9 w 48"/>
                <a:gd name="T29" fmla="*/ 14 h 47"/>
                <a:gd name="T30" fmla="*/ 33 w 48"/>
                <a:gd name="T31" fmla="*/ 3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8" h="47">
                  <a:moveTo>
                    <a:pt x="36" y="47"/>
                  </a:moveTo>
                  <a:cubicBezTo>
                    <a:pt x="33" y="47"/>
                    <a:pt x="30" y="46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1" y="17"/>
                    <a:pt x="1" y="17"/>
                    <a:pt x="1" y="17"/>
                  </a:cubicBezTo>
                  <a:cubicBezTo>
                    <a:pt x="0" y="15"/>
                    <a:pt x="0" y="13"/>
                    <a:pt x="1" y="1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3" y="0"/>
                    <a:pt x="15" y="0"/>
                    <a:pt x="17" y="1"/>
                  </a:cubicBezTo>
                  <a:cubicBezTo>
                    <a:pt x="44" y="28"/>
                    <a:pt x="44" y="28"/>
                    <a:pt x="44" y="28"/>
                  </a:cubicBezTo>
                  <a:cubicBezTo>
                    <a:pt x="48" y="33"/>
                    <a:pt x="48" y="39"/>
                    <a:pt x="44" y="44"/>
                  </a:cubicBezTo>
                  <a:cubicBezTo>
                    <a:pt x="42" y="46"/>
                    <a:pt x="39" y="47"/>
                    <a:pt x="36" y="47"/>
                  </a:cubicBezTo>
                  <a:close/>
                  <a:moveTo>
                    <a:pt x="33" y="39"/>
                  </a:moveTo>
                  <a:cubicBezTo>
                    <a:pt x="35" y="40"/>
                    <a:pt x="37" y="40"/>
                    <a:pt x="39" y="39"/>
                  </a:cubicBezTo>
                  <a:cubicBezTo>
                    <a:pt x="40" y="37"/>
                    <a:pt x="40" y="35"/>
                    <a:pt x="39" y="33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9" y="14"/>
                    <a:pt x="9" y="14"/>
                    <a:pt x="9" y="14"/>
                  </a:cubicBezTo>
                  <a:lnTo>
                    <a:pt x="33" y="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2" name="Freeform 231">
              <a:extLst>
                <a:ext uri="{FF2B5EF4-FFF2-40B4-BE49-F238E27FC236}">
                  <a16:creationId xmlns:a16="http://schemas.microsoft.com/office/drawing/2014/main" id="{CC8EC0EF-CA36-180A-5D9B-B89A04E0614D}"/>
                </a:ext>
              </a:extLst>
            </p:cNvPr>
            <p:cNvSpPr>
              <a:spLocks/>
            </p:cNvSpPr>
            <p:nvPr/>
          </p:nvSpPr>
          <p:spPr bwMode="auto">
            <a:xfrm>
              <a:off x="-874940" y="790927"/>
              <a:ext cx="611360" cy="611360"/>
            </a:xfrm>
            <a:custGeom>
              <a:avLst/>
              <a:gdLst>
                <a:gd name="T0" fmla="*/ 111 w 221"/>
                <a:gd name="T1" fmla="*/ 221 h 221"/>
                <a:gd name="T2" fmla="*/ 0 w 221"/>
                <a:gd name="T3" fmla="*/ 111 h 221"/>
                <a:gd name="T4" fmla="*/ 111 w 221"/>
                <a:gd name="T5" fmla="*/ 0 h 221"/>
                <a:gd name="T6" fmla="*/ 221 w 221"/>
                <a:gd name="T7" fmla="*/ 111 h 221"/>
                <a:gd name="T8" fmla="*/ 213 w 221"/>
                <a:gd name="T9" fmla="*/ 154 h 221"/>
                <a:gd name="T10" fmla="*/ 208 w 221"/>
                <a:gd name="T11" fmla="*/ 156 h 221"/>
                <a:gd name="T12" fmla="*/ 206 w 221"/>
                <a:gd name="T13" fmla="*/ 151 h 221"/>
                <a:gd name="T14" fmla="*/ 214 w 221"/>
                <a:gd name="T15" fmla="*/ 111 h 221"/>
                <a:gd name="T16" fmla="*/ 111 w 221"/>
                <a:gd name="T17" fmla="*/ 7 h 221"/>
                <a:gd name="T18" fmla="*/ 7 w 221"/>
                <a:gd name="T19" fmla="*/ 111 h 221"/>
                <a:gd name="T20" fmla="*/ 111 w 221"/>
                <a:gd name="T21" fmla="*/ 214 h 221"/>
                <a:gd name="T22" fmla="*/ 151 w 221"/>
                <a:gd name="T23" fmla="*/ 206 h 221"/>
                <a:gd name="T24" fmla="*/ 156 w 221"/>
                <a:gd name="T25" fmla="*/ 208 h 221"/>
                <a:gd name="T26" fmla="*/ 154 w 221"/>
                <a:gd name="T27" fmla="*/ 213 h 221"/>
                <a:gd name="T28" fmla="*/ 111 w 221"/>
                <a:gd name="T29" fmla="*/ 221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21" h="221">
                  <a:moveTo>
                    <a:pt x="111" y="221"/>
                  </a:moveTo>
                  <a:cubicBezTo>
                    <a:pt x="50" y="221"/>
                    <a:pt x="0" y="172"/>
                    <a:pt x="0" y="111"/>
                  </a:cubicBezTo>
                  <a:cubicBezTo>
                    <a:pt x="0" y="50"/>
                    <a:pt x="50" y="0"/>
                    <a:pt x="111" y="0"/>
                  </a:cubicBezTo>
                  <a:cubicBezTo>
                    <a:pt x="172" y="0"/>
                    <a:pt x="221" y="50"/>
                    <a:pt x="221" y="111"/>
                  </a:cubicBezTo>
                  <a:cubicBezTo>
                    <a:pt x="221" y="126"/>
                    <a:pt x="219" y="140"/>
                    <a:pt x="213" y="154"/>
                  </a:cubicBezTo>
                  <a:cubicBezTo>
                    <a:pt x="212" y="156"/>
                    <a:pt x="210" y="157"/>
                    <a:pt x="208" y="156"/>
                  </a:cubicBezTo>
                  <a:cubicBezTo>
                    <a:pt x="206" y="155"/>
                    <a:pt x="205" y="153"/>
                    <a:pt x="206" y="151"/>
                  </a:cubicBezTo>
                  <a:cubicBezTo>
                    <a:pt x="212" y="138"/>
                    <a:pt x="214" y="125"/>
                    <a:pt x="214" y="111"/>
                  </a:cubicBezTo>
                  <a:cubicBezTo>
                    <a:pt x="214" y="54"/>
                    <a:pt x="168" y="7"/>
                    <a:pt x="111" y="7"/>
                  </a:cubicBezTo>
                  <a:cubicBezTo>
                    <a:pt x="54" y="7"/>
                    <a:pt x="7" y="54"/>
                    <a:pt x="7" y="111"/>
                  </a:cubicBezTo>
                  <a:cubicBezTo>
                    <a:pt x="7" y="168"/>
                    <a:pt x="54" y="214"/>
                    <a:pt x="111" y="214"/>
                  </a:cubicBezTo>
                  <a:cubicBezTo>
                    <a:pt x="125" y="214"/>
                    <a:pt x="138" y="211"/>
                    <a:pt x="151" y="206"/>
                  </a:cubicBezTo>
                  <a:cubicBezTo>
                    <a:pt x="153" y="205"/>
                    <a:pt x="155" y="206"/>
                    <a:pt x="156" y="208"/>
                  </a:cubicBezTo>
                  <a:cubicBezTo>
                    <a:pt x="157" y="210"/>
                    <a:pt x="156" y="212"/>
                    <a:pt x="154" y="213"/>
                  </a:cubicBezTo>
                  <a:cubicBezTo>
                    <a:pt x="140" y="218"/>
                    <a:pt x="126" y="221"/>
                    <a:pt x="111" y="22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3" name="Freeform 232">
              <a:extLst>
                <a:ext uri="{FF2B5EF4-FFF2-40B4-BE49-F238E27FC236}">
                  <a16:creationId xmlns:a16="http://schemas.microsoft.com/office/drawing/2014/main" id="{D26D50AC-1414-97FE-08EE-A0346B9D988C}"/>
                </a:ext>
              </a:extLst>
            </p:cNvPr>
            <p:cNvSpPr>
              <a:spLocks/>
            </p:cNvSpPr>
            <p:nvPr/>
          </p:nvSpPr>
          <p:spPr bwMode="auto">
            <a:xfrm>
              <a:off x="-783418" y="871465"/>
              <a:ext cx="431978" cy="102503"/>
            </a:xfrm>
            <a:custGeom>
              <a:avLst/>
              <a:gdLst>
                <a:gd name="T0" fmla="*/ 78 w 156"/>
                <a:gd name="T1" fmla="*/ 37 h 37"/>
                <a:gd name="T2" fmla="*/ 2 w 156"/>
                <a:gd name="T3" fmla="*/ 7 h 37"/>
                <a:gd name="T4" fmla="*/ 2 w 156"/>
                <a:gd name="T5" fmla="*/ 2 h 37"/>
                <a:gd name="T6" fmla="*/ 7 w 156"/>
                <a:gd name="T7" fmla="*/ 2 h 37"/>
                <a:gd name="T8" fmla="*/ 78 w 156"/>
                <a:gd name="T9" fmla="*/ 30 h 37"/>
                <a:gd name="T10" fmla="*/ 149 w 156"/>
                <a:gd name="T11" fmla="*/ 2 h 37"/>
                <a:gd name="T12" fmla="*/ 154 w 156"/>
                <a:gd name="T13" fmla="*/ 2 h 37"/>
                <a:gd name="T14" fmla="*/ 154 w 156"/>
                <a:gd name="T15" fmla="*/ 7 h 37"/>
                <a:gd name="T16" fmla="*/ 78 w 156"/>
                <a:gd name="T17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6" h="37">
                  <a:moveTo>
                    <a:pt x="78" y="37"/>
                  </a:moveTo>
                  <a:cubicBezTo>
                    <a:pt x="49" y="37"/>
                    <a:pt x="23" y="27"/>
                    <a:pt x="2" y="7"/>
                  </a:cubicBezTo>
                  <a:cubicBezTo>
                    <a:pt x="0" y="6"/>
                    <a:pt x="0" y="4"/>
                    <a:pt x="2" y="2"/>
                  </a:cubicBezTo>
                  <a:cubicBezTo>
                    <a:pt x="3" y="1"/>
                    <a:pt x="5" y="1"/>
                    <a:pt x="7" y="2"/>
                  </a:cubicBezTo>
                  <a:cubicBezTo>
                    <a:pt x="26" y="20"/>
                    <a:pt x="51" y="30"/>
                    <a:pt x="78" y="30"/>
                  </a:cubicBezTo>
                  <a:cubicBezTo>
                    <a:pt x="104" y="30"/>
                    <a:pt x="130" y="20"/>
                    <a:pt x="149" y="2"/>
                  </a:cubicBezTo>
                  <a:cubicBezTo>
                    <a:pt x="151" y="0"/>
                    <a:pt x="153" y="0"/>
                    <a:pt x="154" y="2"/>
                  </a:cubicBezTo>
                  <a:cubicBezTo>
                    <a:pt x="156" y="3"/>
                    <a:pt x="156" y="5"/>
                    <a:pt x="154" y="7"/>
                  </a:cubicBezTo>
                  <a:cubicBezTo>
                    <a:pt x="133" y="27"/>
                    <a:pt x="106" y="37"/>
                    <a:pt x="78" y="3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4" name="Freeform 233">
              <a:extLst>
                <a:ext uri="{FF2B5EF4-FFF2-40B4-BE49-F238E27FC236}">
                  <a16:creationId xmlns:a16="http://schemas.microsoft.com/office/drawing/2014/main" id="{D40FF087-B6B2-B170-891E-DB3C414DFA67}"/>
                </a:ext>
              </a:extLst>
            </p:cNvPr>
            <p:cNvSpPr>
              <a:spLocks/>
            </p:cNvSpPr>
            <p:nvPr/>
          </p:nvSpPr>
          <p:spPr bwMode="auto">
            <a:xfrm>
              <a:off x="-779758" y="1219245"/>
              <a:ext cx="311172" cy="98844"/>
            </a:xfrm>
            <a:custGeom>
              <a:avLst/>
              <a:gdLst>
                <a:gd name="T0" fmla="*/ 4 w 113"/>
                <a:gd name="T1" fmla="*/ 36 h 36"/>
                <a:gd name="T2" fmla="*/ 1 w 113"/>
                <a:gd name="T3" fmla="*/ 35 h 36"/>
                <a:gd name="T4" fmla="*/ 1 w 113"/>
                <a:gd name="T5" fmla="*/ 30 h 36"/>
                <a:gd name="T6" fmla="*/ 77 w 113"/>
                <a:gd name="T7" fmla="*/ 0 h 36"/>
                <a:gd name="T8" fmla="*/ 110 w 113"/>
                <a:gd name="T9" fmla="*/ 5 h 36"/>
                <a:gd name="T10" fmla="*/ 113 w 113"/>
                <a:gd name="T11" fmla="*/ 10 h 36"/>
                <a:gd name="T12" fmla="*/ 108 w 113"/>
                <a:gd name="T13" fmla="*/ 12 h 36"/>
                <a:gd name="T14" fmla="*/ 77 w 113"/>
                <a:gd name="T15" fmla="*/ 7 h 36"/>
                <a:gd name="T16" fmla="*/ 6 w 113"/>
                <a:gd name="T17" fmla="*/ 35 h 36"/>
                <a:gd name="T18" fmla="*/ 4 w 113"/>
                <a:gd name="T19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3" h="36">
                  <a:moveTo>
                    <a:pt x="4" y="36"/>
                  </a:moveTo>
                  <a:cubicBezTo>
                    <a:pt x="3" y="36"/>
                    <a:pt x="2" y="36"/>
                    <a:pt x="1" y="35"/>
                  </a:cubicBezTo>
                  <a:cubicBezTo>
                    <a:pt x="0" y="33"/>
                    <a:pt x="0" y="31"/>
                    <a:pt x="1" y="30"/>
                  </a:cubicBezTo>
                  <a:cubicBezTo>
                    <a:pt x="22" y="11"/>
                    <a:pt x="49" y="0"/>
                    <a:pt x="77" y="0"/>
                  </a:cubicBezTo>
                  <a:cubicBezTo>
                    <a:pt x="88" y="0"/>
                    <a:pt x="99" y="2"/>
                    <a:pt x="110" y="5"/>
                  </a:cubicBezTo>
                  <a:cubicBezTo>
                    <a:pt x="112" y="6"/>
                    <a:pt x="113" y="8"/>
                    <a:pt x="113" y="10"/>
                  </a:cubicBezTo>
                  <a:cubicBezTo>
                    <a:pt x="112" y="12"/>
                    <a:pt x="110" y="13"/>
                    <a:pt x="108" y="12"/>
                  </a:cubicBezTo>
                  <a:cubicBezTo>
                    <a:pt x="98" y="9"/>
                    <a:pt x="87" y="7"/>
                    <a:pt x="77" y="7"/>
                  </a:cubicBezTo>
                  <a:cubicBezTo>
                    <a:pt x="50" y="7"/>
                    <a:pt x="25" y="17"/>
                    <a:pt x="6" y="35"/>
                  </a:cubicBezTo>
                  <a:cubicBezTo>
                    <a:pt x="6" y="36"/>
                    <a:pt x="5" y="36"/>
                    <a:pt x="4" y="3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5" name="Freeform 234">
              <a:extLst>
                <a:ext uri="{FF2B5EF4-FFF2-40B4-BE49-F238E27FC236}">
                  <a16:creationId xmlns:a16="http://schemas.microsoft.com/office/drawing/2014/main" id="{EB3DB39F-BFC9-E8AA-3379-EDE500F76F71}"/>
                </a:ext>
              </a:extLst>
            </p:cNvPr>
            <p:cNvSpPr>
              <a:spLocks/>
            </p:cNvSpPr>
            <p:nvPr/>
          </p:nvSpPr>
          <p:spPr bwMode="auto">
            <a:xfrm>
              <a:off x="-732166" y="790927"/>
              <a:ext cx="329475" cy="611360"/>
            </a:xfrm>
            <a:custGeom>
              <a:avLst/>
              <a:gdLst>
                <a:gd name="T0" fmla="*/ 60 w 120"/>
                <a:gd name="T1" fmla="*/ 221 h 221"/>
                <a:gd name="T2" fmla="*/ 0 w 120"/>
                <a:gd name="T3" fmla="*/ 111 h 221"/>
                <a:gd name="T4" fmla="*/ 60 w 120"/>
                <a:gd name="T5" fmla="*/ 0 h 221"/>
                <a:gd name="T6" fmla="*/ 120 w 120"/>
                <a:gd name="T7" fmla="*/ 111 h 221"/>
                <a:gd name="T8" fmla="*/ 117 w 120"/>
                <a:gd name="T9" fmla="*/ 143 h 221"/>
                <a:gd name="T10" fmla="*/ 113 w 120"/>
                <a:gd name="T11" fmla="*/ 146 h 221"/>
                <a:gd name="T12" fmla="*/ 110 w 120"/>
                <a:gd name="T13" fmla="*/ 142 h 221"/>
                <a:gd name="T14" fmla="*/ 112 w 120"/>
                <a:gd name="T15" fmla="*/ 111 h 221"/>
                <a:gd name="T16" fmla="*/ 60 w 120"/>
                <a:gd name="T17" fmla="*/ 7 h 221"/>
                <a:gd name="T18" fmla="*/ 7 w 120"/>
                <a:gd name="T19" fmla="*/ 111 h 221"/>
                <a:gd name="T20" fmla="*/ 60 w 120"/>
                <a:gd name="T21" fmla="*/ 214 h 221"/>
                <a:gd name="T22" fmla="*/ 90 w 120"/>
                <a:gd name="T23" fmla="*/ 195 h 221"/>
                <a:gd name="T24" fmla="*/ 95 w 120"/>
                <a:gd name="T25" fmla="*/ 194 h 221"/>
                <a:gd name="T26" fmla="*/ 96 w 120"/>
                <a:gd name="T27" fmla="*/ 199 h 221"/>
                <a:gd name="T28" fmla="*/ 60 w 120"/>
                <a:gd name="T29" fmla="*/ 221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0" h="221">
                  <a:moveTo>
                    <a:pt x="60" y="221"/>
                  </a:moveTo>
                  <a:cubicBezTo>
                    <a:pt x="26" y="221"/>
                    <a:pt x="0" y="173"/>
                    <a:pt x="0" y="111"/>
                  </a:cubicBezTo>
                  <a:cubicBezTo>
                    <a:pt x="0" y="49"/>
                    <a:pt x="26" y="0"/>
                    <a:pt x="60" y="0"/>
                  </a:cubicBezTo>
                  <a:cubicBezTo>
                    <a:pt x="93" y="0"/>
                    <a:pt x="120" y="49"/>
                    <a:pt x="120" y="111"/>
                  </a:cubicBezTo>
                  <a:cubicBezTo>
                    <a:pt x="120" y="122"/>
                    <a:pt x="119" y="133"/>
                    <a:pt x="117" y="143"/>
                  </a:cubicBezTo>
                  <a:cubicBezTo>
                    <a:pt x="117" y="145"/>
                    <a:pt x="115" y="146"/>
                    <a:pt x="113" y="146"/>
                  </a:cubicBezTo>
                  <a:cubicBezTo>
                    <a:pt x="111" y="146"/>
                    <a:pt x="110" y="144"/>
                    <a:pt x="110" y="142"/>
                  </a:cubicBezTo>
                  <a:cubicBezTo>
                    <a:pt x="111" y="132"/>
                    <a:pt x="112" y="121"/>
                    <a:pt x="112" y="111"/>
                  </a:cubicBezTo>
                  <a:cubicBezTo>
                    <a:pt x="112" y="54"/>
                    <a:pt x="89" y="7"/>
                    <a:pt x="60" y="7"/>
                  </a:cubicBezTo>
                  <a:cubicBezTo>
                    <a:pt x="31" y="7"/>
                    <a:pt x="7" y="54"/>
                    <a:pt x="7" y="111"/>
                  </a:cubicBezTo>
                  <a:cubicBezTo>
                    <a:pt x="7" y="168"/>
                    <a:pt x="31" y="214"/>
                    <a:pt x="60" y="214"/>
                  </a:cubicBezTo>
                  <a:cubicBezTo>
                    <a:pt x="71" y="214"/>
                    <a:pt x="81" y="208"/>
                    <a:pt x="90" y="195"/>
                  </a:cubicBezTo>
                  <a:cubicBezTo>
                    <a:pt x="91" y="193"/>
                    <a:pt x="93" y="193"/>
                    <a:pt x="95" y="194"/>
                  </a:cubicBezTo>
                  <a:cubicBezTo>
                    <a:pt x="97" y="195"/>
                    <a:pt x="97" y="198"/>
                    <a:pt x="96" y="199"/>
                  </a:cubicBezTo>
                  <a:cubicBezTo>
                    <a:pt x="86" y="214"/>
                    <a:pt x="73" y="221"/>
                    <a:pt x="60" y="22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6" name="Freeform 235">
              <a:extLst>
                <a:ext uri="{FF2B5EF4-FFF2-40B4-BE49-F238E27FC236}">
                  <a16:creationId xmlns:a16="http://schemas.microsoft.com/office/drawing/2014/main" id="{DA87B52D-B71F-1C01-9FD2-D75F3076E798}"/>
                </a:ext>
              </a:extLst>
            </p:cNvPr>
            <p:cNvSpPr>
              <a:spLocks/>
            </p:cNvSpPr>
            <p:nvPr/>
          </p:nvSpPr>
          <p:spPr bwMode="auto">
            <a:xfrm>
              <a:off x="-874940" y="1087455"/>
              <a:ext cx="611360" cy="18305"/>
            </a:xfrm>
            <a:custGeom>
              <a:avLst/>
              <a:gdLst>
                <a:gd name="T0" fmla="*/ 218 w 221"/>
                <a:gd name="T1" fmla="*/ 7 h 7"/>
                <a:gd name="T2" fmla="*/ 4 w 221"/>
                <a:gd name="T3" fmla="*/ 7 h 7"/>
                <a:gd name="T4" fmla="*/ 0 w 221"/>
                <a:gd name="T5" fmla="*/ 4 h 7"/>
                <a:gd name="T6" fmla="*/ 4 w 221"/>
                <a:gd name="T7" fmla="*/ 0 h 7"/>
                <a:gd name="T8" fmla="*/ 218 w 221"/>
                <a:gd name="T9" fmla="*/ 0 h 7"/>
                <a:gd name="T10" fmla="*/ 221 w 221"/>
                <a:gd name="T11" fmla="*/ 4 h 7"/>
                <a:gd name="T12" fmla="*/ 218 w 221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1" h="7">
                  <a:moveTo>
                    <a:pt x="218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18" y="0"/>
                    <a:pt x="218" y="0"/>
                    <a:pt x="218" y="0"/>
                  </a:cubicBezTo>
                  <a:cubicBezTo>
                    <a:pt x="220" y="0"/>
                    <a:pt x="221" y="2"/>
                    <a:pt x="221" y="4"/>
                  </a:cubicBezTo>
                  <a:cubicBezTo>
                    <a:pt x="221" y="6"/>
                    <a:pt x="220" y="7"/>
                    <a:pt x="218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7" name="Freeform 236">
              <a:extLst>
                <a:ext uri="{FF2B5EF4-FFF2-40B4-BE49-F238E27FC236}">
                  <a16:creationId xmlns:a16="http://schemas.microsoft.com/office/drawing/2014/main" id="{993A9DC0-23A3-9BFB-8627-5B5F5D978487}"/>
                </a:ext>
              </a:extLst>
            </p:cNvPr>
            <p:cNvSpPr>
              <a:spLocks/>
            </p:cNvSpPr>
            <p:nvPr/>
          </p:nvSpPr>
          <p:spPr bwMode="auto">
            <a:xfrm>
              <a:off x="-578411" y="790927"/>
              <a:ext cx="18305" cy="611360"/>
            </a:xfrm>
            <a:custGeom>
              <a:avLst/>
              <a:gdLst>
                <a:gd name="T0" fmla="*/ 4 w 7"/>
                <a:gd name="T1" fmla="*/ 221 h 221"/>
                <a:gd name="T2" fmla="*/ 0 w 7"/>
                <a:gd name="T3" fmla="*/ 218 h 221"/>
                <a:gd name="T4" fmla="*/ 0 w 7"/>
                <a:gd name="T5" fmla="*/ 4 h 221"/>
                <a:gd name="T6" fmla="*/ 4 w 7"/>
                <a:gd name="T7" fmla="*/ 0 h 221"/>
                <a:gd name="T8" fmla="*/ 7 w 7"/>
                <a:gd name="T9" fmla="*/ 4 h 221"/>
                <a:gd name="T10" fmla="*/ 7 w 7"/>
                <a:gd name="T11" fmla="*/ 218 h 221"/>
                <a:gd name="T12" fmla="*/ 4 w 7"/>
                <a:gd name="T13" fmla="*/ 221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221">
                  <a:moveTo>
                    <a:pt x="4" y="221"/>
                  </a:moveTo>
                  <a:cubicBezTo>
                    <a:pt x="2" y="221"/>
                    <a:pt x="0" y="220"/>
                    <a:pt x="0" y="218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7" y="2"/>
                    <a:pt x="7" y="4"/>
                  </a:cubicBezTo>
                  <a:cubicBezTo>
                    <a:pt x="7" y="218"/>
                    <a:pt x="7" y="218"/>
                    <a:pt x="7" y="218"/>
                  </a:cubicBezTo>
                  <a:cubicBezTo>
                    <a:pt x="7" y="220"/>
                    <a:pt x="6" y="221"/>
                    <a:pt x="4" y="22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5" name="Shape7_20200717_154431">
            <a:extLst>
              <a:ext uri="{FF2B5EF4-FFF2-40B4-BE49-F238E27FC236}">
                <a16:creationId xmlns:a16="http://schemas.microsoft.com/office/drawing/2014/main" id="{C91F901F-6605-6FEC-989C-E0E0484FC04D}"/>
              </a:ext>
            </a:extLst>
          </p:cNvPr>
          <p:cNvGrpSpPr>
            <a:grpSpLocks noChangeAspect="1"/>
          </p:cNvGrpSpPr>
          <p:nvPr/>
        </p:nvGrpSpPr>
        <p:grpSpPr>
          <a:xfrm>
            <a:off x="11058306" y="1197636"/>
            <a:ext cx="519838" cy="669933"/>
            <a:chOff x="-4674883" y="2185705"/>
            <a:chExt cx="519838" cy="669933"/>
          </a:xfrm>
          <a:solidFill>
            <a:schemeClr val="accent1"/>
          </a:solidFill>
        </p:grpSpPr>
        <p:sp>
          <p:nvSpPr>
            <p:cNvPr id="142" name="Freeform 237">
              <a:extLst>
                <a:ext uri="{FF2B5EF4-FFF2-40B4-BE49-F238E27FC236}">
                  <a16:creationId xmlns:a16="http://schemas.microsoft.com/office/drawing/2014/main" id="{64FC4A4F-E392-F3B5-54C3-6F5AA36A92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532109" y="2185705"/>
              <a:ext cx="237955" cy="296528"/>
            </a:xfrm>
            <a:custGeom>
              <a:avLst/>
              <a:gdLst>
                <a:gd name="T0" fmla="*/ 43 w 86"/>
                <a:gd name="T1" fmla="*/ 107 h 107"/>
                <a:gd name="T2" fmla="*/ 40 w 86"/>
                <a:gd name="T3" fmla="*/ 106 h 107"/>
                <a:gd name="T4" fmla="*/ 9 w 86"/>
                <a:gd name="T5" fmla="*/ 70 h 107"/>
                <a:gd name="T6" fmla="*/ 0 w 86"/>
                <a:gd name="T7" fmla="*/ 42 h 107"/>
                <a:gd name="T8" fmla="*/ 42 w 86"/>
                <a:gd name="T9" fmla="*/ 0 h 107"/>
                <a:gd name="T10" fmla="*/ 44 w 86"/>
                <a:gd name="T11" fmla="*/ 0 h 107"/>
                <a:gd name="T12" fmla="*/ 86 w 86"/>
                <a:gd name="T13" fmla="*/ 42 h 107"/>
                <a:gd name="T14" fmla="*/ 76 w 86"/>
                <a:gd name="T15" fmla="*/ 70 h 107"/>
                <a:gd name="T16" fmla="*/ 76 w 86"/>
                <a:gd name="T17" fmla="*/ 70 h 107"/>
                <a:gd name="T18" fmla="*/ 45 w 86"/>
                <a:gd name="T19" fmla="*/ 106 h 107"/>
                <a:gd name="T20" fmla="*/ 43 w 86"/>
                <a:gd name="T21" fmla="*/ 107 h 107"/>
                <a:gd name="T22" fmla="*/ 42 w 86"/>
                <a:gd name="T23" fmla="*/ 8 h 107"/>
                <a:gd name="T24" fmla="*/ 7 w 86"/>
                <a:gd name="T25" fmla="*/ 42 h 107"/>
                <a:gd name="T26" fmla="*/ 15 w 86"/>
                <a:gd name="T27" fmla="*/ 65 h 107"/>
                <a:gd name="T28" fmla="*/ 43 w 86"/>
                <a:gd name="T29" fmla="*/ 98 h 107"/>
                <a:gd name="T30" fmla="*/ 70 w 86"/>
                <a:gd name="T31" fmla="*/ 65 h 107"/>
                <a:gd name="T32" fmla="*/ 78 w 86"/>
                <a:gd name="T33" fmla="*/ 42 h 107"/>
                <a:gd name="T34" fmla="*/ 44 w 86"/>
                <a:gd name="T35" fmla="*/ 8 h 107"/>
                <a:gd name="T36" fmla="*/ 42 w 86"/>
                <a:gd name="T37" fmla="*/ 8 h 107"/>
                <a:gd name="T38" fmla="*/ 73 w 86"/>
                <a:gd name="T39" fmla="*/ 67 h 107"/>
                <a:gd name="T40" fmla="*/ 73 w 86"/>
                <a:gd name="T41" fmla="*/ 67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6" h="107">
                  <a:moveTo>
                    <a:pt x="43" y="107"/>
                  </a:moveTo>
                  <a:cubicBezTo>
                    <a:pt x="42" y="107"/>
                    <a:pt x="41" y="107"/>
                    <a:pt x="40" y="106"/>
                  </a:cubicBezTo>
                  <a:cubicBezTo>
                    <a:pt x="9" y="70"/>
                    <a:pt x="9" y="70"/>
                    <a:pt x="9" y="70"/>
                  </a:cubicBezTo>
                  <a:cubicBezTo>
                    <a:pt x="3" y="62"/>
                    <a:pt x="0" y="52"/>
                    <a:pt x="0" y="42"/>
                  </a:cubicBezTo>
                  <a:cubicBezTo>
                    <a:pt x="0" y="19"/>
                    <a:pt x="18" y="0"/>
                    <a:pt x="42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67" y="0"/>
                    <a:pt x="86" y="19"/>
                    <a:pt x="86" y="42"/>
                  </a:cubicBezTo>
                  <a:cubicBezTo>
                    <a:pt x="86" y="52"/>
                    <a:pt x="82" y="62"/>
                    <a:pt x="76" y="70"/>
                  </a:cubicBezTo>
                  <a:cubicBezTo>
                    <a:pt x="76" y="70"/>
                    <a:pt x="76" y="70"/>
                    <a:pt x="76" y="70"/>
                  </a:cubicBezTo>
                  <a:cubicBezTo>
                    <a:pt x="45" y="106"/>
                    <a:pt x="45" y="106"/>
                    <a:pt x="45" y="106"/>
                  </a:cubicBezTo>
                  <a:cubicBezTo>
                    <a:pt x="45" y="107"/>
                    <a:pt x="44" y="107"/>
                    <a:pt x="43" y="107"/>
                  </a:cubicBezTo>
                  <a:close/>
                  <a:moveTo>
                    <a:pt x="42" y="8"/>
                  </a:moveTo>
                  <a:cubicBezTo>
                    <a:pt x="22" y="8"/>
                    <a:pt x="7" y="23"/>
                    <a:pt x="7" y="42"/>
                  </a:cubicBezTo>
                  <a:cubicBezTo>
                    <a:pt x="7" y="51"/>
                    <a:pt x="10" y="59"/>
                    <a:pt x="15" y="65"/>
                  </a:cubicBezTo>
                  <a:cubicBezTo>
                    <a:pt x="43" y="98"/>
                    <a:pt x="43" y="98"/>
                    <a:pt x="43" y="98"/>
                  </a:cubicBezTo>
                  <a:cubicBezTo>
                    <a:pt x="70" y="65"/>
                    <a:pt x="70" y="65"/>
                    <a:pt x="70" y="65"/>
                  </a:cubicBezTo>
                  <a:cubicBezTo>
                    <a:pt x="76" y="59"/>
                    <a:pt x="78" y="51"/>
                    <a:pt x="78" y="42"/>
                  </a:cubicBezTo>
                  <a:cubicBezTo>
                    <a:pt x="78" y="23"/>
                    <a:pt x="63" y="8"/>
                    <a:pt x="44" y="8"/>
                  </a:cubicBezTo>
                  <a:lnTo>
                    <a:pt x="42" y="8"/>
                  </a:lnTo>
                  <a:close/>
                  <a:moveTo>
                    <a:pt x="73" y="67"/>
                  </a:moveTo>
                  <a:cubicBezTo>
                    <a:pt x="73" y="67"/>
                    <a:pt x="73" y="67"/>
                    <a:pt x="73" y="6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3" name="Freeform 238">
              <a:extLst>
                <a:ext uri="{FF2B5EF4-FFF2-40B4-BE49-F238E27FC236}">
                  <a16:creationId xmlns:a16="http://schemas.microsoft.com/office/drawing/2014/main" id="{4E45A1AE-39E4-5846-E732-239CA94AF88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480858" y="2236957"/>
              <a:ext cx="131790" cy="135452"/>
            </a:xfrm>
            <a:custGeom>
              <a:avLst/>
              <a:gdLst>
                <a:gd name="T0" fmla="*/ 24 w 48"/>
                <a:gd name="T1" fmla="*/ 49 h 49"/>
                <a:gd name="T2" fmla="*/ 0 w 48"/>
                <a:gd name="T3" fmla="*/ 24 h 49"/>
                <a:gd name="T4" fmla="*/ 24 w 48"/>
                <a:gd name="T5" fmla="*/ 0 h 49"/>
                <a:gd name="T6" fmla="*/ 48 w 48"/>
                <a:gd name="T7" fmla="*/ 24 h 49"/>
                <a:gd name="T8" fmla="*/ 24 w 48"/>
                <a:gd name="T9" fmla="*/ 49 h 49"/>
                <a:gd name="T10" fmla="*/ 24 w 48"/>
                <a:gd name="T11" fmla="*/ 8 h 49"/>
                <a:gd name="T12" fmla="*/ 7 w 48"/>
                <a:gd name="T13" fmla="*/ 24 h 49"/>
                <a:gd name="T14" fmla="*/ 24 w 48"/>
                <a:gd name="T15" fmla="*/ 41 h 49"/>
                <a:gd name="T16" fmla="*/ 41 w 48"/>
                <a:gd name="T17" fmla="*/ 24 h 49"/>
                <a:gd name="T18" fmla="*/ 24 w 48"/>
                <a:gd name="T19" fmla="*/ 8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9">
                  <a:moveTo>
                    <a:pt x="24" y="49"/>
                  </a:moveTo>
                  <a:cubicBezTo>
                    <a:pt x="10" y="49"/>
                    <a:pt x="0" y="38"/>
                    <a:pt x="0" y="24"/>
                  </a:cubicBezTo>
                  <a:cubicBezTo>
                    <a:pt x="0" y="11"/>
                    <a:pt x="10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cubicBezTo>
                    <a:pt x="48" y="38"/>
                    <a:pt x="37" y="49"/>
                    <a:pt x="24" y="49"/>
                  </a:cubicBezTo>
                  <a:close/>
                  <a:moveTo>
                    <a:pt x="24" y="8"/>
                  </a:moveTo>
                  <a:cubicBezTo>
                    <a:pt x="14" y="8"/>
                    <a:pt x="7" y="15"/>
                    <a:pt x="7" y="24"/>
                  </a:cubicBezTo>
                  <a:cubicBezTo>
                    <a:pt x="7" y="34"/>
                    <a:pt x="14" y="41"/>
                    <a:pt x="24" y="41"/>
                  </a:cubicBezTo>
                  <a:cubicBezTo>
                    <a:pt x="33" y="41"/>
                    <a:pt x="41" y="34"/>
                    <a:pt x="41" y="24"/>
                  </a:cubicBezTo>
                  <a:cubicBezTo>
                    <a:pt x="41" y="15"/>
                    <a:pt x="33" y="8"/>
                    <a:pt x="24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4" name="Freeform 239">
              <a:extLst>
                <a:ext uri="{FF2B5EF4-FFF2-40B4-BE49-F238E27FC236}">
                  <a16:creationId xmlns:a16="http://schemas.microsoft.com/office/drawing/2014/main" id="{CEE401A9-AF41-C2D1-CE76-D63E33F1D55E}"/>
                </a:ext>
              </a:extLst>
            </p:cNvPr>
            <p:cNvSpPr>
              <a:spLocks/>
            </p:cNvSpPr>
            <p:nvPr/>
          </p:nvSpPr>
          <p:spPr bwMode="auto">
            <a:xfrm>
              <a:off x="-4674883" y="2350441"/>
              <a:ext cx="519838" cy="505195"/>
            </a:xfrm>
            <a:custGeom>
              <a:avLst/>
              <a:gdLst>
                <a:gd name="T0" fmla="*/ 94 w 188"/>
                <a:gd name="T1" fmla="*/ 182 h 182"/>
                <a:gd name="T2" fmla="*/ 0 w 188"/>
                <a:gd name="T3" fmla="*/ 88 h 182"/>
                <a:gd name="T4" fmla="*/ 59 w 188"/>
                <a:gd name="T5" fmla="*/ 1 h 182"/>
                <a:gd name="T6" fmla="*/ 63 w 188"/>
                <a:gd name="T7" fmla="*/ 3 h 182"/>
                <a:gd name="T8" fmla="*/ 61 w 188"/>
                <a:gd name="T9" fmla="*/ 8 h 182"/>
                <a:gd name="T10" fmla="*/ 7 w 188"/>
                <a:gd name="T11" fmla="*/ 88 h 182"/>
                <a:gd name="T12" fmla="*/ 94 w 188"/>
                <a:gd name="T13" fmla="*/ 175 h 182"/>
                <a:gd name="T14" fmla="*/ 180 w 188"/>
                <a:gd name="T15" fmla="*/ 88 h 182"/>
                <a:gd name="T16" fmla="*/ 126 w 188"/>
                <a:gd name="T17" fmla="*/ 8 h 182"/>
                <a:gd name="T18" fmla="*/ 124 w 188"/>
                <a:gd name="T19" fmla="*/ 3 h 182"/>
                <a:gd name="T20" fmla="*/ 129 w 188"/>
                <a:gd name="T21" fmla="*/ 1 h 182"/>
                <a:gd name="T22" fmla="*/ 188 w 188"/>
                <a:gd name="T23" fmla="*/ 88 h 182"/>
                <a:gd name="T24" fmla="*/ 94 w 188"/>
                <a:gd name="T25" fmla="*/ 182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8" h="182">
                  <a:moveTo>
                    <a:pt x="94" y="182"/>
                  </a:moveTo>
                  <a:cubicBezTo>
                    <a:pt x="42" y="182"/>
                    <a:pt x="0" y="140"/>
                    <a:pt x="0" y="88"/>
                  </a:cubicBezTo>
                  <a:cubicBezTo>
                    <a:pt x="0" y="50"/>
                    <a:pt x="23" y="16"/>
                    <a:pt x="59" y="1"/>
                  </a:cubicBezTo>
                  <a:cubicBezTo>
                    <a:pt x="60" y="0"/>
                    <a:pt x="63" y="1"/>
                    <a:pt x="63" y="3"/>
                  </a:cubicBezTo>
                  <a:cubicBezTo>
                    <a:pt x="64" y="5"/>
                    <a:pt x="63" y="7"/>
                    <a:pt x="61" y="8"/>
                  </a:cubicBezTo>
                  <a:cubicBezTo>
                    <a:pt x="28" y="21"/>
                    <a:pt x="7" y="53"/>
                    <a:pt x="7" y="88"/>
                  </a:cubicBezTo>
                  <a:cubicBezTo>
                    <a:pt x="7" y="136"/>
                    <a:pt x="46" y="175"/>
                    <a:pt x="94" y="175"/>
                  </a:cubicBezTo>
                  <a:cubicBezTo>
                    <a:pt x="141" y="175"/>
                    <a:pt x="180" y="136"/>
                    <a:pt x="180" y="88"/>
                  </a:cubicBezTo>
                  <a:cubicBezTo>
                    <a:pt x="180" y="53"/>
                    <a:pt x="159" y="21"/>
                    <a:pt x="126" y="8"/>
                  </a:cubicBezTo>
                  <a:cubicBezTo>
                    <a:pt x="124" y="7"/>
                    <a:pt x="123" y="5"/>
                    <a:pt x="124" y="3"/>
                  </a:cubicBezTo>
                  <a:cubicBezTo>
                    <a:pt x="125" y="1"/>
                    <a:pt x="127" y="0"/>
                    <a:pt x="129" y="1"/>
                  </a:cubicBezTo>
                  <a:cubicBezTo>
                    <a:pt x="164" y="16"/>
                    <a:pt x="188" y="50"/>
                    <a:pt x="188" y="88"/>
                  </a:cubicBezTo>
                  <a:cubicBezTo>
                    <a:pt x="188" y="140"/>
                    <a:pt x="145" y="182"/>
                    <a:pt x="94" y="18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5" name="Freeform 240">
              <a:extLst>
                <a:ext uri="{FF2B5EF4-FFF2-40B4-BE49-F238E27FC236}">
                  <a16:creationId xmlns:a16="http://schemas.microsoft.com/office/drawing/2014/main" id="{8D0C07EE-621D-16A3-B302-E3CF051A9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-4598004" y="2405355"/>
              <a:ext cx="366083" cy="91522"/>
            </a:xfrm>
            <a:custGeom>
              <a:avLst/>
              <a:gdLst>
                <a:gd name="T0" fmla="*/ 66 w 132"/>
                <a:gd name="T1" fmla="*/ 33 h 33"/>
                <a:gd name="T2" fmla="*/ 1 w 132"/>
                <a:gd name="T3" fmla="*/ 7 h 33"/>
                <a:gd name="T4" fmla="*/ 1 w 132"/>
                <a:gd name="T5" fmla="*/ 2 h 33"/>
                <a:gd name="T6" fmla="*/ 6 w 132"/>
                <a:gd name="T7" fmla="*/ 2 h 33"/>
                <a:gd name="T8" fmla="*/ 66 w 132"/>
                <a:gd name="T9" fmla="*/ 25 h 33"/>
                <a:gd name="T10" fmla="*/ 125 w 132"/>
                <a:gd name="T11" fmla="*/ 1 h 33"/>
                <a:gd name="T12" fmla="*/ 131 w 132"/>
                <a:gd name="T13" fmla="*/ 2 h 33"/>
                <a:gd name="T14" fmla="*/ 130 w 132"/>
                <a:gd name="T15" fmla="*/ 7 h 33"/>
                <a:gd name="T16" fmla="*/ 66 w 132"/>
                <a:gd name="T17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2" h="33">
                  <a:moveTo>
                    <a:pt x="66" y="33"/>
                  </a:moveTo>
                  <a:cubicBezTo>
                    <a:pt x="42" y="33"/>
                    <a:pt x="19" y="23"/>
                    <a:pt x="1" y="7"/>
                  </a:cubicBezTo>
                  <a:cubicBezTo>
                    <a:pt x="0" y="6"/>
                    <a:pt x="0" y="3"/>
                    <a:pt x="1" y="2"/>
                  </a:cubicBezTo>
                  <a:cubicBezTo>
                    <a:pt x="2" y="0"/>
                    <a:pt x="5" y="0"/>
                    <a:pt x="6" y="2"/>
                  </a:cubicBezTo>
                  <a:cubicBezTo>
                    <a:pt x="22" y="17"/>
                    <a:pt x="43" y="25"/>
                    <a:pt x="66" y="25"/>
                  </a:cubicBezTo>
                  <a:cubicBezTo>
                    <a:pt x="88" y="25"/>
                    <a:pt x="109" y="17"/>
                    <a:pt x="125" y="1"/>
                  </a:cubicBezTo>
                  <a:cubicBezTo>
                    <a:pt x="127" y="0"/>
                    <a:pt x="129" y="0"/>
                    <a:pt x="131" y="2"/>
                  </a:cubicBezTo>
                  <a:cubicBezTo>
                    <a:pt x="132" y="3"/>
                    <a:pt x="132" y="5"/>
                    <a:pt x="130" y="7"/>
                  </a:cubicBezTo>
                  <a:cubicBezTo>
                    <a:pt x="113" y="23"/>
                    <a:pt x="90" y="33"/>
                    <a:pt x="66" y="3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6" name="Freeform 241">
              <a:extLst>
                <a:ext uri="{FF2B5EF4-FFF2-40B4-BE49-F238E27FC236}">
                  <a16:creationId xmlns:a16="http://schemas.microsoft.com/office/drawing/2014/main" id="{641225FD-2737-2C3E-6CE3-2ED0774434AF}"/>
                </a:ext>
              </a:extLst>
            </p:cNvPr>
            <p:cNvSpPr>
              <a:spLocks/>
            </p:cNvSpPr>
            <p:nvPr/>
          </p:nvSpPr>
          <p:spPr bwMode="auto">
            <a:xfrm>
              <a:off x="-4598004" y="2698221"/>
              <a:ext cx="362423" cy="87860"/>
            </a:xfrm>
            <a:custGeom>
              <a:avLst/>
              <a:gdLst>
                <a:gd name="T0" fmla="*/ 4 w 131"/>
                <a:gd name="T1" fmla="*/ 32 h 32"/>
                <a:gd name="T2" fmla="*/ 1 w 131"/>
                <a:gd name="T3" fmla="*/ 31 h 32"/>
                <a:gd name="T4" fmla="*/ 2 w 131"/>
                <a:gd name="T5" fmla="*/ 26 h 32"/>
                <a:gd name="T6" fmla="*/ 66 w 131"/>
                <a:gd name="T7" fmla="*/ 0 h 32"/>
                <a:gd name="T8" fmla="*/ 129 w 131"/>
                <a:gd name="T9" fmla="*/ 25 h 32"/>
                <a:gd name="T10" fmla="*/ 129 w 131"/>
                <a:gd name="T11" fmla="*/ 30 h 32"/>
                <a:gd name="T12" fmla="*/ 124 w 131"/>
                <a:gd name="T13" fmla="*/ 30 h 32"/>
                <a:gd name="T14" fmla="*/ 66 w 131"/>
                <a:gd name="T15" fmla="*/ 7 h 32"/>
                <a:gd name="T16" fmla="*/ 6 w 131"/>
                <a:gd name="T17" fmla="*/ 31 h 32"/>
                <a:gd name="T18" fmla="*/ 4 w 131"/>
                <a:gd name="T19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1" h="32">
                  <a:moveTo>
                    <a:pt x="4" y="32"/>
                  </a:moveTo>
                  <a:cubicBezTo>
                    <a:pt x="3" y="32"/>
                    <a:pt x="2" y="31"/>
                    <a:pt x="1" y="31"/>
                  </a:cubicBezTo>
                  <a:cubicBezTo>
                    <a:pt x="0" y="29"/>
                    <a:pt x="0" y="27"/>
                    <a:pt x="2" y="26"/>
                  </a:cubicBezTo>
                  <a:cubicBezTo>
                    <a:pt x="19" y="9"/>
                    <a:pt x="42" y="0"/>
                    <a:pt x="66" y="0"/>
                  </a:cubicBezTo>
                  <a:cubicBezTo>
                    <a:pt x="89" y="0"/>
                    <a:pt x="112" y="9"/>
                    <a:pt x="129" y="25"/>
                  </a:cubicBezTo>
                  <a:cubicBezTo>
                    <a:pt x="131" y="26"/>
                    <a:pt x="131" y="29"/>
                    <a:pt x="129" y="30"/>
                  </a:cubicBezTo>
                  <a:cubicBezTo>
                    <a:pt x="128" y="32"/>
                    <a:pt x="126" y="32"/>
                    <a:pt x="124" y="30"/>
                  </a:cubicBezTo>
                  <a:cubicBezTo>
                    <a:pt x="108" y="16"/>
                    <a:pt x="87" y="7"/>
                    <a:pt x="66" y="7"/>
                  </a:cubicBezTo>
                  <a:cubicBezTo>
                    <a:pt x="44" y="7"/>
                    <a:pt x="23" y="16"/>
                    <a:pt x="6" y="31"/>
                  </a:cubicBezTo>
                  <a:cubicBezTo>
                    <a:pt x="6" y="31"/>
                    <a:pt x="5" y="32"/>
                    <a:pt x="4" y="3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7" name="Freeform 242">
              <a:extLst>
                <a:ext uri="{FF2B5EF4-FFF2-40B4-BE49-F238E27FC236}">
                  <a16:creationId xmlns:a16="http://schemas.microsoft.com/office/drawing/2014/main" id="{9AB87567-052F-7C77-675F-D6E1D9D66B21}"/>
                </a:ext>
              </a:extLst>
            </p:cNvPr>
            <p:cNvSpPr>
              <a:spLocks/>
            </p:cNvSpPr>
            <p:nvPr/>
          </p:nvSpPr>
          <p:spPr bwMode="auto">
            <a:xfrm>
              <a:off x="-4554074" y="2376068"/>
              <a:ext cx="281885" cy="479570"/>
            </a:xfrm>
            <a:custGeom>
              <a:avLst/>
              <a:gdLst>
                <a:gd name="T0" fmla="*/ 51 w 102"/>
                <a:gd name="T1" fmla="*/ 173 h 173"/>
                <a:gd name="T2" fmla="*/ 0 w 102"/>
                <a:gd name="T3" fmla="*/ 79 h 173"/>
                <a:gd name="T4" fmla="*/ 22 w 102"/>
                <a:gd name="T5" fmla="*/ 1 h 173"/>
                <a:gd name="T6" fmla="*/ 27 w 102"/>
                <a:gd name="T7" fmla="*/ 1 h 173"/>
                <a:gd name="T8" fmla="*/ 28 w 102"/>
                <a:gd name="T9" fmla="*/ 6 h 173"/>
                <a:gd name="T10" fmla="*/ 7 w 102"/>
                <a:gd name="T11" fmla="*/ 79 h 173"/>
                <a:gd name="T12" fmla="*/ 51 w 102"/>
                <a:gd name="T13" fmla="*/ 166 h 173"/>
                <a:gd name="T14" fmla="*/ 94 w 102"/>
                <a:gd name="T15" fmla="*/ 79 h 173"/>
                <a:gd name="T16" fmla="*/ 74 w 102"/>
                <a:gd name="T17" fmla="*/ 7 h 173"/>
                <a:gd name="T18" fmla="*/ 75 w 102"/>
                <a:gd name="T19" fmla="*/ 2 h 173"/>
                <a:gd name="T20" fmla="*/ 80 w 102"/>
                <a:gd name="T21" fmla="*/ 2 h 173"/>
                <a:gd name="T22" fmla="*/ 102 w 102"/>
                <a:gd name="T23" fmla="*/ 79 h 173"/>
                <a:gd name="T24" fmla="*/ 51 w 102"/>
                <a:gd name="T25" fmla="*/ 173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2" h="173">
                  <a:moveTo>
                    <a:pt x="51" y="173"/>
                  </a:moveTo>
                  <a:cubicBezTo>
                    <a:pt x="22" y="173"/>
                    <a:pt x="0" y="132"/>
                    <a:pt x="0" y="79"/>
                  </a:cubicBezTo>
                  <a:cubicBezTo>
                    <a:pt x="0" y="48"/>
                    <a:pt x="8" y="19"/>
                    <a:pt x="22" y="1"/>
                  </a:cubicBezTo>
                  <a:cubicBezTo>
                    <a:pt x="23" y="0"/>
                    <a:pt x="25" y="0"/>
                    <a:pt x="27" y="1"/>
                  </a:cubicBezTo>
                  <a:cubicBezTo>
                    <a:pt x="29" y="2"/>
                    <a:pt x="29" y="4"/>
                    <a:pt x="28" y="6"/>
                  </a:cubicBezTo>
                  <a:cubicBezTo>
                    <a:pt x="15" y="22"/>
                    <a:pt x="7" y="50"/>
                    <a:pt x="7" y="79"/>
                  </a:cubicBezTo>
                  <a:cubicBezTo>
                    <a:pt x="7" y="126"/>
                    <a:pt x="27" y="166"/>
                    <a:pt x="51" y="166"/>
                  </a:cubicBezTo>
                  <a:cubicBezTo>
                    <a:pt x="74" y="166"/>
                    <a:pt x="94" y="126"/>
                    <a:pt x="94" y="79"/>
                  </a:cubicBezTo>
                  <a:cubicBezTo>
                    <a:pt x="94" y="50"/>
                    <a:pt x="87" y="23"/>
                    <a:pt x="74" y="7"/>
                  </a:cubicBezTo>
                  <a:cubicBezTo>
                    <a:pt x="73" y="5"/>
                    <a:pt x="73" y="3"/>
                    <a:pt x="75" y="2"/>
                  </a:cubicBezTo>
                  <a:cubicBezTo>
                    <a:pt x="76" y="0"/>
                    <a:pt x="79" y="1"/>
                    <a:pt x="80" y="2"/>
                  </a:cubicBezTo>
                  <a:cubicBezTo>
                    <a:pt x="94" y="20"/>
                    <a:pt x="102" y="49"/>
                    <a:pt x="102" y="79"/>
                  </a:cubicBezTo>
                  <a:cubicBezTo>
                    <a:pt x="102" y="132"/>
                    <a:pt x="79" y="173"/>
                    <a:pt x="51" y="17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8" name="Freeform 243">
              <a:extLst>
                <a:ext uri="{FF2B5EF4-FFF2-40B4-BE49-F238E27FC236}">
                  <a16:creationId xmlns:a16="http://schemas.microsoft.com/office/drawing/2014/main" id="{4D851A10-4911-396B-EA4B-839AEE71524F}"/>
                </a:ext>
              </a:extLst>
            </p:cNvPr>
            <p:cNvSpPr>
              <a:spLocks/>
            </p:cNvSpPr>
            <p:nvPr/>
          </p:nvSpPr>
          <p:spPr bwMode="auto">
            <a:xfrm>
              <a:off x="-4674883" y="2588396"/>
              <a:ext cx="519838" cy="18305"/>
            </a:xfrm>
            <a:custGeom>
              <a:avLst/>
              <a:gdLst>
                <a:gd name="T0" fmla="*/ 184 w 188"/>
                <a:gd name="T1" fmla="*/ 7 h 7"/>
                <a:gd name="T2" fmla="*/ 3 w 188"/>
                <a:gd name="T3" fmla="*/ 7 h 7"/>
                <a:gd name="T4" fmla="*/ 0 w 188"/>
                <a:gd name="T5" fmla="*/ 3 h 7"/>
                <a:gd name="T6" fmla="*/ 3 w 188"/>
                <a:gd name="T7" fmla="*/ 0 h 7"/>
                <a:gd name="T8" fmla="*/ 184 w 188"/>
                <a:gd name="T9" fmla="*/ 0 h 7"/>
                <a:gd name="T10" fmla="*/ 188 w 188"/>
                <a:gd name="T11" fmla="*/ 3 h 7"/>
                <a:gd name="T12" fmla="*/ 184 w 188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8" h="7">
                  <a:moveTo>
                    <a:pt x="184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186" y="0"/>
                    <a:pt x="188" y="1"/>
                    <a:pt x="188" y="3"/>
                  </a:cubicBezTo>
                  <a:cubicBezTo>
                    <a:pt x="188" y="5"/>
                    <a:pt x="186" y="7"/>
                    <a:pt x="184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9" name="Freeform 244">
              <a:extLst>
                <a:ext uri="{FF2B5EF4-FFF2-40B4-BE49-F238E27FC236}">
                  <a16:creationId xmlns:a16="http://schemas.microsoft.com/office/drawing/2014/main" id="{B112FC93-9F4F-98D2-93DD-64ECD6F6E7AB}"/>
                </a:ext>
              </a:extLst>
            </p:cNvPr>
            <p:cNvSpPr>
              <a:spLocks/>
            </p:cNvSpPr>
            <p:nvPr/>
          </p:nvSpPr>
          <p:spPr bwMode="auto">
            <a:xfrm>
              <a:off x="-4425946" y="2456606"/>
              <a:ext cx="18305" cy="399032"/>
            </a:xfrm>
            <a:custGeom>
              <a:avLst/>
              <a:gdLst>
                <a:gd name="T0" fmla="*/ 4 w 7"/>
                <a:gd name="T1" fmla="*/ 144 h 144"/>
                <a:gd name="T2" fmla="*/ 0 w 7"/>
                <a:gd name="T3" fmla="*/ 141 h 144"/>
                <a:gd name="T4" fmla="*/ 0 w 7"/>
                <a:gd name="T5" fmla="*/ 3 h 144"/>
                <a:gd name="T6" fmla="*/ 4 w 7"/>
                <a:gd name="T7" fmla="*/ 0 h 144"/>
                <a:gd name="T8" fmla="*/ 7 w 7"/>
                <a:gd name="T9" fmla="*/ 3 h 144"/>
                <a:gd name="T10" fmla="*/ 7 w 7"/>
                <a:gd name="T11" fmla="*/ 141 h 144"/>
                <a:gd name="T12" fmla="*/ 4 w 7"/>
                <a:gd name="T13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44">
                  <a:moveTo>
                    <a:pt x="4" y="144"/>
                  </a:moveTo>
                  <a:cubicBezTo>
                    <a:pt x="2" y="144"/>
                    <a:pt x="0" y="143"/>
                    <a:pt x="0" y="141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" y="0"/>
                    <a:pt x="7" y="1"/>
                    <a:pt x="7" y="3"/>
                  </a:cubicBezTo>
                  <a:cubicBezTo>
                    <a:pt x="7" y="141"/>
                    <a:pt x="7" y="141"/>
                    <a:pt x="7" y="141"/>
                  </a:cubicBezTo>
                  <a:cubicBezTo>
                    <a:pt x="7" y="143"/>
                    <a:pt x="6" y="144"/>
                    <a:pt x="4" y="14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6" name="Shape8_20200717_154431">
            <a:extLst>
              <a:ext uri="{FF2B5EF4-FFF2-40B4-BE49-F238E27FC236}">
                <a16:creationId xmlns:a16="http://schemas.microsoft.com/office/drawing/2014/main" id="{375996CC-B511-C86F-A4A0-1B42961A70E1}"/>
              </a:ext>
            </a:extLst>
          </p:cNvPr>
          <p:cNvGrpSpPr>
            <a:grpSpLocks noChangeAspect="1"/>
          </p:cNvGrpSpPr>
          <p:nvPr/>
        </p:nvGrpSpPr>
        <p:grpSpPr>
          <a:xfrm>
            <a:off x="3173716" y="1186183"/>
            <a:ext cx="622341" cy="618682"/>
            <a:chOff x="-4726135" y="820214"/>
            <a:chExt cx="622341" cy="618682"/>
          </a:xfrm>
          <a:solidFill>
            <a:schemeClr val="accent1"/>
          </a:solidFill>
        </p:grpSpPr>
        <p:sp>
          <p:nvSpPr>
            <p:cNvPr id="138" name="Freeform 245">
              <a:extLst>
                <a:ext uri="{FF2B5EF4-FFF2-40B4-BE49-F238E27FC236}">
                  <a16:creationId xmlns:a16="http://schemas.microsoft.com/office/drawing/2014/main" id="{B8DD71B8-4EE2-D68C-EF6A-41517ED206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726135" y="820214"/>
              <a:ext cx="622341" cy="618682"/>
            </a:xfrm>
            <a:custGeom>
              <a:avLst/>
              <a:gdLst>
                <a:gd name="T0" fmla="*/ 185 w 225"/>
                <a:gd name="T1" fmla="*/ 165 h 224"/>
                <a:gd name="T2" fmla="*/ 174 w 225"/>
                <a:gd name="T3" fmla="*/ 138 h 224"/>
                <a:gd name="T4" fmla="*/ 154 w 225"/>
                <a:gd name="T5" fmla="*/ 117 h 224"/>
                <a:gd name="T6" fmla="*/ 180 w 225"/>
                <a:gd name="T7" fmla="*/ 93 h 224"/>
                <a:gd name="T8" fmla="*/ 207 w 225"/>
                <a:gd name="T9" fmla="*/ 109 h 224"/>
                <a:gd name="T10" fmla="*/ 210 w 225"/>
                <a:gd name="T11" fmla="*/ 138 h 224"/>
                <a:gd name="T12" fmla="*/ 196 w 225"/>
                <a:gd name="T13" fmla="*/ 164 h 224"/>
                <a:gd name="T14" fmla="*/ 174 w 225"/>
                <a:gd name="T15" fmla="*/ 140 h 224"/>
                <a:gd name="T16" fmla="*/ 209 w 225"/>
                <a:gd name="T17" fmla="*/ 125 h 224"/>
                <a:gd name="T18" fmla="*/ 196 w 225"/>
                <a:gd name="T19" fmla="*/ 95 h 224"/>
                <a:gd name="T20" fmla="*/ 190 w 225"/>
                <a:gd name="T21" fmla="*/ 50 h 224"/>
                <a:gd name="T22" fmla="*/ 198 w 225"/>
                <a:gd name="T23" fmla="*/ 79 h 224"/>
                <a:gd name="T24" fmla="*/ 169 w 225"/>
                <a:gd name="T25" fmla="*/ 86 h 224"/>
                <a:gd name="T26" fmla="*/ 172 w 225"/>
                <a:gd name="T27" fmla="*/ 45 h 224"/>
                <a:gd name="T28" fmla="*/ 179 w 225"/>
                <a:gd name="T29" fmla="*/ 84 h 224"/>
                <a:gd name="T30" fmla="*/ 166 w 225"/>
                <a:gd name="T31" fmla="*/ 54 h 224"/>
                <a:gd name="T32" fmla="*/ 178 w 225"/>
                <a:gd name="T33" fmla="*/ 193 h 224"/>
                <a:gd name="T34" fmla="*/ 133 w 225"/>
                <a:gd name="T35" fmla="*/ 44 h 224"/>
                <a:gd name="T36" fmla="*/ 102 w 225"/>
                <a:gd name="T37" fmla="*/ 41 h 224"/>
                <a:gd name="T38" fmla="*/ 115 w 225"/>
                <a:gd name="T39" fmla="*/ 15 h 224"/>
                <a:gd name="T40" fmla="*/ 65 w 225"/>
                <a:gd name="T41" fmla="*/ 20 h 224"/>
                <a:gd name="T42" fmla="*/ 72 w 225"/>
                <a:gd name="T43" fmla="*/ 54 h 224"/>
                <a:gd name="T44" fmla="*/ 61 w 225"/>
                <a:gd name="T45" fmla="*/ 71 h 224"/>
                <a:gd name="T46" fmla="*/ 39 w 225"/>
                <a:gd name="T47" fmla="*/ 98 h 224"/>
                <a:gd name="T48" fmla="*/ 16 w 225"/>
                <a:gd name="T49" fmla="*/ 96 h 224"/>
                <a:gd name="T50" fmla="*/ 45 w 225"/>
                <a:gd name="T51" fmla="*/ 39 h 224"/>
                <a:gd name="T52" fmla="*/ 52 w 225"/>
                <a:gd name="T53" fmla="*/ 66 h 224"/>
                <a:gd name="T54" fmla="*/ 43 w 225"/>
                <a:gd name="T55" fmla="*/ 110 h 224"/>
                <a:gd name="T56" fmla="*/ 58 w 225"/>
                <a:gd name="T57" fmla="*/ 52 h 224"/>
                <a:gd name="T58" fmla="*/ 105 w 225"/>
                <a:gd name="T59" fmla="*/ 8 h 224"/>
                <a:gd name="T60" fmla="*/ 14 w 225"/>
                <a:gd name="T61" fmla="*/ 118 h 224"/>
                <a:gd name="T62" fmla="*/ 49 w 225"/>
                <a:gd name="T63" fmla="*/ 145 h 224"/>
                <a:gd name="T64" fmla="*/ 72 w 225"/>
                <a:gd name="T65" fmla="*/ 188 h 224"/>
                <a:gd name="T66" fmla="*/ 62 w 225"/>
                <a:gd name="T67" fmla="*/ 121 h 224"/>
                <a:gd name="T68" fmla="*/ 95 w 225"/>
                <a:gd name="T69" fmla="*/ 157 h 224"/>
                <a:gd name="T70" fmla="*/ 108 w 225"/>
                <a:gd name="T71" fmla="*/ 177 h 224"/>
                <a:gd name="T72" fmla="*/ 83 w 225"/>
                <a:gd name="T73" fmla="*/ 194 h 224"/>
                <a:gd name="T74" fmla="*/ 57 w 225"/>
                <a:gd name="T75" fmla="*/ 143 h 224"/>
                <a:gd name="T76" fmla="*/ 92 w 225"/>
                <a:gd name="T77" fmla="*/ 140 h 224"/>
                <a:gd name="T78" fmla="*/ 100 w 225"/>
                <a:gd name="T79" fmla="*/ 208 h 224"/>
                <a:gd name="T80" fmla="*/ 69 w 225"/>
                <a:gd name="T81" fmla="*/ 179 h 224"/>
                <a:gd name="T82" fmla="*/ 47 w 225"/>
                <a:gd name="T83" fmla="*/ 131 h 224"/>
                <a:gd name="T84" fmla="*/ 98 w 225"/>
                <a:gd name="T85" fmla="*/ 208 h 224"/>
                <a:gd name="T86" fmla="*/ 114 w 225"/>
                <a:gd name="T87" fmla="*/ 181 h 224"/>
                <a:gd name="T88" fmla="*/ 111 w 225"/>
                <a:gd name="T89" fmla="*/ 151 h 224"/>
                <a:gd name="T90" fmla="*/ 81 w 225"/>
                <a:gd name="T91" fmla="*/ 136 h 224"/>
                <a:gd name="T92" fmla="*/ 64 w 225"/>
                <a:gd name="T93" fmla="*/ 121 h 224"/>
                <a:gd name="T94" fmla="*/ 30 w 225"/>
                <a:gd name="T95" fmla="*/ 116 h 224"/>
                <a:gd name="T96" fmla="*/ 50 w 225"/>
                <a:gd name="T97" fmla="*/ 106 h 224"/>
                <a:gd name="T98" fmla="*/ 73 w 225"/>
                <a:gd name="T99" fmla="*/ 81 h 224"/>
                <a:gd name="T100" fmla="*/ 87 w 225"/>
                <a:gd name="T101" fmla="*/ 53 h 224"/>
                <a:gd name="T102" fmla="*/ 71 w 225"/>
                <a:gd name="T103" fmla="*/ 27 h 224"/>
                <a:gd name="T104" fmla="*/ 93 w 225"/>
                <a:gd name="T105" fmla="*/ 39 h 224"/>
                <a:gd name="T106" fmla="*/ 122 w 225"/>
                <a:gd name="T107" fmla="*/ 37 h 224"/>
                <a:gd name="T108" fmla="*/ 133 w 225"/>
                <a:gd name="T109" fmla="*/ 32 h 224"/>
                <a:gd name="T110" fmla="*/ 142 w 225"/>
                <a:gd name="T111" fmla="*/ 19 h 224"/>
                <a:gd name="T112" fmla="*/ 164 w 225"/>
                <a:gd name="T113" fmla="*/ 39 h 224"/>
                <a:gd name="T114" fmla="*/ 150 w 225"/>
                <a:gd name="T115" fmla="*/ 63 h 224"/>
                <a:gd name="T116" fmla="*/ 157 w 225"/>
                <a:gd name="T117" fmla="*/ 89 h 224"/>
                <a:gd name="T118" fmla="*/ 147 w 225"/>
                <a:gd name="T119" fmla="*/ 123 h 224"/>
                <a:gd name="T120" fmla="*/ 167 w 225"/>
                <a:gd name="T121" fmla="*/ 147 h 224"/>
                <a:gd name="T122" fmla="*/ 175 w 225"/>
                <a:gd name="T123" fmla="*/ 167 h 224"/>
                <a:gd name="T124" fmla="*/ 170 w 225"/>
                <a:gd name="T125" fmla="*/ 198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5" h="224">
                  <a:moveTo>
                    <a:pt x="113" y="0"/>
                  </a:moveTo>
                  <a:cubicBezTo>
                    <a:pt x="51" y="0"/>
                    <a:pt x="0" y="50"/>
                    <a:pt x="0" y="112"/>
                  </a:cubicBezTo>
                  <a:cubicBezTo>
                    <a:pt x="0" y="174"/>
                    <a:pt x="51" y="224"/>
                    <a:pt x="113" y="224"/>
                  </a:cubicBezTo>
                  <a:cubicBezTo>
                    <a:pt x="174" y="224"/>
                    <a:pt x="225" y="174"/>
                    <a:pt x="225" y="112"/>
                  </a:cubicBezTo>
                  <a:cubicBezTo>
                    <a:pt x="225" y="50"/>
                    <a:pt x="174" y="0"/>
                    <a:pt x="113" y="0"/>
                  </a:cubicBezTo>
                  <a:close/>
                  <a:moveTo>
                    <a:pt x="175" y="187"/>
                  </a:moveTo>
                  <a:cubicBezTo>
                    <a:pt x="175" y="187"/>
                    <a:pt x="175" y="187"/>
                    <a:pt x="175" y="187"/>
                  </a:cubicBezTo>
                  <a:cubicBezTo>
                    <a:pt x="174" y="187"/>
                    <a:pt x="174" y="187"/>
                    <a:pt x="174" y="187"/>
                  </a:cubicBezTo>
                  <a:cubicBezTo>
                    <a:pt x="174" y="187"/>
                    <a:pt x="174" y="188"/>
                    <a:pt x="173" y="188"/>
                  </a:cubicBezTo>
                  <a:cubicBezTo>
                    <a:pt x="174" y="187"/>
                    <a:pt x="174" y="187"/>
                    <a:pt x="174" y="187"/>
                  </a:cubicBezTo>
                  <a:cubicBezTo>
                    <a:pt x="174" y="186"/>
                    <a:pt x="175" y="186"/>
                    <a:pt x="175" y="185"/>
                  </a:cubicBezTo>
                  <a:cubicBezTo>
                    <a:pt x="175" y="185"/>
                    <a:pt x="175" y="185"/>
                    <a:pt x="175" y="185"/>
                  </a:cubicBezTo>
                  <a:cubicBezTo>
                    <a:pt x="175" y="184"/>
                    <a:pt x="176" y="184"/>
                    <a:pt x="176" y="184"/>
                  </a:cubicBezTo>
                  <a:cubicBezTo>
                    <a:pt x="177" y="183"/>
                    <a:pt x="177" y="182"/>
                    <a:pt x="177" y="181"/>
                  </a:cubicBezTo>
                  <a:cubicBezTo>
                    <a:pt x="177" y="181"/>
                    <a:pt x="177" y="181"/>
                    <a:pt x="177" y="181"/>
                  </a:cubicBezTo>
                  <a:cubicBezTo>
                    <a:pt x="177" y="180"/>
                    <a:pt x="177" y="180"/>
                    <a:pt x="177" y="179"/>
                  </a:cubicBezTo>
                  <a:cubicBezTo>
                    <a:pt x="177" y="179"/>
                    <a:pt x="177" y="179"/>
                    <a:pt x="177" y="179"/>
                  </a:cubicBezTo>
                  <a:cubicBezTo>
                    <a:pt x="177" y="178"/>
                    <a:pt x="177" y="178"/>
                    <a:pt x="177" y="177"/>
                  </a:cubicBezTo>
                  <a:cubicBezTo>
                    <a:pt x="178" y="177"/>
                    <a:pt x="178" y="177"/>
                    <a:pt x="178" y="176"/>
                  </a:cubicBezTo>
                  <a:cubicBezTo>
                    <a:pt x="178" y="176"/>
                    <a:pt x="178" y="176"/>
                    <a:pt x="178" y="176"/>
                  </a:cubicBezTo>
                  <a:cubicBezTo>
                    <a:pt x="179" y="175"/>
                    <a:pt x="179" y="175"/>
                    <a:pt x="179" y="175"/>
                  </a:cubicBezTo>
                  <a:cubicBezTo>
                    <a:pt x="179" y="175"/>
                    <a:pt x="180" y="174"/>
                    <a:pt x="180" y="174"/>
                  </a:cubicBezTo>
                  <a:cubicBezTo>
                    <a:pt x="180" y="174"/>
                    <a:pt x="181" y="173"/>
                    <a:pt x="181" y="172"/>
                  </a:cubicBezTo>
                  <a:cubicBezTo>
                    <a:pt x="181" y="172"/>
                    <a:pt x="181" y="172"/>
                    <a:pt x="181" y="172"/>
                  </a:cubicBezTo>
                  <a:cubicBezTo>
                    <a:pt x="181" y="172"/>
                    <a:pt x="181" y="172"/>
                    <a:pt x="181" y="172"/>
                  </a:cubicBezTo>
                  <a:cubicBezTo>
                    <a:pt x="182" y="171"/>
                    <a:pt x="182" y="171"/>
                    <a:pt x="182" y="171"/>
                  </a:cubicBezTo>
                  <a:cubicBezTo>
                    <a:pt x="182" y="170"/>
                    <a:pt x="183" y="170"/>
                    <a:pt x="183" y="170"/>
                  </a:cubicBezTo>
                  <a:cubicBezTo>
                    <a:pt x="183" y="170"/>
                    <a:pt x="183" y="169"/>
                    <a:pt x="183" y="169"/>
                  </a:cubicBezTo>
                  <a:cubicBezTo>
                    <a:pt x="184" y="169"/>
                    <a:pt x="184" y="168"/>
                    <a:pt x="184" y="167"/>
                  </a:cubicBezTo>
                  <a:cubicBezTo>
                    <a:pt x="185" y="166"/>
                    <a:pt x="185" y="166"/>
                    <a:pt x="185" y="165"/>
                  </a:cubicBezTo>
                  <a:cubicBezTo>
                    <a:pt x="185" y="165"/>
                    <a:pt x="185" y="165"/>
                    <a:pt x="185" y="165"/>
                  </a:cubicBezTo>
                  <a:cubicBezTo>
                    <a:pt x="185" y="164"/>
                    <a:pt x="185" y="163"/>
                    <a:pt x="185" y="163"/>
                  </a:cubicBezTo>
                  <a:cubicBezTo>
                    <a:pt x="185" y="163"/>
                    <a:pt x="186" y="162"/>
                    <a:pt x="186" y="162"/>
                  </a:cubicBezTo>
                  <a:cubicBezTo>
                    <a:pt x="186" y="162"/>
                    <a:pt x="186" y="162"/>
                    <a:pt x="186" y="162"/>
                  </a:cubicBezTo>
                  <a:cubicBezTo>
                    <a:pt x="186" y="161"/>
                    <a:pt x="186" y="161"/>
                    <a:pt x="186" y="160"/>
                  </a:cubicBezTo>
                  <a:cubicBezTo>
                    <a:pt x="186" y="160"/>
                    <a:pt x="186" y="159"/>
                    <a:pt x="186" y="159"/>
                  </a:cubicBezTo>
                  <a:cubicBezTo>
                    <a:pt x="186" y="159"/>
                    <a:pt x="186" y="159"/>
                    <a:pt x="186" y="158"/>
                  </a:cubicBezTo>
                  <a:cubicBezTo>
                    <a:pt x="186" y="158"/>
                    <a:pt x="186" y="157"/>
                    <a:pt x="186" y="156"/>
                  </a:cubicBezTo>
                  <a:cubicBezTo>
                    <a:pt x="186" y="156"/>
                    <a:pt x="186" y="156"/>
                    <a:pt x="185" y="155"/>
                  </a:cubicBezTo>
                  <a:cubicBezTo>
                    <a:pt x="185" y="155"/>
                    <a:pt x="185" y="154"/>
                    <a:pt x="185" y="154"/>
                  </a:cubicBezTo>
                  <a:cubicBezTo>
                    <a:pt x="185" y="154"/>
                    <a:pt x="185" y="154"/>
                    <a:pt x="185" y="153"/>
                  </a:cubicBezTo>
                  <a:cubicBezTo>
                    <a:pt x="185" y="153"/>
                    <a:pt x="185" y="153"/>
                    <a:pt x="185" y="153"/>
                  </a:cubicBezTo>
                  <a:cubicBezTo>
                    <a:pt x="185" y="153"/>
                    <a:pt x="185" y="153"/>
                    <a:pt x="185" y="153"/>
                  </a:cubicBezTo>
                  <a:cubicBezTo>
                    <a:pt x="185" y="153"/>
                    <a:pt x="185" y="152"/>
                    <a:pt x="185" y="152"/>
                  </a:cubicBezTo>
                  <a:cubicBezTo>
                    <a:pt x="185" y="152"/>
                    <a:pt x="186" y="151"/>
                    <a:pt x="186" y="151"/>
                  </a:cubicBezTo>
                  <a:cubicBezTo>
                    <a:pt x="186" y="150"/>
                    <a:pt x="186" y="150"/>
                    <a:pt x="186" y="150"/>
                  </a:cubicBezTo>
                  <a:cubicBezTo>
                    <a:pt x="186" y="150"/>
                    <a:pt x="186" y="150"/>
                    <a:pt x="186" y="149"/>
                  </a:cubicBezTo>
                  <a:cubicBezTo>
                    <a:pt x="186" y="149"/>
                    <a:pt x="187" y="149"/>
                    <a:pt x="187" y="148"/>
                  </a:cubicBezTo>
                  <a:cubicBezTo>
                    <a:pt x="187" y="148"/>
                    <a:pt x="187" y="148"/>
                    <a:pt x="187" y="147"/>
                  </a:cubicBezTo>
                  <a:cubicBezTo>
                    <a:pt x="187" y="146"/>
                    <a:pt x="187" y="145"/>
                    <a:pt x="187" y="145"/>
                  </a:cubicBezTo>
                  <a:cubicBezTo>
                    <a:pt x="187" y="144"/>
                    <a:pt x="187" y="144"/>
                    <a:pt x="187" y="144"/>
                  </a:cubicBezTo>
                  <a:cubicBezTo>
                    <a:pt x="187" y="143"/>
                    <a:pt x="186" y="143"/>
                    <a:pt x="186" y="142"/>
                  </a:cubicBezTo>
                  <a:cubicBezTo>
                    <a:pt x="185" y="141"/>
                    <a:pt x="184" y="141"/>
                    <a:pt x="184" y="140"/>
                  </a:cubicBezTo>
                  <a:cubicBezTo>
                    <a:pt x="183" y="140"/>
                    <a:pt x="182" y="140"/>
                    <a:pt x="182" y="140"/>
                  </a:cubicBezTo>
                  <a:cubicBezTo>
                    <a:pt x="181" y="140"/>
                    <a:pt x="181" y="140"/>
                    <a:pt x="181" y="140"/>
                  </a:cubicBezTo>
                  <a:cubicBezTo>
                    <a:pt x="181" y="140"/>
                    <a:pt x="181" y="140"/>
                    <a:pt x="181" y="139"/>
                  </a:cubicBezTo>
                  <a:cubicBezTo>
                    <a:pt x="180" y="139"/>
                    <a:pt x="179" y="138"/>
                    <a:pt x="178" y="138"/>
                  </a:cubicBezTo>
                  <a:cubicBezTo>
                    <a:pt x="178" y="138"/>
                    <a:pt x="178" y="138"/>
                    <a:pt x="177" y="138"/>
                  </a:cubicBezTo>
                  <a:cubicBezTo>
                    <a:pt x="177" y="138"/>
                    <a:pt x="175" y="138"/>
                    <a:pt x="174" y="138"/>
                  </a:cubicBezTo>
                  <a:cubicBezTo>
                    <a:pt x="174" y="138"/>
                    <a:pt x="174" y="138"/>
                    <a:pt x="174" y="138"/>
                  </a:cubicBezTo>
                  <a:cubicBezTo>
                    <a:pt x="174" y="138"/>
                    <a:pt x="174" y="138"/>
                    <a:pt x="174" y="138"/>
                  </a:cubicBezTo>
                  <a:cubicBezTo>
                    <a:pt x="173" y="138"/>
                    <a:pt x="172" y="138"/>
                    <a:pt x="171" y="139"/>
                  </a:cubicBezTo>
                  <a:cubicBezTo>
                    <a:pt x="171" y="139"/>
                    <a:pt x="171" y="140"/>
                    <a:pt x="171" y="140"/>
                  </a:cubicBezTo>
                  <a:cubicBezTo>
                    <a:pt x="170" y="140"/>
                    <a:pt x="170" y="140"/>
                    <a:pt x="170" y="140"/>
                  </a:cubicBezTo>
                  <a:cubicBezTo>
                    <a:pt x="169" y="140"/>
                    <a:pt x="169" y="140"/>
                    <a:pt x="169" y="140"/>
                  </a:cubicBezTo>
                  <a:cubicBezTo>
                    <a:pt x="169" y="140"/>
                    <a:pt x="168" y="140"/>
                    <a:pt x="168" y="140"/>
                  </a:cubicBezTo>
                  <a:cubicBezTo>
                    <a:pt x="167" y="139"/>
                    <a:pt x="166" y="139"/>
                    <a:pt x="165" y="140"/>
                  </a:cubicBezTo>
                  <a:cubicBezTo>
                    <a:pt x="165" y="140"/>
                    <a:pt x="165" y="140"/>
                    <a:pt x="165" y="140"/>
                  </a:cubicBezTo>
                  <a:cubicBezTo>
                    <a:pt x="164" y="140"/>
                    <a:pt x="164" y="140"/>
                    <a:pt x="163" y="140"/>
                  </a:cubicBezTo>
                  <a:cubicBezTo>
                    <a:pt x="162" y="140"/>
                    <a:pt x="162" y="140"/>
                    <a:pt x="161" y="141"/>
                  </a:cubicBezTo>
                  <a:cubicBezTo>
                    <a:pt x="161" y="141"/>
                    <a:pt x="161" y="140"/>
                    <a:pt x="161" y="140"/>
                  </a:cubicBezTo>
                  <a:cubicBezTo>
                    <a:pt x="161" y="140"/>
                    <a:pt x="160" y="139"/>
                    <a:pt x="159" y="139"/>
                  </a:cubicBezTo>
                  <a:cubicBezTo>
                    <a:pt x="159" y="139"/>
                    <a:pt x="159" y="139"/>
                    <a:pt x="159" y="139"/>
                  </a:cubicBezTo>
                  <a:cubicBezTo>
                    <a:pt x="159" y="138"/>
                    <a:pt x="159" y="138"/>
                    <a:pt x="158" y="137"/>
                  </a:cubicBezTo>
                  <a:cubicBezTo>
                    <a:pt x="158" y="136"/>
                    <a:pt x="157" y="135"/>
                    <a:pt x="157" y="135"/>
                  </a:cubicBezTo>
                  <a:cubicBezTo>
                    <a:pt x="157" y="135"/>
                    <a:pt x="157" y="134"/>
                    <a:pt x="156" y="134"/>
                  </a:cubicBezTo>
                  <a:cubicBezTo>
                    <a:pt x="156" y="134"/>
                    <a:pt x="156" y="134"/>
                    <a:pt x="155" y="133"/>
                  </a:cubicBezTo>
                  <a:cubicBezTo>
                    <a:pt x="155" y="133"/>
                    <a:pt x="155" y="133"/>
                    <a:pt x="155" y="133"/>
                  </a:cubicBezTo>
                  <a:cubicBezTo>
                    <a:pt x="155" y="132"/>
                    <a:pt x="155" y="131"/>
                    <a:pt x="154" y="130"/>
                  </a:cubicBezTo>
                  <a:cubicBezTo>
                    <a:pt x="154" y="130"/>
                    <a:pt x="153" y="130"/>
                    <a:pt x="153" y="129"/>
                  </a:cubicBezTo>
                  <a:cubicBezTo>
                    <a:pt x="153" y="129"/>
                    <a:pt x="153" y="129"/>
                    <a:pt x="153" y="129"/>
                  </a:cubicBezTo>
                  <a:cubicBezTo>
                    <a:pt x="153" y="129"/>
                    <a:pt x="153" y="129"/>
                    <a:pt x="153" y="129"/>
                  </a:cubicBezTo>
                  <a:cubicBezTo>
                    <a:pt x="153" y="128"/>
                    <a:pt x="153" y="128"/>
                    <a:pt x="153" y="128"/>
                  </a:cubicBezTo>
                  <a:cubicBezTo>
                    <a:pt x="153" y="127"/>
                    <a:pt x="154" y="127"/>
                    <a:pt x="154" y="126"/>
                  </a:cubicBezTo>
                  <a:cubicBezTo>
                    <a:pt x="154" y="126"/>
                    <a:pt x="154" y="126"/>
                    <a:pt x="154" y="126"/>
                  </a:cubicBezTo>
                  <a:cubicBezTo>
                    <a:pt x="154" y="125"/>
                    <a:pt x="154" y="125"/>
                    <a:pt x="154" y="124"/>
                  </a:cubicBezTo>
                  <a:cubicBezTo>
                    <a:pt x="154" y="124"/>
                    <a:pt x="154" y="123"/>
                    <a:pt x="154" y="123"/>
                  </a:cubicBezTo>
                  <a:cubicBezTo>
                    <a:pt x="154" y="122"/>
                    <a:pt x="154" y="122"/>
                    <a:pt x="154" y="121"/>
                  </a:cubicBezTo>
                  <a:cubicBezTo>
                    <a:pt x="154" y="121"/>
                    <a:pt x="154" y="121"/>
                    <a:pt x="154" y="121"/>
                  </a:cubicBezTo>
                  <a:cubicBezTo>
                    <a:pt x="155" y="120"/>
                    <a:pt x="154" y="118"/>
                    <a:pt x="154" y="117"/>
                  </a:cubicBezTo>
                  <a:cubicBezTo>
                    <a:pt x="154" y="117"/>
                    <a:pt x="154" y="116"/>
                    <a:pt x="154" y="116"/>
                  </a:cubicBezTo>
                  <a:cubicBezTo>
                    <a:pt x="154" y="116"/>
                    <a:pt x="154" y="116"/>
                    <a:pt x="154" y="115"/>
                  </a:cubicBezTo>
                  <a:cubicBezTo>
                    <a:pt x="155" y="115"/>
                    <a:pt x="155" y="114"/>
                    <a:pt x="155" y="114"/>
                  </a:cubicBezTo>
                  <a:cubicBezTo>
                    <a:pt x="156" y="114"/>
                    <a:pt x="156" y="113"/>
                    <a:pt x="156" y="112"/>
                  </a:cubicBezTo>
                  <a:cubicBezTo>
                    <a:pt x="156" y="112"/>
                    <a:pt x="156" y="112"/>
                    <a:pt x="156" y="112"/>
                  </a:cubicBezTo>
                  <a:cubicBezTo>
                    <a:pt x="156" y="112"/>
                    <a:pt x="156" y="112"/>
                    <a:pt x="156" y="112"/>
                  </a:cubicBezTo>
                  <a:cubicBezTo>
                    <a:pt x="157" y="111"/>
                    <a:pt x="158" y="110"/>
                    <a:pt x="158" y="110"/>
                  </a:cubicBezTo>
                  <a:cubicBezTo>
                    <a:pt x="158" y="109"/>
                    <a:pt x="158" y="109"/>
                    <a:pt x="158" y="108"/>
                  </a:cubicBezTo>
                  <a:cubicBezTo>
                    <a:pt x="159" y="108"/>
                    <a:pt x="160" y="108"/>
                    <a:pt x="160" y="107"/>
                  </a:cubicBezTo>
                  <a:cubicBezTo>
                    <a:pt x="161" y="107"/>
                    <a:pt x="162" y="106"/>
                    <a:pt x="162" y="106"/>
                  </a:cubicBezTo>
                  <a:cubicBezTo>
                    <a:pt x="163" y="105"/>
                    <a:pt x="163" y="105"/>
                    <a:pt x="163" y="105"/>
                  </a:cubicBezTo>
                  <a:cubicBezTo>
                    <a:pt x="163" y="105"/>
                    <a:pt x="163" y="105"/>
                    <a:pt x="163" y="105"/>
                  </a:cubicBezTo>
                  <a:cubicBezTo>
                    <a:pt x="164" y="104"/>
                    <a:pt x="164" y="104"/>
                    <a:pt x="164" y="103"/>
                  </a:cubicBezTo>
                  <a:cubicBezTo>
                    <a:pt x="164" y="103"/>
                    <a:pt x="164" y="102"/>
                    <a:pt x="164" y="102"/>
                  </a:cubicBezTo>
                  <a:cubicBezTo>
                    <a:pt x="165" y="101"/>
                    <a:pt x="164" y="100"/>
                    <a:pt x="164" y="100"/>
                  </a:cubicBezTo>
                  <a:cubicBezTo>
                    <a:pt x="164" y="100"/>
                    <a:pt x="164" y="99"/>
                    <a:pt x="164" y="99"/>
                  </a:cubicBezTo>
                  <a:cubicBezTo>
                    <a:pt x="165" y="99"/>
                    <a:pt x="165" y="99"/>
                    <a:pt x="165" y="98"/>
                  </a:cubicBezTo>
                  <a:cubicBezTo>
                    <a:pt x="165" y="98"/>
                    <a:pt x="165" y="98"/>
                    <a:pt x="165" y="98"/>
                  </a:cubicBezTo>
                  <a:cubicBezTo>
                    <a:pt x="165" y="98"/>
                    <a:pt x="165" y="98"/>
                    <a:pt x="166" y="98"/>
                  </a:cubicBezTo>
                  <a:cubicBezTo>
                    <a:pt x="166" y="98"/>
                    <a:pt x="167" y="97"/>
                    <a:pt x="167" y="97"/>
                  </a:cubicBezTo>
                  <a:cubicBezTo>
                    <a:pt x="167" y="97"/>
                    <a:pt x="167" y="96"/>
                    <a:pt x="167" y="96"/>
                  </a:cubicBezTo>
                  <a:cubicBezTo>
                    <a:pt x="168" y="96"/>
                    <a:pt x="168" y="96"/>
                    <a:pt x="168" y="96"/>
                  </a:cubicBezTo>
                  <a:cubicBezTo>
                    <a:pt x="169" y="96"/>
                    <a:pt x="169" y="96"/>
                    <a:pt x="169" y="97"/>
                  </a:cubicBezTo>
                  <a:cubicBezTo>
                    <a:pt x="170" y="97"/>
                    <a:pt x="171" y="97"/>
                    <a:pt x="171" y="97"/>
                  </a:cubicBezTo>
                  <a:cubicBezTo>
                    <a:pt x="173" y="97"/>
                    <a:pt x="174" y="96"/>
                    <a:pt x="175" y="95"/>
                  </a:cubicBezTo>
                  <a:cubicBezTo>
                    <a:pt x="175" y="95"/>
                    <a:pt x="176" y="94"/>
                    <a:pt x="176" y="94"/>
                  </a:cubicBezTo>
                  <a:cubicBezTo>
                    <a:pt x="176" y="94"/>
                    <a:pt x="176" y="94"/>
                    <a:pt x="176" y="94"/>
                  </a:cubicBezTo>
                  <a:cubicBezTo>
                    <a:pt x="177" y="94"/>
                    <a:pt x="177" y="94"/>
                    <a:pt x="177" y="94"/>
                  </a:cubicBezTo>
                  <a:cubicBezTo>
                    <a:pt x="178" y="94"/>
                    <a:pt x="178" y="94"/>
                    <a:pt x="179" y="93"/>
                  </a:cubicBezTo>
                  <a:cubicBezTo>
                    <a:pt x="179" y="93"/>
                    <a:pt x="180" y="93"/>
                    <a:pt x="180" y="93"/>
                  </a:cubicBezTo>
                  <a:cubicBezTo>
                    <a:pt x="181" y="94"/>
                    <a:pt x="182" y="93"/>
                    <a:pt x="182" y="93"/>
                  </a:cubicBezTo>
                  <a:cubicBezTo>
                    <a:pt x="182" y="93"/>
                    <a:pt x="182" y="93"/>
                    <a:pt x="183" y="93"/>
                  </a:cubicBezTo>
                  <a:cubicBezTo>
                    <a:pt x="183" y="93"/>
                    <a:pt x="183" y="93"/>
                    <a:pt x="183" y="93"/>
                  </a:cubicBezTo>
                  <a:cubicBezTo>
                    <a:pt x="183" y="94"/>
                    <a:pt x="183" y="94"/>
                    <a:pt x="183" y="95"/>
                  </a:cubicBezTo>
                  <a:cubicBezTo>
                    <a:pt x="183" y="95"/>
                    <a:pt x="183" y="95"/>
                    <a:pt x="183" y="96"/>
                  </a:cubicBezTo>
                  <a:cubicBezTo>
                    <a:pt x="184" y="97"/>
                    <a:pt x="185" y="98"/>
                    <a:pt x="186" y="99"/>
                  </a:cubicBezTo>
                  <a:cubicBezTo>
                    <a:pt x="186" y="99"/>
                    <a:pt x="187" y="99"/>
                    <a:pt x="187" y="100"/>
                  </a:cubicBezTo>
                  <a:cubicBezTo>
                    <a:pt x="187" y="100"/>
                    <a:pt x="187" y="100"/>
                    <a:pt x="187" y="100"/>
                  </a:cubicBezTo>
                  <a:cubicBezTo>
                    <a:pt x="187" y="100"/>
                    <a:pt x="187" y="100"/>
                    <a:pt x="187" y="100"/>
                  </a:cubicBezTo>
                  <a:cubicBezTo>
                    <a:pt x="187" y="100"/>
                    <a:pt x="188" y="100"/>
                    <a:pt x="189" y="100"/>
                  </a:cubicBezTo>
                  <a:cubicBezTo>
                    <a:pt x="189" y="101"/>
                    <a:pt x="190" y="101"/>
                    <a:pt x="190" y="101"/>
                  </a:cubicBezTo>
                  <a:cubicBezTo>
                    <a:pt x="190" y="101"/>
                    <a:pt x="190" y="101"/>
                    <a:pt x="190" y="101"/>
                  </a:cubicBezTo>
                  <a:cubicBezTo>
                    <a:pt x="190" y="101"/>
                    <a:pt x="191" y="101"/>
                    <a:pt x="191" y="102"/>
                  </a:cubicBezTo>
                  <a:cubicBezTo>
                    <a:pt x="191" y="102"/>
                    <a:pt x="191" y="102"/>
                    <a:pt x="192" y="102"/>
                  </a:cubicBezTo>
                  <a:cubicBezTo>
                    <a:pt x="192" y="103"/>
                    <a:pt x="193" y="103"/>
                    <a:pt x="194" y="103"/>
                  </a:cubicBezTo>
                  <a:cubicBezTo>
                    <a:pt x="194" y="104"/>
                    <a:pt x="194" y="104"/>
                    <a:pt x="194" y="104"/>
                  </a:cubicBezTo>
                  <a:cubicBezTo>
                    <a:pt x="195" y="105"/>
                    <a:pt x="196" y="105"/>
                    <a:pt x="197" y="105"/>
                  </a:cubicBezTo>
                  <a:cubicBezTo>
                    <a:pt x="198" y="105"/>
                    <a:pt x="199" y="105"/>
                    <a:pt x="200" y="104"/>
                  </a:cubicBezTo>
                  <a:cubicBezTo>
                    <a:pt x="200" y="104"/>
                    <a:pt x="200" y="104"/>
                    <a:pt x="200" y="104"/>
                  </a:cubicBezTo>
                  <a:cubicBezTo>
                    <a:pt x="201" y="104"/>
                    <a:pt x="201" y="103"/>
                    <a:pt x="201" y="103"/>
                  </a:cubicBezTo>
                  <a:cubicBezTo>
                    <a:pt x="202" y="103"/>
                    <a:pt x="202" y="102"/>
                    <a:pt x="202" y="102"/>
                  </a:cubicBezTo>
                  <a:cubicBezTo>
                    <a:pt x="202" y="103"/>
                    <a:pt x="203" y="103"/>
                    <a:pt x="203" y="103"/>
                  </a:cubicBezTo>
                  <a:cubicBezTo>
                    <a:pt x="203" y="103"/>
                    <a:pt x="203" y="103"/>
                    <a:pt x="203" y="103"/>
                  </a:cubicBezTo>
                  <a:cubicBezTo>
                    <a:pt x="204" y="103"/>
                    <a:pt x="205" y="104"/>
                    <a:pt x="205" y="104"/>
                  </a:cubicBezTo>
                  <a:cubicBezTo>
                    <a:pt x="205" y="104"/>
                    <a:pt x="206" y="105"/>
                    <a:pt x="206" y="105"/>
                  </a:cubicBezTo>
                  <a:cubicBezTo>
                    <a:pt x="206" y="105"/>
                    <a:pt x="206" y="106"/>
                    <a:pt x="206" y="106"/>
                  </a:cubicBezTo>
                  <a:cubicBezTo>
                    <a:pt x="206" y="106"/>
                    <a:pt x="206" y="106"/>
                    <a:pt x="206" y="107"/>
                  </a:cubicBezTo>
                  <a:cubicBezTo>
                    <a:pt x="206" y="107"/>
                    <a:pt x="206" y="107"/>
                    <a:pt x="207" y="107"/>
                  </a:cubicBezTo>
                  <a:cubicBezTo>
                    <a:pt x="207" y="108"/>
                    <a:pt x="207" y="108"/>
                    <a:pt x="207" y="108"/>
                  </a:cubicBezTo>
                  <a:cubicBezTo>
                    <a:pt x="207" y="108"/>
                    <a:pt x="207" y="109"/>
                    <a:pt x="207" y="109"/>
                  </a:cubicBezTo>
                  <a:cubicBezTo>
                    <a:pt x="207" y="109"/>
                    <a:pt x="207" y="109"/>
                    <a:pt x="207" y="109"/>
                  </a:cubicBezTo>
                  <a:cubicBezTo>
                    <a:pt x="207" y="110"/>
                    <a:pt x="207" y="111"/>
                    <a:pt x="207" y="112"/>
                  </a:cubicBezTo>
                  <a:cubicBezTo>
                    <a:pt x="207" y="112"/>
                    <a:pt x="207" y="112"/>
                    <a:pt x="208" y="112"/>
                  </a:cubicBezTo>
                  <a:cubicBezTo>
                    <a:pt x="208" y="112"/>
                    <a:pt x="208" y="112"/>
                    <a:pt x="208" y="112"/>
                  </a:cubicBezTo>
                  <a:cubicBezTo>
                    <a:pt x="208" y="113"/>
                    <a:pt x="208" y="113"/>
                    <a:pt x="208" y="113"/>
                  </a:cubicBezTo>
                  <a:cubicBezTo>
                    <a:pt x="208" y="114"/>
                    <a:pt x="208" y="114"/>
                    <a:pt x="208" y="114"/>
                  </a:cubicBezTo>
                  <a:cubicBezTo>
                    <a:pt x="208" y="114"/>
                    <a:pt x="208" y="115"/>
                    <a:pt x="208" y="116"/>
                  </a:cubicBezTo>
                  <a:cubicBezTo>
                    <a:pt x="208" y="116"/>
                    <a:pt x="208" y="116"/>
                    <a:pt x="208" y="117"/>
                  </a:cubicBezTo>
                  <a:cubicBezTo>
                    <a:pt x="208" y="117"/>
                    <a:pt x="208" y="117"/>
                    <a:pt x="208" y="117"/>
                  </a:cubicBezTo>
                  <a:cubicBezTo>
                    <a:pt x="208" y="117"/>
                    <a:pt x="208" y="117"/>
                    <a:pt x="208" y="117"/>
                  </a:cubicBezTo>
                  <a:cubicBezTo>
                    <a:pt x="208" y="118"/>
                    <a:pt x="208" y="119"/>
                    <a:pt x="208" y="119"/>
                  </a:cubicBezTo>
                  <a:cubicBezTo>
                    <a:pt x="208" y="119"/>
                    <a:pt x="208" y="120"/>
                    <a:pt x="208" y="120"/>
                  </a:cubicBezTo>
                  <a:cubicBezTo>
                    <a:pt x="208" y="120"/>
                    <a:pt x="208" y="121"/>
                    <a:pt x="208" y="121"/>
                  </a:cubicBezTo>
                  <a:cubicBezTo>
                    <a:pt x="208" y="122"/>
                    <a:pt x="208" y="122"/>
                    <a:pt x="208" y="123"/>
                  </a:cubicBezTo>
                  <a:cubicBezTo>
                    <a:pt x="208" y="123"/>
                    <a:pt x="208" y="124"/>
                    <a:pt x="209" y="124"/>
                  </a:cubicBezTo>
                  <a:cubicBezTo>
                    <a:pt x="209" y="125"/>
                    <a:pt x="209" y="125"/>
                    <a:pt x="209" y="125"/>
                  </a:cubicBezTo>
                  <a:cubicBezTo>
                    <a:pt x="209" y="125"/>
                    <a:pt x="209" y="125"/>
                    <a:pt x="209" y="125"/>
                  </a:cubicBezTo>
                  <a:cubicBezTo>
                    <a:pt x="209" y="125"/>
                    <a:pt x="209" y="125"/>
                    <a:pt x="209" y="125"/>
                  </a:cubicBezTo>
                  <a:cubicBezTo>
                    <a:pt x="209" y="125"/>
                    <a:pt x="209" y="125"/>
                    <a:pt x="209" y="125"/>
                  </a:cubicBezTo>
                  <a:cubicBezTo>
                    <a:pt x="208" y="126"/>
                    <a:pt x="208" y="127"/>
                    <a:pt x="208" y="128"/>
                  </a:cubicBezTo>
                  <a:cubicBezTo>
                    <a:pt x="209" y="128"/>
                    <a:pt x="209" y="129"/>
                    <a:pt x="209" y="129"/>
                  </a:cubicBezTo>
                  <a:cubicBezTo>
                    <a:pt x="209" y="129"/>
                    <a:pt x="209" y="130"/>
                    <a:pt x="209" y="130"/>
                  </a:cubicBezTo>
                  <a:cubicBezTo>
                    <a:pt x="209" y="130"/>
                    <a:pt x="209" y="131"/>
                    <a:pt x="209" y="132"/>
                  </a:cubicBezTo>
                  <a:cubicBezTo>
                    <a:pt x="209" y="132"/>
                    <a:pt x="209" y="132"/>
                    <a:pt x="209" y="132"/>
                  </a:cubicBezTo>
                  <a:cubicBezTo>
                    <a:pt x="209" y="132"/>
                    <a:pt x="209" y="133"/>
                    <a:pt x="209" y="133"/>
                  </a:cubicBezTo>
                  <a:cubicBezTo>
                    <a:pt x="209" y="133"/>
                    <a:pt x="209" y="134"/>
                    <a:pt x="209" y="134"/>
                  </a:cubicBezTo>
                  <a:cubicBezTo>
                    <a:pt x="209" y="135"/>
                    <a:pt x="209" y="135"/>
                    <a:pt x="209" y="136"/>
                  </a:cubicBezTo>
                  <a:cubicBezTo>
                    <a:pt x="209" y="136"/>
                    <a:pt x="209" y="136"/>
                    <a:pt x="209" y="136"/>
                  </a:cubicBezTo>
                  <a:cubicBezTo>
                    <a:pt x="210" y="137"/>
                    <a:pt x="210" y="137"/>
                    <a:pt x="210" y="137"/>
                  </a:cubicBezTo>
                  <a:cubicBezTo>
                    <a:pt x="210" y="137"/>
                    <a:pt x="210" y="138"/>
                    <a:pt x="210" y="138"/>
                  </a:cubicBezTo>
                  <a:cubicBezTo>
                    <a:pt x="210" y="138"/>
                    <a:pt x="210" y="138"/>
                    <a:pt x="210" y="139"/>
                  </a:cubicBezTo>
                  <a:cubicBezTo>
                    <a:pt x="210" y="139"/>
                    <a:pt x="210" y="139"/>
                    <a:pt x="210" y="139"/>
                  </a:cubicBezTo>
                  <a:cubicBezTo>
                    <a:pt x="209" y="139"/>
                    <a:pt x="209" y="140"/>
                    <a:pt x="209" y="141"/>
                  </a:cubicBezTo>
                  <a:cubicBezTo>
                    <a:pt x="209" y="141"/>
                    <a:pt x="209" y="141"/>
                    <a:pt x="209" y="141"/>
                  </a:cubicBezTo>
                  <a:cubicBezTo>
                    <a:pt x="208" y="141"/>
                    <a:pt x="208" y="142"/>
                    <a:pt x="208" y="143"/>
                  </a:cubicBezTo>
                  <a:cubicBezTo>
                    <a:pt x="208" y="143"/>
                    <a:pt x="208" y="143"/>
                    <a:pt x="207" y="144"/>
                  </a:cubicBezTo>
                  <a:cubicBezTo>
                    <a:pt x="207" y="144"/>
                    <a:pt x="207" y="144"/>
                    <a:pt x="207" y="145"/>
                  </a:cubicBezTo>
                  <a:cubicBezTo>
                    <a:pt x="207" y="145"/>
                    <a:pt x="207" y="145"/>
                    <a:pt x="207" y="145"/>
                  </a:cubicBezTo>
                  <a:cubicBezTo>
                    <a:pt x="206" y="146"/>
                    <a:pt x="206" y="146"/>
                    <a:pt x="205" y="147"/>
                  </a:cubicBezTo>
                  <a:cubicBezTo>
                    <a:pt x="205" y="147"/>
                    <a:pt x="205" y="148"/>
                    <a:pt x="205" y="148"/>
                  </a:cubicBezTo>
                  <a:cubicBezTo>
                    <a:pt x="205" y="148"/>
                    <a:pt x="205" y="149"/>
                    <a:pt x="205" y="149"/>
                  </a:cubicBezTo>
                  <a:cubicBezTo>
                    <a:pt x="205" y="149"/>
                    <a:pt x="204" y="149"/>
                    <a:pt x="204" y="149"/>
                  </a:cubicBezTo>
                  <a:cubicBezTo>
                    <a:pt x="204" y="149"/>
                    <a:pt x="204" y="150"/>
                    <a:pt x="204" y="150"/>
                  </a:cubicBezTo>
                  <a:cubicBezTo>
                    <a:pt x="204" y="150"/>
                    <a:pt x="204" y="150"/>
                    <a:pt x="204" y="150"/>
                  </a:cubicBezTo>
                  <a:cubicBezTo>
                    <a:pt x="203" y="151"/>
                    <a:pt x="203" y="151"/>
                    <a:pt x="203" y="151"/>
                  </a:cubicBezTo>
                  <a:cubicBezTo>
                    <a:pt x="203" y="152"/>
                    <a:pt x="203" y="152"/>
                    <a:pt x="202" y="152"/>
                  </a:cubicBezTo>
                  <a:cubicBezTo>
                    <a:pt x="202" y="152"/>
                    <a:pt x="202" y="152"/>
                    <a:pt x="202" y="152"/>
                  </a:cubicBezTo>
                  <a:cubicBezTo>
                    <a:pt x="202" y="152"/>
                    <a:pt x="202" y="153"/>
                    <a:pt x="202" y="153"/>
                  </a:cubicBezTo>
                  <a:cubicBezTo>
                    <a:pt x="202" y="153"/>
                    <a:pt x="201" y="154"/>
                    <a:pt x="201" y="155"/>
                  </a:cubicBezTo>
                  <a:cubicBezTo>
                    <a:pt x="201" y="155"/>
                    <a:pt x="201" y="155"/>
                    <a:pt x="201" y="155"/>
                  </a:cubicBezTo>
                  <a:cubicBezTo>
                    <a:pt x="200" y="155"/>
                    <a:pt x="200" y="156"/>
                    <a:pt x="200" y="156"/>
                  </a:cubicBezTo>
                  <a:cubicBezTo>
                    <a:pt x="200" y="156"/>
                    <a:pt x="200" y="156"/>
                    <a:pt x="200" y="157"/>
                  </a:cubicBezTo>
                  <a:cubicBezTo>
                    <a:pt x="200" y="157"/>
                    <a:pt x="200" y="157"/>
                    <a:pt x="200" y="157"/>
                  </a:cubicBezTo>
                  <a:cubicBezTo>
                    <a:pt x="200" y="157"/>
                    <a:pt x="199" y="157"/>
                    <a:pt x="199" y="158"/>
                  </a:cubicBezTo>
                  <a:cubicBezTo>
                    <a:pt x="199" y="158"/>
                    <a:pt x="199" y="158"/>
                    <a:pt x="199" y="158"/>
                  </a:cubicBezTo>
                  <a:cubicBezTo>
                    <a:pt x="198" y="159"/>
                    <a:pt x="198" y="159"/>
                    <a:pt x="198" y="160"/>
                  </a:cubicBezTo>
                  <a:cubicBezTo>
                    <a:pt x="198" y="160"/>
                    <a:pt x="198" y="160"/>
                    <a:pt x="198" y="161"/>
                  </a:cubicBezTo>
                  <a:cubicBezTo>
                    <a:pt x="198" y="161"/>
                    <a:pt x="197" y="161"/>
                    <a:pt x="197" y="162"/>
                  </a:cubicBezTo>
                  <a:cubicBezTo>
                    <a:pt x="197" y="163"/>
                    <a:pt x="197" y="163"/>
                    <a:pt x="197" y="164"/>
                  </a:cubicBezTo>
                  <a:cubicBezTo>
                    <a:pt x="196" y="164"/>
                    <a:pt x="196" y="164"/>
                    <a:pt x="196" y="164"/>
                  </a:cubicBezTo>
                  <a:cubicBezTo>
                    <a:pt x="195" y="165"/>
                    <a:pt x="195" y="166"/>
                    <a:pt x="195" y="167"/>
                  </a:cubicBezTo>
                  <a:cubicBezTo>
                    <a:pt x="195" y="167"/>
                    <a:pt x="195" y="167"/>
                    <a:pt x="195" y="167"/>
                  </a:cubicBezTo>
                  <a:cubicBezTo>
                    <a:pt x="195" y="167"/>
                    <a:pt x="194" y="167"/>
                    <a:pt x="194" y="168"/>
                  </a:cubicBezTo>
                  <a:cubicBezTo>
                    <a:pt x="194" y="168"/>
                    <a:pt x="194" y="168"/>
                    <a:pt x="193" y="169"/>
                  </a:cubicBezTo>
                  <a:cubicBezTo>
                    <a:pt x="193" y="169"/>
                    <a:pt x="193" y="169"/>
                    <a:pt x="193" y="170"/>
                  </a:cubicBezTo>
                  <a:cubicBezTo>
                    <a:pt x="192" y="170"/>
                    <a:pt x="192" y="171"/>
                    <a:pt x="192" y="171"/>
                  </a:cubicBezTo>
                  <a:cubicBezTo>
                    <a:pt x="191" y="172"/>
                    <a:pt x="191" y="172"/>
                    <a:pt x="190" y="172"/>
                  </a:cubicBezTo>
                  <a:cubicBezTo>
                    <a:pt x="190" y="173"/>
                    <a:pt x="189" y="173"/>
                    <a:pt x="189" y="173"/>
                  </a:cubicBezTo>
                  <a:cubicBezTo>
                    <a:pt x="188" y="174"/>
                    <a:pt x="188" y="174"/>
                    <a:pt x="188" y="174"/>
                  </a:cubicBezTo>
                  <a:cubicBezTo>
                    <a:pt x="188" y="174"/>
                    <a:pt x="188" y="174"/>
                    <a:pt x="188" y="174"/>
                  </a:cubicBezTo>
                  <a:cubicBezTo>
                    <a:pt x="187" y="175"/>
                    <a:pt x="187" y="175"/>
                    <a:pt x="187" y="175"/>
                  </a:cubicBezTo>
                  <a:cubicBezTo>
                    <a:pt x="187" y="175"/>
                    <a:pt x="187" y="175"/>
                    <a:pt x="187" y="175"/>
                  </a:cubicBezTo>
                  <a:cubicBezTo>
                    <a:pt x="186" y="175"/>
                    <a:pt x="186" y="176"/>
                    <a:pt x="186" y="176"/>
                  </a:cubicBezTo>
                  <a:cubicBezTo>
                    <a:pt x="186" y="176"/>
                    <a:pt x="185" y="177"/>
                    <a:pt x="185" y="177"/>
                  </a:cubicBezTo>
                  <a:cubicBezTo>
                    <a:pt x="185" y="178"/>
                    <a:pt x="185" y="178"/>
                    <a:pt x="184" y="178"/>
                  </a:cubicBezTo>
                  <a:cubicBezTo>
                    <a:pt x="184" y="179"/>
                    <a:pt x="184" y="179"/>
                    <a:pt x="184" y="180"/>
                  </a:cubicBezTo>
                  <a:cubicBezTo>
                    <a:pt x="183" y="180"/>
                    <a:pt x="183" y="180"/>
                    <a:pt x="183" y="180"/>
                  </a:cubicBezTo>
                  <a:cubicBezTo>
                    <a:pt x="183" y="180"/>
                    <a:pt x="183" y="180"/>
                    <a:pt x="183" y="180"/>
                  </a:cubicBezTo>
                  <a:cubicBezTo>
                    <a:pt x="182" y="180"/>
                    <a:pt x="182" y="181"/>
                    <a:pt x="182" y="181"/>
                  </a:cubicBezTo>
                  <a:cubicBezTo>
                    <a:pt x="182" y="181"/>
                    <a:pt x="181" y="181"/>
                    <a:pt x="181" y="182"/>
                  </a:cubicBezTo>
                  <a:cubicBezTo>
                    <a:pt x="181" y="182"/>
                    <a:pt x="181" y="182"/>
                    <a:pt x="180" y="182"/>
                  </a:cubicBezTo>
                  <a:cubicBezTo>
                    <a:pt x="180" y="182"/>
                    <a:pt x="179" y="183"/>
                    <a:pt x="179" y="183"/>
                  </a:cubicBezTo>
                  <a:cubicBezTo>
                    <a:pt x="178" y="183"/>
                    <a:pt x="178" y="184"/>
                    <a:pt x="178" y="184"/>
                  </a:cubicBezTo>
                  <a:cubicBezTo>
                    <a:pt x="178" y="184"/>
                    <a:pt x="178" y="184"/>
                    <a:pt x="178" y="184"/>
                  </a:cubicBezTo>
                  <a:cubicBezTo>
                    <a:pt x="177" y="185"/>
                    <a:pt x="176" y="185"/>
                    <a:pt x="176" y="186"/>
                  </a:cubicBezTo>
                  <a:cubicBezTo>
                    <a:pt x="176" y="186"/>
                    <a:pt x="176" y="186"/>
                    <a:pt x="176" y="186"/>
                  </a:cubicBezTo>
                  <a:cubicBezTo>
                    <a:pt x="175" y="186"/>
                    <a:pt x="175" y="186"/>
                    <a:pt x="175" y="187"/>
                  </a:cubicBezTo>
                  <a:close/>
                  <a:moveTo>
                    <a:pt x="172" y="139"/>
                  </a:moveTo>
                  <a:cubicBezTo>
                    <a:pt x="172" y="139"/>
                    <a:pt x="172" y="139"/>
                    <a:pt x="172" y="139"/>
                  </a:cubicBezTo>
                  <a:cubicBezTo>
                    <a:pt x="173" y="139"/>
                    <a:pt x="174" y="140"/>
                    <a:pt x="174" y="140"/>
                  </a:cubicBezTo>
                  <a:cubicBezTo>
                    <a:pt x="174" y="140"/>
                    <a:pt x="173" y="140"/>
                    <a:pt x="172" y="139"/>
                  </a:cubicBezTo>
                  <a:close/>
                  <a:moveTo>
                    <a:pt x="158" y="108"/>
                  </a:moveTo>
                  <a:cubicBezTo>
                    <a:pt x="158" y="108"/>
                    <a:pt x="158" y="108"/>
                    <a:pt x="158" y="108"/>
                  </a:cubicBezTo>
                  <a:cubicBezTo>
                    <a:pt x="159" y="108"/>
                    <a:pt x="159" y="108"/>
                    <a:pt x="159" y="108"/>
                  </a:cubicBezTo>
                  <a:cubicBezTo>
                    <a:pt x="159" y="108"/>
                    <a:pt x="159" y="108"/>
                    <a:pt x="158" y="108"/>
                  </a:cubicBezTo>
                  <a:close/>
                  <a:moveTo>
                    <a:pt x="161" y="93"/>
                  </a:moveTo>
                  <a:cubicBezTo>
                    <a:pt x="161" y="93"/>
                    <a:pt x="161" y="93"/>
                    <a:pt x="161" y="93"/>
                  </a:cubicBezTo>
                  <a:cubicBezTo>
                    <a:pt x="161" y="93"/>
                    <a:pt x="161" y="93"/>
                    <a:pt x="161" y="93"/>
                  </a:cubicBezTo>
                  <a:cubicBezTo>
                    <a:pt x="161" y="93"/>
                    <a:pt x="161" y="93"/>
                    <a:pt x="161" y="93"/>
                  </a:cubicBezTo>
                  <a:close/>
                  <a:moveTo>
                    <a:pt x="161" y="90"/>
                  </a:moveTo>
                  <a:cubicBezTo>
                    <a:pt x="161" y="90"/>
                    <a:pt x="161" y="90"/>
                    <a:pt x="161" y="90"/>
                  </a:cubicBezTo>
                  <a:cubicBezTo>
                    <a:pt x="161" y="90"/>
                    <a:pt x="161" y="90"/>
                    <a:pt x="161" y="90"/>
                  </a:cubicBezTo>
                  <a:close/>
                  <a:moveTo>
                    <a:pt x="161" y="90"/>
                  </a:moveTo>
                  <a:cubicBezTo>
                    <a:pt x="161" y="90"/>
                    <a:pt x="161" y="90"/>
                    <a:pt x="161" y="90"/>
                  </a:cubicBezTo>
                  <a:cubicBezTo>
                    <a:pt x="162" y="90"/>
                    <a:pt x="162" y="90"/>
                    <a:pt x="162" y="90"/>
                  </a:cubicBezTo>
                  <a:cubicBezTo>
                    <a:pt x="162" y="90"/>
                    <a:pt x="162" y="90"/>
                    <a:pt x="161" y="90"/>
                  </a:cubicBezTo>
                  <a:close/>
                  <a:moveTo>
                    <a:pt x="163" y="101"/>
                  </a:moveTo>
                  <a:cubicBezTo>
                    <a:pt x="163" y="101"/>
                    <a:pt x="163" y="101"/>
                    <a:pt x="163" y="101"/>
                  </a:cubicBezTo>
                  <a:cubicBezTo>
                    <a:pt x="163" y="101"/>
                    <a:pt x="162" y="101"/>
                    <a:pt x="162" y="101"/>
                  </a:cubicBezTo>
                  <a:cubicBezTo>
                    <a:pt x="162" y="101"/>
                    <a:pt x="163" y="101"/>
                    <a:pt x="163" y="101"/>
                  </a:cubicBezTo>
                  <a:close/>
                  <a:moveTo>
                    <a:pt x="153" y="49"/>
                  </a:moveTo>
                  <a:cubicBezTo>
                    <a:pt x="153" y="49"/>
                    <a:pt x="153" y="49"/>
                    <a:pt x="153" y="49"/>
                  </a:cubicBezTo>
                  <a:cubicBezTo>
                    <a:pt x="154" y="49"/>
                    <a:pt x="154" y="49"/>
                    <a:pt x="154" y="49"/>
                  </a:cubicBezTo>
                  <a:cubicBezTo>
                    <a:pt x="154" y="49"/>
                    <a:pt x="154" y="49"/>
                    <a:pt x="154" y="49"/>
                  </a:cubicBezTo>
                  <a:cubicBezTo>
                    <a:pt x="154" y="49"/>
                    <a:pt x="154" y="49"/>
                    <a:pt x="154" y="49"/>
                  </a:cubicBezTo>
                  <a:lnTo>
                    <a:pt x="153" y="49"/>
                  </a:lnTo>
                  <a:close/>
                  <a:moveTo>
                    <a:pt x="209" y="125"/>
                  </a:moveTo>
                  <a:cubicBezTo>
                    <a:pt x="209" y="125"/>
                    <a:pt x="209" y="125"/>
                    <a:pt x="209" y="125"/>
                  </a:cubicBezTo>
                  <a:cubicBezTo>
                    <a:pt x="209" y="125"/>
                    <a:pt x="209" y="125"/>
                    <a:pt x="209" y="125"/>
                  </a:cubicBezTo>
                  <a:cubicBezTo>
                    <a:pt x="209" y="125"/>
                    <a:pt x="209" y="125"/>
                    <a:pt x="209" y="125"/>
                  </a:cubicBezTo>
                  <a:cubicBezTo>
                    <a:pt x="209" y="125"/>
                    <a:pt x="209" y="125"/>
                    <a:pt x="209" y="125"/>
                  </a:cubicBezTo>
                  <a:cubicBezTo>
                    <a:pt x="209" y="125"/>
                    <a:pt x="209" y="125"/>
                    <a:pt x="209" y="125"/>
                  </a:cubicBezTo>
                  <a:cubicBezTo>
                    <a:pt x="209" y="125"/>
                    <a:pt x="209" y="125"/>
                    <a:pt x="209" y="125"/>
                  </a:cubicBezTo>
                  <a:cubicBezTo>
                    <a:pt x="210" y="125"/>
                    <a:pt x="210" y="125"/>
                    <a:pt x="210" y="125"/>
                  </a:cubicBezTo>
                  <a:cubicBezTo>
                    <a:pt x="210" y="125"/>
                    <a:pt x="210" y="125"/>
                    <a:pt x="210" y="125"/>
                  </a:cubicBezTo>
                  <a:lnTo>
                    <a:pt x="209" y="125"/>
                  </a:lnTo>
                  <a:close/>
                  <a:moveTo>
                    <a:pt x="210" y="131"/>
                  </a:moveTo>
                  <a:cubicBezTo>
                    <a:pt x="210" y="131"/>
                    <a:pt x="210" y="131"/>
                    <a:pt x="210" y="131"/>
                  </a:cubicBezTo>
                  <a:cubicBezTo>
                    <a:pt x="210" y="131"/>
                    <a:pt x="210" y="130"/>
                    <a:pt x="210" y="130"/>
                  </a:cubicBezTo>
                  <a:cubicBezTo>
                    <a:pt x="210" y="130"/>
                    <a:pt x="210" y="130"/>
                    <a:pt x="210" y="130"/>
                  </a:cubicBezTo>
                  <a:cubicBezTo>
                    <a:pt x="210" y="130"/>
                    <a:pt x="210" y="131"/>
                    <a:pt x="210" y="131"/>
                  </a:cubicBezTo>
                  <a:close/>
                  <a:moveTo>
                    <a:pt x="209" y="129"/>
                  </a:moveTo>
                  <a:cubicBezTo>
                    <a:pt x="209" y="129"/>
                    <a:pt x="209" y="129"/>
                    <a:pt x="209" y="129"/>
                  </a:cubicBezTo>
                  <a:cubicBezTo>
                    <a:pt x="209" y="129"/>
                    <a:pt x="209" y="129"/>
                    <a:pt x="209" y="129"/>
                  </a:cubicBezTo>
                  <a:cubicBezTo>
                    <a:pt x="209" y="129"/>
                    <a:pt x="209" y="129"/>
                    <a:pt x="209" y="129"/>
                  </a:cubicBezTo>
                  <a:close/>
                  <a:moveTo>
                    <a:pt x="200" y="103"/>
                  </a:moveTo>
                  <a:cubicBezTo>
                    <a:pt x="200" y="104"/>
                    <a:pt x="200" y="104"/>
                    <a:pt x="200" y="104"/>
                  </a:cubicBezTo>
                  <a:cubicBezTo>
                    <a:pt x="200" y="104"/>
                    <a:pt x="200" y="104"/>
                    <a:pt x="200" y="104"/>
                  </a:cubicBezTo>
                  <a:cubicBezTo>
                    <a:pt x="200" y="104"/>
                    <a:pt x="200" y="104"/>
                    <a:pt x="200" y="103"/>
                  </a:cubicBezTo>
                  <a:close/>
                  <a:moveTo>
                    <a:pt x="194" y="94"/>
                  </a:moveTo>
                  <a:cubicBezTo>
                    <a:pt x="194" y="94"/>
                    <a:pt x="194" y="94"/>
                    <a:pt x="194" y="94"/>
                  </a:cubicBezTo>
                  <a:cubicBezTo>
                    <a:pt x="193" y="94"/>
                    <a:pt x="193" y="94"/>
                    <a:pt x="192" y="94"/>
                  </a:cubicBezTo>
                  <a:cubicBezTo>
                    <a:pt x="192" y="94"/>
                    <a:pt x="192" y="94"/>
                    <a:pt x="192" y="94"/>
                  </a:cubicBezTo>
                  <a:cubicBezTo>
                    <a:pt x="193" y="94"/>
                    <a:pt x="193" y="94"/>
                    <a:pt x="193" y="93"/>
                  </a:cubicBezTo>
                  <a:cubicBezTo>
                    <a:pt x="194" y="93"/>
                    <a:pt x="195" y="93"/>
                    <a:pt x="195" y="92"/>
                  </a:cubicBezTo>
                  <a:cubicBezTo>
                    <a:pt x="196" y="92"/>
                    <a:pt x="196" y="93"/>
                    <a:pt x="197" y="93"/>
                  </a:cubicBezTo>
                  <a:cubicBezTo>
                    <a:pt x="197" y="93"/>
                    <a:pt x="197" y="93"/>
                    <a:pt x="197" y="93"/>
                  </a:cubicBezTo>
                  <a:cubicBezTo>
                    <a:pt x="197" y="93"/>
                    <a:pt x="197" y="94"/>
                    <a:pt x="197" y="94"/>
                  </a:cubicBezTo>
                  <a:cubicBezTo>
                    <a:pt x="197" y="94"/>
                    <a:pt x="197" y="94"/>
                    <a:pt x="197" y="94"/>
                  </a:cubicBezTo>
                  <a:cubicBezTo>
                    <a:pt x="196" y="94"/>
                    <a:pt x="196" y="94"/>
                    <a:pt x="196" y="95"/>
                  </a:cubicBezTo>
                  <a:cubicBezTo>
                    <a:pt x="195" y="94"/>
                    <a:pt x="195" y="94"/>
                    <a:pt x="194" y="94"/>
                  </a:cubicBezTo>
                  <a:close/>
                  <a:moveTo>
                    <a:pt x="173" y="72"/>
                  </a:moveTo>
                  <a:cubicBezTo>
                    <a:pt x="172" y="71"/>
                    <a:pt x="172" y="70"/>
                    <a:pt x="171" y="70"/>
                  </a:cubicBezTo>
                  <a:cubicBezTo>
                    <a:pt x="172" y="69"/>
                    <a:pt x="172" y="69"/>
                    <a:pt x="172" y="69"/>
                  </a:cubicBezTo>
                  <a:cubicBezTo>
                    <a:pt x="172" y="68"/>
                    <a:pt x="173" y="68"/>
                    <a:pt x="173" y="68"/>
                  </a:cubicBezTo>
                  <a:cubicBezTo>
                    <a:pt x="173" y="68"/>
                    <a:pt x="173" y="67"/>
                    <a:pt x="174" y="66"/>
                  </a:cubicBezTo>
                  <a:cubicBezTo>
                    <a:pt x="174" y="66"/>
                    <a:pt x="174" y="66"/>
                    <a:pt x="174" y="66"/>
                  </a:cubicBezTo>
                  <a:cubicBezTo>
                    <a:pt x="174" y="66"/>
                    <a:pt x="174" y="66"/>
                    <a:pt x="174" y="66"/>
                  </a:cubicBezTo>
                  <a:cubicBezTo>
                    <a:pt x="175" y="65"/>
                    <a:pt x="175" y="65"/>
                    <a:pt x="175" y="64"/>
                  </a:cubicBezTo>
                  <a:cubicBezTo>
                    <a:pt x="176" y="63"/>
                    <a:pt x="176" y="63"/>
                    <a:pt x="176" y="63"/>
                  </a:cubicBezTo>
                  <a:cubicBezTo>
                    <a:pt x="177" y="63"/>
                    <a:pt x="177" y="62"/>
                    <a:pt x="178" y="62"/>
                  </a:cubicBezTo>
                  <a:cubicBezTo>
                    <a:pt x="178" y="62"/>
                    <a:pt x="178" y="62"/>
                    <a:pt x="178" y="62"/>
                  </a:cubicBezTo>
                  <a:cubicBezTo>
                    <a:pt x="178" y="62"/>
                    <a:pt x="179" y="62"/>
                    <a:pt x="180" y="62"/>
                  </a:cubicBezTo>
                  <a:cubicBezTo>
                    <a:pt x="181" y="62"/>
                    <a:pt x="182" y="62"/>
                    <a:pt x="183" y="62"/>
                  </a:cubicBezTo>
                  <a:cubicBezTo>
                    <a:pt x="183" y="62"/>
                    <a:pt x="183" y="62"/>
                    <a:pt x="183" y="62"/>
                  </a:cubicBezTo>
                  <a:cubicBezTo>
                    <a:pt x="183" y="62"/>
                    <a:pt x="184" y="62"/>
                    <a:pt x="184" y="62"/>
                  </a:cubicBezTo>
                  <a:cubicBezTo>
                    <a:pt x="184" y="62"/>
                    <a:pt x="184" y="62"/>
                    <a:pt x="184" y="62"/>
                  </a:cubicBezTo>
                  <a:cubicBezTo>
                    <a:pt x="184" y="61"/>
                    <a:pt x="185" y="61"/>
                    <a:pt x="185" y="61"/>
                  </a:cubicBezTo>
                  <a:cubicBezTo>
                    <a:pt x="185" y="61"/>
                    <a:pt x="186" y="61"/>
                    <a:pt x="187" y="61"/>
                  </a:cubicBezTo>
                  <a:cubicBezTo>
                    <a:pt x="187" y="61"/>
                    <a:pt x="188" y="61"/>
                    <a:pt x="188" y="60"/>
                  </a:cubicBezTo>
                  <a:cubicBezTo>
                    <a:pt x="189" y="60"/>
                    <a:pt x="189" y="60"/>
                    <a:pt x="189" y="59"/>
                  </a:cubicBezTo>
                  <a:cubicBezTo>
                    <a:pt x="189" y="59"/>
                    <a:pt x="189" y="59"/>
                    <a:pt x="189" y="59"/>
                  </a:cubicBezTo>
                  <a:cubicBezTo>
                    <a:pt x="190" y="58"/>
                    <a:pt x="191" y="57"/>
                    <a:pt x="191" y="56"/>
                  </a:cubicBezTo>
                  <a:cubicBezTo>
                    <a:pt x="191" y="56"/>
                    <a:pt x="190" y="55"/>
                    <a:pt x="190" y="55"/>
                  </a:cubicBezTo>
                  <a:cubicBezTo>
                    <a:pt x="190" y="54"/>
                    <a:pt x="190" y="54"/>
                    <a:pt x="190" y="54"/>
                  </a:cubicBezTo>
                  <a:cubicBezTo>
                    <a:pt x="190" y="54"/>
                    <a:pt x="191" y="54"/>
                    <a:pt x="191" y="53"/>
                  </a:cubicBezTo>
                  <a:cubicBezTo>
                    <a:pt x="191" y="53"/>
                    <a:pt x="191" y="52"/>
                    <a:pt x="190" y="51"/>
                  </a:cubicBezTo>
                  <a:cubicBezTo>
                    <a:pt x="190" y="51"/>
                    <a:pt x="190" y="51"/>
                    <a:pt x="190" y="50"/>
                  </a:cubicBezTo>
                  <a:cubicBezTo>
                    <a:pt x="190" y="50"/>
                    <a:pt x="190" y="50"/>
                    <a:pt x="190" y="50"/>
                  </a:cubicBezTo>
                  <a:cubicBezTo>
                    <a:pt x="190" y="50"/>
                    <a:pt x="190" y="50"/>
                    <a:pt x="190" y="50"/>
                  </a:cubicBezTo>
                  <a:cubicBezTo>
                    <a:pt x="191" y="50"/>
                    <a:pt x="191" y="49"/>
                    <a:pt x="191" y="49"/>
                  </a:cubicBezTo>
                  <a:cubicBezTo>
                    <a:pt x="197" y="56"/>
                    <a:pt x="201" y="63"/>
                    <a:pt x="205" y="71"/>
                  </a:cubicBezTo>
                  <a:cubicBezTo>
                    <a:pt x="205" y="72"/>
                    <a:pt x="205" y="72"/>
                    <a:pt x="205" y="72"/>
                  </a:cubicBezTo>
                  <a:cubicBezTo>
                    <a:pt x="205" y="73"/>
                    <a:pt x="205" y="74"/>
                    <a:pt x="206" y="75"/>
                  </a:cubicBezTo>
                  <a:cubicBezTo>
                    <a:pt x="206" y="75"/>
                    <a:pt x="206" y="75"/>
                    <a:pt x="206" y="75"/>
                  </a:cubicBezTo>
                  <a:cubicBezTo>
                    <a:pt x="206" y="75"/>
                    <a:pt x="206" y="75"/>
                    <a:pt x="206" y="75"/>
                  </a:cubicBezTo>
                  <a:cubicBezTo>
                    <a:pt x="206" y="76"/>
                    <a:pt x="206" y="77"/>
                    <a:pt x="207" y="77"/>
                  </a:cubicBezTo>
                  <a:cubicBezTo>
                    <a:pt x="207" y="77"/>
                    <a:pt x="207" y="77"/>
                    <a:pt x="207" y="77"/>
                  </a:cubicBezTo>
                  <a:cubicBezTo>
                    <a:pt x="207" y="78"/>
                    <a:pt x="207" y="78"/>
                    <a:pt x="207" y="78"/>
                  </a:cubicBezTo>
                  <a:cubicBezTo>
                    <a:pt x="207" y="79"/>
                    <a:pt x="207" y="80"/>
                    <a:pt x="207" y="80"/>
                  </a:cubicBezTo>
                  <a:cubicBezTo>
                    <a:pt x="208" y="81"/>
                    <a:pt x="208" y="81"/>
                    <a:pt x="208" y="82"/>
                  </a:cubicBezTo>
                  <a:cubicBezTo>
                    <a:pt x="208" y="82"/>
                    <a:pt x="208" y="82"/>
                    <a:pt x="208" y="82"/>
                  </a:cubicBezTo>
                  <a:cubicBezTo>
                    <a:pt x="208" y="82"/>
                    <a:pt x="208" y="83"/>
                    <a:pt x="208" y="83"/>
                  </a:cubicBezTo>
                  <a:cubicBezTo>
                    <a:pt x="209" y="83"/>
                    <a:pt x="209" y="84"/>
                    <a:pt x="209" y="84"/>
                  </a:cubicBezTo>
                  <a:cubicBezTo>
                    <a:pt x="209" y="85"/>
                    <a:pt x="209" y="85"/>
                    <a:pt x="210" y="85"/>
                  </a:cubicBezTo>
                  <a:cubicBezTo>
                    <a:pt x="210" y="85"/>
                    <a:pt x="210" y="85"/>
                    <a:pt x="210" y="85"/>
                  </a:cubicBezTo>
                  <a:cubicBezTo>
                    <a:pt x="210" y="85"/>
                    <a:pt x="210" y="86"/>
                    <a:pt x="210" y="86"/>
                  </a:cubicBezTo>
                  <a:cubicBezTo>
                    <a:pt x="209" y="86"/>
                    <a:pt x="209" y="86"/>
                    <a:pt x="209" y="86"/>
                  </a:cubicBezTo>
                  <a:cubicBezTo>
                    <a:pt x="208" y="86"/>
                    <a:pt x="208" y="86"/>
                    <a:pt x="208" y="86"/>
                  </a:cubicBezTo>
                  <a:cubicBezTo>
                    <a:pt x="207" y="86"/>
                    <a:pt x="207" y="86"/>
                    <a:pt x="206" y="86"/>
                  </a:cubicBezTo>
                  <a:cubicBezTo>
                    <a:pt x="206" y="86"/>
                    <a:pt x="206" y="86"/>
                    <a:pt x="206" y="86"/>
                  </a:cubicBezTo>
                  <a:cubicBezTo>
                    <a:pt x="206" y="86"/>
                    <a:pt x="206" y="86"/>
                    <a:pt x="206" y="85"/>
                  </a:cubicBezTo>
                  <a:cubicBezTo>
                    <a:pt x="206" y="85"/>
                    <a:pt x="206" y="85"/>
                    <a:pt x="206" y="84"/>
                  </a:cubicBezTo>
                  <a:cubicBezTo>
                    <a:pt x="207" y="84"/>
                    <a:pt x="207" y="84"/>
                    <a:pt x="207" y="84"/>
                  </a:cubicBezTo>
                  <a:cubicBezTo>
                    <a:pt x="207" y="84"/>
                    <a:pt x="207" y="84"/>
                    <a:pt x="207" y="83"/>
                  </a:cubicBezTo>
                  <a:cubicBezTo>
                    <a:pt x="207" y="82"/>
                    <a:pt x="207" y="81"/>
                    <a:pt x="205" y="80"/>
                  </a:cubicBezTo>
                  <a:cubicBezTo>
                    <a:pt x="204" y="78"/>
                    <a:pt x="203" y="78"/>
                    <a:pt x="202" y="78"/>
                  </a:cubicBezTo>
                  <a:cubicBezTo>
                    <a:pt x="202" y="78"/>
                    <a:pt x="201" y="79"/>
                    <a:pt x="201" y="79"/>
                  </a:cubicBezTo>
                  <a:cubicBezTo>
                    <a:pt x="201" y="79"/>
                    <a:pt x="200" y="79"/>
                    <a:pt x="200" y="79"/>
                  </a:cubicBezTo>
                  <a:cubicBezTo>
                    <a:pt x="200" y="79"/>
                    <a:pt x="199" y="79"/>
                    <a:pt x="198" y="79"/>
                  </a:cubicBezTo>
                  <a:cubicBezTo>
                    <a:pt x="198" y="79"/>
                    <a:pt x="198" y="79"/>
                    <a:pt x="198" y="79"/>
                  </a:cubicBezTo>
                  <a:cubicBezTo>
                    <a:pt x="198" y="79"/>
                    <a:pt x="198" y="79"/>
                    <a:pt x="197" y="79"/>
                  </a:cubicBezTo>
                  <a:cubicBezTo>
                    <a:pt x="197" y="79"/>
                    <a:pt x="197" y="79"/>
                    <a:pt x="197" y="78"/>
                  </a:cubicBezTo>
                  <a:cubicBezTo>
                    <a:pt x="196" y="78"/>
                    <a:pt x="196" y="77"/>
                    <a:pt x="195" y="77"/>
                  </a:cubicBezTo>
                  <a:cubicBezTo>
                    <a:pt x="195" y="77"/>
                    <a:pt x="195" y="76"/>
                    <a:pt x="195" y="76"/>
                  </a:cubicBezTo>
                  <a:cubicBezTo>
                    <a:pt x="194" y="76"/>
                    <a:pt x="194" y="75"/>
                    <a:pt x="193" y="75"/>
                  </a:cubicBezTo>
                  <a:cubicBezTo>
                    <a:pt x="193" y="75"/>
                    <a:pt x="193" y="75"/>
                    <a:pt x="192" y="74"/>
                  </a:cubicBezTo>
                  <a:cubicBezTo>
                    <a:pt x="192" y="74"/>
                    <a:pt x="192" y="74"/>
                    <a:pt x="192" y="74"/>
                  </a:cubicBezTo>
                  <a:cubicBezTo>
                    <a:pt x="192" y="74"/>
                    <a:pt x="192" y="74"/>
                    <a:pt x="192" y="74"/>
                  </a:cubicBezTo>
                  <a:cubicBezTo>
                    <a:pt x="192" y="74"/>
                    <a:pt x="191" y="73"/>
                    <a:pt x="191" y="73"/>
                  </a:cubicBezTo>
                  <a:cubicBezTo>
                    <a:pt x="191" y="73"/>
                    <a:pt x="191" y="73"/>
                    <a:pt x="191" y="72"/>
                  </a:cubicBezTo>
                  <a:cubicBezTo>
                    <a:pt x="190" y="72"/>
                    <a:pt x="189" y="71"/>
                    <a:pt x="188" y="71"/>
                  </a:cubicBezTo>
                  <a:cubicBezTo>
                    <a:pt x="188" y="70"/>
                    <a:pt x="187" y="70"/>
                    <a:pt x="187" y="70"/>
                  </a:cubicBezTo>
                  <a:cubicBezTo>
                    <a:pt x="186" y="70"/>
                    <a:pt x="185" y="70"/>
                    <a:pt x="184" y="71"/>
                  </a:cubicBezTo>
                  <a:cubicBezTo>
                    <a:pt x="185" y="70"/>
                    <a:pt x="185" y="70"/>
                    <a:pt x="185" y="70"/>
                  </a:cubicBezTo>
                  <a:cubicBezTo>
                    <a:pt x="185" y="70"/>
                    <a:pt x="185" y="70"/>
                    <a:pt x="184" y="71"/>
                  </a:cubicBezTo>
                  <a:cubicBezTo>
                    <a:pt x="183" y="71"/>
                    <a:pt x="183" y="71"/>
                    <a:pt x="182" y="72"/>
                  </a:cubicBezTo>
                  <a:cubicBezTo>
                    <a:pt x="181" y="72"/>
                    <a:pt x="181" y="72"/>
                    <a:pt x="180" y="72"/>
                  </a:cubicBezTo>
                  <a:cubicBezTo>
                    <a:pt x="180" y="72"/>
                    <a:pt x="179" y="73"/>
                    <a:pt x="178" y="74"/>
                  </a:cubicBezTo>
                  <a:cubicBezTo>
                    <a:pt x="177" y="74"/>
                    <a:pt x="177" y="74"/>
                    <a:pt x="176" y="74"/>
                  </a:cubicBezTo>
                  <a:cubicBezTo>
                    <a:pt x="175" y="74"/>
                    <a:pt x="175" y="74"/>
                    <a:pt x="175" y="74"/>
                  </a:cubicBezTo>
                  <a:cubicBezTo>
                    <a:pt x="175" y="74"/>
                    <a:pt x="175" y="74"/>
                    <a:pt x="175" y="74"/>
                  </a:cubicBezTo>
                  <a:cubicBezTo>
                    <a:pt x="174" y="75"/>
                    <a:pt x="174" y="75"/>
                    <a:pt x="174" y="75"/>
                  </a:cubicBezTo>
                  <a:cubicBezTo>
                    <a:pt x="174" y="75"/>
                    <a:pt x="173" y="75"/>
                    <a:pt x="173" y="75"/>
                  </a:cubicBezTo>
                  <a:cubicBezTo>
                    <a:pt x="173" y="75"/>
                    <a:pt x="173" y="75"/>
                    <a:pt x="173" y="75"/>
                  </a:cubicBezTo>
                  <a:cubicBezTo>
                    <a:pt x="173" y="75"/>
                    <a:pt x="173" y="75"/>
                    <a:pt x="173" y="75"/>
                  </a:cubicBezTo>
                  <a:cubicBezTo>
                    <a:pt x="173" y="75"/>
                    <a:pt x="173" y="75"/>
                    <a:pt x="173" y="75"/>
                  </a:cubicBezTo>
                  <a:cubicBezTo>
                    <a:pt x="173" y="74"/>
                    <a:pt x="173" y="74"/>
                    <a:pt x="173" y="73"/>
                  </a:cubicBezTo>
                  <a:cubicBezTo>
                    <a:pt x="173" y="73"/>
                    <a:pt x="173" y="72"/>
                    <a:pt x="173" y="72"/>
                  </a:cubicBezTo>
                  <a:close/>
                  <a:moveTo>
                    <a:pt x="169" y="86"/>
                  </a:moveTo>
                  <a:cubicBezTo>
                    <a:pt x="169" y="86"/>
                    <a:pt x="168" y="86"/>
                    <a:pt x="168" y="86"/>
                  </a:cubicBezTo>
                  <a:cubicBezTo>
                    <a:pt x="168" y="86"/>
                    <a:pt x="167" y="86"/>
                    <a:pt x="167" y="86"/>
                  </a:cubicBezTo>
                  <a:cubicBezTo>
                    <a:pt x="167" y="86"/>
                    <a:pt x="166" y="86"/>
                    <a:pt x="166" y="86"/>
                  </a:cubicBezTo>
                  <a:cubicBezTo>
                    <a:pt x="166" y="86"/>
                    <a:pt x="166" y="86"/>
                    <a:pt x="166" y="86"/>
                  </a:cubicBezTo>
                  <a:cubicBezTo>
                    <a:pt x="165" y="86"/>
                    <a:pt x="165" y="86"/>
                    <a:pt x="164" y="85"/>
                  </a:cubicBezTo>
                  <a:cubicBezTo>
                    <a:pt x="164" y="85"/>
                    <a:pt x="164" y="85"/>
                    <a:pt x="164" y="85"/>
                  </a:cubicBezTo>
                  <a:cubicBezTo>
                    <a:pt x="164" y="85"/>
                    <a:pt x="164" y="85"/>
                    <a:pt x="164" y="85"/>
                  </a:cubicBezTo>
                  <a:cubicBezTo>
                    <a:pt x="164" y="85"/>
                    <a:pt x="164" y="84"/>
                    <a:pt x="164" y="84"/>
                  </a:cubicBezTo>
                  <a:cubicBezTo>
                    <a:pt x="164" y="84"/>
                    <a:pt x="164" y="83"/>
                    <a:pt x="164" y="83"/>
                  </a:cubicBezTo>
                  <a:cubicBezTo>
                    <a:pt x="164" y="83"/>
                    <a:pt x="164" y="83"/>
                    <a:pt x="164" y="83"/>
                  </a:cubicBezTo>
                  <a:cubicBezTo>
                    <a:pt x="164" y="82"/>
                    <a:pt x="164" y="82"/>
                    <a:pt x="164" y="81"/>
                  </a:cubicBezTo>
                  <a:cubicBezTo>
                    <a:pt x="164" y="82"/>
                    <a:pt x="165" y="82"/>
                    <a:pt x="165" y="81"/>
                  </a:cubicBezTo>
                  <a:cubicBezTo>
                    <a:pt x="166" y="82"/>
                    <a:pt x="166" y="81"/>
                    <a:pt x="167" y="81"/>
                  </a:cubicBezTo>
                  <a:cubicBezTo>
                    <a:pt x="167" y="81"/>
                    <a:pt x="167" y="81"/>
                    <a:pt x="167" y="81"/>
                  </a:cubicBezTo>
                  <a:cubicBezTo>
                    <a:pt x="167" y="81"/>
                    <a:pt x="167" y="81"/>
                    <a:pt x="168" y="82"/>
                  </a:cubicBezTo>
                  <a:cubicBezTo>
                    <a:pt x="168" y="82"/>
                    <a:pt x="169" y="82"/>
                    <a:pt x="169" y="82"/>
                  </a:cubicBezTo>
                  <a:cubicBezTo>
                    <a:pt x="169" y="82"/>
                    <a:pt x="169" y="82"/>
                    <a:pt x="170" y="82"/>
                  </a:cubicBezTo>
                  <a:cubicBezTo>
                    <a:pt x="169" y="82"/>
                    <a:pt x="169" y="82"/>
                    <a:pt x="169" y="83"/>
                  </a:cubicBezTo>
                  <a:cubicBezTo>
                    <a:pt x="169" y="83"/>
                    <a:pt x="169" y="83"/>
                    <a:pt x="169" y="83"/>
                  </a:cubicBezTo>
                  <a:cubicBezTo>
                    <a:pt x="169" y="84"/>
                    <a:pt x="169" y="84"/>
                    <a:pt x="169" y="84"/>
                  </a:cubicBezTo>
                  <a:cubicBezTo>
                    <a:pt x="169" y="85"/>
                    <a:pt x="169" y="85"/>
                    <a:pt x="169" y="85"/>
                  </a:cubicBezTo>
                  <a:cubicBezTo>
                    <a:pt x="169" y="86"/>
                    <a:pt x="169" y="86"/>
                    <a:pt x="169" y="86"/>
                  </a:cubicBezTo>
                  <a:close/>
                  <a:moveTo>
                    <a:pt x="172" y="43"/>
                  </a:moveTo>
                  <a:cubicBezTo>
                    <a:pt x="172" y="43"/>
                    <a:pt x="172" y="43"/>
                    <a:pt x="172" y="43"/>
                  </a:cubicBezTo>
                  <a:cubicBezTo>
                    <a:pt x="172" y="44"/>
                    <a:pt x="172" y="44"/>
                    <a:pt x="172" y="45"/>
                  </a:cubicBezTo>
                  <a:cubicBezTo>
                    <a:pt x="172" y="45"/>
                    <a:pt x="172" y="45"/>
                    <a:pt x="172" y="45"/>
                  </a:cubicBezTo>
                  <a:cubicBezTo>
                    <a:pt x="172" y="45"/>
                    <a:pt x="172" y="45"/>
                    <a:pt x="172" y="45"/>
                  </a:cubicBezTo>
                  <a:cubicBezTo>
                    <a:pt x="172" y="45"/>
                    <a:pt x="172" y="45"/>
                    <a:pt x="172" y="45"/>
                  </a:cubicBezTo>
                  <a:cubicBezTo>
                    <a:pt x="172" y="45"/>
                    <a:pt x="172" y="45"/>
                    <a:pt x="172" y="45"/>
                  </a:cubicBezTo>
                  <a:cubicBezTo>
                    <a:pt x="172" y="45"/>
                    <a:pt x="172" y="45"/>
                    <a:pt x="172" y="45"/>
                  </a:cubicBezTo>
                  <a:cubicBezTo>
                    <a:pt x="171" y="45"/>
                    <a:pt x="171" y="44"/>
                    <a:pt x="171" y="44"/>
                  </a:cubicBezTo>
                  <a:cubicBezTo>
                    <a:pt x="171" y="44"/>
                    <a:pt x="171" y="43"/>
                    <a:pt x="170" y="43"/>
                  </a:cubicBezTo>
                  <a:cubicBezTo>
                    <a:pt x="171" y="43"/>
                    <a:pt x="171" y="42"/>
                    <a:pt x="171" y="42"/>
                  </a:cubicBezTo>
                  <a:cubicBezTo>
                    <a:pt x="171" y="42"/>
                    <a:pt x="171" y="41"/>
                    <a:pt x="171" y="40"/>
                  </a:cubicBezTo>
                  <a:cubicBezTo>
                    <a:pt x="171" y="40"/>
                    <a:pt x="171" y="40"/>
                    <a:pt x="171" y="39"/>
                  </a:cubicBezTo>
                  <a:cubicBezTo>
                    <a:pt x="171" y="40"/>
                    <a:pt x="172" y="40"/>
                    <a:pt x="172" y="40"/>
                  </a:cubicBezTo>
                  <a:cubicBezTo>
                    <a:pt x="172" y="40"/>
                    <a:pt x="172" y="40"/>
                    <a:pt x="172" y="41"/>
                  </a:cubicBezTo>
                  <a:cubicBezTo>
                    <a:pt x="172" y="41"/>
                    <a:pt x="172" y="42"/>
                    <a:pt x="172" y="43"/>
                  </a:cubicBezTo>
                  <a:close/>
                  <a:moveTo>
                    <a:pt x="173" y="45"/>
                  </a:moveTo>
                  <a:cubicBezTo>
                    <a:pt x="173" y="45"/>
                    <a:pt x="173" y="45"/>
                    <a:pt x="173" y="45"/>
                  </a:cubicBezTo>
                  <a:cubicBezTo>
                    <a:pt x="173" y="45"/>
                    <a:pt x="173" y="45"/>
                    <a:pt x="173" y="45"/>
                  </a:cubicBezTo>
                  <a:cubicBezTo>
                    <a:pt x="173" y="45"/>
                    <a:pt x="173" y="45"/>
                    <a:pt x="173" y="45"/>
                  </a:cubicBezTo>
                  <a:cubicBezTo>
                    <a:pt x="173" y="45"/>
                    <a:pt x="173" y="45"/>
                    <a:pt x="173" y="45"/>
                  </a:cubicBezTo>
                  <a:close/>
                  <a:moveTo>
                    <a:pt x="172" y="34"/>
                  </a:moveTo>
                  <a:cubicBezTo>
                    <a:pt x="172" y="34"/>
                    <a:pt x="173" y="34"/>
                    <a:pt x="173" y="34"/>
                  </a:cubicBezTo>
                  <a:cubicBezTo>
                    <a:pt x="173" y="34"/>
                    <a:pt x="173" y="34"/>
                    <a:pt x="173" y="34"/>
                  </a:cubicBezTo>
                  <a:cubicBezTo>
                    <a:pt x="173" y="34"/>
                    <a:pt x="173" y="34"/>
                    <a:pt x="173" y="34"/>
                  </a:cubicBezTo>
                  <a:cubicBezTo>
                    <a:pt x="173" y="34"/>
                    <a:pt x="173" y="34"/>
                    <a:pt x="172" y="34"/>
                  </a:cubicBezTo>
                  <a:close/>
                  <a:moveTo>
                    <a:pt x="174" y="38"/>
                  </a:moveTo>
                  <a:cubicBezTo>
                    <a:pt x="174" y="38"/>
                    <a:pt x="174" y="38"/>
                    <a:pt x="175" y="38"/>
                  </a:cubicBezTo>
                  <a:cubicBezTo>
                    <a:pt x="175" y="38"/>
                    <a:pt x="175" y="38"/>
                    <a:pt x="175" y="38"/>
                  </a:cubicBezTo>
                  <a:cubicBezTo>
                    <a:pt x="174" y="38"/>
                    <a:pt x="174" y="38"/>
                    <a:pt x="174" y="38"/>
                  </a:cubicBezTo>
                  <a:close/>
                  <a:moveTo>
                    <a:pt x="178" y="83"/>
                  </a:moveTo>
                  <a:cubicBezTo>
                    <a:pt x="178" y="83"/>
                    <a:pt x="178" y="83"/>
                    <a:pt x="178" y="84"/>
                  </a:cubicBezTo>
                  <a:cubicBezTo>
                    <a:pt x="178" y="84"/>
                    <a:pt x="178" y="83"/>
                    <a:pt x="178" y="83"/>
                  </a:cubicBezTo>
                  <a:cubicBezTo>
                    <a:pt x="178" y="83"/>
                    <a:pt x="178" y="83"/>
                    <a:pt x="178" y="83"/>
                  </a:cubicBezTo>
                  <a:close/>
                  <a:moveTo>
                    <a:pt x="178" y="84"/>
                  </a:moveTo>
                  <a:cubicBezTo>
                    <a:pt x="178" y="84"/>
                    <a:pt x="178" y="84"/>
                    <a:pt x="178" y="84"/>
                  </a:cubicBezTo>
                  <a:cubicBezTo>
                    <a:pt x="178" y="84"/>
                    <a:pt x="179" y="83"/>
                    <a:pt x="179" y="83"/>
                  </a:cubicBezTo>
                  <a:cubicBezTo>
                    <a:pt x="179" y="83"/>
                    <a:pt x="179" y="84"/>
                    <a:pt x="179" y="84"/>
                  </a:cubicBezTo>
                  <a:cubicBezTo>
                    <a:pt x="179" y="85"/>
                    <a:pt x="179" y="85"/>
                    <a:pt x="180" y="85"/>
                  </a:cubicBezTo>
                  <a:cubicBezTo>
                    <a:pt x="180" y="85"/>
                    <a:pt x="180" y="86"/>
                    <a:pt x="180" y="86"/>
                  </a:cubicBezTo>
                  <a:cubicBezTo>
                    <a:pt x="180" y="86"/>
                    <a:pt x="179" y="86"/>
                    <a:pt x="179" y="86"/>
                  </a:cubicBezTo>
                  <a:cubicBezTo>
                    <a:pt x="179" y="86"/>
                    <a:pt x="179" y="86"/>
                    <a:pt x="178" y="86"/>
                  </a:cubicBezTo>
                  <a:cubicBezTo>
                    <a:pt x="178" y="86"/>
                    <a:pt x="177" y="86"/>
                    <a:pt x="177" y="86"/>
                  </a:cubicBezTo>
                  <a:cubicBezTo>
                    <a:pt x="177" y="86"/>
                    <a:pt x="177" y="85"/>
                    <a:pt x="177" y="85"/>
                  </a:cubicBezTo>
                  <a:cubicBezTo>
                    <a:pt x="177" y="85"/>
                    <a:pt x="178" y="84"/>
                    <a:pt x="178" y="84"/>
                  </a:cubicBezTo>
                  <a:close/>
                  <a:moveTo>
                    <a:pt x="172" y="34"/>
                  </a:moveTo>
                  <a:cubicBezTo>
                    <a:pt x="173" y="34"/>
                    <a:pt x="173" y="34"/>
                    <a:pt x="173" y="34"/>
                  </a:cubicBezTo>
                  <a:cubicBezTo>
                    <a:pt x="173" y="34"/>
                    <a:pt x="173" y="34"/>
                    <a:pt x="173" y="34"/>
                  </a:cubicBezTo>
                  <a:cubicBezTo>
                    <a:pt x="173" y="34"/>
                    <a:pt x="173" y="34"/>
                    <a:pt x="173" y="34"/>
                  </a:cubicBezTo>
                  <a:cubicBezTo>
                    <a:pt x="172" y="35"/>
                    <a:pt x="171" y="35"/>
                    <a:pt x="171" y="36"/>
                  </a:cubicBezTo>
                  <a:cubicBezTo>
                    <a:pt x="171" y="36"/>
                    <a:pt x="171" y="36"/>
                    <a:pt x="171" y="36"/>
                  </a:cubicBezTo>
                  <a:cubicBezTo>
                    <a:pt x="171" y="36"/>
                    <a:pt x="171" y="36"/>
                    <a:pt x="171" y="36"/>
                  </a:cubicBezTo>
                  <a:cubicBezTo>
                    <a:pt x="171" y="36"/>
                    <a:pt x="171" y="36"/>
                    <a:pt x="171" y="36"/>
                  </a:cubicBezTo>
                  <a:cubicBezTo>
                    <a:pt x="171" y="35"/>
                    <a:pt x="171" y="35"/>
                    <a:pt x="171" y="35"/>
                  </a:cubicBezTo>
                  <a:cubicBezTo>
                    <a:pt x="171" y="35"/>
                    <a:pt x="170" y="34"/>
                    <a:pt x="170" y="34"/>
                  </a:cubicBezTo>
                  <a:cubicBezTo>
                    <a:pt x="170" y="34"/>
                    <a:pt x="170" y="34"/>
                    <a:pt x="170" y="34"/>
                  </a:cubicBezTo>
                  <a:cubicBezTo>
                    <a:pt x="170" y="34"/>
                    <a:pt x="170" y="34"/>
                    <a:pt x="170" y="33"/>
                  </a:cubicBezTo>
                  <a:cubicBezTo>
                    <a:pt x="170" y="33"/>
                    <a:pt x="171" y="33"/>
                    <a:pt x="171" y="33"/>
                  </a:cubicBezTo>
                  <a:cubicBezTo>
                    <a:pt x="171" y="33"/>
                    <a:pt x="172" y="34"/>
                    <a:pt x="172" y="34"/>
                  </a:cubicBezTo>
                  <a:cubicBezTo>
                    <a:pt x="172" y="34"/>
                    <a:pt x="172" y="34"/>
                    <a:pt x="172" y="34"/>
                  </a:cubicBezTo>
                  <a:close/>
                  <a:moveTo>
                    <a:pt x="170" y="57"/>
                  </a:moveTo>
                  <a:cubicBezTo>
                    <a:pt x="170" y="57"/>
                    <a:pt x="170" y="57"/>
                    <a:pt x="170" y="57"/>
                  </a:cubicBezTo>
                  <a:cubicBezTo>
                    <a:pt x="170" y="57"/>
                    <a:pt x="170" y="57"/>
                    <a:pt x="170" y="57"/>
                  </a:cubicBezTo>
                  <a:cubicBezTo>
                    <a:pt x="170" y="57"/>
                    <a:pt x="170" y="57"/>
                    <a:pt x="169" y="57"/>
                  </a:cubicBezTo>
                  <a:cubicBezTo>
                    <a:pt x="169" y="56"/>
                    <a:pt x="168" y="56"/>
                    <a:pt x="168" y="55"/>
                  </a:cubicBezTo>
                  <a:cubicBezTo>
                    <a:pt x="168" y="55"/>
                    <a:pt x="167" y="55"/>
                    <a:pt x="167" y="54"/>
                  </a:cubicBezTo>
                  <a:cubicBezTo>
                    <a:pt x="167" y="54"/>
                    <a:pt x="167" y="54"/>
                    <a:pt x="166" y="54"/>
                  </a:cubicBezTo>
                  <a:cubicBezTo>
                    <a:pt x="166" y="54"/>
                    <a:pt x="166" y="54"/>
                    <a:pt x="166" y="54"/>
                  </a:cubicBezTo>
                  <a:cubicBezTo>
                    <a:pt x="166" y="54"/>
                    <a:pt x="166" y="54"/>
                    <a:pt x="166" y="54"/>
                  </a:cubicBezTo>
                  <a:cubicBezTo>
                    <a:pt x="166" y="53"/>
                    <a:pt x="166" y="53"/>
                    <a:pt x="165" y="52"/>
                  </a:cubicBezTo>
                  <a:cubicBezTo>
                    <a:pt x="165" y="52"/>
                    <a:pt x="165" y="52"/>
                    <a:pt x="165" y="52"/>
                  </a:cubicBezTo>
                  <a:cubicBezTo>
                    <a:pt x="165" y="52"/>
                    <a:pt x="165" y="52"/>
                    <a:pt x="165" y="51"/>
                  </a:cubicBezTo>
                  <a:cubicBezTo>
                    <a:pt x="165" y="52"/>
                    <a:pt x="166" y="52"/>
                    <a:pt x="166" y="52"/>
                  </a:cubicBezTo>
                  <a:cubicBezTo>
                    <a:pt x="166" y="52"/>
                    <a:pt x="166" y="52"/>
                    <a:pt x="166" y="52"/>
                  </a:cubicBezTo>
                  <a:cubicBezTo>
                    <a:pt x="166" y="52"/>
                    <a:pt x="166" y="52"/>
                    <a:pt x="166" y="52"/>
                  </a:cubicBezTo>
                  <a:cubicBezTo>
                    <a:pt x="166" y="52"/>
                    <a:pt x="166" y="53"/>
                    <a:pt x="166" y="53"/>
                  </a:cubicBezTo>
                  <a:cubicBezTo>
                    <a:pt x="167" y="53"/>
                    <a:pt x="167" y="54"/>
                    <a:pt x="167" y="54"/>
                  </a:cubicBezTo>
                  <a:cubicBezTo>
                    <a:pt x="168" y="54"/>
                    <a:pt x="169" y="55"/>
                    <a:pt x="170" y="55"/>
                  </a:cubicBezTo>
                  <a:cubicBezTo>
                    <a:pt x="170" y="55"/>
                    <a:pt x="170" y="55"/>
                    <a:pt x="170" y="55"/>
                  </a:cubicBezTo>
                  <a:cubicBezTo>
                    <a:pt x="170" y="56"/>
                    <a:pt x="170" y="56"/>
                    <a:pt x="170" y="57"/>
                  </a:cubicBezTo>
                  <a:close/>
                  <a:moveTo>
                    <a:pt x="164" y="78"/>
                  </a:moveTo>
                  <a:cubicBezTo>
                    <a:pt x="164" y="78"/>
                    <a:pt x="164" y="78"/>
                    <a:pt x="164" y="78"/>
                  </a:cubicBezTo>
                  <a:cubicBezTo>
                    <a:pt x="164" y="78"/>
                    <a:pt x="164" y="78"/>
                    <a:pt x="164" y="78"/>
                  </a:cubicBezTo>
                  <a:cubicBezTo>
                    <a:pt x="164" y="78"/>
                    <a:pt x="164" y="78"/>
                    <a:pt x="164" y="78"/>
                  </a:cubicBezTo>
                  <a:close/>
                  <a:moveTo>
                    <a:pt x="208" y="144"/>
                  </a:moveTo>
                  <a:cubicBezTo>
                    <a:pt x="208" y="144"/>
                    <a:pt x="208" y="144"/>
                    <a:pt x="208" y="144"/>
                  </a:cubicBezTo>
                  <a:cubicBezTo>
                    <a:pt x="208" y="143"/>
                    <a:pt x="208" y="143"/>
                    <a:pt x="208" y="143"/>
                  </a:cubicBezTo>
                  <a:cubicBezTo>
                    <a:pt x="208" y="143"/>
                    <a:pt x="208" y="143"/>
                    <a:pt x="208" y="144"/>
                  </a:cubicBezTo>
                  <a:close/>
                  <a:moveTo>
                    <a:pt x="208" y="144"/>
                  </a:moveTo>
                  <a:cubicBezTo>
                    <a:pt x="208" y="144"/>
                    <a:pt x="208" y="144"/>
                    <a:pt x="208" y="145"/>
                  </a:cubicBezTo>
                  <a:cubicBezTo>
                    <a:pt x="208" y="144"/>
                    <a:pt x="208" y="144"/>
                    <a:pt x="208" y="144"/>
                  </a:cubicBezTo>
                  <a:cubicBezTo>
                    <a:pt x="208" y="144"/>
                    <a:pt x="208" y="144"/>
                    <a:pt x="208" y="144"/>
                  </a:cubicBezTo>
                  <a:close/>
                  <a:moveTo>
                    <a:pt x="201" y="155"/>
                  </a:moveTo>
                  <a:cubicBezTo>
                    <a:pt x="201" y="155"/>
                    <a:pt x="201" y="155"/>
                    <a:pt x="201" y="155"/>
                  </a:cubicBezTo>
                  <a:cubicBezTo>
                    <a:pt x="201" y="155"/>
                    <a:pt x="201" y="155"/>
                    <a:pt x="201" y="155"/>
                  </a:cubicBezTo>
                  <a:cubicBezTo>
                    <a:pt x="201" y="155"/>
                    <a:pt x="201" y="155"/>
                    <a:pt x="201" y="155"/>
                  </a:cubicBezTo>
                  <a:close/>
                  <a:moveTo>
                    <a:pt x="178" y="194"/>
                  </a:moveTo>
                  <a:cubicBezTo>
                    <a:pt x="178" y="194"/>
                    <a:pt x="178" y="194"/>
                    <a:pt x="178" y="193"/>
                  </a:cubicBezTo>
                  <a:cubicBezTo>
                    <a:pt x="179" y="193"/>
                    <a:pt x="179" y="193"/>
                    <a:pt x="179" y="193"/>
                  </a:cubicBezTo>
                  <a:cubicBezTo>
                    <a:pt x="180" y="193"/>
                    <a:pt x="180" y="192"/>
                    <a:pt x="180" y="192"/>
                  </a:cubicBezTo>
                  <a:cubicBezTo>
                    <a:pt x="179" y="193"/>
                    <a:pt x="178" y="194"/>
                    <a:pt x="177" y="195"/>
                  </a:cubicBezTo>
                  <a:cubicBezTo>
                    <a:pt x="178" y="194"/>
                    <a:pt x="178" y="194"/>
                    <a:pt x="178" y="194"/>
                  </a:cubicBezTo>
                  <a:close/>
                  <a:moveTo>
                    <a:pt x="183" y="189"/>
                  </a:moveTo>
                  <a:cubicBezTo>
                    <a:pt x="183" y="189"/>
                    <a:pt x="183" y="189"/>
                    <a:pt x="183" y="189"/>
                  </a:cubicBezTo>
                  <a:cubicBezTo>
                    <a:pt x="183" y="189"/>
                    <a:pt x="183" y="189"/>
                    <a:pt x="183" y="189"/>
                  </a:cubicBezTo>
                  <a:cubicBezTo>
                    <a:pt x="183" y="189"/>
                    <a:pt x="184" y="189"/>
                    <a:pt x="184" y="189"/>
                  </a:cubicBezTo>
                  <a:cubicBezTo>
                    <a:pt x="184" y="189"/>
                    <a:pt x="184" y="188"/>
                    <a:pt x="185" y="188"/>
                  </a:cubicBezTo>
                  <a:cubicBezTo>
                    <a:pt x="185" y="188"/>
                    <a:pt x="185" y="188"/>
                    <a:pt x="185" y="188"/>
                  </a:cubicBezTo>
                  <a:cubicBezTo>
                    <a:pt x="185" y="188"/>
                    <a:pt x="185" y="188"/>
                    <a:pt x="185" y="188"/>
                  </a:cubicBezTo>
                  <a:cubicBezTo>
                    <a:pt x="184" y="189"/>
                    <a:pt x="183" y="189"/>
                    <a:pt x="183" y="190"/>
                  </a:cubicBezTo>
                  <a:cubicBezTo>
                    <a:pt x="183" y="190"/>
                    <a:pt x="183" y="189"/>
                    <a:pt x="183" y="189"/>
                  </a:cubicBezTo>
                  <a:close/>
                  <a:moveTo>
                    <a:pt x="154" y="16"/>
                  </a:moveTo>
                  <a:cubicBezTo>
                    <a:pt x="154" y="15"/>
                    <a:pt x="154" y="15"/>
                    <a:pt x="154" y="15"/>
                  </a:cubicBezTo>
                  <a:cubicBezTo>
                    <a:pt x="154" y="15"/>
                    <a:pt x="154" y="15"/>
                    <a:pt x="154" y="15"/>
                  </a:cubicBezTo>
                  <a:cubicBezTo>
                    <a:pt x="154" y="15"/>
                    <a:pt x="154" y="15"/>
                    <a:pt x="154" y="16"/>
                  </a:cubicBezTo>
                  <a:close/>
                  <a:moveTo>
                    <a:pt x="133" y="44"/>
                  </a:moveTo>
                  <a:cubicBezTo>
                    <a:pt x="133" y="44"/>
                    <a:pt x="133" y="44"/>
                    <a:pt x="133" y="44"/>
                  </a:cubicBezTo>
                  <a:cubicBezTo>
                    <a:pt x="133" y="44"/>
                    <a:pt x="133" y="44"/>
                    <a:pt x="133" y="44"/>
                  </a:cubicBezTo>
                  <a:cubicBezTo>
                    <a:pt x="133" y="44"/>
                    <a:pt x="133" y="43"/>
                    <a:pt x="133" y="43"/>
                  </a:cubicBezTo>
                  <a:cubicBezTo>
                    <a:pt x="133" y="43"/>
                    <a:pt x="133" y="43"/>
                    <a:pt x="133" y="43"/>
                  </a:cubicBezTo>
                  <a:cubicBezTo>
                    <a:pt x="133" y="43"/>
                    <a:pt x="133" y="43"/>
                    <a:pt x="133" y="44"/>
                  </a:cubicBezTo>
                  <a:close/>
                  <a:moveTo>
                    <a:pt x="133" y="43"/>
                  </a:moveTo>
                  <a:cubicBezTo>
                    <a:pt x="133" y="43"/>
                    <a:pt x="133" y="43"/>
                    <a:pt x="133" y="43"/>
                  </a:cubicBezTo>
                  <a:cubicBezTo>
                    <a:pt x="133" y="43"/>
                    <a:pt x="133" y="43"/>
                    <a:pt x="133" y="43"/>
                  </a:cubicBezTo>
                  <a:cubicBezTo>
                    <a:pt x="133" y="43"/>
                    <a:pt x="133" y="43"/>
                    <a:pt x="133" y="43"/>
                  </a:cubicBezTo>
                  <a:close/>
                  <a:moveTo>
                    <a:pt x="133" y="44"/>
                  </a:moveTo>
                  <a:cubicBezTo>
                    <a:pt x="133" y="44"/>
                    <a:pt x="133" y="44"/>
                    <a:pt x="133" y="44"/>
                  </a:cubicBezTo>
                  <a:cubicBezTo>
                    <a:pt x="133" y="44"/>
                    <a:pt x="133" y="44"/>
                    <a:pt x="133" y="44"/>
                  </a:cubicBezTo>
                  <a:cubicBezTo>
                    <a:pt x="133" y="44"/>
                    <a:pt x="133" y="44"/>
                    <a:pt x="133" y="44"/>
                  </a:cubicBezTo>
                  <a:close/>
                  <a:moveTo>
                    <a:pt x="133" y="43"/>
                  </a:moveTo>
                  <a:cubicBezTo>
                    <a:pt x="133" y="43"/>
                    <a:pt x="133" y="43"/>
                    <a:pt x="133" y="43"/>
                  </a:cubicBezTo>
                  <a:cubicBezTo>
                    <a:pt x="133" y="43"/>
                    <a:pt x="133" y="43"/>
                    <a:pt x="133" y="43"/>
                  </a:cubicBezTo>
                  <a:cubicBezTo>
                    <a:pt x="133" y="43"/>
                    <a:pt x="133" y="43"/>
                    <a:pt x="133" y="43"/>
                  </a:cubicBezTo>
                  <a:cubicBezTo>
                    <a:pt x="133" y="43"/>
                    <a:pt x="133" y="43"/>
                    <a:pt x="133" y="43"/>
                  </a:cubicBezTo>
                  <a:close/>
                  <a:moveTo>
                    <a:pt x="132" y="43"/>
                  </a:moveTo>
                  <a:cubicBezTo>
                    <a:pt x="132" y="43"/>
                    <a:pt x="132" y="43"/>
                    <a:pt x="132" y="43"/>
                  </a:cubicBezTo>
                  <a:cubicBezTo>
                    <a:pt x="132" y="43"/>
                    <a:pt x="132" y="43"/>
                    <a:pt x="132" y="43"/>
                  </a:cubicBezTo>
                  <a:cubicBezTo>
                    <a:pt x="132" y="43"/>
                    <a:pt x="132" y="43"/>
                    <a:pt x="132" y="43"/>
                  </a:cubicBezTo>
                  <a:close/>
                  <a:moveTo>
                    <a:pt x="122" y="23"/>
                  </a:moveTo>
                  <a:cubicBezTo>
                    <a:pt x="121" y="23"/>
                    <a:pt x="120" y="24"/>
                    <a:pt x="120" y="25"/>
                  </a:cubicBezTo>
                  <a:cubicBezTo>
                    <a:pt x="119" y="26"/>
                    <a:pt x="120" y="27"/>
                    <a:pt x="120" y="28"/>
                  </a:cubicBezTo>
                  <a:cubicBezTo>
                    <a:pt x="120" y="28"/>
                    <a:pt x="120" y="28"/>
                    <a:pt x="120" y="28"/>
                  </a:cubicBezTo>
                  <a:cubicBezTo>
                    <a:pt x="120" y="28"/>
                    <a:pt x="120" y="29"/>
                    <a:pt x="119" y="29"/>
                  </a:cubicBezTo>
                  <a:cubicBezTo>
                    <a:pt x="118" y="29"/>
                    <a:pt x="117" y="30"/>
                    <a:pt x="116" y="31"/>
                  </a:cubicBezTo>
                  <a:cubicBezTo>
                    <a:pt x="116" y="31"/>
                    <a:pt x="116" y="31"/>
                    <a:pt x="116" y="32"/>
                  </a:cubicBezTo>
                  <a:cubicBezTo>
                    <a:pt x="116" y="32"/>
                    <a:pt x="116" y="32"/>
                    <a:pt x="116" y="32"/>
                  </a:cubicBezTo>
                  <a:cubicBezTo>
                    <a:pt x="116" y="32"/>
                    <a:pt x="116" y="32"/>
                    <a:pt x="116" y="32"/>
                  </a:cubicBezTo>
                  <a:cubicBezTo>
                    <a:pt x="115" y="32"/>
                    <a:pt x="114" y="32"/>
                    <a:pt x="113" y="33"/>
                  </a:cubicBezTo>
                  <a:cubicBezTo>
                    <a:pt x="112" y="33"/>
                    <a:pt x="112" y="33"/>
                    <a:pt x="111" y="34"/>
                  </a:cubicBezTo>
                  <a:cubicBezTo>
                    <a:pt x="111" y="34"/>
                    <a:pt x="111" y="34"/>
                    <a:pt x="111" y="34"/>
                  </a:cubicBezTo>
                  <a:cubicBezTo>
                    <a:pt x="111" y="34"/>
                    <a:pt x="110" y="34"/>
                    <a:pt x="109" y="35"/>
                  </a:cubicBezTo>
                  <a:cubicBezTo>
                    <a:pt x="108" y="36"/>
                    <a:pt x="107" y="37"/>
                    <a:pt x="107" y="38"/>
                  </a:cubicBezTo>
                  <a:cubicBezTo>
                    <a:pt x="107" y="38"/>
                    <a:pt x="107" y="39"/>
                    <a:pt x="107" y="39"/>
                  </a:cubicBezTo>
                  <a:cubicBezTo>
                    <a:pt x="106" y="39"/>
                    <a:pt x="106" y="40"/>
                    <a:pt x="106" y="40"/>
                  </a:cubicBezTo>
                  <a:cubicBezTo>
                    <a:pt x="105" y="40"/>
                    <a:pt x="105" y="41"/>
                    <a:pt x="105" y="42"/>
                  </a:cubicBezTo>
                  <a:cubicBezTo>
                    <a:pt x="104" y="42"/>
                    <a:pt x="104" y="42"/>
                    <a:pt x="104" y="42"/>
                  </a:cubicBezTo>
                  <a:cubicBezTo>
                    <a:pt x="103" y="42"/>
                    <a:pt x="103" y="42"/>
                    <a:pt x="103" y="42"/>
                  </a:cubicBezTo>
                  <a:cubicBezTo>
                    <a:pt x="103" y="42"/>
                    <a:pt x="103" y="41"/>
                    <a:pt x="102" y="41"/>
                  </a:cubicBezTo>
                  <a:cubicBezTo>
                    <a:pt x="102" y="41"/>
                    <a:pt x="102" y="41"/>
                    <a:pt x="102" y="41"/>
                  </a:cubicBezTo>
                  <a:cubicBezTo>
                    <a:pt x="103" y="40"/>
                    <a:pt x="103" y="39"/>
                    <a:pt x="102" y="38"/>
                  </a:cubicBezTo>
                  <a:cubicBezTo>
                    <a:pt x="102" y="37"/>
                    <a:pt x="102" y="37"/>
                    <a:pt x="101" y="36"/>
                  </a:cubicBezTo>
                  <a:cubicBezTo>
                    <a:pt x="102" y="36"/>
                    <a:pt x="103" y="35"/>
                    <a:pt x="103" y="34"/>
                  </a:cubicBezTo>
                  <a:cubicBezTo>
                    <a:pt x="103" y="34"/>
                    <a:pt x="103" y="34"/>
                    <a:pt x="103" y="34"/>
                  </a:cubicBezTo>
                  <a:cubicBezTo>
                    <a:pt x="104" y="33"/>
                    <a:pt x="104" y="32"/>
                    <a:pt x="104" y="31"/>
                  </a:cubicBezTo>
                  <a:cubicBezTo>
                    <a:pt x="105" y="30"/>
                    <a:pt x="104" y="29"/>
                    <a:pt x="104" y="29"/>
                  </a:cubicBezTo>
                  <a:cubicBezTo>
                    <a:pt x="104" y="28"/>
                    <a:pt x="104" y="28"/>
                    <a:pt x="104" y="28"/>
                  </a:cubicBezTo>
                  <a:cubicBezTo>
                    <a:pt x="104" y="27"/>
                    <a:pt x="103" y="26"/>
                    <a:pt x="103" y="26"/>
                  </a:cubicBezTo>
                  <a:cubicBezTo>
                    <a:pt x="103" y="26"/>
                    <a:pt x="103" y="25"/>
                    <a:pt x="102" y="25"/>
                  </a:cubicBezTo>
                  <a:cubicBezTo>
                    <a:pt x="102" y="25"/>
                    <a:pt x="102" y="24"/>
                    <a:pt x="102" y="24"/>
                  </a:cubicBezTo>
                  <a:cubicBezTo>
                    <a:pt x="101" y="24"/>
                    <a:pt x="101" y="24"/>
                    <a:pt x="101" y="24"/>
                  </a:cubicBezTo>
                  <a:cubicBezTo>
                    <a:pt x="101" y="23"/>
                    <a:pt x="101" y="23"/>
                    <a:pt x="101" y="23"/>
                  </a:cubicBezTo>
                  <a:cubicBezTo>
                    <a:pt x="101" y="23"/>
                    <a:pt x="101" y="23"/>
                    <a:pt x="101" y="23"/>
                  </a:cubicBezTo>
                  <a:cubicBezTo>
                    <a:pt x="101" y="23"/>
                    <a:pt x="101" y="22"/>
                    <a:pt x="101" y="22"/>
                  </a:cubicBezTo>
                  <a:cubicBezTo>
                    <a:pt x="101" y="22"/>
                    <a:pt x="101" y="21"/>
                    <a:pt x="101" y="21"/>
                  </a:cubicBezTo>
                  <a:cubicBezTo>
                    <a:pt x="101" y="21"/>
                    <a:pt x="101" y="20"/>
                    <a:pt x="100" y="20"/>
                  </a:cubicBezTo>
                  <a:cubicBezTo>
                    <a:pt x="100" y="20"/>
                    <a:pt x="100" y="19"/>
                    <a:pt x="100" y="19"/>
                  </a:cubicBezTo>
                  <a:cubicBezTo>
                    <a:pt x="100" y="19"/>
                    <a:pt x="100" y="18"/>
                    <a:pt x="99" y="17"/>
                  </a:cubicBezTo>
                  <a:cubicBezTo>
                    <a:pt x="99" y="17"/>
                    <a:pt x="99" y="17"/>
                    <a:pt x="99" y="16"/>
                  </a:cubicBezTo>
                  <a:cubicBezTo>
                    <a:pt x="99" y="16"/>
                    <a:pt x="100" y="16"/>
                    <a:pt x="100" y="16"/>
                  </a:cubicBezTo>
                  <a:cubicBezTo>
                    <a:pt x="100" y="16"/>
                    <a:pt x="100" y="16"/>
                    <a:pt x="100" y="16"/>
                  </a:cubicBezTo>
                  <a:cubicBezTo>
                    <a:pt x="101" y="16"/>
                    <a:pt x="102" y="16"/>
                    <a:pt x="102" y="16"/>
                  </a:cubicBezTo>
                  <a:cubicBezTo>
                    <a:pt x="103" y="16"/>
                    <a:pt x="104" y="15"/>
                    <a:pt x="104" y="15"/>
                  </a:cubicBezTo>
                  <a:cubicBezTo>
                    <a:pt x="104" y="15"/>
                    <a:pt x="105" y="15"/>
                    <a:pt x="106" y="15"/>
                  </a:cubicBezTo>
                  <a:cubicBezTo>
                    <a:pt x="106" y="15"/>
                    <a:pt x="107" y="15"/>
                    <a:pt x="108" y="15"/>
                  </a:cubicBezTo>
                  <a:cubicBezTo>
                    <a:pt x="108" y="15"/>
                    <a:pt x="108" y="15"/>
                    <a:pt x="108" y="15"/>
                  </a:cubicBezTo>
                  <a:cubicBezTo>
                    <a:pt x="109" y="15"/>
                    <a:pt x="111" y="15"/>
                    <a:pt x="112" y="14"/>
                  </a:cubicBezTo>
                  <a:cubicBezTo>
                    <a:pt x="112" y="14"/>
                    <a:pt x="113" y="14"/>
                    <a:pt x="113" y="14"/>
                  </a:cubicBezTo>
                  <a:cubicBezTo>
                    <a:pt x="113" y="15"/>
                    <a:pt x="114" y="15"/>
                    <a:pt x="115" y="15"/>
                  </a:cubicBezTo>
                  <a:cubicBezTo>
                    <a:pt x="116" y="16"/>
                    <a:pt x="116" y="16"/>
                    <a:pt x="117" y="16"/>
                  </a:cubicBezTo>
                  <a:cubicBezTo>
                    <a:pt x="117" y="16"/>
                    <a:pt x="118" y="16"/>
                    <a:pt x="118" y="16"/>
                  </a:cubicBezTo>
                  <a:cubicBezTo>
                    <a:pt x="119" y="16"/>
                    <a:pt x="119" y="16"/>
                    <a:pt x="119" y="16"/>
                  </a:cubicBezTo>
                  <a:cubicBezTo>
                    <a:pt x="119" y="17"/>
                    <a:pt x="120" y="17"/>
                    <a:pt x="121" y="17"/>
                  </a:cubicBezTo>
                  <a:cubicBezTo>
                    <a:pt x="121" y="17"/>
                    <a:pt x="121" y="17"/>
                    <a:pt x="121" y="17"/>
                  </a:cubicBezTo>
                  <a:cubicBezTo>
                    <a:pt x="121" y="18"/>
                    <a:pt x="121" y="19"/>
                    <a:pt x="122" y="19"/>
                  </a:cubicBezTo>
                  <a:cubicBezTo>
                    <a:pt x="122" y="19"/>
                    <a:pt x="122" y="19"/>
                    <a:pt x="122" y="19"/>
                  </a:cubicBezTo>
                  <a:cubicBezTo>
                    <a:pt x="122" y="20"/>
                    <a:pt x="122" y="21"/>
                    <a:pt x="123" y="21"/>
                  </a:cubicBezTo>
                  <a:cubicBezTo>
                    <a:pt x="122" y="21"/>
                    <a:pt x="122" y="22"/>
                    <a:pt x="122" y="23"/>
                  </a:cubicBezTo>
                  <a:close/>
                  <a:moveTo>
                    <a:pt x="123" y="36"/>
                  </a:moveTo>
                  <a:cubicBezTo>
                    <a:pt x="123" y="36"/>
                    <a:pt x="123" y="36"/>
                    <a:pt x="123" y="36"/>
                  </a:cubicBezTo>
                  <a:cubicBezTo>
                    <a:pt x="123" y="36"/>
                    <a:pt x="123" y="36"/>
                    <a:pt x="122" y="36"/>
                  </a:cubicBezTo>
                  <a:cubicBezTo>
                    <a:pt x="123" y="36"/>
                    <a:pt x="123" y="36"/>
                    <a:pt x="123" y="36"/>
                  </a:cubicBezTo>
                  <a:close/>
                  <a:moveTo>
                    <a:pt x="102" y="48"/>
                  </a:moveTo>
                  <a:cubicBezTo>
                    <a:pt x="102" y="48"/>
                    <a:pt x="102" y="48"/>
                    <a:pt x="102" y="48"/>
                  </a:cubicBezTo>
                  <a:cubicBezTo>
                    <a:pt x="102" y="48"/>
                    <a:pt x="102" y="48"/>
                    <a:pt x="102" y="48"/>
                  </a:cubicBezTo>
                  <a:cubicBezTo>
                    <a:pt x="102" y="48"/>
                    <a:pt x="102" y="48"/>
                    <a:pt x="102" y="48"/>
                  </a:cubicBezTo>
                  <a:close/>
                  <a:moveTo>
                    <a:pt x="93" y="26"/>
                  </a:moveTo>
                  <a:cubicBezTo>
                    <a:pt x="93" y="26"/>
                    <a:pt x="93" y="26"/>
                    <a:pt x="93" y="25"/>
                  </a:cubicBezTo>
                  <a:cubicBezTo>
                    <a:pt x="93" y="25"/>
                    <a:pt x="93" y="25"/>
                    <a:pt x="93" y="25"/>
                  </a:cubicBezTo>
                  <a:cubicBezTo>
                    <a:pt x="93" y="26"/>
                    <a:pt x="93" y="26"/>
                    <a:pt x="93" y="26"/>
                  </a:cubicBezTo>
                  <a:close/>
                  <a:moveTo>
                    <a:pt x="73" y="16"/>
                  </a:moveTo>
                  <a:cubicBezTo>
                    <a:pt x="73" y="16"/>
                    <a:pt x="73" y="16"/>
                    <a:pt x="73" y="16"/>
                  </a:cubicBezTo>
                  <a:cubicBezTo>
                    <a:pt x="72" y="17"/>
                    <a:pt x="72" y="19"/>
                    <a:pt x="73" y="20"/>
                  </a:cubicBezTo>
                  <a:cubicBezTo>
                    <a:pt x="72" y="20"/>
                    <a:pt x="72" y="19"/>
                    <a:pt x="71" y="19"/>
                  </a:cubicBezTo>
                  <a:cubicBezTo>
                    <a:pt x="70" y="19"/>
                    <a:pt x="69" y="19"/>
                    <a:pt x="68" y="19"/>
                  </a:cubicBezTo>
                  <a:cubicBezTo>
                    <a:pt x="68" y="19"/>
                    <a:pt x="67" y="19"/>
                    <a:pt x="67" y="19"/>
                  </a:cubicBezTo>
                  <a:cubicBezTo>
                    <a:pt x="67" y="19"/>
                    <a:pt x="67" y="19"/>
                    <a:pt x="67" y="19"/>
                  </a:cubicBezTo>
                  <a:cubicBezTo>
                    <a:pt x="66" y="19"/>
                    <a:pt x="66" y="20"/>
                    <a:pt x="65" y="20"/>
                  </a:cubicBezTo>
                  <a:cubicBezTo>
                    <a:pt x="65" y="20"/>
                    <a:pt x="65" y="20"/>
                    <a:pt x="65" y="20"/>
                  </a:cubicBezTo>
                  <a:cubicBezTo>
                    <a:pt x="65" y="20"/>
                    <a:pt x="64" y="21"/>
                    <a:pt x="64" y="21"/>
                  </a:cubicBezTo>
                  <a:cubicBezTo>
                    <a:pt x="64" y="21"/>
                    <a:pt x="63" y="21"/>
                    <a:pt x="63" y="21"/>
                  </a:cubicBezTo>
                  <a:cubicBezTo>
                    <a:pt x="63" y="21"/>
                    <a:pt x="63" y="22"/>
                    <a:pt x="62" y="22"/>
                  </a:cubicBezTo>
                  <a:cubicBezTo>
                    <a:pt x="62" y="22"/>
                    <a:pt x="62" y="22"/>
                    <a:pt x="62" y="23"/>
                  </a:cubicBezTo>
                  <a:cubicBezTo>
                    <a:pt x="62" y="23"/>
                    <a:pt x="62" y="23"/>
                    <a:pt x="61" y="23"/>
                  </a:cubicBezTo>
                  <a:cubicBezTo>
                    <a:pt x="61" y="23"/>
                    <a:pt x="61" y="23"/>
                    <a:pt x="61" y="23"/>
                  </a:cubicBezTo>
                  <a:cubicBezTo>
                    <a:pt x="61" y="23"/>
                    <a:pt x="60" y="24"/>
                    <a:pt x="60" y="24"/>
                  </a:cubicBezTo>
                  <a:cubicBezTo>
                    <a:pt x="60" y="24"/>
                    <a:pt x="59" y="25"/>
                    <a:pt x="59" y="25"/>
                  </a:cubicBezTo>
                  <a:cubicBezTo>
                    <a:pt x="59" y="25"/>
                    <a:pt x="59" y="25"/>
                    <a:pt x="59" y="25"/>
                  </a:cubicBezTo>
                  <a:cubicBezTo>
                    <a:pt x="58" y="25"/>
                    <a:pt x="58" y="26"/>
                    <a:pt x="57" y="26"/>
                  </a:cubicBezTo>
                  <a:cubicBezTo>
                    <a:pt x="57" y="26"/>
                    <a:pt x="57" y="26"/>
                    <a:pt x="57" y="26"/>
                  </a:cubicBezTo>
                  <a:cubicBezTo>
                    <a:pt x="57" y="26"/>
                    <a:pt x="57" y="26"/>
                    <a:pt x="56" y="26"/>
                  </a:cubicBezTo>
                  <a:cubicBezTo>
                    <a:pt x="56" y="27"/>
                    <a:pt x="55" y="27"/>
                    <a:pt x="55" y="28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3" y="28"/>
                    <a:pt x="52" y="28"/>
                    <a:pt x="51" y="28"/>
                  </a:cubicBezTo>
                  <a:cubicBezTo>
                    <a:pt x="51" y="28"/>
                    <a:pt x="51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8" y="22"/>
                    <a:pt x="67" y="17"/>
                    <a:pt x="76" y="14"/>
                  </a:cubicBezTo>
                  <a:cubicBezTo>
                    <a:pt x="76" y="14"/>
                    <a:pt x="75" y="14"/>
                    <a:pt x="75" y="15"/>
                  </a:cubicBezTo>
                  <a:cubicBezTo>
                    <a:pt x="74" y="15"/>
                    <a:pt x="74" y="15"/>
                    <a:pt x="73" y="16"/>
                  </a:cubicBezTo>
                  <a:close/>
                  <a:moveTo>
                    <a:pt x="67" y="47"/>
                  </a:moveTo>
                  <a:cubicBezTo>
                    <a:pt x="67" y="47"/>
                    <a:pt x="67" y="47"/>
                    <a:pt x="67" y="47"/>
                  </a:cubicBezTo>
                  <a:cubicBezTo>
                    <a:pt x="67" y="47"/>
                    <a:pt x="68" y="47"/>
                    <a:pt x="68" y="47"/>
                  </a:cubicBezTo>
                  <a:cubicBezTo>
                    <a:pt x="68" y="47"/>
                    <a:pt x="68" y="47"/>
                    <a:pt x="69" y="47"/>
                  </a:cubicBezTo>
                  <a:cubicBezTo>
                    <a:pt x="69" y="47"/>
                    <a:pt x="69" y="47"/>
                    <a:pt x="69" y="47"/>
                  </a:cubicBezTo>
                  <a:cubicBezTo>
                    <a:pt x="68" y="48"/>
                    <a:pt x="68" y="48"/>
                    <a:pt x="68" y="49"/>
                  </a:cubicBezTo>
                  <a:cubicBezTo>
                    <a:pt x="68" y="50"/>
                    <a:pt x="69" y="52"/>
                    <a:pt x="70" y="53"/>
                  </a:cubicBezTo>
                  <a:cubicBezTo>
                    <a:pt x="70" y="53"/>
                    <a:pt x="71" y="53"/>
                    <a:pt x="71" y="53"/>
                  </a:cubicBezTo>
                  <a:cubicBezTo>
                    <a:pt x="71" y="54"/>
                    <a:pt x="72" y="54"/>
                    <a:pt x="72" y="54"/>
                  </a:cubicBezTo>
                  <a:cubicBezTo>
                    <a:pt x="74" y="55"/>
                    <a:pt x="75" y="55"/>
                    <a:pt x="77" y="54"/>
                  </a:cubicBezTo>
                  <a:cubicBezTo>
                    <a:pt x="77" y="54"/>
                    <a:pt x="77" y="54"/>
                    <a:pt x="77" y="54"/>
                  </a:cubicBezTo>
                  <a:cubicBezTo>
                    <a:pt x="77" y="54"/>
                    <a:pt x="77" y="54"/>
                    <a:pt x="77" y="54"/>
                  </a:cubicBezTo>
                  <a:cubicBezTo>
                    <a:pt x="77" y="55"/>
                    <a:pt x="77" y="56"/>
                    <a:pt x="79" y="57"/>
                  </a:cubicBezTo>
                  <a:cubicBezTo>
                    <a:pt x="79" y="58"/>
                    <a:pt x="79" y="58"/>
                    <a:pt x="79" y="58"/>
                  </a:cubicBezTo>
                  <a:cubicBezTo>
                    <a:pt x="79" y="59"/>
                    <a:pt x="79" y="59"/>
                    <a:pt x="79" y="60"/>
                  </a:cubicBezTo>
                  <a:cubicBezTo>
                    <a:pt x="79" y="61"/>
                    <a:pt x="79" y="61"/>
                    <a:pt x="80" y="62"/>
                  </a:cubicBezTo>
                  <a:cubicBezTo>
                    <a:pt x="80" y="62"/>
                    <a:pt x="79" y="62"/>
                    <a:pt x="79" y="62"/>
                  </a:cubicBezTo>
                  <a:cubicBezTo>
                    <a:pt x="79" y="62"/>
                    <a:pt x="79" y="62"/>
                    <a:pt x="79" y="62"/>
                  </a:cubicBezTo>
                  <a:cubicBezTo>
                    <a:pt x="78" y="62"/>
                    <a:pt x="78" y="62"/>
                    <a:pt x="78" y="62"/>
                  </a:cubicBezTo>
                  <a:cubicBezTo>
                    <a:pt x="78" y="62"/>
                    <a:pt x="78" y="62"/>
                    <a:pt x="78" y="62"/>
                  </a:cubicBezTo>
                  <a:cubicBezTo>
                    <a:pt x="77" y="61"/>
                    <a:pt x="76" y="61"/>
                    <a:pt x="76" y="62"/>
                  </a:cubicBezTo>
                  <a:cubicBezTo>
                    <a:pt x="75" y="62"/>
                    <a:pt x="75" y="62"/>
                    <a:pt x="74" y="62"/>
                  </a:cubicBezTo>
                  <a:cubicBezTo>
                    <a:pt x="74" y="62"/>
                    <a:pt x="74" y="62"/>
                    <a:pt x="74" y="62"/>
                  </a:cubicBezTo>
                  <a:cubicBezTo>
                    <a:pt x="74" y="62"/>
                    <a:pt x="73" y="62"/>
                    <a:pt x="73" y="62"/>
                  </a:cubicBezTo>
                  <a:cubicBezTo>
                    <a:pt x="73" y="61"/>
                    <a:pt x="72" y="61"/>
                    <a:pt x="71" y="62"/>
                  </a:cubicBezTo>
                  <a:cubicBezTo>
                    <a:pt x="70" y="62"/>
                    <a:pt x="70" y="62"/>
                    <a:pt x="70" y="62"/>
                  </a:cubicBezTo>
                  <a:cubicBezTo>
                    <a:pt x="69" y="63"/>
                    <a:pt x="69" y="63"/>
                    <a:pt x="69" y="63"/>
                  </a:cubicBezTo>
                  <a:cubicBezTo>
                    <a:pt x="68" y="63"/>
                    <a:pt x="68" y="64"/>
                    <a:pt x="68" y="64"/>
                  </a:cubicBezTo>
                  <a:cubicBezTo>
                    <a:pt x="67" y="64"/>
                    <a:pt x="66" y="65"/>
                    <a:pt x="66" y="65"/>
                  </a:cubicBezTo>
                  <a:cubicBezTo>
                    <a:pt x="66" y="65"/>
                    <a:pt x="66" y="65"/>
                    <a:pt x="66" y="65"/>
                  </a:cubicBezTo>
                  <a:cubicBezTo>
                    <a:pt x="65" y="65"/>
                    <a:pt x="65" y="65"/>
                    <a:pt x="65" y="66"/>
                  </a:cubicBezTo>
                  <a:cubicBezTo>
                    <a:pt x="65" y="66"/>
                    <a:pt x="65" y="66"/>
                    <a:pt x="64" y="66"/>
                  </a:cubicBezTo>
                  <a:cubicBezTo>
                    <a:pt x="64" y="66"/>
                    <a:pt x="64" y="67"/>
                    <a:pt x="63" y="67"/>
                  </a:cubicBezTo>
                  <a:cubicBezTo>
                    <a:pt x="63" y="67"/>
                    <a:pt x="63" y="67"/>
                    <a:pt x="63" y="67"/>
                  </a:cubicBezTo>
                  <a:cubicBezTo>
                    <a:pt x="63" y="67"/>
                    <a:pt x="63" y="67"/>
                    <a:pt x="63" y="68"/>
                  </a:cubicBezTo>
                  <a:cubicBezTo>
                    <a:pt x="63" y="68"/>
                    <a:pt x="62" y="68"/>
                    <a:pt x="62" y="68"/>
                  </a:cubicBezTo>
                  <a:cubicBezTo>
                    <a:pt x="61" y="68"/>
                    <a:pt x="61" y="70"/>
                    <a:pt x="61" y="71"/>
                  </a:cubicBezTo>
                  <a:cubicBezTo>
                    <a:pt x="61" y="71"/>
                    <a:pt x="61" y="71"/>
                    <a:pt x="61" y="71"/>
                  </a:cubicBezTo>
                  <a:cubicBezTo>
                    <a:pt x="61" y="71"/>
                    <a:pt x="61" y="71"/>
                    <a:pt x="61" y="71"/>
                  </a:cubicBezTo>
                  <a:cubicBezTo>
                    <a:pt x="61" y="72"/>
                    <a:pt x="62" y="73"/>
                    <a:pt x="62" y="74"/>
                  </a:cubicBezTo>
                  <a:cubicBezTo>
                    <a:pt x="62" y="74"/>
                    <a:pt x="62" y="74"/>
                    <a:pt x="62" y="74"/>
                  </a:cubicBezTo>
                  <a:cubicBezTo>
                    <a:pt x="61" y="75"/>
                    <a:pt x="60" y="76"/>
                    <a:pt x="60" y="76"/>
                  </a:cubicBezTo>
                  <a:cubicBezTo>
                    <a:pt x="60" y="76"/>
                    <a:pt x="59" y="77"/>
                    <a:pt x="59" y="78"/>
                  </a:cubicBezTo>
                  <a:cubicBezTo>
                    <a:pt x="59" y="78"/>
                    <a:pt x="59" y="78"/>
                    <a:pt x="59" y="78"/>
                  </a:cubicBezTo>
                  <a:cubicBezTo>
                    <a:pt x="58" y="78"/>
                    <a:pt x="57" y="79"/>
                    <a:pt x="57" y="79"/>
                  </a:cubicBezTo>
                  <a:cubicBezTo>
                    <a:pt x="56" y="79"/>
                    <a:pt x="56" y="79"/>
                    <a:pt x="56" y="79"/>
                  </a:cubicBezTo>
                  <a:cubicBezTo>
                    <a:pt x="55" y="80"/>
                    <a:pt x="54" y="81"/>
                    <a:pt x="54" y="81"/>
                  </a:cubicBezTo>
                  <a:cubicBezTo>
                    <a:pt x="54" y="81"/>
                    <a:pt x="54" y="81"/>
                    <a:pt x="54" y="81"/>
                  </a:cubicBezTo>
                  <a:cubicBezTo>
                    <a:pt x="54" y="81"/>
                    <a:pt x="54" y="81"/>
                    <a:pt x="53" y="81"/>
                  </a:cubicBezTo>
                  <a:cubicBezTo>
                    <a:pt x="52" y="82"/>
                    <a:pt x="51" y="83"/>
                    <a:pt x="50" y="84"/>
                  </a:cubicBezTo>
                  <a:cubicBezTo>
                    <a:pt x="50" y="84"/>
                    <a:pt x="50" y="85"/>
                    <a:pt x="50" y="85"/>
                  </a:cubicBezTo>
                  <a:cubicBezTo>
                    <a:pt x="49" y="86"/>
                    <a:pt x="48" y="87"/>
                    <a:pt x="49" y="89"/>
                  </a:cubicBezTo>
                  <a:cubicBezTo>
                    <a:pt x="49" y="89"/>
                    <a:pt x="49" y="89"/>
                    <a:pt x="50" y="89"/>
                  </a:cubicBezTo>
                  <a:cubicBezTo>
                    <a:pt x="50" y="90"/>
                    <a:pt x="50" y="90"/>
                    <a:pt x="50" y="90"/>
                  </a:cubicBezTo>
                  <a:cubicBezTo>
                    <a:pt x="50" y="90"/>
                    <a:pt x="50" y="90"/>
                    <a:pt x="50" y="91"/>
                  </a:cubicBezTo>
                  <a:cubicBezTo>
                    <a:pt x="49" y="91"/>
                    <a:pt x="49" y="91"/>
                    <a:pt x="48" y="92"/>
                  </a:cubicBezTo>
                  <a:cubicBezTo>
                    <a:pt x="48" y="92"/>
                    <a:pt x="48" y="92"/>
                    <a:pt x="48" y="92"/>
                  </a:cubicBezTo>
                  <a:cubicBezTo>
                    <a:pt x="47" y="92"/>
                    <a:pt x="47" y="93"/>
                    <a:pt x="47" y="93"/>
                  </a:cubicBezTo>
                  <a:cubicBezTo>
                    <a:pt x="46" y="93"/>
                    <a:pt x="46" y="93"/>
                    <a:pt x="46" y="93"/>
                  </a:cubicBezTo>
                  <a:cubicBezTo>
                    <a:pt x="46" y="94"/>
                    <a:pt x="45" y="94"/>
                    <a:pt x="45" y="94"/>
                  </a:cubicBezTo>
                  <a:cubicBezTo>
                    <a:pt x="45" y="94"/>
                    <a:pt x="45" y="94"/>
                    <a:pt x="45" y="95"/>
                  </a:cubicBezTo>
                  <a:cubicBezTo>
                    <a:pt x="44" y="95"/>
                    <a:pt x="44" y="95"/>
                    <a:pt x="43" y="96"/>
                  </a:cubicBezTo>
                  <a:cubicBezTo>
                    <a:pt x="43" y="96"/>
                    <a:pt x="43" y="96"/>
                    <a:pt x="43" y="97"/>
                  </a:cubicBezTo>
                  <a:cubicBezTo>
                    <a:pt x="43" y="97"/>
                    <a:pt x="43" y="97"/>
                    <a:pt x="43" y="97"/>
                  </a:cubicBezTo>
                  <a:cubicBezTo>
                    <a:pt x="43" y="97"/>
                    <a:pt x="42" y="97"/>
                    <a:pt x="42" y="98"/>
                  </a:cubicBezTo>
                  <a:cubicBezTo>
                    <a:pt x="42" y="98"/>
                    <a:pt x="42" y="98"/>
                    <a:pt x="42" y="98"/>
                  </a:cubicBezTo>
                  <a:cubicBezTo>
                    <a:pt x="42" y="98"/>
                    <a:pt x="41" y="98"/>
                    <a:pt x="41" y="98"/>
                  </a:cubicBezTo>
                  <a:cubicBezTo>
                    <a:pt x="41" y="98"/>
                    <a:pt x="40" y="98"/>
                    <a:pt x="40" y="98"/>
                  </a:cubicBezTo>
                  <a:cubicBezTo>
                    <a:pt x="40" y="98"/>
                    <a:pt x="40" y="98"/>
                    <a:pt x="39" y="98"/>
                  </a:cubicBezTo>
                  <a:cubicBezTo>
                    <a:pt x="38" y="97"/>
                    <a:pt x="37" y="97"/>
                    <a:pt x="37" y="97"/>
                  </a:cubicBezTo>
                  <a:cubicBezTo>
                    <a:pt x="36" y="97"/>
                    <a:pt x="35" y="97"/>
                    <a:pt x="34" y="98"/>
                  </a:cubicBezTo>
                  <a:cubicBezTo>
                    <a:pt x="34" y="98"/>
                    <a:pt x="34" y="98"/>
                    <a:pt x="33" y="98"/>
                  </a:cubicBezTo>
                  <a:cubicBezTo>
                    <a:pt x="33" y="98"/>
                    <a:pt x="32" y="98"/>
                    <a:pt x="32" y="99"/>
                  </a:cubicBezTo>
                  <a:cubicBezTo>
                    <a:pt x="31" y="99"/>
                    <a:pt x="31" y="99"/>
                    <a:pt x="31" y="99"/>
                  </a:cubicBezTo>
                  <a:cubicBezTo>
                    <a:pt x="31" y="99"/>
                    <a:pt x="31" y="99"/>
                    <a:pt x="30" y="99"/>
                  </a:cubicBezTo>
                  <a:cubicBezTo>
                    <a:pt x="30" y="99"/>
                    <a:pt x="29" y="99"/>
                    <a:pt x="28" y="99"/>
                  </a:cubicBezTo>
                  <a:cubicBezTo>
                    <a:pt x="28" y="99"/>
                    <a:pt x="27" y="100"/>
                    <a:pt x="27" y="100"/>
                  </a:cubicBezTo>
                  <a:cubicBezTo>
                    <a:pt x="26" y="100"/>
                    <a:pt x="26" y="101"/>
                    <a:pt x="26" y="101"/>
                  </a:cubicBezTo>
                  <a:cubicBezTo>
                    <a:pt x="25" y="101"/>
                    <a:pt x="25" y="102"/>
                    <a:pt x="25" y="102"/>
                  </a:cubicBezTo>
                  <a:cubicBezTo>
                    <a:pt x="25" y="102"/>
                    <a:pt x="24" y="102"/>
                    <a:pt x="24" y="102"/>
                  </a:cubicBezTo>
                  <a:cubicBezTo>
                    <a:pt x="24" y="103"/>
                    <a:pt x="23" y="103"/>
                    <a:pt x="23" y="104"/>
                  </a:cubicBezTo>
                  <a:cubicBezTo>
                    <a:pt x="23" y="104"/>
                    <a:pt x="23" y="105"/>
                    <a:pt x="23" y="105"/>
                  </a:cubicBezTo>
                  <a:cubicBezTo>
                    <a:pt x="23" y="105"/>
                    <a:pt x="23" y="106"/>
                    <a:pt x="23" y="106"/>
                  </a:cubicBezTo>
                  <a:cubicBezTo>
                    <a:pt x="23" y="106"/>
                    <a:pt x="23" y="106"/>
                    <a:pt x="23" y="106"/>
                  </a:cubicBezTo>
                  <a:cubicBezTo>
                    <a:pt x="23" y="107"/>
                    <a:pt x="23" y="108"/>
                    <a:pt x="23" y="108"/>
                  </a:cubicBezTo>
                  <a:cubicBezTo>
                    <a:pt x="23" y="108"/>
                    <a:pt x="23" y="109"/>
                    <a:pt x="23" y="109"/>
                  </a:cubicBezTo>
                  <a:cubicBezTo>
                    <a:pt x="22" y="109"/>
                    <a:pt x="22" y="109"/>
                    <a:pt x="22" y="109"/>
                  </a:cubicBezTo>
                  <a:cubicBezTo>
                    <a:pt x="22" y="110"/>
                    <a:pt x="22" y="110"/>
                    <a:pt x="22" y="110"/>
                  </a:cubicBezTo>
                  <a:cubicBezTo>
                    <a:pt x="22" y="111"/>
                    <a:pt x="22" y="112"/>
                    <a:pt x="22" y="113"/>
                  </a:cubicBezTo>
                  <a:cubicBezTo>
                    <a:pt x="22" y="112"/>
                    <a:pt x="22" y="112"/>
                    <a:pt x="22" y="112"/>
                  </a:cubicBezTo>
                  <a:cubicBezTo>
                    <a:pt x="21" y="111"/>
                    <a:pt x="21" y="110"/>
                    <a:pt x="20" y="110"/>
                  </a:cubicBezTo>
                  <a:cubicBezTo>
                    <a:pt x="20" y="110"/>
                    <a:pt x="20" y="109"/>
                    <a:pt x="20" y="109"/>
                  </a:cubicBezTo>
                  <a:cubicBezTo>
                    <a:pt x="20" y="109"/>
                    <a:pt x="20" y="109"/>
                    <a:pt x="20" y="108"/>
                  </a:cubicBezTo>
                  <a:cubicBezTo>
                    <a:pt x="20" y="107"/>
                    <a:pt x="20" y="107"/>
                    <a:pt x="19" y="106"/>
                  </a:cubicBezTo>
                  <a:cubicBezTo>
                    <a:pt x="19" y="105"/>
                    <a:pt x="19" y="105"/>
                    <a:pt x="19" y="105"/>
                  </a:cubicBezTo>
                  <a:cubicBezTo>
                    <a:pt x="19" y="104"/>
                    <a:pt x="19" y="104"/>
                    <a:pt x="19" y="103"/>
                  </a:cubicBezTo>
                  <a:cubicBezTo>
                    <a:pt x="18" y="103"/>
                    <a:pt x="18" y="103"/>
                    <a:pt x="18" y="102"/>
                  </a:cubicBezTo>
                  <a:cubicBezTo>
                    <a:pt x="18" y="101"/>
                    <a:pt x="18" y="99"/>
                    <a:pt x="17" y="98"/>
                  </a:cubicBezTo>
                  <a:cubicBezTo>
                    <a:pt x="17" y="97"/>
                    <a:pt x="17" y="96"/>
                    <a:pt x="16" y="96"/>
                  </a:cubicBezTo>
                  <a:cubicBezTo>
                    <a:pt x="16" y="96"/>
                    <a:pt x="16" y="95"/>
                    <a:pt x="16" y="95"/>
                  </a:cubicBezTo>
                  <a:cubicBezTo>
                    <a:pt x="16" y="95"/>
                    <a:pt x="16" y="94"/>
                    <a:pt x="16" y="94"/>
                  </a:cubicBezTo>
                  <a:cubicBezTo>
                    <a:pt x="16" y="93"/>
                    <a:pt x="15" y="93"/>
                    <a:pt x="15" y="92"/>
                  </a:cubicBezTo>
                  <a:cubicBezTo>
                    <a:pt x="15" y="92"/>
                    <a:pt x="16" y="91"/>
                    <a:pt x="15" y="90"/>
                  </a:cubicBezTo>
                  <a:cubicBezTo>
                    <a:pt x="15" y="90"/>
                    <a:pt x="15" y="90"/>
                    <a:pt x="15" y="90"/>
                  </a:cubicBezTo>
                  <a:cubicBezTo>
                    <a:pt x="15" y="90"/>
                    <a:pt x="15" y="90"/>
                    <a:pt x="15" y="89"/>
                  </a:cubicBezTo>
                  <a:cubicBezTo>
                    <a:pt x="16" y="89"/>
                    <a:pt x="16" y="89"/>
                    <a:pt x="16" y="89"/>
                  </a:cubicBezTo>
                  <a:cubicBezTo>
                    <a:pt x="16" y="88"/>
                    <a:pt x="16" y="87"/>
                    <a:pt x="16" y="86"/>
                  </a:cubicBezTo>
                  <a:cubicBezTo>
                    <a:pt x="16" y="86"/>
                    <a:pt x="16" y="86"/>
                    <a:pt x="16" y="86"/>
                  </a:cubicBezTo>
                  <a:cubicBezTo>
                    <a:pt x="16" y="86"/>
                    <a:pt x="16" y="86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7" y="84"/>
                    <a:pt x="17" y="83"/>
                    <a:pt x="17" y="83"/>
                  </a:cubicBezTo>
                  <a:cubicBezTo>
                    <a:pt x="17" y="82"/>
                    <a:pt x="17" y="82"/>
                    <a:pt x="17" y="82"/>
                  </a:cubicBezTo>
                  <a:cubicBezTo>
                    <a:pt x="17" y="82"/>
                    <a:pt x="17" y="82"/>
                    <a:pt x="17" y="82"/>
                  </a:cubicBezTo>
                  <a:cubicBezTo>
                    <a:pt x="17" y="82"/>
                    <a:pt x="17" y="81"/>
                    <a:pt x="17" y="81"/>
                  </a:cubicBezTo>
                  <a:cubicBezTo>
                    <a:pt x="17" y="81"/>
                    <a:pt x="18" y="80"/>
                    <a:pt x="18" y="79"/>
                  </a:cubicBezTo>
                  <a:cubicBezTo>
                    <a:pt x="18" y="79"/>
                    <a:pt x="18" y="79"/>
                    <a:pt x="18" y="79"/>
                  </a:cubicBezTo>
                  <a:cubicBezTo>
                    <a:pt x="18" y="79"/>
                    <a:pt x="18" y="79"/>
                    <a:pt x="18" y="79"/>
                  </a:cubicBezTo>
                  <a:cubicBezTo>
                    <a:pt x="19" y="78"/>
                    <a:pt x="19" y="77"/>
                    <a:pt x="19" y="76"/>
                  </a:cubicBezTo>
                  <a:cubicBezTo>
                    <a:pt x="19" y="76"/>
                    <a:pt x="19" y="76"/>
                    <a:pt x="19" y="76"/>
                  </a:cubicBezTo>
                  <a:cubicBezTo>
                    <a:pt x="19" y="75"/>
                    <a:pt x="20" y="75"/>
                    <a:pt x="20" y="74"/>
                  </a:cubicBezTo>
                  <a:cubicBezTo>
                    <a:pt x="20" y="74"/>
                    <a:pt x="20" y="73"/>
                    <a:pt x="20" y="73"/>
                  </a:cubicBezTo>
                  <a:cubicBezTo>
                    <a:pt x="20" y="73"/>
                    <a:pt x="20" y="73"/>
                    <a:pt x="20" y="72"/>
                  </a:cubicBezTo>
                  <a:cubicBezTo>
                    <a:pt x="20" y="72"/>
                    <a:pt x="20" y="72"/>
                    <a:pt x="20" y="72"/>
                  </a:cubicBezTo>
                  <a:cubicBezTo>
                    <a:pt x="25" y="61"/>
                    <a:pt x="33" y="50"/>
                    <a:pt x="42" y="41"/>
                  </a:cubicBezTo>
                  <a:cubicBezTo>
                    <a:pt x="42" y="41"/>
                    <a:pt x="42" y="41"/>
                    <a:pt x="42" y="41"/>
                  </a:cubicBezTo>
                  <a:cubicBezTo>
                    <a:pt x="42" y="41"/>
                    <a:pt x="42" y="41"/>
                    <a:pt x="42" y="41"/>
                  </a:cubicBezTo>
                  <a:cubicBezTo>
                    <a:pt x="43" y="40"/>
                    <a:pt x="43" y="40"/>
                    <a:pt x="43" y="40"/>
                  </a:cubicBezTo>
                  <a:cubicBezTo>
                    <a:pt x="44" y="40"/>
                    <a:pt x="44" y="40"/>
                    <a:pt x="44" y="39"/>
                  </a:cubicBezTo>
                  <a:cubicBezTo>
                    <a:pt x="44" y="39"/>
                    <a:pt x="45" y="39"/>
                    <a:pt x="45" y="39"/>
                  </a:cubicBezTo>
                  <a:cubicBezTo>
                    <a:pt x="45" y="39"/>
                    <a:pt x="45" y="39"/>
                    <a:pt x="45" y="39"/>
                  </a:cubicBezTo>
                  <a:cubicBezTo>
                    <a:pt x="45" y="39"/>
                    <a:pt x="45" y="39"/>
                    <a:pt x="45" y="39"/>
                  </a:cubicBezTo>
                  <a:cubicBezTo>
                    <a:pt x="45" y="39"/>
                    <a:pt x="45" y="38"/>
                    <a:pt x="45" y="38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6" y="39"/>
                    <a:pt x="48" y="39"/>
                    <a:pt x="49" y="38"/>
                  </a:cubicBezTo>
                  <a:cubicBezTo>
                    <a:pt x="50" y="38"/>
                    <a:pt x="50" y="38"/>
                    <a:pt x="50" y="38"/>
                  </a:cubicBezTo>
                  <a:cubicBezTo>
                    <a:pt x="50" y="38"/>
                    <a:pt x="49" y="39"/>
                    <a:pt x="49" y="39"/>
                  </a:cubicBezTo>
                  <a:cubicBezTo>
                    <a:pt x="49" y="39"/>
                    <a:pt x="49" y="40"/>
                    <a:pt x="48" y="40"/>
                  </a:cubicBezTo>
                  <a:cubicBezTo>
                    <a:pt x="48" y="40"/>
                    <a:pt x="47" y="41"/>
                    <a:pt x="47" y="42"/>
                  </a:cubicBezTo>
                  <a:cubicBezTo>
                    <a:pt x="47" y="42"/>
                    <a:pt x="47" y="42"/>
                    <a:pt x="47" y="42"/>
                  </a:cubicBezTo>
                  <a:cubicBezTo>
                    <a:pt x="47" y="42"/>
                    <a:pt x="47" y="42"/>
                    <a:pt x="47" y="42"/>
                  </a:cubicBezTo>
                  <a:cubicBezTo>
                    <a:pt x="46" y="42"/>
                    <a:pt x="46" y="42"/>
                    <a:pt x="46" y="43"/>
                  </a:cubicBezTo>
                  <a:cubicBezTo>
                    <a:pt x="46" y="43"/>
                    <a:pt x="45" y="43"/>
                    <a:pt x="45" y="44"/>
                  </a:cubicBezTo>
                  <a:cubicBezTo>
                    <a:pt x="44" y="44"/>
                    <a:pt x="43" y="45"/>
                    <a:pt x="43" y="46"/>
                  </a:cubicBezTo>
                  <a:cubicBezTo>
                    <a:pt x="42" y="47"/>
                    <a:pt x="42" y="47"/>
                    <a:pt x="42" y="48"/>
                  </a:cubicBezTo>
                  <a:cubicBezTo>
                    <a:pt x="41" y="48"/>
                    <a:pt x="41" y="49"/>
                    <a:pt x="42" y="50"/>
                  </a:cubicBezTo>
                  <a:cubicBezTo>
                    <a:pt x="42" y="50"/>
                    <a:pt x="42" y="50"/>
                    <a:pt x="42" y="51"/>
                  </a:cubicBezTo>
                  <a:cubicBezTo>
                    <a:pt x="42" y="51"/>
                    <a:pt x="42" y="51"/>
                    <a:pt x="42" y="51"/>
                  </a:cubicBezTo>
                  <a:cubicBezTo>
                    <a:pt x="41" y="52"/>
                    <a:pt x="41" y="54"/>
                    <a:pt x="42" y="55"/>
                  </a:cubicBezTo>
                  <a:cubicBezTo>
                    <a:pt x="42" y="56"/>
                    <a:pt x="43" y="56"/>
                    <a:pt x="44" y="57"/>
                  </a:cubicBezTo>
                  <a:cubicBezTo>
                    <a:pt x="45" y="57"/>
                    <a:pt x="45" y="57"/>
                    <a:pt x="46" y="57"/>
                  </a:cubicBezTo>
                  <a:cubicBezTo>
                    <a:pt x="46" y="57"/>
                    <a:pt x="47" y="58"/>
                    <a:pt x="47" y="58"/>
                  </a:cubicBezTo>
                  <a:cubicBezTo>
                    <a:pt x="47" y="58"/>
                    <a:pt x="48" y="58"/>
                    <a:pt x="48" y="58"/>
                  </a:cubicBezTo>
                  <a:cubicBezTo>
                    <a:pt x="48" y="58"/>
                    <a:pt x="48" y="59"/>
                    <a:pt x="48" y="59"/>
                  </a:cubicBezTo>
                  <a:cubicBezTo>
                    <a:pt x="49" y="59"/>
                    <a:pt x="49" y="59"/>
                    <a:pt x="49" y="59"/>
                  </a:cubicBezTo>
                  <a:cubicBezTo>
                    <a:pt x="48" y="60"/>
                    <a:pt x="49" y="61"/>
                    <a:pt x="49" y="62"/>
                  </a:cubicBezTo>
                  <a:cubicBezTo>
                    <a:pt x="49" y="62"/>
                    <a:pt x="49" y="62"/>
                    <a:pt x="49" y="62"/>
                  </a:cubicBezTo>
                  <a:cubicBezTo>
                    <a:pt x="49" y="63"/>
                    <a:pt x="49" y="63"/>
                    <a:pt x="50" y="64"/>
                  </a:cubicBezTo>
                  <a:cubicBezTo>
                    <a:pt x="50" y="64"/>
                    <a:pt x="50" y="64"/>
                    <a:pt x="50" y="64"/>
                  </a:cubicBezTo>
                  <a:cubicBezTo>
                    <a:pt x="50" y="65"/>
                    <a:pt x="51" y="66"/>
                    <a:pt x="52" y="66"/>
                  </a:cubicBezTo>
                  <a:cubicBezTo>
                    <a:pt x="52" y="67"/>
                    <a:pt x="53" y="67"/>
                    <a:pt x="55" y="67"/>
                  </a:cubicBezTo>
                  <a:cubicBezTo>
                    <a:pt x="55" y="67"/>
                    <a:pt x="55" y="67"/>
                    <a:pt x="56" y="67"/>
                  </a:cubicBezTo>
                  <a:cubicBezTo>
                    <a:pt x="56" y="67"/>
                    <a:pt x="56" y="67"/>
                    <a:pt x="56" y="67"/>
                  </a:cubicBezTo>
                  <a:cubicBezTo>
                    <a:pt x="57" y="67"/>
                    <a:pt x="58" y="66"/>
                    <a:pt x="59" y="65"/>
                  </a:cubicBezTo>
                  <a:cubicBezTo>
                    <a:pt x="59" y="64"/>
                    <a:pt x="60" y="64"/>
                    <a:pt x="60" y="63"/>
                  </a:cubicBezTo>
                  <a:cubicBezTo>
                    <a:pt x="60" y="63"/>
                    <a:pt x="60" y="62"/>
                    <a:pt x="60" y="61"/>
                  </a:cubicBezTo>
                  <a:cubicBezTo>
                    <a:pt x="60" y="61"/>
                    <a:pt x="60" y="60"/>
                    <a:pt x="60" y="60"/>
                  </a:cubicBezTo>
                  <a:cubicBezTo>
                    <a:pt x="60" y="60"/>
                    <a:pt x="61" y="60"/>
                    <a:pt x="61" y="60"/>
                  </a:cubicBezTo>
                  <a:cubicBezTo>
                    <a:pt x="61" y="60"/>
                    <a:pt x="61" y="60"/>
                    <a:pt x="61" y="60"/>
                  </a:cubicBezTo>
                  <a:cubicBezTo>
                    <a:pt x="61" y="60"/>
                    <a:pt x="61" y="60"/>
                    <a:pt x="61" y="60"/>
                  </a:cubicBezTo>
                  <a:cubicBezTo>
                    <a:pt x="62" y="59"/>
                    <a:pt x="63" y="58"/>
                    <a:pt x="63" y="57"/>
                  </a:cubicBezTo>
                  <a:cubicBezTo>
                    <a:pt x="63" y="57"/>
                    <a:pt x="63" y="57"/>
                    <a:pt x="63" y="57"/>
                  </a:cubicBezTo>
                  <a:cubicBezTo>
                    <a:pt x="64" y="57"/>
                    <a:pt x="65" y="56"/>
                    <a:pt x="65" y="55"/>
                  </a:cubicBezTo>
                  <a:cubicBezTo>
                    <a:pt x="65" y="55"/>
                    <a:pt x="65" y="55"/>
                    <a:pt x="65" y="54"/>
                  </a:cubicBezTo>
                  <a:cubicBezTo>
                    <a:pt x="66" y="54"/>
                    <a:pt x="66" y="53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52"/>
                    <a:pt x="66" y="51"/>
                    <a:pt x="66" y="50"/>
                  </a:cubicBezTo>
                  <a:cubicBezTo>
                    <a:pt x="66" y="50"/>
                    <a:pt x="66" y="50"/>
                    <a:pt x="66" y="50"/>
                  </a:cubicBezTo>
                  <a:cubicBezTo>
                    <a:pt x="67" y="49"/>
                    <a:pt x="67" y="48"/>
                    <a:pt x="67" y="47"/>
                  </a:cubicBezTo>
                  <a:cubicBezTo>
                    <a:pt x="67" y="47"/>
                    <a:pt x="67" y="47"/>
                    <a:pt x="67" y="47"/>
                  </a:cubicBezTo>
                  <a:close/>
                  <a:moveTo>
                    <a:pt x="72" y="40"/>
                  </a:moveTo>
                  <a:cubicBezTo>
                    <a:pt x="73" y="40"/>
                    <a:pt x="73" y="41"/>
                    <a:pt x="73" y="41"/>
                  </a:cubicBezTo>
                  <a:cubicBezTo>
                    <a:pt x="73" y="41"/>
                    <a:pt x="73" y="41"/>
                    <a:pt x="73" y="41"/>
                  </a:cubicBezTo>
                  <a:cubicBezTo>
                    <a:pt x="73" y="41"/>
                    <a:pt x="73" y="40"/>
                    <a:pt x="72" y="40"/>
                  </a:cubicBezTo>
                  <a:close/>
                  <a:moveTo>
                    <a:pt x="66" y="82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82"/>
                    <a:pt x="66" y="82"/>
                    <a:pt x="66" y="82"/>
                  </a:cubicBezTo>
                  <a:cubicBezTo>
                    <a:pt x="66" y="82"/>
                    <a:pt x="66" y="82"/>
                    <a:pt x="66" y="82"/>
                  </a:cubicBezTo>
                  <a:close/>
                  <a:moveTo>
                    <a:pt x="44" y="111"/>
                  </a:moveTo>
                  <a:cubicBezTo>
                    <a:pt x="44" y="111"/>
                    <a:pt x="43" y="110"/>
                    <a:pt x="43" y="110"/>
                  </a:cubicBezTo>
                  <a:cubicBezTo>
                    <a:pt x="43" y="110"/>
                    <a:pt x="43" y="110"/>
                    <a:pt x="43" y="110"/>
                  </a:cubicBezTo>
                  <a:cubicBezTo>
                    <a:pt x="43" y="110"/>
                    <a:pt x="44" y="111"/>
                    <a:pt x="44" y="111"/>
                  </a:cubicBezTo>
                  <a:close/>
                  <a:moveTo>
                    <a:pt x="44" y="45"/>
                  </a:moveTo>
                  <a:cubicBezTo>
                    <a:pt x="44" y="45"/>
                    <a:pt x="44" y="44"/>
                    <a:pt x="44" y="44"/>
                  </a:cubicBezTo>
                  <a:cubicBezTo>
                    <a:pt x="44" y="44"/>
                    <a:pt x="44" y="44"/>
                    <a:pt x="44" y="44"/>
                  </a:cubicBezTo>
                  <a:cubicBezTo>
                    <a:pt x="44" y="44"/>
                    <a:pt x="44" y="45"/>
                    <a:pt x="44" y="45"/>
                  </a:cubicBezTo>
                  <a:close/>
                  <a:moveTo>
                    <a:pt x="51" y="48"/>
                  </a:moveTo>
                  <a:cubicBezTo>
                    <a:pt x="51" y="48"/>
                    <a:pt x="51" y="48"/>
                    <a:pt x="51" y="48"/>
                  </a:cubicBezTo>
                  <a:cubicBezTo>
                    <a:pt x="51" y="48"/>
                    <a:pt x="51" y="48"/>
                    <a:pt x="51" y="47"/>
                  </a:cubicBezTo>
                  <a:cubicBezTo>
                    <a:pt x="52" y="47"/>
                    <a:pt x="52" y="47"/>
                    <a:pt x="53" y="47"/>
                  </a:cubicBezTo>
                  <a:cubicBezTo>
                    <a:pt x="53" y="46"/>
                    <a:pt x="53" y="46"/>
                    <a:pt x="53" y="46"/>
                  </a:cubicBezTo>
                  <a:cubicBezTo>
                    <a:pt x="53" y="46"/>
                    <a:pt x="54" y="46"/>
                    <a:pt x="54" y="45"/>
                  </a:cubicBezTo>
                  <a:cubicBezTo>
                    <a:pt x="55" y="45"/>
                    <a:pt x="55" y="45"/>
                    <a:pt x="55" y="45"/>
                  </a:cubicBezTo>
                  <a:cubicBezTo>
                    <a:pt x="55" y="45"/>
                    <a:pt x="55" y="45"/>
                    <a:pt x="55" y="45"/>
                  </a:cubicBezTo>
                  <a:cubicBezTo>
                    <a:pt x="56" y="45"/>
                    <a:pt x="56" y="45"/>
                    <a:pt x="56" y="44"/>
                  </a:cubicBezTo>
                  <a:cubicBezTo>
                    <a:pt x="56" y="44"/>
                    <a:pt x="57" y="44"/>
                    <a:pt x="57" y="44"/>
                  </a:cubicBezTo>
                  <a:cubicBezTo>
                    <a:pt x="58" y="44"/>
                    <a:pt x="58" y="43"/>
                    <a:pt x="59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60" y="43"/>
                    <a:pt x="60" y="43"/>
                    <a:pt x="60" y="43"/>
                  </a:cubicBezTo>
                  <a:cubicBezTo>
                    <a:pt x="60" y="42"/>
                    <a:pt x="61" y="42"/>
                    <a:pt x="61" y="42"/>
                  </a:cubicBezTo>
                  <a:cubicBezTo>
                    <a:pt x="61" y="41"/>
                    <a:pt x="61" y="41"/>
                    <a:pt x="62" y="41"/>
                  </a:cubicBezTo>
                  <a:cubicBezTo>
                    <a:pt x="62" y="41"/>
                    <a:pt x="62" y="41"/>
                    <a:pt x="62" y="41"/>
                  </a:cubicBezTo>
                  <a:cubicBezTo>
                    <a:pt x="61" y="41"/>
                    <a:pt x="61" y="42"/>
                    <a:pt x="61" y="42"/>
                  </a:cubicBezTo>
                  <a:cubicBezTo>
                    <a:pt x="61" y="42"/>
                    <a:pt x="61" y="42"/>
                    <a:pt x="61" y="43"/>
                  </a:cubicBezTo>
                  <a:cubicBezTo>
                    <a:pt x="61" y="43"/>
                    <a:pt x="61" y="43"/>
                    <a:pt x="61" y="43"/>
                  </a:cubicBezTo>
                  <a:cubicBezTo>
                    <a:pt x="61" y="43"/>
                    <a:pt x="60" y="43"/>
                    <a:pt x="60" y="44"/>
                  </a:cubicBezTo>
                  <a:cubicBezTo>
                    <a:pt x="60" y="44"/>
                    <a:pt x="60" y="45"/>
                    <a:pt x="60" y="45"/>
                  </a:cubicBezTo>
                  <a:cubicBezTo>
                    <a:pt x="60" y="45"/>
                    <a:pt x="60" y="46"/>
                    <a:pt x="60" y="46"/>
                  </a:cubicBezTo>
                  <a:cubicBezTo>
                    <a:pt x="58" y="47"/>
                    <a:pt x="57" y="48"/>
                    <a:pt x="57" y="49"/>
                  </a:cubicBezTo>
                  <a:cubicBezTo>
                    <a:pt x="57" y="50"/>
                    <a:pt x="57" y="51"/>
                    <a:pt x="58" y="52"/>
                  </a:cubicBezTo>
                  <a:cubicBezTo>
                    <a:pt x="58" y="52"/>
                    <a:pt x="58" y="52"/>
                    <a:pt x="58" y="53"/>
                  </a:cubicBezTo>
                  <a:cubicBezTo>
                    <a:pt x="58" y="53"/>
                    <a:pt x="58" y="53"/>
                    <a:pt x="57" y="53"/>
                  </a:cubicBezTo>
                  <a:cubicBezTo>
                    <a:pt x="57" y="53"/>
                    <a:pt x="57" y="53"/>
                    <a:pt x="57" y="53"/>
                  </a:cubicBezTo>
                  <a:cubicBezTo>
                    <a:pt x="57" y="53"/>
                    <a:pt x="57" y="53"/>
                    <a:pt x="56" y="53"/>
                  </a:cubicBezTo>
                  <a:cubicBezTo>
                    <a:pt x="56" y="53"/>
                    <a:pt x="56" y="53"/>
                    <a:pt x="56" y="53"/>
                  </a:cubicBezTo>
                  <a:cubicBezTo>
                    <a:pt x="56" y="53"/>
                    <a:pt x="55" y="53"/>
                    <a:pt x="54" y="53"/>
                  </a:cubicBezTo>
                  <a:cubicBezTo>
                    <a:pt x="54" y="53"/>
                    <a:pt x="54" y="53"/>
                    <a:pt x="54" y="53"/>
                  </a:cubicBezTo>
                  <a:cubicBezTo>
                    <a:pt x="54" y="53"/>
                    <a:pt x="54" y="53"/>
                    <a:pt x="53" y="53"/>
                  </a:cubicBezTo>
                  <a:cubicBezTo>
                    <a:pt x="53" y="52"/>
                    <a:pt x="53" y="52"/>
                    <a:pt x="52" y="52"/>
                  </a:cubicBezTo>
                  <a:cubicBezTo>
                    <a:pt x="52" y="51"/>
                    <a:pt x="51" y="51"/>
                    <a:pt x="51" y="50"/>
                  </a:cubicBezTo>
                  <a:cubicBezTo>
                    <a:pt x="51" y="50"/>
                    <a:pt x="50" y="50"/>
                    <a:pt x="50" y="50"/>
                  </a:cubicBezTo>
                  <a:cubicBezTo>
                    <a:pt x="50" y="50"/>
                    <a:pt x="50" y="49"/>
                    <a:pt x="50" y="49"/>
                  </a:cubicBezTo>
                  <a:cubicBezTo>
                    <a:pt x="50" y="49"/>
                    <a:pt x="50" y="49"/>
                    <a:pt x="51" y="48"/>
                  </a:cubicBezTo>
                  <a:cubicBezTo>
                    <a:pt x="51" y="48"/>
                    <a:pt x="51" y="48"/>
                    <a:pt x="51" y="48"/>
                  </a:cubicBezTo>
                  <a:close/>
                  <a:moveTo>
                    <a:pt x="51" y="37"/>
                  </a:moveTo>
                  <a:cubicBezTo>
                    <a:pt x="51" y="37"/>
                    <a:pt x="51" y="37"/>
                    <a:pt x="51" y="37"/>
                  </a:cubicBezTo>
                  <a:cubicBezTo>
                    <a:pt x="51" y="37"/>
                    <a:pt x="51" y="37"/>
                    <a:pt x="51" y="37"/>
                  </a:cubicBezTo>
                  <a:cubicBezTo>
                    <a:pt x="51" y="37"/>
                    <a:pt x="51" y="37"/>
                    <a:pt x="51" y="37"/>
                  </a:cubicBezTo>
                  <a:cubicBezTo>
                    <a:pt x="51" y="37"/>
                    <a:pt x="51" y="37"/>
                    <a:pt x="51" y="37"/>
                  </a:cubicBezTo>
                  <a:cubicBezTo>
                    <a:pt x="51" y="37"/>
                    <a:pt x="51" y="37"/>
                    <a:pt x="51" y="37"/>
                  </a:cubicBezTo>
                  <a:close/>
                  <a:moveTo>
                    <a:pt x="58" y="26"/>
                  </a:moveTo>
                  <a:cubicBezTo>
                    <a:pt x="58" y="26"/>
                    <a:pt x="58" y="26"/>
                    <a:pt x="58" y="26"/>
                  </a:cubicBezTo>
                  <a:cubicBezTo>
                    <a:pt x="58" y="26"/>
                    <a:pt x="58" y="26"/>
                    <a:pt x="58" y="26"/>
                  </a:cubicBezTo>
                  <a:cubicBezTo>
                    <a:pt x="58" y="26"/>
                    <a:pt x="58" y="26"/>
                    <a:pt x="58" y="26"/>
                  </a:cubicBezTo>
                  <a:cubicBezTo>
                    <a:pt x="58" y="26"/>
                    <a:pt x="58" y="26"/>
                    <a:pt x="58" y="26"/>
                  </a:cubicBezTo>
                  <a:close/>
                  <a:moveTo>
                    <a:pt x="97" y="16"/>
                  </a:moveTo>
                  <a:cubicBezTo>
                    <a:pt x="97" y="16"/>
                    <a:pt x="97" y="16"/>
                    <a:pt x="97" y="16"/>
                  </a:cubicBezTo>
                  <a:cubicBezTo>
                    <a:pt x="97" y="16"/>
                    <a:pt x="97" y="17"/>
                    <a:pt x="97" y="17"/>
                  </a:cubicBezTo>
                  <a:cubicBezTo>
                    <a:pt x="97" y="17"/>
                    <a:pt x="97" y="16"/>
                    <a:pt x="97" y="16"/>
                  </a:cubicBezTo>
                  <a:close/>
                  <a:moveTo>
                    <a:pt x="105" y="8"/>
                  </a:moveTo>
                  <a:cubicBezTo>
                    <a:pt x="105" y="7"/>
                    <a:pt x="104" y="8"/>
                    <a:pt x="103" y="8"/>
                  </a:cubicBezTo>
                  <a:cubicBezTo>
                    <a:pt x="103" y="8"/>
                    <a:pt x="103" y="8"/>
                    <a:pt x="103" y="7"/>
                  </a:cubicBezTo>
                  <a:cubicBezTo>
                    <a:pt x="105" y="7"/>
                    <a:pt x="106" y="7"/>
                    <a:pt x="108" y="7"/>
                  </a:cubicBezTo>
                  <a:cubicBezTo>
                    <a:pt x="108" y="7"/>
                    <a:pt x="108" y="7"/>
                    <a:pt x="108" y="7"/>
                  </a:cubicBezTo>
                  <a:cubicBezTo>
                    <a:pt x="108" y="7"/>
                    <a:pt x="107" y="7"/>
                    <a:pt x="107" y="7"/>
                  </a:cubicBezTo>
                  <a:cubicBezTo>
                    <a:pt x="107" y="7"/>
                    <a:pt x="107" y="7"/>
                    <a:pt x="107" y="7"/>
                  </a:cubicBezTo>
                  <a:cubicBezTo>
                    <a:pt x="106" y="7"/>
                    <a:pt x="106" y="7"/>
                    <a:pt x="105" y="8"/>
                  </a:cubicBezTo>
                  <a:close/>
                  <a:moveTo>
                    <a:pt x="101" y="48"/>
                  </a:moveTo>
                  <a:cubicBezTo>
                    <a:pt x="101" y="48"/>
                    <a:pt x="101" y="48"/>
                    <a:pt x="101" y="48"/>
                  </a:cubicBezTo>
                  <a:cubicBezTo>
                    <a:pt x="101" y="48"/>
                    <a:pt x="101" y="48"/>
                    <a:pt x="101" y="48"/>
                  </a:cubicBezTo>
                  <a:cubicBezTo>
                    <a:pt x="101" y="48"/>
                    <a:pt x="101" y="48"/>
                    <a:pt x="101" y="48"/>
                  </a:cubicBezTo>
                  <a:close/>
                  <a:moveTo>
                    <a:pt x="8" y="112"/>
                  </a:moveTo>
                  <a:cubicBezTo>
                    <a:pt x="8" y="107"/>
                    <a:pt x="8" y="103"/>
                    <a:pt x="9" y="98"/>
                  </a:cubicBezTo>
                  <a:cubicBezTo>
                    <a:pt x="9" y="98"/>
                    <a:pt x="9" y="99"/>
                    <a:pt x="9" y="99"/>
                  </a:cubicBezTo>
                  <a:cubicBezTo>
                    <a:pt x="9" y="99"/>
                    <a:pt x="9" y="99"/>
                    <a:pt x="9" y="99"/>
                  </a:cubicBezTo>
                  <a:cubicBezTo>
                    <a:pt x="9" y="100"/>
                    <a:pt x="9" y="100"/>
                    <a:pt x="9" y="100"/>
                  </a:cubicBezTo>
                  <a:cubicBezTo>
                    <a:pt x="9" y="101"/>
                    <a:pt x="9" y="101"/>
                    <a:pt x="9" y="101"/>
                  </a:cubicBezTo>
                  <a:cubicBezTo>
                    <a:pt x="9" y="103"/>
                    <a:pt x="9" y="104"/>
                    <a:pt x="9" y="104"/>
                  </a:cubicBezTo>
                  <a:cubicBezTo>
                    <a:pt x="9" y="104"/>
                    <a:pt x="9" y="105"/>
                    <a:pt x="9" y="105"/>
                  </a:cubicBezTo>
                  <a:cubicBezTo>
                    <a:pt x="9" y="106"/>
                    <a:pt x="9" y="107"/>
                    <a:pt x="9" y="107"/>
                  </a:cubicBezTo>
                  <a:cubicBezTo>
                    <a:pt x="9" y="108"/>
                    <a:pt x="9" y="108"/>
                    <a:pt x="9" y="108"/>
                  </a:cubicBezTo>
                  <a:cubicBezTo>
                    <a:pt x="10" y="109"/>
                    <a:pt x="10" y="109"/>
                    <a:pt x="10" y="109"/>
                  </a:cubicBezTo>
                  <a:cubicBezTo>
                    <a:pt x="10" y="109"/>
                    <a:pt x="10" y="109"/>
                    <a:pt x="10" y="109"/>
                  </a:cubicBezTo>
                  <a:cubicBezTo>
                    <a:pt x="10" y="110"/>
                    <a:pt x="10" y="110"/>
                    <a:pt x="11" y="110"/>
                  </a:cubicBezTo>
                  <a:cubicBezTo>
                    <a:pt x="10" y="112"/>
                    <a:pt x="11" y="113"/>
                    <a:pt x="11" y="113"/>
                  </a:cubicBezTo>
                  <a:cubicBezTo>
                    <a:pt x="11" y="113"/>
                    <a:pt x="11" y="113"/>
                    <a:pt x="11" y="114"/>
                  </a:cubicBezTo>
                  <a:cubicBezTo>
                    <a:pt x="11" y="114"/>
                    <a:pt x="12" y="114"/>
                    <a:pt x="12" y="115"/>
                  </a:cubicBezTo>
                  <a:cubicBezTo>
                    <a:pt x="12" y="115"/>
                    <a:pt x="12" y="115"/>
                    <a:pt x="12" y="115"/>
                  </a:cubicBezTo>
                  <a:cubicBezTo>
                    <a:pt x="12" y="115"/>
                    <a:pt x="12" y="115"/>
                    <a:pt x="12" y="116"/>
                  </a:cubicBezTo>
                  <a:cubicBezTo>
                    <a:pt x="12" y="117"/>
                    <a:pt x="13" y="118"/>
                    <a:pt x="14" y="118"/>
                  </a:cubicBezTo>
                  <a:cubicBezTo>
                    <a:pt x="15" y="118"/>
                    <a:pt x="15" y="118"/>
                    <a:pt x="15" y="118"/>
                  </a:cubicBezTo>
                  <a:cubicBezTo>
                    <a:pt x="15" y="119"/>
                    <a:pt x="15" y="119"/>
                    <a:pt x="15" y="120"/>
                  </a:cubicBezTo>
                  <a:cubicBezTo>
                    <a:pt x="15" y="120"/>
                    <a:pt x="16" y="120"/>
                    <a:pt x="16" y="121"/>
                  </a:cubicBezTo>
                  <a:cubicBezTo>
                    <a:pt x="16" y="121"/>
                    <a:pt x="16" y="121"/>
                    <a:pt x="16" y="122"/>
                  </a:cubicBezTo>
                  <a:cubicBezTo>
                    <a:pt x="16" y="123"/>
                    <a:pt x="17" y="124"/>
                    <a:pt x="18" y="124"/>
                  </a:cubicBezTo>
                  <a:cubicBezTo>
                    <a:pt x="18" y="125"/>
                    <a:pt x="18" y="125"/>
                    <a:pt x="19" y="125"/>
                  </a:cubicBezTo>
                  <a:cubicBezTo>
                    <a:pt x="19" y="126"/>
                    <a:pt x="20" y="126"/>
                    <a:pt x="20" y="126"/>
                  </a:cubicBezTo>
                  <a:cubicBezTo>
                    <a:pt x="21" y="127"/>
                    <a:pt x="21" y="127"/>
                    <a:pt x="22" y="128"/>
                  </a:cubicBezTo>
                  <a:cubicBezTo>
                    <a:pt x="22" y="128"/>
                    <a:pt x="23" y="129"/>
                    <a:pt x="24" y="129"/>
                  </a:cubicBezTo>
                  <a:cubicBezTo>
                    <a:pt x="24" y="129"/>
                    <a:pt x="24" y="129"/>
                    <a:pt x="24" y="129"/>
                  </a:cubicBezTo>
                  <a:cubicBezTo>
                    <a:pt x="25" y="130"/>
                    <a:pt x="27" y="131"/>
                    <a:pt x="29" y="131"/>
                  </a:cubicBezTo>
                  <a:cubicBezTo>
                    <a:pt x="29" y="131"/>
                    <a:pt x="29" y="131"/>
                    <a:pt x="29" y="131"/>
                  </a:cubicBezTo>
                  <a:cubicBezTo>
                    <a:pt x="29" y="131"/>
                    <a:pt x="30" y="131"/>
                    <a:pt x="30" y="131"/>
                  </a:cubicBezTo>
                  <a:cubicBezTo>
                    <a:pt x="30" y="132"/>
                    <a:pt x="32" y="133"/>
                    <a:pt x="32" y="133"/>
                  </a:cubicBezTo>
                  <a:cubicBezTo>
                    <a:pt x="32" y="133"/>
                    <a:pt x="33" y="133"/>
                    <a:pt x="33" y="133"/>
                  </a:cubicBezTo>
                  <a:cubicBezTo>
                    <a:pt x="33" y="134"/>
                    <a:pt x="34" y="134"/>
                    <a:pt x="34" y="134"/>
                  </a:cubicBezTo>
                  <a:cubicBezTo>
                    <a:pt x="35" y="134"/>
                    <a:pt x="35" y="134"/>
                    <a:pt x="35" y="134"/>
                  </a:cubicBezTo>
                  <a:cubicBezTo>
                    <a:pt x="36" y="135"/>
                    <a:pt x="36" y="135"/>
                    <a:pt x="36" y="135"/>
                  </a:cubicBezTo>
                  <a:cubicBezTo>
                    <a:pt x="36" y="135"/>
                    <a:pt x="36" y="135"/>
                    <a:pt x="36" y="135"/>
                  </a:cubicBezTo>
                  <a:cubicBezTo>
                    <a:pt x="37" y="135"/>
                    <a:pt x="37" y="136"/>
                    <a:pt x="37" y="136"/>
                  </a:cubicBezTo>
                  <a:cubicBezTo>
                    <a:pt x="38" y="137"/>
                    <a:pt x="38" y="138"/>
                    <a:pt x="38" y="138"/>
                  </a:cubicBezTo>
                  <a:cubicBezTo>
                    <a:pt x="39" y="139"/>
                    <a:pt x="40" y="140"/>
                    <a:pt x="41" y="140"/>
                  </a:cubicBezTo>
                  <a:cubicBezTo>
                    <a:pt x="41" y="141"/>
                    <a:pt x="41" y="141"/>
                    <a:pt x="42" y="141"/>
                  </a:cubicBezTo>
                  <a:cubicBezTo>
                    <a:pt x="42" y="142"/>
                    <a:pt x="42" y="142"/>
                    <a:pt x="43" y="142"/>
                  </a:cubicBezTo>
                  <a:cubicBezTo>
                    <a:pt x="43" y="142"/>
                    <a:pt x="43" y="142"/>
                    <a:pt x="43" y="142"/>
                  </a:cubicBezTo>
                  <a:cubicBezTo>
                    <a:pt x="44" y="143"/>
                    <a:pt x="45" y="143"/>
                    <a:pt x="45" y="143"/>
                  </a:cubicBezTo>
                  <a:cubicBezTo>
                    <a:pt x="45" y="143"/>
                    <a:pt x="46" y="143"/>
                    <a:pt x="46" y="143"/>
                  </a:cubicBezTo>
                  <a:cubicBezTo>
                    <a:pt x="47" y="144"/>
                    <a:pt x="48" y="144"/>
                    <a:pt x="49" y="144"/>
                  </a:cubicBezTo>
                  <a:cubicBezTo>
                    <a:pt x="49" y="144"/>
                    <a:pt x="49" y="144"/>
                    <a:pt x="49" y="144"/>
                  </a:cubicBezTo>
                  <a:cubicBezTo>
                    <a:pt x="49" y="144"/>
                    <a:pt x="49" y="145"/>
                    <a:pt x="49" y="145"/>
                  </a:cubicBezTo>
                  <a:cubicBezTo>
                    <a:pt x="49" y="145"/>
                    <a:pt x="49" y="145"/>
                    <a:pt x="50" y="145"/>
                  </a:cubicBezTo>
                  <a:cubicBezTo>
                    <a:pt x="50" y="145"/>
                    <a:pt x="50" y="145"/>
                    <a:pt x="50" y="145"/>
                  </a:cubicBezTo>
                  <a:cubicBezTo>
                    <a:pt x="49" y="146"/>
                    <a:pt x="49" y="146"/>
                    <a:pt x="49" y="146"/>
                  </a:cubicBezTo>
                  <a:cubicBezTo>
                    <a:pt x="49" y="146"/>
                    <a:pt x="49" y="146"/>
                    <a:pt x="49" y="146"/>
                  </a:cubicBezTo>
                  <a:cubicBezTo>
                    <a:pt x="49" y="147"/>
                    <a:pt x="49" y="147"/>
                    <a:pt x="49" y="147"/>
                  </a:cubicBezTo>
                  <a:cubicBezTo>
                    <a:pt x="49" y="147"/>
                    <a:pt x="48" y="148"/>
                    <a:pt x="48" y="148"/>
                  </a:cubicBezTo>
                  <a:cubicBezTo>
                    <a:pt x="48" y="148"/>
                    <a:pt x="48" y="149"/>
                    <a:pt x="47" y="150"/>
                  </a:cubicBezTo>
                  <a:cubicBezTo>
                    <a:pt x="47" y="150"/>
                    <a:pt x="47" y="151"/>
                    <a:pt x="47" y="152"/>
                  </a:cubicBezTo>
                  <a:cubicBezTo>
                    <a:pt x="47" y="153"/>
                    <a:pt x="47" y="153"/>
                    <a:pt x="47" y="153"/>
                  </a:cubicBezTo>
                  <a:cubicBezTo>
                    <a:pt x="47" y="153"/>
                    <a:pt x="47" y="153"/>
                    <a:pt x="47" y="153"/>
                  </a:cubicBezTo>
                  <a:cubicBezTo>
                    <a:pt x="47" y="154"/>
                    <a:pt x="47" y="155"/>
                    <a:pt x="48" y="156"/>
                  </a:cubicBezTo>
                  <a:cubicBezTo>
                    <a:pt x="47" y="157"/>
                    <a:pt x="48" y="158"/>
                    <a:pt x="48" y="159"/>
                  </a:cubicBezTo>
                  <a:cubicBezTo>
                    <a:pt x="48" y="160"/>
                    <a:pt x="48" y="160"/>
                    <a:pt x="49" y="161"/>
                  </a:cubicBezTo>
                  <a:cubicBezTo>
                    <a:pt x="49" y="162"/>
                    <a:pt x="50" y="163"/>
                    <a:pt x="51" y="164"/>
                  </a:cubicBezTo>
                  <a:cubicBezTo>
                    <a:pt x="51" y="164"/>
                    <a:pt x="51" y="164"/>
                    <a:pt x="51" y="164"/>
                  </a:cubicBezTo>
                  <a:cubicBezTo>
                    <a:pt x="52" y="164"/>
                    <a:pt x="52" y="165"/>
                    <a:pt x="52" y="165"/>
                  </a:cubicBezTo>
                  <a:cubicBezTo>
                    <a:pt x="53" y="165"/>
                    <a:pt x="53" y="166"/>
                    <a:pt x="54" y="166"/>
                  </a:cubicBezTo>
                  <a:cubicBezTo>
                    <a:pt x="54" y="167"/>
                    <a:pt x="55" y="168"/>
                    <a:pt x="57" y="169"/>
                  </a:cubicBezTo>
                  <a:cubicBezTo>
                    <a:pt x="57" y="170"/>
                    <a:pt x="58" y="172"/>
                    <a:pt x="59" y="172"/>
                  </a:cubicBezTo>
                  <a:cubicBezTo>
                    <a:pt x="59" y="173"/>
                    <a:pt x="61" y="174"/>
                    <a:pt x="61" y="174"/>
                  </a:cubicBezTo>
                  <a:cubicBezTo>
                    <a:pt x="61" y="175"/>
                    <a:pt x="62" y="175"/>
                    <a:pt x="65" y="176"/>
                  </a:cubicBezTo>
                  <a:cubicBezTo>
                    <a:pt x="65" y="177"/>
                    <a:pt x="66" y="177"/>
                    <a:pt x="67" y="177"/>
                  </a:cubicBezTo>
                  <a:cubicBezTo>
                    <a:pt x="67" y="178"/>
                    <a:pt x="68" y="179"/>
                    <a:pt x="68" y="179"/>
                  </a:cubicBezTo>
                  <a:cubicBezTo>
                    <a:pt x="69" y="179"/>
                    <a:pt x="69" y="179"/>
                    <a:pt x="69" y="179"/>
                  </a:cubicBezTo>
                  <a:cubicBezTo>
                    <a:pt x="69" y="180"/>
                    <a:pt x="69" y="180"/>
                    <a:pt x="70" y="180"/>
                  </a:cubicBezTo>
                  <a:cubicBezTo>
                    <a:pt x="70" y="181"/>
                    <a:pt x="70" y="181"/>
                    <a:pt x="70" y="182"/>
                  </a:cubicBezTo>
                  <a:cubicBezTo>
                    <a:pt x="70" y="182"/>
                    <a:pt x="70" y="182"/>
                    <a:pt x="70" y="182"/>
                  </a:cubicBezTo>
                  <a:cubicBezTo>
                    <a:pt x="70" y="183"/>
                    <a:pt x="71" y="185"/>
                    <a:pt x="71" y="186"/>
                  </a:cubicBezTo>
                  <a:cubicBezTo>
                    <a:pt x="71" y="187"/>
                    <a:pt x="72" y="188"/>
                    <a:pt x="72" y="188"/>
                  </a:cubicBezTo>
                  <a:cubicBezTo>
                    <a:pt x="72" y="188"/>
                    <a:pt x="72" y="188"/>
                    <a:pt x="72" y="188"/>
                  </a:cubicBezTo>
                  <a:cubicBezTo>
                    <a:pt x="72" y="189"/>
                    <a:pt x="72" y="191"/>
                    <a:pt x="73" y="192"/>
                  </a:cubicBezTo>
                  <a:cubicBezTo>
                    <a:pt x="74" y="193"/>
                    <a:pt x="74" y="193"/>
                    <a:pt x="75" y="194"/>
                  </a:cubicBezTo>
                  <a:cubicBezTo>
                    <a:pt x="75" y="194"/>
                    <a:pt x="75" y="195"/>
                    <a:pt x="75" y="195"/>
                  </a:cubicBezTo>
                  <a:cubicBezTo>
                    <a:pt x="76" y="196"/>
                    <a:pt x="76" y="197"/>
                    <a:pt x="76" y="197"/>
                  </a:cubicBezTo>
                  <a:cubicBezTo>
                    <a:pt x="76" y="199"/>
                    <a:pt x="77" y="200"/>
                    <a:pt x="77" y="201"/>
                  </a:cubicBezTo>
                  <a:cubicBezTo>
                    <a:pt x="77" y="201"/>
                    <a:pt x="78" y="201"/>
                    <a:pt x="78" y="201"/>
                  </a:cubicBezTo>
                  <a:cubicBezTo>
                    <a:pt x="78" y="201"/>
                    <a:pt x="78" y="202"/>
                    <a:pt x="78" y="202"/>
                  </a:cubicBezTo>
                  <a:cubicBezTo>
                    <a:pt x="79" y="203"/>
                    <a:pt x="80" y="204"/>
                    <a:pt x="80" y="205"/>
                  </a:cubicBezTo>
                  <a:cubicBezTo>
                    <a:pt x="81" y="205"/>
                    <a:pt x="81" y="205"/>
                    <a:pt x="81" y="205"/>
                  </a:cubicBezTo>
                  <a:cubicBezTo>
                    <a:pt x="81" y="205"/>
                    <a:pt x="82" y="206"/>
                    <a:pt x="82" y="206"/>
                  </a:cubicBezTo>
                  <a:cubicBezTo>
                    <a:pt x="82" y="206"/>
                    <a:pt x="82" y="206"/>
                    <a:pt x="82" y="206"/>
                  </a:cubicBezTo>
                  <a:cubicBezTo>
                    <a:pt x="83" y="207"/>
                    <a:pt x="83" y="207"/>
                    <a:pt x="83" y="207"/>
                  </a:cubicBezTo>
                  <a:cubicBezTo>
                    <a:pt x="83" y="209"/>
                    <a:pt x="85" y="210"/>
                    <a:pt x="85" y="210"/>
                  </a:cubicBezTo>
                  <a:cubicBezTo>
                    <a:pt x="85" y="210"/>
                    <a:pt x="85" y="210"/>
                    <a:pt x="86" y="210"/>
                  </a:cubicBezTo>
                  <a:cubicBezTo>
                    <a:pt x="86" y="211"/>
                    <a:pt x="86" y="211"/>
                    <a:pt x="87" y="211"/>
                  </a:cubicBezTo>
                  <a:cubicBezTo>
                    <a:pt x="87" y="212"/>
                    <a:pt x="88" y="212"/>
                    <a:pt x="88" y="212"/>
                  </a:cubicBezTo>
                  <a:cubicBezTo>
                    <a:pt x="89" y="213"/>
                    <a:pt x="89" y="214"/>
                    <a:pt x="90" y="214"/>
                  </a:cubicBezTo>
                  <a:cubicBezTo>
                    <a:pt x="90" y="214"/>
                    <a:pt x="91" y="214"/>
                    <a:pt x="91" y="214"/>
                  </a:cubicBezTo>
                  <a:cubicBezTo>
                    <a:pt x="92" y="215"/>
                    <a:pt x="92" y="215"/>
                    <a:pt x="92" y="215"/>
                  </a:cubicBezTo>
                  <a:cubicBezTo>
                    <a:pt x="44" y="205"/>
                    <a:pt x="8" y="163"/>
                    <a:pt x="8" y="112"/>
                  </a:cubicBezTo>
                  <a:close/>
                  <a:moveTo>
                    <a:pt x="44" y="115"/>
                  </a:moveTo>
                  <a:cubicBezTo>
                    <a:pt x="44" y="115"/>
                    <a:pt x="44" y="115"/>
                    <a:pt x="44" y="115"/>
                  </a:cubicBezTo>
                  <a:cubicBezTo>
                    <a:pt x="44" y="115"/>
                    <a:pt x="44" y="115"/>
                    <a:pt x="44" y="115"/>
                  </a:cubicBezTo>
                  <a:cubicBezTo>
                    <a:pt x="44" y="115"/>
                    <a:pt x="44" y="115"/>
                    <a:pt x="44" y="115"/>
                  </a:cubicBezTo>
                  <a:close/>
                  <a:moveTo>
                    <a:pt x="63" y="121"/>
                  </a:moveTo>
                  <a:cubicBezTo>
                    <a:pt x="63" y="121"/>
                    <a:pt x="63" y="121"/>
                    <a:pt x="62" y="121"/>
                  </a:cubicBezTo>
                  <a:cubicBezTo>
                    <a:pt x="62" y="121"/>
                    <a:pt x="62" y="121"/>
                    <a:pt x="62" y="121"/>
                  </a:cubicBezTo>
                  <a:cubicBezTo>
                    <a:pt x="62" y="121"/>
                    <a:pt x="62" y="121"/>
                    <a:pt x="62" y="121"/>
                  </a:cubicBezTo>
                  <a:cubicBezTo>
                    <a:pt x="62" y="121"/>
                    <a:pt x="62" y="121"/>
                    <a:pt x="63" y="121"/>
                  </a:cubicBezTo>
                  <a:cubicBezTo>
                    <a:pt x="62" y="121"/>
                    <a:pt x="62" y="121"/>
                    <a:pt x="62" y="121"/>
                  </a:cubicBezTo>
                  <a:cubicBezTo>
                    <a:pt x="63" y="121"/>
                    <a:pt x="63" y="121"/>
                    <a:pt x="63" y="121"/>
                  </a:cubicBezTo>
                  <a:close/>
                  <a:moveTo>
                    <a:pt x="71" y="140"/>
                  </a:moveTo>
                  <a:cubicBezTo>
                    <a:pt x="72" y="140"/>
                    <a:pt x="72" y="139"/>
                    <a:pt x="73" y="139"/>
                  </a:cubicBezTo>
                  <a:cubicBezTo>
                    <a:pt x="73" y="139"/>
                    <a:pt x="73" y="139"/>
                    <a:pt x="73" y="139"/>
                  </a:cubicBezTo>
                  <a:cubicBezTo>
                    <a:pt x="74" y="141"/>
                    <a:pt x="75" y="142"/>
                    <a:pt x="77" y="142"/>
                  </a:cubicBezTo>
                  <a:cubicBezTo>
                    <a:pt x="77" y="142"/>
                    <a:pt x="77" y="142"/>
                    <a:pt x="77" y="142"/>
                  </a:cubicBezTo>
                  <a:cubicBezTo>
                    <a:pt x="77" y="142"/>
                    <a:pt x="77" y="142"/>
                    <a:pt x="78" y="142"/>
                  </a:cubicBezTo>
                  <a:cubicBezTo>
                    <a:pt x="78" y="142"/>
                    <a:pt x="78" y="142"/>
                    <a:pt x="78" y="142"/>
                  </a:cubicBezTo>
                  <a:cubicBezTo>
                    <a:pt x="78" y="142"/>
                    <a:pt x="78" y="142"/>
                    <a:pt x="78" y="142"/>
                  </a:cubicBezTo>
                  <a:cubicBezTo>
                    <a:pt x="78" y="143"/>
                    <a:pt x="79" y="144"/>
                    <a:pt x="80" y="144"/>
                  </a:cubicBezTo>
                  <a:cubicBezTo>
                    <a:pt x="80" y="145"/>
                    <a:pt x="80" y="145"/>
                    <a:pt x="81" y="145"/>
                  </a:cubicBezTo>
                  <a:cubicBezTo>
                    <a:pt x="81" y="145"/>
                    <a:pt x="82" y="146"/>
                    <a:pt x="83" y="146"/>
                  </a:cubicBezTo>
                  <a:cubicBezTo>
                    <a:pt x="83" y="146"/>
                    <a:pt x="84" y="146"/>
                    <a:pt x="84" y="146"/>
                  </a:cubicBezTo>
                  <a:cubicBezTo>
                    <a:pt x="85" y="146"/>
                    <a:pt x="86" y="147"/>
                    <a:pt x="86" y="146"/>
                  </a:cubicBezTo>
                  <a:cubicBezTo>
                    <a:pt x="87" y="146"/>
                    <a:pt x="87" y="146"/>
                    <a:pt x="87" y="146"/>
                  </a:cubicBezTo>
                  <a:cubicBezTo>
                    <a:pt x="88" y="146"/>
                    <a:pt x="88" y="146"/>
                    <a:pt x="88" y="146"/>
                  </a:cubicBezTo>
                  <a:cubicBezTo>
                    <a:pt x="89" y="146"/>
                    <a:pt x="89" y="146"/>
                    <a:pt x="89" y="146"/>
                  </a:cubicBezTo>
                  <a:cubicBezTo>
                    <a:pt x="90" y="147"/>
                    <a:pt x="90" y="147"/>
                    <a:pt x="90" y="147"/>
                  </a:cubicBezTo>
                  <a:cubicBezTo>
                    <a:pt x="90" y="147"/>
                    <a:pt x="90" y="147"/>
                    <a:pt x="90" y="147"/>
                  </a:cubicBezTo>
                  <a:cubicBezTo>
                    <a:pt x="90" y="147"/>
                    <a:pt x="90" y="147"/>
                    <a:pt x="90" y="147"/>
                  </a:cubicBezTo>
                  <a:cubicBezTo>
                    <a:pt x="90" y="147"/>
                    <a:pt x="90" y="147"/>
                    <a:pt x="90" y="148"/>
                  </a:cubicBezTo>
                  <a:cubicBezTo>
                    <a:pt x="90" y="148"/>
                    <a:pt x="90" y="148"/>
                    <a:pt x="91" y="148"/>
                  </a:cubicBezTo>
                  <a:cubicBezTo>
                    <a:pt x="91" y="148"/>
                    <a:pt x="91" y="149"/>
                    <a:pt x="91" y="149"/>
                  </a:cubicBezTo>
                  <a:cubicBezTo>
                    <a:pt x="91" y="149"/>
                    <a:pt x="91" y="149"/>
                    <a:pt x="91" y="149"/>
                  </a:cubicBezTo>
                  <a:cubicBezTo>
                    <a:pt x="91" y="149"/>
                    <a:pt x="90" y="150"/>
                    <a:pt x="90" y="150"/>
                  </a:cubicBezTo>
                  <a:cubicBezTo>
                    <a:pt x="90" y="150"/>
                    <a:pt x="90" y="150"/>
                    <a:pt x="90" y="150"/>
                  </a:cubicBezTo>
                  <a:cubicBezTo>
                    <a:pt x="90" y="151"/>
                    <a:pt x="89" y="151"/>
                    <a:pt x="89" y="152"/>
                  </a:cubicBezTo>
                  <a:cubicBezTo>
                    <a:pt x="88" y="154"/>
                    <a:pt x="89" y="156"/>
                    <a:pt x="90" y="157"/>
                  </a:cubicBezTo>
                  <a:cubicBezTo>
                    <a:pt x="91" y="157"/>
                    <a:pt x="92" y="158"/>
                    <a:pt x="94" y="157"/>
                  </a:cubicBezTo>
                  <a:cubicBezTo>
                    <a:pt x="94" y="157"/>
                    <a:pt x="94" y="157"/>
                    <a:pt x="95" y="157"/>
                  </a:cubicBezTo>
                  <a:cubicBezTo>
                    <a:pt x="95" y="157"/>
                    <a:pt x="96" y="158"/>
                    <a:pt x="97" y="158"/>
                  </a:cubicBezTo>
                  <a:cubicBezTo>
                    <a:pt x="98" y="158"/>
                    <a:pt x="99" y="157"/>
                    <a:pt x="100" y="157"/>
                  </a:cubicBezTo>
                  <a:cubicBezTo>
                    <a:pt x="100" y="157"/>
                    <a:pt x="100" y="156"/>
                    <a:pt x="100" y="156"/>
                  </a:cubicBezTo>
                  <a:cubicBezTo>
                    <a:pt x="100" y="156"/>
                    <a:pt x="101" y="156"/>
                    <a:pt x="101" y="156"/>
                  </a:cubicBezTo>
                  <a:cubicBezTo>
                    <a:pt x="101" y="157"/>
                    <a:pt x="101" y="157"/>
                    <a:pt x="101" y="157"/>
                  </a:cubicBezTo>
                  <a:cubicBezTo>
                    <a:pt x="102" y="158"/>
                    <a:pt x="103" y="159"/>
                    <a:pt x="104" y="159"/>
                  </a:cubicBezTo>
                  <a:cubicBezTo>
                    <a:pt x="104" y="159"/>
                    <a:pt x="105" y="159"/>
                    <a:pt x="105" y="159"/>
                  </a:cubicBezTo>
                  <a:cubicBezTo>
                    <a:pt x="105" y="159"/>
                    <a:pt x="106" y="159"/>
                    <a:pt x="106" y="159"/>
                  </a:cubicBezTo>
                  <a:cubicBezTo>
                    <a:pt x="106" y="159"/>
                    <a:pt x="106" y="159"/>
                    <a:pt x="106" y="159"/>
                  </a:cubicBezTo>
                  <a:cubicBezTo>
                    <a:pt x="107" y="159"/>
                    <a:pt x="107" y="159"/>
                    <a:pt x="107" y="159"/>
                  </a:cubicBezTo>
                  <a:cubicBezTo>
                    <a:pt x="109" y="159"/>
                    <a:pt x="110" y="159"/>
                    <a:pt x="111" y="159"/>
                  </a:cubicBezTo>
                  <a:cubicBezTo>
                    <a:pt x="111" y="159"/>
                    <a:pt x="112" y="160"/>
                    <a:pt x="113" y="160"/>
                  </a:cubicBezTo>
                  <a:cubicBezTo>
                    <a:pt x="113" y="160"/>
                    <a:pt x="113" y="160"/>
                    <a:pt x="113" y="160"/>
                  </a:cubicBezTo>
                  <a:cubicBezTo>
                    <a:pt x="113" y="160"/>
                    <a:pt x="113" y="160"/>
                    <a:pt x="113" y="160"/>
                  </a:cubicBezTo>
                  <a:cubicBezTo>
                    <a:pt x="114" y="161"/>
                    <a:pt x="114" y="162"/>
                    <a:pt x="115" y="162"/>
                  </a:cubicBezTo>
                  <a:cubicBezTo>
                    <a:pt x="115" y="162"/>
                    <a:pt x="115" y="162"/>
                    <a:pt x="115" y="162"/>
                  </a:cubicBezTo>
                  <a:cubicBezTo>
                    <a:pt x="115" y="162"/>
                    <a:pt x="115" y="162"/>
                    <a:pt x="115" y="163"/>
                  </a:cubicBezTo>
                  <a:cubicBezTo>
                    <a:pt x="115" y="163"/>
                    <a:pt x="114" y="163"/>
                    <a:pt x="114" y="163"/>
                  </a:cubicBezTo>
                  <a:cubicBezTo>
                    <a:pt x="114" y="164"/>
                    <a:pt x="114" y="164"/>
                    <a:pt x="114" y="164"/>
                  </a:cubicBezTo>
                  <a:cubicBezTo>
                    <a:pt x="113" y="164"/>
                    <a:pt x="113" y="164"/>
                    <a:pt x="112" y="165"/>
                  </a:cubicBezTo>
                  <a:cubicBezTo>
                    <a:pt x="112" y="165"/>
                    <a:pt x="112" y="165"/>
                    <a:pt x="111" y="165"/>
                  </a:cubicBezTo>
                  <a:cubicBezTo>
                    <a:pt x="111" y="166"/>
                    <a:pt x="110" y="167"/>
                    <a:pt x="110" y="169"/>
                  </a:cubicBezTo>
                  <a:cubicBezTo>
                    <a:pt x="110" y="169"/>
                    <a:pt x="109" y="169"/>
                    <a:pt x="109" y="169"/>
                  </a:cubicBezTo>
                  <a:cubicBezTo>
                    <a:pt x="109" y="169"/>
                    <a:pt x="109" y="170"/>
                    <a:pt x="109" y="170"/>
                  </a:cubicBezTo>
                  <a:cubicBezTo>
                    <a:pt x="109" y="170"/>
                    <a:pt x="109" y="170"/>
                    <a:pt x="109" y="170"/>
                  </a:cubicBezTo>
                  <a:cubicBezTo>
                    <a:pt x="109" y="170"/>
                    <a:pt x="109" y="171"/>
                    <a:pt x="109" y="171"/>
                  </a:cubicBezTo>
                  <a:cubicBezTo>
                    <a:pt x="109" y="172"/>
                    <a:pt x="109" y="172"/>
                    <a:pt x="109" y="172"/>
                  </a:cubicBezTo>
                  <a:cubicBezTo>
                    <a:pt x="109" y="173"/>
                    <a:pt x="109" y="174"/>
                    <a:pt x="109" y="175"/>
                  </a:cubicBezTo>
                  <a:cubicBezTo>
                    <a:pt x="109" y="175"/>
                    <a:pt x="109" y="175"/>
                    <a:pt x="109" y="176"/>
                  </a:cubicBezTo>
                  <a:cubicBezTo>
                    <a:pt x="108" y="176"/>
                    <a:pt x="108" y="177"/>
                    <a:pt x="108" y="177"/>
                  </a:cubicBezTo>
                  <a:cubicBezTo>
                    <a:pt x="107" y="178"/>
                    <a:pt x="107" y="178"/>
                    <a:pt x="107" y="178"/>
                  </a:cubicBezTo>
                  <a:cubicBezTo>
                    <a:pt x="106" y="178"/>
                    <a:pt x="105" y="178"/>
                    <a:pt x="105" y="178"/>
                  </a:cubicBezTo>
                  <a:cubicBezTo>
                    <a:pt x="104" y="178"/>
                    <a:pt x="104" y="179"/>
                    <a:pt x="103" y="179"/>
                  </a:cubicBezTo>
                  <a:cubicBezTo>
                    <a:pt x="102" y="180"/>
                    <a:pt x="101" y="180"/>
                    <a:pt x="101" y="181"/>
                  </a:cubicBezTo>
                  <a:cubicBezTo>
                    <a:pt x="101" y="181"/>
                    <a:pt x="101" y="181"/>
                    <a:pt x="100" y="181"/>
                  </a:cubicBezTo>
                  <a:cubicBezTo>
                    <a:pt x="100" y="181"/>
                    <a:pt x="99" y="182"/>
                    <a:pt x="99" y="182"/>
                  </a:cubicBezTo>
                  <a:cubicBezTo>
                    <a:pt x="99" y="182"/>
                    <a:pt x="98" y="182"/>
                    <a:pt x="98" y="183"/>
                  </a:cubicBezTo>
                  <a:cubicBezTo>
                    <a:pt x="98" y="183"/>
                    <a:pt x="97" y="184"/>
                    <a:pt x="97" y="185"/>
                  </a:cubicBezTo>
                  <a:cubicBezTo>
                    <a:pt x="97" y="185"/>
                    <a:pt x="97" y="185"/>
                    <a:pt x="97" y="185"/>
                  </a:cubicBezTo>
                  <a:cubicBezTo>
                    <a:pt x="97" y="186"/>
                    <a:pt x="97" y="187"/>
                    <a:pt x="98" y="187"/>
                  </a:cubicBezTo>
                  <a:cubicBezTo>
                    <a:pt x="98" y="187"/>
                    <a:pt x="98" y="187"/>
                    <a:pt x="98" y="187"/>
                  </a:cubicBezTo>
                  <a:cubicBezTo>
                    <a:pt x="98" y="187"/>
                    <a:pt x="98" y="187"/>
                    <a:pt x="98" y="187"/>
                  </a:cubicBezTo>
                  <a:cubicBezTo>
                    <a:pt x="97" y="187"/>
                    <a:pt x="97" y="188"/>
                    <a:pt x="97" y="188"/>
                  </a:cubicBezTo>
                  <a:cubicBezTo>
                    <a:pt x="96" y="188"/>
                    <a:pt x="96" y="189"/>
                    <a:pt x="96" y="189"/>
                  </a:cubicBezTo>
                  <a:cubicBezTo>
                    <a:pt x="96" y="189"/>
                    <a:pt x="96" y="189"/>
                    <a:pt x="96" y="189"/>
                  </a:cubicBezTo>
                  <a:cubicBezTo>
                    <a:pt x="95" y="190"/>
                    <a:pt x="95" y="190"/>
                    <a:pt x="95" y="191"/>
                  </a:cubicBezTo>
                  <a:cubicBezTo>
                    <a:pt x="95" y="191"/>
                    <a:pt x="95" y="191"/>
                    <a:pt x="95" y="192"/>
                  </a:cubicBezTo>
                  <a:cubicBezTo>
                    <a:pt x="95" y="192"/>
                    <a:pt x="95" y="192"/>
                    <a:pt x="95" y="192"/>
                  </a:cubicBezTo>
                  <a:cubicBezTo>
                    <a:pt x="95" y="192"/>
                    <a:pt x="95" y="192"/>
                    <a:pt x="95" y="192"/>
                  </a:cubicBezTo>
                  <a:cubicBezTo>
                    <a:pt x="94" y="191"/>
                    <a:pt x="94" y="191"/>
                    <a:pt x="93" y="191"/>
                  </a:cubicBezTo>
                  <a:cubicBezTo>
                    <a:pt x="92" y="191"/>
                    <a:pt x="90" y="191"/>
                    <a:pt x="89" y="192"/>
                  </a:cubicBezTo>
                  <a:cubicBezTo>
                    <a:pt x="89" y="193"/>
                    <a:pt x="88" y="195"/>
                    <a:pt x="89" y="197"/>
                  </a:cubicBezTo>
                  <a:cubicBezTo>
                    <a:pt x="89" y="197"/>
                    <a:pt x="88" y="198"/>
                    <a:pt x="88" y="198"/>
                  </a:cubicBezTo>
                  <a:cubicBezTo>
                    <a:pt x="88" y="198"/>
                    <a:pt x="87" y="199"/>
                    <a:pt x="86" y="200"/>
                  </a:cubicBezTo>
                  <a:cubicBezTo>
                    <a:pt x="86" y="199"/>
                    <a:pt x="86" y="199"/>
                    <a:pt x="85" y="199"/>
                  </a:cubicBezTo>
                  <a:cubicBezTo>
                    <a:pt x="85" y="199"/>
                    <a:pt x="85" y="199"/>
                    <a:pt x="85" y="199"/>
                  </a:cubicBezTo>
                  <a:cubicBezTo>
                    <a:pt x="85" y="198"/>
                    <a:pt x="84" y="197"/>
                    <a:pt x="84" y="197"/>
                  </a:cubicBezTo>
                  <a:cubicBezTo>
                    <a:pt x="84" y="197"/>
                    <a:pt x="84" y="197"/>
                    <a:pt x="84" y="196"/>
                  </a:cubicBezTo>
                  <a:cubicBezTo>
                    <a:pt x="83" y="196"/>
                    <a:pt x="83" y="196"/>
                    <a:pt x="83" y="196"/>
                  </a:cubicBezTo>
                  <a:cubicBezTo>
                    <a:pt x="83" y="195"/>
                    <a:pt x="83" y="194"/>
                    <a:pt x="83" y="194"/>
                  </a:cubicBezTo>
                  <a:cubicBezTo>
                    <a:pt x="82" y="193"/>
                    <a:pt x="82" y="193"/>
                    <a:pt x="82" y="193"/>
                  </a:cubicBezTo>
                  <a:cubicBezTo>
                    <a:pt x="82" y="193"/>
                    <a:pt x="81" y="191"/>
                    <a:pt x="80" y="189"/>
                  </a:cubicBezTo>
                  <a:cubicBezTo>
                    <a:pt x="80" y="189"/>
                    <a:pt x="80" y="188"/>
                    <a:pt x="80" y="188"/>
                  </a:cubicBezTo>
                  <a:cubicBezTo>
                    <a:pt x="80" y="188"/>
                    <a:pt x="80" y="188"/>
                    <a:pt x="80" y="187"/>
                  </a:cubicBezTo>
                  <a:cubicBezTo>
                    <a:pt x="80" y="187"/>
                    <a:pt x="79" y="186"/>
                    <a:pt x="79" y="185"/>
                  </a:cubicBezTo>
                  <a:cubicBezTo>
                    <a:pt x="79" y="185"/>
                    <a:pt x="79" y="183"/>
                    <a:pt x="77" y="182"/>
                  </a:cubicBezTo>
                  <a:cubicBezTo>
                    <a:pt x="77" y="181"/>
                    <a:pt x="77" y="180"/>
                    <a:pt x="77" y="180"/>
                  </a:cubicBezTo>
                  <a:cubicBezTo>
                    <a:pt x="77" y="179"/>
                    <a:pt x="77" y="179"/>
                    <a:pt x="76" y="178"/>
                  </a:cubicBezTo>
                  <a:cubicBezTo>
                    <a:pt x="76" y="177"/>
                    <a:pt x="76" y="177"/>
                    <a:pt x="75" y="176"/>
                  </a:cubicBezTo>
                  <a:cubicBezTo>
                    <a:pt x="75" y="175"/>
                    <a:pt x="75" y="175"/>
                    <a:pt x="75" y="175"/>
                  </a:cubicBezTo>
                  <a:cubicBezTo>
                    <a:pt x="75" y="175"/>
                    <a:pt x="74" y="173"/>
                    <a:pt x="73" y="173"/>
                  </a:cubicBezTo>
                  <a:cubicBezTo>
                    <a:pt x="73" y="172"/>
                    <a:pt x="72" y="172"/>
                    <a:pt x="72" y="172"/>
                  </a:cubicBezTo>
                  <a:cubicBezTo>
                    <a:pt x="71" y="172"/>
                    <a:pt x="71" y="171"/>
                    <a:pt x="68" y="170"/>
                  </a:cubicBezTo>
                  <a:cubicBezTo>
                    <a:pt x="67" y="169"/>
                    <a:pt x="66" y="169"/>
                    <a:pt x="65" y="169"/>
                  </a:cubicBezTo>
                  <a:cubicBezTo>
                    <a:pt x="65" y="169"/>
                    <a:pt x="65" y="168"/>
                    <a:pt x="65" y="168"/>
                  </a:cubicBezTo>
                  <a:cubicBezTo>
                    <a:pt x="64" y="167"/>
                    <a:pt x="63" y="165"/>
                    <a:pt x="62" y="164"/>
                  </a:cubicBezTo>
                  <a:cubicBezTo>
                    <a:pt x="61" y="163"/>
                    <a:pt x="59" y="162"/>
                    <a:pt x="59" y="161"/>
                  </a:cubicBezTo>
                  <a:cubicBezTo>
                    <a:pt x="59" y="161"/>
                    <a:pt x="58" y="160"/>
                    <a:pt x="58" y="160"/>
                  </a:cubicBezTo>
                  <a:cubicBezTo>
                    <a:pt x="58" y="160"/>
                    <a:pt x="58" y="160"/>
                    <a:pt x="58" y="160"/>
                  </a:cubicBezTo>
                  <a:cubicBezTo>
                    <a:pt x="57" y="159"/>
                    <a:pt x="57" y="158"/>
                    <a:pt x="56" y="158"/>
                  </a:cubicBezTo>
                  <a:cubicBezTo>
                    <a:pt x="57" y="156"/>
                    <a:pt x="56" y="155"/>
                    <a:pt x="56" y="154"/>
                  </a:cubicBezTo>
                  <a:cubicBezTo>
                    <a:pt x="56" y="154"/>
                    <a:pt x="55" y="153"/>
                    <a:pt x="55" y="152"/>
                  </a:cubicBezTo>
                  <a:cubicBezTo>
                    <a:pt x="55" y="152"/>
                    <a:pt x="55" y="152"/>
                    <a:pt x="56" y="151"/>
                  </a:cubicBezTo>
                  <a:cubicBezTo>
                    <a:pt x="56" y="151"/>
                    <a:pt x="56" y="150"/>
                    <a:pt x="56" y="150"/>
                  </a:cubicBezTo>
                  <a:cubicBezTo>
                    <a:pt x="56" y="150"/>
                    <a:pt x="56" y="150"/>
                    <a:pt x="56" y="150"/>
                  </a:cubicBezTo>
                  <a:cubicBezTo>
                    <a:pt x="57" y="149"/>
                    <a:pt x="57" y="148"/>
                    <a:pt x="57" y="148"/>
                  </a:cubicBezTo>
                  <a:cubicBezTo>
                    <a:pt x="57" y="148"/>
                    <a:pt x="57" y="148"/>
                    <a:pt x="57" y="147"/>
                  </a:cubicBezTo>
                  <a:cubicBezTo>
                    <a:pt x="57" y="147"/>
                    <a:pt x="57" y="147"/>
                    <a:pt x="57" y="147"/>
                  </a:cubicBezTo>
                  <a:cubicBezTo>
                    <a:pt x="58" y="146"/>
                    <a:pt x="58" y="145"/>
                    <a:pt x="57" y="144"/>
                  </a:cubicBezTo>
                  <a:cubicBezTo>
                    <a:pt x="57" y="143"/>
                    <a:pt x="57" y="143"/>
                    <a:pt x="57" y="143"/>
                  </a:cubicBezTo>
                  <a:cubicBezTo>
                    <a:pt x="57" y="143"/>
                    <a:pt x="57" y="142"/>
                    <a:pt x="56" y="141"/>
                  </a:cubicBezTo>
                  <a:cubicBezTo>
                    <a:pt x="56" y="141"/>
                    <a:pt x="56" y="141"/>
                    <a:pt x="56" y="140"/>
                  </a:cubicBezTo>
                  <a:cubicBezTo>
                    <a:pt x="56" y="140"/>
                    <a:pt x="56" y="140"/>
                    <a:pt x="56" y="140"/>
                  </a:cubicBezTo>
                  <a:cubicBezTo>
                    <a:pt x="57" y="140"/>
                    <a:pt x="57" y="140"/>
                    <a:pt x="57" y="139"/>
                  </a:cubicBezTo>
                  <a:cubicBezTo>
                    <a:pt x="58" y="140"/>
                    <a:pt x="58" y="140"/>
                    <a:pt x="58" y="140"/>
                  </a:cubicBezTo>
                  <a:cubicBezTo>
                    <a:pt x="59" y="141"/>
                    <a:pt x="60" y="141"/>
                    <a:pt x="61" y="141"/>
                  </a:cubicBezTo>
                  <a:cubicBezTo>
                    <a:pt x="61" y="141"/>
                    <a:pt x="61" y="141"/>
                    <a:pt x="62" y="141"/>
                  </a:cubicBezTo>
                  <a:cubicBezTo>
                    <a:pt x="62" y="141"/>
                    <a:pt x="62" y="141"/>
                    <a:pt x="62" y="141"/>
                  </a:cubicBezTo>
                  <a:cubicBezTo>
                    <a:pt x="62" y="141"/>
                    <a:pt x="62" y="141"/>
                    <a:pt x="62" y="141"/>
                  </a:cubicBezTo>
                  <a:cubicBezTo>
                    <a:pt x="63" y="141"/>
                    <a:pt x="64" y="140"/>
                    <a:pt x="64" y="139"/>
                  </a:cubicBezTo>
                  <a:cubicBezTo>
                    <a:pt x="64" y="139"/>
                    <a:pt x="65" y="139"/>
                    <a:pt x="65" y="139"/>
                  </a:cubicBezTo>
                  <a:cubicBezTo>
                    <a:pt x="66" y="139"/>
                    <a:pt x="67" y="139"/>
                    <a:pt x="67" y="139"/>
                  </a:cubicBezTo>
                  <a:cubicBezTo>
                    <a:pt x="67" y="139"/>
                    <a:pt x="68" y="139"/>
                    <a:pt x="68" y="139"/>
                  </a:cubicBezTo>
                  <a:cubicBezTo>
                    <a:pt x="68" y="139"/>
                    <a:pt x="68" y="139"/>
                    <a:pt x="68" y="139"/>
                  </a:cubicBezTo>
                  <a:cubicBezTo>
                    <a:pt x="69" y="140"/>
                    <a:pt x="70" y="140"/>
                    <a:pt x="71" y="140"/>
                  </a:cubicBezTo>
                  <a:close/>
                  <a:moveTo>
                    <a:pt x="70" y="132"/>
                  </a:moveTo>
                  <a:cubicBezTo>
                    <a:pt x="70" y="132"/>
                    <a:pt x="71" y="132"/>
                    <a:pt x="71" y="132"/>
                  </a:cubicBezTo>
                  <a:cubicBezTo>
                    <a:pt x="71" y="132"/>
                    <a:pt x="70" y="132"/>
                    <a:pt x="70" y="132"/>
                  </a:cubicBezTo>
                  <a:cubicBezTo>
                    <a:pt x="70" y="132"/>
                    <a:pt x="70" y="132"/>
                    <a:pt x="70" y="132"/>
                  </a:cubicBezTo>
                  <a:close/>
                  <a:moveTo>
                    <a:pt x="81" y="136"/>
                  </a:moveTo>
                  <a:cubicBezTo>
                    <a:pt x="81" y="136"/>
                    <a:pt x="81" y="136"/>
                    <a:pt x="81" y="136"/>
                  </a:cubicBezTo>
                  <a:cubicBezTo>
                    <a:pt x="81" y="136"/>
                    <a:pt x="81" y="136"/>
                    <a:pt x="81" y="136"/>
                  </a:cubicBezTo>
                  <a:cubicBezTo>
                    <a:pt x="81" y="136"/>
                    <a:pt x="81" y="136"/>
                    <a:pt x="81" y="136"/>
                  </a:cubicBezTo>
                  <a:cubicBezTo>
                    <a:pt x="81" y="136"/>
                    <a:pt x="81" y="136"/>
                    <a:pt x="81" y="136"/>
                  </a:cubicBezTo>
                  <a:close/>
                  <a:moveTo>
                    <a:pt x="90" y="152"/>
                  </a:moveTo>
                  <a:cubicBezTo>
                    <a:pt x="90" y="152"/>
                    <a:pt x="90" y="152"/>
                    <a:pt x="90" y="152"/>
                  </a:cubicBezTo>
                  <a:cubicBezTo>
                    <a:pt x="90" y="152"/>
                    <a:pt x="90" y="152"/>
                    <a:pt x="90" y="152"/>
                  </a:cubicBezTo>
                  <a:cubicBezTo>
                    <a:pt x="90" y="152"/>
                    <a:pt x="90" y="152"/>
                    <a:pt x="90" y="152"/>
                  </a:cubicBezTo>
                  <a:cubicBezTo>
                    <a:pt x="90" y="152"/>
                    <a:pt x="90" y="152"/>
                    <a:pt x="90" y="152"/>
                  </a:cubicBezTo>
                  <a:close/>
                  <a:moveTo>
                    <a:pt x="92" y="140"/>
                  </a:moveTo>
                  <a:cubicBezTo>
                    <a:pt x="92" y="140"/>
                    <a:pt x="92" y="140"/>
                    <a:pt x="92" y="141"/>
                  </a:cubicBezTo>
                  <a:cubicBezTo>
                    <a:pt x="92" y="140"/>
                    <a:pt x="92" y="140"/>
                    <a:pt x="92" y="140"/>
                  </a:cubicBezTo>
                  <a:cubicBezTo>
                    <a:pt x="92" y="140"/>
                    <a:pt x="92" y="140"/>
                    <a:pt x="92" y="140"/>
                  </a:cubicBezTo>
                  <a:close/>
                  <a:moveTo>
                    <a:pt x="104" y="150"/>
                  </a:moveTo>
                  <a:cubicBezTo>
                    <a:pt x="104" y="150"/>
                    <a:pt x="104" y="150"/>
                    <a:pt x="105" y="150"/>
                  </a:cubicBezTo>
                  <a:cubicBezTo>
                    <a:pt x="105" y="150"/>
                    <a:pt x="105" y="150"/>
                    <a:pt x="105" y="150"/>
                  </a:cubicBezTo>
                  <a:cubicBezTo>
                    <a:pt x="104" y="150"/>
                    <a:pt x="104" y="150"/>
                    <a:pt x="104" y="150"/>
                  </a:cubicBezTo>
                  <a:cubicBezTo>
                    <a:pt x="104" y="150"/>
                    <a:pt x="104" y="150"/>
                    <a:pt x="104" y="150"/>
                  </a:cubicBezTo>
                  <a:close/>
                  <a:moveTo>
                    <a:pt x="115" y="153"/>
                  </a:moveTo>
                  <a:cubicBezTo>
                    <a:pt x="115" y="153"/>
                    <a:pt x="115" y="154"/>
                    <a:pt x="116" y="154"/>
                  </a:cubicBezTo>
                  <a:cubicBezTo>
                    <a:pt x="115" y="154"/>
                    <a:pt x="115" y="153"/>
                    <a:pt x="115" y="153"/>
                  </a:cubicBezTo>
                  <a:cubicBezTo>
                    <a:pt x="115" y="153"/>
                    <a:pt x="115" y="153"/>
                    <a:pt x="115" y="153"/>
                  </a:cubicBezTo>
                  <a:close/>
                  <a:moveTo>
                    <a:pt x="105" y="187"/>
                  </a:moveTo>
                  <a:cubicBezTo>
                    <a:pt x="105" y="188"/>
                    <a:pt x="105" y="188"/>
                    <a:pt x="105" y="188"/>
                  </a:cubicBezTo>
                  <a:cubicBezTo>
                    <a:pt x="105" y="188"/>
                    <a:pt x="105" y="188"/>
                    <a:pt x="105" y="188"/>
                  </a:cubicBezTo>
                  <a:cubicBezTo>
                    <a:pt x="105" y="188"/>
                    <a:pt x="105" y="188"/>
                    <a:pt x="105" y="187"/>
                  </a:cubicBezTo>
                  <a:close/>
                  <a:moveTo>
                    <a:pt x="105" y="187"/>
                  </a:moveTo>
                  <a:cubicBezTo>
                    <a:pt x="105" y="187"/>
                    <a:pt x="105" y="187"/>
                    <a:pt x="105" y="187"/>
                  </a:cubicBezTo>
                  <a:cubicBezTo>
                    <a:pt x="105" y="187"/>
                    <a:pt x="105" y="187"/>
                    <a:pt x="105" y="187"/>
                  </a:cubicBezTo>
                  <a:cubicBezTo>
                    <a:pt x="105" y="187"/>
                    <a:pt x="105" y="187"/>
                    <a:pt x="105" y="187"/>
                  </a:cubicBezTo>
                  <a:close/>
                  <a:moveTo>
                    <a:pt x="100" y="208"/>
                  </a:moveTo>
                  <a:cubicBezTo>
                    <a:pt x="100" y="208"/>
                    <a:pt x="100" y="208"/>
                    <a:pt x="100" y="208"/>
                  </a:cubicBezTo>
                  <a:cubicBezTo>
                    <a:pt x="100" y="209"/>
                    <a:pt x="100" y="209"/>
                    <a:pt x="100" y="209"/>
                  </a:cubicBezTo>
                  <a:cubicBezTo>
                    <a:pt x="100" y="209"/>
                    <a:pt x="100" y="209"/>
                    <a:pt x="100" y="209"/>
                  </a:cubicBezTo>
                  <a:cubicBezTo>
                    <a:pt x="100" y="209"/>
                    <a:pt x="100" y="209"/>
                    <a:pt x="99" y="209"/>
                  </a:cubicBezTo>
                  <a:cubicBezTo>
                    <a:pt x="99" y="209"/>
                    <a:pt x="99" y="208"/>
                    <a:pt x="99" y="208"/>
                  </a:cubicBezTo>
                  <a:cubicBezTo>
                    <a:pt x="99" y="208"/>
                    <a:pt x="99" y="208"/>
                    <a:pt x="100" y="208"/>
                  </a:cubicBezTo>
                  <a:close/>
                  <a:moveTo>
                    <a:pt x="100" y="208"/>
                  </a:moveTo>
                  <a:cubicBezTo>
                    <a:pt x="100" y="208"/>
                    <a:pt x="100" y="208"/>
                    <a:pt x="100" y="208"/>
                  </a:cubicBezTo>
                  <a:cubicBezTo>
                    <a:pt x="100" y="208"/>
                    <a:pt x="100" y="208"/>
                    <a:pt x="100" y="208"/>
                  </a:cubicBezTo>
                  <a:cubicBezTo>
                    <a:pt x="100" y="208"/>
                    <a:pt x="100" y="208"/>
                    <a:pt x="100" y="208"/>
                  </a:cubicBezTo>
                  <a:close/>
                  <a:moveTo>
                    <a:pt x="103" y="212"/>
                  </a:moveTo>
                  <a:cubicBezTo>
                    <a:pt x="103" y="212"/>
                    <a:pt x="103" y="211"/>
                    <a:pt x="103" y="211"/>
                  </a:cubicBezTo>
                  <a:cubicBezTo>
                    <a:pt x="103" y="211"/>
                    <a:pt x="103" y="211"/>
                    <a:pt x="102" y="210"/>
                  </a:cubicBezTo>
                  <a:cubicBezTo>
                    <a:pt x="103" y="210"/>
                    <a:pt x="103" y="210"/>
                    <a:pt x="103" y="210"/>
                  </a:cubicBezTo>
                  <a:cubicBezTo>
                    <a:pt x="103" y="210"/>
                    <a:pt x="103" y="210"/>
                    <a:pt x="103" y="210"/>
                  </a:cubicBezTo>
                  <a:cubicBezTo>
                    <a:pt x="104" y="211"/>
                    <a:pt x="104" y="211"/>
                    <a:pt x="103" y="212"/>
                  </a:cubicBezTo>
                  <a:close/>
                  <a:moveTo>
                    <a:pt x="100" y="208"/>
                  </a:moveTo>
                  <a:cubicBezTo>
                    <a:pt x="100" y="208"/>
                    <a:pt x="100" y="208"/>
                    <a:pt x="100" y="208"/>
                  </a:cubicBezTo>
                  <a:cubicBezTo>
                    <a:pt x="100" y="208"/>
                    <a:pt x="100" y="208"/>
                    <a:pt x="101" y="208"/>
                  </a:cubicBezTo>
                  <a:cubicBezTo>
                    <a:pt x="100" y="208"/>
                    <a:pt x="100" y="208"/>
                    <a:pt x="100" y="208"/>
                  </a:cubicBezTo>
                  <a:close/>
                  <a:moveTo>
                    <a:pt x="96" y="203"/>
                  </a:moveTo>
                  <a:cubicBezTo>
                    <a:pt x="96" y="203"/>
                    <a:pt x="96" y="203"/>
                    <a:pt x="96" y="203"/>
                  </a:cubicBezTo>
                  <a:cubicBezTo>
                    <a:pt x="96" y="203"/>
                    <a:pt x="96" y="203"/>
                    <a:pt x="96" y="203"/>
                  </a:cubicBezTo>
                  <a:cubicBezTo>
                    <a:pt x="96" y="203"/>
                    <a:pt x="96" y="203"/>
                    <a:pt x="96" y="203"/>
                  </a:cubicBezTo>
                  <a:cubicBezTo>
                    <a:pt x="96" y="203"/>
                    <a:pt x="96" y="203"/>
                    <a:pt x="96" y="203"/>
                  </a:cubicBezTo>
                  <a:close/>
                  <a:moveTo>
                    <a:pt x="80" y="189"/>
                  </a:moveTo>
                  <a:cubicBezTo>
                    <a:pt x="80" y="189"/>
                    <a:pt x="80" y="189"/>
                    <a:pt x="80" y="189"/>
                  </a:cubicBezTo>
                  <a:cubicBezTo>
                    <a:pt x="80" y="189"/>
                    <a:pt x="80" y="189"/>
                    <a:pt x="80" y="189"/>
                  </a:cubicBezTo>
                  <a:cubicBezTo>
                    <a:pt x="80" y="189"/>
                    <a:pt x="80" y="189"/>
                    <a:pt x="80" y="189"/>
                  </a:cubicBezTo>
                  <a:close/>
                  <a:moveTo>
                    <a:pt x="80" y="189"/>
                  </a:moveTo>
                  <a:cubicBezTo>
                    <a:pt x="80" y="189"/>
                    <a:pt x="80" y="189"/>
                    <a:pt x="80" y="189"/>
                  </a:cubicBezTo>
                  <a:cubicBezTo>
                    <a:pt x="79" y="189"/>
                    <a:pt x="79" y="188"/>
                    <a:pt x="79" y="188"/>
                  </a:cubicBezTo>
                  <a:cubicBezTo>
                    <a:pt x="79" y="188"/>
                    <a:pt x="79" y="189"/>
                    <a:pt x="80" y="189"/>
                  </a:cubicBezTo>
                  <a:close/>
                  <a:moveTo>
                    <a:pt x="78" y="187"/>
                  </a:moveTo>
                  <a:cubicBezTo>
                    <a:pt x="78" y="187"/>
                    <a:pt x="78" y="187"/>
                    <a:pt x="78" y="187"/>
                  </a:cubicBezTo>
                  <a:cubicBezTo>
                    <a:pt x="78" y="186"/>
                    <a:pt x="78" y="186"/>
                    <a:pt x="78" y="186"/>
                  </a:cubicBezTo>
                  <a:cubicBezTo>
                    <a:pt x="78" y="186"/>
                    <a:pt x="78" y="186"/>
                    <a:pt x="78" y="187"/>
                  </a:cubicBezTo>
                  <a:close/>
                  <a:moveTo>
                    <a:pt x="69" y="179"/>
                  </a:moveTo>
                  <a:cubicBezTo>
                    <a:pt x="69" y="179"/>
                    <a:pt x="69" y="179"/>
                    <a:pt x="69" y="179"/>
                  </a:cubicBezTo>
                  <a:cubicBezTo>
                    <a:pt x="69" y="179"/>
                    <a:pt x="69" y="179"/>
                    <a:pt x="69" y="179"/>
                  </a:cubicBezTo>
                  <a:cubicBezTo>
                    <a:pt x="69" y="179"/>
                    <a:pt x="69" y="179"/>
                    <a:pt x="69" y="179"/>
                  </a:cubicBezTo>
                  <a:close/>
                  <a:moveTo>
                    <a:pt x="58" y="160"/>
                  </a:moveTo>
                  <a:cubicBezTo>
                    <a:pt x="58" y="160"/>
                    <a:pt x="58" y="160"/>
                    <a:pt x="58" y="160"/>
                  </a:cubicBezTo>
                  <a:cubicBezTo>
                    <a:pt x="58" y="160"/>
                    <a:pt x="58" y="160"/>
                    <a:pt x="58" y="160"/>
                  </a:cubicBezTo>
                  <a:cubicBezTo>
                    <a:pt x="55" y="163"/>
                    <a:pt x="55" y="163"/>
                    <a:pt x="55" y="163"/>
                  </a:cubicBezTo>
                  <a:lnTo>
                    <a:pt x="58" y="160"/>
                  </a:lnTo>
                  <a:close/>
                  <a:moveTo>
                    <a:pt x="52" y="128"/>
                  </a:moveTo>
                  <a:cubicBezTo>
                    <a:pt x="52" y="128"/>
                    <a:pt x="52" y="128"/>
                    <a:pt x="52" y="128"/>
                  </a:cubicBezTo>
                  <a:cubicBezTo>
                    <a:pt x="52" y="128"/>
                    <a:pt x="52" y="128"/>
                    <a:pt x="52" y="128"/>
                  </a:cubicBezTo>
                  <a:cubicBezTo>
                    <a:pt x="52" y="128"/>
                    <a:pt x="52" y="128"/>
                    <a:pt x="52" y="128"/>
                  </a:cubicBezTo>
                  <a:cubicBezTo>
                    <a:pt x="53" y="128"/>
                    <a:pt x="53" y="128"/>
                    <a:pt x="53" y="128"/>
                  </a:cubicBezTo>
                  <a:cubicBezTo>
                    <a:pt x="51" y="129"/>
                    <a:pt x="51" y="129"/>
                    <a:pt x="51" y="129"/>
                  </a:cubicBezTo>
                  <a:cubicBezTo>
                    <a:pt x="51" y="129"/>
                    <a:pt x="51" y="128"/>
                    <a:pt x="51" y="128"/>
                  </a:cubicBezTo>
                  <a:cubicBezTo>
                    <a:pt x="51" y="128"/>
                    <a:pt x="51" y="128"/>
                    <a:pt x="52" y="128"/>
                  </a:cubicBezTo>
                  <a:close/>
                  <a:moveTo>
                    <a:pt x="47" y="128"/>
                  </a:moveTo>
                  <a:cubicBezTo>
                    <a:pt x="48" y="129"/>
                    <a:pt x="48" y="130"/>
                    <a:pt x="49" y="130"/>
                  </a:cubicBezTo>
                  <a:cubicBezTo>
                    <a:pt x="50" y="131"/>
                    <a:pt x="51" y="131"/>
                    <a:pt x="52" y="131"/>
                  </a:cubicBezTo>
                  <a:cubicBezTo>
                    <a:pt x="52" y="131"/>
                    <a:pt x="52" y="131"/>
                    <a:pt x="52" y="131"/>
                  </a:cubicBezTo>
                  <a:cubicBezTo>
                    <a:pt x="52" y="131"/>
                    <a:pt x="52" y="131"/>
                    <a:pt x="53" y="131"/>
                  </a:cubicBezTo>
                  <a:cubicBezTo>
                    <a:pt x="52" y="132"/>
                    <a:pt x="52" y="132"/>
                    <a:pt x="51" y="133"/>
                  </a:cubicBezTo>
                  <a:cubicBezTo>
                    <a:pt x="51" y="133"/>
                    <a:pt x="51" y="133"/>
                    <a:pt x="51" y="133"/>
                  </a:cubicBezTo>
                  <a:cubicBezTo>
                    <a:pt x="51" y="133"/>
                    <a:pt x="51" y="133"/>
                    <a:pt x="51" y="133"/>
                  </a:cubicBezTo>
                  <a:cubicBezTo>
                    <a:pt x="51" y="133"/>
                    <a:pt x="51" y="133"/>
                    <a:pt x="51" y="133"/>
                  </a:cubicBezTo>
                  <a:cubicBezTo>
                    <a:pt x="50" y="133"/>
                    <a:pt x="49" y="133"/>
                    <a:pt x="48" y="133"/>
                  </a:cubicBezTo>
                  <a:cubicBezTo>
                    <a:pt x="47" y="133"/>
                    <a:pt x="47" y="133"/>
                    <a:pt x="47" y="133"/>
                  </a:cubicBezTo>
                  <a:cubicBezTo>
                    <a:pt x="47" y="133"/>
                    <a:pt x="47" y="133"/>
                    <a:pt x="47" y="133"/>
                  </a:cubicBezTo>
                  <a:cubicBezTo>
                    <a:pt x="47" y="133"/>
                    <a:pt x="47" y="133"/>
                    <a:pt x="47" y="133"/>
                  </a:cubicBezTo>
                  <a:cubicBezTo>
                    <a:pt x="47" y="133"/>
                    <a:pt x="47" y="133"/>
                    <a:pt x="47" y="132"/>
                  </a:cubicBezTo>
                  <a:cubicBezTo>
                    <a:pt x="47" y="132"/>
                    <a:pt x="47" y="132"/>
                    <a:pt x="47" y="131"/>
                  </a:cubicBezTo>
                  <a:cubicBezTo>
                    <a:pt x="47" y="131"/>
                    <a:pt x="47" y="131"/>
                    <a:pt x="47" y="130"/>
                  </a:cubicBezTo>
                  <a:cubicBezTo>
                    <a:pt x="47" y="130"/>
                    <a:pt x="47" y="129"/>
                    <a:pt x="47" y="128"/>
                  </a:cubicBezTo>
                  <a:cubicBezTo>
                    <a:pt x="47" y="128"/>
                    <a:pt x="47" y="127"/>
                    <a:pt x="47" y="127"/>
                  </a:cubicBezTo>
                  <a:cubicBezTo>
                    <a:pt x="47" y="126"/>
                    <a:pt x="46" y="126"/>
                    <a:pt x="46" y="125"/>
                  </a:cubicBezTo>
                  <a:cubicBezTo>
                    <a:pt x="46" y="125"/>
                    <a:pt x="45" y="124"/>
                    <a:pt x="45" y="124"/>
                  </a:cubicBezTo>
                  <a:cubicBezTo>
                    <a:pt x="45" y="124"/>
                    <a:pt x="45" y="124"/>
                    <a:pt x="45" y="124"/>
                  </a:cubicBezTo>
                  <a:cubicBezTo>
                    <a:pt x="45" y="124"/>
                    <a:pt x="45" y="124"/>
                    <a:pt x="45" y="124"/>
                  </a:cubicBezTo>
                  <a:cubicBezTo>
                    <a:pt x="45" y="124"/>
                    <a:pt x="45" y="124"/>
                    <a:pt x="45" y="124"/>
                  </a:cubicBezTo>
                  <a:cubicBezTo>
                    <a:pt x="45" y="124"/>
                    <a:pt x="45" y="124"/>
                    <a:pt x="45" y="124"/>
                  </a:cubicBezTo>
                  <a:cubicBezTo>
                    <a:pt x="46" y="124"/>
                    <a:pt x="46" y="124"/>
                    <a:pt x="47" y="124"/>
                  </a:cubicBezTo>
                  <a:cubicBezTo>
                    <a:pt x="47" y="124"/>
                    <a:pt x="47" y="124"/>
                    <a:pt x="47" y="124"/>
                  </a:cubicBezTo>
                  <a:cubicBezTo>
                    <a:pt x="47" y="125"/>
                    <a:pt x="48" y="125"/>
                    <a:pt x="48" y="125"/>
                  </a:cubicBezTo>
                  <a:cubicBezTo>
                    <a:pt x="47" y="126"/>
                    <a:pt x="47" y="127"/>
                    <a:pt x="47" y="128"/>
                  </a:cubicBezTo>
                  <a:close/>
                  <a:moveTo>
                    <a:pt x="47" y="131"/>
                  </a:moveTo>
                  <a:cubicBezTo>
                    <a:pt x="47" y="131"/>
                    <a:pt x="47" y="131"/>
                    <a:pt x="47" y="131"/>
                  </a:cubicBezTo>
                  <a:cubicBezTo>
                    <a:pt x="47" y="131"/>
                    <a:pt x="47" y="132"/>
                    <a:pt x="47" y="132"/>
                  </a:cubicBezTo>
                  <a:cubicBezTo>
                    <a:pt x="47" y="132"/>
                    <a:pt x="47" y="131"/>
                    <a:pt x="47" y="131"/>
                  </a:cubicBezTo>
                  <a:close/>
                  <a:moveTo>
                    <a:pt x="43" y="141"/>
                  </a:moveTo>
                  <a:cubicBezTo>
                    <a:pt x="43" y="141"/>
                    <a:pt x="43" y="140"/>
                    <a:pt x="43" y="140"/>
                  </a:cubicBezTo>
                  <a:cubicBezTo>
                    <a:pt x="43" y="140"/>
                    <a:pt x="43" y="140"/>
                    <a:pt x="43" y="140"/>
                  </a:cubicBezTo>
                  <a:cubicBezTo>
                    <a:pt x="43" y="140"/>
                    <a:pt x="43" y="141"/>
                    <a:pt x="43" y="141"/>
                  </a:cubicBezTo>
                  <a:close/>
                  <a:moveTo>
                    <a:pt x="102" y="216"/>
                  </a:moveTo>
                  <a:cubicBezTo>
                    <a:pt x="103" y="216"/>
                    <a:pt x="103" y="215"/>
                    <a:pt x="104" y="214"/>
                  </a:cubicBezTo>
                  <a:cubicBezTo>
                    <a:pt x="104" y="214"/>
                    <a:pt x="104" y="214"/>
                    <a:pt x="104" y="214"/>
                  </a:cubicBezTo>
                  <a:cubicBezTo>
                    <a:pt x="104" y="213"/>
                    <a:pt x="105" y="213"/>
                    <a:pt x="105" y="212"/>
                  </a:cubicBezTo>
                  <a:cubicBezTo>
                    <a:pt x="106" y="211"/>
                    <a:pt x="105" y="209"/>
                    <a:pt x="105" y="208"/>
                  </a:cubicBezTo>
                  <a:cubicBezTo>
                    <a:pt x="104" y="208"/>
                    <a:pt x="103" y="207"/>
                    <a:pt x="102" y="207"/>
                  </a:cubicBezTo>
                  <a:cubicBezTo>
                    <a:pt x="101" y="207"/>
                    <a:pt x="100" y="207"/>
                    <a:pt x="99" y="207"/>
                  </a:cubicBezTo>
                  <a:cubicBezTo>
                    <a:pt x="99" y="207"/>
                    <a:pt x="98" y="207"/>
                    <a:pt x="98" y="208"/>
                  </a:cubicBezTo>
                  <a:cubicBezTo>
                    <a:pt x="98" y="208"/>
                    <a:pt x="98" y="208"/>
                    <a:pt x="98" y="208"/>
                  </a:cubicBezTo>
                  <a:cubicBezTo>
                    <a:pt x="98" y="207"/>
                    <a:pt x="98" y="207"/>
                    <a:pt x="97" y="207"/>
                  </a:cubicBezTo>
                  <a:cubicBezTo>
                    <a:pt x="97" y="207"/>
                    <a:pt x="97" y="206"/>
                    <a:pt x="97" y="206"/>
                  </a:cubicBezTo>
                  <a:cubicBezTo>
                    <a:pt x="97" y="206"/>
                    <a:pt x="96" y="205"/>
                    <a:pt x="96" y="205"/>
                  </a:cubicBezTo>
                  <a:cubicBezTo>
                    <a:pt x="96" y="205"/>
                    <a:pt x="96" y="204"/>
                    <a:pt x="96" y="204"/>
                  </a:cubicBezTo>
                  <a:cubicBezTo>
                    <a:pt x="96" y="204"/>
                    <a:pt x="96" y="204"/>
                    <a:pt x="96" y="204"/>
                  </a:cubicBezTo>
                  <a:cubicBezTo>
                    <a:pt x="96" y="203"/>
                    <a:pt x="96" y="203"/>
                    <a:pt x="96" y="203"/>
                  </a:cubicBezTo>
                  <a:cubicBezTo>
                    <a:pt x="97" y="203"/>
                    <a:pt x="98" y="202"/>
                    <a:pt x="98" y="201"/>
                  </a:cubicBezTo>
                  <a:cubicBezTo>
                    <a:pt x="99" y="200"/>
                    <a:pt x="99" y="199"/>
                    <a:pt x="99" y="199"/>
                  </a:cubicBezTo>
                  <a:cubicBezTo>
                    <a:pt x="99" y="198"/>
                    <a:pt x="99" y="198"/>
                    <a:pt x="99" y="198"/>
                  </a:cubicBezTo>
                  <a:cubicBezTo>
                    <a:pt x="100" y="198"/>
                    <a:pt x="100" y="197"/>
                    <a:pt x="101" y="196"/>
                  </a:cubicBezTo>
                  <a:cubicBezTo>
                    <a:pt x="101" y="196"/>
                    <a:pt x="101" y="196"/>
                    <a:pt x="101" y="196"/>
                  </a:cubicBezTo>
                  <a:cubicBezTo>
                    <a:pt x="101" y="196"/>
                    <a:pt x="101" y="196"/>
                    <a:pt x="101" y="195"/>
                  </a:cubicBezTo>
                  <a:cubicBezTo>
                    <a:pt x="101" y="195"/>
                    <a:pt x="101" y="195"/>
                    <a:pt x="102" y="195"/>
                  </a:cubicBezTo>
                  <a:cubicBezTo>
                    <a:pt x="102" y="195"/>
                    <a:pt x="102" y="195"/>
                    <a:pt x="102" y="194"/>
                  </a:cubicBezTo>
                  <a:cubicBezTo>
                    <a:pt x="103" y="194"/>
                    <a:pt x="103" y="194"/>
                    <a:pt x="103" y="194"/>
                  </a:cubicBezTo>
                  <a:cubicBezTo>
                    <a:pt x="103" y="194"/>
                    <a:pt x="103" y="194"/>
                    <a:pt x="103" y="193"/>
                  </a:cubicBezTo>
                  <a:cubicBezTo>
                    <a:pt x="104" y="193"/>
                    <a:pt x="104" y="192"/>
                    <a:pt x="104" y="191"/>
                  </a:cubicBezTo>
                  <a:cubicBezTo>
                    <a:pt x="104" y="191"/>
                    <a:pt x="104" y="191"/>
                    <a:pt x="104" y="191"/>
                  </a:cubicBezTo>
                  <a:cubicBezTo>
                    <a:pt x="105" y="191"/>
                    <a:pt x="105" y="190"/>
                    <a:pt x="105" y="189"/>
                  </a:cubicBezTo>
                  <a:cubicBezTo>
                    <a:pt x="105" y="189"/>
                    <a:pt x="105" y="188"/>
                    <a:pt x="105" y="188"/>
                  </a:cubicBezTo>
                  <a:cubicBezTo>
                    <a:pt x="105" y="188"/>
                    <a:pt x="105" y="188"/>
                    <a:pt x="105" y="187"/>
                  </a:cubicBezTo>
                  <a:cubicBezTo>
                    <a:pt x="105" y="187"/>
                    <a:pt x="105" y="187"/>
                    <a:pt x="105" y="187"/>
                  </a:cubicBezTo>
                  <a:cubicBezTo>
                    <a:pt x="105" y="187"/>
                    <a:pt x="105" y="187"/>
                    <a:pt x="105" y="187"/>
                  </a:cubicBezTo>
                  <a:cubicBezTo>
                    <a:pt x="105" y="186"/>
                    <a:pt x="106" y="186"/>
                    <a:pt x="106" y="186"/>
                  </a:cubicBezTo>
                  <a:cubicBezTo>
                    <a:pt x="106" y="186"/>
                    <a:pt x="106" y="186"/>
                    <a:pt x="107" y="186"/>
                  </a:cubicBezTo>
                  <a:cubicBezTo>
                    <a:pt x="107" y="186"/>
                    <a:pt x="107" y="186"/>
                    <a:pt x="107" y="186"/>
                  </a:cubicBezTo>
                  <a:cubicBezTo>
                    <a:pt x="109" y="186"/>
                    <a:pt x="111" y="185"/>
                    <a:pt x="111" y="185"/>
                  </a:cubicBezTo>
                  <a:cubicBezTo>
                    <a:pt x="111" y="185"/>
                    <a:pt x="111" y="185"/>
                    <a:pt x="112" y="184"/>
                  </a:cubicBezTo>
                  <a:cubicBezTo>
                    <a:pt x="112" y="184"/>
                    <a:pt x="113" y="183"/>
                    <a:pt x="113" y="183"/>
                  </a:cubicBezTo>
                  <a:cubicBezTo>
                    <a:pt x="114" y="182"/>
                    <a:pt x="114" y="182"/>
                    <a:pt x="114" y="181"/>
                  </a:cubicBezTo>
                  <a:cubicBezTo>
                    <a:pt x="114" y="181"/>
                    <a:pt x="115" y="181"/>
                    <a:pt x="115" y="180"/>
                  </a:cubicBezTo>
                  <a:cubicBezTo>
                    <a:pt x="115" y="180"/>
                    <a:pt x="115" y="179"/>
                    <a:pt x="116" y="179"/>
                  </a:cubicBezTo>
                  <a:cubicBezTo>
                    <a:pt x="116" y="178"/>
                    <a:pt x="116" y="178"/>
                    <a:pt x="116" y="177"/>
                  </a:cubicBezTo>
                  <a:cubicBezTo>
                    <a:pt x="116" y="177"/>
                    <a:pt x="116" y="177"/>
                    <a:pt x="116" y="177"/>
                  </a:cubicBezTo>
                  <a:cubicBezTo>
                    <a:pt x="116" y="177"/>
                    <a:pt x="116" y="177"/>
                    <a:pt x="116" y="177"/>
                  </a:cubicBezTo>
                  <a:cubicBezTo>
                    <a:pt x="116" y="176"/>
                    <a:pt x="116" y="176"/>
                    <a:pt x="116" y="175"/>
                  </a:cubicBezTo>
                  <a:cubicBezTo>
                    <a:pt x="117" y="174"/>
                    <a:pt x="117" y="173"/>
                    <a:pt x="117" y="173"/>
                  </a:cubicBezTo>
                  <a:cubicBezTo>
                    <a:pt x="117" y="173"/>
                    <a:pt x="117" y="173"/>
                    <a:pt x="117" y="172"/>
                  </a:cubicBezTo>
                  <a:cubicBezTo>
                    <a:pt x="117" y="172"/>
                    <a:pt x="117" y="172"/>
                    <a:pt x="117" y="172"/>
                  </a:cubicBezTo>
                  <a:cubicBezTo>
                    <a:pt x="117" y="172"/>
                    <a:pt x="118" y="171"/>
                    <a:pt x="118" y="171"/>
                  </a:cubicBezTo>
                  <a:cubicBezTo>
                    <a:pt x="118" y="170"/>
                    <a:pt x="118" y="170"/>
                    <a:pt x="119" y="169"/>
                  </a:cubicBezTo>
                  <a:cubicBezTo>
                    <a:pt x="119" y="169"/>
                    <a:pt x="119" y="169"/>
                    <a:pt x="119" y="168"/>
                  </a:cubicBezTo>
                  <a:cubicBezTo>
                    <a:pt x="119" y="168"/>
                    <a:pt x="119" y="168"/>
                    <a:pt x="120" y="168"/>
                  </a:cubicBezTo>
                  <a:cubicBezTo>
                    <a:pt x="120" y="168"/>
                    <a:pt x="121" y="167"/>
                    <a:pt x="121" y="166"/>
                  </a:cubicBezTo>
                  <a:cubicBezTo>
                    <a:pt x="122" y="166"/>
                    <a:pt x="123" y="165"/>
                    <a:pt x="123" y="164"/>
                  </a:cubicBezTo>
                  <a:cubicBezTo>
                    <a:pt x="123" y="164"/>
                    <a:pt x="123" y="163"/>
                    <a:pt x="123" y="161"/>
                  </a:cubicBezTo>
                  <a:cubicBezTo>
                    <a:pt x="123" y="161"/>
                    <a:pt x="123" y="161"/>
                    <a:pt x="123" y="160"/>
                  </a:cubicBezTo>
                  <a:cubicBezTo>
                    <a:pt x="123" y="160"/>
                    <a:pt x="123" y="160"/>
                    <a:pt x="123" y="160"/>
                  </a:cubicBezTo>
                  <a:cubicBezTo>
                    <a:pt x="123" y="160"/>
                    <a:pt x="123" y="160"/>
                    <a:pt x="123" y="160"/>
                  </a:cubicBezTo>
                  <a:cubicBezTo>
                    <a:pt x="123" y="160"/>
                    <a:pt x="123" y="160"/>
                    <a:pt x="123" y="160"/>
                  </a:cubicBezTo>
                  <a:cubicBezTo>
                    <a:pt x="123" y="159"/>
                    <a:pt x="123" y="157"/>
                    <a:pt x="122" y="157"/>
                  </a:cubicBezTo>
                  <a:cubicBezTo>
                    <a:pt x="122" y="156"/>
                    <a:pt x="120" y="155"/>
                    <a:pt x="119" y="155"/>
                  </a:cubicBezTo>
                  <a:cubicBezTo>
                    <a:pt x="119" y="155"/>
                    <a:pt x="119" y="155"/>
                    <a:pt x="119" y="155"/>
                  </a:cubicBezTo>
                  <a:cubicBezTo>
                    <a:pt x="119" y="155"/>
                    <a:pt x="118" y="155"/>
                    <a:pt x="118" y="155"/>
                  </a:cubicBezTo>
                  <a:cubicBezTo>
                    <a:pt x="118" y="155"/>
                    <a:pt x="118" y="155"/>
                    <a:pt x="118" y="155"/>
                  </a:cubicBezTo>
                  <a:cubicBezTo>
                    <a:pt x="118" y="155"/>
                    <a:pt x="118" y="155"/>
                    <a:pt x="118" y="155"/>
                  </a:cubicBezTo>
                  <a:cubicBezTo>
                    <a:pt x="117" y="155"/>
                    <a:pt x="117" y="154"/>
                    <a:pt x="117" y="154"/>
                  </a:cubicBezTo>
                  <a:cubicBezTo>
                    <a:pt x="116" y="154"/>
                    <a:pt x="116" y="153"/>
                    <a:pt x="116" y="153"/>
                  </a:cubicBezTo>
                  <a:cubicBezTo>
                    <a:pt x="115" y="153"/>
                    <a:pt x="115" y="153"/>
                    <a:pt x="115" y="153"/>
                  </a:cubicBezTo>
                  <a:cubicBezTo>
                    <a:pt x="114" y="151"/>
                    <a:pt x="112" y="151"/>
                    <a:pt x="111" y="151"/>
                  </a:cubicBezTo>
                  <a:cubicBezTo>
                    <a:pt x="110" y="151"/>
                    <a:pt x="110" y="151"/>
                    <a:pt x="110" y="151"/>
                  </a:cubicBezTo>
                  <a:cubicBezTo>
                    <a:pt x="109" y="151"/>
                    <a:pt x="109" y="151"/>
                    <a:pt x="109" y="151"/>
                  </a:cubicBezTo>
                  <a:cubicBezTo>
                    <a:pt x="109" y="151"/>
                    <a:pt x="109" y="151"/>
                    <a:pt x="109" y="151"/>
                  </a:cubicBezTo>
                  <a:cubicBezTo>
                    <a:pt x="108" y="151"/>
                    <a:pt x="108" y="151"/>
                    <a:pt x="107" y="151"/>
                  </a:cubicBezTo>
                  <a:cubicBezTo>
                    <a:pt x="107" y="151"/>
                    <a:pt x="106" y="150"/>
                    <a:pt x="106" y="150"/>
                  </a:cubicBezTo>
                  <a:cubicBezTo>
                    <a:pt x="106" y="150"/>
                    <a:pt x="105" y="149"/>
                    <a:pt x="104" y="149"/>
                  </a:cubicBezTo>
                  <a:cubicBezTo>
                    <a:pt x="104" y="149"/>
                    <a:pt x="103" y="149"/>
                    <a:pt x="103" y="149"/>
                  </a:cubicBezTo>
                  <a:cubicBezTo>
                    <a:pt x="103" y="149"/>
                    <a:pt x="102" y="149"/>
                    <a:pt x="101" y="149"/>
                  </a:cubicBezTo>
                  <a:cubicBezTo>
                    <a:pt x="101" y="149"/>
                    <a:pt x="101" y="149"/>
                    <a:pt x="101" y="149"/>
                  </a:cubicBezTo>
                  <a:cubicBezTo>
                    <a:pt x="100" y="148"/>
                    <a:pt x="100" y="148"/>
                    <a:pt x="99" y="148"/>
                  </a:cubicBezTo>
                  <a:cubicBezTo>
                    <a:pt x="99" y="147"/>
                    <a:pt x="99" y="146"/>
                    <a:pt x="98" y="146"/>
                  </a:cubicBezTo>
                  <a:cubicBezTo>
                    <a:pt x="98" y="145"/>
                    <a:pt x="98" y="145"/>
                    <a:pt x="98" y="145"/>
                  </a:cubicBezTo>
                  <a:cubicBezTo>
                    <a:pt x="98" y="145"/>
                    <a:pt x="97" y="144"/>
                    <a:pt x="97" y="143"/>
                  </a:cubicBezTo>
                  <a:cubicBezTo>
                    <a:pt x="97" y="143"/>
                    <a:pt x="96" y="143"/>
                    <a:pt x="96" y="142"/>
                  </a:cubicBezTo>
                  <a:cubicBezTo>
                    <a:pt x="96" y="142"/>
                    <a:pt x="95" y="142"/>
                    <a:pt x="95" y="141"/>
                  </a:cubicBezTo>
                  <a:cubicBezTo>
                    <a:pt x="95" y="141"/>
                    <a:pt x="94" y="141"/>
                    <a:pt x="94" y="141"/>
                  </a:cubicBezTo>
                  <a:cubicBezTo>
                    <a:pt x="94" y="140"/>
                    <a:pt x="93" y="140"/>
                    <a:pt x="92" y="140"/>
                  </a:cubicBezTo>
                  <a:cubicBezTo>
                    <a:pt x="92" y="139"/>
                    <a:pt x="91" y="139"/>
                    <a:pt x="91" y="139"/>
                  </a:cubicBezTo>
                  <a:cubicBezTo>
                    <a:pt x="90" y="138"/>
                    <a:pt x="89" y="138"/>
                    <a:pt x="88" y="138"/>
                  </a:cubicBezTo>
                  <a:cubicBezTo>
                    <a:pt x="88" y="138"/>
                    <a:pt x="88" y="138"/>
                    <a:pt x="88" y="138"/>
                  </a:cubicBezTo>
                  <a:cubicBezTo>
                    <a:pt x="88" y="138"/>
                    <a:pt x="88" y="138"/>
                    <a:pt x="88" y="138"/>
                  </a:cubicBezTo>
                  <a:cubicBezTo>
                    <a:pt x="87" y="138"/>
                    <a:pt x="86" y="138"/>
                    <a:pt x="86" y="138"/>
                  </a:cubicBezTo>
                  <a:cubicBezTo>
                    <a:pt x="85" y="138"/>
                    <a:pt x="85" y="138"/>
                    <a:pt x="85" y="138"/>
                  </a:cubicBezTo>
                  <a:cubicBezTo>
                    <a:pt x="85" y="138"/>
                    <a:pt x="85" y="138"/>
                    <a:pt x="85" y="138"/>
                  </a:cubicBezTo>
                  <a:cubicBezTo>
                    <a:pt x="85" y="138"/>
                    <a:pt x="85" y="138"/>
                    <a:pt x="84" y="138"/>
                  </a:cubicBezTo>
                  <a:cubicBezTo>
                    <a:pt x="84" y="138"/>
                    <a:pt x="84" y="138"/>
                    <a:pt x="84" y="138"/>
                  </a:cubicBezTo>
                  <a:cubicBezTo>
                    <a:pt x="84" y="138"/>
                    <a:pt x="84" y="138"/>
                    <a:pt x="84" y="137"/>
                  </a:cubicBezTo>
                  <a:cubicBezTo>
                    <a:pt x="83" y="136"/>
                    <a:pt x="82" y="136"/>
                    <a:pt x="81" y="136"/>
                  </a:cubicBezTo>
                  <a:cubicBezTo>
                    <a:pt x="81" y="136"/>
                    <a:pt x="81" y="136"/>
                    <a:pt x="81" y="136"/>
                  </a:cubicBezTo>
                  <a:cubicBezTo>
                    <a:pt x="81" y="136"/>
                    <a:pt x="81" y="136"/>
                    <a:pt x="81" y="136"/>
                  </a:cubicBezTo>
                  <a:cubicBezTo>
                    <a:pt x="81" y="135"/>
                    <a:pt x="81" y="135"/>
                    <a:pt x="81" y="135"/>
                  </a:cubicBezTo>
                  <a:cubicBezTo>
                    <a:pt x="81" y="135"/>
                    <a:pt x="81" y="135"/>
                    <a:pt x="81" y="135"/>
                  </a:cubicBezTo>
                  <a:cubicBezTo>
                    <a:pt x="81" y="135"/>
                    <a:pt x="81" y="135"/>
                    <a:pt x="80" y="135"/>
                  </a:cubicBezTo>
                  <a:cubicBezTo>
                    <a:pt x="80" y="135"/>
                    <a:pt x="80" y="135"/>
                    <a:pt x="80" y="135"/>
                  </a:cubicBezTo>
                  <a:cubicBezTo>
                    <a:pt x="80" y="135"/>
                    <a:pt x="80" y="135"/>
                    <a:pt x="80" y="134"/>
                  </a:cubicBezTo>
                  <a:cubicBezTo>
                    <a:pt x="80" y="134"/>
                    <a:pt x="79" y="133"/>
                    <a:pt x="79" y="133"/>
                  </a:cubicBezTo>
                  <a:cubicBezTo>
                    <a:pt x="78" y="133"/>
                    <a:pt x="78" y="133"/>
                    <a:pt x="78" y="133"/>
                  </a:cubicBezTo>
                  <a:cubicBezTo>
                    <a:pt x="78" y="133"/>
                    <a:pt x="78" y="132"/>
                    <a:pt x="78" y="132"/>
                  </a:cubicBezTo>
                  <a:cubicBezTo>
                    <a:pt x="77" y="132"/>
                    <a:pt x="76" y="131"/>
                    <a:pt x="75" y="131"/>
                  </a:cubicBezTo>
                  <a:cubicBezTo>
                    <a:pt x="74" y="131"/>
                    <a:pt x="74" y="131"/>
                    <a:pt x="73" y="131"/>
                  </a:cubicBezTo>
                  <a:cubicBezTo>
                    <a:pt x="73" y="131"/>
                    <a:pt x="72" y="131"/>
                    <a:pt x="72" y="131"/>
                  </a:cubicBezTo>
                  <a:cubicBezTo>
                    <a:pt x="71" y="131"/>
                    <a:pt x="71" y="131"/>
                    <a:pt x="70" y="132"/>
                  </a:cubicBezTo>
                  <a:cubicBezTo>
                    <a:pt x="70" y="131"/>
                    <a:pt x="69" y="131"/>
                    <a:pt x="68" y="131"/>
                  </a:cubicBezTo>
                  <a:cubicBezTo>
                    <a:pt x="68" y="131"/>
                    <a:pt x="68" y="131"/>
                    <a:pt x="68" y="131"/>
                  </a:cubicBezTo>
                  <a:cubicBezTo>
                    <a:pt x="68" y="131"/>
                    <a:pt x="67" y="131"/>
                    <a:pt x="67" y="131"/>
                  </a:cubicBezTo>
                  <a:cubicBezTo>
                    <a:pt x="68" y="131"/>
                    <a:pt x="68" y="131"/>
                    <a:pt x="68" y="131"/>
                  </a:cubicBezTo>
                  <a:cubicBezTo>
                    <a:pt x="69" y="131"/>
                    <a:pt x="69" y="131"/>
                    <a:pt x="69" y="131"/>
                  </a:cubicBezTo>
                  <a:cubicBezTo>
                    <a:pt x="69" y="131"/>
                    <a:pt x="69" y="131"/>
                    <a:pt x="69" y="131"/>
                  </a:cubicBezTo>
                  <a:cubicBezTo>
                    <a:pt x="70" y="131"/>
                    <a:pt x="70" y="131"/>
                    <a:pt x="70" y="131"/>
                  </a:cubicBezTo>
                  <a:cubicBezTo>
                    <a:pt x="71" y="131"/>
                    <a:pt x="71" y="131"/>
                    <a:pt x="72" y="130"/>
                  </a:cubicBezTo>
                  <a:cubicBezTo>
                    <a:pt x="73" y="130"/>
                    <a:pt x="74" y="129"/>
                    <a:pt x="74" y="128"/>
                  </a:cubicBezTo>
                  <a:cubicBezTo>
                    <a:pt x="75" y="127"/>
                    <a:pt x="74" y="126"/>
                    <a:pt x="74" y="125"/>
                  </a:cubicBezTo>
                  <a:cubicBezTo>
                    <a:pt x="73" y="124"/>
                    <a:pt x="72" y="123"/>
                    <a:pt x="72" y="123"/>
                  </a:cubicBezTo>
                  <a:cubicBezTo>
                    <a:pt x="71" y="123"/>
                    <a:pt x="70" y="123"/>
                    <a:pt x="69" y="123"/>
                  </a:cubicBezTo>
                  <a:cubicBezTo>
                    <a:pt x="69" y="123"/>
                    <a:pt x="69" y="123"/>
                    <a:pt x="69" y="123"/>
                  </a:cubicBezTo>
                  <a:cubicBezTo>
                    <a:pt x="69" y="123"/>
                    <a:pt x="68" y="123"/>
                    <a:pt x="68" y="123"/>
                  </a:cubicBezTo>
                  <a:cubicBezTo>
                    <a:pt x="68" y="122"/>
                    <a:pt x="67" y="122"/>
                    <a:pt x="67" y="122"/>
                  </a:cubicBezTo>
                  <a:cubicBezTo>
                    <a:pt x="66" y="122"/>
                    <a:pt x="66" y="122"/>
                    <a:pt x="66" y="122"/>
                  </a:cubicBezTo>
                  <a:cubicBezTo>
                    <a:pt x="65" y="121"/>
                    <a:pt x="65" y="121"/>
                    <a:pt x="64" y="121"/>
                  </a:cubicBezTo>
                  <a:cubicBezTo>
                    <a:pt x="64" y="121"/>
                    <a:pt x="64" y="121"/>
                    <a:pt x="64" y="121"/>
                  </a:cubicBezTo>
                  <a:cubicBezTo>
                    <a:pt x="63" y="120"/>
                    <a:pt x="62" y="120"/>
                    <a:pt x="62" y="121"/>
                  </a:cubicBezTo>
                  <a:cubicBezTo>
                    <a:pt x="61" y="121"/>
                    <a:pt x="61" y="121"/>
                    <a:pt x="61" y="121"/>
                  </a:cubicBezTo>
                  <a:cubicBezTo>
                    <a:pt x="61" y="121"/>
                    <a:pt x="61" y="121"/>
                    <a:pt x="60" y="121"/>
                  </a:cubicBezTo>
                  <a:cubicBezTo>
                    <a:pt x="60" y="121"/>
                    <a:pt x="60" y="120"/>
                    <a:pt x="59" y="120"/>
                  </a:cubicBezTo>
                  <a:cubicBezTo>
                    <a:pt x="59" y="120"/>
                    <a:pt x="59" y="120"/>
                    <a:pt x="59" y="120"/>
                  </a:cubicBezTo>
                  <a:cubicBezTo>
                    <a:pt x="58" y="120"/>
                    <a:pt x="58" y="120"/>
                    <a:pt x="58" y="120"/>
                  </a:cubicBezTo>
                  <a:cubicBezTo>
                    <a:pt x="58" y="119"/>
                    <a:pt x="57" y="119"/>
                    <a:pt x="57" y="119"/>
                  </a:cubicBezTo>
                  <a:cubicBezTo>
                    <a:pt x="56" y="119"/>
                    <a:pt x="56" y="119"/>
                    <a:pt x="56" y="119"/>
                  </a:cubicBezTo>
                  <a:cubicBezTo>
                    <a:pt x="56" y="119"/>
                    <a:pt x="56" y="119"/>
                    <a:pt x="55" y="119"/>
                  </a:cubicBezTo>
                  <a:cubicBezTo>
                    <a:pt x="55" y="119"/>
                    <a:pt x="55" y="119"/>
                    <a:pt x="55" y="118"/>
                  </a:cubicBezTo>
                  <a:cubicBezTo>
                    <a:pt x="55" y="118"/>
                    <a:pt x="55" y="118"/>
                    <a:pt x="55" y="118"/>
                  </a:cubicBezTo>
                  <a:cubicBezTo>
                    <a:pt x="55" y="118"/>
                    <a:pt x="54" y="117"/>
                    <a:pt x="53" y="117"/>
                  </a:cubicBezTo>
                  <a:cubicBezTo>
                    <a:pt x="53" y="117"/>
                    <a:pt x="52" y="117"/>
                    <a:pt x="52" y="116"/>
                  </a:cubicBezTo>
                  <a:cubicBezTo>
                    <a:pt x="51" y="116"/>
                    <a:pt x="50" y="115"/>
                    <a:pt x="49" y="115"/>
                  </a:cubicBezTo>
                  <a:cubicBezTo>
                    <a:pt x="48" y="115"/>
                    <a:pt x="47" y="115"/>
                    <a:pt x="47" y="115"/>
                  </a:cubicBezTo>
                  <a:cubicBezTo>
                    <a:pt x="47" y="115"/>
                    <a:pt x="46" y="115"/>
                    <a:pt x="45" y="115"/>
                  </a:cubicBezTo>
                  <a:cubicBezTo>
                    <a:pt x="45" y="115"/>
                    <a:pt x="44" y="115"/>
                    <a:pt x="44" y="115"/>
                  </a:cubicBezTo>
                  <a:cubicBezTo>
                    <a:pt x="43" y="115"/>
                    <a:pt x="43" y="115"/>
                    <a:pt x="42" y="116"/>
                  </a:cubicBezTo>
                  <a:cubicBezTo>
                    <a:pt x="42" y="116"/>
                    <a:pt x="42" y="116"/>
                    <a:pt x="41" y="116"/>
                  </a:cubicBezTo>
                  <a:cubicBezTo>
                    <a:pt x="41" y="116"/>
                    <a:pt x="41" y="116"/>
                    <a:pt x="41" y="116"/>
                  </a:cubicBezTo>
                  <a:cubicBezTo>
                    <a:pt x="41" y="115"/>
                    <a:pt x="41" y="115"/>
                    <a:pt x="41" y="115"/>
                  </a:cubicBezTo>
                  <a:cubicBezTo>
                    <a:pt x="41" y="115"/>
                    <a:pt x="40" y="114"/>
                    <a:pt x="40" y="114"/>
                  </a:cubicBezTo>
                  <a:cubicBezTo>
                    <a:pt x="39" y="113"/>
                    <a:pt x="38" y="113"/>
                    <a:pt x="37" y="113"/>
                  </a:cubicBezTo>
                  <a:cubicBezTo>
                    <a:pt x="36" y="113"/>
                    <a:pt x="35" y="113"/>
                    <a:pt x="34" y="113"/>
                  </a:cubicBezTo>
                  <a:cubicBezTo>
                    <a:pt x="34" y="114"/>
                    <a:pt x="34" y="114"/>
                    <a:pt x="34" y="114"/>
                  </a:cubicBezTo>
                  <a:cubicBezTo>
                    <a:pt x="32" y="114"/>
                    <a:pt x="31" y="115"/>
                    <a:pt x="30" y="116"/>
                  </a:cubicBezTo>
                  <a:cubicBezTo>
                    <a:pt x="30" y="116"/>
                    <a:pt x="30" y="117"/>
                    <a:pt x="30" y="117"/>
                  </a:cubicBezTo>
                  <a:cubicBezTo>
                    <a:pt x="30" y="117"/>
                    <a:pt x="30" y="117"/>
                    <a:pt x="30" y="117"/>
                  </a:cubicBezTo>
                  <a:cubicBezTo>
                    <a:pt x="30" y="116"/>
                    <a:pt x="30" y="116"/>
                    <a:pt x="30" y="116"/>
                  </a:cubicBezTo>
                  <a:cubicBezTo>
                    <a:pt x="30" y="116"/>
                    <a:pt x="30" y="116"/>
                    <a:pt x="30" y="116"/>
                  </a:cubicBezTo>
                  <a:cubicBezTo>
                    <a:pt x="30" y="116"/>
                    <a:pt x="30" y="115"/>
                    <a:pt x="30" y="115"/>
                  </a:cubicBezTo>
                  <a:cubicBezTo>
                    <a:pt x="30" y="115"/>
                    <a:pt x="29" y="114"/>
                    <a:pt x="29" y="114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29" y="112"/>
                    <a:pt x="30" y="112"/>
                    <a:pt x="30" y="112"/>
                  </a:cubicBezTo>
                  <a:cubicBezTo>
                    <a:pt x="30" y="112"/>
                    <a:pt x="30" y="110"/>
                    <a:pt x="30" y="109"/>
                  </a:cubicBezTo>
                  <a:cubicBezTo>
                    <a:pt x="30" y="109"/>
                    <a:pt x="30" y="109"/>
                    <a:pt x="30" y="109"/>
                  </a:cubicBezTo>
                  <a:cubicBezTo>
                    <a:pt x="30" y="109"/>
                    <a:pt x="30" y="108"/>
                    <a:pt x="30" y="108"/>
                  </a:cubicBezTo>
                  <a:cubicBezTo>
                    <a:pt x="30" y="108"/>
                    <a:pt x="30" y="107"/>
                    <a:pt x="30" y="107"/>
                  </a:cubicBezTo>
                  <a:cubicBezTo>
                    <a:pt x="31" y="107"/>
                    <a:pt x="31" y="107"/>
                    <a:pt x="31" y="107"/>
                  </a:cubicBezTo>
                  <a:cubicBezTo>
                    <a:pt x="31" y="107"/>
                    <a:pt x="32" y="107"/>
                    <a:pt x="32" y="107"/>
                  </a:cubicBezTo>
                  <a:cubicBezTo>
                    <a:pt x="32" y="107"/>
                    <a:pt x="33" y="107"/>
                    <a:pt x="33" y="107"/>
                  </a:cubicBezTo>
                  <a:cubicBezTo>
                    <a:pt x="34" y="108"/>
                    <a:pt x="34" y="108"/>
                    <a:pt x="35" y="108"/>
                  </a:cubicBezTo>
                  <a:cubicBezTo>
                    <a:pt x="36" y="108"/>
                    <a:pt x="37" y="107"/>
                    <a:pt x="37" y="107"/>
                  </a:cubicBezTo>
                  <a:cubicBezTo>
                    <a:pt x="38" y="107"/>
                    <a:pt x="38" y="106"/>
                    <a:pt x="39" y="106"/>
                  </a:cubicBezTo>
                  <a:cubicBezTo>
                    <a:pt x="39" y="106"/>
                    <a:pt x="39" y="106"/>
                    <a:pt x="39" y="106"/>
                  </a:cubicBezTo>
                  <a:cubicBezTo>
                    <a:pt x="39" y="107"/>
                    <a:pt x="39" y="107"/>
                    <a:pt x="39" y="108"/>
                  </a:cubicBezTo>
                  <a:cubicBezTo>
                    <a:pt x="40" y="108"/>
                    <a:pt x="40" y="108"/>
                    <a:pt x="40" y="108"/>
                  </a:cubicBezTo>
                  <a:cubicBezTo>
                    <a:pt x="40" y="109"/>
                    <a:pt x="40" y="109"/>
                    <a:pt x="40" y="110"/>
                  </a:cubicBezTo>
                  <a:cubicBezTo>
                    <a:pt x="40" y="110"/>
                    <a:pt x="41" y="111"/>
                    <a:pt x="41" y="111"/>
                  </a:cubicBezTo>
                  <a:cubicBezTo>
                    <a:pt x="41" y="112"/>
                    <a:pt x="42" y="112"/>
                    <a:pt x="42" y="113"/>
                  </a:cubicBezTo>
                  <a:cubicBezTo>
                    <a:pt x="43" y="113"/>
                    <a:pt x="43" y="113"/>
                    <a:pt x="44" y="114"/>
                  </a:cubicBezTo>
                  <a:cubicBezTo>
                    <a:pt x="45" y="114"/>
                    <a:pt x="46" y="114"/>
                    <a:pt x="47" y="114"/>
                  </a:cubicBezTo>
                  <a:cubicBezTo>
                    <a:pt x="48" y="114"/>
                    <a:pt x="48" y="113"/>
                    <a:pt x="48" y="113"/>
                  </a:cubicBezTo>
                  <a:cubicBezTo>
                    <a:pt x="49" y="113"/>
                    <a:pt x="49" y="112"/>
                    <a:pt x="50" y="112"/>
                  </a:cubicBezTo>
                  <a:cubicBezTo>
                    <a:pt x="50" y="111"/>
                    <a:pt x="50" y="111"/>
                    <a:pt x="50" y="110"/>
                  </a:cubicBezTo>
                  <a:cubicBezTo>
                    <a:pt x="51" y="110"/>
                    <a:pt x="50" y="109"/>
                    <a:pt x="50" y="108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5"/>
                    <a:pt x="50" y="105"/>
                    <a:pt x="50" y="105"/>
                  </a:cubicBezTo>
                  <a:cubicBezTo>
                    <a:pt x="50" y="104"/>
                    <a:pt x="50" y="103"/>
                    <a:pt x="49" y="102"/>
                  </a:cubicBezTo>
                  <a:cubicBezTo>
                    <a:pt x="49" y="102"/>
                    <a:pt x="49" y="102"/>
                    <a:pt x="49" y="102"/>
                  </a:cubicBezTo>
                  <a:cubicBezTo>
                    <a:pt x="49" y="102"/>
                    <a:pt x="49" y="101"/>
                    <a:pt x="49" y="101"/>
                  </a:cubicBezTo>
                  <a:cubicBezTo>
                    <a:pt x="49" y="101"/>
                    <a:pt x="49" y="101"/>
                    <a:pt x="49" y="101"/>
                  </a:cubicBezTo>
                  <a:cubicBezTo>
                    <a:pt x="50" y="100"/>
                    <a:pt x="50" y="100"/>
                    <a:pt x="50" y="100"/>
                  </a:cubicBezTo>
                  <a:cubicBezTo>
                    <a:pt x="50" y="100"/>
                    <a:pt x="50" y="99"/>
                    <a:pt x="51" y="99"/>
                  </a:cubicBezTo>
                  <a:cubicBezTo>
                    <a:pt x="51" y="99"/>
                    <a:pt x="51" y="99"/>
                    <a:pt x="52" y="98"/>
                  </a:cubicBezTo>
                  <a:cubicBezTo>
                    <a:pt x="52" y="98"/>
                    <a:pt x="52" y="98"/>
                    <a:pt x="52" y="98"/>
                  </a:cubicBezTo>
                  <a:cubicBezTo>
                    <a:pt x="53" y="98"/>
                    <a:pt x="53" y="98"/>
                    <a:pt x="54" y="97"/>
                  </a:cubicBezTo>
                  <a:cubicBezTo>
                    <a:pt x="54" y="97"/>
                    <a:pt x="54" y="97"/>
                    <a:pt x="54" y="97"/>
                  </a:cubicBezTo>
                  <a:cubicBezTo>
                    <a:pt x="55" y="96"/>
                    <a:pt x="55" y="96"/>
                    <a:pt x="56" y="96"/>
                  </a:cubicBezTo>
                  <a:cubicBezTo>
                    <a:pt x="56" y="96"/>
                    <a:pt x="56" y="95"/>
                    <a:pt x="56" y="95"/>
                  </a:cubicBezTo>
                  <a:cubicBezTo>
                    <a:pt x="56" y="95"/>
                    <a:pt x="57" y="94"/>
                    <a:pt x="57" y="94"/>
                  </a:cubicBezTo>
                  <a:cubicBezTo>
                    <a:pt x="57" y="94"/>
                    <a:pt x="57" y="94"/>
                    <a:pt x="57" y="94"/>
                  </a:cubicBezTo>
                  <a:cubicBezTo>
                    <a:pt x="57" y="94"/>
                    <a:pt x="58" y="93"/>
                    <a:pt x="58" y="93"/>
                  </a:cubicBezTo>
                  <a:cubicBezTo>
                    <a:pt x="58" y="92"/>
                    <a:pt x="58" y="91"/>
                    <a:pt x="58" y="90"/>
                  </a:cubicBezTo>
                  <a:cubicBezTo>
                    <a:pt x="59" y="90"/>
                    <a:pt x="59" y="89"/>
                    <a:pt x="59" y="88"/>
                  </a:cubicBezTo>
                  <a:cubicBezTo>
                    <a:pt x="60" y="88"/>
                    <a:pt x="60" y="87"/>
                    <a:pt x="60" y="86"/>
                  </a:cubicBezTo>
                  <a:cubicBezTo>
                    <a:pt x="60" y="86"/>
                    <a:pt x="60" y="86"/>
                    <a:pt x="60" y="86"/>
                  </a:cubicBezTo>
                  <a:cubicBezTo>
                    <a:pt x="61" y="86"/>
                    <a:pt x="61" y="86"/>
                    <a:pt x="61" y="86"/>
                  </a:cubicBezTo>
                  <a:cubicBezTo>
                    <a:pt x="62" y="86"/>
                    <a:pt x="62" y="86"/>
                    <a:pt x="63" y="85"/>
                  </a:cubicBezTo>
                  <a:cubicBezTo>
                    <a:pt x="63" y="85"/>
                    <a:pt x="63" y="85"/>
                    <a:pt x="63" y="85"/>
                  </a:cubicBezTo>
                  <a:cubicBezTo>
                    <a:pt x="65" y="85"/>
                    <a:pt x="66" y="85"/>
                    <a:pt x="66" y="84"/>
                  </a:cubicBezTo>
                  <a:cubicBezTo>
                    <a:pt x="67" y="84"/>
                    <a:pt x="68" y="82"/>
                    <a:pt x="68" y="81"/>
                  </a:cubicBezTo>
                  <a:cubicBezTo>
                    <a:pt x="68" y="81"/>
                    <a:pt x="68" y="80"/>
                    <a:pt x="68" y="80"/>
                  </a:cubicBezTo>
                  <a:cubicBezTo>
                    <a:pt x="68" y="80"/>
                    <a:pt x="68" y="80"/>
                    <a:pt x="68" y="80"/>
                  </a:cubicBezTo>
                  <a:cubicBezTo>
                    <a:pt x="68" y="80"/>
                    <a:pt x="68" y="80"/>
                    <a:pt x="68" y="80"/>
                  </a:cubicBezTo>
                  <a:cubicBezTo>
                    <a:pt x="69" y="81"/>
                    <a:pt x="70" y="82"/>
                    <a:pt x="71" y="81"/>
                  </a:cubicBezTo>
                  <a:cubicBezTo>
                    <a:pt x="72" y="81"/>
                    <a:pt x="72" y="81"/>
                    <a:pt x="73" y="81"/>
                  </a:cubicBezTo>
                  <a:cubicBezTo>
                    <a:pt x="73" y="81"/>
                    <a:pt x="73" y="81"/>
                    <a:pt x="74" y="81"/>
                  </a:cubicBezTo>
                  <a:cubicBezTo>
                    <a:pt x="74" y="80"/>
                    <a:pt x="75" y="80"/>
                    <a:pt x="75" y="80"/>
                  </a:cubicBezTo>
                  <a:cubicBezTo>
                    <a:pt x="75" y="80"/>
                    <a:pt x="76" y="79"/>
                    <a:pt x="76" y="79"/>
                  </a:cubicBezTo>
                  <a:cubicBezTo>
                    <a:pt x="76" y="79"/>
                    <a:pt x="76" y="79"/>
                    <a:pt x="77" y="79"/>
                  </a:cubicBezTo>
                  <a:cubicBezTo>
                    <a:pt x="77" y="79"/>
                    <a:pt x="78" y="79"/>
                    <a:pt x="78" y="78"/>
                  </a:cubicBezTo>
                  <a:cubicBezTo>
                    <a:pt x="79" y="78"/>
                    <a:pt x="80" y="78"/>
                    <a:pt x="81" y="77"/>
                  </a:cubicBezTo>
                  <a:cubicBezTo>
                    <a:pt x="82" y="77"/>
                    <a:pt x="82" y="77"/>
                    <a:pt x="83" y="76"/>
                  </a:cubicBezTo>
                  <a:cubicBezTo>
                    <a:pt x="83" y="76"/>
                    <a:pt x="83" y="75"/>
                    <a:pt x="84" y="75"/>
                  </a:cubicBezTo>
                  <a:cubicBezTo>
                    <a:pt x="84" y="75"/>
                    <a:pt x="84" y="74"/>
                    <a:pt x="84" y="74"/>
                  </a:cubicBezTo>
                  <a:cubicBezTo>
                    <a:pt x="84" y="73"/>
                    <a:pt x="84" y="72"/>
                    <a:pt x="84" y="71"/>
                  </a:cubicBezTo>
                  <a:cubicBezTo>
                    <a:pt x="84" y="71"/>
                    <a:pt x="84" y="71"/>
                    <a:pt x="83" y="70"/>
                  </a:cubicBezTo>
                  <a:cubicBezTo>
                    <a:pt x="83" y="70"/>
                    <a:pt x="83" y="69"/>
                    <a:pt x="82" y="69"/>
                  </a:cubicBezTo>
                  <a:cubicBezTo>
                    <a:pt x="82" y="69"/>
                    <a:pt x="82" y="69"/>
                    <a:pt x="82" y="69"/>
                  </a:cubicBezTo>
                  <a:cubicBezTo>
                    <a:pt x="83" y="69"/>
                    <a:pt x="83" y="69"/>
                    <a:pt x="83" y="69"/>
                  </a:cubicBezTo>
                  <a:cubicBezTo>
                    <a:pt x="84" y="68"/>
                    <a:pt x="85" y="68"/>
                    <a:pt x="86" y="67"/>
                  </a:cubicBezTo>
                  <a:cubicBezTo>
                    <a:pt x="86" y="67"/>
                    <a:pt x="86" y="67"/>
                    <a:pt x="86" y="67"/>
                  </a:cubicBezTo>
                  <a:cubicBezTo>
                    <a:pt x="86" y="67"/>
                    <a:pt x="86" y="67"/>
                    <a:pt x="86" y="67"/>
                  </a:cubicBezTo>
                  <a:cubicBezTo>
                    <a:pt x="86" y="67"/>
                    <a:pt x="86" y="67"/>
                    <a:pt x="86" y="67"/>
                  </a:cubicBezTo>
                  <a:cubicBezTo>
                    <a:pt x="87" y="67"/>
                    <a:pt x="87" y="67"/>
                    <a:pt x="88" y="66"/>
                  </a:cubicBezTo>
                  <a:cubicBezTo>
                    <a:pt x="89" y="66"/>
                    <a:pt x="89" y="66"/>
                    <a:pt x="90" y="65"/>
                  </a:cubicBezTo>
                  <a:cubicBezTo>
                    <a:pt x="90" y="65"/>
                    <a:pt x="90" y="65"/>
                    <a:pt x="90" y="65"/>
                  </a:cubicBezTo>
                  <a:cubicBezTo>
                    <a:pt x="92" y="64"/>
                    <a:pt x="93" y="62"/>
                    <a:pt x="92" y="61"/>
                  </a:cubicBezTo>
                  <a:cubicBezTo>
                    <a:pt x="93" y="60"/>
                    <a:pt x="93" y="59"/>
                    <a:pt x="93" y="59"/>
                  </a:cubicBezTo>
                  <a:cubicBezTo>
                    <a:pt x="92" y="58"/>
                    <a:pt x="92" y="58"/>
                    <a:pt x="92" y="57"/>
                  </a:cubicBezTo>
                  <a:cubicBezTo>
                    <a:pt x="91" y="57"/>
                    <a:pt x="91" y="57"/>
                    <a:pt x="91" y="56"/>
                  </a:cubicBezTo>
                  <a:cubicBezTo>
                    <a:pt x="91" y="56"/>
                    <a:pt x="90" y="56"/>
                    <a:pt x="90" y="56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90" y="56"/>
                    <a:pt x="90" y="55"/>
                    <a:pt x="89" y="55"/>
                  </a:cubicBezTo>
                  <a:cubicBezTo>
                    <a:pt x="89" y="54"/>
                    <a:pt x="88" y="54"/>
                    <a:pt x="87" y="53"/>
                  </a:cubicBezTo>
                  <a:cubicBezTo>
                    <a:pt x="87" y="53"/>
                    <a:pt x="87" y="53"/>
                    <a:pt x="87" y="53"/>
                  </a:cubicBezTo>
                  <a:cubicBezTo>
                    <a:pt x="86" y="53"/>
                    <a:pt x="86" y="53"/>
                    <a:pt x="85" y="53"/>
                  </a:cubicBezTo>
                  <a:cubicBezTo>
                    <a:pt x="85" y="52"/>
                    <a:pt x="85" y="51"/>
                    <a:pt x="85" y="51"/>
                  </a:cubicBezTo>
                  <a:cubicBezTo>
                    <a:pt x="85" y="50"/>
                    <a:pt x="85" y="50"/>
                    <a:pt x="85" y="50"/>
                  </a:cubicBezTo>
                  <a:cubicBezTo>
                    <a:pt x="85" y="50"/>
                    <a:pt x="85" y="50"/>
                    <a:pt x="85" y="50"/>
                  </a:cubicBezTo>
                  <a:cubicBezTo>
                    <a:pt x="84" y="50"/>
                    <a:pt x="84" y="49"/>
                    <a:pt x="84" y="49"/>
                  </a:cubicBezTo>
                  <a:cubicBezTo>
                    <a:pt x="84" y="49"/>
                    <a:pt x="84" y="49"/>
                    <a:pt x="84" y="49"/>
                  </a:cubicBezTo>
                  <a:cubicBezTo>
                    <a:pt x="84" y="49"/>
                    <a:pt x="84" y="50"/>
                    <a:pt x="85" y="50"/>
                  </a:cubicBezTo>
                  <a:cubicBezTo>
                    <a:pt x="84" y="50"/>
                    <a:pt x="84" y="49"/>
                    <a:pt x="84" y="49"/>
                  </a:cubicBezTo>
                  <a:cubicBezTo>
                    <a:pt x="84" y="48"/>
                    <a:pt x="84" y="48"/>
                    <a:pt x="84" y="48"/>
                  </a:cubicBezTo>
                  <a:cubicBezTo>
                    <a:pt x="84" y="47"/>
                    <a:pt x="83" y="47"/>
                    <a:pt x="83" y="47"/>
                  </a:cubicBezTo>
                  <a:cubicBezTo>
                    <a:pt x="83" y="46"/>
                    <a:pt x="83" y="46"/>
                    <a:pt x="83" y="46"/>
                  </a:cubicBezTo>
                  <a:cubicBezTo>
                    <a:pt x="83" y="46"/>
                    <a:pt x="83" y="46"/>
                    <a:pt x="83" y="45"/>
                  </a:cubicBezTo>
                  <a:cubicBezTo>
                    <a:pt x="83" y="45"/>
                    <a:pt x="82" y="44"/>
                    <a:pt x="80" y="43"/>
                  </a:cubicBezTo>
                  <a:cubicBezTo>
                    <a:pt x="79" y="43"/>
                    <a:pt x="78" y="43"/>
                    <a:pt x="78" y="43"/>
                  </a:cubicBezTo>
                  <a:cubicBezTo>
                    <a:pt x="77" y="43"/>
                    <a:pt x="77" y="44"/>
                    <a:pt x="77" y="44"/>
                  </a:cubicBezTo>
                  <a:cubicBezTo>
                    <a:pt x="76" y="43"/>
                    <a:pt x="75" y="42"/>
                    <a:pt x="74" y="42"/>
                  </a:cubicBezTo>
                  <a:cubicBezTo>
                    <a:pt x="74" y="42"/>
                    <a:pt x="74" y="41"/>
                    <a:pt x="74" y="41"/>
                  </a:cubicBezTo>
                  <a:cubicBezTo>
                    <a:pt x="73" y="40"/>
                    <a:pt x="72" y="39"/>
                    <a:pt x="71" y="39"/>
                  </a:cubicBezTo>
                  <a:cubicBezTo>
                    <a:pt x="70" y="39"/>
                    <a:pt x="69" y="39"/>
                    <a:pt x="68" y="39"/>
                  </a:cubicBezTo>
                  <a:cubicBezTo>
                    <a:pt x="68" y="39"/>
                    <a:pt x="68" y="39"/>
                    <a:pt x="68" y="39"/>
                  </a:cubicBezTo>
                  <a:cubicBezTo>
                    <a:pt x="68" y="39"/>
                    <a:pt x="68" y="39"/>
                    <a:pt x="68" y="39"/>
                  </a:cubicBezTo>
                  <a:cubicBezTo>
                    <a:pt x="67" y="39"/>
                    <a:pt x="67" y="39"/>
                    <a:pt x="67" y="39"/>
                  </a:cubicBezTo>
                  <a:cubicBezTo>
                    <a:pt x="67" y="39"/>
                    <a:pt x="67" y="39"/>
                    <a:pt x="68" y="38"/>
                  </a:cubicBezTo>
                  <a:cubicBezTo>
                    <a:pt x="68" y="38"/>
                    <a:pt x="68" y="38"/>
                    <a:pt x="68" y="38"/>
                  </a:cubicBezTo>
                  <a:cubicBezTo>
                    <a:pt x="69" y="37"/>
                    <a:pt x="70" y="36"/>
                    <a:pt x="71" y="35"/>
                  </a:cubicBezTo>
                  <a:cubicBezTo>
                    <a:pt x="72" y="34"/>
                    <a:pt x="72" y="33"/>
                    <a:pt x="73" y="32"/>
                  </a:cubicBezTo>
                  <a:cubicBezTo>
                    <a:pt x="73" y="32"/>
                    <a:pt x="73" y="32"/>
                    <a:pt x="73" y="32"/>
                  </a:cubicBezTo>
                  <a:cubicBezTo>
                    <a:pt x="73" y="31"/>
                    <a:pt x="73" y="30"/>
                    <a:pt x="72" y="29"/>
                  </a:cubicBezTo>
                  <a:cubicBezTo>
                    <a:pt x="72" y="28"/>
                    <a:pt x="72" y="28"/>
                    <a:pt x="71" y="27"/>
                  </a:cubicBezTo>
                  <a:cubicBezTo>
                    <a:pt x="71" y="27"/>
                    <a:pt x="71" y="27"/>
                    <a:pt x="71" y="27"/>
                  </a:cubicBezTo>
                  <a:cubicBezTo>
                    <a:pt x="71" y="27"/>
                    <a:pt x="71" y="27"/>
                    <a:pt x="71" y="27"/>
                  </a:cubicBezTo>
                  <a:cubicBezTo>
                    <a:pt x="72" y="27"/>
                    <a:pt x="72" y="27"/>
                    <a:pt x="73" y="26"/>
                  </a:cubicBezTo>
                  <a:cubicBezTo>
                    <a:pt x="73" y="26"/>
                    <a:pt x="74" y="25"/>
                    <a:pt x="74" y="23"/>
                  </a:cubicBezTo>
                  <a:cubicBezTo>
                    <a:pt x="74" y="23"/>
                    <a:pt x="74" y="23"/>
                    <a:pt x="74" y="22"/>
                  </a:cubicBezTo>
                  <a:cubicBezTo>
                    <a:pt x="75" y="23"/>
                    <a:pt x="76" y="23"/>
                    <a:pt x="77" y="23"/>
                  </a:cubicBezTo>
                  <a:cubicBezTo>
                    <a:pt x="78" y="23"/>
                    <a:pt x="78" y="23"/>
                    <a:pt x="79" y="23"/>
                  </a:cubicBezTo>
                  <a:cubicBezTo>
                    <a:pt x="80" y="23"/>
                    <a:pt x="80" y="23"/>
                    <a:pt x="81" y="23"/>
                  </a:cubicBezTo>
                  <a:cubicBezTo>
                    <a:pt x="81" y="23"/>
                    <a:pt x="82" y="23"/>
                    <a:pt x="82" y="23"/>
                  </a:cubicBezTo>
                  <a:cubicBezTo>
                    <a:pt x="82" y="23"/>
                    <a:pt x="82" y="23"/>
                    <a:pt x="82" y="23"/>
                  </a:cubicBezTo>
                  <a:cubicBezTo>
                    <a:pt x="83" y="23"/>
                    <a:pt x="84" y="23"/>
                    <a:pt x="84" y="22"/>
                  </a:cubicBezTo>
                  <a:cubicBezTo>
                    <a:pt x="85" y="22"/>
                    <a:pt x="85" y="22"/>
                    <a:pt x="86" y="22"/>
                  </a:cubicBezTo>
                  <a:cubicBezTo>
                    <a:pt x="86" y="22"/>
                    <a:pt x="86" y="22"/>
                    <a:pt x="86" y="22"/>
                  </a:cubicBezTo>
                  <a:cubicBezTo>
                    <a:pt x="86" y="23"/>
                    <a:pt x="87" y="23"/>
                    <a:pt x="89" y="23"/>
                  </a:cubicBezTo>
                  <a:cubicBezTo>
                    <a:pt x="89" y="24"/>
                    <a:pt x="89" y="24"/>
                    <a:pt x="90" y="23"/>
                  </a:cubicBezTo>
                  <a:cubicBezTo>
                    <a:pt x="91" y="23"/>
                    <a:pt x="91" y="23"/>
                    <a:pt x="92" y="23"/>
                  </a:cubicBezTo>
                  <a:cubicBezTo>
                    <a:pt x="92" y="23"/>
                    <a:pt x="92" y="23"/>
                    <a:pt x="92" y="23"/>
                  </a:cubicBezTo>
                  <a:cubicBezTo>
                    <a:pt x="93" y="23"/>
                    <a:pt x="93" y="23"/>
                    <a:pt x="93" y="23"/>
                  </a:cubicBezTo>
                  <a:cubicBezTo>
                    <a:pt x="93" y="23"/>
                    <a:pt x="94" y="24"/>
                    <a:pt x="94" y="24"/>
                  </a:cubicBezTo>
                  <a:cubicBezTo>
                    <a:pt x="94" y="24"/>
                    <a:pt x="94" y="24"/>
                    <a:pt x="94" y="24"/>
                  </a:cubicBezTo>
                  <a:cubicBezTo>
                    <a:pt x="93" y="24"/>
                    <a:pt x="93" y="25"/>
                    <a:pt x="93" y="25"/>
                  </a:cubicBezTo>
                  <a:cubicBezTo>
                    <a:pt x="92" y="26"/>
                    <a:pt x="92" y="27"/>
                    <a:pt x="93" y="28"/>
                  </a:cubicBezTo>
                  <a:cubicBezTo>
                    <a:pt x="93" y="28"/>
                    <a:pt x="93" y="28"/>
                    <a:pt x="93" y="28"/>
                  </a:cubicBezTo>
                  <a:cubicBezTo>
                    <a:pt x="92" y="29"/>
                    <a:pt x="92" y="29"/>
                    <a:pt x="92" y="30"/>
                  </a:cubicBezTo>
                  <a:cubicBezTo>
                    <a:pt x="92" y="31"/>
                    <a:pt x="92" y="32"/>
                    <a:pt x="93" y="32"/>
                  </a:cubicBezTo>
                  <a:cubicBezTo>
                    <a:pt x="93" y="32"/>
                    <a:pt x="92" y="33"/>
                    <a:pt x="92" y="33"/>
                  </a:cubicBezTo>
                  <a:cubicBezTo>
                    <a:pt x="92" y="34"/>
                    <a:pt x="92" y="34"/>
                    <a:pt x="92" y="35"/>
                  </a:cubicBezTo>
                  <a:cubicBezTo>
                    <a:pt x="92" y="35"/>
                    <a:pt x="92" y="35"/>
                    <a:pt x="92" y="36"/>
                  </a:cubicBezTo>
                  <a:cubicBezTo>
                    <a:pt x="92" y="37"/>
                    <a:pt x="92" y="38"/>
                    <a:pt x="93" y="39"/>
                  </a:cubicBezTo>
                  <a:cubicBezTo>
                    <a:pt x="93" y="39"/>
                    <a:pt x="93" y="39"/>
                    <a:pt x="93" y="39"/>
                  </a:cubicBezTo>
                  <a:cubicBezTo>
                    <a:pt x="93" y="39"/>
                    <a:pt x="93" y="39"/>
                    <a:pt x="93" y="39"/>
                  </a:cubicBezTo>
                  <a:cubicBezTo>
                    <a:pt x="93" y="40"/>
                    <a:pt x="93" y="40"/>
                    <a:pt x="93" y="41"/>
                  </a:cubicBezTo>
                  <a:cubicBezTo>
                    <a:pt x="93" y="41"/>
                    <a:pt x="93" y="41"/>
                    <a:pt x="93" y="41"/>
                  </a:cubicBezTo>
                  <a:cubicBezTo>
                    <a:pt x="93" y="42"/>
                    <a:pt x="94" y="42"/>
                    <a:pt x="94" y="43"/>
                  </a:cubicBezTo>
                  <a:cubicBezTo>
                    <a:pt x="94" y="43"/>
                    <a:pt x="94" y="43"/>
                    <a:pt x="95" y="43"/>
                  </a:cubicBezTo>
                  <a:cubicBezTo>
                    <a:pt x="95" y="44"/>
                    <a:pt x="95" y="44"/>
                    <a:pt x="95" y="44"/>
                  </a:cubicBezTo>
                  <a:cubicBezTo>
                    <a:pt x="95" y="45"/>
                    <a:pt x="96" y="45"/>
                    <a:pt x="96" y="46"/>
                  </a:cubicBezTo>
                  <a:cubicBezTo>
                    <a:pt x="96" y="46"/>
                    <a:pt x="96" y="46"/>
                    <a:pt x="96" y="46"/>
                  </a:cubicBezTo>
                  <a:cubicBezTo>
                    <a:pt x="97" y="46"/>
                    <a:pt x="97" y="47"/>
                    <a:pt x="97" y="47"/>
                  </a:cubicBezTo>
                  <a:cubicBezTo>
                    <a:pt x="97" y="47"/>
                    <a:pt x="97" y="47"/>
                    <a:pt x="97" y="47"/>
                  </a:cubicBezTo>
                  <a:cubicBezTo>
                    <a:pt x="98" y="48"/>
                    <a:pt x="98" y="48"/>
                    <a:pt x="98" y="49"/>
                  </a:cubicBezTo>
                  <a:cubicBezTo>
                    <a:pt x="99" y="50"/>
                    <a:pt x="101" y="50"/>
                    <a:pt x="102" y="50"/>
                  </a:cubicBezTo>
                  <a:cubicBezTo>
                    <a:pt x="103" y="50"/>
                    <a:pt x="103" y="51"/>
                    <a:pt x="104" y="51"/>
                  </a:cubicBezTo>
                  <a:cubicBezTo>
                    <a:pt x="105" y="51"/>
                    <a:pt x="105" y="51"/>
                    <a:pt x="105" y="51"/>
                  </a:cubicBezTo>
                  <a:cubicBezTo>
                    <a:pt x="106" y="51"/>
                    <a:pt x="106" y="51"/>
                    <a:pt x="107" y="51"/>
                  </a:cubicBezTo>
                  <a:cubicBezTo>
                    <a:pt x="108" y="51"/>
                    <a:pt x="110" y="50"/>
                    <a:pt x="110" y="49"/>
                  </a:cubicBezTo>
                  <a:cubicBezTo>
                    <a:pt x="111" y="49"/>
                    <a:pt x="111" y="49"/>
                    <a:pt x="111" y="48"/>
                  </a:cubicBezTo>
                  <a:cubicBezTo>
                    <a:pt x="111" y="48"/>
                    <a:pt x="111" y="48"/>
                    <a:pt x="111" y="48"/>
                  </a:cubicBezTo>
                  <a:cubicBezTo>
                    <a:pt x="112" y="47"/>
                    <a:pt x="112" y="47"/>
                    <a:pt x="112" y="46"/>
                  </a:cubicBezTo>
                  <a:cubicBezTo>
                    <a:pt x="112" y="46"/>
                    <a:pt x="112" y="46"/>
                    <a:pt x="112" y="45"/>
                  </a:cubicBezTo>
                  <a:cubicBezTo>
                    <a:pt x="113" y="45"/>
                    <a:pt x="113" y="44"/>
                    <a:pt x="114" y="43"/>
                  </a:cubicBezTo>
                  <a:cubicBezTo>
                    <a:pt x="114" y="43"/>
                    <a:pt x="115" y="42"/>
                    <a:pt x="115" y="41"/>
                  </a:cubicBezTo>
                  <a:cubicBezTo>
                    <a:pt x="115" y="41"/>
                    <a:pt x="116" y="41"/>
                    <a:pt x="116" y="40"/>
                  </a:cubicBezTo>
                  <a:cubicBezTo>
                    <a:pt x="117" y="40"/>
                    <a:pt x="117" y="40"/>
                    <a:pt x="117" y="40"/>
                  </a:cubicBezTo>
                  <a:cubicBezTo>
                    <a:pt x="117" y="40"/>
                    <a:pt x="117" y="40"/>
                    <a:pt x="117" y="40"/>
                  </a:cubicBezTo>
                  <a:cubicBezTo>
                    <a:pt x="118" y="40"/>
                    <a:pt x="118" y="40"/>
                    <a:pt x="119" y="39"/>
                  </a:cubicBezTo>
                  <a:cubicBezTo>
                    <a:pt x="119" y="39"/>
                    <a:pt x="120" y="39"/>
                    <a:pt x="120" y="39"/>
                  </a:cubicBezTo>
                  <a:cubicBezTo>
                    <a:pt x="120" y="39"/>
                    <a:pt x="120" y="39"/>
                    <a:pt x="121" y="38"/>
                  </a:cubicBezTo>
                  <a:cubicBezTo>
                    <a:pt x="121" y="38"/>
                    <a:pt x="122" y="37"/>
                    <a:pt x="122" y="37"/>
                  </a:cubicBezTo>
                  <a:cubicBezTo>
                    <a:pt x="122" y="37"/>
                    <a:pt x="122" y="37"/>
                    <a:pt x="122" y="37"/>
                  </a:cubicBezTo>
                  <a:cubicBezTo>
                    <a:pt x="122" y="37"/>
                    <a:pt x="122" y="37"/>
                    <a:pt x="122" y="37"/>
                  </a:cubicBezTo>
                  <a:cubicBezTo>
                    <a:pt x="122" y="37"/>
                    <a:pt x="123" y="37"/>
                    <a:pt x="123" y="37"/>
                  </a:cubicBezTo>
                  <a:cubicBezTo>
                    <a:pt x="124" y="37"/>
                    <a:pt x="124" y="36"/>
                    <a:pt x="125" y="36"/>
                  </a:cubicBezTo>
                  <a:cubicBezTo>
                    <a:pt x="125" y="36"/>
                    <a:pt x="125" y="36"/>
                    <a:pt x="126" y="36"/>
                  </a:cubicBezTo>
                  <a:cubicBezTo>
                    <a:pt x="126" y="36"/>
                    <a:pt x="126" y="36"/>
                    <a:pt x="126" y="35"/>
                  </a:cubicBezTo>
                  <a:cubicBezTo>
                    <a:pt x="126" y="35"/>
                    <a:pt x="127" y="35"/>
                    <a:pt x="127" y="35"/>
                  </a:cubicBezTo>
                  <a:cubicBezTo>
                    <a:pt x="126" y="37"/>
                    <a:pt x="126" y="38"/>
                    <a:pt x="127" y="40"/>
                  </a:cubicBezTo>
                  <a:cubicBezTo>
                    <a:pt x="127" y="40"/>
                    <a:pt x="127" y="40"/>
                    <a:pt x="127" y="40"/>
                  </a:cubicBezTo>
                  <a:cubicBezTo>
                    <a:pt x="128" y="41"/>
                    <a:pt x="129" y="42"/>
                    <a:pt x="130" y="42"/>
                  </a:cubicBezTo>
                  <a:cubicBezTo>
                    <a:pt x="130" y="42"/>
                    <a:pt x="130" y="42"/>
                    <a:pt x="130" y="43"/>
                  </a:cubicBezTo>
                  <a:cubicBezTo>
                    <a:pt x="131" y="44"/>
                    <a:pt x="132" y="44"/>
                    <a:pt x="133" y="44"/>
                  </a:cubicBezTo>
                  <a:cubicBezTo>
                    <a:pt x="133" y="44"/>
                    <a:pt x="134" y="44"/>
                    <a:pt x="134" y="44"/>
                  </a:cubicBezTo>
                  <a:cubicBezTo>
                    <a:pt x="134" y="44"/>
                    <a:pt x="135" y="45"/>
                    <a:pt x="136" y="45"/>
                  </a:cubicBezTo>
                  <a:cubicBezTo>
                    <a:pt x="136" y="45"/>
                    <a:pt x="137" y="45"/>
                    <a:pt x="137" y="45"/>
                  </a:cubicBezTo>
                  <a:cubicBezTo>
                    <a:pt x="138" y="45"/>
                    <a:pt x="138" y="45"/>
                    <a:pt x="138" y="45"/>
                  </a:cubicBezTo>
                  <a:cubicBezTo>
                    <a:pt x="138" y="45"/>
                    <a:pt x="138" y="45"/>
                    <a:pt x="138" y="45"/>
                  </a:cubicBezTo>
                  <a:cubicBezTo>
                    <a:pt x="139" y="45"/>
                    <a:pt x="140" y="45"/>
                    <a:pt x="141" y="44"/>
                  </a:cubicBezTo>
                  <a:cubicBezTo>
                    <a:pt x="141" y="44"/>
                    <a:pt x="142" y="44"/>
                    <a:pt x="143" y="43"/>
                  </a:cubicBezTo>
                  <a:cubicBezTo>
                    <a:pt x="144" y="43"/>
                    <a:pt x="145" y="42"/>
                    <a:pt x="145" y="41"/>
                  </a:cubicBezTo>
                  <a:cubicBezTo>
                    <a:pt x="145" y="41"/>
                    <a:pt x="145" y="41"/>
                    <a:pt x="145" y="41"/>
                  </a:cubicBezTo>
                  <a:cubicBezTo>
                    <a:pt x="146" y="41"/>
                    <a:pt x="146" y="40"/>
                    <a:pt x="146" y="40"/>
                  </a:cubicBezTo>
                  <a:cubicBezTo>
                    <a:pt x="146" y="39"/>
                    <a:pt x="146" y="39"/>
                    <a:pt x="146" y="39"/>
                  </a:cubicBezTo>
                  <a:cubicBezTo>
                    <a:pt x="147" y="38"/>
                    <a:pt x="146" y="36"/>
                    <a:pt x="145" y="35"/>
                  </a:cubicBezTo>
                  <a:cubicBezTo>
                    <a:pt x="145" y="35"/>
                    <a:pt x="144" y="34"/>
                    <a:pt x="143" y="34"/>
                  </a:cubicBezTo>
                  <a:cubicBezTo>
                    <a:pt x="143" y="33"/>
                    <a:pt x="143" y="33"/>
                    <a:pt x="142" y="33"/>
                  </a:cubicBezTo>
                  <a:cubicBezTo>
                    <a:pt x="142" y="33"/>
                    <a:pt x="141" y="32"/>
                    <a:pt x="140" y="32"/>
                  </a:cubicBezTo>
                  <a:cubicBezTo>
                    <a:pt x="140" y="32"/>
                    <a:pt x="139" y="32"/>
                    <a:pt x="138" y="32"/>
                  </a:cubicBezTo>
                  <a:cubicBezTo>
                    <a:pt x="137" y="32"/>
                    <a:pt x="137" y="32"/>
                    <a:pt x="136" y="33"/>
                  </a:cubicBezTo>
                  <a:cubicBezTo>
                    <a:pt x="136" y="32"/>
                    <a:pt x="136" y="32"/>
                    <a:pt x="135" y="33"/>
                  </a:cubicBezTo>
                  <a:cubicBezTo>
                    <a:pt x="135" y="32"/>
                    <a:pt x="134" y="32"/>
                    <a:pt x="134" y="33"/>
                  </a:cubicBezTo>
                  <a:cubicBezTo>
                    <a:pt x="133" y="32"/>
                    <a:pt x="133" y="32"/>
                    <a:pt x="133" y="32"/>
                  </a:cubicBezTo>
                  <a:cubicBezTo>
                    <a:pt x="133" y="32"/>
                    <a:pt x="133" y="32"/>
                    <a:pt x="133" y="31"/>
                  </a:cubicBezTo>
                  <a:cubicBezTo>
                    <a:pt x="134" y="31"/>
                    <a:pt x="134" y="30"/>
                    <a:pt x="134" y="30"/>
                  </a:cubicBezTo>
                  <a:cubicBezTo>
                    <a:pt x="134" y="29"/>
                    <a:pt x="134" y="28"/>
                    <a:pt x="134" y="27"/>
                  </a:cubicBezTo>
                  <a:cubicBezTo>
                    <a:pt x="134" y="27"/>
                    <a:pt x="134" y="27"/>
                    <a:pt x="133" y="26"/>
                  </a:cubicBezTo>
                  <a:cubicBezTo>
                    <a:pt x="133" y="26"/>
                    <a:pt x="133" y="26"/>
                    <a:pt x="133" y="26"/>
                  </a:cubicBezTo>
                  <a:cubicBezTo>
                    <a:pt x="133" y="26"/>
                    <a:pt x="133" y="25"/>
                    <a:pt x="133" y="25"/>
                  </a:cubicBezTo>
                  <a:cubicBezTo>
                    <a:pt x="133" y="25"/>
                    <a:pt x="133" y="24"/>
                    <a:pt x="133" y="24"/>
                  </a:cubicBezTo>
                  <a:cubicBezTo>
                    <a:pt x="134" y="23"/>
                    <a:pt x="134" y="22"/>
                    <a:pt x="135" y="22"/>
                  </a:cubicBezTo>
                  <a:cubicBezTo>
                    <a:pt x="135" y="21"/>
                    <a:pt x="134" y="20"/>
                    <a:pt x="134" y="19"/>
                  </a:cubicBezTo>
                  <a:cubicBezTo>
                    <a:pt x="134" y="19"/>
                    <a:pt x="133" y="18"/>
                    <a:pt x="133" y="18"/>
                  </a:cubicBezTo>
                  <a:cubicBezTo>
                    <a:pt x="132" y="18"/>
                    <a:pt x="132" y="17"/>
                    <a:pt x="132" y="17"/>
                  </a:cubicBezTo>
                  <a:cubicBezTo>
                    <a:pt x="132" y="17"/>
                    <a:pt x="132" y="17"/>
                    <a:pt x="132" y="17"/>
                  </a:cubicBezTo>
                  <a:cubicBezTo>
                    <a:pt x="131" y="16"/>
                    <a:pt x="131" y="16"/>
                    <a:pt x="130" y="15"/>
                  </a:cubicBezTo>
                  <a:cubicBezTo>
                    <a:pt x="130" y="15"/>
                    <a:pt x="130" y="15"/>
                    <a:pt x="129" y="14"/>
                  </a:cubicBezTo>
                  <a:cubicBezTo>
                    <a:pt x="129" y="14"/>
                    <a:pt x="129" y="14"/>
                    <a:pt x="129" y="13"/>
                  </a:cubicBezTo>
                  <a:cubicBezTo>
                    <a:pt x="130" y="13"/>
                    <a:pt x="130" y="12"/>
                    <a:pt x="130" y="12"/>
                  </a:cubicBezTo>
                  <a:cubicBezTo>
                    <a:pt x="129" y="10"/>
                    <a:pt x="128" y="9"/>
                    <a:pt x="127" y="9"/>
                  </a:cubicBezTo>
                  <a:cubicBezTo>
                    <a:pt x="127" y="9"/>
                    <a:pt x="127" y="9"/>
                    <a:pt x="127" y="9"/>
                  </a:cubicBezTo>
                  <a:cubicBezTo>
                    <a:pt x="127" y="8"/>
                    <a:pt x="126" y="8"/>
                    <a:pt x="126" y="8"/>
                  </a:cubicBezTo>
                  <a:cubicBezTo>
                    <a:pt x="125" y="8"/>
                    <a:pt x="125" y="8"/>
                    <a:pt x="124" y="8"/>
                  </a:cubicBezTo>
                  <a:cubicBezTo>
                    <a:pt x="124" y="8"/>
                    <a:pt x="123" y="8"/>
                    <a:pt x="123" y="8"/>
                  </a:cubicBezTo>
                  <a:cubicBezTo>
                    <a:pt x="122" y="8"/>
                    <a:pt x="122" y="8"/>
                    <a:pt x="121" y="7"/>
                  </a:cubicBezTo>
                  <a:cubicBezTo>
                    <a:pt x="128" y="8"/>
                    <a:pt x="134" y="9"/>
                    <a:pt x="140" y="11"/>
                  </a:cubicBezTo>
                  <a:cubicBezTo>
                    <a:pt x="140" y="11"/>
                    <a:pt x="140" y="11"/>
                    <a:pt x="140" y="11"/>
                  </a:cubicBezTo>
                  <a:cubicBezTo>
                    <a:pt x="139" y="11"/>
                    <a:pt x="138" y="12"/>
                    <a:pt x="137" y="13"/>
                  </a:cubicBezTo>
                  <a:cubicBezTo>
                    <a:pt x="137" y="14"/>
                    <a:pt x="137" y="16"/>
                    <a:pt x="138" y="17"/>
                  </a:cubicBezTo>
                  <a:cubicBezTo>
                    <a:pt x="139" y="18"/>
                    <a:pt x="139" y="18"/>
                    <a:pt x="140" y="18"/>
                  </a:cubicBezTo>
                  <a:cubicBezTo>
                    <a:pt x="140" y="18"/>
                    <a:pt x="140" y="19"/>
                    <a:pt x="141" y="19"/>
                  </a:cubicBezTo>
                  <a:cubicBezTo>
                    <a:pt x="141" y="19"/>
                    <a:pt x="141" y="19"/>
                    <a:pt x="141" y="19"/>
                  </a:cubicBezTo>
                  <a:cubicBezTo>
                    <a:pt x="141" y="19"/>
                    <a:pt x="141" y="19"/>
                    <a:pt x="142" y="19"/>
                  </a:cubicBezTo>
                  <a:cubicBezTo>
                    <a:pt x="142" y="19"/>
                    <a:pt x="143" y="20"/>
                    <a:pt x="143" y="20"/>
                  </a:cubicBezTo>
                  <a:cubicBezTo>
                    <a:pt x="143" y="20"/>
                    <a:pt x="143" y="20"/>
                    <a:pt x="144" y="20"/>
                  </a:cubicBezTo>
                  <a:cubicBezTo>
                    <a:pt x="144" y="20"/>
                    <a:pt x="145" y="20"/>
                    <a:pt x="145" y="21"/>
                  </a:cubicBezTo>
                  <a:cubicBezTo>
                    <a:pt x="145" y="21"/>
                    <a:pt x="145" y="21"/>
                    <a:pt x="145" y="21"/>
                  </a:cubicBezTo>
                  <a:cubicBezTo>
                    <a:pt x="146" y="21"/>
                    <a:pt x="147" y="22"/>
                    <a:pt x="148" y="22"/>
                  </a:cubicBezTo>
                  <a:cubicBezTo>
                    <a:pt x="148" y="22"/>
                    <a:pt x="148" y="22"/>
                    <a:pt x="149" y="22"/>
                  </a:cubicBezTo>
                  <a:cubicBezTo>
                    <a:pt x="149" y="23"/>
                    <a:pt x="150" y="23"/>
                    <a:pt x="151" y="23"/>
                  </a:cubicBezTo>
                  <a:cubicBezTo>
                    <a:pt x="151" y="23"/>
                    <a:pt x="151" y="23"/>
                    <a:pt x="151" y="23"/>
                  </a:cubicBezTo>
                  <a:cubicBezTo>
                    <a:pt x="152" y="23"/>
                    <a:pt x="153" y="22"/>
                    <a:pt x="154" y="21"/>
                  </a:cubicBezTo>
                  <a:cubicBezTo>
                    <a:pt x="154" y="21"/>
                    <a:pt x="154" y="21"/>
                    <a:pt x="154" y="21"/>
                  </a:cubicBezTo>
                  <a:cubicBezTo>
                    <a:pt x="155" y="20"/>
                    <a:pt x="155" y="19"/>
                    <a:pt x="155" y="18"/>
                  </a:cubicBezTo>
                  <a:cubicBezTo>
                    <a:pt x="156" y="17"/>
                    <a:pt x="155" y="17"/>
                    <a:pt x="155" y="16"/>
                  </a:cubicBezTo>
                  <a:cubicBezTo>
                    <a:pt x="161" y="18"/>
                    <a:pt x="166" y="21"/>
                    <a:pt x="171" y="25"/>
                  </a:cubicBezTo>
                  <a:cubicBezTo>
                    <a:pt x="171" y="25"/>
                    <a:pt x="171" y="25"/>
                    <a:pt x="171" y="25"/>
                  </a:cubicBezTo>
                  <a:cubicBezTo>
                    <a:pt x="170" y="25"/>
                    <a:pt x="170" y="24"/>
                    <a:pt x="170" y="24"/>
                  </a:cubicBezTo>
                  <a:cubicBezTo>
                    <a:pt x="170" y="24"/>
                    <a:pt x="169" y="24"/>
                    <a:pt x="169" y="24"/>
                  </a:cubicBezTo>
                  <a:cubicBezTo>
                    <a:pt x="169" y="24"/>
                    <a:pt x="168" y="24"/>
                    <a:pt x="168" y="24"/>
                  </a:cubicBezTo>
                  <a:cubicBezTo>
                    <a:pt x="168" y="24"/>
                    <a:pt x="167" y="24"/>
                    <a:pt x="167" y="24"/>
                  </a:cubicBezTo>
                  <a:cubicBezTo>
                    <a:pt x="166" y="24"/>
                    <a:pt x="165" y="24"/>
                    <a:pt x="164" y="25"/>
                  </a:cubicBezTo>
                  <a:cubicBezTo>
                    <a:pt x="164" y="26"/>
                    <a:pt x="163" y="26"/>
                    <a:pt x="163" y="26"/>
                  </a:cubicBezTo>
                  <a:cubicBezTo>
                    <a:pt x="163" y="27"/>
                    <a:pt x="163" y="27"/>
                    <a:pt x="163" y="27"/>
                  </a:cubicBezTo>
                  <a:cubicBezTo>
                    <a:pt x="163" y="28"/>
                    <a:pt x="162" y="28"/>
                    <a:pt x="162" y="29"/>
                  </a:cubicBezTo>
                  <a:cubicBezTo>
                    <a:pt x="162" y="29"/>
                    <a:pt x="162" y="30"/>
                    <a:pt x="162" y="30"/>
                  </a:cubicBezTo>
                  <a:cubicBezTo>
                    <a:pt x="162" y="31"/>
                    <a:pt x="162" y="31"/>
                    <a:pt x="162" y="32"/>
                  </a:cubicBezTo>
                  <a:cubicBezTo>
                    <a:pt x="162" y="32"/>
                    <a:pt x="162" y="33"/>
                    <a:pt x="162" y="33"/>
                  </a:cubicBezTo>
                  <a:cubicBezTo>
                    <a:pt x="162" y="33"/>
                    <a:pt x="162" y="33"/>
                    <a:pt x="162" y="34"/>
                  </a:cubicBezTo>
                  <a:cubicBezTo>
                    <a:pt x="162" y="34"/>
                    <a:pt x="162" y="34"/>
                    <a:pt x="163" y="34"/>
                  </a:cubicBezTo>
                  <a:cubicBezTo>
                    <a:pt x="162" y="35"/>
                    <a:pt x="163" y="36"/>
                    <a:pt x="163" y="37"/>
                  </a:cubicBezTo>
                  <a:cubicBezTo>
                    <a:pt x="163" y="37"/>
                    <a:pt x="163" y="38"/>
                    <a:pt x="164" y="38"/>
                  </a:cubicBezTo>
                  <a:cubicBezTo>
                    <a:pt x="164" y="38"/>
                    <a:pt x="164" y="38"/>
                    <a:pt x="164" y="39"/>
                  </a:cubicBezTo>
                  <a:cubicBezTo>
                    <a:pt x="164" y="39"/>
                    <a:pt x="164" y="39"/>
                    <a:pt x="164" y="39"/>
                  </a:cubicBezTo>
                  <a:cubicBezTo>
                    <a:pt x="164" y="39"/>
                    <a:pt x="164" y="39"/>
                    <a:pt x="164" y="39"/>
                  </a:cubicBezTo>
                  <a:cubicBezTo>
                    <a:pt x="163" y="39"/>
                    <a:pt x="163" y="40"/>
                    <a:pt x="163" y="40"/>
                  </a:cubicBezTo>
                  <a:cubicBezTo>
                    <a:pt x="163" y="40"/>
                    <a:pt x="163" y="40"/>
                    <a:pt x="163" y="40"/>
                  </a:cubicBezTo>
                  <a:cubicBezTo>
                    <a:pt x="162" y="41"/>
                    <a:pt x="162" y="41"/>
                    <a:pt x="162" y="42"/>
                  </a:cubicBezTo>
                  <a:cubicBezTo>
                    <a:pt x="162" y="42"/>
                    <a:pt x="162" y="42"/>
                    <a:pt x="162" y="42"/>
                  </a:cubicBezTo>
                  <a:cubicBezTo>
                    <a:pt x="162" y="43"/>
                    <a:pt x="162" y="43"/>
                    <a:pt x="162" y="43"/>
                  </a:cubicBezTo>
                  <a:cubicBezTo>
                    <a:pt x="162" y="43"/>
                    <a:pt x="162" y="44"/>
                    <a:pt x="162" y="44"/>
                  </a:cubicBezTo>
                  <a:cubicBezTo>
                    <a:pt x="162" y="45"/>
                    <a:pt x="162" y="45"/>
                    <a:pt x="162" y="45"/>
                  </a:cubicBezTo>
                  <a:cubicBezTo>
                    <a:pt x="162" y="46"/>
                    <a:pt x="162" y="46"/>
                    <a:pt x="162" y="46"/>
                  </a:cubicBezTo>
                  <a:cubicBezTo>
                    <a:pt x="162" y="47"/>
                    <a:pt x="162" y="47"/>
                    <a:pt x="162" y="47"/>
                  </a:cubicBezTo>
                  <a:cubicBezTo>
                    <a:pt x="163" y="48"/>
                    <a:pt x="163" y="48"/>
                    <a:pt x="163" y="49"/>
                  </a:cubicBezTo>
                  <a:cubicBezTo>
                    <a:pt x="163" y="49"/>
                    <a:pt x="163" y="49"/>
                    <a:pt x="163" y="49"/>
                  </a:cubicBezTo>
                  <a:cubicBezTo>
                    <a:pt x="163" y="48"/>
                    <a:pt x="163" y="48"/>
                    <a:pt x="162" y="48"/>
                  </a:cubicBezTo>
                  <a:cubicBezTo>
                    <a:pt x="162" y="48"/>
                    <a:pt x="162" y="48"/>
                    <a:pt x="162" y="47"/>
                  </a:cubicBezTo>
                  <a:cubicBezTo>
                    <a:pt x="161" y="47"/>
                    <a:pt x="160" y="46"/>
                    <a:pt x="160" y="46"/>
                  </a:cubicBezTo>
                  <a:cubicBezTo>
                    <a:pt x="159" y="46"/>
                    <a:pt x="158" y="46"/>
                    <a:pt x="158" y="46"/>
                  </a:cubicBezTo>
                  <a:cubicBezTo>
                    <a:pt x="157" y="46"/>
                    <a:pt x="157" y="46"/>
                    <a:pt x="156" y="47"/>
                  </a:cubicBezTo>
                  <a:cubicBezTo>
                    <a:pt x="156" y="46"/>
                    <a:pt x="155" y="46"/>
                    <a:pt x="154" y="47"/>
                  </a:cubicBezTo>
                  <a:cubicBezTo>
                    <a:pt x="153" y="47"/>
                    <a:pt x="153" y="48"/>
                    <a:pt x="152" y="48"/>
                  </a:cubicBezTo>
                  <a:cubicBezTo>
                    <a:pt x="152" y="48"/>
                    <a:pt x="152" y="49"/>
                    <a:pt x="152" y="49"/>
                  </a:cubicBezTo>
                  <a:cubicBezTo>
                    <a:pt x="151" y="50"/>
                    <a:pt x="151" y="51"/>
                    <a:pt x="151" y="52"/>
                  </a:cubicBezTo>
                  <a:cubicBezTo>
                    <a:pt x="151" y="53"/>
                    <a:pt x="152" y="53"/>
                    <a:pt x="152" y="54"/>
                  </a:cubicBezTo>
                  <a:cubicBezTo>
                    <a:pt x="152" y="54"/>
                    <a:pt x="152" y="54"/>
                    <a:pt x="152" y="54"/>
                  </a:cubicBezTo>
                  <a:cubicBezTo>
                    <a:pt x="151" y="55"/>
                    <a:pt x="151" y="55"/>
                    <a:pt x="151" y="56"/>
                  </a:cubicBezTo>
                  <a:cubicBezTo>
                    <a:pt x="150" y="56"/>
                    <a:pt x="150" y="56"/>
                    <a:pt x="150" y="57"/>
                  </a:cubicBezTo>
                  <a:cubicBezTo>
                    <a:pt x="149" y="58"/>
                    <a:pt x="150" y="59"/>
                    <a:pt x="150" y="59"/>
                  </a:cubicBezTo>
                  <a:cubicBezTo>
                    <a:pt x="150" y="60"/>
                    <a:pt x="150" y="61"/>
                    <a:pt x="150" y="61"/>
                  </a:cubicBezTo>
                  <a:cubicBezTo>
                    <a:pt x="150" y="61"/>
                    <a:pt x="150" y="61"/>
                    <a:pt x="150" y="61"/>
                  </a:cubicBezTo>
                  <a:cubicBezTo>
                    <a:pt x="150" y="62"/>
                    <a:pt x="150" y="62"/>
                    <a:pt x="150" y="63"/>
                  </a:cubicBezTo>
                  <a:cubicBezTo>
                    <a:pt x="151" y="64"/>
                    <a:pt x="151" y="65"/>
                    <a:pt x="152" y="65"/>
                  </a:cubicBezTo>
                  <a:cubicBezTo>
                    <a:pt x="153" y="66"/>
                    <a:pt x="153" y="66"/>
                    <a:pt x="154" y="66"/>
                  </a:cubicBezTo>
                  <a:cubicBezTo>
                    <a:pt x="155" y="67"/>
                    <a:pt x="155" y="67"/>
                    <a:pt x="156" y="67"/>
                  </a:cubicBezTo>
                  <a:cubicBezTo>
                    <a:pt x="156" y="67"/>
                    <a:pt x="157" y="67"/>
                    <a:pt x="158" y="66"/>
                  </a:cubicBezTo>
                  <a:cubicBezTo>
                    <a:pt x="158" y="66"/>
                    <a:pt x="158" y="66"/>
                    <a:pt x="158" y="66"/>
                  </a:cubicBezTo>
                  <a:cubicBezTo>
                    <a:pt x="158" y="67"/>
                    <a:pt x="158" y="68"/>
                    <a:pt x="159" y="68"/>
                  </a:cubicBezTo>
                  <a:cubicBezTo>
                    <a:pt x="159" y="69"/>
                    <a:pt x="159" y="70"/>
                    <a:pt x="160" y="71"/>
                  </a:cubicBezTo>
                  <a:cubicBezTo>
                    <a:pt x="160" y="71"/>
                    <a:pt x="160" y="71"/>
                    <a:pt x="160" y="71"/>
                  </a:cubicBezTo>
                  <a:cubicBezTo>
                    <a:pt x="160" y="71"/>
                    <a:pt x="160" y="72"/>
                    <a:pt x="161" y="72"/>
                  </a:cubicBezTo>
                  <a:cubicBezTo>
                    <a:pt x="161" y="73"/>
                    <a:pt x="162" y="73"/>
                    <a:pt x="163" y="73"/>
                  </a:cubicBezTo>
                  <a:cubicBezTo>
                    <a:pt x="163" y="73"/>
                    <a:pt x="163" y="73"/>
                    <a:pt x="163" y="74"/>
                  </a:cubicBezTo>
                  <a:cubicBezTo>
                    <a:pt x="163" y="74"/>
                    <a:pt x="163" y="74"/>
                    <a:pt x="163" y="74"/>
                  </a:cubicBezTo>
                  <a:cubicBezTo>
                    <a:pt x="163" y="74"/>
                    <a:pt x="163" y="74"/>
                    <a:pt x="163" y="74"/>
                  </a:cubicBezTo>
                  <a:cubicBezTo>
                    <a:pt x="163" y="74"/>
                    <a:pt x="163" y="74"/>
                    <a:pt x="163" y="74"/>
                  </a:cubicBezTo>
                  <a:cubicBezTo>
                    <a:pt x="162" y="73"/>
                    <a:pt x="161" y="73"/>
                    <a:pt x="161" y="73"/>
                  </a:cubicBezTo>
                  <a:cubicBezTo>
                    <a:pt x="160" y="73"/>
                    <a:pt x="160" y="73"/>
                    <a:pt x="160" y="74"/>
                  </a:cubicBezTo>
                  <a:cubicBezTo>
                    <a:pt x="159" y="74"/>
                    <a:pt x="159" y="74"/>
                    <a:pt x="158" y="74"/>
                  </a:cubicBezTo>
                  <a:cubicBezTo>
                    <a:pt x="158" y="74"/>
                    <a:pt x="158" y="74"/>
                    <a:pt x="158" y="74"/>
                  </a:cubicBezTo>
                  <a:cubicBezTo>
                    <a:pt x="158" y="74"/>
                    <a:pt x="158" y="74"/>
                    <a:pt x="158" y="74"/>
                  </a:cubicBezTo>
                  <a:cubicBezTo>
                    <a:pt x="156" y="75"/>
                    <a:pt x="155" y="76"/>
                    <a:pt x="155" y="78"/>
                  </a:cubicBezTo>
                  <a:cubicBezTo>
                    <a:pt x="155" y="79"/>
                    <a:pt x="155" y="80"/>
                    <a:pt x="155" y="80"/>
                  </a:cubicBezTo>
                  <a:cubicBezTo>
                    <a:pt x="155" y="80"/>
                    <a:pt x="155" y="80"/>
                    <a:pt x="155" y="81"/>
                  </a:cubicBezTo>
                  <a:cubicBezTo>
                    <a:pt x="156" y="81"/>
                    <a:pt x="156" y="81"/>
                    <a:pt x="156" y="81"/>
                  </a:cubicBezTo>
                  <a:cubicBezTo>
                    <a:pt x="156" y="82"/>
                    <a:pt x="156" y="82"/>
                    <a:pt x="156" y="82"/>
                  </a:cubicBezTo>
                  <a:cubicBezTo>
                    <a:pt x="156" y="82"/>
                    <a:pt x="156" y="82"/>
                    <a:pt x="156" y="83"/>
                  </a:cubicBezTo>
                  <a:cubicBezTo>
                    <a:pt x="156" y="83"/>
                    <a:pt x="156" y="83"/>
                    <a:pt x="156" y="83"/>
                  </a:cubicBezTo>
                  <a:cubicBezTo>
                    <a:pt x="156" y="84"/>
                    <a:pt x="156" y="86"/>
                    <a:pt x="156" y="86"/>
                  </a:cubicBezTo>
                  <a:cubicBezTo>
                    <a:pt x="156" y="86"/>
                    <a:pt x="156" y="87"/>
                    <a:pt x="156" y="87"/>
                  </a:cubicBezTo>
                  <a:cubicBezTo>
                    <a:pt x="156" y="87"/>
                    <a:pt x="156" y="88"/>
                    <a:pt x="156" y="88"/>
                  </a:cubicBezTo>
                  <a:cubicBezTo>
                    <a:pt x="156" y="88"/>
                    <a:pt x="156" y="89"/>
                    <a:pt x="157" y="89"/>
                  </a:cubicBezTo>
                  <a:cubicBezTo>
                    <a:pt x="157" y="90"/>
                    <a:pt x="157" y="91"/>
                    <a:pt x="157" y="91"/>
                  </a:cubicBezTo>
                  <a:cubicBezTo>
                    <a:pt x="158" y="92"/>
                    <a:pt x="159" y="93"/>
                    <a:pt x="160" y="93"/>
                  </a:cubicBezTo>
                  <a:cubicBezTo>
                    <a:pt x="159" y="93"/>
                    <a:pt x="159" y="94"/>
                    <a:pt x="159" y="95"/>
                  </a:cubicBezTo>
                  <a:cubicBezTo>
                    <a:pt x="158" y="95"/>
                    <a:pt x="158" y="95"/>
                    <a:pt x="158" y="95"/>
                  </a:cubicBezTo>
                  <a:cubicBezTo>
                    <a:pt x="158" y="96"/>
                    <a:pt x="157" y="96"/>
                    <a:pt x="157" y="97"/>
                  </a:cubicBezTo>
                  <a:cubicBezTo>
                    <a:pt x="157" y="97"/>
                    <a:pt x="156" y="99"/>
                    <a:pt x="156" y="100"/>
                  </a:cubicBezTo>
                  <a:cubicBezTo>
                    <a:pt x="156" y="100"/>
                    <a:pt x="156" y="100"/>
                    <a:pt x="156" y="100"/>
                  </a:cubicBezTo>
                  <a:cubicBezTo>
                    <a:pt x="156" y="100"/>
                    <a:pt x="156" y="100"/>
                    <a:pt x="156" y="101"/>
                  </a:cubicBezTo>
                  <a:cubicBezTo>
                    <a:pt x="156" y="101"/>
                    <a:pt x="156" y="101"/>
                    <a:pt x="156" y="101"/>
                  </a:cubicBezTo>
                  <a:cubicBezTo>
                    <a:pt x="156" y="101"/>
                    <a:pt x="156" y="101"/>
                    <a:pt x="156" y="102"/>
                  </a:cubicBezTo>
                  <a:cubicBezTo>
                    <a:pt x="156" y="102"/>
                    <a:pt x="156" y="102"/>
                    <a:pt x="156" y="102"/>
                  </a:cubicBezTo>
                  <a:cubicBezTo>
                    <a:pt x="156" y="102"/>
                    <a:pt x="156" y="102"/>
                    <a:pt x="156" y="102"/>
                  </a:cubicBezTo>
                  <a:cubicBezTo>
                    <a:pt x="154" y="102"/>
                    <a:pt x="153" y="103"/>
                    <a:pt x="153" y="104"/>
                  </a:cubicBezTo>
                  <a:cubicBezTo>
                    <a:pt x="153" y="104"/>
                    <a:pt x="152" y="104"/>
                    <a:pt x="152" y="104"/>
                  </a:cubicBezTo>
                  <a:cubicBezTo>
                    <a:pt x="152" y="104"/>
                    <a:pt x="152" y="105"/>
                    <a:pt x="152" y="106"/>
                  </a:cubicBezTo>
                  <a:cubicBezTo>
                    <a:pt x="151" y="106"/>
                    <a:pt x="150" y="107"/>
                    <a:pt x="150" y="107"/>
                  </a:cubicBezTo>
                  <a:cubicBezTo>
                    <a:pt x="149" y="108"/>
                    <a:pt x="149" y="109"/>
                    <a:pt x="149" y="109"/>
                  </a:cubicBezTo>
                  <a:cubicBezTo>
                    <a:pt x="149" y="110"/>
                    <a:pt x="149" y="110"/>
                    <a:pt x="149" y="110"/>
                  </a:cubicBezTo>
                  <a:cubicBezTo>
                    <a:pt x="149" y="110"/>
                    <a:pt x="149" y="110"/>
                    <a:pt x="149" y="110"/>
                  </a:cubicBezTo>
                  <a:cubicBezTo>
                    <a:pt x="149" y="110"/>
                    <a:pt x="149" y="111"/>
                    <a:pt x="149" y="111"/>
                  </a:cubicBezTo>
                  <a:cubicBezTo>
                    <a:pt x="148" y="111"/>
                    <a:pt x="147" y="112"/>
                    <a:pt x="147" y="113"/>
                  </a:cubicBezTo>
                  <a:cubicBezTo>
                    <a:pt x="147" y="113"/>
                    <a:pt x="147" y="113"/>
                    <a:pt x="147" y="113"/>
                  </a:cubicBezTo>
                  <a:cubicBezTo>
                    <a:pt x="147" y="113"/>
                    <a:pt x="146" y="114"/>
                    <a:pt x="146" y="114"/>
                  </a:cubicBezTo>
                  <a:cubicBezTo>
                    <a:pt x="146" y="115"/>
                    <a:pt x="146" y="115"/>
                    <a:pt x="146" y="116"/>
                  </a:cubicBezTo>
                  <a:cubicBezTo>
                    <a:pt x="146" y="116"/>
                    <a:pt x="146" y="116"/>
                    <a:pt x="146" y="116"/>
                  </a:cubicBezTo>
                  <a:cubicBezTo>
                    <a:pt x="145" y="116"/>
                    <a:pt x="145" y="117"/>
                    <a:pt x="145" y="118"/>
                  </a:cubicBezTo>
                  <a:cubicBezTo>
                    <a:pt x="145" y="119"/>
                    <a:pt x="146" y="121"/>
                    <a:pt x="147" y="121"/>
                  </a:cubicBezTo>
                  <a:cubicBezTo>
                    <a:pt x="147" y="121"/>
                    <a:pt x="147" y="121"/>
                    <a:pt x="147" y="121"/>
                  </a:cubicBezTo>
                  <a:cubicBezTo>
                    <a:pt x="147" y="122"/>
                    <a:pt x="147" y="122"/>
                    <a:pt x="147" y="123"/>
                  </a:cubicBezTo>
                  <a:cubicBezTo>
                    <a:pt x="147" y="123"/>
                    <a:pt x="147" y="123"/>
                    <a:pt x="147" y="123"/>
                  </a:cubicBezTo>
                  <a:cubicBezTo>
                    <a:pt x="147" y="124"/>
                    <a:pt x="147" y="124"/>
                    <a:pt x="147" y="124"/>
                  </a:cubicBezTo>
                  <a:cubicBezTo>
                    <a:pt x="146" y="124"/>
                    <a:pt x="146" y="124"/>
                    <a:pt x="146" y="125"/>
                  </a:cubicBezTo>
                  <a:cubicBezTo>
                    <a:pt x="146" y="125"/>
                    <a:pt x="146" y="125"/>
                    <a:pt x="146" y="125"/>
                  </a:cubicBezTo>
                  <a:cubicBezTo>
                    <a:pt x="146" y="125"/>
                    <a:pt x="146" y="126"/>
                    <a:pt x="145" y="126"/>
                  </a:cubicBezTo>
                  <a:cubicBezTo>
                    <a:pt x="145" y="127"/>
                    <a:pt x="145" y="128"/>
                    <a:pt x="145" y="130"/>
                  </a:cubicBezTo>
                  <a:cubicBezTo>
                    <a:pt x="145" y="130"/>
                    <a:pt x="145" y="130"/>
                    <a:pt x="145" y="130"/>
                  </a:cubicBezTo>
                  <a:cubicBezTo>
                    <a:pt x="145" y="131"/>
                    <a:pt x="145" y="131"/>
                    <a:pt x="145" y="131"/>
                  </a:cubicBezTo>
                  <a:cubicBezTo>
                    <a:pt x="145" y="131"/>
                    <a:pt x="145" y="131"/>
                    <a:pt x="145" y="132"/>
                  </a:cubicBezTo>
                  <a:cubicBezTo>
                    <a:pt x="145" y="132"/>
                    <a:pt x="145" y="133"/>
                    <a:pt x="146" y="134"/>
                  </a:cubicBezTo>
                  <a:cubicBezTo>
                    <a:pt x="146" y="135"/>
                    <a:pt x="147" y="135"/>
                    <a:pt x="148" y="136"/>
                  </a:cubicBezTo>
                  <a:cubicBezTo>
                    <a:pt x="148" y="136"/>
                    <a:pt x="148" y="136"/>
                    <a:pt x="148" y="136"/>
                  </a:cubicBezTo>
                  <a:cubicBezTo>
                    <a:pt x="148" y="136"/>
                    <a:pt x="149" y="137"/>
                    <a:pt x="149" y="137"/>
                  </a:cubicBezTo>
                  <a:cubicBezTo>
                    <a:pt x="149" y="137"/>
                    <a:pt x="149" y="137"/>
                    <a:pt x="149" y="137"/>
                  </a:cubicBezTo>
                  <a:cubicBezTo>
                    <a:pt x="149" y="138"/>
                    <a:pt x="150" y="138"/>
                    <a:pt x="150" y="138"/>
                  </a:cubicBezTo>
                  <a:cubicBezTo>
                    <a:pt x="150" y="139"/>
                    <a:pt x="150" y="139"/>
                    <a:pt x="150" y="139"/>
                  </a:cubicBezTo>
                  <a:cubicBezTo>
                    <a:pt x="150" y="140"/>
                    <a:pt x="151" y="142"/>
                    <a:pt x="152" y="143"/>
                  </a:cubicBezTo>
                  <a:cubicBezTo>
                    <a:pt x="152" y="143"/>
                    <a:pt x="153" y="143"/>
                    <a:pt x="153" y="143"/>
                  </a:cubicBezTo>
                  <a:cubicBezTo>
                    <a:pt x="153" y="143"/>
                    <a:pt x="153" y="143"/>
                    <a:pt x="153" y="143"/>
                  </a:cubicBezTo>
                  <a:cubicBezTo>
                    <a:pt x="154" y="144"/>
                    <a:pt x="154" y="144"/>
                    <a:pt x="155" y="144"/>
                  </a:cubicBezTo>
                  <a:cubicBezTo>
                    <a:pt x="155" y="144"/>
                    <a:pt x="155" y="144"/>
                    <a:pt x="155" y="144"/>
                  </a:cubicBezTo>
                  <a:cubicBezTo>
                    <a:pt x="155" y="145"/>
                    <a:pt x="155" y="145"/>
                    <a:pt x="156" y="145"/>
                  </a:cubicBezTo>
                  <a:cubicBezTo>
                    <a:pt x="156" y="146"/>
                    <a:pt x="157" y="146"/>
                    <a:pt x="157" y="147"/>
                  </a:cubicBezTo>
                  <a:cubicBezTo>
                    <a:pt x="158" y="147"/>
                    <a:pt x="158" y="147"/>
                    <a:pt x="159" y="148"/>
                  </a:cubicBezTo>
                  <a:cubicBezTo>
                    <a:pt x="159" y="148"/>
                    <a:pt x="159" y="148"/>
                    <a:pt x="159" y="148"/>
                  </a:cubicBezTo>
                  <a:cubicBezTo>
                    <a:pt x="160" y="148"/>
                    <a:pt x="161" y="149"/>
                    <a:pt x="162" y="148"/>
                  </a:cubicBezTo>
                  <a:cubicBezTo>
                    <a:pt x="162" y="148"/>
                    <a:pt x="162" y="148"/>
                    <a:pt x="162" y="148"/>
                  </a:cubicBezTo>
                  <a:cubicBezTo>
                    <a:pt x="163" y="148"/>
                    <a:pt x="164" y="148"/>
                    <a:pt x="164" y="148"/>
                  </a:cubicBezTo>
                  <a:cubicBezTo>
                    <a:pt x="164" y="148"/>
                    <a:pt x="165" y="148"/>
                    <a:pt x="165" y="147"/>
                  </a:cubicBezTo>
                  <a:cubicBezTo>
                    <a:pt x="165" y="147"/>
                    <a:pt x="166" y="147"/>
                    <a:pt x="166" y="147"/>
                  </a:cubicBezTo>
                  <a:cubicBezTo>
                    <a:pt x="167" y="147"/>
                    <a:pt x="167" y="147"/>
                    <a:pt x="167" y="147"/>
                  </a:cubicBezTo>
                  <a:cubicBezTo>
                    <a:pt x="167" y="147"/>
                    <a:pt x="167" y="147"/>
                    <a:pt x="168" y="147"/>
                  </a:cubicBezTo>
                  <a:cubicBezTo>
                    <a:pt x="168" y="147"/>
                    <a:pt x="168" y="147"/>
                    <a:pt x="168" y="148"/>
                  </a:cubicBezTo>
                  <a:cubicBezTo>
                    <a:pt x="169" y="148"/>
                    <a:pt x="170" y="148"/>
                    <a:pt x="171" y="148"/>
                  </a:cubicBezTo>
                  <a:cubicBezTo>
                    <a:pt x="171" y="148"/>
                    <a:pt x="172" y="147"/>
                    <a:pt x="172" y="147"/>
                  </a:cubicBezTo>
                  <a:cubicBezTo>
                    <a:pt x="172" y="147"/>
                    <a:pt x="172" y="147"/>
                    <a:pt x="172" y="147"/>
                  </a:cubicBezTo>
                  <a:cubicBezTo>
                    <a:pt x="172" y="147"/>
                    <a:pt x="173" y="147"/>
                    <a:pt x="173" y="147"/>
                  </a:cubicBezTo>
                  <a:cubicBezTo>
                    <a:pt x="174" y="147"/>
                    <a:pt x="175" y="146"/>
                    <a:pt x="175" y="146"/>
                  </a:cubicBezTo>
                  <a:cubicBezTo>
                    <a:pt x="175" y="146"/>
                    <a:pt x="175" y="146"/>
                    <a:pt x="175" y="146"/>
                  </a:cubicBezTo>
                  <a:cubicBezTo>
                    <a:pt x="176" y="147"/>
                    <a:pt x="176" y="147"/>
                    <a:pt x="177" y="148"/>
                  </a:cubicBezTo>
                  <a:cubicBezTo>
                    <a:pt x="177" y="148"/>
                    <a:pt x="178" y="148"/>
                    <a:pt x="178" y="148"/>
                  </a:cubicBezTo>
                  <a:cubicBezTo>
                    <a:pt x="178" y="149"/>
                    <a:pt x="178" y="149"/>
                    <a:pt x="178" y="149"/>
                  </a:cubicBezTo>
                  <a:cubicBezTo>
                    <a:pt x="178" y="149"/>
                    <a:pt x="178" y="150"/>
                    <a:pt x="178" y="150"/>
                  </a:cubicBezTo>
                  <a:cubicBezTo>
                    <a:pt x="178" y="150"/>
                    <a:pt x="178" y="150"/>
                    <a:pt x="178" y="150"/>
                  </a:cubicBezTo>
                  <a:cubicBezTo>
                    <a:pt x="177" y="150"/>
                    <a:pt x="177" y="151"/>
                    <a:pt x="177" y="151"/>
                  </a:cubicBezTo>
                  <a:cubicBezTo>
                    <a:pt x="177" y="152"/>
                    <a:pt x="177" y="152"/>
                    <a:pt x="177" y="153"/>
                  </a:cubicBezTo>
                  <a:cubicBezTo>
                    <a:pt x="177" y="153"/>
                    <a:pt x="177" y="154"/>
                    <a:pt x="177" y="154"/>
                  </a:cubicBezTo>
                  <a:cubicBezTo>
                    <a:pt x="177" y="154"/>
                    <a:pt x="177" y="155"/>
                    <a:pt x="177" y="155"/>
                  </a:cubicBezTo>
                  <a:cubicBezTo>
                    <a:pt x="177" y="155"/>
                    <a:pt x="177" y="156"/>
                    <a:pt x="178" y="156"/>
                  </a:cubicBezTo>
                  <a:cubicBezTo>
                    <a:pt x="178" y="157"/>
                    <a:pt x="178" y="157"/>
                    <a:pt x="178" y="157"/>
                  </a:cubicBezTo>
                  <a:cubicBezTo>
                    <a:pt x="178" y="158"/>
                    <a:pt x="178" y="158"/>
                    <a:pt x="178" y="158"/>
                  </a:cubicBezTo>
                  <a:cubicBezTo>
                    <a:pt x="178" y="158"/>
                    <a:pt x="178" y="158"/>
                    <a:pt x="178" y="158"/>
                  </a:cubicBezTo>
                  <a:cubicBezTo>
                    <a:pt x="178" y="159"/>
                    <a:pt x="178" y="160"/>
                    <a:pt x="178" y="161"/>
                  </a:cubicBezTo>
                  <a:cubicBezTo>
                    <a:pt x="178" y="161"/>
                    <a:pt x="178" y="162"/>
                    <a:pt x="178" y="162"/>
                  </a:cubicBezTo>
                  <a:cubicBezTo>
                    <a:pt x="177" y="163"/>
                    <a:pt x="177" y="164"/>
                    <a:pt x="177" y="165"/>
                  </a:cubicBezTo>
                  <a:cubicBezTo>
                    <a:pt x="177" y="165"/>
                    <a:pt x="177" y="165"/>
                    <a:pt x="177" y="165"/>
                  </a:cubicBezTo>
                  <a:cubicBezTo>
                    <a:pt x="177" y="165"/>
                    <a:pt x="177" y="165"/>
                    <a:pt x="177" y="165"/>
                  </a:cubicBezTo>
                  <a:cubicBezTo>
                    <a:pt x="177" y="166"/>
                    <a:pt x="177" y="166"/>
                    <a:pt x="177" y="166"/>
                  </a:cubicBezTo>
                  <a:cubicBezTo>
                    <a:pt x="177" y="166"/>
                    <a:pt x="176" y="166"/>
                    <a:pt x="176" y="166"/>
                  </a:cubicBezTo>
                  <a:cubicBezTo>
                    <a:pt x="176" y="167"/>
                    <a:pt x="176" y="167"/>
                    <a:pt x="176" y="167"/>
                  </a:cubicBezTo>
                  <a:cubicBezTo>
                    <a:pt x="176" y="167"/>
                    <a:pt x="176" y="167"/>
                    <a:pt x="175" y="167"/>
                  </a:cubicBezTo>
                  <a:cubicBezTo>
                    <a:pt x="175" y="167"/>
                    <a:pt x="174" y="168"/>
                    <a:pt x="173" y="170"/>
                  </a:cubicBezTo>
                  <a:cubicBezTo>
                    <a:pt x="173" y="170"/>
                    <a:pt x="172" y="171"/>
                    <a:pt x="172" y="172"/>
                  </a:cubicBezTo>
                  <a:cubicBezTo>
                    <a:pt x="172" y="172"/>
                    <a:pt x="172" y="172"/>
                    <a:pt x="172" y="172"/>
                  </a:cubicBezTo>
                  <a:cubicBezTo>
                    <a:pt x="170" y="173"/>
                    <a:pt x="170" y="175"/>
                    <a:pt x="170" y="176"/>
                  </a:cubicBezTo>
                  <a:cubicBezTo>
                    <a:pt x="170" y="176"/>
                    <a:pt x="170" y="176"/>
                    <a:pt x="170" y="176"/>
                  </a:cubicBezTo>
                  <a:cubicBezTo>
                    <a:pt x="170" y="177"/>
                    <a:pt x="170" y="177"/>
                    <a:pt x="170" y="177"/>
                  </a:cubicBezTo>
                  <a:cubicBezTo>
                    <a:pt x="170" y="178"/>
                    <a:pt x="170" y="178"/>
                    <a:pt x="170" y="178"/>
                  </a:cubicBezTo>
                  <a:cubicBezTo>
                    <a:pt x="170" y="178"/>
                    <a:pt x="170" y="179"/>
                    <a:pt x="170" y="179"/>
                  </a:cubicBezTo>
                  <a:cubicBezTo>
                    <a:pt x="170" y="179"/>
                    <a:pt x="170" y="179"/>
                    <a:pt x="169" y="180"/>
                  </a:cubicBezTo>
                  <a:cubicBezTo>
                    <a:pt x="169" y="180"/>
                    <a:pt x="169" y="181"/>
                    <a:pt x="169" y="181"/>
                  </a:cubicBezTo>
                  <a:cubicBezTo>
                    <a:pt x="168" y="182"/>
                    <a:pt x="168" y="182"/>
                    <a:pt x="168" y="182"/>
                  </a:cubicBezTo>
                  <a:cubicBezTo>
                    <a:pt x="168" y="182"/>
                    <a:pt x="168" y="182"/>
                    <a:pt x="168" y="183"/>
                  </a:cubicBezTo>
                  <a:cubicBezTo>
                    <a:pt x="167" y="183"/>
                    <a:pt x="167" y="183"/>
                    <a:pt x="167" y="184"/>
                  </a:cubicBezTo>
                  <a:cubicBezTo>
                    <a:pt x="167" y="184"/>
                    <a:pt x="167" y="184"/>
                    <a:pt x="167" y="184"/>
                  </a:cubicBezTo>
                  <a:cubicBezTo>
                    <a:pt x="166" y="185"/>
                    <a:pt x="166" y="185"/>
                    <a:pt x="166" y="186"/>
                  </a:cubicBezTo>
                  <a:cubicBezTo>
                    <a:pt x="166" y="186"/>
                    <a:pt x="165" y="187"/>
                    <a:pt x="165" y="188"/>
                  </a:cubicBezTo>
                  <a:cubicBezTo>
                    <a:pt x="165" y="188"/>
                    <a:pt x="164" y="188"/>
                    <a:pt x="164" y="189"/>
                  </a:cubicBezTo>
                  <a:cubicBezTo>
                    <a:pt x="164" y="189"/>
                    <a:pt x="164" y="190"/>
                    <a:pt x="164" y="190"/>
                  </a:cubicBezTo>
                  <a:cubicBezTo>
                    <a:pt x="163" y="190"/>
                    <a:pt x="163" y="191"/>
                    <a:pt x="163" y="191"/>
                  </a:cubicBezTo>
                  <a:cubicBezTo>
                    <a:pt x="162" y="191"/>
                    <a:pt x="162" y="192"/>
                    <a:pt x="162" y="192"/>
                  </a:cubicBezTo>
                  <a:cubicBezTo>
                    <a:pt x="162" y="192"/>
                    <a:pt x="162" y="192"/>
                    <a:pt x="162" y="192"/>
                  </a:cubicBezTo>
                  <a:cubicBezTo>
                    <a:pt x="162" y="192"/>
                    <a:pt x="162" y="193"/>
                    <a:pt x="162" y="193"/>
                  </a:cubicBezTo>
                  <a:cubicBezTo>
                    <a:pt x="160" y="194"/>
                    <a:pt x="161" y="196"/>
                    <a:pt x="161" y="196"/>
                  </a:cubicBezTo>
                  <a:cubicBezTo>
                    <a:pt x="161" y="197"/>
                    <a:pt x="162" y="198"/>
                    <a:pt x="163" y="199"/>
                  </a:cubicBezTo>
                  <a:cubicBezTo>
                    <a:pt x="164" y="199"/>
                    <a:pt x="164" y="199"/>
                    <a:pt x="165" y="199"/>
                  </a:cubicBezTo>
                  <a:cubicBezTo>
                    <a:pt x="165" y="199"/>
                    <a:pt x="165" y="199"/>
                    <a:pt x="166" y="199"/>
                  </a:cubicBezTo>
                  <a:cubicBezTo>
                    <a:pt x="166" y="199"/>
                    <a:pt x="166" y="199"/>
                    <a:pt x="166" y="199"/>
                  </a:cubicBezTo>
                  <a:cubicBezTo>
                    <a:pt x="167" y="199"/>
                    <a:pt x="167" y="199"/>
                    <a:pt x="168" y="199"/>
                  </a:cubicBezTo>
                  <a:cubicBezTo>
                    <a:pt x="168" y="199"/>
                    <a:pt x="168" y="199"/>
                    <a:pt x="168" y="199"/>
                  </a:cubicBezTo>
                  <a:cubicBezTo>
                    <a:pt x="169" y="199"/>
                    <a:pt x="169" y="199"/>
                    <a:pt x="170" y="198"/>
                  </a:cubicBezTo>
                  <a:cubicBezTo>
                    <a:pt x="170" y="198"/>
                    <a:pt x="171" y="198"/>
                    <a:pt x="171" y="198"/>
                  </a:cubicBezTo>
                  <a:cubicBezTo>
                    <a:pt x="172" y="198"/>
                    <a:pt x="173" y="197"/>
                    <a:pt x="173" y="197"/>
                  </a:cubicBezTo>
                  <a:cubicBezTo>
                    <a:pt x="174" y="197"/>
                    <a:pt x="174" y="197"/>
                    <a:pt x="174" y="196"/>
                  </a:cubicBezTo>
                  <a:cubicBezTo>
                    <a:pt x="175" y="196"/>
                    <a:pt x="175" y="196"/>
                    <a:pt x="176" y="196"/>
                  </a:cubicBezTo>
                  <a:cubicBezTo>
                    <a:pt x="176" y="195"/>
                    <a:pt x="176" y="195"/>
                    <a:pt x="176" y="195"/>
                  </a:cubicBezTo>
                  <a:cubicBezTo>
                    <a:pt x="176" y="195"/>
                    <a:pt x="177" y="195"/>
                    <a:pt x="177" y="195"/>
                  </a:cubicBezTo>
                  <a:cubicBezTo>
                    <a:pt x="159" y="209"/>
                    <a:pt x="137" y="217"/>
                    <a:pt x="113" y="217"/>
                  </a:cubicBezTo>
                  <a:cubicBezTo>
                    <a:pt x="109" y="217"/>
                    <a:pt x="105" y="217"/>
                    <a:pt x="102" y="216"/>
                  </a:cubicBezTo>
                  <a:close/>
                  <a:moveTo>
                    <a:pt x="118" y="168"/>
                  </a:moveTo>
                  <a:cubicBezTo>
                    <a:pt x="119" y="168"/>
                    <a:pt x="119" y="168"/>
                    <a:pt x="119" y="168"/>
                  </a:cubicBezTo>
                  <a:cubicBezTo>
                    <a:pt x="119" y="168"/>
                    <a:pt x="119" y="168"/>
                    <a:pt x="119" y="168"/>
                  </a:cubicBezTo>
                  <a:cubicBezTo>
                    <a:pt x="119" y="168"/>
                    <a:pt x="119" y="168"/>
                    <a:pt x="118" y="168"/>
                  </a:cubicBezTo>
                  <a:close/>
                  <a:moveTo>
                    <a:pt x="123" y="160"/>
                  </a:moveTo>
                  <a:cubicBezTo>
                    <a:pt x="123" y="160"/>
                    <a:pt x="122" y="160"/>
                    <a:pt x="122" y="161"/>
                  </a:cubicBezTo>
                  <a:cubicBezTo>
                    <a:pt x="122" y="161"/>
                    <a:pt x="123" y="160"/>
                    <a:pt x="123" y="160"/>
                  </a:cubicBezTo>
                  <a:cubicBezTo>
                    <a:pt x="123" y="160"/>
                    <a:pt x="123" y="160"/>
                    <a:pt x="123" y="160"/>
                  </a:cubicBezTo>
                  <a:close/>
                  <a:moveTo>
                    <a:pt x="123" y="160"/>
                  </a:moveTo>
                  <a:cubicBezTo>
                    <a:pt x="123" y="160"/>
                    <a:pt x="123" y="160"/>
                    <a:pt x="123" y="160"/>
                  </a:cubicBezTo>
                  <a:cubicBezTo>
                    <a:pt x="123" y="160"/>
                    <a:pt x="123" y="160"/>
                    <a:pt x="123" y="160"/>
                  </a:cubicBezTo>
                  <a:cubicBezTo>
                    <a:pt x="123" y="160"/>
                    <a:pt x="123" y="160"/>
                    <a:pt x="123" y="160"/>
                  </a:cubicBezTo>
                  <a:cubicBezTo>
                    <a:pt x="123" y="160"/>
                    <a:pt x="123" y="160"/>
                    <a:pt x="123" y="160"/>
                  </a:cubicBezTo>
                  <a:close/>
                  <a:moveTo>
                    <a:pt x="144" y="36"/>
                  </a:moveTo>
                  <a:cubicBezTo>
                    <a:pt x="144" y="36"/>
                    <a:pt x="144" y="36"/>
                    <a:pt x="144" y="36"/>
                  </a:cubicBezTo>
                  <a:cubicBezTo>
                    <a:pt x="145" y="36"/>
                    <a:pt x="145" y="36"/>
                    <a:pt x="145" y="36"/>
                  </a:cubicBezTo>
                  <a:cubicBezTo>
                    <a:pt x="145" y="36"/>
                    <a:pt x="145" y="36"/>
                    <a:pt x="144" y="3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9" name="Freeform 246">
              <a:extLst>
                <a:ext uri="{FF2B5EF4-FFF2-40B4-BE49-F238E27FC236}">
                  <a16:creationId xmlns:a16="http://schemas.microsoft.com/office/drawing/2014/main" id="{F9C5BB39-B3FD-2584-935D-DA29D217E82F}"/>
                </a:ext>
              </a:extLst>
            </p:cNvPr>
            <p:cNvSpPr>
              <a:spLocks/>
            </p:cNvSpPr>
            <p:nvPr/>
          </p:nvSpPr>
          <p:spPr bwMode="auto">
            <a:xfrm>
              <a:off x="-4491841" y="959325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0" name="Freeform 247">
              <a:extLst>
                <a:ext uri="{FF2B5EF4-FFF2-40B4-BE49-F238E27FC236}">
                  <a16:creationId xmlns:a16="http://schemas.microsoft.com/office/drawing/2014/main" id="{291FF8FC-9289-8727-A3E7-570BB12D1DD3}"/>
                </a:ext>
              </a:extLst>
            </p:cNvPr>
            <p:cNvSpPr>
              <a:spLocks/>
            </p:cNvSpPr>
            <p:nvPr/>
          </p:nvSpPr>
          <p:spPr bwMode="auto">
            <a:xfrm>
              <a:off x="-4557736" y="937360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1" name="Freeform 248">
              <a:extLst>
                <a:ext uri="{FF2B5EF4-FFF2-40B4-BE49-F238E27FC236}">
                  <a16:creationId xmlns:a16="http://schemas.microsoft.com/office/drawing/2014/main" id="{BF39EB6E-6C4E-9F5B-812C-D2B1CB38A42F}"/>
                </a:ext>
              </a:extLst>
            </p:cNvPr>
            <p:cNvSpPr>
              <a:spLocks/>
            </p:cNvSpPr>
            <p:nvPr/>
          </p:nvSpPr>
          <p:spPr bwMode="auto">
            <a:xfrm>
              <a:off x="-4425946" y="1285140"/>
              <a:ext cx="3662" cy="3662"/>
            </a:xfrm>
            <a:custGeom>
              <a:avLst/>
              <a:gdLst>
                <a:gd name="T0" fmla="*/ 0 w 1"/>
                <a:gd name="T1" fmla="*/ 1 h 1"/>
                <a:gd name="T2" fmla="*/ 1 w 1"/>
                <a:gd name="T3" fmla="*/ 1 h 1"/>
                <a:gd name="T4" fmla="*/ 1 w 1"/>
                <a:gd name="T5" fmla="*/ 0 h 1"/>
                <a:gd name="T6" fmla="*/ 0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7" name="Shape9_20200717_154431">
            <a:extLst>
              <a:ext uri="{FF2B5EF4-FFF2-40B4-BE49-F238E27FC236}">
                <a16:creationId xmlns:a16="http://schemas.microsoft.com/office/drawing/2014/main" id="{5D1FF16E-FE7A-6BC3-B28D-0E9CD0D52F1E}"/>
              </a:ext>
            </a:extLst>
          </p:cNvPr>
          <p:cNvGrpSpPr>
            <a:grpSpLocks noChangeAspect="1"/>
          </p:cNvGrpSpPr>
          <p:nvPr/>
        </p:nvGrpSpPr>
        <p:grpSpPr>
          <a:xfrm>
            <a:off x="5761031" y="1164218"/>
            <a:ext cx="669934" cy="666273"/>
            <a:chOff x="-2163553" y="798249"/>
            <a:chExt cx="669934" cy="666273"/>
          </a:xfrm>
          <a:solidFill>
            <a:schemeClr val="accent1"/>
          </a:solidFill>
        </p:grpSpPr>
        <p:sp>
          <p:nvSpPr>
            <p:cNvPr id="131" name="Freeform 249">
              <a:extLst>
                <a:ext uri="{FF2B5EF4-FFF2-40B4-BE49-F238E27FC236}">
                  <a16:creationId xmlns:a16="http://schemas.microsoft.com/office/drawing/2014/main" id="{97B95C0E-C1C6-B967-A38C-3088CD6A971E}"/>
                </a:ext>
              </a:extLst>
            </p:cNvPr>
            <p:cNvSpPr>
              <a:spLocks/>
            </p:cNvSpPr>
            <p:nvPr/>
          </p:nvSpPr>
          <p:spPr bwMode="auto">
            <a:xfrm>
              <a:off x="-2163553" y="798249"/>
              <a:ext cx="607698" cy="607698"/>
            </a:xfrm>
            <a:custGeom>
              <a:avLst/>
              <a:gdLst>
                <a:gd name="T0" fmla="*/ 110 w 220"/>
                <a:gd name="T1" fmla="*/ 220 h 220"/>
                <a:gd name="T2" fmla="*/ 0 w 220"/>
                <a:gd name="T3" fmla="*/ 110 h 220"/>
                <a:gd name="T4" fmla="*/ 110 w 220"/>
                <a:gd name="T5" fmla="*/ 0 h 220"/>
                <a:gd name="T6" fmla="*/ 220 w 220"/>
                <a:gd name="T7" fmla="*/ 110 h 220"/>
                <a:gd name="T8" fmla="*/ 208 w 220"/>
                <a:gd name="T9" fmla="*/ 159 h 220"/>
                <a:gd name="T10" fmla="*/ 203 w 220"/>
                <a:gd name="T11" fmla="*/ 160 h 220"/>
                <a:gd name="T12" fmla="*/ 202 w 220"/>
                <a:gd name="T13" fmla="*/ 156 h 220"/>
                <a:gd name="T14" fmla="*/ 213 w 220"/>
                <a:gd name="T15" fmla="*/ 110 h 220"/>
                <a:gd name="T16" fmla="*/ 110 w 220"/>
                <a:gd name="T17" fmla="*/ 7 h 220"/>
                <a:gd name="T18" fmla="*/ 7 w 220"/>
                <a:gd name="T19" fmla="*/ 110 h 220"/>
                <a:gd name="T20" fmla="*/ 110 w 220"/>
                <a:gd name="T21" fmla="*/ 212 h 220"/>
                <a:gd name="T22" fmla="*/ 160 w 220"/>
                <a:gd name="T23" fmla="*/ 199 h 220"/>
                <a:gd name="T24" fmla="*/ 165 w 220"/>
                <a:gd name="T25" fmla="*/ 201 h 220"/>
                <a:gd name="T26" fmla="*/ 164 w 220"/>
                <a:gd name="T27" fmla="*/ 206 h 220"/>
                <a:gd name="T28" fmla="*/ 110 w 220"/>
                <a:gd name="T29" fmla="*/ 22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20" h="220">
                  <a:moveTo>
                    <a:pt x="110" y="220"/>
                  </a:moveTo>
                  <a:cubicBezTo>
                    <a:pt x="49" y="220"/>
                    <a:pt x="0" y="170"/>
                    <a:pt x="0" y="110"/>
                  </a:cubicBezTo>
                  <a:cubicBezTo>
                    <a:pt x="0" y="49"/>
                    <a:pt x="49" y="0"/>
                    <a:pt x="110" y="0"/>
                  </a:cubicBezTo>
                  <a:cubicBezTo>
                    <a:pt x="171" y="0"/>
                    <a:pt x="220" y="49"/>
                    <a:pt x="220" y="110"/>
                  </a:cubicBezTo>
                  <a:cubicBezTo>
                    <a:pt x="220" y="127"/>
                    <a:pt x="216" y="144"/>
                    <a:pt x="208" y="159"/>
                  </a:cubicBezTo>
                  <a:cubicBezTo>
                    <a:pt x="207" y="161"/>
                    <a:pt x="205" y="161"/>
                    <a:pt x="203" y="160"/>
                  </a:cubicBezTo>
                  <a:cubicBezTo>
                    <a:pt x="202" y="160"/>
                    <a:pt x="201" y="157"/>
                    <a:pt x="202" y="156"/>
                  </a:cubicBezTo>
                  <a:cubicBezTo>
                    <a:pt x="209" y="141"/>
                    <a:pt x="213" y="126"/>
                    <a:pt x="213" y="110"/>
                  </a:cubicBezTo>
                  <a:cubicBezTo>
                    <a:pt x="213" y="53"/>
                    <a:pt x="167" y="7"/>
                    <a:pt x="110" y="7"/>
                  </a:cubicBezTo>
                  <a:cubicBezTo>
                    <a:pt x="53" y="7"/>
                    <a:pt x="7" y="53"/>
                    <a:pt x="7" y="110"/>
                  </a:cubicBezTo>
                  <a:cubicBezTo>
                    <a:pt x="7" y="166"/>
                    <a:pt x="53" y="212"/>
                    <a:pt x="110" y="212"/>
                  </a:cubicBezTo>
                  <a:cubicBezTo>
                    <a:pt x="128" y="212"/>
                    <a:pt x="145" y="208"/>
                    <a:pt x="160" y="199"/>
                  </a:cubicBezTo>
                  <a:cubicBezTo>
                    <a:pt x="162" y="198"/>
                    <a:pt x="164" y="199"/>
                    <a:pt x="165" y="201"/>
                  </a:cubicBezTo>
                  <a:cubicBezTo>
                    <a:pt x="166" y="202"/>
                    <a:pt x="166" y="205"/>
                    <a:pt x="164" y="206"/>
                  </a:cubicBezTo>
                  <a:cubicBezTo>
                    <a:pt x="147" y="215"/>
                    <a:pt x="129" y="220"/>
                    <a:pt x="110" y="2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2" name="Freeform 250">
              <a:extLst>
                <a:ext uri="{FF2B5EF4-FFF2-40B4-BE49-F238E27FC236}">
                  <a16:creationId xmlns:a16="http://schemas.microsoft.com/office/drawing/2014/main" id="{B526984E-5365-E063-685E-A9189B7B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72031" y="878787"/>
              <a:ext cx="424656" cy="98844"/>
            </a:xfrm>
            <a:custGeom>
              <a:avLst/>
              <a:gdLst>
                <a:gd name="T0" fmla="*/ 77 w 154"/>
                <a:gd name="T1" fmla="*/ 37 h 37"/>
                <a:gd name="T2" fmla="*/ 1 w 154"/>
                <a:gd name="T3" fmla="*/ 7 h 37"/>
                <a:gd name="T4" fmla="*/ 1 w 154"/>
                <a:gd name="T5" fmla="*/ 2 h 37"/>
                <a:gd name="T6" fmla="*/ 6 w 154"/>
                <a:gd name="T7" fmla="*/ 1 h 37"/>
                <a:gd name="T8" fmla="*/ 77 w 154"/>
                <a:gd name="T9" fmla="*/ 29 h 37"/>
                <a:gd name="T10" fmla="*/ 148 w 154"/>
                <a:gd name="T11" fmla="*/ 1 h 37"/>
                <a:gd name="T12" fmla="*/ 153 w 154"/>
                <a:gd name="T13" fmla="*/ 1 h 37"/>
                <a:gd name="T14" fmla="*/ 153 w 154"/>
                <a:gd name="T15" fmla="*/ 6 h 37"/>
                <a:gd name="T16" fmla="*/ 77 w 154"/>
                <a:gd name="T17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4" h="37">
                  <a:moveTo>
                    <a:pt x="77" y="37"/>
                  </a:moveTo>
                  <a:cubicBezTo>
                    <a:pt x="49" y="37"/>
                    <a:pt x="22" y="26"/>
                    <a:pt x="1" y="7"/>
                  </a:cubicBezTo>
                  <a:cubicBezTo>
                    <a:pt x="0" y="5"/>
                    <a:pt x="0" y="3"/>
                    <a:pt x="1" y="2"/>
                  </a:cubicBezTo>
                  <a:cubicBezTo>
                    <a:pt x="3" y="0"/>
                    <a:pt x="5" y="0"/>
                    <a:pt x="6" y="1"/>
                  </a:cubicBezTo>
                  <a:cubicBezTo>
                    <a:pt x="26" y="19"/>
                    <a:pt x="51" y="29"/>
                    <a:pt x="77" y="29"/>
                  </a:cubicBezTo>
                  <a:cubicBezTo>
                    <a:pt x="103" y="29"/>
                    <a:pt x="129" y="19"/>
                    <a:pt x="148" y="1"/>
                  </a:cubicBezTo>
                  <a:cubicBezTo>
                    <a:pt x="149" y="0"/>
                    <a:pt x="152" y="0"/>
                    <a:pt x="153" y="1"/>
                  </a:cubicBezTo>
                  <a:cubicBezTo>
                    <a:pt x="154" y="3"/>
                    <a:pt x="154" y="5"/>
                    <a:pt x="153" y="6"/>
                  </a:cubicBezTo>
                  <a:cubicBezTo>
                    <a:pt x="132" y="26"/>
                    <a:pt x="105" y="37"/>
                    <a:pt x="77" y="3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3" name="Freeform 251">
              <a:extLst>
                <a:ext uri="{FF2B5EF4-FFF2-40B4-BE49-F238E27FC236}">
                  <a16:creationId xmlns:a16="http://schemas.microsoft.com/office/drawing/2014/main" id="{8A985662-74D6-E602-35BF-9E159A6954D1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72031" y="1222905"/>
              <a:ext cx="410013" cy="95182"/>
            </a:xfrm>
            <a:custGeom>
              <a:avLst/>
              <a:gdLst>
                <a:gd name="T0" fmla="*/ 4 w 148"/>
                <a:gd name="T1" fmla="*/ 35 h 35"/>
                <a:gd name="T2" fmla="*/ 2 w 148"/>
                <a:gd name="T3" fmla="*/ 34 h 35"/>
                <a:gd name="T4" fmla="*/ 2 w 148"/>
                <a:gd name="T5" fmla="*/ 29 h 35"/>
                <a:gd name="T6" fmla="*/ 77 w 148"/>
                <a:gd name="T7" fmla="*/ 0 h 35"/>
                <a:gd name="T8" fmla="*/ 146 w 148"/>
                <a:gd name="T9" fmla="*/ 24 h 35"/>
                <a:gd name="T10" fmla="*/ 147 w 148"/>
                <a:gd name="T11" fmla="*/ 30 h 35"/>
                <a:gd name="T12" fmla="*/ 142 w 148"/>
                <a:gd name="T13" fmla="*/ 30 h 35"/>
                <a:gd name="T14" fmla="*/ 77 w 148"/>
                <a:gd name="T15" fmla="*/ 7 h 35"/>
                <a:gd name="T16" fmla="*/ 7 w 148"/>
                <a:gd name="T17" fmla="*/ 34 h 35"/>
                <a:gd name="T18" fmla="*/ 4 w 148"/>
                <a:gd name="T19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8" h="35">
                  <a:moveTo>
                    <a:pt x="4" y="35"/>
                  </a:moveTo>
                  <a:cubicBezTo>
                    <a:pt x="3" y="35"/>
                    <a:pt x="2" y="35"/>
                    <a:pt x="2" y="34"/>
                  </a:cubicBezTo>
                  <a:cubicBezTo>
                    <a:pt x="0" y="33"/>
                    <a:pt x="0" y="31"/>
                    <a:pt x="2" y="29"/>
                  </a:cubicBezTo>
                  <a:cubicBezTo>
                    <a:pt x="22" y="10"/>
                    <a:pt x="49" y="0"/>
                    <a:pt x="77" y="0"/>
                  </a:cubicBezTo>
                  <a:cubicBezTo>
                    <a:pt x="102" y="0"/>
                    <a:pt x="127" y="8"/>
                    <a:pt x="146" y="24"/>
                  </a:cubicBezTo>
                  <a:cubicBezTo>
                    <a:pt x="148" y="26"/>
                    <a:pt x="148" y="28"/>
                    <a:pt x="147" y="30"/>
                  </a:cubicBezTo>
                  <a:cubicBezTo>
                    <a:pt x="146" y="31"/>
                    <a:pt x="143" y="31"/>
                    <a:pt x="142" y="30"/>
                  </a:cubicBezTo>
                  <a:cubicBezTo>
                    <a:pt x="124" y="15"/>
                    <a:pt x="101" y="7"/>
                    <a:pt x="77" y="7"/>
                  </a:cubicBezTo>
                  <a:cubicBezTo>
                    <a:pt x="51" y="7"/>
                    <a:pt x="26" y="17"/>
                    <a:pt x="7" y="34"/>
                  </a:cubicBezTo>
                  <a:cubicBezTo>
                    <a:pt x="6" y="35"/>
                    <a:pt x="5" y="35"/>
                    <a:pt x="4" y="3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4" name="Freeform 252">
              <a:extLst>
                <a:ext uri="{FF2B5EF4-FFF2-40B4-BE49-F238E27FC236}">
                  <a16:creationId xmlns:a16="http://schemas.microsoft.com/office/drawing/2014/main" id="{1C723CD8-A3C3-4917-6AC5-AEBAAB36812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024441" y="798249"/>
              <a:ext cx="329475" cy="607698"/>
            </a:xfrm>
            <a:custGeom>
              <a:avLst/>
              <a:gdLst>
                <a:gd name="T0" fmla="*/ 60 w 119"/>
                <a:gd name="T1" fmla="*/ 220 h 220"/>
                <a:gd name="T2" fmla="*/ 0 w 119"/>
                <a:gd name="T3" fmla="*/ 110 h 220"/>
                <a:gd name="T4" fmla="*/ 60 w 119"/>
                <a:gd name="T5" fmla="*/ 0 h 220"/>
                <a:gd name="T6" fmla="*/ 119 w 119"/>
                <a:gd name="T7" fmla="*/ 110 h 220"/>
                <a:gd name="T8" fmla="*/ 60 w 119"/>
                <a:gd name="T9" fmla="*/ 220 h 220"/>
                <a:gd name="T10" fmla="*/ 60 w 119"/>
                <a:gd name="T11" fmla="*/ 7 h 220"/>
                <a:gd name="T12" fmla="*/ 8 w 119"/>
                <a:gd name="T13" fmla="*/ 110 h 220"/>
                <a:gd name="T14" fmla="*/ 60 w 119"/>
                <a:gd name="T15" fmla="*/ 212 h 220"/>
                <a:gd name="T16" fmla="*/ 112 w 119"/>
                <a:gd name="T17" fmla="*/ 110 h 220"/>
                <a:gd name="T18" fmla="*/ 60 w 119"/>
                <a:gd name="T19" fmla="*/ 7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9" h="220">
                  <a:moveTo>
                    <a:pt x="60" y="220"/>
                  </a:moveTo>
                  <a:cubicBezTo>
                    <a:pt x="27" y="220"/>
                    <a:pt x="0" y="171"/>
                    <a:pt x="0" y="110"/>
                  </a:cubicBezTo>
                  <a:cubicBezTo>
                    <a:pt x="0" y="48"/>
                    <a:pt x="27" y="0"/>
                    <a:pt x="60" y="0"/>
                  </a:cubicBezTo>
                  <a:cubicBezTo>
                    <a:pt x="93" y="0"/>
                    <a:pt x="119" y="48"/>
                    <a:pt x="119" y="110"/>
                  </a:cubicBezTo>
                  <a:cubicBezTo>
                    <a:pt x="119" y="171"/>
                    <a:pt x="93" y="220"/>
                    <a:pt x="60" y="220"/>
                  </a:cubicBezTo>
                  <a:close/>
                  <a:moveTo>
                    <a:pt x="60" y="7"/>
                  </a:moveTo>
                  <a:cubicBezTo>
                    <a:pt x="31" y="7"/>
                    <a:pt x="8" y="53"/>
                    <a:pt x="8" y="110"/>
                  </a:cubicBezTo>
                  <a:cubicBezTo>
                    <a:pt x="8" y="166"/>
                    <a:pt x="31" y="212"/>
                    <a:pt x="60" y="212"/>
                  </a:cubicBezTo>
                  <a:cubicBezTo>
                    <a:pt x="89" y="212"/>
                    <a:pt x="112" y="166"/>
                    <a:pt x="112" y="110"/>
                  </a:cubicBezTo>
                  <a:cubicBezTo>
                    <a:pt x="112" y="53"/>
                    <a:pt x="89" y="7"/>
                    <a:pt x="60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5" name="Freeform 253">
              <a:extLst>
                <a:ext uri="{FF2B5EF4-FFF2-40B4-BE49-F238E27FC236}">
                  <a16:creationId xmlns:a16="http://schemas.microsoft.com/office/drawing/2014/main" id="{39BE2CF1-8A78-740A-D9A8-A3A8F363B329}"/>
                </a:ext>
              </a:extLst>
            </p:cNvPr>
            <p:cNvSpPr>
              <a:spLocks/>
            </p:cNvSpPr>
            <p:nvPr/>
          </p:nvSpPr>
          <p:spPr bwMode="auto">
            <a:xfrm>
              <a:off x="-2163553" y="1091115"/>
              <a:ext cx="607698" cy="18305"/>
            </a:xfrm>
            <a:custGeom>
              <a:avLst/>
              <a:gdLst>
                <a:gd name="T0" fmla="*/ 216 w 220"/>
                <a:gd name="T1" fmla="*/ 7 h 7"/>
                <a:gd name="T2" fmla="*/ 3 w 220"/>
                <a:gd name="T3" fmla="*/ 7 h 7"/>
                <a:gd name="T4" fmla="*/ 0 w 220"/>
                <a:gd name="T5" fmla="*/ 4 h 7"/>
                <a:gd name="T6" fmla="*/ 3 w 220"/>
                <a:gd name="T7" fmla="*/ 0 h 7"/>
                <a:gd name="T8" fmla="*/ 216 w 220"/>
                <a:gd name="T9" fmla="*/ 0 h 7"/>
                <a:gd name="T10" fmla="*/ 220 w 220"/>
                <a:gd name="T11" fmla="*/ 4 h 7"/>
                <a:gd name="T12" fmla="*/ 216 w 220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0" h="7">
                  <a:moveTo>
                    <a:pt x="216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6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216" y="0"/>
                    <a:pt x="216" y="0"/>
                    <a:pt x="216" y="0"/>
                  </a:cubicBezTo>
                  <a:cubicBezTo>
                    <a:pt x="218" y="0"/>
                    <a:pt x="220" y="2"/>
                    <a:pt x="220" y="4"/>
                  </a:cubicBezTo>
                  <a:cubicBezTo>
                    <a:pt x="220" y="6"/>
                    <a:pt x="218" y="7"/>
                    <a:pt x="216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6" name="Freeform 254">
              <a:extLst>
                <a:ext uri="{FF2B5EF4-FFF2-40B4-BE49-F238E27FC236}">
                  <a16:creationId xmlns:a16="http://schemas.microsoft.com/office/drawing/2014/main" id="{A37CA4F8-6842-91F1-7794-326E3B195E91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70686" y="798249"/>
              <a:ext cx="18305" cy="607698"/>
            </a:xfrm>
            <a:custGeom>
              <a:avLst/>
              <a:gdLst>
                <a:gd name="T0" fmla="*/ 4 w 7"/>
                <a:gd name="T1" fmla="*/ 220 h 220"/>
                <a:gd name="T2" fmla="*/ 0 w 7"/>
                <a:gd name="T3" fmla="*/ 216 h 220"/>
                <a:gd name="T4" fmla="*/ 0 w 7"/>
                <a:gd name="T5" fmla="*/ 3 h 220"/>
                <a:gd name="T6" fmla="*/ 4 w 7"/>
                <a:gd name="T7" fmla="*/ 0 h 220"/>
                <a:gd name="T8" fmla="*/ 7 w 7"/>
                <a:gd name="T9" fmla="*/ 3 h 220"/>
                <a:gd name="T10" fmla="*/ 7 w 7"/>
                <a:gd name="T11" fmla="*/ 216 h 220"/>
                <a:gd name="T12" fmla="*/ 4 w 7"/>
                <a:gd name="T13" fmla="*/ 22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220">
                  <a:moveTo>
                    <a:pt x="4" y="220"/>
                  </a:moveTo>
                  <a:cubicBezTo>
                    <a:pt x="2" y="220"/>
                    <a:pt x="0" y="218"/>
                    <a:pt x="0" y="216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" y="0"/>
                    <a:pt x="7" y="1"/>
                    <a:pt x="7" y="3"/>
                  </a:cubicBezTo>
                  <a:cubicBezTo>
                    <a:pt x="7" y="216"/>
                    <a:pt x="7" y="216"/>
                    <a:pt x="7" y="216"/>
                  </a:cubicBezTo>
                  <a:cubicBezTo>
                    <a:pt x="7" y="218"/>
                    <a:pt x="6" y="220"/>
                    <a:pt x="4" y="2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7" name="Freeform 255">
              <a:extLst>
                <a:ext uri="{FF2B5EF4-FFF2-40B4-BE49-F238E27FC236}">
                  <a16:creationId xmlns:a16="http://schemas.microsoft.com/office/drawing/2014/main" id="{817A4762-F0C4-11C9-0D5C-46B66D7159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746218" y="1160672"/>
              <a:ext cx="252599" cy="303850"/>
            </a:xfrm>
            <a:custGeom>
              <a:avLst/>
              <a:gdLst>
                <a:gd name="T0" fmla="*/ 56 w 91"/>
                <a:gd name="T1" fmla="*/ 110 h 110"/>
                <a:gd name="T2" fmla="*/ 21 w 91"/>
                <a:gd name="T3" fmla="*/ 88 h 110"/>
                <a:gd name="T4" fmla="*/ 3 w 91"/>
                <a:gd name="T5" fmla="*/ 63 h 110"/>
                <a:gd name="T6" fmla="*/ 4 w 91"/>
                <a:gd name="T7" fmla="*/ 48 h 110"/>
                <a:gd name="T8" fmla="*/ 21 w 91"/>
                <a:gd name="T9" fmla="*/ 48 h 110"/>
                <a:gd name="T10" fmla="*/ 24 w 91"/>
                <a:gd name="T11" fmla="*/ 51 h 110"/>
                <a:gd name="T12" fmla="*/ 24 w 91"/>
                <a:gd name="T13" fmla="*/ 11 h 110"/>
                <a:gd name="T14" fmla="*/ 36 w 91"/>
                <a:gd name="T15" fmla="*/ 0 h 110"/>
                <a:gd name="T16" fmla="*/ 47 w 91"/>
                <a:gd name="T17" fmla="*/ 11 h 110"/>
                <a:gd name="T18" fmla="*/ 47 w 91"/>
                <a:gd name="T19" fmla="*/ 22 h 110"/>
                <a:gd name="T20" fmla="*/ 51 w 91"/>
                <a:gd name="T21" fmla="*/ 21 h 110"/>
                <a:gd name="T22" fmla="*/ 61 w 91"/>
                <a:gd name="T23" fmla="*/ 28 h 110"/>
                <a:gd name="T24" fmla="*/ 65 w 91"/>
                <a:gd name="T25" fmla="*/ 27 h 110"/>
                <a:gd name="T26" fmla="*/ 76 w 91"/>
                <a:gd name="T27" fmla="*/ 35 h 110"/>
                <a:gd name="T28" fmla="*/ 80 w 91"/>
                <a:gd name="T29" fmla="*/ 34 h 110"/>
                <a:gd name="T30" fmla="*/ 91 w 91"/>
                <a:gd name="T31" fmla="*/ 45 h 110"/>
                <a:gd name="T32" fmla="*/ 91 w 91"/>
                <a:gd name="T33" fmla="*/ 45 h 110"/>
                <a:gd name="T34" fmla="*/ 91 w 91"/>
                <a:gd name="T35" fmla="*/ 68 h 110"/>
                <a:gd name="T36" fmla="*/ 91 w 91"/>
                <a:gd name="T37" fmla="*/ 68 h 110"/>
                <a:gd name="T38" fmla="*/ 56 w 91"/>
                <a:gd name="T39" fmla="*/ 110 h 110"/>
                <a:gd name="T40" fmla="*/ 13 w 91"/>
                <a:gd name="T41" fmla="*/ 51 h 110"/>
                <a:gd name="T42" fmla="*/ 9 w 91"/>
                <a:gd name="T43" fmla="*/ 53 h 110"/>
                <a:gd name="T44" fmla="*/ 9 w 91"/>
                <a:gd name="T45" fmla="*/ 59 h 110"/>
                <a:gd name="T46" fmla="*/ 27 w 91"/>
                <a:gd name="T47" fmla="*/ 84 h 110"/>
                <a:gd name="T48" fmla="*/ 56 w 91"/>
                <a:gd name="T49" fmla="*/ 103 h 110"/>
                <a:gd name="T50" fmla="*/ 84 w 91"/>
                <a:gd name="T51" fmla="*/ 68 h 110"/>
                <a:gd name="T52" fmla="*/ 84 w 91"/>
                <a:gd name="T53" fmla="*/ 68 h 110"/>
                <a:gd name="T54" fmla="*/ 84 w 91"/>
                <a:gd name="T55" fmla="*/ 45 h 110"/>
                <a:gd name="T56" fmla="*/ 84 w 91"/>
                <a:gd name="T57" fmla="*/ 45 h 110"/>
                <a:gd name="T58" fmla="*/ 80 w 91"/>
                <a:gd name="T59" fmla="*/ 41 h 110"/>
                <a:gd name="T60" fmla="*/ 77 w 91"/>
                <a:gd name="T61" fmla="*/ 45 h 110"/>
                <a:gd name="T62" fmla="*/ 77 w 91"/>
                <a:gd name="T63" fmla="*/ 59 h 110"/>
                <a:gd name="T64" fmla="*/ 73 w 91"/>
                <a:gd name="T65" fmla="*/ 62 h 110"/>
                <a:gd name="T66" fmla="*/ 69 w 91"/>
                <a:gd name="T67" fmla="*/ 59 h 110"/>
                <a:gd name="T68" fmla="*/ 69 w 91"/>
                <a:gd name="T69" fmla="*/ 39 h 110"/>
                <a:gd name="T70" fmla="*/ 65 w 91"/>
                <a:gd name="T71" fmla="*/ 35 h 110"/>
                <a:gd name="T72" fmla="*/ 62 w 91"/>
                <a:gd name="T73" fmla="*/ 39 h 110"/>
                <a:gd name="T74" fmla="*/ 62 w 91"/>
                <a:gd name="T75" fmla="*/ 55 h 110"/>
                <a:gd name="T76" fmla="*/ 58 w 91"/>
                <a:gd name="T77" fmla="*/ 58 h 110"/>
                <a:gd name="T78" fmla="*/ 58 w 91"/>
                <a:gd name="T79" fmla="*/ 58 h 110"/>
                <a:gd name="T80" fmla="*/ 54 w 91"/>
                <a:gd name="T81" fmla="*/ 55 h 110"/>
                <a:gd name="T82" fmla="*/ 54 w 91"/>
                <a:gd name="T83" fmla="*/ 32 h 110"/>
                <a:gd name="T84" fmla="*/ 51 w 91"/>
                <a:gd name="T85" fmla="*/ 29 h 110"/>
                <a:gd name="T86" fmla="*/ 47 w 91"/>
                <a:gd name="T87" fmla="*/ 32 h 110"/>
                <a:gd name="T88" fmla="*/ 47 w 91"/>
                <a:gd name="T89" fmla="*/ 52 h 110"/>
                <a:gd name="T90" fmla="*/ 43 w 91"/>
                <a:gd name="T91" fmla="*/ 55 h 110"/>
                <a:gd name="T92" fmla="*/ 39 w 91"/>
                <a:gd name="T93" fmla="*/ 52 h 110"/>
                <a:gd name="T94" fmla="*/ 39 w 91"/>
                <a:gd name="T95" fmla="*/ 11 h 110"/>
                <a:gd name="T96" fmla="*/ 36 w 91"/>
                <a:gd name="T97" fmla="*/ 7 h 110"/>
                <a:gd name="T98" fmla="*/ 32 w 91"/>
                <a:gd name="T99" fmla="*/ 11 h 110"/>
                <a:gd name="T100" fmla="*/ 32 w 91"/>
                <a:gd name="T101" fmla="*/ 60 h 110"/>
                <a:gd name="T102" fmla="*/ 29 w 91"/>
                <a:gd name="T103" fmla="*/ 63 h 110"/>
                <a:gd name="T104" fmla="*/ 26 w 91"/>
                <a:gd name="T105" fmla="*/ 62 h 110"/>
                <a:gd name="T106" fmla="*/ 16 w 91"/>
                <a:gd name="T107" fmla="*/ 53 h 110"/>
                <a:gd name="T108" fmla="*/ 13 w 91"/>
                <a:gd name="T109" fmla="*/ 51 h 110"/>
                <a:gd name="T110" fmla="*/ 88 w 91"/>
                <a:gd name="T111" fmla="*/ 45 h 110"/>
                <a:gd name="T112" fmla="*/ 88 w 91"/>
                <a:gd name="T113" fmla="*/ 45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91" h="110">
                  <a:moveTo>
                    <a:pt x="56" y="110"/>
                  </a:moveTo>
                  <a:cubicBezTo>
                    <a:pt x="42" y="110"/>
                    <a:pt x="36" y="109"/>
                    <a:pt x="21" y="88"/>
                  </a:cubicBezTo>
                  <a:cubicBezTo>
                    <a:pt x="3" y="63"/>
                    <a:pt x="3" y="63"/>
                    <a:pt x="3" y="63"/>
                  </a:cubicBezTo>
                  <a:cubicBezTo>
                    <a:pt x="0" y="58"/>
                    <a:pt x="0" y="52"/>
                    <a:pt x="4" y="48"/>
                  </a:cubicBezTo>
                  <a:cubicBezTo>
                    <a:pt x="9" y="43"/>
                    <a:pt x="16" y="43"/>
                    <a:pt x="21" y="48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5"/>
                    <a:pt x="29" y="0"/>
                    <a:pt x="36" y="0"/>
                  </a:cubicBezTo>
                  <a:cubicBezTo>
                    <a:pt x="42" y="0"/>
                    <a:pt x="47" y="5"/>
                    <a:pt x="47" y="11"/>
                  </a:cubicBezTo>
                  <a:cubicBezTo>
                    <a:pt x="47" y="22"/>
                    <a:pt x="47" y="22"/>
                    <a:pt x="47" y="22"/>
                  </a:cubicBezTo>
                  <a:cubicBezTo>
                    <a:pt x="48" y="22"/>
                    <a:pt x="49" y="21"/>
                    <a:pt x="51" y="21"/>
                  </a:cubicBezTo>
                  <a:cubicBezTo>
                    <a:pt x="55" y="21"/>
                    <a:pt x="59" y="24"/>
                    <a:pt x="61" y="28"/>
                  </a:cubicBezTo>
                  <a:cubicBezTo>
                    <a:pt x="62" y="28"/>
                    <a:pt x="64" y="27"/>
                    <a:pt x="65" y="27"/>
                  </a:cubicBezTo>
                  <a:cubicBezTo>
                    <a:pt x="70" y="27"/>
                    <a:pt x="74" y="31"/>
                    <a:pt x="76" y="35"/>
                  </a:cubicBezTo>
                  <a:cubicBezTo>
                    <a:pt x="77" y="34"/>
                    <a:pt x="79" y="34"/>
                    <a:pt x="80" y="34"/>
                  </a:cubicBezTo>
                  <a:cubicBezTo>
                    <a:pt x="87" y="34"/>
                    <a:pt x="91" y="39"/>
                    <a:pt x="91" y="45"/>
                  </a:cubicBezTo>
                  <a:cubicBezTo>
                    <a:pt x="91" y="45"/>
                    <a:pt x="91" y="45"/>
                    <a:pt x="91" y="45"/>
                  </a:cubicBezTo>
                  <a:cubicBezTo>
                    <a:pt x="91" y="63"/>
                    <a:pt x="91" y="67"/>
                    <a:pt x="91" y="68"/>
                  </a:cubicBezTo>
                  <a:cubicBezTo>
                    <a:pt x="91" y="68"/>
                    <a:pt x="91" y="68"/>
                    <a:pt x="91" y="68"/>
                  </a:cubicBezTo>
                  <a:cubicBezTo>
                    <a:pt x="90" y="95"/>
                    <a:pt x="77" y="110"/>
                    <a:pt x="56" y="110"/>
                  </a:cubicBezTo>
                  <a:close/>
                  <a:moveTo>
                    <a:pt x="13" y="51"/>
                  </a:moveTo>
                  <a:cubicBezTo>
                    <a:pt x="11" y="51"/>
                    <a:pt x="10" y="52"/>
                    <a:pt x="9" y="53"/>
                  </a:cubicBezTo>
                  <a:cubicBezTo>
                    <a:pt x="8" y="54"/>
                    <a:pt x="8" y="57"/>
                    <a:pt x="9" y="59"/>
                  </a:cubicBezTo>
                  <a:cubicBezTo>
                    <a:pt x="27" y="84"/>
                    <a:pt x="27" y="84"/>
                    <a:pt x="27" y="84"/>
                  </a:cubicBezTo>
                  <a:cubicBezTo>
                    <a:pt x="41" y="103"/>
                    <a:pt x="45" y="103"/>
                    <a:pt x="56" y="103"/>
                  </a:cubicBezTo>
                  <a:cubicBezTo>
                    <a:pt x="78" y="103"/>
                    <a:pt x="83" y="84"/>
                    <a:pt x="84" y="68"/>
                  </a:cubicBezTo>
                  <a:cubicBezTo>
                    <a:pt x="84" y="68"/>
                    <a:pt x="84" y="68"/>
                    <a:pt x="84" y="68"/>
                  </a:cubicBezTo>
                  <a:cubicBezTo>
                    <a:pt x="84" y="66"/>
                    <a:pt x="84" y="53"/>
                    <a:pt x="84" y="45"/>
                  </a:cubicBezTo>
                  <a:cubicBezTo>
                    <a:pt x="84" y="45"/>
                    <a:pt x="84" y="45"/>
                    <a:pt x="84" y="45"/>
                  </a:cubicBezTo>
                  <a:cubicBezTo>
                    <a:pt x="84" y="43"/>
                    <a:pt x="83" y="41"/>
                    <a:pt x="80" y="41"/>
                  </a:cubicBezTo>
                  <a:cubicBezTo>
                    <a:pt x="78" y="41"/>
                    <a:pt x="77" y="43"/>
                    <a:pt x="77" y="45"/>
                  </a:cubicBezTo>
                  <a:cubicBezTo>
                    <a:pt x="77" y="59"/>
                    <a:pt x="77" y="59"/>
                    <a:pt x="77" y="59"/>
                  </a:cubicBezTo>
                  <a:cubicBezTo>
                    <a:pt x="77" y="61"/>
                    <a:pt x="75" y="62"/>
                    <a:pt x="73" y="62"/>
                  </a:cubicBezTo>
                  <a:cubicBezTo>
                    <a:pt x="71" y="62"/>
                    <a:pt x="69" y="61"/>
                    <a:pt x="69" y="59"/>
                  </a:cubicBezTo>
                  <a:cubicBezTo>
                    <a:pt x="69" y="39"/>
                    <a:pt x="69" y="39"/>
                    <a:pt x="69" y="39"/>
                  </a:cubicBezTo>
                  <a:cubicBezTo>
                    <a:pt x="69" y="36"/>
                    <a:pt x="68" y="35"/>
                    <a:pt x="65" y="35"/>
                  </a:cubicBezTo>
                  <a:cubicBezTo>
                    <a:pt x="63" y="35"/>
                    <a:pt x="62" y="36"/>
                    <a:pt x="62" y="39"/>
                  </a:cubicBezTo>
                  <a:cubicBezTo>
                    <a:pt x="62" y="55"/>
                    <a:pt x="62" y="55"/>
                    <a:pt x="62" y="55"/>
                  </a:cubicBezTo>
                  <a:cubicBezTo>
                    <a:pt x="62" y="57"/>
                    <a:pt x="60" y="58"/>
                    <a:pt x="58" y="58"/>
                  </a:cubicBezTo>
                  <a:cubicBezTo>
                    <a:pt x="58" y="58"/>
                    <a:pt x="58" y="58"/>
                    <a:pt x="58" y="58"/>
                  </a:cubicBezTo>
                  <a:cubicBezTo>
                    <a:pt x="56" y="58"/>
                    <a:pt x="54" y="57"/>
                    <a:pt x="54" y="55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30"/>
                    <a:pt x="53" y="29"/>
                    <a:pt x="51" y="29"/>
                  </a:cubicBezTo>
                  <a:cubicBezTo>
                    <a:pt x="48" y="29"/>
                    <a:pt x="47" y="30"/>
                    <a:pt x="47" y="32"/>
                  </a:cubicBezTo>
                  <a:cubicBezTo>
                    <a:pt x="47" y="52"/>
                    <a:pt x="47" y="52"/>
                    <a:pt x="47" y="52"/>
                  </a:cubicBezTo>
                  <a:cubicBezTo>
                    <a:pt x="47" y="54"/>
                    <a:pt x="45" y="55"/>
                    <a:pt x="43" y="55"/>
                  </a:cubicBezTo>
                  <a:cubicBezTo>
                    <a:pt x="41" y="55"/>
                    <a:pt x="39" y="54"/>
                    <a:pt x="39" y="52"/>
                  </a:cubicBezTo>
                  <a:cubicBezTo>
                    <a:pt x="39" y="11"/>
                    <a:pt x="39" y="11"/>
                    <a:pt x="39" y="11"/>
                  </a:cubicBezTo>
                  <a:cubicBezTo>
                    <a:pt x="39" y="9"/>
                    <a:pt x="38" y="7"/>
                    <a:pt x="36" y="7"/>
                  </a:cubicBezTo>
                  <a:cubicBezTo>
                    <a:pt x="33" y="7"/>
                    <a:pt x="32" y="9"/>
                    <a:pt x="32" y="11"/>
                  </a:cubicBezTo>
                  <a:cubicBezTo>
                    <a:pt x="32" y="60"/>
                    <a:pt x="32" y="60"/>
                    <a:pt x="32" y="60"/>
                  </a:cubicBezTo>
                  <a:cubicBezTo>
                    <a:pt x="32" y="61"/>
                    <a:pt x="31" y="63"/>
                    <a:pt x="29" y="63"/>
                  </a:cubicBezTo>
                  <a:cubicBezTo>
                    <a:pt x="28" y="64"/>
                    <a:pt x="27" y="64"/>
                    <a:pt x="26" y="62"/>
                  </a:cubicBezTo>
                  <a:cubicBezTo>
                    <a:pt x="16" y="53"/>
                    <a:pt x="16" y="53"/>
                    <a:pt x="16" y="53"/>
                  </a:cubicBezTo>
                  <a:cubicBezTo>
                    <a:pt x="15" y="52"/>
                    <a:pt x="14" y="51"/>
                    <a:pt x="13" y="51"/>
                  </a:cubicBezTo>
                  <a:close/>
                  <a:moveTo>
                    <a:pt x="88" y="45"/>
                  </a:moveTo>
                  <a:cubicBezTo>
                    <a:pt x="88" y="45"/>
                    <a:pt x="88" y="45"/>
                    <a:pt x="88" y="4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8" name="Shape0_20200717_154431">
            <a:extLst>
              <a:ext uri="{FF2B5EF4-FFF2-40B4-BE49-F238E27FC236}">
                <a16:creationId xmlns:a16="http://schemas.microsoft.com/office/drawing/2014/main" id="{BAFAF4F0-CAE9-EC6E-763E-683068AE0FB3}"/>
              </a:ext>
            </a:extLst>
          </p:cNvPr>
          <p:cNvGrpSpPr>
            <a:grpSpLocks noChangeAspect="1"/>
          </p:cNvGrpSpPr>
          <p:nvPr/>
        </p:nvGrpSpPr>
        <p:grpSpPr>
          <a:xfrm>
            <a:off x="4455476" y="1164218"/>
            <a:ext cx="669933" cy="666271"/>
            <a:chOff x="-3455825" y="798249"/>
            <a:chExt cx="669933" cy="666271"/>
          </a:xfrm>
          <a:solidFill>
            <a:schemeClr val="accent1"/>
          </a:solidFill>
        </p:grpSpPr>
        <p:sp>
          <p:nvSpPr>
            <p:cNvPr id="124" name="Freeform 256">
              <a:extLst>
                <a:ext uri="{FF2B5EF4-FFF2-40B4-BE49-F238E27FC236}">
                  <a16:creationId xmlns:a16="http://schemas.microsoft.com/office/drawing/2014/main" id="{A03CEFB8-46A2-6090-3909-36B780946D1A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55825" y="798249"/>
              <a:ext cx="604038" cy="607698"/>
            </a:xfrm>
            <a:custGeom>
              <a:avLst/>
              <a:gdLst>
                <a:gd name="T0" fmla="*/ 110 w 220"/>
                <a:gd name="T1" fmla="*/ 220 h 220"/>
                <a:gd name="T2" fmla="*/ 0 w 220"/>
                <a:gd name="T3" fmla="*/ 110 h 220"/>
                <a:gd name="T4" fmla="*/ 110 w 220"/>
                <a:gd name="T5" fmla="*/ 0 h 220"/>
                <a:gd name="T6" fmla="*/ 220 w 220"/>
                <a:gd name="T7" fmla="*/ 110 h 220"/>
                <a:gd name="T8" fmla="*/ 208 w 220"/>
                <a:gd name="T9" fmla="*/ 160 h 220"/>
                <a:gd name="T10" fmla="*/ 203 w 220"/>
                <a:gd name="T11" fmla="*/ 162 h 220"/>
                <a:gd name="T12" fmla="*/ 201 w 220"/>
                <a:gd name="T13" fmla="*/ 157 h 220"/>
                <a:gd name="T14" fmla="*/ 213 w 220"/>
                <a:gd name="T15" fmla="*/ 110 h 220"/>
                <a:gd name="T16" fmla="*/ 110 w 220"/>
                <a:gd name="T17" fmla="*/ 7 h 220"/>
                <a:gd name="T18" fmla="*/ 7 w 220"/>
                <a:gd name="T19" fmla="*/ 110 h 220"/>
                <a:gd name="T20" fmla="*/ 110 w 220"/>
                <a:gd name="T21" fmla="*/ 212 h 220"/>
                <a:gd name="T22" fmla="*/ 173 w 220"/>
                <a:gd name="T23" fmla="*/ 191 h 220"/>
                <a:gd name="T24" fmla="*/ 178 w 220"/>
                <a:gd name="T25" fmla="*/ 192 h 220"/>
                <a:gd name="T26" fmla="*/ 177 w 220"/>
                <a:gd name="T27" fmla="*/ 197 h 220"/>
                <a:gd name="T28" fmla="*/ 110 w 220"/>
                <a:gd name="T29" fmla="*/ 22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20" h="220">
                  <a:moveTo>
                    <a:pt x="110" y="220"/>
                  </a:moveTo>
                  <a:cubicBezTo>
                    <a:pt x="49" y="220"/>
                    <a:pt x="0" y="170"/>
                    <a:pt x="0" y="110"/>
                  </a:cubicBezTo>
                  <a:cubicBezTo>
                    <a:pt x="0" y="49"/>
                    <a:pt x="49" y="0"/>
                    <a:pt x="110" y="0"/>
                  </a:cubicBezTo>
                  <a:cubicBezTo>
                    <a:pt x="171" y="0"/>
                    <a:pt x="220" y="49"/>
                    <a:pt x="220" y="110"/>
                  </a:cubicBezTo>
                  <a:cubicBezTo>
                    <a:pt x="220" y="127"/>
                    <a:pt x="216" y="145"/>
                    <a:pt x="208" y="160"/>
                  </a:cubicBezTo>
                  <a:cubicBezTo>
                    <a:pt x="207" y="162"/>
                    <a:pt x="205" y="163"/>
                    <a:pt x="203" y="162"/>
                  </a:cubicBezTo>
                  <a:cubicBezTo>
                    <a:pt x="201" y="161"/>
                    <a:pt x="200" y="159"/>
                    <a:pt x="201" y="157"/>
                  </a:cubicBezTo>
                  <a:cubicBezTo>
                    <a:pt x="209" y="143"/>
                    <a:pt x="213" y="126"/>
                    <a:pt x="213" y="110"/>
                  </a:cubicBezTo>
                  <a:cubicBezTo>
                    <a:pt x="213" y="53"/>
                    <a:pt x="167" y="7"/>
                    <a:pt x="110" y="7"/>
                  </a:cubicBezTo>
                  <a:cubicBezTo>
                    <a:pt x="53" y="7"/>
                    <a:pt x="7" y="53"/>
                    <a:pt x="7" y="110"/>
                  </a:cubicBezTo>
                  <a:cubicBezTo>
                    <a:pt x="7" y="166"/>
                    <a:pt x="53" y="212"/>
                    <a:pt x="110" y="212"/>
                  </a:cubicBezTo>
                  <a:cubicBezTo>
                    <a:pt x="133" y="212"/>
                    <a:pt x="155" y="205"/>
                    <a:pt x="173" y="191"/>
                  </a:cubicBezTo>
                  <a:cubicBezTo>
                    <a:pt x="175" y="190"/>
                    <a:pt x="177" y="190"/>
                    <a:pt x="178" y="192"/>
                  </a:cubicBezTo>
                  <a:cubicBezTo>
                    <a:pt x="179" y="193"/>
                    <a:pt x="179" y="195"/>
                    <a:pt x="177" y="197"/>
                  </a:cubicBezTo>
                  <a:cubicBezTo>
                    <a:pt x="158" y="212"/>
                    <a:pt x="135" y="220"/>
                    <a:pt x="110" y="2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5" name="Freeform 257">
              <a:extLst>
                <a:ext uri="{FF2B5EF4-FFF2-40B4-BE49-F238E27FC236}">
                  <a16:creationId xmlns:a16="http://schemas.microsoft.com/office/drawing/2014/main" id="{4CAE97FD-CDF2-769C-94A5-50165D0E13A0}"/>
                </a:ext>
              </a:extLst>
            </p:cNvPr>
            <p:cNvSpPr>
              <a:spLocks/>
            </p:cNvSpPr>
            <p:nvPr/>
          </p:nvSpPr>
          <p:spPr bwMode="auto">
            <a:xfrm>
              <a:off x="-3364305" y="878787"/>
              <a:ext cx="424656" cy="98844"/>
            </a:xfrm>
            <a:custGeom>
              <a:avLst/>
              <a:gdLst>
                <a:gd name="T0" fmla="*/ 77 w 155"/>
                <a:gd name="T1" fmla="*/ 37 h 37"/>
                <a:gd name="T2" fmla="*/ 2 w 155"/>
                <a:gd name="T3" fmla="*/ 7 h 37"/>
                <a:gd name="T4" fmla="*/ 2 w 155"/>
                <a:gd name="T5" fmla="*/ 2 h 37"/>
                <a:gd name="T6" fmla="*/ 7 w 155"/>
                <a:gd name="T7" fmla="*/ 1 h 37"/>
                <a:gd name="T8" fmla="*/ 77 w 155"/>
                <a:gd name="T9" fmla="*/ 29 h 37"/>
                <a:gd name="T10" fmla="*/ 148 w 155"/>
                <a:gd name="T11" fmla="*/ 1 h 37"/>
                <a:gd name="T12" fmla="*/ 153 w 155"/>
                <a:gd name="T13" fmla="*/ 1 h 37"/>
                <a:gd name="T14" fmla="*/ 153 w 155"/>
                <a:gd name="T15" fmla="*/ 6 h 37"/>
                <a:gd name="T16" fmla="*/ 77 w 155"/>
                <a:gd name="T17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5" h="37">
                  <a:moveTo>
                    <a:pt x="77" y="37"/>
                  </a:moveTo>
                  <a:cubicBezTo>
                    <a:pt x="49" y="37"/>
                    <a:pt x="22" y="26"/>
                    <a:pt x="2" y="7"/>
                  </a:cubicBezTo>
                  <a:cubicBezTo>
                    <a:pt x="0" y="5"/>
                    <a:pt x="0" y="3"/>
                    <a:pt x="2" y="2"/>
                  </a:cubicBezTo>
                  <a:cubicBezTo>
                    <a:pt x="3" y="0"/>
                    <a:pt x="5" y="0"/>
                    <a:pt x="7" y="1"/>
                  </a:cubicBezTo>
                  <a:cubicBezTo>
                    <a:pt x="26" y="19"/>
                    <a:pt x="51" y="29"/>
                    <a:pt x="77" y="29"/>
                  </a:cubicBezTo>
                  <a:cubicBezTo>
                    <a:pt x="104" y="29"/>
                    <a:pt x="129" y="19"/>
                    <a:pt x="148" y="1"/>
                  </a:cubicBezTo>
                  <a:cubicBezTo>
                    <a:pt x="149" y="0"/>
                    <a:pt x="152" y="0"/>
                    <a:pt x="153" y="1"/>
                  </a:cubicBezTo>
                  <a:cubicBezTo>
                    <a:pt x="155" y="3"/>
                    <a:pt x="154" y="5"/>
                    <a:pt x="153" y="6"/>
                  </a:cubicBezTo>
                  <a:cubicBezTo>
                    <a:pt x="132" y="26"/>
                    <a:pt x="106" y="37"/>
                    <a:pt x="77" y="3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6" name="Freeform 258">
              <a:extLst>
                <a:ext uri="{FF2B5EF4-FFF2-40B4-BE49-F238E27FC236}">
                  <a16:creationId xmlns:a16="http://schemas.microsoft.com/office/drawing/2014/main" id="{3387D51A-13B5-1ED0-CDA6-9949D3B6B07B}"/>
                </a:ext>
              </a:extLst>
            </p:cNvPr>
            <p:cNvSpPr>
              <a:spLocks/>
            </p:cNvSpPr>
            <p:nvPr/>
          </p:nvSpPr>
          <p:spPr bwMode="auto">
            <a:xfrm>
              <a:off x="-3364305" y="1222905"/>
              <a:ext cx="402691" cy="95182"/>
            </a:xfrm>
            <a:custGeom>
              <a:avLst/>
              <a:gdLst>
                <a:gd name="T0" fmla="*/ 4 w 145"/>
                <a:gd name="T1" fmla="*/ 35 h 35"/>
                <a:gd name="T2" fmla="*/ 1 w 145"/>
                <a:gd name="T3" fmla="*/ 34 h 35"/>
                <a:gd name="T4" fmla="*/ 1 w 145"/>
                <a:gd name="T5" fmla="*/ 29 h 35"/>
                <a:gd name="T6" fmla="*/ 76 w 145"/>
                <a:gd name="T7" fmla="*/ 0 h 35"/>
                <a:gd name="T8" fmla="*/ 144 w 145"/>
                <a:gd name="T9" fmla="*/ 23 h 35"/>
                <a:gd name="T10" fmla="*/ 144 w 145"/>
                <a:gd name="T11" fmla="*/ 28 h 35"/>
                <a:gd name="T12" fmla="*/ 139 w 145"/>
                <a:gd name="T13" fmla="*/ 28 h 35"/>
                <a:gd name="T14" fmla="*/ 76 w 145"/>
                <a:gd name="T15" fmla="*/ 7 h 35"/>
                <a:gd name="T16" fmla="*/ 6 w 145"/>
                <a:gd name="T17" fmla="*/ 34 h 35"/>
                <a:gd name="T18" fmla="*/ 4 w 145"/>
                <a:gd name="T19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5" h="35">
                  <a:moveTo>
                    <a:pt x="4" y="35"/>
                  </a:moveTo>
                  <a:cubicBezTo>
                    <a:pt x="3" y="35"/>
                    <a:pt x="2" y="35"/>
                    <a:pt x="1" y="34"/>
                  </a:cubicBezTo>
                  <a:cubicBezTo>
                    <a:pt x="0" y="33"/>
                    <a:pt x="0" y="31"/>
                    <a:pt x="1" y="29"/>
                  </a:cubicBezTo>
                  <a:cubicBezTo>
                    <a:pt x="22" y="10"/>
                    <a:pt x="48" y="0"/>
                    <a:pt x="76" y="0"/>
                  </a:cubicBezTo>
                  <a:cubicBezTo>
                    <a:pt x="101" y="0"/>
                    <a:pt x="124" y="8"/>
                    <a:pt x="144" y="23"/>
                  </a:cubicBezTo>
                  <a:cubicBezTo>
                    <a:pt x="145" y="24"/>
                    <a:pt x="145" y="26"/>
                    <a:pt x="144" y="28"/>
                  </a:cubicBezTo>
                  <a:cubicBezTo>
                    <a:pt x="143" y="29"/>
                    <a:pt x="141" y="30"/>
                    <a:pt x="139" y="28"/>
                  </a:cubicBezTo>
                  <a:cubicBezTo>
                    <a:pt x="121" y="14"/>
                    <a:pt x="99" y="7"/>
                    <a:pt x="76" y="7"/>
                  </a:cubicBezTo>
                  <a:cubicBezTo>
                    <a:pt x="50" y="7"/>
                    <a:pt x="25" y="17"/>
                    <a:pt x="6" y="34"/>
                  </a:cubicBezTo>
                  <a:cubicBezTo>
                    <a:pt x="5" y="35"/>
                    <a:pt x="4" y="35"/>
                    <a:pt x="4" y="3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7" name="Freeform 259">
              <a:extLst>
                <a:ext uri="{FF2B5EF4-FFF2-40B4-BE49-F238E27FC236}">
                  <a16:creationId xmlns:a16="http://schemas.microsoft.com/office/drawing/2014/main" id="{EF99DA58-01B2-467D-10B0-DAC9BBD6EA7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316713" y="798249"/>
              <a:ext cx="329475" cy="607698"/>
            </a:xfrm>
            <a:custGeom>
              <a:avLst/>
              <a:gdLst>
                <a:gd name="T0" fmla="*/ 59 w 119"/>
                <a:gd name="T1" fmla="*/ 220 h 220"/>
                <a:gd name="T2" fmla="*/ 0 w 119"/>
                <a:gd name="T3" fmla="*/ 110 h 220"/>
                <a:gd name="T4" fmla="*/ 59 w 119"/>
                <a:gd name="T5" fmla="*/ 0 h 220"/>
                <a:gd name="T6" fmla="*/ 119 w 119"/>
                <a:gd name="T7" fmla="*/ 110 h 220"/>
                <a:gd name="T8" fmla="*/ 59 w 119"/>
                <a:gd name="T9" fmla="*/ 220 h 220"/>
                <a:gd name="T10" fmla="*/ 59 w 119"/>
                <a:gd name="T11" fmla="*/ 7 h 220"/>
                <a:gd name="T12" fmla="*/ 7 w 119"/>
                <a:gd name="T13" fmla="*/ 110 h 220"/>
                <a:gd name="T14" fmla="*/ 59 w 119"/>
                <a:gd name="T15" fmla="*/ 212 h 220"/>
                <a:gd name="T16" fmla="*/ 111 w 119"/>
                <a:gd name="T17" fmla="*/ 110 h 220"/>
                <a:gd name="T18" fmla="*/ 59 w 119"/>
                <a:gd name="T19" fmla="*/ 7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9" h="220">
                  <a:moveTo>
                    <a:pt x="59" y="220"/>
                  </a:moveTo>
                  <a:cubicBezTo>
                    <a:pt x="26" y="220"/>
                    <a:pt x="0" y="171"/>
                    <a:pt x="0" y="110"/>
                  </a:cubicBezTo>
                  <a:cubicBezTo>
                    <a:pt x="0" y="48"/>
                    <a:pt x="26" y="0"/>
                    <a:pt x="59" y="0"/>
                  </a:cubicBezTo>
                  <a:cubicBezTo>
                    <a:pt x="92" y="0"/>
                    <a:pt x="119" y="48"/>
                    <a:pt x="119" y="110"/>
                  </a:cubicBezTo>
                  <a:cubicBezTo>
                    <a:pt x="119" y="171"/>
                    <a:pt x="92" y="220"/>
                    <a:pt x="59" y="220"/>
                  </a:cubicBezTo>
                  <a:close/>
                  <a:moveTo>
                    <a:pt x="59" y="7"/>
                  </a:moveTo>
                  <a:cubicBezTo>
                    <a:pt x="30" y="7"/>
                    <a:pt x="7" y="53"/>
                    <a:pt x="7" y="110"/>
                  </a:cubicBezTo>
                  <a:cubicBezTo>
                    <a:pt x="7" y="166"/>
                    <a:pt x="30" y="212"/>
                    <a:pt x="59" y="212"/>
                  </a:cubicBezTo>
                  <a:cubicBezTo>
                    <a:pt x="88" y="212"/>
                    <a:pt x="111" y="166"/>
                    <a:pt x="111" y="110"/>
                  </a:cubicBezTo>
                  <a:cubicBezTo>
                    <a:pt x="111" y="53"/>
                    <a:pt x="88" y="7"/>
                    <a:pt x="59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8" name="Freeform 260">
              <a:extLst>
                <a:ext uri="{FF2B5EF4-FFF2-40B4-BE49-F238E27FC236}">
                  <a16:creationId xmlns:a16="http://schemas.microsoft.com/office/drawing/2014/main" id="{837DC8AB-43A2-E102-D699-30F9DF112CDF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55825" y="1091115"/>
              <a:ext cx="604038" cy="18305"/>
            </a:xfrm>
            <a:custGeom>
              <a:avLst/>
              <a:gdLst>
                <a:gd name="T0" fmla="*/ 217 w 220"/>
                <a:gd name="T1" fmla="*/ 7 h 7"/>
                <a:gd name="T2" fmla="*/ 4 w 220"/>
                <a:gd name="T3" fmla="*/ 7 h 7"/>
                <a:gd name="T4" fmla="*/ 0 w 220"/>
                <a:gd name="T5" fmla="*/ 4 h 7"/>
                <a:gd name="T6" fmla="*/ 4 w 220"/>
                <a:gd name="T7" fmla="*/ 0 h 7"/>
                <a:gd name="T8" fmla="*/ 217 w 220"/>
                <a:gd name="T9" fmla="*/ 0 h 7"/>
                <a:gd name="T10" fmla="*/ 220 w 220"/>
                <a:gd name="T11" fmla="*/ 4 h 7"/>
                <a:gd name="T12" fmla="*/ 217 w 220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0" h="7">
                  <a:moveTo>
                    <a:pt x="217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219" y="0"/>
                    <a:pt x="220" y="2"/>
                    <a:pt x="220" y="4"/>
                  </a:cubicBezTo>
                  <a:cubicBezTo>
                    <a:pt x="220" y="6"/>
                    <a:pt x="219" y="7"/>
                    <a:pt x="217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9" name="Freeform 261">
              <a:extLst>
                <a:ext uri="{FF2B5EF4-FFF2-40B4-BE49-F238E27FC236}">
                  <a16:creationId xmlns:a16="http://schemas.microsoft.com/office/drawing/2014/main" id="{9EB10C01-0D9A-8B87-0BED-25A71B0287D1}"/>
                </a:ext>
              </a:extLst>
            </p:cNvPr>
            <p:cNvSpPr>
              <a:spLocks/>
            </p:cNvSpPr>
            <p:nvPr/>
          </p:nvSpPr>
          <p:spPr bwMode="auto">
            <a:xfrm>
              <a:off x="-3162958" y="798249"/>
              <a:ext cx="21965" cy="607698"/>
            </a:xfrm>
            <a:custGeom>
              <a:avLst/>
              <a:gdLst>
                <a:gd name="T0" fmla="*/ 3 w 7"/>
                <a:gd name="T1" fmla="*/ 220 h 220"/>
                <a:gd name="T2" fmla="*/ 0 w 7"/>
                <a:gd name="T3" fmla="*/ 216 h 220"/>
                <a:gd name="T4" fmla="*/ 0 w 7"/>
                <a:gd name="T5" fmla="*/ 3 h 220"/>
                <a:gd name="T6" fmla="*/ 3 w 7"/>
                <a:gd name="T7" fmla="*/ 0 h 220"/>
                <a:gd name="T8" fmla="*/ 7 w 7"/>
                <a:gd name="T9" fmla="*/ 3 h 220"/>
                <a:gd name="T10" fmla="*/ 7 w 7"/>
                <a:gd name="T11" fmla="*/ 216 h 220"/>
                <a:gd name="T12" fmla="*/ 3 w 7"/>
                <a:gd name="T13" fmla="*/ 22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220">
                  <a:moveTo>
                    <a:pt x="3" y="220"/>
                  </a:moveTo>
                  <a:cubicBezTo>
                    <a:pt x="1" y="220"/>
                    <a:pt x="0" y="218"/>
                    <a:pt x="0" y="216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5" y="0"/>
                    <a:pt x="7" y="1"/>
                    <a:pt x="7" y="3"/>
                  </a:cubicBezTo>
                  <a:cubicBezTo>
                    <a:pt x="7" y="216"/>
                    <a:pt x="7" y="216"/>
                    <a:pt x="7" y="216"/>
                  </a:cubicBezTo>
                  <a:cubicBezTo>
                    <a:pt x="7" y="218"/>
                    <a:pt x="5" y="220"/>
                    <a:pt x="3" y="2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0" name="Freeform 262">
              <a:extLst>
                <a:ext uri="{FF2B5EF4-FFF2-40B4-BE49-F238E27FC236}">
                  <a16:creationId xmlns:a16="http://schemas.microsoft.com/office/drawing/2014/main" id="{DE12D017-0D95-A325-907E-2C7785AA83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979917" y="1157010"/>
              <a:ext cx="194025" cy="307510"/>
            </a:xfrm>
            <a:custGeom>
              <a:avLst/>
              <a:gdLst>
                <a:gd name="T0" fmla="*/ 39 w 70"/>
                <a:gd name="T1" fmla="*/ 112 h 112"/>
                <a:gd name="T2" fmla="*/ 36 w 70"/>
                <a:gd name="T3" fmla="*/ 110 h 112"/>
                <a:gd name="T4" fmla="*/ 22 w 70"/>
                <a:gd name="T5" fmla="*/ 79 h 112"/>
                <a:gd name="T6" fmla="*/ 6 w 70"/>
                <a:gd name="T7" fmla="*/ 93 h 112"/>
                <a:gd name="T8" fmla="*/ 2 w 70"/>
                <a:gd name="T9" fmla="*/ 94 h 112"/>
                <a:gd name="T10" fmla="*/ 0 w 70"/>
                <a:gd name="T11" fmla="*/ 91 h 112"/>
                <a:gd name="T12" fmla="*/ 0 w 70"/>
                <a:gd name="T13" fmla="*/ 4 h 112"/>
                <a:gd name="T14" fmla="*/ 2 w 70"/>
                <a:gd name="T15" fmla="*/ 1 h 112"/>
                <a:gd name="T16" fmla="*/ 6 w 70"/>
                <a:gd name="T17" fmla="*/ 2 h 112"/>
                <a:gd name="T18" fmla="*/ 69 w 70"/>
                <a:gd name="T19" fmla="*/ 61 h 112"/>
                <a:gd name="T20" fmla="*/ 70 w 70"/>
                <a:gd name="T21" fmla="*/ 65 h 112"/>
                <a:gd name="T22" fmla="*/ 66 w 70"/>
                <a:gd name="T23" fmla="*/ 67 h 112"/>
                <a:gd name="T24" fmla="*/ 45 w 70"/>
                <a:gd name="T25" fmla="*/ 69 h 112"/>
                <a:gd name="T26" fmla="*/ 58 w 70"/>
                <a:gd name="T27" fmla="*/ 100 h 112"/>
                <a:gd name="T28" fmla="*/ 58 w 70"/>
                <a:gd name="T29" fmla="*/ 103 h 112"/>
                <a:gd name="T30" fmla="*/ 56 w 70"/>
                <a:gd name="T31" fmla="*/ 105 h 112"/>
                <a:gd name="T32" fmla="*/ 40 w 70"/>
                <a:gd name="T33" fmla="*/ 112 h 112"/>
                <a:gd name="T34" fmla="*/ 39 w 70"/>
                <a:gd name="T35" fmla="*/ 112 h 112"/>
                <a:gd name="T36" fmla="*/ 24 w 70"/>
                <a:gd name="T37" fmla="*/ 70 h 112"/>
                <a:gd name="T38" fmla="*/ 24 w 70"/>
                <a:gd name="T39" fmla="*/ 70 h 112"/>
                <a:gd name="T40" fmla="*/ 27 w 70"/>
                <a:gd name="T41" fmla="*/ 72 h 112"/>
                <a:gd name="T42" fmla="*/ 41 w 70"/>
                <a:gd name="T43" fmla="*/ 104 h 112"/>
                <a:gd name="T44" fmla="*/ 50 w 70"/>
                <a:gd name="T45" fmla="*/ 100 h 112"/>
                <a:gd name="T46" fmla="*/ 36 w 70"/>
                <a:gd name="T47" fmla="*/ 68 h 112"/>
                <a:gd name="T48" fmla="*/ 37 w 70"/>
                <a:gd name="T49" fmla="*/ 65 h 112"/>
                <a:gd name="T50" fmla="*/ 39 w 70"/>
                <a:gd name="T51" fmla="*/ 63 h 112"/>
                <a:gd name="T52" fmla="*/ 58 w 70"/>
                <a:gd name="T53" fmla="*/ 61 h 112"/>
                <a:gd name="T54" fmla="*/ 7 w 70"/>
                <a:gd name="T55" fmla="*/ 13 h 112"/>
                <a:gd name="T56" fmla="*/ 7 w 70"/>
                <a:gd name="T57" fmla="*/ 83 h 112"/>
                <a:gd name="T58" fmla="*/ 21 w 70"/>
                <a:gd name="T59" fmla="*/ 70 h 112"/>
                <a:gd name="T60" fmla="*/ 24 w 70"/>
                <a:gd name="T61" fmla="*/ 7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0" h="112">
                  <a:moveTo>
                    <a:pt x="39" y="112"/>
                  </a:moveTo>
                  <a:cubicBezTo>
                    <a:pt x="37" y="112"/>
                    <a:pt x="36" y="111"/>
                    <a:pt x="36" y="110"/>
                  </a:cubicBezTo>
                  <a:cubicBezTo>
                    <a:pt x="22" y="79"/>
                    <a:pt x="22" y="79"/>
                    <a:pt x="22" y="79"/>
                  </a:cubicBezTo>
                  <a:cubicBezTo>
                    <a:pt x="6" y="93"/>
                    <a:pt x="6" y="93"/>
                    <a:pt x="6" y="93"/>
                  </a:cubicBezTo>
                  <a:cubicBezTo>
                    <a:pt x="5" y="94"/>
                    <a:pt x="3" y="94"/>
                    <a:pt x="2" y="94"/>
                  </a:cubicBezTo>
                  <a:cubicBezTo>
                    <a:pt x="1" y="93"/>
                    <a:pt x="0" y="92"/>
                    <a:pt x="0" y="9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3"/>
                    <a:pt x="1" y="1"/>
                    <a:pt x="2" y="1"/>
                  </a:cubicBezTo>
                  <a:cubicBezTo>
                    <a:pt x="3" y="0"/>
                    <a:pt x="5" y="1"/>
                    <a:pt x="6" y="2"/>
                  </a:cubicBezTo>
                  <a:cubicBezTo>
                    <a:pt x="69" y="61"/>
                    <a:pt x="69" y="61"/>
                    <a:pt x="69" y="61"/>
                  </a:cubicBezTo>
                  <a:cubicBezTo>
                    <a:pt x="70" y="62"/>
                    <a:pt x="70" y="63"/>
                    <a:pt x="70" y="65"/>
                  </a:cubicBezTo>
                  <a:cubicBezTo>
                    <a:pt x="69" y="66"/>
                    <a:pt x="68" y="67"/>
                    <a:pt x="66" y="67"/>
                  </a:cubicBezTo>
                  <a:cubicBezTo>
                    <a:pt x="45" y="69"/>
                    <a:pt x="45" y="69"/>
                    <a:pt x="45" y="69"/>
                  </a:cubicBezTo>
                  <a:cubicBezTo>
                    <a:pt x="58" y="100"/>
                    <a:pt x="58" y="100"/>
                    <a:pt x="58" y="100"/>
                  </a:cubicBezTo>
                  <a:cubicBezTo>
                    <a:pt x="59" y="101"/>
                    <a:pt x="59" y="102"/>
                    <a:pt x="58" y="103"/>
                  </a:cubicBezTo>
                  <a:cubicBezTo>
                    <a:pt x="58" y="104"/>
                    <a:pt x="57" y="105"/>
                    <a:pt x="56" y="105"/>
                  </a:cubicBezTo>
                  <a:cubicBezTo>
                    <a:pt x="40" y="112"/>
                    <a:pt x="40" y="112"/>
                    <a:pt x="40" y="112"/>
                  </a:cubicBezTo>
                  <a:cubicBezTo>
                    <a:pt x="40" y="112"/>
                    <a:pt x="39" y="112"/>
                    <a:pt x="39" y="112"/>
                  </a:cubicBezTo>
                  <a:close/>
                  <a:moveTo>
                    <a:pt x="24" y="70"/>
                  </a:moveTo>
                  <a:cubicBezTo>
                    <a:pt x="24" y="70"/>
                    <a:pt x="24" y="70"/>
                    <a:pt x="24" y="70"/>
                  </a:cubicBezTo>
                  <a:cubicBezTo>
                    <a:pt x="25" y="70"/>
                    <a:pt x="26" y="71"/>
                    <a:pt x="27" y="72"/>
                  </a:cubicBezTo>
                  <a:cubicBezTo>
                    <a:pt x="41" y="104"/>
                    <a:pt x="41" y="104"/>
                    <a:pt x="41" y="104"/>
                  </a:cubicBezTo>
                  <a:cubicBezTo>
                    <a:pt x="50" y="100"/>
                    <a:pt x="50" y="100"/>
                    <a:pt x="50" y="100"/>
                  </a:cubicBezTo>
                  <a:cubicBezTo>
                    <a:pt x="36" y="68"/>
                    <a:pt x="36" y="68"/>
                    <a:pt x="36" y="68"/>
                  </a:cubicBezTo>
                  <a:cubicBezTo>
                    <a:pt x="36" y="67"/>
                    <a:pt x="36" y="66"/>
                    <a:pt x="37" y="65"/>
                  </a:cubicBezTo>
                  <a:cubicBezTo>
                    <a:pt x="37" y="64"/>
                    <a:pt x="38" y="63"/>
                    <a:pt x="39" y="63"/>
                  </a:cubicBezTo>
                  <a:cubicBezTo>
                    <a:pt x="58" y="61"/>
                    <a:pt x="58" y="61"/>
                    <a:pt x="58" y="61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83"/>
                    <a:pt x="7" y="83"/>
                    <a:pt x="7" y="83"/>
                  </a:cubicBezTo>
                  <a:cubicBezTo>
                    <a:pt x="21" y="70"/>
                    <a:pt x="21" y="70"/>
                    <a:pt x="21" y="70"/>
                  </a:cubicBezTo>
                  <a:cubicBezTo>
                    <a:pt x="22" y="70"/>
                    <a:pt x="23" y="70"/>
                    <a:pt x="24" y="7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9" name="Shape10_20200717_154431">
            <a:extLst>
              <a:ext uri="{FF2B5EF4-FFF2-40B4-BE49-F238E27FC236}">
                <a16:creationId xmlns:a16="http://schemas.microsoft.com/office/drawing/2014/main" id="{67DE89DC-5B80-E3B3-0680-107F4FFE0698}"/>
              </a:ext>
            </a:extLst>
          </p:cNvPr>
          <p:cNvGrpSpPr>
            <a:grpSpLocks noChangeAspect="1"/>
          </p:cNvGrpSpPr>
          <p:nvPr/>
        </p:nvGrpSpPr>
        <p:grpSpPr>
          <a:xfrm>
            <a:off x="1939545" y="3847960"/>
            <a:ext cx="479570" cy="593055"/>
            <a:chOff x="-5948852" y="5004545"/>
            <a:chExt cx="479570" cy="593055"/>
          </a:xfrm>
          <a:solidFill>
            <a:schemeClr val="accent1"/>
          </a:solidFill>
        </p:grpSpPr>
        <p:sp>
          <p:nvSpPr>
            <p:cNvPr id="122" name="Freeform 263">
              <a:extLst>
                <a:ext uri="{FF2B5EF4-FFF2-40B4-BE49-F238E27FC236}">
                  <a16:creationId xmlns:a16="http://schemas.microsoft.com/office/drawing/2014/main" id="{6F5DF791-190F-0067-B3F4-2A1627E53E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948852" y="5004545"/>
              <a:ext cx="479570" cy="593055"/>
            </a:xfrm>
            <a:custGeom>
              <a:avLst/>
              <a:gdLst>
                <a:gd name="T0" fmla="*/ 87 w 174"/>
                <a:gd name="T1" fmla="*/ 214 h 214"/>
                <a:gd name="T2" fmla="*/ 84 w 174"/>
                <a:gd name="T3" fmla="*/ 212 h 214"/>
                <a:gd name="T4" fmla="*/ 59 w 174"/>
                <a:gd name="T5" fmla="*/ 170 h 214"/>
                <a:gd name="T6" fmla="*/ 25 w 174"/>
                <a:gd name="T7" fmla="*/ 149 h 214"/>
                <a:gd name="T8" fmla="*/ 0 w 174"/>
                <a:gd name="T9" fmla="*/ 88 h 214"/>
                <a:gd name="T10" fmla="*/ 25 w 174"/>
                <a:gd name="T11" fmla="*/ 26 h 214"/>
                <a:gd name="T12" fmla="*/ 87 w 174"/>
                <a:gd name="T13" fmla="*/ 0 h 214"/>
                <a:gd name="T14" fmla="*/ 148 w 174"/>
                <a:gd name="T15" fmla="*/ 26 h 214"/>
                <a:gd name="T16" fmla="*/ 148 w 174"/>
                <a:gd name="T17" fmla="*/ 26 h 214"/>
                <a:gd name="T18" fmla="*/ 148 w 174"/>
                <a:gd name="T19" fmla="*/ 26 h 214"/>
                <a:gd name="T20" fmla="*/ 174 w 174"/>
                <a:gd name="T21" fmla="*/ 88 h 214"/>
                <a:gd name="T22" fmla="*/ 148 w 174"/>
                <a:gd name="T23" fmla="*/ 149 h 214"/>
                <a:gd name="T24" fmla="*/ 115 w 174"/>
                <a:gd name="T25" fmla="*/ 170 h 214"/>
                <a:gd name="T26" fmla="*/ 90 w 174"/>
                <a:gd name="T27" fmla="*/ 212 h 214"/>
                <a:gd name="T28" fmla="*/ 87 w 174"/>
                <a:gd name="T29" fmla="*/ 214 h 214"/>
                <a:gd name="T30" fmla="*/ 87 w 174"/>
                <a:gd name="T31" fmla="*/ 8 h 214"/>
                <a:gd name="T32" fmla="*/ 30 w 174"/>
                <a:gd name="T33" fmla="*/ 31 h 214"/>
                <a:gd name="T34" fmla="*/ 7 w 174"/>
                <a:gd name="T35" fmla="*/ 88 h 214"/>
                <a:gd name="T36" fmla="*/ 30 w 174"/>
                <a:gd name="T37" fmla="*/ 144 h 214"/>
                <a:gd name="T38" fmla="*/ 62 w 174"/>
                <a:gd name="T39" fmla="*/ 164 h 214"/>
                <a:gd name="T40" fmla="*/ 64 w 174"/>
                <a:gd name="T41" fmla="*/ 165 h 214"/>
                <a:gd name="T42" fmla="*/ 87 w 174"/>
                <a:gd name="T43" fmla="*/ 203 h 214"/>
                <a:gd name="T44" fmla="*/ 109 w 174"/>
                <a:gd name="T45" fmla="*/ 165 h 214"/>
                <a:gd name="T46" fmla="*/ 111 w 174"/>
                <a:gd name="T47" fmla="*/ 164 h 214"/>
                <a:gd name="T48" fmla="*/ 143 w 174"/>
                <a:gd name="T49" fmla="*/ 144 h 214"/>
                <a:gd name="T50" fmla="*/ 167 w 174"/>
                <a:gd name="T51" fmla="*/ 88 h 214"/>
                <a:gd name="T52" fmla="*/ 143 w 174"/>
                <a:gd name="T53" fmla="*/ 31 h 214"/>
                <a:gd name="T54" fmla="*/ 143 w 174"/>
                <a:gd name="T55" fmla="*/ 31 h 214"/>
                <a:gd name="T56" fmla="*/ 87 w 174"/>
                <a:gd name="T57" fmla="*/ 8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74" h="214">
                  <a:moveTo>
                    <a:pt x="87" y="214"/>
                  </a:moveTo>
                  <a:cubicBezTo>
                    <a:pt x="86" y="214"/>
                    <a:pt x="84" y="213"/>
                    <a:pt x="84" y="212"/>
                  </a:cubicBezTo>
                  <a:cubicBezTo>
                    <a:pt x="59" y="170"/>
                    <a:pt x="59" y="170"/>
                    <a:pt x="59" y="170"/>
                  </a:cubicBezTo>
                  <a:cubicBezTo>
                    <a:pt x="46" y="166"/>
                    <a:pt x="35" y="159"/>
                    <a:pt x="25" y="149"/>
                  </a:cubicBezTo>
                  <a:cubicBezTo>
                    <a:pt x="9" y="133"/>
                    <a:pt x="0" y="111"/>
                    <a:pt x="0" y="88"/>
                  </a:cubicBezTo>
                  <a:cubicBezTo>
                    <a:pt x="0" y="64"/>
                    <a:pt x="9" y="42"/>
                    <a:pt x="25" y="26"/>
                  </a:cubicBezTo>
                  <a:cubicBezTo>
                    <a:pt x="42" y="10"/>
                    <a:pt x="64" y="0"/>
                    <a:pt x="87" y="0"/>
                  </a:cubicBezTo>
                  <a:cubicBezTo>
                    <a:pt x="110" y="0"/>
                    <a:pt x="132" y="10"/>
                    <a:pt x="148" y="26"/>
                  </a:cubicBezTo>
                  <a:cubicBezTo>
                    <a:pt x="148" y="26"/>
                    <a:pt x="148" y="26"/>
                    <a:pt x="148" y="26"/>
                  </a:cubicBezTo>
                  <a:cubicBezTo>
                    <a:pt x="148" y="26"/>
                    <a:pt x="148" y="26"/>
                    <a:pt x="148" y="26"/>
                  </a:cubicBezTo>
                  <a:cubicBezTo>
                    <a:pt x="165" y="42"/>
                    <a:pt x="174" y="64"/>
                    <a:pt x="174" y="88"/>
                  </a:cubicBezTo>
                  <a:cubicBezTo>
                    <a:pt x="174" y="111"/>
                    <a:pt x="165" y="133"/>
                    <a:pt x="148" y="149"/>
                  </a:cubicBezTo>
                  <a:cubicBezTo>
                    <a:pt x="139" y="159"/>
                    <a:pt x="128" y="166"/>
                    <a:pt x="115" y="170"/>
                  </a:cubicBezTo>
                  <a:cubicBezTo>
                    <a:pt x="90" y="212"/>
                    <a:pt x="90" y="212"/>
                    <a:pt x="90" y="212"/>
                  </a:cubicBezTo>
                  <a:cubicBezTo>
                    <a:pt x="89" y="213"/>
                    <a:pt x="88" y="214"/>
                    <a:pt x="87" y="214"/>
                  </a:cubicBezTo>
                  <a:close/>
                  <a:moveTo>
                    <a:pt x="87" y="8"/>
                  </a:moveTo>
                  <a:cubicBezTo>
                    <a:pt x="66" y="8"/>
                    <a:pt x="45" y="16"/>
                    <a:pt x="30" y="31"/>
                  </a:cubicBezTo>
                  <a:cubicBezTo>
                    <a:pt x="15" y="46"/>
                    <a:pt x="7" y="66"/>
                    <a:pt x="7" y="88"/>
                  </a:cubicBezTo>
                  <a:cubicBezTo>
                    <a:pt x="7" y="109"/>
                    <a:pt x="15" y="129"/>
                    <a:pt x="30" y="144"/>
                  </a:cubicBezTo>
                  <a:cubicBezTo>
                    <a:pt x="39" y="153"/>
                    <a:pt x="50" y="160"/>
                    <a:pt x="62" y="164"/>
                  </a:cubicBezTo>
                  <a:cubicBezTo>
                    <a:pt x="63" y="164"/>
                    <a:pt x="64" y="164"/>
                    <a:pt x="64" y="165"/>
                  </a:cubicBezTo>
                  <a:cubicBezTo>
                    <a:pt x="87" y="203"/>
                    <a:pt x="87" y="203"/>
                    <a:pt x="87" y="203"/>
                  </a:cubicBezTo>
                  <a:cubicBezTo>
                    <a:pt x="109" y="165"/>
                    <a:pt x="109" y="165"/>
                    <a:pt x="109" y="165"/>
                  </a:cubicBezTo>
                  <a:cubicBezTo>
                    <a:pt x="110" y="164"/>
                    <a:pt x="111" y="164"/>
                    <a:pt x="111" y="164"/>
                  </a:cubicBezTo>
                  <a:cubicBezTo>
                    <a:pt x="124" y="160"/>
                    <a:pt x="134" y="153"/>
                    <a:pt x="143" y="144"/>
                  </a:cubicBezTo>
                  <a:cubicBezTo>
                    <a:pt x="158" y="129"/>
                    <a:pt x="167" y="109"/>
                    <a:pt x="167" y="88"/>
                  </a:cubicBezTo>
                  <a:cubicBezTo>
                    <a:pt x="167" y="66"/>
                    <a:pt x="158" y="46"/>
                    <a:pt x="143" y="31"/>
                  </a:cubicBezTo>
                  <a:cubicBezTo>
                    <a:pt x="143" y="31"/>
                    <a:pt x="143" y="31"/>
                    <a:pt x="143" y="31"/>
                  </a:cubicBezTo>
                  <a:cubicBezTo>
                    <a:pt x="128" y="16"/>
                    <a:pt x="108" y="8"/>
                    <a:pt x="87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3" name="Freeform 264">
              <a:extLst>
                <a:ext uri="{FF2B5EF4-FFF2-40B4-BE49-F238E27FC236}">
                  <a16:creationId xmlns:a16="http://schemas.microsoft.com/office/drawing/2014/main" id="{A885EDE6-4BA0-7E25-D84F-CD8C8F1A6C3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868314" y="5088743"/>
              <a:ext cx="318493" cy="318493"/>
            </a:xfrm>
            <a:custGeom>
              <a:avLst/>
              <a:gdLst>
                <a:gd name="T0" fmla="*/ 58 w 115"/>
                <a:gd name="T1" fmla="*/ 115 h 115"/>
                <a:gd name="T2" fmla="*/ 17 w 115"/>
                <a:gd name="T3" fmla="*/ 98 h 115"/>
                <a:gd name="T4" fmla="*/ 0 w 115"/>
                <a:gd name="T5" fmla="*/ 58 h 115"/>
                <a:gd name="T6" fmla="*/ 17 w 115"/>
                <a:gd name="T7" fmla="*/ 17 h 115"/>
                <a:gd name="T8" fmla="*/ 58 w 115"/>
                <a:gd name="T9" fmla="*/ 0 h 115"/>
                <a:gd name="T10" fmla="*/ 98 w 115"/>
                <a:gd name="T11" fmla="*/ 17 h 115"/>
                <a:gd name="T12" fmla="*/ 115 w 115"/>
                <a:gd name="T13" fmla="*/ 58 h 115"/>
                <a:gd name="T14" fmla="*/ 98 w 115"/>
                <a:gd name="T15" fmla="*/ 98 h 115"/>
                <a:gd name="T16" fmla="*/ 58 w 115"/>
                <a:gd name="T17" fmla="*/ 115 h 115"/>
                <a:gd name="T18" fmla="*/ 58 w 115"/>
                <a:gd name="T19" fmla="*/ 7 h 115"/>
                <a:gd name="T20" fmla="*/ 22 w 115"/>
                <a:gd name="T21" fmla="*/ 22 h 115"/>
                <a:gd name="T22" fmla="*/ 22 w 115"/>
                <a:gd name="T23" fmla="*/ 22 h 115"/>
                <a:gd name="T24" fmla="*/ 8 w 115"/>
                <a:gd name="T25" fmla="*/ 58 h 115"/>
                <a:gd name="T26" fmla="*/ 22 w 115"/>
                <a:gd name="T27" fmla="*/ 93 h 115"/>
                <a:gd name="T28" fmla="*/ 93 w 115"/>
                <a:gd name="T29" fmla="*/ 93 h 115"/>
                <a:gd name="T30" fmla="*/ 108 w 115"/>
                <a:gd name="T31" fmla="*/ 58 h 115"/>
                <a:gd name="T32" fmla="*/ 93 w 115"/>
                <a:gd name="T33" fmla="*/ 22 h 115"/>
                <a:gd name="T34" fmla="*/ 58 w 115"/>
                <a:gd name="T35" fmla="*/ 7 h 115"/>
                <a:gd name="T36" fmla="*/ 20 w 115"/>
                <a:gd name="T37" fmla="*/ 20 h 115"/>
                <a:gd name="T38" fmla="*/ 20 w 115"/>
                <a:gd name="T39" fmla="*/ 2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15" h="115">
                  <a:moveTo>
                    <a:pt x="58" y="115"/>
                  </a:moveTo>
                  <a:cubicBezTo>
                    <a:pt x="43" y="115"/>
                    <a:pt x="28" y="109"/>
                    <a:pt x="17" y="98"/>
                  </a:cubicBezTo>
                  <a:cubicBezTo>
                    <a:pt x="6" y="87"/>
                    <a:pt x="0" y="73"/>
                    <a:pt x="0" y="58"/>
                  </a:cubicBezTo>
                  <a:cubicBezTo>
                    <a:pt x="0" y="42"/>
                    <a:pt x="6" y="28"/>
                    <a:pt x="17" y="17"/>
                  </a:cubicBezTo>
                  <a:cubicBezTo>
                    <a:pt x="28" y="6"/>
                    <a:pt x="43" y="0"/>
                    <a:pt x="58" y="0"/>
                  </a:cubicBezTo>
                  <a:cubicBezTo>
                    <a:pt x="73" y="0"/>
                    <a:pt x="88" y="6"/>
                    <a:pt x="98" y="17"/>
                  </a:cubicBezTo>
                  <a:cubicBezTo>
                    <a:pt x="109" y="28"/>
                    <a:pt x="115" y="42"/>
                    <a:pt x="115" y="58"/>
                  </a:cubicBezTo>
                  <a:cubicBezTo>
                    <a:pt x="115" y="73"/>
                    <a:pt x="109" y="87"/>
                    <a:pt x="98" y="98"/>
                  </a:cubicBezTo>
                  <a:cubicBezTo>
                    <a:pt x="88" y="109"/>
                    <a:pt x="73" y="115"/>
                    <a:pt x="58" y="115"/>
                  </a:cubicBezTo>
                  <a:close/>
                  <a:moveTo>
                    <a:pt x="58" y="7"/>
                  </a:moveTo>
                  <a:cubicBezTo>
                    <a:pt x="45" y="7"/>
                    <a:pt x="32" y="12"/>
                    <a:pt x="22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32"/>
                    <a:pt x="8" y="44"/>
                    <a:pt x="8" y="58"/>
                  </a:cubicBezTo>
                  <a:cubicBezTo>
                    <a:pt x="8" y="71"/>
                    <a:pt x="13" y="84"/>
                    <a:pt x="22" y="93"/>
                  </a:cubicBezTo>
                  <a:cubicBezTo>
                    <a:pt x="42" y="113"/>
                    <a:pt x="74" y="113"/>
                    <a:pt x="93" y="93"/>
                  </a:cubicBezTo>
                  <a:cubicBezTo>
                    <a:pt x="103" y="84"/>
                    <a:pt x="108" y="71"/>
                    <a:pt x="108" y="58"/>
                  </a:cubicBezTo>
                  <a:cubicBezTo>
                    <a:pt x="108" y="44"/>
                    <a:pt x="103" y="32"/>
                    <a:pt x="93" y="22"/>
                  </a:cubicBezTo>
                  <a:cubicBezTo>
                    <a:pt x="84" y="12"/>
                    <a:pt x="71" y="7"/>
                    <a:pt x="58" y="7"/>
                  </a:cubicBezTo>
                  <a:close/>
                  <a:moveTo>
                    <a:pt x="20" y="20"/>
                  </a:moveTo>
                  <a:cubicBezTo>
                    <a:pt x="20" y="20"/>
                    <a:pt x="20" y="20"/>
                    <a:pt x="20" y="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0" name="Shape11_20200717_154431">
            <a:extLst>
              <a:ext uri="{FF2B5EF4-FFF2-40B4-BE49-F238E27FC236}">
                <a16:creationId xmlns:a16="http://schemas.microsoft.com/office/drawing/2014/main" id="{09227770-4D10-0DC6-C334-C5C39D7271E0}"/>
              </a:ext>
            </a:extLst>
          </p:cNvPr>
          <p:cNvGrpSpPr>
            <a:grpSpLocks noChangeAspect="1"/>
          </p:cNvGrpSpPr>
          <p:nvPr/>
        </p:nvGrpSpPr>
        <p:grpSpPr>
          <a:xfrm>
            <a:off x="3287201" y="3818673"/>
            <a:ext cx="395370" cy="655288"/>
            <a:chOff x="-4612648" y="4975258"/>
            <a:chExt cx="395370" cy="655288"/>
          </a:xfrm>
          <a:solidFill>
            <a:schemeClr val="accent1"/>
          </a:solidFill>
        </p:grpSpPr>
        <p:sp>
          <p:nvSpPr>
            <p:cNvPr id="120" name="Freeform 265">
              <a:extLst>
                <a:ext uri="{FF2B5EF4-FFF2-40B4-BE49-F238E27FC236}">
                  <a16:creationId xmlns:a16="http://schemas.microsoft.com/office/drawing/2014/main" id="{C7DA308E-70C5-155F-8550-4E77E0BDCE0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612648" y="4975258"/>
              <a:ext cx="395370" cy="395370"/>
            </a:xfrm>
            <a:custGeom>
              <a:avLst/>
              <a:gdLst>
                <a:gd name="T0" fmla="*/ 72 w 143"/>
                <a:gd name="T1" fmla="*/ 143 h 143"/>
                <a:gd name="T2" fmla="*/ 0 w 143"/>
                <a:gd name="T3" fmla="*/ 72 h 143"/>
                <a:gd name="T4" fmla="*/ 72 w 143"/>
                <a:gd name="T5" fmla="*/ 0 h 143"/>
                <a:gd name="T6" fmla="*/ 143 w 143"/>
                <a:gd name="T7" fmla="*/ 72 h 143"/>
                <a:gd name="T8" fmla="*/ 72 w 143"/>
                <a:gd name="T9" fmla="*/ 143 h 143"/>
                <a:gd name="T10" fmla="*/ 72 w 143"/>
                <a:gd name="T11" fmla="*/ 7 h 143"/>
                <a:gd name="T12" fmla="*/ 7 w 143"/>
                <a:gd name="T13" fmla="*/ 72 h 143"/>
                <a:gd name="T14" fmla="*/ 72 w 143"/>
                <a:gd name="T15" fmla="*/ 136 h 143"/>
                <a:gd name="T16" fmla="*/ 136 w 143"/>
                <a:gd name="T17" fmla="*/ 72 h 143"/>
                <a:gd name="T18" fmla="*/ 72 w 143"/>
                <a:gd name="T19" fmla="*/ 7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3" h="143">
                  <a:moveTo>
                    <a:pt x="72" y="143"/>
                  </a:moveTo>
                  <a:cubicBezTo>
                    <a:pt x="32" y="143"/>
                    <a:pt x="0" y="111"/>
                    <a:pt x="0" y="72"/>
                  </a:cubicBezTo>
                  <a:cubicBezTo>
                    <a:pt x="0" y="32"/>
                    <a:pt x="32" y="0"/>
                    <a:pt x="72" y="0"/>
                  </a:cubicBezTo>
                  <a:cubicBezTo>
                    <a:pt x="111" y="0"/>
                    <a:pt x="143" y="32"/>
                    <a:pt x="143" y="72"/>
                  </a:cubicBezTo>
                  <a:cubicBezTo>
                    <a:pt x="143" y="111"/>
                    <a:pt x="111" y="143"/>
                    <a:pt x="72" y="143"/>
                  </a:cubicBezTo>
                  <a:close/>
                  <a:moveTo>
                    <a:pt x="72" y="7"/>
                  </a:moveTo>
                  <a:cubicBezTo>
                    <a:pt x="36" y="7"/>
                    <a:pt x="7" y="36"/>
                    <a:pt x="7" y="72"/>
                  </a:cubicBezTo>
                  <a:cubicBezTo>
                    <a:pt x="7" y="107"/>
                    <a:pt x="36" y="136"/>
                    <a:pt x="72" y="136"/>
                  </a:cubicBezTo>
                  <a:cubicBezTo>
                    <a:pt x="107" y="136"/>
                    <a:pt x="136" y="107"/>
                    <a:pt x="136" y="72"/>
                  </a:cubicBezTo>
                  <a:cubicBezTo>
                    <a:pt x="136" y="36"/>
                    <a:pt x="107" y="7"/>
                    <a:pt x="72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1" name="Freeform 266">
              <a:extLst>
                <a:ext uri="{FF2B5EF4-FFF2-40B4-BE49-F238E27FC236}">
                  <a16:creationId xmlns:a16="http://schemas.microsoft.com/office/drawing/2014/main" id="{A59F4DCA-4028-A0E6-0119-E996E00747B0}"/>
                </a:ext>
              </a:extLst>
            </p:cNvPr>
            <p:cNvSpPr>
              <a:spLocks/>
            </p:cNvSpPr>
            <p:nvPr/>
          </p:nvSpPr>
          <p:spPr bwMode="auto">
            <a:xfrm>
              <a:off x="-4425946" y="5352323"/>
              <a:ext cx="18305" cy="278223"/>
            </a:xfrm>
            <a:custGeom>
              <a:avLst/>
              <a:gdLst>
                <a:gd name="T0" fmla="*/ 4 w 7"/>
                <a:gd name="T1" fmla="*/ 101 h 101"/>
                <a:gd name="T2" fmla="*/ 0 w 7"/>
                <a:gd name="T3" fmla="*/ 97 h 101"/>
                <a:gd name="T4" fmla="*/ 0 w 7"/>
                <a:gd name="T5" fmla="*/ 4 h 101"/>
                <a:gd name="T6" fmla="*/ 4 w 7"/>
                <a:gd name="T7" fmla="*/ 0 h 101"/>
                <a:gd name="T8" fmla="*/ 7 w 7"/>
                <a:gd name="T9" fmla="*/ 4 h 101"/>
                <a:gd name="T10" fmla="*/ 7 w 7"/>
                <a:gd name="T11" fmla="*/ 97 h 101"/>
                <a:gd name="T12" fmla="*/ 4 w 7"/>
                <a:gd name="T13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01">
                  <a:moveTo>
                    <a:pt x="4" y="101"/>
                  </a:moveTo>
                  <a:cubicBezTo>
                    <a:pt x="2" y="101"/>
                    <a:pt x="0" y="99"/>
                    <a:pt x="0" y="97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7" y="2"/>
                    <a:pt x="7" y="4"/>
                  </a:cubicBezTo>
                  <a:cubicBezTo>
                    <a:pt x="7" y="97"/>
                    <a:pt x="7" y="97"/>
                    <a:pt x="7" y="97"/>
                  </a:cubicBezTo>
                  <a:cubicBezTo>
                    <a:pt x="7" y="99"/>
                    <a:pt x="6" y="101"/>
                    <a:pt x="4" y="10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1" name="Shape12_20200717_154431">
            <a:extLst>
              <a:ext uri="{FF2B5EF4-FFF2-40B4-BE49-F238E27FC236}">
                <a16:creationId xmlns:a16="http://schemas.microsoft.com/office/drawing/2014/main" id="{DD06AB01-CE6A-AC6E-1EFE-E431BC4E1A2D}"/>
              </a:ext>
            </a:extLst>
          </p:cNvPr>
          <p:cNvGrpSpPr>
            <a:grpSpLocks noChangeAspect="1"/>
          </p:cNvGrpSpPr>
          <p:nvPr/>
        </p:nvGrpSpPr>
        <p:grpSpPr>
          <a:xfrm>
            <a:off x="9683194" y="1204958"/>
            <a:ext cx="658950" cy="658949"/>
            <a:chOff x="-6040372" y="2193027"/>
            <a:chExt cx="658950" cy="658949"/>
          </a:xfrm>
          <a:solidFill>
            <a:schemeClr val="accent1"/>
          </a:solidFill>
        </p:grpSpPr>
        <p:sp>
          <p:nvSpPr>
            <p:cNvPr id="106" name="Freeform 267">
              <a:extLst>
                <a:ext uri="{FF2B5EF4-FFF2-40B4-BE49-F238E27FC236}">
                  <a16:creationId xmlns:a16="http://schemas.microsoft.com/office/drawing/2014/main" id="{A77A9627-167B-8480-8694-E0AC3A1AF9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908582" y="2321154"/>
              <a:ext cx="399032" cy="402691"/>
            </a:xfrm>
            <a:custGeom>
              <a:avLst/>
              <a:gdLst>
                <a:gd name="T0" fmla="*/ 73 w 145"/>
                <a:gd name="T1" fmla="*/ 145 h 145"/>
                <a:gd name="T2" fmla="*/ 0 w 145"/>
                <a:gd name="T3" fmla="*/ 72 h 145"/>
                <a:gd name="T4" fmla="*/ 73 w 145"/>
                <a:gd name="T5" fmla="*/ 0 h 145"/>
                <a:gd name="T6" fmla="*/ 145 w 145"/>
                <a:gd name="T7" fmla="*/ 72 h 145"/>
                <a:gd name="T8" fmla="*/ 73 w 145"/>
                <a:gd name="T9" fmla="*/ 145 h 145"/>
                <a:gd name="T10" fmla="*/ 73 w 145"/>
                <a:gd name="T11" fmla="*/ 7 h 145"/>
                <a:gd name="T12" fmla="*/ 8 w 145"/>
                <a:gd name="T13" fmla="*/ 72 h 145"/>
                <a:gd name="T14" fmla="*/ 73 w 145"/>
                <a:gd name="T15" fmla="*/ 137 h 145"/>
                <a:gd name="T16" fmla="*/ 138 w 145"/>
                <a:gd name="T17" fmla="*/ 72 h 145"/>
                <a:gd name="T18" fmla="*/ 73 w 145"/>
                <a:gd name="T19" fmla="*/ 7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5" h="145">
                  <a:moveTo>
                    <a:pt x="73" y="145"/>
                  </a:moveTo>
                  <a:cubicBezTo>
                    <a:pt x="33" y="145"/>
                    <a:pt x="0" y="112"/>
                    <a:pt x="0" y="72"/>
                  </a:cubicBezTo>
                  <a:cubicBezTo>
                    <a:pt x="0" y="33"/>
                    <a:pt x="33" y="0"/>
                    <a:pt x="73" y="0"/>
                  </a:cubicBezTo>
                  <a:cubicBezTo>
                    <a:pt x="113" y="0"/>
                    <a:pt x="145" y="33"/>
                    <a:pt x="145" y="72"/>
                  </a:cubicBezTo>
                  <a:cubicBezTo>
                    <a:pt x="145" y="112"/>
                    <a:pt x="113" y="145"/>
                    <a:pt x="73" y="145"/>
                  </a:cubicBezTo>
                  <a:close/>
                  <a:moveTo>
                    <a:pt x="73" y="7"/>
                  </a:moveTo>
                  <a:cubicBezTo>
                    <a:pt x="37" y="7"/>
                    <a:pt x="8" y="36"/>
                    <a:pt x="8" y="72"/>
                  </a:cubicBezTo>
                  <a:cubicBezTo>
                    <a:pt x="8" y="108"/>
                    <a:pt x="37" y="137"/>
                    <a:pt x="73" y="137"/>
                  </a:cubicBezTo>
                  <a:cubicBezTo>
                    <a:pt x="109" y="137"/>
                    <a:pt x="138" y="108"/>
                    <a:pt x="138" y="72"/>
                  </a:cubicBezTo>
                  <a:cubicBezTo>
                    <a:pt x="138" y="36"/>
                    <a:pt x="109" y="7"/>
                    <a:pt x="73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7" name="Freeform 268">
              <a:extLst>
                <a:ext uri="{FF2B5EF4-FFF2-40B4-BE49-F238E27FC236}">
                  <a16:creationId xmlns:a16="http://schemas.microsoft.com/office/drawing/2014/main" id="{7278470E-CE61-446E-2CC9-7F95B4AD835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50009" y="2372406"/>
              <a:ext cx="281885" cy="73217"/>
            </a:xfrm>
            <a:custGeom>
              <a:avLst/>
              <a:gdLst>
                <a:gd name="T0" fmla="*/ 51 w 102"/>
                <a:gd name="T1" fmla="*/ 26 h 26"/>
                <a:gd name="T2" fmla="*/ 1 w 102"/>
                <a:gd name="T3" fmla="*/ 7 h 26"/>
                <a:gd name="T4" fmla="*/ 1 w 102"/>
                <a:gd name="T5" fmla="*/ 1 h 26"/>
                <a:gd name="T6" fmla="*/ 6 w 102"/>
                <a:gd name="T7" fmla="*/ 1 h 26"/>
                <a:gd name="T8" fmla="*/ 51 w 102"/>
                <a:gd name="T9" fmla="*/ 19 h 26"/>
                <a:gd name="T10" fmla="*/ 96 w 102"/>
                <a:gd name="T11" fmla="*/ 1 h 26"/>
                <a:gd name="T12" fmla="*/ 101 w 102"/>
                <a:gd name="T13" fmla="*/ 1 h 26"/>
                <a:gd name="T14" fmla="*/ 101 w 102"/>
                <a:gd name="T15" fmla="*/ 6 h 26"/>
                <a:gd name="T16" fmla="*/ 51 w 102"/>
                <a:gd name="T17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2" h="26">
                  <a:moveTo>
                    <a:pt x="51" y="26"/>
                  </a:moveTo>
                  <a:cubicBezTo>
                    <a:pt x="32" y="26"/>
                    <a:pt x="15" y="19"/>
                    <a:pt x="1" y="7"/>
                  </a:cubicBezTo>
                  <a:cubicBezTo>
                    <a:pt x="0" y="5"/>
                    <a:pt x="0" y="3"/>
                    <a:pt x="1" y="1"/>
                  </a:cubicBezTo>
                  <a:cubicBezTo>
                    <a:pt x="2" y="0"/>
                    <a:pt x="5" y="0"/>
                    <a:pt x="6" y="1"/>
                  </a:cubicBezTo>
                  <a:cubicBezTo>
                    <a:pt x="18" y="13"/>
                    <a:pt x="34" y="19"/>
                    <a:pt x="51" y="19"/>
                  </a:cubicBezTo>
                  <a:cubicBezTo>
                    <a:pt x="68" y="19"/>
                    <a:pt x="84" y="13"/>
                    <a:pt x="96" y="1"/>
                  </a:cubicBezTo>
                  <a:cubicBezTo>
                    <a:pt x="97" y="0"/>
                    <a:pt x="99" y="0"/>
                    <a:pt x="101" y="1"/>
                  </a:cubicBezTo>
                  <a:cubicBezTo>
                    <a:pt x="102" y="3"/>
                    <a:pt x="102" y="5"/>
                    <a:pt x="101" y="6"/>
                  </a:cubicBezTo>
                  <a:cubicBezTo>
                    <a:pt x="87" y="19"/>
                    <a:pt x="69" y="26"/>
                    <a:pt x="51" y="2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8" name="Freeform 269">
              <a:extLst>
                <a:ext uri="{FF2B5EF4-FFF2-40B4-BE49-F238E27FC236}">
                  <a16:creationId xmlns:a16="http://schemas.microsoft.com/office/drawing/2014/main" id="{69E4D398-D1C8-D151-2563-F025F3A071C0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50009" y="2599378"/>
              <a:ext cx="278223" cy="65895"/>
            </a:xfrm>
            <a:custGeom>
              <a:avLst/>
              <a:gdLst>
                <a:gd name="T0" fmla="*/ 4 w 101"/>
                <a:gd name="T1" fmla="*/ 25 h 25"/>
                <a:gd name="T2" fmla="*/ 1 w 101"/>
                <a:gd name="T3" fmla="*/ 24 h 25"/>
                <a:gd name="T4" fmla="*/ 1 w 101"/>
                <a:gd name="T5" fmla="*/ 19 h 25"/>
                <a:gd name="T6" fmla="*/ 51 w 101"/>
                <a:gd name="T7" fmla="*/ 0 h 25"/>
                <a:gd name="T8" fmla="*/ 100 w 101"/>
                <a:gd name="T9" fmla="*/ 19 h 25"/>
                <a:gd name="T10" fmla="*/ 100 w 101"/>
                <a:gd name="T11" fmla="*/ 24 h 25"/>
                <a:gd name="T12" fmla="*/ 95 w 101"/>
                <a:gd name="T13" fmla="*/ 24 h 25"/>
                <a:gd name="T14" fmla="*/ 51 w 101"/>
                <a:gd name="T15" fmla="*/ 7 h 25"/>
                <a:gd name="T16" fmla="*/ 6 w 101"/>
                <a:gd name="T17" fmla="*/ 24 h 25"/>
                <a:gd name="T18" fmla="*/ 4 w 101"/>
                <a:gd name="T1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1" h="25">
                  <a:moveTo>
                    <a:pt x="4" y="25"/>
                  </a:moveTo>
                  <a:cubicBezTo>
                    <a:pt x="3" y="25"/>
                    <a:pt x="2" y="25"/>
                    <a:pt x="1" y="24"/>
                  </a:cubicBezTo>
                  <a:cubicBezTo>
                    <a:pt x="0" y="23"/>
                    <a:pt x="0" y="20"/>
                    <a:pt x="1" y="19"/>
                  </a:cubicBezTo>
                  <a:cubicBezTo>
                    <a:pt x="15" y="6"/>
                    <a:pt x="32" y="0"/>
                    <a:pt x="51" y="0"/>
                  </a:cubicBezTo>
                  <a:cubicBezTo>
                    <a:pt x="69" y="0"/>
                    <a:pt x="86" y="6"/>
                    <a:pt x="100" y="19"/>
                  </a:cubicBezTo>
                  <a:cubicBezTo>
                    <a:pt x="101" y="20"/>
                    <a:pt x="101" y="22"/>
                    <a:pt x="100" y="24"/>
                  </a:cubicBezTo>
                  <a:cubicBezTo>
                    <a:pt x="99" y="25"/>
                    <a:pt x="96" y="25"/>
                    <a:pt x="95" y="24"/>
                  </a:cubicBezTo>
                  <a:cubicBezTo>
                    <a:pt x="83" y="13"/>
                    <a:pt x="67" y="7"/>
                    <a:pt x="51" y="7"/>
                  </a:cubicBezTo>
                  <a:cubicBezTo>
                    <a:pt x="34" y="7"/>
                    <a:pt x="18" y="13"/>
                    <a:pt x="6" y="24"/>
                  </a:cubicBezTo>
                  <a:cubicBezTo>
                    <a:pt x="6" y="25"/>
                    <a:pt x="5" y="25"/>
                    <a:pt x="4" y="2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9" name="Freeform 270">
              <a:extLst>
                <a:ext uri="{FF2B5EF4-FFF2-40B4-BE49-F238E27FC236}">
                  <a16:creationId xmlns:a16="http://schemas.microsoft.com/office/drawing/2014/main" id="{E2AA51C3-16F8-B693-90A3-71463B037F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820722" y="2321154"/>
              <a:ext cx="219650" cy="402691"/>
            </a:xfrm>
            <a:custGeom>
              <a:avLst/>
              <a:gdLst>
                <a:gd name="T0" fmla="*/ 40 w 79"/>
                <a:gd name="T1" fmla="*/ 145 h 145"/>
                <a:gd name="T2" fmla="*/ 0 w 79"/>
                <a:gd name="T3" fmla="*/ 72 h 145"/>
                <a:gd name="T4" fmla="*/ 40 w 79"/>
                <a:gd name="T5" fmla="*/ 0 h 145"/>
                <a:gd name="T6" fmla="*/ 79 w 79"/>
                <a:gd name="T7" fmla="*/ 72 h 145"/>
                <a:gd name="T8" fmla="*/ 40 w 79"/>
                <a:gd name="T9" fmla="*/ 145 h 145"/>
                <a:gd name="T10" fmla="*/ 40 w 79"/>
                <a:gd name="T11" fmla="*/ 7 h 145"/>
                <a:gd name="T12" fmla="*/ 7 w 79"/>
                <a:gd name="T13" fmla="*/ 72 h 145"/>
                <a:gd name="T14" fmla="*/ 40 w 79"/>
                <a:gd name="T15" fmla="*/ 137 h 145"/>
                <a:gd name="T16" fmla="*/ 72 w 79"/>
                <a:gd name="T17" fmla="*/ 72 h 145"/>
                <a:gd name="T18" fmla="*/ 40 w 79"/>
                <a:gd name="T19" fmla="*/ 7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9" h="145">
                  <a:moveTo>
                    <a:pt x="40" y="145"/>
                  </a:moveTo>
                  <a:cubicBezTo>
                    <a:pt x="18" y="145"/>
                    <a:pt x="0" y="113"/>
                    <a:pt x="0" y="72"/>
                  </a:cubicBezTo>
                  <a:cubicBezTo>
                    <a:pt x="0" y="32"/>
                    <a:pt x="18" y="0"/>
                    <a:pt x="40" y="0"/>
                  </a:cubicBezTo>
                  <a:cubicBezTo>
                    <a:pt x="62" y="0"/>
                    <a:pt x="79" y="32"/>
                    <a:pt x="79" y="72"/>
                  </a:cubicBezTo>
                  <a:cubicBezTo>
                    <a:pt x="79" y="113"/>
                    <a:pt x="62" y="145"/>
                    <a:pt x="40" y="145"/>
                  </a:cubicBezTo>
                  <a:close/>
                  <a:moveTo>
                    <a:pt x="40" y="7"/>
                  </a:moveTo>
                  <a:cubicBezTo>
                    <a:pt x="22" y="7"/>
                    <a:pt x="7" y="37"/>
                    <a:pt x="7" y="72"/>
                  </a:cubicBezTo>
                  <a:cubicBezTo>
                    <a:pt x="7" y="108"/>
                    <a:pt x="22" y="137"/>
                    <a:pt x="40" y="137"/>
                  </a:cubicBezTo>
                  <a:cubicBezTo>
                    <a:pt x="57" y="137"/>
                    <a:pt x="72" y="108"/>
                    <a:pt x="72" y="72"/>
                  </a:cubicBezTo>
                  <a:cubicBezTo>
                    <a:pt x="72" y="37"/>
                    <a:pt x="57" y="7"/>
                    <a:pt x="40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0" name="Freeform 271">
              <a:extLst>
                <a:ext uri="{FF2B5EF4-FFF2-40B4-BE49-F238E27FC236}">
                  <a16:creationId xmlns:a16="http://schemas.microsoft.com/office/drawing/2014/main" id="{39CA0C69-36EC-922F-E771-A8D5811C2092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08582" y="2511518"/>
              <a:ext cx="399032" cy="18305"/>
            </a:xfrm>
            <a:custGeom>
              <a:avLst/>
              <a:gdLst>
                <a:gd name="T0" fmla="*/ 141 w 145"/>
                <a:gd name="T1" fmla="*/ 7 h 7"/>
                <a:gd name="T2" fmla="*/ 4 w 145"/>
                <a:gd name="T3" fmla="*/ 7 h 7"/>
                <a:gd name="T4" fmla="*/ 0 w 145"/>
                <a:gd name="T5" fmla="*/ 3 h 7"/>
                <a:gd name="T6" fmla="*/ 4 w 145"/>
                <a:gd name="T7" fmla="*/ 0 h 7"/>
                <a:gd name="T8" fmla="*/ 141 w 145"/>
                <a:gd name="T9" fmla="*/ 0 h 7"/>
                <a:gd name="T10" fmla="*/ 145 w 145"/>
                <a:gd name="T11" fmla="*/ 3 h 7"/>
                <a:gd name="T12" fmla="*/ 141 w 145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5" h="7">
                  <a:moveTo>
                    <a:pt x="141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41" y="0"/>
                    <a:pt x="141" y="0"/>
                    <a:pt x="141" y="0"/>
                  </a:cubicBezTo>
                  <a:cubicBezTo>
                    <a:pt x="143" y="0"/>
                    <a:pt x="145" y="1"/>
                    <a:pt x="145" y="3"/>
                  </a:cubicBezTo>
                  <a:cubicBezTo>
                    <a:pt x="145" y="5"/>
                    <a:pt x="143" y="7"/>
                    <a:pt x="141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1" name="Freeform 272">
              <a:extLst>
                <a:ext uri="{FF2B5EF4-FFF2-40B4-BE49-F238E27FC236}">
                  <a16:creationId xmlns:a16="http://schemas.microsoft.com/office/drawing/2014/main" id="{BB049561-B2A5-48DC-2837-B1FD66E583B7}"/>
                </a:ext>
              </a:extLst>
            </p:cNvPr>
            <p:cNvSpPr>
              <a:spLocks/>
            </p:cNvSpPr>
            <p:nvPr/>
          </p:nvSpPr>
          <p:spPr bwMode="auto">
            <a:xfrm>
              <a:off x="-5718219" y="2321154"/>
              <a:ext cx="18305" cy="402691"/>
            </a:xfrm>
            <a:custGeom>
              <a:avLst/>
              <a:gdLst>
                <a:gd name="T0" fmla="*/ 4 w 7"/>
                <a:gd name="T1" fmla="*/ 145 h 145"/>
                <a:gd name="T2" fmla="*/ 0 w 7"/>
                <a:gd name="T3" fmla="*/ 141 h 145"/>
                <a:gd name="T4" fmla="*/ 0 w 7"/>
                <a:gd name="T5" fmla="*/ 4 h 145"/>
                <a:gd name="T6" fmla="*/ 4 w 7"/>
                <a:gd name="T7" fmla="*/ 0 h 145"/>
                <a:gd name="T8" fmla="*/ 7 w 7"/>
                <a:gd name="T9" fmla="*/ 4 h 145"/>
                <a:gd name="T10" fmla="*/ 7 w 7"/>
                <a:gd name="T11" fmla="*/ 141 h 145"/>
                <a:gd name="T12" fmla="*/ 4 w 7"/>
                <a:gd name="T13" fmla="*/ 14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45">
                  <a:moveTo>
                    <a:pt x="4" y="145"/>
                  </a:moveTo>
                  <a:cubicBezTo>
                    <a:pt x="2" y="145"/>
                    <a:pt x="0" y="143"/>
                    <a:pt x="0" y="14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7" y="2"/>
                    <a:pt x="7" y="4"/>
                  </a:cubicBezTo>
                  <a:cubicBezTo>
                    <a:pt x="7" y="141"/>
                    <a:pt x="7" y="141"/>
                    <a:pt x="7" y="141"/>
                  </a:cubicBezTo>
                  <a:cubicBezTo>
                    <a:pt x="7" y="143"/>
                    <a:pt x="6" y="145"/>
                    <a:pt x="4" y="14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2" name="Freeform 273">
              <a:extLst>
                <a:ext uri="{FF2B5EF4-FFF2-40B4-BE49-F238E27FC236}">
                  <a16:creationId xmlns:a16="http://schemas.microsoft.com/office/drawing/2014/main" id="{F88665BF-855B-7411-6644-7ABCB7035C8A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96442" y="2233295"/>
              <a:ext cx="256258" cy="259920"/>
            </a:xfrm>
            <a:custGeom>
              <a:avLst/>
              <a:gdLst>
                <a:gd name="T0" fmla="*/ 4 w 93"/>
                <a:gd name="T1" fmla="*/ 94 h 94"/>
                <a:gd name="T2" fmla="*/ 3 w 93"/>
                <a:gd name="T3" fmla="*/ 93 h 94"/>
                <a:gd name="T4" fmla="*/ 0 w 93"/>
                <a:gd name="T5" fmla="*/ 89 h 94"/>
                <a:gd name="T6" fmla="*/ 89 w 93"/>
                <a:gd name="T7" fmla="*/ 1 h 94"/>
                <a:gd name="T8" fmla="*/ 93 w 93"/>
                <a:gd name="T9" fmla="*/ 4 h 94"/>
                <a:gd name="T10" fmla="*/ 90 w 93"/>
                <a:gd name="T11" fmla="*/ 8 h 94"/>
                <a:gd name="T12" fmla="*/ 7 w 93"/>
                <a:gd name="T13" fmla="*/ 90 h 94"/>
                <a:gd name="T14" fmla="*/ 4 w 93"/>
                <a:gd name="T15" fmla="*/ 94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" h="94">
                  <a:moveTo>
                    <a:pt x="4" y="94"/>
                  </a:moveTo>
                  <a:cubicBezTo>
                    <a:pt x="3" y="94"/>
                    <a:pt x="3" y="93"/>
                    <a:pt x="3" y="93"/>
                  </a:cubicBezTo>
                  <a:cubicBezTo>
                    <a:pt x="1" y="93"/>
                    <a:pt x="0" y="91"/>
                    <a:pt x="0" y="89"/>
                  </a:cubicBezTo>
                  <a:cubicBezTo>
                    <a:pt x="7" y="44"/>
                    <a:pt x="43" y="7"/>
                    <a:pt x="89" y="1"/>
                  </a:cubicBezTo>
                  <a:cubicBezTo>
                    <a:pt x="91" y="0"/>
                    <a:pt x="93" y="2"/>
                    <a:pt x="93" y="4"/>
                  </a:cubicBezTo>
                  <a:cubicBezTo>
                    <a:pt x="93" y="6"/>
                    <a:pt x="92" y="7"/>
                    <a:pt x="90" y="8"/>
                  </a:cubicBezTo>
                  <a:cubicBezTo>
                    <a:pt x="47" y="14"/>
                    <a:pt x="13" y="48"/>
                    <a:pt x="7" y="90"/>
                  </a:cubicBezTo>
                  <a:cubicBezTo>
                    <a:pt x="7" y="92"/>
                    <a:pt x="5" y="94"/>
                    <a:pt x="4" y="9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3" name="Freeform 274">
              <a:extLst>
                <a:ext uri="{FF2B5EF4-FFF2-40B4-BE49-F238E27FC236}">
                  <a16:creationId xmlns:a16="http://schemas.microsoft.com/office/drawing/2014/main" id="{4F30293D-1431-7C09-50E5-C61D6980A138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96442" y="2555448"/>
              <a:ext cx="256258" cy="252599"/>
            </a:xfrm>
            <a:custGeom>
              <a:avLst/>
              <a:gdLst>
                <a:gd name="T0" fmla="*/ 88 w 92"/>
                <a:gd name="T1" fmla="*/ 92 h 92"/>
                <a:gd name="T2" fmla="*/ 88 w 92"/>
                <a:gd name="T3" fmla="*/ 92 h 92"/>
                <a:gd name="T4" fmla="*/ 0 w 92"/>
                <a:gd name="T5" fmla="*/ 4 h 92"/>
                <a:gd name="T6" fmla="*/ 3 w 92"/>
                <a:gd name="T7" fmla="*/ 0 h 92"/>
                <a:gd name="T8" fmla="*/ 7 w 92"/>
                <a:gd name="T9" fmla="*/ 3 h 92"/>
                <a:gd name="T10" fmla="*/ 89 w 92"/>
                <a:gd name="T11" fmla="*/ 85 h 92"/>
                <a:gd name="T12" fmla="*/ 92 w 92"/>
                <a:gd name="T13" fmla="*/ 89 h 92"/>
                <a:gd name="T14" fmla="*/ 88 w 92"/>
                <a:gd name="T15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2" h="92">
                  <a:moveTo>
                    <a:pt x="88" y="92"/>
                  </a:moveTo>
                  <a:cubicBezTo>
                    <a:pt x="88" y="92"/>
                    <a:pt x="88" y="92"/>
                    <a:pt x="88" y="92"/>
                  </a:cubicBezTo>
                  <a:cubicBezTo>
                    <a:pt x="43" y="85"/>
                    <a:pt x="7" y="49"/>
                    <a:pt x="0" y="4"/>
                  </a:cubicBezTo>
                  <a:cubicBezTo>
                    <a:pt x="0" y="2"/>
                    <a:pt x="1" y="1"/>
                    <a:pt x="3" y="0"/>
                  </a:cubicBezTo>
                  <a:cubicBezTo>
                    <a:pt x="5" y="0"/>
                    <a:pt x="7" y="1"/>
                    <a:pt x="7" y="3"/>
                  </a:cubicBezTo>
                  <a:cubicBezTo>
                    <a:pt x="14" y="45"/>
                    <a:pt x="47" y="79"/>
                    <a:pt x="89" y="85"/>
                  </a:cubicBezTo>
                  <a:cubicBezTo>
                    <a:pt x="91" y="85"/>
                    <a:pt x="92" y="87"/>
                    <a:pt x="92" y="89"/>
                  </a:cubicBezTo>
                  <a:cubicBezTo>
                    <a:pt x="92" y="91"/>
                    <a:pt x="90" y="92"/>
                    <a:pt x="88" y="9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4" name="Freeform 275">
              <a:extLst>
                <a:ext uri="{FF2B5EF4-FFF2-40B4-BE49-F238E27FC236}">
                  <a16:creationId xmlns:a16="http://schemas.microsoft.com/office/drawing/2014/main" id="{F0848FB9-5EFA-B5E0-EF6F-E6C1B1D7E755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77951" y="2555448"/>
              <a:ext cx="256258" cy="252599"/>
            </a:xfrm>
            <a:custGeom>
              <a:avLst/>
              <a:gdLst>
                <a:gd name="T0" fmla="*/ 4 w 93"/>
                <a:gd name="T1" fmla="*/ 92 h 92"/>
                <a:gd name="T2" fmla="*/ 1 w 93"/>
                <a:gd name="T3" fmla="*/ 89 h 92"/>
                <a:gd name="T4" fmla="*/ 4 w 93"/>
                <a:gd name="T5" fmla="*/ 85 h 92"/>
                <a:gd name="T6" fmla="*/ 85 w 93"/>
                <a:gd name="T7" fmla="*/ 3 h 92"/>
                <a:gd name="T8" fmla="*/ 89 w 93"/>
                <a:gd name="T9" fmla="*/ 0 h 92"/>
                <a:gd name="T10" fmla="*/ 92 w 93"/>
                <a:gd name="T11" fmla="*/ 4 h 92"/>
                <a:gd name="T12" fmla="*/ 5 w 93"/>
                <a:gd name="T13" fmla="*/ 92 h 92"/>
                <a:gd name="T14" fmla="*/ 4 w 93"/>
                <a:gd name="T15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" h="92">
                  <a:moveTo>
                    <a:pt x="4" y="92"/>
                  </a:moveTo>
                  <a:cubicBezTo>
                    <a:pt x="2" y="92"/>
                    <a:pt x="1" y="91"/>
                    <a:pt x="1" y="89"/>
                  </a:cubicBezTo>
                  <a:cubicBezTo>
                    <a:pt x="0" y="87"/>
                    <a:pt x="2" y="85"/>
                    <a:pt x="4" y="85"/>
                  </a:cubicBezTo>
                  <a:cubicBezTo>
                    <a:pt x="45" y="78"/>
                    <a:pt x="79" y="45"/>
                    <a:pt x="85" y="3"/>
                  </a:cubicBezTo>
                  <a:cubicBezTo>
                    <a:pt x="86" y="1"/>
                    <a:pt x="87" y="0"/>
                    <a:pt x="89" y="0"/>
                  </a:cubicBezTo>
                  <a:cubicBezTo>
                    <a:pt x="91" y="1"/>
                    <a:pt x="93" y="2"/>
                    <a:pt x="92" y="4"/>
                  </a:cubicBezTo>
                  <a:cubicBezTo>
                    <a:pt x="86" y="49"/>
                    <a:pt x="49" y="85"/>
                    <a:pt x="5" y="92"/>
                  </a:cubicBezTo>
                  <a:cubicBezTo>
                    <a:pt x="5" y="92"/>
                    <a:pt x="4" y="92"/>
                    <a:pt x="4" y="9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5" name="Freeform 276">
              <a:extLst>
                <a:ext uri="{FF2B5EF4-FFF2-40B4-BE49-F238E27FC236}">
                  <a16:creationId xmlns:a16="http://schemas.microsoft.com/office/drawing/2014/main" id="{C748F218-A8B8-1AD4-C7AA-736090B14881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77951" y="2233295"/>
              <a:ext cx="256258" cy="256258"/>
            </a:xfrm>
            <a:custGeom>
              <a:avLst/>
              <a:gdLst>
                <a:gd name="T0" fmla="*/ 89 w 93"/>
                <a:gd name="T1" fmla="*/ 93 h 93"/>
                <a:gd name="T2" fmla="*/ 85 w 93"/>
                <a:gd name="T3" fmla="*/ 90 h 93"/>
                <a:gd name="T4" fmla="*/ 4 w 93"/>
                <a:gd name="T5" fmla="*/ 8 h 93"/>
                <a:gd name="T6" fmla="*/ 1 w 93"/>
                <a:gd name="T7" fmla="*/ 4 h 93"/>
                <a:gd name="T8" fmla="*/ 5 w 93"/>
                <a:gd name="T9" fmla="*/ 1 h 93"/>
                <a:gd name="T10" fmla="*/ 92 w 93"/>
                <a:gd name="T11" fmla="*/ 88 h 93"/>
                <a:gd name="T12" fmla="*/ 89 w 93"/>
                <a:gd name="T13" fmla="*/ 93 h 93"/>
                <a:gd name="T14" fmla="*/ 89 w 93"/>
                <a:gd name="T15" fmla="*/ 9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" h="93">
                  <a:moveTo>
                    <a:pt x="89" y="93"/>
                  </a:moveTo>
                  <a:cubicBezTo>
                    <a:pt x="87" y="93"/>
                    <a:pt x="86" y="91"/>
                    <a:pt x="85" y="90"/>
                  </a:cubicBezTo>
                  <a:cubicBezTo>
                    <a:pt x="79" y="48"/>
                    <a:pt x="45" y="14"/>
                    <a:pt x="4" y="8"/>
                  </a:cubicBezTo>
                  <a:cubicBezTo>
                    <a:pt x="2" y="8"/>
                    <a:pt x="0" y="6"/>
                    <a:pt x="1" y="4"/>
                  </a:cubicBezTo>
                  <a:cubicBezTo>
                    <a:pt x="1" y="2"/>
                    <a:pt x="3" y="0"/>
                    <a:pt x="5" y="1"/>
                  </a:cubicBezTo>
                  <a:cubicBezTo>
                    <a:pt x="50" y="8"/>
                    <a:pt x="86" y="44"/>
                    <a:pt x="92" y="88"/>
                  </a:cubicBezTo>
                  <a:cubicBezTo>
                    <a:pt x="93" y="90"/>
                    <a:pt x="91" y="92"/>
                    <a:pt x="89" y="93"/>
                  </a:cubicBezTo>
                  <a:cubicBezTo>
                    <a:pt x="89" y="93"/>
                    <a:pt x="89" y="93"/>
                    <a:pt x="89" y="9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6" name="Freeform 277">
              <a:extLst>
                <a:ext uri="{FF2B5EF4-FFF2-40B4-BE49-F238E27FC236}">
                  <a16:creationId xmlns:a16="http://schemas.microsoft.com/office/drawing/2014/main" id="{54312D5A-1493-7E24-EF74-BEB6267498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758489" y="2193027"/>
              <a:ext cx="98844" cy="98844"/>
            </a:xfrm>
            <a:custGeom>
              <a:avLst/>
              <a:gdLst>
                <a:gd name="T0" fmla="*/ 18 w 36"/>
                <a:gd name="T1" fmla="*/ 36 h 36"/>
                <a:gd name="T2" fmla="*/ 0 w 36"/>
                <a:gd name="T3" fmla="*/ 18 h 36"/>
                <a:gd name="T4" fmla="*/ 18 w 36"/>
                <a:gd name="T5" fmla="*/ 0 h 36"/>
                <a:gd name="T6" fmla="*/ 36 w 36"/>
                <a:gd name="T7" fmla="*/ 18 h 36"/>
                <a:gd name="T8" fmla="*/ 18 w 36"/>
                <a:gd name="T9" fmla="*/ 36 h 36"/>
                <a:gd name="T10" fmla="*/ 18 w 36"/>
                <a:gd name="T11" fmla="*/ 7 h 36"/>
                <a:gd name="T12" fmla="*/ 7 w 36"/>
                <a:gd name="T13" fmla="*/ 18 h 36"/>
                <a:gd name="T14" fmla="*/ 18 w 36"/>
                <a:gd name="T15" fmla="*/ 29 h 36"/>
                <a:gd name="T16" fmla="*/ 29 w 36"/>
                <a:gd name="T17" fmla="*/ 18 h 36"/>
                <a:gd name="T18" fmla="*/ 18 w 36"/>
                <a:gd name="T19" fmla="*/ 7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36">
                  <a:moveTo>
                    <a:pt x="18" y="36"/>
                  </a:moveTo>
                  <a:cubicBezTo>
                    <a:pt x="8" y="36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8"/>
                    <a:pt x="36" y="18"/>
                  </a:cubicBezTo>
                  <a:cubicBezTo>
                    <a:pt x="36" y="28"/>
                    <a:pt x="28" y="36"/>
                    <a:pt x="18" y="36"/>
                  </a:cubicBezTo>
                  <a:close/>
                  <a:moveTo>
                    <a:pt x="18" y="7"/>
                  </a:moveTo>
                  <a:cubicBezTo>
                    <a:pt x="12" y="7"/>
                    <a:pt x="7" y="12"/>
                    <a:pt x="7" y="18"/>
                  </a:cubicBezTo>
                  <a:cubicBezTo>
                    <a:pt x="7" y="24"/>
                    <a:pt x="12" y="29"/>
                    <a:pt x="18" y="29"/>
                  </a:cubicBezTo>
                  <a:cubicBezTo>
                    <a:pt x="24" y="29"/>
                    <a:pt x="29" y="24"/>
                    <a:pt x="29" y="18"/>
                  </a:cubicBezTo>
                  <a:cubicBezTo>
                    <a:pt x="29" y="12"/>
                    <a:pt x="24" y="7"/>
                    <a:pt x="18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7" name="Freeform 278">
              <a:extLst>
                <a:ext uri="{FF2B5EF4-FFF2-40B4-BE49-F238E27FC236}">
                  <a16:creationId xmlns:a16="http://schemas.microsoft.com/office/drawing/2014/main" id="{DDC64C50-00B1-26DA-C81E-F05770982EE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758489" y="2749473"/>
              <a:ext cx="98844" cy="102503"/>
            </a:xfrm>
            <a:custGeom>
              <a:avLst/>
              <a:gdLst>
                <a:gd name="T0" fmla="*/ 18 w 36"/>
                <a:gd name="T1" fmla="*/ 37 h 37"/>
                <a:gd name="T2" fmla="*/ 0 w 36"/>
                <a:gd name="T3" fmla="*/ 19 h 37"/>
                <a:gd name="T4" fmla="*/ 18 w 36"/>
                <a:gd name="T5" fmla="*/ 0 h 37"/>
                <a:gd name="T6" fmla="*/ 36 w 36"/>
                <a:gd name="T7" fmla="*/ 19 h 37"/>
                <a:gd name="T8" fmla="*/ 18 w 36"/>
                <a:gd name="T9" fmla="*/ 37 h 37"/>
                <a:gd name="T10" fmla="*/ 18 w 36"/>
                <a:gd name="T11" fmla="*/ 8 h 37"/>
                <a:gd name="T12" fmla="*/ 7 w 36"/>
                <a:gd name="T13" fmla="*/ 19 h 37"/>
                <a:gd name="T14" fmla="*/ 18 w 36"/>
                <a:gd name="T15" fmla="*/ 30 h 37"/>
                <a:gd name="T16" fmla="*/ 29 w 36"/>
                <a:gd name="T17" fmla="*/ 19 h 37"/>
                <a:gd name="T18" fmla="*/ 18 w 36"/>
                <a:gd name="T19" fmla="*/ 8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37">
                  <a:moveTo>
                    <a:pt x="18" y="37"/>
                  </a:moveTo>
                  <a:cubicBezTo>
                    <a:pt x="8" y="37"/>
                    <a:pt x="0" y="29"/>
                    <a:pt x="0" y="19"/>
                  </a:cubicBezTo>
                  <a:cubicBezTo>
                    <a:pt x="0" y="9"/>
                    <a:pt x="8" y="0"/>
                    <a:pt x="18" y="0"/>
                  </a:cubicBezTo>
                  <a:cubicBezTo>
                    <a:pt x="28" y="0"/>
                    <a:pt x="36" y="9"/>
                    <a:pt x="36" y="19"/>
                  </a:cubicBezTo>
                  <a:cubicBezTo>
                    <a:pt x="36" y="29"/>
                    <a:pt x="28" y="37"/>
                    <a:pt x="18" y="37"/>
                  </a:cubicBezTo>
                  <a:close/>
                  <a:moveTo>
                    <a:pt x="18" y="8"/>
                  </a:moveTo>
                  <a:cubicBezTo>
                    <a:pt x="12" y="8"/>
                    <a:pt x="7" y="13"/>
                    <a:pt x="7" y="19"/>
                  </a:cubicBezTo>
                  <a:cubicBezTo>
                    <a:pt x="7" y="25"/>
                    <a:pt x="12" y="30"/>
                    <a:pt x="18" y="30"/>
                  </a:cubicBezTo>
                  <a:cubicBezTo>
                    <a:pt x="24" y="30"/>
                    <a:pt x="29" y="25"/>
                    <a:pt x="29" y="19"/>
                  </a:cubicBezTo>
                  <a:cubicBezTo>
                    <a:pt x="29" y="13"/>
                    <a:pt x="24" y="8"/>
                    <a:pt x="18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8" name="Freeform 279">
              <a:extLst>
                <a:ext uri="{FF2B5EF4-FFF2-40B4-BE49-F238E27FC236}">
                  <a16:creationId xmlns:a16="http://schemas.microsoft.com/office/drawing/2014/main" id="{648C829C-E219-5D03-D76D-5D7F702077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480266" y="2471250"/>
              <a:ext cx="98844" cy="98844"/>
            </a:xfrm>
            <a:custGeom>
              <a:avLst/>
              <a:gdLst>
                <a:gd name="T0" fmla="*/ 18 w 36"/>
                <a:gd name="T1" fmla="*/ 36 h 36"/>
                <a:gd name="T2" fmla="*/ 0 w 36"/>
                <a:gd name="T3" fmla="*/ 18 h 36"/>
                <a:gd name="T4" fmla="*/ 17 w 36"/>
                <a:gd name="T5" fmla="*/ 0 h 36"/>
                <a:gd name="T6" fmla="*/ 17 w 36"/>
                <a:gd name="T7" fmla="*/ 0 h 36"/>
                <a:gd name="T8" fmla="*/ 18 w 36"/>
                <a:gd name="T9" fmla="*/ 0 h 36"/>
                <a:gd name="T10" fmla="*/ 36 w 36"/>
                <a:gd name="T11" fmla="*/ 18 h 36"/>
                <a:gd name="T12" fmla="*/ 18 w 36"/>
                <a:gd name="T13" fmla="*/ 36 h 36"/>
                <a:gd name="T14" fmla="*/ 17 w 36"/>
                <a:gd name="T15" fmla="*/ 7 h 36"/>
                <a:gd name="T16" fmla="*/ 7 w 36"/>
                <a:gd name="T17" fmla="*/ 18 h 36"/>
                <a:gd name="T18" fmla="*/ 18 w 36"/>
                <a:gd name="T19" fmla="*/ 29 h 36"/>
                <a:gd name="T20" fmla="*/ 29 w 36"/>
                <a:gd name="T21" fmla="*/ 18 h 36"/>
                <a:gd name="T22" fmla="*/ 18 w 36"/>
                <a:gd name="T23" fmla="*/ 7 h 36"/>
                <a:gd name="T24" fmla="*/ 17 w 36"/>
                <a:gd name="T25" fmla="*/ 7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6" h="36">
                  <a:moveTo>
                    <a:pt x="18" y="36"/>
                  </a:moveTo>
                  <a:cubicBezTo>
                    <a:pt x="8" y="36"/>
                    <a:pt x="0" y="28"/>
                    <a:pt x="0" y="18"/>
                  </a:cubicBezTo>
                  <a:cubicBezTo>
                    <a:pt x="0" y="9"/>
                    <a:pt x="7" y="1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8" y="0"/>
                    <a:pt x="18" y="0"/>
                  </a:cubicBezTo>
                  <a:cubicBezTo>
                    <a:pt x="28" y="0"/>
                    <a:pt x="36" y="8"/>
                    <a:pt x="36" y="18"/>
                  </a:cubicBezTo>
                  <a:cubicBezTo>
                    <a:pt x="36" y="28"/>
                    <a:pt x="28" y="36"/>
                    <a:pt x="18" y="36"/>
                  </a:cubicBezTo>
                  <a:close/>
                  <a:moveTo>
                    <a:pt x="17" y="7"/>
                  </a:moveTo>
                  <a:cubicBezTo>
                    <a:pt x="12" y="8"/>
                    <a:pt x="7" y="13"/>
                    <a:pt x="7" y="18"/>
                  </a:cubicBezTo>
                  <a:cubicBezTo>
                    <a:pt x="7" y="24"/>
                    <a:pt x="12" y="29"/>
                    <a:pt x="18" y="29"/>
                  </a:cubicBezTo>
                  <a:cubicBezTo>
                    <a:pt x="24" y="29"/>
                    <a:pt x="29" y="24"/>
                    <a:pt x="29" y="18"/>
                  </a:cubicBezTo>
                  <a:cubicBezTo>
                    <a:pt x="29" y="12"/>
                    <a:pt x="24" y="7"/>
                    <a:pt x="18" y="7"/>
                  </a:cubicBezTo>
                  <a:cubicBezTo>
                    <a:pt x="18" y="7"/>
                    <a:pt x="17" y="7"/>
                    <a:pt x="17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9" name="Freeform 280">
              <a:extLst>
                <a:ext uri="{FF2B5EF4-FFF2-40B4-BE49-F238E27FC236}">
                  <a16:creationId xmlns:a16="http://schemas.microsoft.com/office/drawing/2014/main" id="{76985943-8872-F339-FF48-D1ABF7313B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040372" y="2471250"/>
              <a:ext cx="102503" cy="102503"/>
            </a:xfrm>
            <a:custGeom>
              <a:avLst/>
              <a:gdLst>
                <a:gd name="T0" fmla="*/ 19 w 37"/>
                <a:gd name="T1" fmla="*/ 37 h 37"/>
                <a:gd name="T2" fmla="*/ 0 w 37"/>
                <a:gd name="T3" fmla="*/ 18 h 37"/>
                <a:gd name="T4" fmla="*/ 19 w 37"/>
                <a:gd name="T5" fmla="*/ 0 h 37"/>
                <a:gd name="T6" fmla="*/ 37 w 37"/>
                <a:gd name="T7" fmla="*/ 18 h 37"/>
                <a:gd name="T8" fmla="*/ 19 w 37"/>
                <a:gd name="T9" fmla="*/ 37 h 37"/>
                <a:gd name="T10" fmla="*/ 19 w 37"/>
                <a:gd name="T11" fmla="*/ 8 h 37"/>
                <a:gd name="T12" fmla="*/ 8 w 37"/>
                <a:gd name="T13" fmla="*/ 18 h 37"/>
                <a:gd name="T14" fmla="*/ 19 w 37"/>
                <a:gd name="T15" fmla="*/ 29 h 37"/>
                <a:gd name="T16" fmla="*/ 30 w 37"/>
                <a:gd name="T17" fmla="*/ 18 h 37"/>
                <a:gd name="T18" fmla="*/ 19 w 37"/>
                <a:gd name="T19" fmla="*/ 8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" h="37">
                  <a:moveTo>
                    <a:pt x="19" y="37"/>
                  </a:moveTo>
                  <a:cubicBezTo>
                    <a:pt x="9" y="37"/>
                    <a:pt x="0" y="28"/>
                    <a:pt x="0" y="18"/>
                  </a:cubicBezTo>
                  <a:cubicBezTo>
                    <a:pt x="0" y="8"/>
                    <a:pt x="9" y="0"/>
                    <a:pt x="19" y="0"/>
                  </a:cubicBezTo>
                  <a:cubicBezTo>
                    <a:pt x="29" y="0"/>
                    <a:pt x="37" y="8"/>
                    <a:pt x="37" y="18"/>
                  </a:cubicBezTo>
                  <a:cubicBezTo>
                    <a:pt x="37" y="28"/>
                    <a:pt x="29" y="37"/>
                    <a:pt x="19" y="37"/>
                  </a:cubicBezTo>
                  <a:close/>
                  <a:moveTo>
                    <a:pt x="19" y="8"/>
                  </a:moveTo>
                  <a:cubicBezTo>
                    <a:pt x="13" y="8"/>
                    <a:pt x="8" y="12"/>
                    <a:pt x="8" y="18"/>
                  </a:cubicBezTo>
                  <a:cubicBezTo>
                    <a:pt x="8" y="24"/>
                    <a:pt x="13" y="29"/>
                    <a:pt x="19" y="29"/>
                  </a:cubicBezTo>
                  <a:cubicBezTo>
                    <a:pt x="25" y="29"/>
                    <a:pt x="30" y="24"/>
                    <a:pt x="30" y="18"/>
                  </a:cubicBezTo>
                  <a:cubicBezTo>
                    <a:pt x="30" y="12"/>
                    <a:pt x="25" y="8"/>
                    <a:pt x="1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42" name="Shape13_20200717_154431">
            <a:extLst>
              <a:ext uri="{FF2B5EF4-FFF2-40B4-BE49-F238E27FC236}">
                <a16:creationId xmlns:a16="http://schemas.microsoft.com/office/drawing/2014/main" id="{98CB58AD-5CFA-9544-1D4B-6EA454C31B55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863535" y="2543179"/>
            <a:ext cx="464927" cy="582073"/>
          </a:xfrm>
          <a:custGeom>
            <a:avLst/>
            <a:gdLst>
              <a:gd name="T0" fmla="*/ 68 w 169"/>
              <a:gd name="T1" fmla="*/ 196 h 210"/>
              <a:gd name="T2" fmla="*/ 37 w 169"/>
              <a:gd name="T3" fmla="*/ 209 h 210"/>
              <a:gd name="T4" fmla="*/ 35 w 169"/>
              <a:gd name="T5" fmla="*/ 189 h 210"/>
              <a:gd name="T6" fmla="*/ 66 w 169"/>
              <a:gd name="T7" fmla="*/ 165 h 210"/>
              <a:gd name="T8" fmla="*/ 5 w 169"/>
              <a:gd name="T9" fmla="*/ 144 h 210"/>
              <a:gd name="T10" fmla="*/ 0 w 169"/>
              <a:gd name="T11" fmla="*/ 141 h 210"/>
              <a:gd name="T12" fmla="*/ 2 w 169"/>
              <a:gd name="T13" fmla="*/ 109 h 210"/>
              <a:gd name="T14" fmla="*/ 21 w 169"/>
              <a:gd name="T15" fmla="*/ 73 h 210"/>
              <a:gd name="T16" fmla="*/ 38 w 169"/>
              <a:gd name="T17" fmla="*/ 69 h 210"/>
              <a:gd name="T18" fmla="*/ 42 w 169"/>
              <a:gd name="T19" fmla="*/ 81 h 210"/>
              <a:gd name="T20" fmla="*/ 61 w 169"/>
              <a:gd name="T21" fmla="*/ 45 h 210"/>
              <a:gd name="T22" fmla="*/ 85 w 169"/>
              <a:gd name="T23" fmla="*/ 0 h 210"/>
              <a:gd name="T24" fmla="*/ 109 w 169"/>
              <a:gd name="T25" fmla="*/ 45 h 210"/>
              <a:gd name="T26" fmla="*/ 128 w 169"/>
              <a:gd name="T27" fmla="*/ 81 h 210"/>
              <a:gd name="T28" fmla="*/ 131 w 169"/>
              <a:gd name="T29" fmla="*/ 69 h 210"/>
              <a:gd name="T30" fmla="*/ 149 w 169"/>
              <a:gd name="T31" fmla="*/ 73 h 210"/>
              <a:gd name="T32" fmla="*/ 168 w 169"/>
              <a:gd name="T33" fmla="*/ 109 h 210"/>
              <a:gd name="T34" fmla="*/ 169 w 169"/>
              <a:gd name="T35" fmla="*/ 141 h 210"/>
              <a:gd name="T36" fmla="*/ 164 w 169"/>
              <a:gd name="T37" fmla="*/ 144 h 210"/>
              <a:gd name="T38" fmla="*/ 104 w 169"/>
              <a:gd name="T39" fmla="*/ 165 h 210"/>
              <a:gd name="T40" fmla="*/ 135 w 169"/>
              <a:gd name="T41" fmla="*/ 189 h 210"/>
              <a:gd name="T42" fmla="*/ 133 w 169"/>
              <a:gd name="T43" fmla="*/ 209 h 210"/>
              <a:gd name="T44" fmla="*/ 102 w 169"/>
              <a:gd name="T45" fmla="*/ 196 h 210"/>
              <a:gd name="T46" fmla="*/ 71 w 169"/>
              <a:gd name="T47" fmla="*/ 188 h 210"/>
              <a:gd name="T48" fmla="*/ 74 w 169"/>
              <a:gd name="T49" fmla="*/ 191 h 210"/>
              <a:gd name="T50" fmla="*/ 85 w 169"/>
              <a:gd name="T51" fmla="*/ 203 h 210"/>
              <a:gd name="T52" fmla="*/ 95 w 169"/>
              <a:gd name="T53" fmla="*/ 191 h 210"/>
              <a:gd name="T54" fmla="*/ 100 w 169"/>
              <a:gd name="T55" fmla="*/ 188 h 210"/>
              <a:gd name="T56" fmla="*/ 127 w 169"/>
              <a:gd name="T57" fmla="*/ 191 h 210"/>
              <a:gd name="T58" fmla="*/ 96 w 169"/>
              <a:gd name="T59" fmla="*/ 167 h 210"/>
              <a:gd name="T60" fmla="*/ 101 w 169"/>
              <a:gd name="T61" fmla="*/ 109 h 210"/>
              <a:gd name="T62" fmla="*/ 162 w 169"/>
              <a:gd name="T63" fmla="*/ 135 h 210"/>
              <a:gd name="T64" fmla="*/ 143 w 169"/>
              <a:gd name="T65" fmla="*/ 100 h 210"/>
              <a:gd name="T66" fmla="*/ 142 w 169"/>
              <a:gd name="T67" fmla="*/ 76 h 210"/>
              <a:gd name="T68" fmla="*/ 135 w 169"/>
              <a:gd name="T69" fmla="*/ 87 h 210"/>
              <a:gd name="T70" fmla="*/ 129 w 169"/>
              <a:gd name="T71" fmla="*/ 90 h 210"/>
              <a:gd name="T72" fmla="*/ 101 w 169"/>
              <a:gd name="T73" fmla="*/ 68 h 210"/>
              <a:gd name="T74" fmla="*/ 90 w 169"/>
              <a:gd name="T75" fmla="*/ 9 h 210"/>
              <a:gd name="T76" fmla="*/ 80 w 169"/>
              <a:gd name="T77" fmla="*/ 9 h 210"/>
              <a:gd name="T78" fmla="*/ 69 w 169"/>
              <a:gd name="T79" fmla="*/ 68 h 210"/>
              <a:gd name="T80" fmla="*/ 40 w 169"/>
              <a:gd name="T81" fmla="*/ 90 h 210"/>
              <a:gd name="T82" fmla="*/ 35 w 169"/>
              <a:gd name="T83" fmla="*/ 87 h 210"/>
              <a:gd name="T84" fmla="*/ 28 w 169"/>
              <a:gd name="T85" fmla="*/ 76 h 210"/>
              <a:gd name="T86" fmla="*/ 27 w 169"/>
              <a:gd name="T87" fmla="*/ 100 h 210"/>
              <a:gd name="T88" fmla="*/ 16 w 169"/>
              <a:gd name="T89" fmla="*/ 108 h 210"/>
              <a:gd name="T90" fmla="*/ 8 w 169"/>
              <a:gd name="T91" fmla="*/ 135 h 210"/>
              <a:gd name="T92" fmla="*/ 69 w 169"/>
              <a:gd name="T93" fmla="*/ 109 h 210"/>
              <a:gd name="T94" fmla="*/ 73 w 169"/>
              <a:gd name="T95" fmla="*/ 167 h 210"/>
              <a:gd name="T96" fmla="*/ 42 w 169"/>
              <a:gd name="T97" fmla="*/ 191 h 210"/>
              <a:gd name="T98" fmla="*/ 69 w 169"/>
              <a:gd name="T99" fmla="*/ 188 h 210"/>
              <a:gd name="T100" fmla="*/ 14 w 169"/>
              <a:gd name="T101" fmla="*/ 105 h 2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69" h="210">
                <a:moveTo>
                  <a:pt x="85" y="210"/>
                </a:moveTo>
                <a:cubicBezTo>
                  <a:pt x="77" y="210"/>
                  <a:pt x="70" y="204"/>
                  <a:pt x="68" y="196"/>
                </a:cubicBezTo>
                <a:cubicBezTo>
                  <a:pt x="40" y="209"/>
                  <a:pt x="40" y="209"/>
                  <a:pt x="40" y="209"/>
                </a:cubicBezTo>
                <a:cubicBezTo>
                  <a:pt x="39" y="209"/>
                  <a:pt x="38" y="209"/>
                  <a:pt x="37" y="209"/>
                </a:cubicBezTo>
                <a:cubicBezTo>
                  <a:pt x="36" y="208"/>
                  <a:pt x="35" y="207"/>
                  <a:pt x="35" y="206"/>
                </a:cubicBezTo>
                <a:cubicBezTo>
                  <a:pt x="35" y="189"/>
                  <a:pt x="35" y="189"/>
                  <a:pt x="35" y="189"/>
                </a:cubicBezTo>
                <a:cubicBezTo>
                  <a:pt x="35" y="188"/>
                  <a:pt x="36" y="187"/>
                  <a:pt x="37" y="186"/>
                </a:cubicBezTo>
                <a:cubicBezTo>
                  <a:pt x="66" y="165"/>
                  <a:pt x="66" y="165"/>
                  <a:pt x="66" y="165"/>
                </a:cubicBezTo>
                <a:cubicBezTo>
                  <a:pt x="64" y="118"/>
                  <a:pt x="64" y="118"/>
                  <a:pt x="64" y="118"/>
                </a:cubicBezTo>
                <a:cubicBezTo>
                  <a:pt x="5" y="144"/>
                  <a:pt x="5" y="144"/>
                  <a:pt x="5" y="144"/>
                </a:cubicBezTo>
                <a:cubicBezTo>
                  <a:pt x="4" y="144"/>
                  <a:pt x="3" y="144"/>
                  <a:pt x="2" y="144"/>
                </a:cubicBezTo>
                <a:cubicBezTo>
                  <a:pt x="1" y="143"/>
                  <a:pt x="0" y="142"/>
                  <a:pt x="0" y="141"/>
                </a:cubicBezTo>
                <a:cubicBezTo>
                  <a:pt x="0" y="112"/>
                  <a:pt x="0" y="112"/>
                  <a:pt x="0" y="112"/>
                </a:cubicBezTo>
                <a:cubicBezTo>
                  <a:pt x="0" y="111"/>
                  <a:pt x="1" y="109"/>
                  <a:pt x="2" y="109"/>
                </a:cubicBezTo>
                <a:cubicBezTo>
                  <a:pt x="21" y="95"/>
                  <a:pt x="21" y="95"/>
                  <a:pt x="21" y="95"/>
                </a:cubicBezTo>
                <a:cubicBezTo>
                  <a:pt x="21" y="73"/>
                  <a:pt x="21" y="73"/>
                  <a:pt x="21" y="73"/>
                </a:cubicBezTo>
                <a:cubicBezTo>
                  <a:pt x="21" y="71"/>
                  <a:pt x="23" y="69"/>
                  <a:pt x="25" y="69"/>
                </a:cubicBezTo>
                <a:cubicBezTo>
                  <a:pt x="38" y="69"/>
                  <a:pt x="38" y="69"/>
                  <a:pt x="38" y="69"/>
                </a:cubicBezTo>
                <a:cubicBezTo>
                  <a:pt x="40" y="69"/>
                  <a:pt x="42" y="71"/>
                  <a:pt x="42" y="73"/>
                </a:cubicBezTo>
                <a:cubicBezTo>
                  <a:pt x="42" y="81"/>
                  <a:pt x="42" y="81"/>
                  <a:pt x="42" y="81"/>
                </a:cubicBezTo>
                <a:cubicBezTo>
                  <a:pt x="62" y="67"/>
                  <a:pt x="62" y="67"/>
                  <a:pt x="62" y="67"/>
                </a:cubicBezTo>
                <a:cubicBezTo>
                  <a:pt x="61" y="45"/>
                  <a:pt x="61" y="45"/>
                  <a:pt x="61" y="45"/>
                </a:cubicBezTo>
                <a:cubicBezTo>
                  <a:pt x="60" y="30"/>
                  <a:pt x="65" y="16"/>
                  <a:pt x="74" y="5"/>
                </a:cubicBezTo>
                <a:cubicBezTo>
                  <a:pt x="77" y="1"/>
                  <a:pt x="81" y="0"/>
                  <a:pt x="85" y="0"/>
                </a:cubicBezTo>
                <a:cubicBezTo>
                  <a:pt x="89" y="0"/>
                  <a:pt x="93" y="1"/>
                  <a:pt x="95" y="5"/>
                </a:cubicBezTo>
                <a:cubicBezTo>
                  <a:pt x="105" y="16"/>
                  <a:pt x="109" y="30"/>
                  <a:pt x="109" y="45"/>
                </a:cubicBezTo>
                <a:cubicBezTo>
                  <a:pt x="108" y="67"/>
                  <a:pt x="108" y="67"/>
                  <a:pt x="108" y="67"/>
                </a:cubicBezTo>
                <a:cubicBezTo>
                  <a:pt x="128" y="81"/>
                  <a:pt x="128" y="81"/>
                  <a:pt x="128" y="81"/>
                </a:cubicBezTo>
                <a:cubicBezTo>
                  <a:pt x="128" y="73"/>
                  <a:pt x="128" y="73"/>
                  <a:pt x="128" y="73"/>
                </a:cubicBezTo>
                <a:cubicBezTo>
                  <a:pt x="128" y="71"/>
                  <a:pt x="129" y="69"/>
                  <a:pt x="131" y="69"/>
                </a:cubicBezTo>
                <a:cubicBezTo>
                  <a:pt x="145" y="69"/>
                  <a:pt x="145" y="69"/>
                  <a:pt x="145" y="69"/>
                </a:cubicBezTo>
                <a:cubicBezTo>
                  <a:pt x="147" y="69"/>
                  <a:pt x="149" y="71"/>
                  <a:pt x="149" y="73"/>
                </a:cubicBezTo>
                <a:cubicBezTo>
                  <a:pt x="149" y="95"/>
                  <a:pt x="149" y="95"/>
                  <a:pt x="149" y="95"/>
                </a:cubicBezTo>
                <a:cubicBezTo>
                  <a:pt x="168" y="109"/>
                  <a:pt x="168" y="109"/>
                  <a:pt x="168" y="109"/>
                </a:cubicBezTo>
                <a:cubicBezTo>
                  <a:pt x="169" y="109"/>
                  <a:pt x="169" y="111"/>
                  <a:pt x="169" y="112"/>
                </a:cubicBezTo>
                <a:cubicBezTo>
                  <a:pt x="169" y="141"/>
                  <a:pt x="169" y="141"/>
                  <a:pt x="169" y="141"/>
                </a:cubicBezTo>
                <a:cubicBezTo>
                  <a:pt x="169" y="142"/>
                  <a:pt x="169" y="143"/>
                  <a:pt x="168" y="144"/>
                </a:cubicBezTo>
                <a:cubicBezTo>
                  <a:pt x="167" y="144"/>
                  <a:pt x="165" y="144"/>
                  <a:pt x="164" y="144"/>
                </a:cubicBezTo>
                <a:cubicBezTo>
                  <a:pt x="106" y="118"/>
                  <a:pt x="106" y="118"/>
                  <a:pt x="106" y="118"/>
                </a:cubicBezTo>
                <a:cubicBezTo>
                  <a:pt x="104" y="165"/>
                  <a:pt x="104" y="165"/>
                  <a:pt x="104" y="165"/>
                </a:cubicBezTo>
                <a:cubicBezTo>
                  <a:pt x="133" y="186"/>
                  <a:pt x="133" y="186"/>
                  <a:pt x="133" y="186"/>
                </a:cubicBezTo>
                <a:cubicBezTo>
                  <a:pt x="134" y="187"/>
                  <a:pt x="135" y="188"/>
                  <a:pt x="135" y="189"/>
                </a:cubicBezTo>
                <a:cubicBezTo>
                  <a:pt x="135" y="206"/>
                  <a:pt x="135" y="206"/>
                  <a:pt x="135" y="206"/>
                </a:cubicBezTo>
                <a:cubicBezTo>
                  <a:pt x="135" y="207"/>
                  <a:pt x="134" y="208"/>
                  <a:pt x="133" y="209"/>
                </a:cubicBezTo>
                <a:cubicBezTo>
                  <a:pt x="132" y="209"/>
                  <a:pt x="131" y="209"/>
                  <a:pt x="130" y="209"/>
                </a:cubicBezTo>
                <a:cubicBezTo>
                  <a:pt x="102" y="196"/>
                  <a:pt x="102" y="196"/>
                  <a:pt x="102" y="196"/>
                </a:cubicBezTo>
                <a:cubicBezTo>
                  <a:pt x="100" y="204"/>
                  <a:pt x="93" y="210"/>
                  <a:pt x="85" y="210"/>
                </a:cubicBezTo>
                <a:close/>
                <a:moveTo>
                  <a:pt x="71" y="188"/>
                </a:moveTo>
                <a:cubicBezTo>
                  <a:pt x="71" y="188"/>
                  <a:pt x="72" y="188"/>
                  <a:pt x="73" y="188"/>
                </a:cubicBezTo>
                <a:cubicBezTo>
                  <a:pt x="74" y="189"/>
                  <a:pt x="74" y="190"/>
                  <a:pt x="74" y="191"/>
                </a:cubicBezTo>
                <a:cubicBezTo>
                  <a:pt x="74" y="193"/>
                  <a:pt x="74" y="193"/>
                  <a:pt x="74" y="193"/>
                </a:cubicBezTo>
                <a:cubicBezTo>
                  <a:pt x="75" y="198"/>
                  <a:pt x="79" y="203"/>
                  <a:pt x="85" y="203"/>
                </a:cubicBezTo>
                <a:cubicBezTo>
                  <a:pt x="90" y="203"/>
                  <a:pt x="95" y="198"/>
                  <a:pt x="95" y="193"/>
                </a:cubicBezTo>
                <a:cubicBezTo>
                  <a:pt x="95" y="191"/>
                  <a:pt x="95" y="191"/>
                  <a:pt x="95" y="191"/>
                </a:cubicBezTo>
                <a:cubicBezTo>
                  <a:pt x="95" y="190"/>
                  <a:pt x="96" y="189"/>
                  <a:pt x="97" y="188"/>
                </a:cubicBezTo>
                <a:cubicBezTo>
                  <a:pt x="98" y="187"/>
                  <a:pt x="99" y="187"/>
                  <a:pt x="100" y="188"/>
                </a:cubicBezTo>
                <a:cubicBezTo>
                  <a:pt x="127" y="200"/>
                  <a:pt x="127" y="200"/>
                  <a:pt x="127" y="200"/>
                </a:cubicBezTo>
                <a:cubicBezTo>
                  <a:pt x="127" y="191"/>
                  <a:pt x="127" y="191"/>
                  <a:pt x="127" y="191"/>
                </a:cubicBezTo>
                <a:cubicBezTo>
                  <a:pt x="98" y="170"/>
                  <a:pt x="98" y="170"/>
                  <a:pt x="98" y="170"/>
                </a:cubicBezTo>
                <a:cubicBezTo>
                  <a:pt x="97" y="169"/>
                  <a:pt x="96" y="168"/>
                  <a:pt x="96" y="167"/>
                </a:cubicBezTo>
                <a:cubicBezTo>
                  <a:pt x="99" y="112"/>
                  <a:pt x="99" y="112"/>
                  <a:pt x="99" y="112"/>
                </a:cubicBezTo>
                <a:cubicBezTo>
                  <a:pt x="99" y="111"/>
                  <a:pt x="100" y="110"/>
                  <a:pt x="101" y="109"/>
                </a:cubicBezTo>
                <a:cubicBezTo>
                  <a:pt x="102" y="109"/>
                  <a:pt x="103" y="109"/>
                  <a:pt x="104" y="109"/>
                </a:cubicBezTo>
                <a:cubicBezTo>
                  <a:pt x="162" y="135"/>
                  <a:pt x="162" y="135"/>
                  <a:pt x="162" y="135"/>
                </a:cubicBezTo>
                <a:cubicBezTo>
                  <a:pt x="162" y="114"/>
                  <a:pt x="162" y="114"/>
                  <a:pt x="162" y="114"/>
                </a:cubicBezTo>
                <a:cubicBezTo>
                  <a:pt x="143" y="100"/>
                  <a:pt x="143" y="100"/>
                  <a:pt x="143" y="100"/>
                </a:cubicBezTo>
                <a:cubicBezTo>
                  <a:pt x="142" y="100"/>
                  <a:pt x="142" y="98"/>
                  <a:pt x="142" y="97"/>
                </a:cubicBezTo>
                <a:cubicBezTo>
                  <a:pt x="142" y="76"/>
                  <a:pt x="142" y="76"/>
                  <a:pt x="142" y="76"/>
                </a:cubicBezTo>
                <a:cubicBezTo>
                  <a:pt x="135" y="76"/>
                  <a:pt x="135" y="76"/>
                  <a:pt x="135" y="76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9"/>
                  <a:pt x="134" y="90"/>
                  <a:pt x="133" y="91"/>
                </a:cubicBezTo>
                <a:cubicBezTo>
                  <a:pt x="132" y="91"/>
                  <a:pt x="130" y="91"/>
                  <a:pt x="129" y="90"/>
                </a:cubicBezTo>
                <a:cubicBezTo>
                  <a:pt x="102" y="72"/>
                  <a:pt x="102" y="72"/>
                  <a:pt x="102" y="72"/>
                </a:cubicBezTo>
                <a:cubicBezTo>
                  <a:pt x="101" y="71"/>
                  <a:pt x="101" y="70"/>
                  <a:pt x="101" y="68"/>
                </a:cubicBezTo>
                <a:cubicBezTo>
                  <a:pt x="102" y="44"/>
                  <a:pt x="102" y="44"/>
                  <a:pt x="102" y="44"/>
                </a:cubicBezTo>
                <a:cubicBezTo>
                  <a:pt x="102" y="32"/>
                  <a:pt x="98" y="19"/>
                  <a:pt x="90" y="9"/>
                </a:cubicBezTo>
                <a:cubicBezTo>
                  <a:pt x="89" y="8"/>
                  <a:pt x="87" y="7"/>
                  <a:pt x="85" y="7"/>
                </a:cubicBezTo>
                <a:cubicBezTo>
                  <a:pt x="83" y="7"/>
                  <a:pt x="81" y="8"/>
                  <a:pt x="80" y="9"/>
                </a:cubicBezTo>
                <a:cubicBezTo>
                  <a:pt x="72" y="19"/>
                  <a:pt x="68" y="32"/>
                  <a:pt x="68" y="44"/>
                </a:cubicBezTo>
                <a:cubicBezTo>
                  <a:pt x="69" y="68"/>
                  <a:pt x="69" y="68"/>
                  <a:pt x="69" y="68"/>
                </a:cubicBezTo>
                <a:cubicBezTo>
                  <a:pt x="69" y="70"/>
                  <a:pt x="68" y="71"/>
                  <a:pt x="67" y="72"/>
                </a:cubicBezTo>
                <a:cubicBezTo>
                  <a:pt x="40" y="90"/>
                  <a:pt x="40" y="90"/>
                  <a:pt x="40" y="90"/>
                </a:cubicBezTo>
                <a:cubicBezTo>
                  <a:pt x="39" y="91"/>
                  <a:pt x="38" y="91"/>
                  <a:pt x="37" y="91"/>
                </a:cubicBezTo>
                <a:cubicBezTo>
                  <a:pt x="36" y="90"/>
                  <a:pt x="35" y="89"/>
                  <a:pt x="35" y="87"/>
                </a:cubicBezTo>
                <a:cubicBezTo>
                  <a:pt x="35" y="76"/>
                  <a:pt x="35" y="76"/>
                  <a:pt x="35" y="76"/>
                </a:cubicBezTo>
                <a:cubicBezTo>
                  <a:pt x="28" y="76"/>
                  <a:pt x="28" y="76"/>
                  <a:pt x="28" y="76"/>
                </a:cubicBezTo>
                <a:cubicBezTo>
                  <a:pt x="28" y="97"/>
                  <a:pt x="28" y="97"/>
                  <a:pt x="28" y="97"/>
                </a:cubicBezTo>
                <a:cubicBezTo>
                  <a:pt x="28" y="98"/>
                  <a:pt x="28" y="100"/>
                  <a:pt x="27" y="100"/>
                </a:cubicBezTo>
                <a:cubicBezTo>
                  <a:pt x="16" y="108"/>
                  <a:pt x="16" y="108"/>
                  <a:pt x="16" y="108"/>
                </a:cubicBezTo>
                <a:cubicBezTo>
                  <a:pt x="16" y="108"/>
                  <a:pt x="16" y="108"/>
                  <a:pt x="16" y="108"/>
                </a:cubicBezTo>
                <a:cubicBezTo>
                  <a:pt x="8" y="114"/>
                  <a:pt x="8" y="114"/>
                  <a:pt x="8" y="114"/>
                </a:cubicBezTo>
                <a:cubicBezTo>
                  <a:pt x="8" y="135"/>
                  <a:pt x="8" y="135"/>
                  <a:pt x="8" y="135"/>
                </a:cubicBezTo>
                <a:cubicBezTo>
                  <a:pt x="66" y="109"/>
                  <a:pt x="66" y="109"/>
                  <a:pt x="66" y="109"/>
                </a:cubicBezTo>
                <a:cubicBezTo>
                  <a:pt x="67" y="109"/>
                  <a:pt x="68" y="109"/>
                  <a:pt x="69" y="109"/>
                </a:cubicBezTo>
                <a:cubicBezTo>
                  <a:pt x="70" y="110"/>
                  <a:pt x="71" y="111"/>
                  <a:pt x="71" y="112"/>
                </a:cubicBezTo>
                <a:cubicBezTo>
                  <a:pt x="73" y="167"/>
                  <a:pt x="73" y="167"/>
                  <a:pt x="73" y="167"/>
                </a:cubicBezTo>
                <a:cubicBezTo>
                  <a:pt x="74" y="168"/>
                  <a:pt x="73" y="169"/>
                  <a:pt x="72" y="170"/>
                </a:cubicBezTo>
                <a:cubicBezTo>
                  <a:pt x="42" y="191"/>
                  <a:pt x="42" y="191"/>
                  <a:pt x="42" y="191"/>
                </a:cubicBezTo>
                <a:cubicBezTo>
                  <a:pt x="42" y="200"/>
                  <a:pt x="42" y="200"/>
                  <a:pt x="42" y="200"/>
                </a:cubicBezTo>
                <a:cubicBezTo>
                  <a:pt x="69" y="188"/>
                  <a:pt x="69" y="188"/>
                  <a:pt x="69" y="188"/>
                </a:cubicBezTo>
                <a:cubicBezTo>
                  <a:pt x="70" y="188"/>
                  <a:pt x="70" y="188"/>
                  <a:pt x="71" y="188"/>
                </a:cubicBezTo>
                <a:close/>
                <a:moveTo>
                  <a:pt x="14" y="105"/>
                </a:moveTo>
                <a:cubicBezTo>
                  <a:pt x="14" y="105"/>
                  <a:pt x="14" y="105"/>
                  <a:pt x="14" y="10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grpSp>
        <p:nvGrpSpPr>
          <p:cNvPr id="43" name="Shape14_20200717_154431">
            <a:extLst>
              <a:ext uri="{FF2B5EF4-FFF2-40B4-BE49-F238E27FC236}">
                <a16:creationId xmlns:a16="http://schemas.microsoft.com/office/drawing/2014/main" id="{07A27523-10F1-3A8F-54D0-A9DFD7FC1565}"/>
              </a:ext>
            </a:extLst>
          </p:cNvPr>
          <p:cNvGrpSpPr>
            <a:grpSpLocks noChangeAspect="1"/>
          </p:cNvGrpSpPr>
          <p:nvPr/>
        </p:nvGrpSpPr>
        <p:grpSpPr>
          <a:xfrm>
            <a:off x="4479272" y="2521214"/>
            <a:ext cx="622341" cy="626000"/>
            <a:chOff x="-7314341" y="3598786"/>
            <a:chExt cx="622341" cy="626000"/>
          </a:xfrm>
          <a:solidFill>
            <a:schemeClr val="accent1"/>
          </a:solidFill>
        </p:grpSpPr>
        <p:sp>
          <p:nvSpPr>
            <p:cNvPr id="99" name="Freeform 282">
              <a:extLst>
                <a:ext uri="{FF2B5EF4-FFF2-40B4-BE49-F238E27FC236}">
                  <a16:creationId xmlns:a16="http://schemas.microsoft.com/office/drawing/2014/main" id="{095C7FA4-3209-14FB-6EED-F980F5022273}"/>
                </a:ext>
              </a:extLst>
            </p:cNvPr>
            <p:cNvSpPr>
              <a:spLocks/>
            </p:cNvSpPr>
            <p:nvPr/>
          </p:nvSpPr>
          <p:spPr bwMode="auto">
            <a:xfrm>
              <a:off x="-7252108" y="3598786"/>
              <a:ext cx="560108" cy="560108"/>
            </a:xfrm>
            <a:custGeom>
              <a:avLst/>
              <a:gdLst>
                <a:gd name="T0" fmla="*/ 119 w 203"/>
                <a:gd name="T1" fmla="*/ 202 h 202"/>
                <a:gd name="T2" fmla="*/ 116 w 203"/>
                <a:gd name="T3" fmla="*/ 199 h 202"/>
                <a:gd name="T4" fmla="*/ 119 w 203"/>
                <a:gd name="T5" fmla="*/ 195 h 202"/>
                <a:gd name="T6" fmla="*/ 196 w 203"/>
                <a:gd name="T7" fmla="*/ 102 h 202"/>
                <a:gd name="T8" fmla="*/ 101 w 203"/>
                <a:gd name="T9" fmla="*/ 7 h 202"/>
                <a:gd name="T10" fmla="*/ 7 w 203"/>
                <a:gd name="T11" fmla="*/ 86 h 202"/>
                <a:gd name="T12" fmla="*/ 3 w 203"/>
                <a:gd name="T13" fmla="*/ 89 h 202"/>
                <a:gd name="T14" fmla="*/ 0 w 203"/>
                <a:gd name="T15" fmla="*/ 85 h 202"/>
                <a:gd name="T16" fmla="*/ 101 w 203"/>
                <a:gd name="T17" fmla="*/ 0 h 202"/>
                <a:gd name="T18" fmla="*/ 203 w 203"/>
                <a:gd name="T19" fmla="*/ 102 h 202"/>
                <a:gd name="T20" fmla="*/ 120 w 203"/>
                <a:gd name="T21" fmla="*/ 202 h 202"/>
                <a:gd name="T22" fmla="*/ 119 w 203"/>
                <a:gd name="T23" fmla="*/ 20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03" h="202">
                  <a:moveTo>
                    <a:pt x="119" y="202"/>
                  </a:moveTo>
                  <a:cubicBezTo>
                    <a:pt x="118" y="202"/>
                    <a:pt x="116" y="201"/>
                    <a:pt x="116" y="199"/>
                  </a:cubicBezTo>
                  <a:cubicBezTo>
                    <a:pt x="115" y="197"/>
                    <a:pt x="117" y="196"/>
                    <a:pt x="119" y="195"/>
                  </a:cubicBezTo>
                  <a:cubicBezTo>
                    <a:pt x="164" y="187"/>
                    <a:pt x="196" y="148"/>
                    <a:pt x="196" y="102"/>
                  </a:cubicBezTo>
                  <a:cubicBezTo>
                    <a:pt x="196" y="49"/>
                    <a:pt x="154" y="7"/>
                    <a:pt x="101" y="7"/>
                  </a:cubicBezTo>
                  <a:cubicBezTo>
                    <a:pt x="54" y="7"/>
                    <a:pt x="15" y="40"/>
                    <a:pt x="7" y="86"/>
                  </a:cubicBezTo>
                  <a:cubicBezTo>
                    <a:pt x="7" y="88"/>
                    <a:pt x="5" y="89"/>
                    <a:pt x="3" y="89"/>
                  </a:cubicBezTo>
                  <a:cubicBezTo>
                    <a:pt x="1" y="89"/>
                    <a:pt x="0" y="87"/>
                    <a:pt x="0" y="85"/>
                  </a:cubicBezTo>
                  <a:cubicBezTo>
                    <a:pt x="8" y="35"/>
                    <a:pt x="51" y="0"/>
                    <a:pt x="101" y="0"/>
                  </a:cubicBezTo>
                  <a:cubicBezTo>
                    <a:pt x="157" y="0"/>
                    <a:pt x="203" y="45"/>
                    <a:pt x="203" y="102"/>
                  </a:cubicBezTo>
                  <a:cubicBezTo>
                    <a:pt x="203" y="151"/>
                    <a:pt x="168" y="193"/>
                    <a:pt x="120" y="202"/>
                  </a:cubicBezTo>
                  <a:cubicBezTo>
                    <a:pt x="120" y="202"/>
                    <a:pt x="119" y="202"/>
                    <a:pt x="119" y="20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0" name="Freeform 283">
              <a:extLst>
                <a:ext uri="{FF2B5EF4-FFF2-40B4-BE49-F238E27FC236}">
                  <a16:creationId xmlns:a16="http://schemas.microsoft.com/office/drawing/2014/main" id="{D206D078-0F85-2B67-045B-97AC199643DD}"/>
                </a:ext>
              </a:extLst>
            </p:cNvPr>
            <p:cNvSpPr>
              <a:spLocks/>
            </p:cNvSpPr>
            <p:nvPr/>
          </p:nvSpPr>
          <p:spPr bwMode="auto">
            <a:xfrm>
              <a:off x="-7167908" y="3672002"/>
              <a:ext cx="395370" cy="95182"/>
            </a:xfrm>
            <a:custGeom>
              <a:avLst/>
              <a:gdLst>
                <a:gd name="T0" fmla="*/ 71 w 143"/>
                <a:gd name="T1" fmla="*/ 35 h 35"/>
                <a:gd name="T2" fmla="*/ 1 w 143"/>
                <a:gd name="T3" fmla="*/ 7 h 35"/>
                <a:gd name="T4" fmla="*/ 1 w 143"/>
                <a:gd name="T5" fmla="*/ 2 h 35"/>
                <a:gd name="T6" fmla="*/ 6 w 143"/>
                <a:gd name="T7" fmla="*/ 2 h 35"/>
                <a:gd name="T8" fmla="*/ 71 w 143"/>
                <a:gd name="T9" fmla="*/ 28 h 35"/>
                <a:gd name="T10" fmla="*/ 137 w 143"/>
                <a:gd name="T11" fmla="*/ 2 h 35"/>
                <a:gd name="T12" fmla="*/ 142 w 143"/>
                <a:gd name="T13" fmla="*/ 2 h 35"/>
                <a:gd name="T14" fmla="*/ 142 w 143"/>
                <a:gd name="T15" fmla="*/ 7 h 35"/>
                <a:gd name="T16" fmla="*/ 71 w 143"/>
                <a:gd name="T17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3" h="35">
                  <a:moveTo>
                    <a:pt x="71" y="35"/>
                  </a:moveTo>
                  <a:cubicBezTo>
                    <a:pt x="45" y="35"/>
                    <a:pt x="20" y="25"/>
                    <a:pt x="1" y="7"/>
                  </a:cubicBezTo>
                  <a:cubicBezTo>
                    <a:pt x="0" y="6"/>
                    <a:pt x="0" y="4"/>
                    <a:pt x="1" y="2"/>
                  </a:cubicBezTo>
                  <a:cubicBezTo>
                    <a:pt x="2" y="1"/>
                    <a:pt x="5" y="1"/>
                    <a:pt x="6" y="2"/>
                  </a:cubicBezTo>
                  <a:cubicBezTo>
                    <a:pt x="24" y="19"/>
                    <a:pt x="47" y="28"/>
                    <a:pt x="71" y="28"/>
                  </a:cubicBezTo>
                  <a:cubicBezTo>
                    <a:pt x="96" y="28"/>
                    <a:pt x="119" y="19"/>
                    <a:pt x="137" y="2"/>
                  </a:cubicBezTo>
                  <a:cubicBezTo>
                    <a:pt x="138" y="0"/>
                    <a:pt x="140" y="0"/>
                    <a:pt x="142" y="2"/>
                  </a:cubicBezTo>
                  <a:cubicBezTo>
                    <a:pt x="143" y="3"/>
                    <a:pt x="143" y="6"/>
                    <a:pt x="142" y="7"/>
                  </a:cubicBezTo>
                  <a:cubicBezTo>
                    <a:pt x="123" y="25"/>
                    <a:pt x="98" y="35"/>
                    <a:pt x="71" y="3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1" name="Freeform 284">
              <a:extLst>
                <a:ext uri="{FF2B5EF4-FFF2-40B4-BE49-F238E27FC236}">
                  <a16:creationId xmlns:a16="http://schemas.microsoft.com/office/drawing/2014/main" id="{864E287A-5A0A-FFC4-25FA-36D3A614AAD7}"/>
                </a:ext>
              </a:extLst>
            </p:cNvPr>
            <p:cNvSpPr>
              <a:spLocks/>
            </p:cNvSpPr>
            <p:nvPr/>
          </p:nvSpPr>
          <p:spPr bwMode="auto">
            <a:xfrm>
              <a:off x="-7142283" y="3994156"/>
              <a:ext cx="366083" cy="91522"/>
            </a:xfrm>
            <a:custGeom>
              <a:avLst/>
              <a:gdLst>
                <a:gd name="T0" fmla="*/ 129 w 133"/>
                <a:gd name="T1" fmla="*/ 34 h 34"/>
                <a:gd name="T2" fmla="*/ 126 w 133"/>
                <a:gd name="T3" fmla="*/ 33 h 34"/>
                <a:gd name="T4" fmla="*/ 62 w 133"/>
                <a:gd name="T5" fmla="*/ 8 h 34"/>
                <a:gd name="T6" fmla="*/ 6 w 133"/>
                <a:gd name="T7" fmla="*/ 26 h 34"/>
                <a:gd name="T8" fmla="*/ 1 w 133"/>
                <a:gd name="T9" fmla="*/ 25 h 34"/>
                <a:gd name="T10" fmla="*/ 2 w 133"/>
                <a:gd name="T11" fmla="*/ 20 h 34"/>
                <a:gd name="T12" fmla="*/ 62 w 133"/>
                <a:gd name="T13" fmla="*/ 0 h 34"/>
                <a:gd name="T14" fmla="*/ 131 w 133"/>
                <a:gd name="T15" fmla="*/ 27 h 34"/>
                <a:gd name="T16" fmla="*/ 131 w 133"/>
                <a:gd name="T17" fmla="*/ 32 h 34"/>
                <a:gd name="T18" fmla="*/ 129 w 133"/>
                <a:gd name="T1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3" h="34">
                  <a:moveTo>
                    <a:pt x="129" y="34"/>
                  </a:moveTo>
                  <a:cubicBezTo>
                    <a:pt x="128" y="34"/>
                    <a:pt x="127" y="33"/>
                    <a:pt x="126" y="33"/>
                  </a:cubicBezTo>
                  <a:cubicBezTo>
                    <a:pt x="109" y="16"/>
                    <a:pt x="86" y="8"/>
                    <a:pt x="62" y="8"/>
                  </a:cubicBezTo>
                  <a:cubicBezTo>
                    <a:pt x="42" y="8"/>
                    <a:pt x="22" y="14"/>
                    <a:pt x="6" y="26"/>
                  </a:cubicBezTo>
                  <a:cubicBezTo>
                    <a:pt x="5" y="27"/>
                    <a:pt x="2" y="27"/>
                    <a:pt x="1" y="25"/>
                  </a:cubicBezTo>
                  <a:cubicBezTo>
                    <a:pt x="0" y="23"/>
                    <a:pt x="0" y="21"/>
                    <a:pt x="2" y="20"/>
                  </a:cubicBezTo>
                  <a:cubicBezTo>
                    <a:pt x="19" y="7"/>
                    <a:pt x="40" y="0"/>
                    <a:pt x="62" y="0"/>
                  </a:cubicBezTo>
                  <a:cubicBezTo>
                    <a:pt x="88" y="0"/>
                    <a:pt x="112" y="10"/>
                    <a:pt x="131" y="27"/>
                  </a:cubicBezTo>
                  <a:cubicBezTo>
                    <a:pt x="133" y="29"/>
                    <a:pt x="133" y="31"/>
                    <a:pt x="131" y="32"/>
                  </a:cubicBezTo>
                  <a:cubicBezTo>
                    <a:pt x="131" y="33"/>
                    <a:pt x="130" y="34"/>
                    <a:pt x="129" y="3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2" name="Freeform 285">
              <a:extLst>
                <a:ext uri="{FF2B5EF4-FFF2-40B4-BE49-F238E27FC236}">
                  <a16:creationId xmlns:a16="http://schemas.microsoft.com/office/drawing/2014/main" id="{16BB494D-AC54-6FDC-036B-5A295384BD7F}"/>
                </a:ext>
              </a:extLst>
            </p:cNvPr>
            <p:cNvSpPr>
              <a:spLocks/>
            </p:cNvSpPr>
            <p:nvPr/>
          </p:nvSpPr>
          <p:spPr bwMode="auto">
            <a:xfrm>
              <a:off x="-7123978" y="3598786"/>
              <a:ext cx="303850" cy="541803"/>
            </a:xfrm>
            <a:custGeom>
              <a:avLst/>
              <a:gdLst>
                <a:gd name="T0" fmla="*/ 77 w 110"/>
                <a:gd name="T1" fmla="*/ 195 h 195"/>
                <a:gd name="T2" fmla="*/ 74 w 110"/>
                <a:gd name="T3" fmla="*/ 194 h 195"/>
                <a:gd name="T4" fmla="*/ 75 w 110"/>
                <a:gd name="T5" fmla="*/ 188 h 195"/>
                <a:gd name="T6" fmla="*/ 103 w 110"/>
                <a:gd name="T7" fmla="*/ 102 h 195"/>
                <a:gd name="T8" fmla="*/ 55 w 110"/>
                <a:gd name="T9" fmla="*/ 7 h 195"/>
                <a:gd name="T10" fmla="*/ 7 w 110"/>
                <a:gd name="T11" fmla="*/ 102 h 195"/>
                <a:gd name="T12" fmla="*/ 26 w 110"/>
                <a:gd name="T13" fmla="*/ 178 h 195"/>
                <a:gd name="T14" fmla="*/ 25 w 110"/>
                <a:gd name="T15" fmla="*/ 183 h 195"/>
                <a:gd name="T16" fmla="*/ 20 w 110"/>
                <a:gd name="T17" fmla="*/ 182 h 195"/>
                <a:gd name="T18" fmla="*/ 0 w 110"/>
                <a:gd name="T19" fmla="*/ 102 h 195"/>
                <a:gd name="T20" fmla="*/ 55 w 110"/>
                <a:gd name="T21" fmla="*/ 0 h 195"/>
                <a:gd name="T22" fmla="*/ 110 w 110"/>
                <a:gd name="T23" fmla="*/ 102 h 195"/>
                <a:gd name="T24" fmla="*/ 79 w 110"/>
                <a:gd name="T25" fmla="*/ 194 h 195"/>
                <a:gd name="T26" fmla="*/ 77 w 110"/>
                <a:gd name="T27" fmla="*/ 195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0" h="195">
                  <a:moveTo>
                    <a:pt x="77" y="195"/>
                  </a:moveTo>
                  <a:cubicBezTo>
                    <a:pt x="76" y="195"/>
                    <a:pt x="75" y="194"/>
                    <a:pt x="74" y="194"/>
                  </a:cubicBezTo>
                  <a:cubicBezTo>
                    <a:pt x="73" y="192"/>
                    <a:pt x="73" y="190"/>
                    <a:pt x="75" y="188"/>
                  </a:cubicBezTo>
                  <a:cubicBezTo>
                    <a:pt x="92" y="173"/>
                    <a:pt x="103" y="139"/>
                    <a:pt x="103" y="102"/>
                  </a:cubicBezTo>
                  <a:cubicBezTo>
                    <a:pt x="103" y="49"/>
                    <a:pt x="82" y="7"/>
                    <a:pt x="55" y="7"/>
                  </a:cubicBezTo>
                  <a:cubicBezTo>
                    <a:pt x="29" y="7"/>
                    <a:pt x="7" y="49"/>
                    <a:pt x="7" y="102"/>
                  </a:cubicBezTo>
                  <a:cubicBezTo>
                    <a:pt x="7" y="132"/>
                    <a:pt x="14" y="159"/>
                    <a:pt x="26" y="178"/>
                  </a:cubicBezTo>
                  <a:cubicBezTo>
                    <a:pt x="27" y="179"/>
                    <a:pt x="27" y="181"/>
                    <a:pt x="25" y="183"/>
                  </a:cubicBezTo>
                  <a:cubicBezTo>
                    <a:pt x="24" y="184"/>
                    <a:pt x="21" y="183"/>
                    <a:pt x="20" y="182"/>
                  </a:cubicBezTo>
                  <a:cubicBezTo>
                    <a:pt x="7" y="162"/>
                    <a:pt x="0" y="133"/>
                    <a:pt x="0" y="102"/>
                  </a:cubicBezTo>
                  <a:cubicBezTo>
                    <a:pt x="0" y="44"/>
                    <a:pt x="24" y="0"/>
                    <a:pt x="55" y="0"/>
                  </a:cubicBezTo>
                  <a:cubicBezTo>
                    <a:pt x="86" y="0"/>
                    <a:pt x="110" y="44"/>
                    <a:pt x="110" y="102"/>
                  </a:cubicBezTo>
                  <a:cubicBezTo>
                    <a:pt x="110" y="141"/>
                    <a:pt x="99" y="177"/>
                    <a:pt x="79" y="194"/>
                  </a:cubicBezTo>
                  <a:cubicBezTo>
                    <a:pt x="79" y="194"/>
                    <a:pt x="78" y="195"/>
                    <a:pt x="77" y="19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3" name="Freeform 286">
              <a:extLst>
                <a:ext uri="{FF2B5EF4-FFF2-40B4-BE49-F238E27FC236}">
                  <a16:creationId xmlns:a16="http://schemas.microsoft.com/office/drawing/2014/main" id="{3ED11BE3-EDE4-F3DE-26B8-2B5BE8CEEF39}"/>
                </a:ext>
              </a:extLst>
            </p:cNvPr>
            <p:cNvSpPr>
              <a:spLocks/>
            </p:cNvSpPr>
            <p:nvPr/>
          </p:nvSpPr>
          <p:spPr bwMode="auto">
            <a:xfrm>
              <a:off x="-7197195" y="3869687"/>
              <a:ext cx="505195" cy="21965"/>
            </a:xfrm>
            <a:custGeom>
              <a:avLst/>
              <a:gdLst>
                <a:gd name="T0" fmla="*/ 180 w 183"/>
                <a:gd name="T1" fmla="*/ 7 h 7"/>
                <a:gd name="T2" fmla="*/ 4 w 183"/>
                <a:gd name="T3" fmla="*/ 7 h 7"/>
                <a:gd name="T4" fmla="*/ 0 w 183"/>
                <a:gd name="T5" fmla="*/ 4 h 7"/>
                <a:gd name="T6" fmla="*/ 4 w 183"/>
                <a:gd name="T7" fmla="*/ 0 h 7"/>
                <a:gd name="T8" fmla="*/ 180 w 183"/>
                <a:gd name="T9" fmla="*/ 0 h 7"/>
                <a:gd name="T10" fmla="*/ 183 w 183"/>
                <a:gd name="T11" fmla="*/ 4 h 7"/>
                <a:gd name="T12" fmla="*/ 180 w 183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3" h="7">
                  <a:moveTo>
                    <a:pt x="180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80" y="0"/>
                    <a:pt x="180" y="0"/>
                    <a:pt x="180" y="0"/>
                  </a:cubicBezTo>
                  <a:cubicBezTo>
                    <a:pt x="182" y="0"/>
                    <a:pt x="183" y="2"/>
                    <a:pt x="183" y="4"/>
                  </a:cubicBezTo>
                  <a:cubicBezTo>
                    <a:pt x="183" y="6"/>
                    <a:pt x="182" y="7"/>
                    <a:pt x="180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4" name="Freeform 287">
              <a:extLst>
                <a:ext uri="{FF2B5EF4-FFF2-40B4-BE49-F238E27FC236}">
                  <a16:creationId xmlns:a16="http://schemas.microsoft.com/office/drawing/2014/main" id="{9ACF13B4-9633-C7E1-AD9E-006B7548A8F9}"/>
                </a:ext>
              </a:extLst>
            </p:cNvPr>
            <p:cNvSpPr>
              <a:spLocks/>
            </p:cNvSpPr>
            <p:nvPr/>
          </p:nvSpPr>
          <p:spPr bwMode="auto">
            <a:xfrm>
              <a:off x="-6981207" y="3598786"/>
              <a:ext cx="18305" cy="508857"/>
            </a:xfrm>
            <a:custGeom>
              <a:avLst/>
              <a:gdLst>
                <a:gd name="T0" fmla="*/ 3 w 7"/>
                <a:gd name="T1" fmla="*/ 183 h 183"/>
                <a:gd name="T2" fmla="*/ 0 w 7"/>
                <a:gd name="T3" fmla="*/ 179 h 183"/>
                <a:gd name="T4" fmla="*/ 0 w 7"/>
                <a:gd name="T5" fmla="*/ 3 h 183"/>
                <a:gd name="T6" fmla="*/ 3 w 7"/>
                <a:gd name="T7" fmla="*/ 0 h 183"/>
                <a:gd name="T8" fmla="*/ 7 w 7"/>
                <a:gd name="T9" fmla="*/ 3 h 183"/>
                <a:gd name="T10" fmla="*/ 7 w 7"/>
                <a:gd name="T11" fmla="*/ 179 h 183"/>
                <a:gd name="T12" fmla="*/ 3 w 7"/>
                <a:gd name="T13" fmla="*/ 183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83">
                  <a:moveTo>
                    <a:pt x="3" y="183"/>
                  </a:moveTo>
                  <a:cubicBezTo>
                    <a:pt x="1" y="183"/>
                    <a:pt x="0" y="181"/>
                    <a:pt x="0" y="179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5" y="0"/>
                    <a:pt x="7" y="1"/>
                    <a:pt x="7" y="3"/>
                  </a:cubicBezTo>
                  <a:cubicBezTo>
                    <a:pt x="7" y="179"/>
                    <a:pt x="7" y="179"/>
                    <a:pt x="7" y="179"/>
                  </a:cubicBezTo>
                  <a:cubicBezTo>
                    <a:pt x="7" y="181"/>
                    <a:pt x="5" y="183"/>
                    <a:pt x="3" y="18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5" name="Freeform 288">
              <a:extLst>
                <a:ext uri="{FF2B5EF4-FFF2-40B4-BE49-F238E27FC236}">
                  <a16:creationId xmlns:a16="http://schemas.microsoft.com/office/drawing/2014/main" id="{D74C32F0-55D0-E788-132C-8726B99146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314341" y="3822095"/>
              <a:ext cx="406353" cy="402691"/>
            </a:xfrm>
            <a:custGeom>
              <a:avLst/>
              <a:gdLst>
                <a:gd name="T0" fmla="*/ 101 w 147"/>
                <a:gd name="T1" fmla="*/ 145 h 146"/>
                <a:gd name="T2" fmla="*/ 64 w 147"/>
                <a:gd name="T3" fmla="*/ 129 h 146"/>
                <a:gd name="T4" fmla="*/ 21 w 147"/>
                <a:gd name="T5" fmla="*/ 88 h 146"/>
                <a:gd name="T6" fmla="*/ 3 w 147"/>
                <a:gd name="T7" fmla="*/ 55 h 146"/>
                <a:gd name="T8" fmla="*/ 0 w 147"/>
                <a:gd name="T9" fmla="*/ 35 h 146"/>
                <a:gd name="T10" fmla="*/ 0 w 147"/>
                <a:gd name="T11" fmla="*/ 32 h 146"/>
                <a:gd name="T12" fmla="*/ 5 w 147"/>
                <a:gd name="T13" fmla="*/ 22 h 146"/>
                <a:gd name="T14" fmla="*/ 32 w 147"/>
                <a:gd name="T15" fmla="*/ 0 h 146"/>
                <a:gd name="T16" fmla="*/ 41 w 147"/>
                <a:gd name="T17" fmla="*/ 5 h 146"/>
                <a:gd name="T18" fmla="*/ 57 w 147"/>
                <a:gd name="T19" fmla="*/ 35 h 146"/>
                <a:gd name="T20" fmla="*/ 54 w 147"/>
                <a:gd name="T21" fmla="*/ 49 h 146"/>
                <a:gd name="T22" fmla="*/ 50 w 147"/>
                <a:gd name="T23" fmla="*/ 62 h 146"/>
                <a:gd name="T24" fmla="*/ 65 w 147"/>
                <a:gd name="T25" fmla="*/ 81 h 146"/>
                <a:gd name="T26" fmla="*/ 84 w 147"/>
                <a:gd name="T27" fmla="*/ 97 h 146"/>
                <a:gd name="T28" fmla="*/ 90 w 147"/>
                <a:gd name="T29" fmla="*/ 99 h 146"/>
                <a:gd name="T30" fmla="*/ 91 w 147"/>
                <a:gd name="T31" fmla="*/ 97 h 146"/>
                <a:gd name="T32" fmla="*/ 98 w 147"/>
                <a:gd name="T33" fmla="*/ 90 h 146"/>
                <a:gd name="T34" fmla="*/ 112 w 147"/>
                <a:gd name="T35" fmla="*/ 88 h 146"/>
                <a:gd name="T36" fmla="*/ 141 w 147"/>
                <a:gd name="T37" fmla="*/ 105 h 146"/>
                <a:gd name="T38" fmla="*/ 146 w 147"/>
                <a:gd name="T39" fmla="*/ 113 h 146"/>
                <a:gd name="T40" fmla="*/ 124 w 147"/>
                <a:gd name="T41" fmla="*/ 141 h 146"/>
                <a:gd name="T42" fmla="*/ 114 w 147"/>
                <a:gd name="T43" fmla="*/ 146 h 146"/>
                <a:gd name="T44" fmla="*/ 113 w 147"/>
                <a:gd name="T45" fmla="*/ 146 h 146"/>
                <a:gd name="T46" fmla="*/ 7 w 147"/>
                <a:gd name="T47" fmla="*/ 33 h 146"/>
                <a:gd name="T48" fmla="*/ 8 w 147"/>
                <a:gd name="T49" fmla="*/ 42 h 146"/>
                <a:gd name="T50" fmla="*/ 16 w 147"/>
                <a:gd name="T51" fmla="*/ 67 h 146"/>
                <a:gd name="T52" fmla="*/ 44 w 147"/>
                <a:gd name="T53" fmla="*/ 102 h 146"/>
                <a:gd name="T54" fmla="*/ 87 w 147"/>
                <a:gd name="T55" fmla="*/ 134 h 146"/>
                <a:gd name="T56" fmla="*/ 111 w 147"/>
                <a:gd name="T57" fmla="*/ 139 h 146"/>
                <a:gd name="T58" fmla="*/ 113 w 147"/>
                <a:gd name="T59" fmla="*/ 139 h 146"/>
                <a:gd name="T60" fmla="*/ 118 w 147"/>
                <a:gd name="T61" fmla="*/ 136 h 146"/>
                <a:gd name="T62" fmla="*/ 139 w 147"/>
                <a:gd name="T63" fmla="*/ 114 h 146"/>
                <a:gd name="T64" fmla="*/ 109 w 147"/>
                <a:gd name="T65" fmla="*/ 95 h 146"/>
                <a:gd name="T66" fmla="*/ 106 w 147"/>
                <a:gd name="T67" fmla="*/ 94 h 146"/>
                <a:gd name="T68" fmla="*/ 94 w 147"/>
                <a:gd name="T69" fmla="*/ 104 h 146"/>
                <a:gd name="T70" fmla="*/ 89 w 147"/>
                <a:gd name="T71" fmla="*/ 106 h 146"/>
                <a:gd name="T72" fmla="*/ 81 w 147"/>
                <a:gd name="T73" fmla="*/ 103 h 146"/>
                <a:gd name="T74" fmla="*/ 60 w 147"/>
                <a:gd name="T75" fmla="*/ 86 h 146"/>
                <a:gd name="T76" fmla="*/ 43 w 147"/>
                <a:gd name="T77" fmla="*/ 65 h 146"/>
                <a:gd name="T78" fmla="*/ 40 w 147"/>
                <a:gd name="T79" fmla="*/ 56 h 146"/>
                <a:gd name="T80" fmla="*/ 42 w 147"/>
                <a:gd name="T81" fmla="*/ 52 h 146"/>
                <a:gd name="T82" fmla="*/ 51 w 147"/>
                <a:gd name="T83" fmla="*/ 41 h 146"/>
                <a:gd name="T84" fmla="*/ 35 w 147"/>
                <a:gd name="T85" fmla="*/ 9 h 146"/>
                <a:gd name="T86" fmla="*/ 32 w 147"/>
                <a:gd name="T87" fmla="*/ 7 h 146"/>
                <a:gd name="T88" fmla="*/ 10 w 147"/>
                <a:gd name="T89" fmla="*/ 27 h 146"/>
                <a:gd name="T90" fmla="*/ 7 w 147"/>
                <a:gd name="T91" fmla="*/ 33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47" h="146">
                  <a:moveTo>
                    <a:pt x="111" y="146"/>
                  </a:moveTo>
                  <a:cubicBezTo>
                    <a:pt x="108" y="146"/>
                    <a:pt x="105" y="146"/>
                    <a:pt x="101" y="145"/>
                  </a:cubicBezTo>
                  <a:cubicBezTo>
                    <a:pt x="96" y="144"/>
                    <a:pt x="91" y="143"/>
                    <a:pt x="85" y="140"/>
                  </a:cubicBezTo>
                  <a:cubicBezTo>
                    <a:pt x="78" y="138"/>
                    <a:pt x="71" y="134"/>
                    <a:pt x="64" y="129"/>
                  </a:cubicBezTo>
                  <a:cubicBezTo>
                    <a:pt x="56" y="123"/>
                    <a:pt x="47" y="116"/>
                    <a:pt x="38" y="107"/>
                  </a:cubicBezTo>
                  <a:cubicBezTo>
                    <a:pt x="32" y="101"/>
                    <a:pt x="26" y="94"/>
                    <a:pt x="21" y="88"/>
                  </a:cubicBezTo>
                  <a:cubicBezTo>
                    <a:pt x="16" y="81"/>
                    <a:pt x="13" y="75"/>
                    <a:pt x="10" y="70"/>
                  </a:cubicBezTo>
                  <a:cubicBezTo>
                    <a:pt x="7" y="65"/>
                    <a:pt x="5" y="59"/>
                    <a:pt x="3" y="55"/>
                  </a:cubicBezTo>
                  <a:cubicBezTo>
                    <a:pt x="2" y="51"/>
                    <a:pt x="1" y="47"/>
                    <a:pt x="0" y="43"/>
                  </a:cubicBezTo>
                  <a:cubicBezTo>
                    <a:pt x="0" y="40"/>
                    <a:pt x="0" y="37"/>
                    <a:pt x="0" y="35"/>
                  </a:cubicBezTo>
                  <a:cubicBezTo>
                    <a:pt x="0" y="34"/>
                    <a:pt x="0" y="33"/>
                    <a:pt x="0" y="33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0"/>
                    <a:pt x="1" y="29"/>
                    <a:pt x="2" y="27"/>
                  </a:cubicBezTo>
                  <a:cubicBezTo>
                    <a:pt x="3" y="25"/>
                    <a:pt x="4" y="23"/>
                    <a:pt x="5" y="22"/>
                  </a:cubicBezTo>
                  <a:cubicBezTo>
                    <a:pt x="24" y="3"/>
                    <a:pt x="24" y="3"/>
                    <a:pt x="24" y="3"/>
                  </a:cubicBezTo>
                  <a:cubicBezTo>
                    <a:pt x="27" y="1"/>
                    <a:pt x="29" y="0"/>
                    <a:pt x="32" y="0"/>
                  </a:cubicBezTo>
                  <a:cubicBezTo>
                    <a:pt x="34" y="0"/>
                    <a:pt x="36" y="0"/>
                    <a:pt x="37" y="1"/>
                  </a:cubicBezTo>
                  <a:cubicBezTo>
                    <a:pt x="39" y="2"/>
                    <a:pt x="40" y="4"/>
                    <a:pt x="41" y="5"/>
                  </a:cubicBezTo>
                  <a:cubicBezTo>
                    <a:pt x="41" y="5"/>
                    <a:pt x="41" y="5"/>
                    <a:pt x="41" y="5"/>
                  </a:cubicBezTo>
                  <a:cubicBezTo>
                    <a:pt x="57" y="35"/>
                    <a:pt x="57" y="35"/>
                    <a:pt x="57" y="35"/>
                  </a:cubicBezTo>
                  <a:cubicBezTo>
                    <a:pt x="58" y="38"/>
                    <a:pt x="58" y="40"/>
                    <a:pt x="58" y="43"/>
                  </a:cubicBezTo>
                  <a:cubicBezTo>
                    <a:pt x="57" y="45"/>
                    <a:pt x="56" y="48"/>
                    <a:pt x="54" y="49"/>
                  </a:cubicBezTo>
                  <a:cubicBezTo>
                    <a:pt x="47" y="56"/>
                    <a:pt x="47" y="56"/>
                    <a:pt x="47" y="56"/>
                  </a:cubicBezTo>
                  <a:cubicBezTo>
                    <a:pt x="48" y="58"/>
                    <a:pt x="48" y="60"/>
                    <a:pt x="50" y="62"/>
                  </a:cubicBezTo>
                  <a:cubicBezTo>
                    <a:pt x="51" y="64"/>
                    <a:pt x="52" y="67"/>
                    <a:pt x="55" y="70"/>
                  </a:cubicBezTo>
                  <a:cubicBezTo>
                    <a:pt x="57" y="73"/>
                    <a:pt x="60" y="77"/>
                    <a:pt x="65" y="81"/>
                  </a:cubicBezTo>
                  <a:cubicBezTo>
                    <a:pt x="69" y="85"/>
                    <a:pt x="73" y="89"/>
                    <a:pt x="76" y="91"/>
                  </a:cubicBezTo>
                  <a:cubicBezTo>
                    <a:pt x="79" y="94"/>
                    <a:pt x="82" y="95"/>
                    <a:pt x="84" y="97"/>
                  </a:cubicBezTo>
                  <a:cubicBezTo>
                    <a:pt x="87" y="98"/>
                    <a:pt x="88" y="98"/>
                    <a:pt x="89" y="98"/>
                  </a:cubicBezTo>
                  <a:cubicBezTo>
                    <a:pt x="90" y="99"/>
                    <a:pt x="90" y="99"/>
                    <a:pt x="90" y="99"/>
                  </a:cubicBezTo>
                  <a:cubicBezTo>
                    <a:pt x="91" y="97"/>
                    <a:pt x="91" y="97"/>
                    <a:pt x="91" y="97"/>
                  </a:cubicBezTo>
                  <a:cubicBezTo>
                    <a:pt x="91" y="97"/>
                    <a:pt x="91" y="97"/>
                    <a:pt x="91" y="97"/>
                  </a:cubicBezTo>
                  <a:cubicBezTo>
                    <a:pt x="98" y="90"/>
                    <a:pt x="98" y="90"/>
                    <a:pt x="98" y="90"/>
                  </a:cubicBezTo>
                  <a:cubicBezTo>
                    <a:pt x="98" y="90"/>
                    <a:pt x="98" y="90"/>
                    <a:pt x="98" y="90"/>
                  </a:cubicBezTo>
                  <a:cubicBezTo>
                    <a:pt x="100" y="88"/>
                    <a:pt x="103" y="87"/>
                    <a:pt x="106" y="87"/>
                  </a:cubicBezTo>
                  <a:cubicBezTo>
                    <a:pt x="108" y="87"/>
                    <a:pt x="110" y="87"/>
                    <a:pt x="112" y="88"/>
                  </a:cubicBezTo>
                  <a:cubicBezTo>
                    <a:pt x="112" y="88"/>
                    <a:pt x="112" y="88"/>
                    <a:pt x="112" y="88"/>
                  </a:cubicBezTo>
                  <a:cubicBezTo>
                    <a:pt x="141" y="105"/>
                    <a:pt x="141" y="105"/>
                    <a:pt x="141" y="105"/>
                  </a:cubicBezTo>
                  <a:cubicBezTo>
                    <a:pt x="144" y="107"/>
                    <a:pt x="146" y="109"/>
                    <a:pt x="146" y="112"/>
                  </a:cubicBezTo>
                  <a:cubicBezTo>
                    <a:pt x="146" y="113"/>
                    <a:pt x="146" y="113"/>
                    <a:pt x="146" y="113"/>
                  </a:cubicBezTo>
                  <a:cubicBezTo>
                    <a:pt x="147" y="116"/>
                    <a:pt x="146" y="119"/>
                    <a:pt x="143" y="122"/>
                  </a:cubicBezTo>
                  <a:cubicBezTo>
                    <a:pt x="124" y="141"/>
                    <a:pt x="124" y="141"/>
                    <a:pt x="124" y="141"/>
                  </a:cubicBezTo>
                  <a:cubicBezTo>
                    <a:pt x="122" y="142"/>
                    <a:pt x="121" y="143"/>
                    <a:pt x="119" y="144"/>
                  </a:cubicBezTo>
                  <a:cubicBezTo>
                    <a:pt x="117" y="145"/>
                    <a:pt x="116" y="146"/>
                    <a:pt x="114" y="146"/>
                  </a:cubicBezTo>
                  <a:cubicBezTo>
                    <a:pt x="114" y="146"/>
                    <a:pt x="113" y="146"/>
                    <a:pt x="113" y="146"/>
                  </a:cubicBezTo>
                  <a:cubicBezTo>
                    <a:pt x="113" y="146"/>
                    <a:pt x="113" y="146"/>
                    <a:pt x="113" y="146"/>
                  </a:cubicBezTo>
                  <a:cubicBezTo>
                    <a:pt x="112" y="146"/>
                    <a:pt x="111" y="146"/>
                    <a:pt x="111" y="146"/>
                  </a:cubicBezTo>
                  <a:close/>
                  <a:moveTo>
                    <a:pt x="7" y="33"/>
                  </a:moveTo>
                  <a:cubicBezTo>
                    <a:pt x="7" y="33"/>
                    <a:pt x="7" y="34"/>
                    <a:pt x="7" y="36"/>
                  </a:cubicBezTo>
                  <a:cubicBezTo>
                    <a:pt x="7" y="37"/>
                    <a:pt x="7" y="39"/>
                    <a:pt x="8" y="42"/>
                  </a:cubicBezTo>
                  <a:cubicBezTo>
                    <a:pt x="8" y="45"/>
                    <a:pt x="9" y="49"/>
                    <a:pt x="10" y="53"/>
                  </a:cubicBezTo>
                  <a:cubicBezTo>
                    <a:pt x="12" y="57"/>
                    <a:pt x="14" y="62"/>
                    <a:pt x="16" y="67"/>
                  </a:cubicBezTo>
                  <a:cubicBezTo>
                    <a:pt x="19" y="72"/>
                    <a:pt x="22" y="77"/>
                    <a:pt x="27" y="83"/>
                  </a:cubicBezTo>
                  <a:cubicBezTo>
                    <a:pt x="31" y="89"/>
                    <a:pt x="37" y="96"/>
                    <a:pt x="44" y="102"/>
                  </a:cubicBezTo>
                  <a:cubicBezTo>
                    <a:pt x="52" y="111"/>
                    <a:pt x="60" y="118"/>
                    <a:pt x="67" y="123"/>
                  </a:cubicBezTo>
                  <a:cubicBezTo>
                    <a:pt x="75" y="127"/>
                    <a:pt x="82" y="131"/>
                    <a:pt x="87" y="134"/>
                  </a:cubicBezTo>
                  <a:cubicBezTo>
                    <a:pt x="93" y="136"/>
                    <a:pt x="98" y="137"/>
                    <a:pt x="102" y="138"/>
                  </a:cubicBezTo>
                  <a:cubicBezTo>
                    <a:pt x="107" y="139"/>
                    <a:pt x="109" y="139"/>
                    <a:pt x="111" y="139"/>
                  </a:cubicBezTo>
                  <a:cubicBezTo>
                    <a:pt x="111" y="139"/>
                    <a:pt x="112" y="139"/>
                    <a:pt x="112" y="139"/>
                  </a:cubicBezTo>
                  <a:cubicBezTo>
                    <a:pt x="112" y="139"/>
                    <a:pt x="113" y="139"/>
                    <a:pt x="113" y="139"/>
                  </a:cubicBezTo>
                  <a:cubicBezTo>
                    <a:pt x="114" y="139"/>
                    <a:pt x="115" y="138"/>
                    <a:pt x="116" y="138"/>
                  </a:cubicBezTo>
                  <a:cubicBezTo>
                    <a:pt x="117" y="137"/>
                    <a:pt x="118" y="137"/>
                    <a:pt x="118" y="136"/>
                  </a:cubicBezTo>
                  <a:cubicBezTo>
                    <a:pt x="138" y="117"/>
                    <a:pt x="138" y="117"/>
                    <a:pt x="138" y="117"/>
                  </a:cubicBezTo>
                  <a:cubicBezTo>
                    <a:pt x="139" y="116"/>
                    <a:pt x="139" y="115"/>
                    <a:pt x="139" y="114"/>
                  </a:cubicBezTo>
                  <a:cubicBezTo>
                    <a:pt x="139" y="113"/>
                    <a:pt x="139" y="112"/>
                    <a:pt x="137" y="111"/>
                  </a:cubicBezTo>
                  <a:cubicBezTo>
                    <a:pt x="109" y="95"/>
                    <a:pt x="109" y="95"/>
                    <a:pt x="109" y="95"/>
                  </a:cubicBezTo>
                  <a:cubicBezTo>
                    <a:pt x="109" y="95"/>
                    <a:pt x="109" y="95"/>
                    <a:pt x="109" y="95"/>
                  </a:cubicBezTo>
                  <a:cubicBezTo>
                    <a:pt x="108" y="94"/>
                    <a:pt x="108" y="94"/>
                    <a:pt x="106" y="94"/>
                  </a:cubicBezTo>
                  <a:cubicBezTo>
                    <a:pt x="105" y="94"/>
                    <a:pt x="104" y="95"/>
                    <a:pt x="103" y="96"/>
                  </a:cubicBezTo>
                  <a:cubicBezTo>
                    <a:pt x="94" y="104"/>
                    <a:pt x="94" y="104"/>
                    <a:pt x="94" y="104"/>
                  </a:cubicBezTo>
                  <a:cubicBezTo>
                    <a:pt x="94" y="105"/>
                    <a:pt x="93" y="105"/>
                    <a:pt x="92" y="105"/>
                  </a:cubicBezTo>
                  <a:cubicBezTo>
                    <a:pt x="91" y="106"/>
                    <a:pt x="90" y="106"/>
                    <a:pt x="89" y="106"/>
                  </a:cubicBezTo>
                  <a:cubicBezTo>
                    <a:pt x="87" y="105"/>
                    <a:pt x="87" y="105"/>
                    <a:pt x="87" y="105"/>
                  </a:cubicBezTo>
                  <a:cubicBezTo>
                    <a:pt x="86" y="105"/>
                    <a:pt x="84" y="104"/>
                    <a:pt x="81" y="103"/>
                  </a:cubicBezTo>
                  <a:cubicBezTo>
                    <a:pt x="79" y="102"/>
                    <a:pt x="76" y="100"/>
                    <a:pt x="72" y="97"/>
                  </a:cubicBezTo>
                  <a:cubicBezTo>
                    <a:pt x="68" y="94"/>
                    <a:pt x="64" y="91"/>
                    <a:pt x="60" y="86"/>
                  </a:cubicBezTo>
                  <a:cubicBezTo>
                    <a:pt x="55" y="82"/>
                    <a:pt x="51" y="78"/>
                    <a:pt x="49" y="74"/>
                  </a:cubicBezTo>
                  <a:cubicBezTo>
                    <a:pt x="46" y="70"/>
                    <a:pt x="44" y="67"/>
                    <a:pt x="43" y="65"/>
                  </a:cubicBezTo>
                  <a:cubicBezTo>
                    <a:pt x="42" y="62"/>
                    <a:pt x="41" y="59"/>
                    <a:pt x="40" y="57"/>
                  </a:cubicBezTo>
                  <a:cubicBezTo>
                    <a:pt x="40" y="57"/>
                    <a:pt x="40" y="56"/>
                    <a:pt x="40" y="56"/>
                  </a:cubicBezTo>
                  <a:cubicBezTo>
                    <a:pt x="40" y="56"/>
                    <a:pt x="40" y="55"/>
                    <a:pt x="40" y="54"/>
                  </a:cubicBezTo>
                  <a:cubicBezTo>
                    <a:pt x="41" y="53"/>
                    <a:pt x="41" y="52"/>
                    <a:pt x="42" y="52"/>
                  </a:cubicBezTo>
                  <a:cubicBezTo>
                    <a:pt x="49" y="44"/>
                    <a:pt x="49" y="44"/>
                    <a:pt x="49" y="44"/>
                  </a:cubicBezTo>
                  <a:cubicBezTo>
                    <a:pt x="50" y="44"/>
                    <a:pt x="50" y="43"/>
                    <a:pt x="51" y="41"/>
                  </a:cubicBezTo>
                  <a:cubicBezTo>
                    <a:pt x="51" y="40"/>
                    <a:pt x="51" y="40"/>
                    <a:pt x="50" y="39"/>
                  </a:cubicBezTo>
                  <a:cubicBezTo>
                    <a:pt x="35" y="9"/>
                    <a:pt x="35" y="9"/>
                    <a:pt x="35" y="9"/>
                  </a:cubicBezTo>
                  <a:cubicBezTo>
                    <a:pt x="34" y="8"/>
                    <a:pt x="34" y="8"/>
                    <a:pt x="33" y="7"/>
                  </a:cubicBezTo>
                  <a:cubicBezTo>
                    <a:pt x="33" y="7"/>
                    <a:pt x="32" y="7"/>
                    <a:pt x="32" y="7"/>
                  </a:cubicBezTo>
                  <a:cubicBezTo>
                    <a:pt x="31" y="7"/>
                    <a:pt x="30" y="7"/>
                    <a:pt x="30" y="8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9" y="28"/>
                    <a:pt x="9" y="29"/>
                    <a:pt x="8" y="30"/>
                  </a:cubicBezTo>
                  <a:cubicBezTo>
                    <a:pt x="8" y="31"/>
                    <a:pt x="7" y="32"/>
                    <a:pt x="7" y="3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4" name="Shape15_20200717_154431">
            <a:extLst>
              <a:ext uri="{FF2B5EF4-FFF2-40B4-BE49-F238E27FC236}">
                <a16:creationId xmlns:a16="http://schemas.microsoft.com/office/drawing/2014/main" id="{CAFC3D50-68A9-A250-D39C-4B9051D6B240}"/>
              </a:ext>
            </a:extLst>
          </p:cNvPr>
          <p:cNvGrpSpPr>
            <a:grpSpLocks noChangeAspect="1"/>
          </p:cNvGrpSpPr>
          <p:nvPr/>
        </p:nvGrpSpPr>
        <p:grpSpPr>
          <a:xfrm>
            <a:off x="3115142" y="2480944"/>
            <a:ext cx="739489" cy="578411"/>
            <a:chOff x="-904227" y="2233295"/>
            <a:chExt cx="739489" cy="578411"/>
          </a:xfrm>
          <a:solidFill>
            <a:schemeClr val="accent1"/>
          </a:solidFill>
        </p:grpSpPr>
        <p:sp>
          <p:nvSpPr>
            <p:cNvPr id="94" name="Freeform 289">
              <a:extLst>
                <a:ext uri="{FF2B5EF4-FFF2-40B4-BE49-F238E27FC236}">
                  <a16:creationId xmlns:a16="http://schemas.microsoft.com/office/drawing/2014/main" id="{DF4B0FC0-FA96-00C0-8B12-51618D42515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904227" y="2233295"/>
              <a:ext cx="314832" cy="377067"/>
            </a:xfrm>
            <a:custGeom>
              <a:avLst/>
              <a:gdLst>
                <a:gd name="T0" fmla="*/ 57 w 114"/>
                <a:gd name="T1" fmla="*/ 137 h 137"/>
                <a:gd name="T2" fmla="*/ 48 w 114"/>
                <a:gd name="T3" fmla="*/ 133 h 137"/>
                <a:gd name="T4" fmla="*/ 13 w 114"/>
                <a:gd name="T5" fmla="*/ 91 h 137"/>
                <a:gd name="T6" fmla="*/ 0 w 114"/>
                <a:gd name="T7" fmla="*/ 55 h 137"/>
                <a:gd name="T8" fmla="*/ 56 w 114"/>
                <a:gd name="T9" fmla="*/ 0 h 137"/>
                <a:gd name="T10" fmla="*/ 58 w 114"/>
                <a:gd name="T11" fmla="*/ 0 h 137"/>
                <a:gd name="T12" fmla="*/ 114 w 114"/>
                <a:gd name="T13" fmla="*/ 55 h 137"/>
                <a:gd name="T14" fmla="*/ 101 w 114"/>
                <a:gd name="T15" fmla="*/ 91 h 137"/>
                <a:gd name="T16" fmla="*/ 65 w 114"/>
                <a:gd name="T17" fmla="*/ 133 h 137"/>
                <a:gd name="T18" fmla="*/ 57 w 114"/>
                <a:gd name="T19" fmla="*/ 137 h 137"/>
                <a:gd name="T20" fmla="*/ 56 w 114"/>
                <a:gd name="T21" fmla="*/ 7 h 137"/>
                <a:gd name="T22" fmla="*/ 7 w 114"/>
                <a:gd name="T23" fmla="*/ 55 h 137"/>
                <a:gd name="T24" fmla="*/ 19 w 114"/>
                <a:gd name="T25" fmla="*/ 87 h 137"/>
                <a:gd name="T26" fmla="*/ 54 w 114"/>
                <a:gd name="T27" fmla="*/ 128 h 137"/>
                <a:gd name="T28" fmla="*/ 60 w 114"/>
                <a:gd name="T29" fmla="*/ 128 h 137"/>
                <a:gd name="T30" fmla="*/ 95 w 114"/>
                <a:gd name="T31" fmla="*/ 87 h 137"/>
                <a:gd name="T32" fmla="*/ 95 w 114"/>
                <a:gd name="T33" fmla="*/ 87 h 137"/>
                <a:gd name="T34" fmla="*/ 106 w 114"/>
                <a:gd name="T35" fmla="*/ 55 h 137"/>
                <a:gd name="T36" fmla="*/ 58 w 114"/>
                <a:gd name="T37" fmla="*/ 7 h 137"/>
                <a:gd name="T38" fmla="*/ 56 w 114"/>
                <a:gd name="T39" fmla="*/ 7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14" h="137">
                  <a:moveTo>
                    <a:pt x="57" y="137"/>
                  </a:moveTo>
                  <a:cubicBezTo>
                    <a:pt x="53" y="137"/>
                    <a:pt x="50" y="136"/>
                    <a:pt x="48" y="133"/>
                  </a:cubicBezTo>
                  <a:cubicBezTo>
                    <a:pt x="13" y="91"/>
                    <a:pt x="13" y="91"/>
                    <a:pt x="13" y="91"/>
                  </a:cubicBezTo>
                  <a:cubicBezTo>
                    <a:pt x="5" y="81"/>
                    <a:pt x="0" y="68"/>
                    <a:pt x="0" y="55"/>
                  </a:cubicBezTo>
                  <a:cubicBezTo>
                    <a:pt x="0" y="25"/>
                    <a:pt x="25" y="0"/>
                    <a:pt x="56" y="0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89" y="0"/>
                    <a:pt x="114" y="25"/>
                    <a:pt x="114" y="55"/>
                  </a:cubicBezTo>
                  <a:cubicBezTo>
                    <a:pt x="114" y="68"/>
                    <a:pt x="109" y="81"/>
                    <a:pt x="101" y="91"/>
                  </a:cubicBezTo>
                  <a:cubicBezTo>
                    <a:pt x="65" y="133"/>
                    <a:pt x="65" y="133"/>
                    <a:pt x="65" y="133"/>
                  </a:cubicBezTo>
                  <a:cubicBezTo>
                    <a:pt x="63" y="136"/>
                    <a:pt x="60" y="137"/>
                    <a:pt x="57" y="137"/>
                  </a:cubicBezTo>
                  <a:close/>
                  <a:moveTo>
                    <a:pt x="56" y="7"/>
                  </a:moveTo>
                  <a:cubicBezTo>
                    <a:pt x="29" y="7"/>
                    <a:pt x="7" y="29"/>
                    <a:pt x="7" y="55"/>
                  </a:cubicBezTo>
                  <a:cubicBezTo>
                    <a:pt x="7" y="67"/>
                    <a:pt x="11" y="78"/>
                    <a:pt x="19" y="87"/>
                  </a:cubicBezTo>
                  <a:cubicBezTo>
                    <a:pt x="54" y="128"/>
                    <a:pt x="54" y="128"/>
                    <a:pt x="54" y="128"/>
                  </a:cubicBezTo>
                  <a:cubicBezTo>
                    <a:pt x="55" y="130"/>
                    <a:pt x="58" y="130"/>
                    <a:pt x="60" y="128"/>
                  </a:cubicBezTo>
                  <a:cubicBezTo>
                    <a:pt x="95" y="87"/>
                    <a:pt x="95" y="87"/>
                    <a:pt x="95" y="87"/>
                  </a:cubicBezTo>
                  <a:cubicBezTo>
                    <a:pt x="95" y="87"/>
                    <a:pt x="95" y="87"/>
                    <a:pt x="95" y="87"/>
                  </a:cubicBezTo>
                  <a:cubicBezTo>
                    <a:pt x="102" y="78"/>
                    <a:pt x="106" y="67"/>
                    <a:pt x="106" y="55"/>
                  </a:cubicBezTo>
                  <a:cubicBezTo>
                    <a:pt x="106" y="29"/>
                    <a:pt x="85" y="7"/>
                    <a:pt x="58" y="7"/>
                  </a:cubicBezTo>
                  <a:lnTo>
                    <a:pt x="56" y="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5" name="Freeform 290">
              <a:extLst>
                <a:ext uri="{FF2B5EF4-FFF2-40B4-BE49-F238E27FC236}">
                  <a16:creationId xmlns:a16="http://schemas.microsoft.com/office/drawing/2014/main" id="{01425F3B-8AB3-5287-8EE1-4CEDDD8E28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841991" y="2291868"/>
              <a:ext cx="186704" cy="186704"/>
            </a:xfrm>
            <a:custGeom>
              <a:avLst/>
              <a:gdLst>
                <a:gd name="T0" fmla="*/ 34 w 68"/>
                <a:gd name="T1" fmla="*/ 68 h 68"/>
                <a:gd name="T2" fmla="*/ 0 w 68"/>
                <a:gd name="T3" fmla="*/ 34 h 68"/>
                <a:gd name="T4" fmla="*/ 34 w 68"/>
                <a:gd name="T5" fmla="*/ 0 h 68"/>
                <a:gd name="T6" fmla="*/ 68 w 68"/>
                <a:gd name="T7" fmla="*/ 34 h 68"/>
                <a:gd name="T8" fmla="*/ 34 w 68"/>
                <a:gd name="T9" fmla="*/ 68 h 68"/>
                <a:gd name="T10" fmla="*/ 34 w 68"/>
                <a:gd name="T11" fmla="*/ 8 h 68"/>
                <a:gd name="T12" fmla="*/ 7 w 68"/>
                <a:gd name="T13" fmla="*/ 34 h 68"/>
                <a:gd name="T14" fmla="*/ 34 w 68"/>
                <a:gd name="T15" fmla="*/ 61 h 68"/>
                <a:gd name="T16" fmla="*/ 61 w 68"/>
                <a:gd name="T17" fmla="*/ 34 h 68"/>
                <a:gd name="T18" fmla="*/ 34 w 68"/>
                <a:gd name="T19" fmla="*/ 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8" h="68">
                  <a:moveTo>
                    <a:pt x="34" y="68"/>
                  </a:moveTo>
                  <a:cubicBezTo>
                    <a:pt x="15" y="68"/>
                    <a:pt x="0" y="53"/>
                    <a:pt x="0" y="34"/>
                  </a:cubicBezTo>
                  <a:cubicBezTo>
                    <a:pt x="0" y="16"/>
                    <a:pt x="15" y="0"/>
                    <a:pt x="34" y="0"/>
                  </a:cubicBezTo>
                  <a:cubicBezTo>
                    <a:pt x="53" y="0"/>
                    <a:pt x="68" y="16"/>
                    <a:pt x="68" y="34"/>
                  </a:cubicBezTo>
                  <a:cubicBezTo>
                    <a:pt x="68" y="53"/>
                    <a:pt x="53" y="68"/>
                    <a:pt x="34" y="68"/>
                  </a:cubicBezTo>
                  <a:close/>
                  <a:moveTo>
                    <a:pt x="34" y="8"/>
                  </a:moveTo>
                  <a:cubicBezTo>
                    <a:pt x="19" y="8"/>
                    <a:pt x="7" y="20"/>
                    <a:pt x="7" y="34"/>
                  </a:cubicBezTo>
                  <a:cubicBezTo>
                    <a:pt x="7" y="49"/>
                    <a:pt x="19" y="61"/>
                    <a:pt x="34" y="61"/>
                  </a:cubicBezTo>
                  <a:cubicBezTo>
                    <a:pt x="49" y="61"/>
                    <a:pt x="61" y="49"/>
                    <a:pt x="61" y="34"/>
                  </a:cubicBezTo>
                  <a:cubicBezTo>
                    <a:pt x="61" y="20"/>
                    <a:pt x="49" y="8"/>
                    <a:pt x="34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6" name="Freeform 291">
              <a:extLst>
                <a:ext uri="{FF2B5EF4-FFF2-40B4-BE49-F238E27FC236}">
                  <a16:creationId xmlns:a16="http://schemas.microsoft.com/office/drawing/2014/main" id="{141CB34B-5F43-2028-2818-C62CE151F08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06353" y="2518839"/>
              <a:ext cx="241615" cy="292867"/>
            </a:xfrm>
            <a:custGeom>
              <a:avLst/>
              <a:gdLst>
                <a:gd name="T0" fmla="*/ 44 w 88"/>
                <a:gd name="T1" fmla="*/ 106 h 106"/>
                <a:gd name="T2" fmla="*/ 37 w 88"/>
                <a:gd name="T3" fmla="*/ 103 h 106"/>
                <a:gd name="T4" fmla="*/ 10 w 88"/>
                <a:gd name="T5" fmla="*/ 71 h 106"/>
                <a:gd name="T6" fmla="*/ 0 w 88"/>
                <a:gd name="T7" fmla="*/ 43 h 106"/>
                <a:gd name="T8" fmla="*/ 43 w 88"/>
                <a:gd name="T9" fmla="*/ 0 h 106"/>
                <a:gd name="T10" fmla="*/ 45 w 88"/>
                <a:gd name="T11" fmla="*/ 0 h 106"/>
                <a:gd name="T12" fmla="*/ 88 w 88"/>
                <a:gd name="T13" fmla="*/ 43 h 106"/>
                <a:gd name="T14" fmla="*/ 78 w 88"/>
                <a:gd name="T15" fmla="*/ 71 h 106"/>
                <a:gd name="T16" fmla="*/ 51 w 88"/>
                <a:gd name="T17" fmla="*/ 103 h 106"/>
                <a:gd name="T18" fmla="*/ 44 w 88"/>
                <a:gd name="T19" fmla="*/ 106 h 106"/>
                <a:gd name="T20" fmla="*/ 43 w 88"/>
                <a:gd name="T21" fmla="*/ 7 h 106"/>
                <a:gd name="T22" fmla="*/ 7 w 88"/>
                <a:gd name="T23" fmla="*/ 43 h 106"/>
                <a:gd name="T24" fmla="*/ 15 w 88"/>
                <a:gd name="T25" fmla="*/ 66 h 106"/>
                <a:gd name="T26" fmla="*/ 42 w 88"/>
                <a:gd name="T27" fmla="*/ 98 h 106"/>
                <a:gd name="T28" fmla="*/ 44 w 88"/>
                <a:gd name="T29" fmla="*/ 99 h 106"/>
                <a:gd name="T30" fmla="*/ 45 w 88"/>
                <a:gd name="T31" fmla="*/ 98 h 106"/>
                <a:gd name="T32" fmla="*/ 72 w 88"/>
                <a:gd name="T33" fmla="*/ 66 h 106"/>
                <a:gd name="T34" fmla="*/ 81 w 88"/>
                <a:gd name="T35" fmla="*/ 43 h 106"/>
                <a:gd name="T36" fmla="*/ 45 w 88"/>
                <a:gd name="T37" fmla="*/ 7 h 106"/>
                <a:gd name="T38" fmla="*/ 43 w 88"/>
                <a:gd name="T39" fmla="*/ 7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8" h="106">
                  <a:moveTo>
                    <a:pt x="44" y="106"/>
                  </a:moveTo>
                  <a:cubicBezTo>
                    <a:pt x="41" y="106"/>
                    <a:pt x="38" y="105"/>
                    <a:pt x="37" y="103"/>
                  </a:cubicBezTo>
                  <a:cubicBezTo>
                    <a:pt x="10" y="71"/>
                    <a:pt x="10" y="71"/>
                    <a:pt x="10" y="71"/>
                  </a:cubicBezTo>
                  <a:cubicBezTo>
                    <a:pt x="3" y="63"/>
                    <a:pt x="0" y="53"/>
                    <a:pt x="0" y="43"/>
                  </a:cubicBezTo>
                  <a:cubicBezTo>
                    <a:pt x="0" y="19"/>
                    <a:pt x="19" y="0"/>
                    <a:pt x="43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9" y="0"/>
                    <a:pt x="88" y="19"/>
                    <a:pt x="88" y="43"/>
                  </a:cubicBezTo>
                  <a:cubicBezTo>
                    <a:pt x="88" y="53"/>
                    <a:pt x="84" y="63"/>
                    <a:pt x="78" y="71"/>
                  </a:cubicBezTo>
                  <a:cubicBezTo>
                    <a:pt x="51" y="103"/>
                    <a:pt x="51" y="103"/>
                    <a:pt x="51" y="103"/>
                  </a:cubicBezTo>
                  <a:cubicBezTo>
                    <a:pt x="49" y="105"/>
                    <a:pt x="47" y="106"/>
                    <a:pt x="44" y="106"/>
                  </a:cubicBezTo>
                  <a:close/>
                  <a:moveTo>
                    <a:pt x="43" y="7"/>
                  </a:moveTo>
                  <a:cubicBezTo>
                    <a:pt x="23" y="7"/>
                    <a:pt x="7" y="23"/>
                    <a:pt x="7" y="43"/>
                  </a:cubicBezTo>
                  <a:cubicBezTo>
                    <a:pt x="7" y="51"/>
                    <a:pt x="10" y="60"/>
                    <a:pt x="15" y="66"/>
                  </a:cubicBezTo>
                  <a:cubicBezTo>
                    <a:pt x="42" y="98"/>
                    <a:pt x="42" y="98"/>
                    <a:pt x="42" y="98"/>
                  </a:cubicBezTo>
                  <a:cubicBezTo>
                    <a:pt x="43" y="99"/>
                    <a:pt x="43" y="99"/>
                    <a:pt x="44" y="99"/>
                  </a:cubicBezTo>
                  <a:cubicBezTo>
                    <a:pt x="44" y="99"/>
                    <a:pt x="45" y="99"/>
                    <a:pt x="45" y="98"/>
                  </a:cubicBezTo>
                  <a:cubicBezTo>
                    <a:pt x="72" y="66"/>
                    <a:pt x="72" y="66"/>
                    <a:pt x="72" y="66"/>
                  </a:cubicBezTo>
                  <a:cubicBezTo>
                    <a:pt x="78" y="60"/>
                    <a:pt x="81" y="51"/>
                    <a:pt x="81" y="43"/>
                  </a:cubicBezTo>
                  <a:cubicBezTo>
                    <a:pt x="81" y="23"/>
                    <a:pt x="65" y="7"/>
                    <a:pt x="45" y="7"/>
                  </a:cubicBezTo>
                  <a:lnTo>
                    <a:pt x="43" y="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7" name="Freeform 292">
              <a:extLst>
                <a:ext uri="{FF2B5EF4-FFF2-40B4-BE49-F238E27FC236}">
                  <a16:creationId xmlns:a16="http://schemas.microsoft.com/office/drawing/2014/main" id="{44F7472D-DF6F-84A9-6C24-C648E538D2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51440" y="2570091"/>
              <a:ext cx="128130" cy="131790"/>
            </a:xfrm>
            <a:custGeom>
              <a:avLst/>
              <a:gdLst>
                <a:gd name="T0" fmla="*/ 24 w 47"/>
                <a:gd name="T1" fmla="*/ 48 h 48"/>
                <a:gd name="T2" fmla="*/ 0 w 47"/>
                <a:gd name="T3" fmla="*/ 24 h 48"/>
                <a:gd name="T4" fmla="*/ 24 w 47"/>
                <a:gd name="T5" fmla="*/ 0 h 48"/>
                <a:gd name="T6" fmla="*/ 47 w 47"/>
                <a:gd name="T7" fmla="*/ 24 h 48"/>
                <a:gd name="T8" fmla="*/ 24 w 47"/>
                <a:gd name="T9" fmla="*/ 48 h 48"/>
                <a:gd name="T10" fmla="*/ 24 w 47"/>
                <a:gd name="T11" fmla="*/ 7 h 48"/>
                <a:gd name="T12" fmla="*/ 7 w 47"/>
                <a:gd name="T13" fmla="*/ 24 h 48"/>
                <a:gd name="T14" fmla="*/ 24 w 47"/>
                <a:gd name="T15" fmla="*/ 40 h 48"/>
                <a:gd name="T16" fmla="*/ 40 w 47"/>
                <a:gd name="T17" fmla="*/ 24 h 48"/>
                <a:gd name="T18" fmla="*/ 24 w 47"/>
                <a:gd name="T19" fmla="*/ 7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7" y="11"/>
                    <a:pt x="47" y="24"/>
                  </a:cubicBezTo>
                  <a:cubicBezTo>
                    <a:pt x="47" y="37"/>
                    <a:pt x="37" y="48"/>
                    <a:pt x="24" y="48"/>
                  </a:cubicBezTo>
                  <a:close/>
                  <a:moveTo>
                    <a:pt x="24" y="7"/>
                  </a:moveTo>
                  <a:cubicBezTo>
                    <a:pt x="15" y="7"/>
                    <a:pt x="7" y="15"/>
                    <a:pt x="7" y="24"/>
                  </a:cubicBezTo>
                  <a:cubicBezTo>
                    <a:pt x="7" y="33"/>
                    <a:pt x="15" y="40"/>
                    <a:pt x="24" y="40"/>
                  </a:cubicBezTo>
                  <a:cubicBezTo>
                    <a:pt x="33" y="40"/>
                    <a:pt x="40" y="33"/>
                    <a:pt x="40" y="24"/>
                  </a:cubicBezTo>
                  <a:cubicBezTo>
                    <a:pt x="40" y="15"/>
                    <a:pt x="33" y="7"/>
                    <a:pt x="24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8" name="Freeform 293">
              <a:extLst>
                <a:ext uri="{FF2B5EF4-FFF2-40B4-BE49-F238E27FC236}">
                  <a16:creationId xmlns:a16="http://schemas.microsoft.com/office/drawing/2014/main" id="{99346259-CEF5-6487-F7E1-498B64A20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-757793" y="2592056"/>
              <a:ext cx="479570" cy="219650"/>
            </a:xfrm>
            <a:custGeom>
              <a:avLst/>
              <a:gdLst>
                <a:gd name="T0" fmla="*/ 171 w 174"/>
                <a:gd name="T1" fmla="*/ 79 h 79"/>
                <a:gd name="T2" fmla="*/ 62 w 174"/>
                <a:gd name="T3" fmla="*/ 79 h 79"/>
                <a:gd name="T4" fmla="*/ 41 w 174"/>
                <a:gd name="T5" fmla="*/ 58 h 79"/>
                <a:gd name="T6" fmla="*/ 41 w 174"/>
                <a:gd name="T7" fmla="*/ 56 h 79"/>
                <a:gd name="T8" fmla="*/ 62 w 174"/>
                <a:gd name="T9" fmla="*/ 35 h 79"/>
                <a:gd name="T10" fmla="*/ 67 w 174"/>
                <a:gd name="T11" fmla="*/ 35 h 79"/>
                <a:gd name="T12" fmla="*/ 81 w 174"/>
                <a:gd name="T13" fmla="*/ 21 h 79"/>
                <a:gd name="T14" fmla="*/ 67 w 174"/>
                <a:gd name="T15" fmla="*/ 7 h 79"/>
                <a:gd name="T16" fmla="*/ 4 w 174"/>
                <a:gd name="T17" fmla="*/ 7 h 79"/>
                <a:gd name="T18" fmla="*/ 0 w 174"/>
                <a:gd name="T19" fmla="*/ 4 h 79"/>
                <a:gd name="T20" fmla="*/ 4 w 174"/>
                <a:gd name="T21" fmla="*/ 0 h 79"/>
                <a:gd name="T22" fmla="*/ 67 w 174"/>
                <a:gd name="T23" fmla="*/ 0 h 79"/>
                <a:gd name="T24" fmla="*/ 89 w 174"/>
                <a:gd name="T25" fmla="*/ 21 h 79"/>
                <a:gd name="T26" fmla="*/ 67 w 174"/>
                <a:gd name="T27" fmla="*/ 42 h 79"/>
                <a:gd name="T28" fmla="*/ 62 w 174"/>
                <a:gd name="T29" fmla="*/ 42 h 79"/>
                <a:gd name="T30" fmla="*/ 48 w 174"/>
                <a:gd name="T31" fmla="*/ 56 h 79"/>
                <a:gd name="T32" fmla="*/ 48 w 174"/>
                <a:gd name="T33" fmla="*/ 58 h 79"/>
                <a:gd name="T34" fmla="*/ 62 w 174"/>
                <a:gd name="T35" fmla="*/ 72 h 79"/>
                <a:gd name="T36" fmla="*/ 171 w 174"/>
                <a:gd name="T37" fmla="*/ 72 h 79"/>
                <a:gd name="T38" fmla="*/ 174 w 174"/>
                <a:gd name="T39" fmla="*/ 75 h 79"/>
                <a:gd name="T40" fmla="*/ 171 w 174"/>
                <a:gd name="T41" fmla="*/ 7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4" h="79">
                  <a:moveTo>
                    <a:pt x="171" y="79"/>
                  </a:moveTo>
                  <a:cubicBezTo>
                    <a:pt x="62" y="79"/>
                    <a:pt x="62" y="79"/>
                    <a:pt x="62" y="79"/>
                  </a:cubicBezTo>
                  <a:cubicBezTo>
                    <a:pt x="50" y="79"/>
                    <a:pt x="41" y="69"/>
                    <a:pt x="41" y="58"/>
                  </a:cubicBezTo>
                  <a:cubicBezTo>
                    <a:pt x="41" y="56"/>
                    <a:pt x="41" y="56"/>
                    <a:pt x="41" y="56"/>
                  </a:cubicBezTo>
                  <a:cubicBezTo>
                    <a:pt x="41" y="45"/>
                    <a:pt x="50" y="35"/>
                    <a:pt x="62" y="35"/>
                  </a:cubicBezTo>
                  <a:cubicBezTo>
                    <a:pt x="67" y="35"/>
                    <a:pt x="67" y="35"/>
                    <a:pt x="67" y="35"/>
                  </a:cubicBezTo>
                  <a:cubicBezTo>
                    <a:pt x="75" y="35"/>
                    <a:pt x="81" y="29"/>
                    <a:pt x="81" y="21"/>
                  </a:cubicBezTo>
                  <a:cubicBezTo>
                    <a:pt x="81" y="13"/>
                    <a:pt x="75" y="7"/>
                    <a:pt x="67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79" y="0"/>
                    <a:pt x="89" y="9"/>
                    <a:pt x="89" y="21"/>
                  </a:cubicBezTo>
                  <a:cubicBezTo>
                    <a:pt x="89" y="33"/>
                    <a:pt x="79" y="42"/>
                    <a:pt x="67" y="42"/>
                  </a:cubicBezTo>
                  <a:cubicBezTo>
                    <a:pt x="62" y="42"/>
                    <a:pt x="62" y="42"/>
                    <a:pt x="62" y="42"/>
                  </a:cubicBezTo>
                  <a:cubicBezTo>
                    <a:pt x="54" y="42"/>
                    <a:pt x="48" y="49"/>
                    <a:pt x="48" y="56"/>
                  </a:cubicBezTo>
                  <a:cubicBezTo>
                    <a:pt x="48" y="58"/>
                    <a:pt x="48" y="58"/>
                    <a:pt x="48" y="58"/>
                  </a:cubicBezTo>
                  <a:cubicBezTo>
                    <a:pt x="48" y="65"/>
                    <a:pt x="54" y="72"/>
                    <a:pt x="62" y="72"/>
                  </a:cubicBezTo>
                  <a:cubicBezTo>
                    <a:pt x="171" y="72"/>
                    <a:pt x="171" y="72"/>
                    <a:pt x="171" y="72"/>
                  </a:cubicBezTo>
                  <a:cubicBezTo>
                    <a:pt x="173" y="72"/>
                    <a:pt x="174" y="73"/>
                    <a:pt x="174" y="75"/>
                  </a:cubicBezTo>
                  <a:cubicBezTo>
                    <a:pt x="174" y="77"/>
                    <a:pt x="173" y="79"/>
                    <a:pt x="171" y="7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5" name="Shape16_20200717_154431">
            <a:extLst>
              <a:ext uri="{FF2B5EF4-FFF2-40B4-BE49-F238E27FC236}">
                <a16:creationId xmlns:a16="http://schemas.microsoft.com/office/drawing/2014/main" id="{94789DD3-8067-EB09-4F40-9E6614AC58B7}"/>
              </a:ext>
            </a:extLst>
          </p:cNvPr>
          <p:cNvGrpSpPr>
            <a:grpSpLocks noChangeAspect="1"/>
          </p:cNvGrpSpPr>
          <p:nvPr/>
        </p:nvGrpSpPr>
        <p:grpSpPr>
          <a:xfrm>
            <a:off x="8379466" y="2506570"/>
            <a:ext cx="655290" cy="655290"/>
            <a:chOff x="-3448503" y="3584142"/>
            <a:chExt cx="655290" cy="655290"/>
          </a:xfrm>
          <a:solidFill>
            <a:schemeClr val="accent1"/>
          </a:solidFill>
        </p:grpSpPr>
        <p:sp>
          <p:nvSpPr>
            <p:cNvPr id="87" name="Freeform 294">
              <a:extLst>
                <a:ext uri="{FF2B5EF4-FFF2-40B4-BE49-F238E27FC236}">
                  <a16:creationId xmlns:a16="http://schemas.microsoft.com/office/drawing/2014/main" id="{FA433034-71CE-C8CD-2C78-C149278F626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364305" y="3668340"/>
              <a:ext cx="486892" cy="486892"/>
            </a:xfrm>
            <a:custGeom>
              <a:avLst/>
              <a:gdLst>
                <a:gd name="T0" fmla="*/ 88 w 177"/>
                <a:gd name="T1" fmla="*/ 176 h 176"/>
                <a:gd name="T2" fmla="*/ 0 w 177"/>
                <a:gd name="T3" fmla="*/ 88 h 176"/>
                <a:gd name="T4" fmla="*/ 88 w 177"/>
                <a:gd name="T5" fmla="*/ 0 h 176"/>
                <a:gd name="T6" fmla="*/ 177 w 177"/>
                <a:gd name="T7" fmla="*/ 88 h 176"/>
                <a:gd name="T8" fmla="*/ 88 w 177"/>
                <a:gd name="T9" fmla="*/ 176 h 176"/>
                <a:gd name="T10" fmla="*/ 88 w 177"/>
                <a:gd name="T11" fmla="*/ 7 h 176"/>
                <a:gd name="T12" fmla="*/ 7 w 177"/>
                <a:gd name="T13" fmla="*/ 88 h 176"/>
                <a:gd name="T14" fmla="*/ 88 w 177"/>
                <a:gd name="T15" fmla="*/ 169 h 176"/>
                <a:gd name="T16" fmla="*/ 169 w 177"/>
                <a:gd name="T17" fmla="*/ 88 h 176"/>
                <a:gd name="T18" fmla="*/ 88 w 177"/>
                <a:gd name="T19" fmla="*/ 7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7" h="176">
                  <a:moveTo>
                    <a:pt x="88" y="176"/>
                  </a:moveTo>
                  <a:cubicBezTo>
                    <a:pt x="40" y="176"/>
                    <a:pt x="0" y="136"/>
                    <a:pt x="0" y="88"/>
                  </a:cubicBezTo>
                  <a:cubicBezTo>
                    <a:pt x="0" y="39"/>
                    <a:pt x="40" y="0"/>
                    <a:pt x="88" y="0"/>
                  </a:cubicBezTo>
                  <a:cubicBezTo>
                    <a:pt x="137" y="0"/>
                    <a:pt x="177" y="39"/>
                    <a:pt x="177" y="88"/>
                  </a:cubicBezTo>
                  <a:cubicBezTo>
                    <a:pt x="177" y="136"/>
                    <a:pt x="137" y="176"/>
                    <a:pt x="88" y="176"/>
                  </a:cubicBezTo>
                  <a:close/>
                  <a:moveTo>
                    <a:pt x="88" y="7"/>
                  </a:moveTo>
                  <a:cubicBezTo>
                    <a:pt x="44" y="7"/>
                    <a:pt x="7" y="43"/>
                    <a:pt x="7" y="88"/>
                  </a:cubicBezTo>
                  <a:cubicBezTo>
                    <a:pt x="7" y="132"/>
                    <a:pt x="44" y="169"/>
                    <a:pt x="88" y="169"/>
                  </a:cubicBezTo>
                  <a:cubicBezTo>
                    <a:pt x="133" y="169"/>
                    <a:pt x="169" y="132"/>
                    <a:pt x="169" y="88"/>
                  </a:cubicBezTo>
                  <a:cubicBezTo>
                    <a:pt x="169" y="43"/>
                    <a:pt x="133" y="7"/>
                    <a:pt x="88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8" name="Freeform 295">
              <a:extLst>
                <a:ext uri="{FF2B5EF4-FFF2-40B4-BE49-F238E27FC236}">
                  <a16:creationId xmlns:a16="http://schemas.microsoft.com/office/drawing/2014/main" id="{2C750645-7D45-814A-9F44-9028EA357964}"/>
                </a:ext>
              </a:extLst>
            </p:cNvPr>
            <p:cNvSpPr>
              <a:spLocks/>
            </p:cNvSpPr>
            <p:nvPr/>
          </p:nvSpPr>
          <p:spPr bwMode="auto">
            <a:xfrm>
              <a:off x="-3294748" y="3734235"/>
              <a:ext cx="344118" cy="84200"/>
            </a:xfrm>
            <a:custGeom>
              <a:avLst/>
              <a:gdLst>
                <a:gd name="T0" fmla="*/ 62 w 125"/>
                <a:gd name="T1" fmla="*/ 31 h 31"/>
                <a:gd name="T2" fmla="*/ 2 w 125"/>
                <a:gd name="T3" fmla="*/ 7 h 31"/>
                <a:gd name="T4" fmla="*/ 2 w 125"/>
                <a:gd name="T5" fmla="*/ 2 h 31"/>
                <a:gd name="T6" fmla="*/ 7 w 125"/>
                <a:gd name="T7" fmla="*/ 1 h 31"/>
                <a:gd name="T8" fmla="*/ 62 w 125"/>
                <a:gd name="T9" fmla="*/ 23 h 31"/>
                <a:gd name="T10" fmla="*/ 118 w 125"/>
                <a:gd name="T11" fmla="*/ 1 h 31"/>
                <a:gd name="T12" fmla="*/ 123 w 125"/>
                <a:gd name="T13" fmla="*/ 1 h 31"/>
                <a:gd name="T14" fmla="*/ 123 w 125"/>
                <a:gd name="T15" fmla="*/ 6 h 31"/>
                <a:gd name="T16" fmla="*/ 62 w 125"/>
                <a:gd name="T17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5" h="31">
                  <a:moveTo>
                    <a:pt x="62" y="31"/>
                  </a:moveTo>
                  <a:cubicBezTo>
                    <a:pt x="40" y="31"/>
                    <a:pt x="18" y="22"/>
                    <a:pt x="2" y="7"/>
                  </a:cubicBezTo>
                  <a:cubicBezTo>
                    <a:pt x="1" y="5"/>
                    <a:pt x="0" y="3"/>
                    <a:pt x="2" y="2"/>
                  </a:cubicBezTo>
                  <a:cubicBezTo>
                    <a:pt x="3" y="0"/>
                    <a:pt x="6" y="0"/>
                    <a:pt x="7" y="1"/>
                  </a:cubicBezTo>
                  <a:cubicBezTo>
                    <a:pt x="22" y="16"/>
                    <a:pt x="42" y="23"/>
                    <a:pt x="62" y="23"/>
                  </a:cubicBezTo>
                  <a:cubicBezTo>
                    <a:pt x="83" y="23"/>
                    <a:pt x="103" y="15"/>
                    <a:pt x="118" y="1"/>
                  </a:cubicBezTo>
                  <a:cubicBezTo>
                    <a:pt x="120" y="0"/>
                    <a:pt x="122" y="0"/>
                    <a:pt x="123" y="1"/>
                  </a:cubicBezTo>
                  <a:cubicBezTo>
                    <a:pt x="125" y="3"/>
                    <a:pt x="125" y="5"/>
                    <a:pt x="123" y="6"/>
                  </a:cubicBezTo>
                  <a:cubicBezTo>
                    <a:pt x="107" y="22"/>
                    <a:pt x="85" y="31"/>
                    <a:pt x="62" y="3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9" name="Freeform 296">
              <a:extLst>
                <a:ext uri="{FF2B5EF4-FFF2-40B4-BE49-F238E27FC236}">
                  <a16:creationId xmlns:a16="http://schemas.microsoft.com/office/drawing/2014/main" id="{5CD8E0D0-4C3D-4A3C-AF1C-6FDD141A3214}"/>
                </a:ext>
              </a:extLst>
            </p:cNvPr>
            <p:cNvSpPr>
              <a:spLocks/>
            </p:cNvSpPr>
            <p:nvPr/>
          </p:nvSpPr>
          <p:spPr bwMode="auto">
            <a:xfrm>
              <a:off x="-3291089" y="4005137"/>
              <a:ext cx="340458" cy="84200"/>
            </a:xfrm>
            <a:custGeom>
              <a:avLst/>
              <a:gdLst>
                <a:gd name="T0" fmla="*/ 4 w 123"/>
                <a:gd name="T1" fmla="*/ 30 h 30"/>
                <a:gd name="T2" fmla="*/ 1 w 123"/>
                <a:gd name="T3" fmla="*/ 29 h 30"/>
                <a:gd name="T4" fmla="*/ 1 w 123"/>
                <a:gd name="T5" fmla="*/ 24 h 30"/>
                <a:gd name="T6" fmla="*/ 61 w 123"/>
                <a:gd name="T7" fmla="*/ 0 h 30"/>
                <a:gd name="T8" fmla="*/ 121 w 123"/>
                <a:gd name="T9" fmla="*/ 23 h 30"/>
                <a:gd name="T10" fmla="*/ 121 w 123"/>
                <a:gd name="T11" fmla="*/ 28 h 30"/>
                <a:gd name="T12" fmla="*/ 116 w 123"/>
                <a:gd name="T13" fmla="*/ 29 h 30"/>
                <a:gd name="T14" fmla="*/ 61 w 123"/>
                <a:gd name="T15" fmla="*/ 7 h 30"/>
                <a:gd name="T16" fmla="*/ 6 w 123"/>
                <a:gd name="T17" fmla="*/ 29 h 30"/>
                <a:gd name="T18" fmla="*/ 4 w 123"/>
                <a:gd name="T19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3" h="30">
                  <a:moveTo>
                    <a:pt x="4" y="30"/>
                  </a:moveTo>
                  <a:cubicBezTo>
                    <a:pt x="3" y="30"/>
                    <a:pt x="2" y="30"/>
                    <a:pt x="1" y="29"/>
                  </a:cubicBezTo>
                  <a:cubicBezTo>
                    <a:pt x="0" y="27"/>
                    <a:pt x="0" y="25"/>
                    <a:pt x="1" y="24"/>
                  </a:cubicBezTo>
                  <a:cubicBezTo>
                    <a:pt x="18" y="8"/>
                    <a:pt x="39" y="0"/>
                    <a:pt x="61" y="0"/>
                  </a:cubicBezTo>
                  <a:cubicBezTo>
                    <a:pt x="84" y="0"/>
                    <a:pt x="105" y="8"/>
                    <a:pt x="121" y="23"/>
                  </a:cubicBezTo>
                  <a:cubicBezTo>
                    <a:pt x="122" y="25"/>
                    <a:pt x="123" y="27"/>
                    <a:pt x="121" y="28"/>
                  </a:cubicBezTo>
                  <a:cubicBezTo>
                    <a:pt x="120" y="30"/>
                    <a:pt x="118" y="30"/>
                    <a:pt x="116" y="29"/>
                  </a:cubicBezTo>
                  <a:cubicBezTo>
                    <a:pt x="101" y="15"/>
                    <a:pt x="82" y="7"/>
                    <a:pt x="61" y="7"/>
                  </a:cubicBezTo>
                  <a:cubicBezTo>
                    <a:pt x="41" y="7"/>
                    <a:pt x="21" y="15"/>
                    <a:pt x="6" y="29"/>
                  </a:cubicBezTo>
                  <a:cubicBezTo>
                    <a:pt x="6" y="30"/>
                    <a:pt x="5" y="30"/>
                    <a:pt x="4" y="3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0" name="Freeform 297">
              <a:extLst>
                <a:ext uri="{FF2B5EF4-FFF2-40B4-BE49-F238E27FC236}">
                  <a16:creationId xmlns:a16="http://schemas.microsoft.com/office/drawing/2014/main" id="{96E7B4C0-8108-499D-B1EE-2365371879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54480" y="3668340"/>
              <a:ext cx="263580" cy="486892"/>
            </a:xfrm>
            <a:custGeom>
              <a:avLst/>
              <a:gdLst>
                <a:gd name="T0" fmla="*/ 48 w 96"/>
                <a:gd name="T1" fmla="*/ 176 h 176"/>
                <a:gd name="T2" fmla="*/ 0 w 96"/>
                <a:gd name="T3" fmla="*/ 88 h 176"/>
                <a:gd name="T4" fmla="*/ 48 w 96"/>
                <a:gd name="T5" fmla="*/ 0 h 176"/>
                <a:gd name="T6" fmla="*/ 96 w 96"/>
                <a:gd name="T7" fmla="*/ 88 h 176"/>
                <a:gd name="T8" fmla="*/ 48 w 96"/>
                <a:gd name="T9" fmla="*/ 176 h 176"/>
                <a:gd name="T10" fmla="*/ 48 w 96"/>
                <a:gd name="T11" fmla="*/ 7 h 176"/>
                <a:gd name="T12" fmla="*/ 8 w 96"/>
                <a:gd name="T13" fmla="*/ 88 h 176"/>
                <a:gd name="T14" fmla="*/ 48 w 96"/>
                <a:gd name="T15" fmla="*/ 169 h 176"/>
                <a:gd name="T16" fmla="*/ 89 w 96"/>
                <a:gd name="T17" fmla="*/ 88 h 176"/>
                <a:gd name="T18" fmla="*/ 48 w 96"/>
                <a:gd name="T19" fmla="*/ 7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76">
                  <a:moveTo>
                    <a:pt x="48" y="176"/>
                  </a:moveTo>
                  <a:cubicBezTo>
                    <a:pt x="22" y="176"/>
                    <a:pt x="0" y="137"/>
                    <a:pt x="0" y="88"/>
                  </a:cubicBezTo>
                  <a:cubicBezTo>
                    <a:pt x="0" y="38"/>
                    <a:pt x="22" y="0"/>
                    <a:pt x="48" y="0"/>
                  </a:cubicBezTo>
                  <a:cubicBezTo>
                    <a:pt x="75" y="0"/>
                    <a:pt x="96" y="38"/>
                    <a:pt x="96" y="88"/>
                  </a:cubicBezTo>
                  <a:cubicBezTo>
                    <a:pt x="96" y="137"/>
                    <a:pt x="75" y="176"/>
                    <a:pt x="48" y="176"/>
                  </a:cubicBezTo>
                  <a:close/>
                  <a:moveTo>
                    <a:pt x="48" y="7"/>
                  </a:moveTo>
                  <a:cubicBezTo>
                    <a:pt x="26" y="7"/>
                    <a:pt x="8" y="44"/>
                    <a:pt x="8" y="88"/>
                  </a:cubicBezTo>
                  <a:cubicBezTo>
                    <a:pt x="8" y="132"/>
                    <a:pt x="26" y="169"/>
                    <a:pt x="48" y="169"/>
                  </a:cubicBezTo>
                  <a:cubicBezTo>
                    <a:pt x="70" y="169"/>
                    <a:pt x="89" y="132"/>
                    <a:pt x="89" y="88"/>
                  </a:cubicBezTo>
                  <a:cubicBezTo>
                    <a:pt x="89" y="44"/>
                    <a:pt x="70" y="7"/>
                    <a:pt x="48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1" name="Freeform 298">
              <a:extLst>
                <a:ext uri="{FF2B5EF4-FFF2-40B4-BE49-F238E27FC236}">
                  <a16:creationId xmlns:a16="http://schemas.microsoft.com/office/drawing/2014/main" id="{227FC743-CE20-40F4-E36F-C5CC244E504A}"/>
                </a:ext>
              </a:extLst>
            </p:cNvPr>
            <p:cNvSpPr>
              <a:spLocks/>
            </p:cNvSpPr>
            <p:nvPr/>
          </p:nvSpPr>
          <p:spPr bwMode="auto">
            <a:xfrm>
              <a:off x="-3364305" y="3902634"/>
              <a:ext cx="486892" cy="18305"/>
            </a:xfrm>
            <a:custGeom>
              <a:avLst/>
              <a:gdLst>
                <a:gd name="T0" fmla="*/ 173 w 177"/>
                <a:gd name="T1" fmla="*/ 7 h 7"/>
                <a:gd name="T2" fmla="*/ 4 w 177"/>
                <a:gd name="T3" fmla="*/ 7 h 7"/>
                <a:gd name="T4" fmla="*/ 0 w 177"/>
                <a:gd name="T5" fmla="*/ 4 h 7"/>
                <a:gd name="T6" fmla="*/ 4 w 177"/>
                <a:gd name="T7" fmla="*/ 0 h 7"/>
                <a:gd name="T8" fmla="*/ 173 w 177"/>
                <a:gd name="T9" fmla="*/ 0 h 7"/>
                <a:gd name="T10" fmla="*/ 177 w 177"/>
                <a:gd name="T11" fmla="*/ 4 h 7"/>
                <a:gd name="T12" fmla="*/ 173 w 177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7" h="7">
                  <a:moveTo>
                    <a:pt x="173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73" y="0"/>
                    <a:pt x="173" y="0"/>
                    <a:pt x="173" y="0"/>
                  </a:cubicBezTo>
                  <a:cubicBezTo>
                    <a:pt x="175" y="0"/>
                    <a:pt x="177" y="2"/>
                    <a:pt x="177" y="4"/>
                  </a:cubicBezTo>
                  <a:cubicBezTo>
                    <a:pt x="177" y="6"/>
                    <a:pt x="175" y="7"/>
                    <a:pt x="173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2" name="Freeform 299">
              <a:extLst>
                <a:ext uri="{FF2B5EF4-FFF2-40B4-BE49-F238E27FC236}">
                  <a16:creationId xmlns:a16="http://schemas.microsoft.com/office/drawing/2014/main" id="{890CC6FF-FC61-558A-1FC0-FC22AECCF72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130012" y="3668340"/>
              <a:ext cx="18305" cy="486892"/>
            </a:xfrm>
            <a:custGeom>
              <a:avLst/>
              <a:gdLst>
                <a:gd name="T0" fmla="*/ 3 w 7"/>
                <a:gd name="T1" fmla="*/ 176 h 176"/>
                <a:gd name="T2" fmla="*/ 0 w 7"/>
                <a:gd name="T3" fmla="*/ 172 h 176"/>
                <a:gd name="T4" fmla="*/ 0 w 7"/>
                <a:gd name="T5" fmla="*/ 3 h 176"/>
                <a:gd name="T6" fmla="*/ 3 w 7"/>
                <a:gd name="T7" fmla="*/ 0 h 176"/>
                <a:gd name="T8" fmla="*/ 7 w 7"/>
                <a:gd name="T9" fmla="*/ 3 h 176"/>
                <a:gd name="T10" fmla="*/ 7 w 7"/>
                <a:gd name="T11" fmla="*/ 172 h 176"/>
                <a:gd name="T12" fmla="*/ 3 w 7"/>
                <a:gd name="T13" fmla="*/ 176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76">
                  <a:moveTo>
                    <a:pt x="3" y="176"/>
                  </a:moveTo>
                  <a:cubicBezTo>
                    <a:pt x="1" y="176"/>
                    <a:pt x="0" y="174"/>
                    <a:pt x="0" y="17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5" y="0"/>
                    <a:pt x="7" y="1"/>
                    <a:pt x="7" y="3"/>
                  </a:cubicBezTo>
                  <a:cubicBezTo>
                    <a:pt x="7" y="172"/>
                    <a:pt x="7" y="172"/>
                    <a:pt x="7" y="172"/>
                  </a:cubicBezTo>
                  <a:cubicBezTo>
                    <a:pt x="7" y="174"/>
                    <a:pt x="5" y="176"/>
                    <a:pt x="3" y="17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3" name="Freeform 300">
              <a:extLst>
                <a:ext uri="{FF2B5EF4-FFF2-40B4-BE49-F238E27FC236}">
                  <a16:creationId xmlns:a16="http://schemas.microsoft.com/office/drawing/2014/main" id="{0D7ACA12-7639-021E-E6C2-0E9A5A0EFDE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448503" y="3584142"/>
              <a:ext cx="655290" cy="655290"/>
            </a:xfrm>
            <a:custGeom>
              <a:avLst/>
              <a:gdLst>
                <a:gd name="T0" fmla="*/ 118 w 237"/>
                <a:gd name="T1" fmla="*/ 237 h 237"/>
                <a:gd name="T2" fmla="*/ 0 w 237"/>
                <a:gd name="T3" fmla="*/ 119 h 237"/>
                <a:gd name="T4" fmla="*/ 118 w 237"/>
                <a:gd name="T5" fmla="*/ 0 h 237"/>
                <a:gd name="T6" fmla="*/ 237 w 237"/>
                <a:gd name="T7" fmla="*/ 119 h 237"/>
                <a:gd name="T8" fmla="*/ 118 w 237"/>
                <a:gd name="T9" fmla="*/ 237 h 237"/>
                <a:gd name="T10" fmla="*/ 118 w 237"/>
                <a:gd name="T11" fmla="*/ 8 h 237"/>
                <a:gd name="T12" fmla="*/ 7 w 237"/>
                <a:gd name="T13" fmla="*/ 119 h 237"/>
                <a:gd name="T14" fmla="*/ 118 w 237"/>
                <a:gd name="T15" fmla="*/ 230 h 237"/>
                <a:gd name="T16" fmla="*/ 230 w 237"/>
                <a:gd name="T17" fmla="*/ 119 h 237"/>
                <a:gd name="T18" fmla="*/ 118 w 237"/>
                <a:gd name="T19" fmla="*/ 8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7" h="237">
                  <a:moveTo>
                    <a:pt x="118" y="237"/>
                  </a:moveTo>
                  <a:cubicBezTo>
                    <a:pt x="53" y="237"/>
                    <a:pt x="0" y="184"/>
                    <a:pt x="0" y="119"/>
                  </a:cubicBezTo>
                  <a:cubicBezTo>
                    <a:pt x="0" y="54"/>
                    <a:pt x="53" y="0"/>
                    <a:pt x="118" y="0"/>
                  </a:cubicBezTo>
                  <a:cubicBezTo>
                    <a:pt x="184" y="0"/>
                    <a:pt x="237" y="54"/>
                    <a:pt x="237" y="119"/>
                  </a:cubicBezTo>
                  <a:cubicBezTo>
                    <a:pt x="237" y="184"/>
                    <a:pt x="184" y="237"/>
                    <a:pt x="118" y="237"/>
                  </a:cubicBezTo>
                  <a:close/>
                  <a:moveTo>
                    <a:pt x="118" y="8"/>
                  </a:moveTo>
                  <a:cubicBezTo>
                    <a:pt x="57" y="8"/>
                    <a:pt x="7" y="58"/>
                    <a:pt x="7" y="119"/>
                  </a:cubicBezTo>
                  <a:cubicBezTo>
                    <a:pt x="7" y="180"/>
                    <a:pt x="57" y="230"/>
                    <a:pt x="118" y="230"/>
                  </a:cubicBezTo>
                  <a:cubicBezTo>
                    <a:pt x="180" y="230"/>
                    <a:pt x="230" y="180"/>
                    <a:pt x="230" y="119"/>
                  </a:cubicBezTo>
                  <a:cubicBezTo>
                    <a:pt x="230" y="58"/>
                    <a:pt x="180" y="8"/>
                    <a:pt x="118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6" name="Shape17_20200717_154431">
            <a:extLst>
              <a:ext uri="{FF2B5EF4-FFF2-40B4-BE49-F238E27FC236}">
                <a16:creationId xmlns:a16="http://schemas.microsoft.com/office/drawing/2014/main" id="{A4DEA61F-D9CA-BB60-A1F6-8429EDFE1D5E}"/>
              </a:ext>
            </a:extLst>
          </p:cNvPr>
          <p:cNvGrpSpPr>
            <a:grpSpLocks noChangeAspect="1"/>
          </p:cNvGrpSpPr>
          <p:nvPr/>
        </p:nvGrpSpPr>
        <p:grpSpPr>
          <a:xfrm>
            <a:off x="9760072" y="2521214"/>
            <a:ext cx="505194" cy="622341"/>
            <a:chOff x="-2079352" y="3598786"/>
            <a:chExt cx="505194" cy="622341"/>
          </a:xfrm>
          <a:solidFill>
            <a:schemeClr val="accent1"/>
          </a:solidFill>
        </p:grpSpPr>
        <p:sp>
          <p:nvSpPr>
            <p:cNvPr id="79" name="Freeform 301">
              <a:extLst>
                <a:ext uri="{FF2B5EF4-FFF2-40B4-BE49-F238E27FC236}">
                  <a16:creationId xmlns:a16="http://schemas.microsoft.com/office/drawing/2014/main" id="{AC2DD717-FE39-4233-42EF-36F2898E8B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079352" y="3628072"/>
              <a:ext cx="461265" cy="453943"/>
            </a:xfrm>
            <a:custGeom>
              <a:avLst/>
              <a:gdLst>
                <a:gd name="T0" fmla="*/ 84 w 167"/>
                <a:gd name="T1" fmla="*/ 164 h 164"/>
                <a:gd name="T2" fmla="*/ 66 w 167"/>
                <a:gd name="T3" fmla="*/ 162 h 164"/>
                <a:gd name="T4" fmla="*/ 15 w 167"/>
                <a:gd name="T5" fmla="*/ 126 h 164"/>
                <a:gd name="T6" fmla="*/ 5 w 167"/>
                <a:gd name="T7" fmla="*/ 65 h 164"/>
                <a:gd name="T8" fmla="*/ 41 w 167"/>
                <a:gd name="T9" fmla="*/ 15 h 164"/>
                <a:gd name="T10" fmla="*/ 102 w 167"/>
                <a:gd name="T11" fmla="*/ 5 h 164"/>
                <a:gd name="T12" fmla="*/ 152 w 167"/>
                <a:gd name="T13" fmla="*/ 41 h 164"/>
                <a:gd name="T14" fmla="*/ 162 w 167"/>
                <a:gd name="T15" fmla="*/ 102 h 164"/>
                <a:gd name="T16" fmla="*/ 127 w 167"/>
                <a:gd name="T17" fmla="*/ 152 h 164"/>
                <a:gd name="T18" fmla="*/ 84 w 167"/>
                <a:gd name="T19" fmla="*/ 164 h 164"/>
                <a:gd name="T20" fmla="*/ 84 w 167"/>
                <a:gd name="T21" fmla="*/ 10 h 164"/>
                <a:gd name="T22" fmla="*/ 45 w 167"/>
                <a:gd name="T23" fmla="*/ 21 h 164"/>
                <a:gd name="T24" fmla="*/ 12 w 167"/>
                <a:gd name="T25" fmla="*/ 67 h 164"/>
                <a:gd name="T26" fmla="*/ 21 w 167"/>
                <a:gd name="T27" fmla="*/ 123 h 164"/>
                <a:gd name="T28" fmla="*/ 67 w 167"/>
                <a:gd name="T29" fmla="*/ 155 h 164"/>
                <a:gd name="T30" fmla="*/ 123 w 167"/>
                <a:gd name="T31" fmla="*/ 146 h 164"/>
                <a:gd name="T32" fmla="*/ 155 w 167"/>
                <a:gd name="T33" fmla="*/ 100 h 164"/>
                <a:gd name="T34" fmla="*/ 155 w 167"/>
                <a:gd name="T35" fmla="*/ 100 h 164"/>
                <a:gd name="T36" fmla="*/ 146 w 167"/>
                <a:gd name="T37" fmla="*/ 45 h 164"/>
                <a:gd name="T38" fmla="*/ 100 w 167"/>
                <a:gd name="T39" fmla="*/ 12 h 164"/>
                <a:gd name="T40" fmla="*/ 84 w 167"/>
                <a:gd name="T41" fmla="*/ 1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7" h="164">
                  <a:moveTo>
                    <a:pt x="84" y="164"/>
                  </a:moveTo>
                  <a:cubicBezTo>
                    <a:pt x="78" y="164"/>
                    <a:pt x="72" y="164"/>
                    <a:pt x="66" y="162"/>
                  </a:cubicBezTo>
                  <a:cubicBezTo>
                    <a:pt x="45" y="157"/>
                    <a:pt x="27" y="145"/>
                    <a:pt x="15" y="126"/>
                  </a:cubicBezTo>
                  <a:cubicBezTo>
                    <a:pt x="4" y="108"/>
                    <a:pt x="0" y="86"/>
                    <a:pt x="5" y="65"/>
                  </a:cubicBezTo>
                  <a:cubicBezTo>
                    <a:pt x="10" y="44"/>
                    <a:pt x="23" y="27"/>
                    <a:pt x="41" y="15"/>
                  </a:cubicBezTo>
                  <a:cubicBezTo>
                    <a:pt x="59" y="4"/>
                    <a:pt x="81" y="0"/>
                    <a:pt x="102" y="5"/>
                  </a:cubicBezTo>
                  <a:cubicBezTo>
                    <a:pt x="123" y="10"/>
                    <a:pt x="141" y="22"/>
                    <a:pt x="152" y="41"/>
                  </a:cubicBezTo>
                  <a:cubicBezTo>
                    <a:pt x="163" y="59"/>
                    <a:pt x="167" y="81"/>
                    <a:pt x="162" y="102"/>
                  </a:cubicBezTo>
                  <a:cubicBezTo>
                    <a:pt x="157" y="123"/>
                    <a:pt x="145" y="140"/>
                    <a:pt x="127" y="152"/>
                  </a:cubicBezTo>
                  <a:cubicBezTo>
                    <a:pt x="114" y="160"/>
                    <a:pt x="99" y="164"/>
                    <a:pt x="84" y="164"/>
                  </a:cubicBezTo>
                  <a:close/>
                  <a:moveTo>
                    <a:pt x="84" y="10"/>
                  </a:moveTo>
                  <a:cubicBezTo>
                    <a:pt x="70" y="10"/>
                    <a:pt x="57" y="14"/>
                    <a:pt x="45" y="21"/>
                  </a:cubicBezTo>
                  <a:cubicBezTo>
                    <a:pt x="28" y="32"/>
                    <a:pt x="16" y="48"/>
                    <a:pt x="12" y="67"/>
                  </a:cubicBezTo>
                  <a:cubicBezTo>
                    <a:pt x="8" y="86"/>
                    <a:pt x="11" y="106"/>
                    <a:pt x="21" y="123"/>
                  </a:cubicBezTo>
                  <a:cubicBezTo>
                    <a:pt x="32" y="139"/>
                    <a:pt x="48" y="151"/>
                    <a:pt x="67" y="155"/>
                  </a:cubicBezTo>
                  <a:cubicBezTo>
                    <a:pt x="86" y="160"/>
                    <a:pt x="106" y="156"/>
                    <a:pt x="123" y="146"/>
                  </a:cubicBezTo>
                  <a:cubicBezTo>
                    <a:pt x="139" y="135"/>
                    <a:pt x="151" y="119"/>
                    <a:pt x="155" y="100"/>
                  </a:cubicBezTo>
                  <a:cubicBezTo>
                    <a:pt x="155" y="100"/>
                    <a:pt x="155" y="100"/>
                    <a:pt x="155" y="100"/>
                  </a:cubicBezTo>
                  <a:cubicBezTo>
                    <a:pt x="160" y="81"/>
                    <a:pt x="156" y="61"/>
                    <a:pt x="146" y="45"/>
                  </a:cubicBezTo>
                  <a:cubicBezTo>
                    <a:pt x="136" y="28"/>
                    <a:pt x="119" y="16"/>
                    <a:pt x="100" y="12"/>
                  </a:cubicBezTo>
                  <a:cubicBezTo>
                    <a:pt x="95" y="11"/>
                    <a:pt x="89" y="10"/>
                    <a:pt x="84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0" name="Freeform 302">
              <a:extLst>
                <a:ext uri="{FF2B5EF4-FFF2-40B4-BE49-F238E27FC236}">
                  <a16:creationId xmlns:a16="http://schemas.microsoft.com/office/drawing/2014/main" id="{0A24C60F-6EB3-CCB3-2722-90372FB31525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65868" y="3668340"/>
              <a:ext cx="303850" cy="109825"/>
            </a:xfrm>
            <a:custGeom>
              <a:avLst/>
              <a:gdLst>
                <a:gd name="T0" fmla="*/ 68 w 111"/>
                <a:gd name="T1" fmla="*/ 41 h 41"/>
                <a:gd name="T2" fmla="*/ 50 w 111"/>
                <a:gd name="T3" fmla="*/ 39 h 41"/>
                <a:gd name="T4" fmla="*/ 1 w 111"/>
                <a:gd name="T5" fmla="*/ 6 h 41"/>
                <a:gd name="T6" fmla="*/ 2 w 111"/>
                <a:gd name="T7" fmla="*/ 1 h 41"/>
                <a:gd name="T8" fmla="*/ 7 w 111"/>
                <a:gd name="T9" fmla="*/ 2 h 41"/>
                <a:gd name="T10" fmla="*/ 51 w 111"/>
                <a:gd name="T11" fmla="*/ 32 h 41"/>
                <a:gd name="T12" fmla="*/ 105 w 111"/>
                <a:gd name="T13" fmla="*/ 24 h 41"/>
                <a:gd name="T14" fmla="*/ 110 w 111"/>
                <a:gd name="T15" fmla="*/ 25 h 41"/>
                <a:gd name="T16" fmla="*/ 109 w 111"/>
                <a:gd name="T17" fmla="*/ 30 h 41"/>
                <a:gd name="T18" fmla="*/ 68 w 111"/>
                <a:gd name="T19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1" h="41">
                  <a:moveTo>
                    <a:pt x="68" y="41"/>
                  </a:moveTo>
                  <a:cubicBezTo>
                    <a:pt x="62" y="41"/>
                    <a:pt x="56" y="41"/>
                    <a:pt x="50" y="39"/>
                  </a:cubicBezTo>
                  <a:cubicBezTo>
                    <a:pt x="29" y="35"/>
                    <a:pt x="12" y="23"/>
                    <a:pt x="1" y="6"/>
                  </a:cubicBezTo>
                  <a:cubicBezTo>
                    <a:pt x="0" y="4"/>
                    <a:pt x="0" y="2"/>
                    <a:pt x="2" y="1"/>
                  </a:cubicBezTo>
                  <a:cubicBezTo>
                    <a:pt x="3" y="0"/>
                    <a:pt x="6" y="0"/>
                    <a:pt x="7" y="2"/>
                  </a:cubicBezTo>
                  <a:cubicBezTo>
                    <a:pt x="17" y="17"/>
                    <a:pt x="33" y="28"/>
                    <a:pt x="51" y="32"/>
                  </a:cubicBezTo>
                  <a:cubicBezTo>
                    <a:pt x="70" y="37"/>
                    <a:pt x="89" y="34"/>
                    <a:pt x="105" y="24"/>
                  </a:cubicBezTo>
                  <a:cubicBezTo>
                    <a:pt x="107" y="23"/>
                    <a:pt x="109" y="24"/>
                    <a:pt x="110" y="25"/>
                  </a:cubicBezTo>
                  <a:cubicBezTo>
                    <a:pt x="111" y="27"/>
                    <a:pt x="111" y="29"/>
                    <a:pt x="109" y="30"/>
                  </a:cubicBezTo>
                  <a:cubicBezTo>
                    <a:pt x="96" y="38"/>
                    <a:pt x="82" y="41"/>
                    <a:pt x="68" y="4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1" name="Freeform 303">
              <a:extLst>
                <a:ext uri="{FF2B5EF4-FFF2-40B4-BE49-F238E27FC236}">
                  <a16:creationId xmlns:a16="http://schemas.microsoft.com/office/drawing/2014/main" id="{054673E8-042C-BD57-6573-FFD5715DBD45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35422" y="3928261"/>
              <a:ext cx="303850" cy="120809"/>
            </a:xfrm>
            <a:custGeom>
              <a:avLst/>
              <a:gdLst>
                <a:gd name="T0" fmla="*/ 106 w 110"/>
                <a:gd name="T1" fmla="*/ 43 h 43"/>
                <a:gd name="T2" fmla="*/ 103 w 110"/>
                <a:gd name="T3" fmla="*/ 42 h 43"/>
                <a:gd name="T4" fmla="*/ 59 w 110"/>
                <a:gd name="T5" fmla="*/ 12 h 43"/>
                <a:gd name="T6" fmla="*/ 6 w 110"/>
                <a:gd name="T7" fmla="*/ 20 h 43"/>
                <a:gd name="T8" fmla="*/ 1 w 110"/>
                <a:gd name="T9" fmla="*/ 18 h 43"/>
                <a:gd name="T10" fmla="*/ 2 w 110"/>
                <a:gd name="T11" fmla="*/ 13 h 43"/>
                <a:gd name="T12" fmla="*/ 61 w 110"/>
                <a:gd name="T13" fmla="*/ 5 h 43"/>
                <a:gd name="T14" fmla="*/ 109 w 110"/>
                <a:gd name="T15" fmla="*/ 38 h 43"/>
                <a:gd name="T16" fmla="*/ 108 w 110"/>
                <a:gd name="T17" fmla="*/ 43 h 43"/>
                <a:gd name="T18" fmla="*/ 106 w 110"/>
                <a:gd name="T19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0" h="43">
                  <a:moveTo>
                    <a:pt x="106" y="43"/>
                  </a:moveTo>
                  <a:cubicBezTo>
                    <a:pt x="105" y="43"/>
                    <a:pt x="104" y="43"/>
                    <a:pt x="103" y="42"/>
                  </a:cubicBezTo>
                  <a:cubicBezTo>
                    <a:pt x="93" y="26"/>
                    <a:pt x="77" y="16"/>
                    <a:pt x="59" y="12"/>
                  </a:cubicBezTo>
                  <a:cubicBezTo>
                    <a:pt x="41" y="7"/>
                    <a:pt x="22" y="10"/>
                    <a:pt x="6" y="20"/>
                  </a:cubicBezTo>
                  <a:cubicBezTo>
                    <a:pt x="4" y="21"/>
                    <a:pt x="2" y="20"/>
                    <a:pt x="1" y="18"/>
                  </a:cubicBezTo>
                  <a:cubicBezTo>
                    <a:pt x="0" y="17"/>
                    <a:pt x="1" y="14"/>
                    <a:pt x="2" y="13"/>
                  </a:cubicBezTo>
                  <a:cubicBezTo>
                    <a:pt x="20" y="3"/>
                    <a:pt x="41" y="0"/>
                    <a:pt x="61" y="5"/>
                  </a:cubicBezTo>
                  <a:cubicBezTo>
                    <a:pt x="81" y="9"/>
                    <a:pt x="98" y="21"/>
                    <a:pt x="109" y="38"/>
                  </a:cubicBezTo>
                  <a:cubicBezTo>
                    <a:pt x="110" y="39"/>
                    <a:pt x="110" y="41"/>
                    <a:pt x="108" y="43"/>
                  </a:cubicBezTo>
                  <a:cubicBezTo>
                    <a:pt x="108" y="43"/>
                    <a:pt x="107" y="43"/>
                    <a:pt x="106" y="4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2" name="Freeform 304">
              <a:extLst>
                <a:ext uri="{FF2B5EF4-FFF2-40B4-BE49-F238E27FC236}">
                  <a16:creationId xmlns:a16="http://schemas.microsoft.com/office/drawing/2014/main" id="{11706413-AF0D-00CE-87E6-A62074E907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980511" y="3624410"/>
              <a:ext cx="263580" cy="453943"/>
            </a:xfrm>
            <a:custGeom>
              <a:avLst/>
              <a:gdLst>
                <a:gd name="T0" fmla="*/ 35 w 96"/>
                <a:gd name="T1" fmla="*/ 164 h 164"/>
                <a:gd name="T2" fmla="*/ 30 w 96"/>
                <a:gd name="T3" fmla="*/ 163 h 164"/>
                <a:gd name="T4" fmla="*/ 4 w 96"/>
                <a:gd name="T5" fmla="*/ 132 h 164"/>
                <a:gd name="T6" fmla="*/ 5 w 96"/>
                <a:gd name="T7" fmla="*/ 75 h 164"/>
                <a:gd name="T8" fmla="*/ 66 w 96"/>
                <a:gd name="T9" fmla="*/ 6 h 164"/>
                <a:gd name="T10" fmla="*/ 91 w 96"/>
                <a:gd name="T11" fmla="*/ 37 h 164"/>
                <a:gd name="T12" fmla="*/ 91 w 96"/>
                <a:gd name="T13" fmla="*/ 94 h 164"/>
                <a:gd name="T14" fmla="*/ 35 w 96"/>
                <a:gd name="T15" fmla="*/ 164 h 164"/>
                <a:gd name="T16" fmla="*/ 60 w 96"/>
                <a:gd name="T17" fmla="*/ 12 h 164"/>
                <a:gd name="T18" fmla="*/ 12 w 96"/>
                <a:gd name="T19" fmla="*/ 76 h 164"/>
                <a:gd name="T20" fmla="*/ 11 w 96"/>
                <a:gd name="T21" fmla="*/ 130 h 164"/>
                <a:gd name="T22" fmla="*/ 31 w 96"/>
                <a:gd name="T23" fmla="*/ 156 h 164"/>
                <a:gd name="T24" fmla="*/ 84 w 96"/>
                <a:gd name="T25" fmla="*/ 93 h 164"/>
                <a:gd name="T26" fmla="*/ 84 w 96"/>
                <a:gd name="T27" fmla="*/ 93 h 164"/>
                <a:gd name="T28" fmla="*/ 84 w 96"/>
                <a:gd name="T29" fmla="*/ 39 h 164"/>
                <a:gd name="T30" fmla="*/ 64 w 96"/>
                <a:gd name="T31" fmla="*/ 13 h 164"/>
                <a:gd name="T32" fmla="*/ 60 w 96"/>
                <a:gd name="T33" fmla="*/ 12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6" h="164">
                  <a:moveTo>
                    <a:pt x="35" y="164"/>
                  </a:moveTo>
                  <a:cubicBezTo>
                    <a:pt x="33" y="164"/>
                    <a:pt x="32" y="164"/>
                    <a:pt x="30" y="163"/>
                  </a:cubicBezTo>
                  <a:cubicBezTo>
                    <a:pt x="18" y="160"/>
                    <a:pt x="9" y="149"/>
                    <a:pt x="4" y="132"/>
                  </a:cubicBezTo>
                  <a:cubicBezTo>
                    <a:pt x="0" y="116"/>
                    <a:pt x="0" y="95"/>
                    <a:pt x="5" y="75"/>
                  </a:cubicBezTo>
                  <a:cubicBezTo>
                    <a:pt x="15" y="31"/>
                    <a:pt x="42" y="0"/>
                    <a:pt x="66" y="6"/>
                  </a:cubicBezTo>
                  <a:cubicBezTo>
                    <a:pt x="78" y="9"/>
                    <a:pt x="87" y="20"/>
                    <a:pt x="91" y="37"/>
                  </a:cubicBezTo>
                  <a:cubicBezTo>
                    <a:pt x="96" y="53"/>
                    <a:pt x="95" y="74"/>
                    <a:pt x="91" y="94"/>
                  </a:cubicBezTo>
                  <a:cubicBezTo>
                    <a:pt x="81" y="135"/>
                    <a:pt x="58" y="164"/>
                    <a:pt x="35" y="164"/>
                  </a:cubicBezTo>
                  <a:close/>
                  <a:moveTo>
                    <a:pt x="60" y="12"/>
                  </a:moveTo>
                  <a:cubicBezTo>
                    <a:pt x="41" y="12"/>
                    <a:pt x="20" y="40"/>
                    <a:pt x="12" y="76"/>
                  </a:cubicBezTo>
                  <a:cubicBezTo>
                    <a:pt x="7" y="96"/>
                    <a:pt x="7" y="115"/>
                    <a:pt x="11" y="130"/>
                  </a:cubicBezTo>
                  <a:cubicBezTo>
                    <a:pt x="15" y="145"/>
                    <a:pt x="22" y="154"/>
                    <a:pt x="31" y="156"/>
                  </a:cubicBezTo>
                  <a:cubicBezTo>
                    <a:pt x="51" y="161"/>
                    <a:pt x="75" y="132"/>
                    <a:pt x="84" y="93"/>
                  </a:cubicBezTo>
                  <a:cubicBezTo>
                    <a:pt x="84" y="93"/>
                    <a:pt x="84" y="93"/>
                    <a:pt x="84" y="93"/>
                  </a:cubicBezTo>
                  <a:cubicBezTo>
                    <a:pt x="88" y="73"/>
                    <a:pt x="88" y="54"/>
                    <a:pt x="84" y="39"/>
                  </a:cubicBezTo>
                  <a:cubicBezTo>
                    <a:pt x="80" y="24"/>
                    <a:pt x="73" y="15"/>
                    <a:pt x="64" y="13"/>
                  </a:cubicBezTo>
                  <a:cubicBezTo>
                    <a:pt x="63" y="13"/>
                    <a:pt x="61" y="12"/>
                    <a:pt x="60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3" name="Freeform 305">
              <a:extLst>
                <a:ext uri="{FF2B5EF4-FFF2-40B4-BE49-F238E27FC236}">
                  <a16:creationId xmlns:a16="http://schemas.microsoft.com/office/drawing/2014/main" id="{6C0B56DC-F973-BE26-02C6-538DE8D14757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64709" y="3800130"/>
              <a:ext cx="435640" cy="113487"/>
            </a:xfrm>
            <a:custGeom>
              <a:avLst/>
              <a:gdLst>
                <a:gd name="T0" fmla="*/ 154 w 158"/>
                <a:gd name="T1" fmla="*/ 42 h 42"/>
                <a:gd name="T2" fmla="*/ 153 w 158"/>
                <a:gd name="T3" fmla="*/ 42 h 42"/>
                <a:gd name="T4" fmla="*/ 3 w 158"/>
                <a:gd name="T5" fmla="*/ 8 h 42"/>
                <a:gd name="T6" fmla="*/ 0 w 158"/>
                <a:gd name="T7" fmla="*/ 3 h 42"/>
                <a:gd name="T8" fmla="*/ 4 w 158"/>
                <a:gd name="T9" fmla="*/ 1 h 42"/>
                <a:gd name="T10" fmla="*/ 155 w 158"/>
                <a:gd name="T11" fmla="*/ 35 h 42"/>
                <a:gd name="T12" fmla="*/ 157 w 158"/>
                <a:gd name="T13" fmla="*/ 40 h 42"/>
                <a:gd name="T14" fmla="*/ 154 w 158"/>
                <a:gd name="T15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8" h="42">
                  <a:moveTo>
                    <a:pt x="154" y="42"/>
                  </a:moveTo>
                  <a:cubicBezTo>
                    <a:pt x="154" y="42"/>
                    <a:pt x="153" y="42"/>
                    <a:pt x="153" y="42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1" y="2"/>
                    <a:pt x="2" y="0"/>
                    <a:pt x="4" y="1"/>
                  </a:cubicBezTo>
                  <a:cubicBezTo>
                    <a:pt x="155" y="35"/>
                    <a:pt x="155" y="35"/>
                    <a:pt x="155" y="35"/>
                  </a:cubicBezTo>
                  <a:cubicBezTo>
                    <a:pt x="157" y="36"/>
                    <a:pt x="158" y="38"/>
                    <a:pt x="157" y="40"/>
                  </a:cubicBezTo>
                  <a:cubicBezTo>
                    <a:pt x="157" y="41"/>
                    <a:pt x="155" y="42"/>
                    <a:pt x="154" y="4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4" name="Freeform 306">
              <a:extLst>
                <a:ext uri="{FF2B5EF4-FFF2-40B4-BE49-F238E27FC236}">
                  <a16:creationId xmlns:a16="http://schemas.microsoft.com/office/drawing/2014/main" id="{21D7C3A3-A9BB-E966-7272-B34B1EC82248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10954" y="3639054"/>
              <a:ext cx="120809" cy="435640"/>
            </a:xfrm>
            <a:custGeom>
              <a:avLst/>
              <a:gdLst>
                <a:gd name="T0" fmla="*/ 4 w 43"/>
                <a:gd name="T1" fmla="*/ 158 h 158"/>
                <a:gd name="T2" fmla="*/ 4 w 43"/>
                <a:gd name="T3" fmla="*/ 158 h 158"/>
                <a:gd name="T4" fmla="*/ 1 w 43"/>
                <a:gd name="T5" fmla="*/ 154 h 158"/>
                <a:gd name="T6" fmla="*/ 35 w 43"/>
                <a:gd name="T7" fmla="*/ 4 h 158"/>
                <a:gd name="T8" fmla="*/ 40 w 43"/>
                <a:gd name="T9" fmla="*/ 1 h 158"/>
                <a:gd name="T10" fmla="*/ 42 w 43"/>
                <a:gd name="T11" fmla="*/ 5 h 158"/>
                <a:gd name="T12" fmla="*/ 8 w 43"/>
                <a:gd name="T13" fmla="*/ 155 h 158"/>
                <a:gd name="T14" fmla="*/ 4 w 43"/>
                <a:gd name="T15" fmla="*/ 158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3" h="158">
                  <a:moveTo>
                    <a:pt x="4" y="158"/>
                  </a:moveTo>
                  <a:cubicBezTo>
                    <a:pt x="4" y="158"/>
                    <a:pt x="4" y="158"/>
                    <a:pt x="4" y="158"/>
                  </a:cubicBezTo>
                  <a:cubicBezTo>
                    <a:pt x="2" y="158"/>
                    <a:pt x="0" y="156"/>
                    <a:pt x="1" y="154"/>
                  </a:cubicBezTo>
                  <a:cubicBezTo>
                    <a:pt x="35" y="4"/>
                    <a:pt x="35" y="4"/>
                    <a:pt x="35" y="4"/>
                  </a:cubicBezTo>
                  <a:cubicBezTo>
                    <a:pt x="36" y="2"/>
                    <a:pt x="38" y="0"/>
                    <a:pt x="40" y="1"/>
                  </a:cubicBezTo>
                  <a:cubicBezTo>
                    <a:pt x="42" y="1"/>
                    <a:pt x="43" y="3"/>
                    <a:pt x="42" y="5"/>
                  </a:cubicBezTo>
                  <a:cubicBezTo>
                    <a:pt x="8" y="155"/>
                    <a:pt x="8" y="155"/>
                    <a:pt x="8" y="155"/>
                  </a:cubicBezTo>
                  <a:cubicBezTo>
                    <a:pt x="8" y="157"/>
                    <a:pt x="6" y="158"/>
                    <a:pt x="4" y="15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5" name="Freeform 307">
              <a:extLst>
                <a:ext uri="{FF2B5EF4-FFF2-40B4-BE49-F238E27FC236}">
                  <a16:creationId xmlns:a16="http://schemas.microsoft.com/office/drawing/2014/main" id="{4100DD88-748A-C6E6-2FE2-5137DEF788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932919" y="3598786"/>
              <a:ext cx="358761" cy="578411"/>
            </a:xfrm>
            <a:custGeom>
              <a:avLst/>
              <a:gdLst>
                <a:gd name="T0" fmla="*/ 4 w 129"/>
                <a:gd name="T1" fmla="*/ 209 h 209"/>
                <a:gd name="T2" fmla="*/ 3 w 129"/>
                <a:gd name="T3" fmla="*/ 209 h 209"/>
                <a:gd name="T4" fmla="*/ 0 w 129"/>
                <a:gd name="T5" fmla="*/ 205 h 209"/>
                <a:gd name="T6" fmla="*/ 47 w 129"/>
                <a:gd name="T7" fmla="*/ 3 h 209"/>
                <a:gd name="T8" fmla="*/ 51 w 129"/>
                <a:gd name="T9" fmla="*/ 0 h 209"/>
                <a:gd name="T10" fmla="*/ 111 w 129"/>
                <a:gd name="T11" fmla="*/ 43 h 209"/>
                <a:gd name="T12" fmla="*/ 123 w 129"/>
                <a:gd name="T13" fmla="*/ 115 h 209"/>
                <a:gd name="T14" fmla="*/ 80 w 129"/>
                <a:gd name="T15" fmla="*/ 175 h 209"/>
                <a:gd name="T16" fmla="*/ 12 w 129"/>
                <a:gd name="T17" fmla="*/ 187 h 209"/>
                <a:gd name="T18" fmla="*/ 8 w 129"/>
                <a:gd name="T19" fmla="*/ 206 h 209"/>
                <a:gd name="T20" fmla="*/ 4 w 129"/>
                <a:gd name="T21" fmla="*/ 209 h 209"/>
                <a:gd name="T22" fmla="*/ 13 w 129"/>
                <a:gd name="T23" fmla="*/ 180 h 209"/>
                <a:gd name="T24" fmla="*/ 77 w 129"/>
                <a:gd name="T25" fmla="*/ 168 h 209"/>
                <a:gd name="T26" fmla="*/ 116 w 129"/>
                <a:gd name="T27" fmla="*/ 113 h 209"/>
                <a:gd name="T28" fmla="*/ 105 w 129"/>
                <a:gd name="T29" fmla="*/ 47 h 209"/>
                <a:gd name="T30" fmla="*/ 53 w 129"/>
                <a:gd name="T31" fmla="*/ 8 h 209"/>
                <a:gd name="T32" fmla="*/ 13 w 129"/>
                <a:gd name="T33" fmla="*/ 180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9" h="209">
                  <a:moveTo>
                    <a:pt x="4" y="209"/>
                  </a:moveTo>
                  <a:cubicBezTo>
                    <a:pt x="4" y="209"/>
                    <a:pt x="3" y="209"/>
                    <a:pt x="3" y="209"/>
                  </a:cubicBezTo>
                  <a:cubicBezTo>
                    <a:pt x="1" y="208"/>
                    <a:pt x="0" y="207"/>
                    <a:pt x="0" y="205"/>
                  </a:cubicBezTo>
                  <a:cubicBezTo>
                    <a:pt x="47" y="3"/>
                    <a:pt x="47" y="3"/>
                    <a:pt x="47" y="3"/>
                  </a:cubicBezTo>
                  <a:cubicBezTo>
                    <a:pt x="47" y="1"/>
                    <a:pt x="49" y="0"/>
                    <a:pt x="51" y="0"/>
                  </a:cubicBezTo>
                  <a:cubicBezTo>
                    <a:pt x="76" y="6"/>
                    <a:pt x="97" y="21"/>
                    <a:pt x="111" y="43"/>
                  </a:cubicBezTo>
                  <a:cubicBezTo>
                    <a:pt x="124" y="64"/>
                    <a:pt x="129" y="90"/>
                    <a:pt x="123" y="115"/>
                  </a:cubicBezTo>
                  <a:cubicBezTo>
                    <a:pt x="117" y="140"/>
                    <a:pt x="102" y="161"/>
                    <a:pt x="80" y="175"/>
                  </a:cubicBezTo>
                  <a:cubicBezTo>
                    <a:pt x="60" y="187"/>
                    <a:pt x="36" y="192"/>
                    <a:pt x="12" y="187"/>
                  </a:cubicBezTo>
                  <a:cubicBezTo>
                    <a:pt x="8" y="206"/>
                    <a:pt x="8" y="206"/>
                    <a:pt x="8" y="206"/>
                  </a:cubicBezTo>
                  <a:cubicBezTo>
                    <a:pt x="7" y="208"/>
                    <a:pt x="6" y="209"/>
                    <a:pt x="4" y="209"/>
                  </a:cubicBezTo>
                  <a:close/>
                  <a:moveTo>
                    <a:pt x="13" y="180"/>
                  </a:moveTo>
                  <a:cubicBezTo>
                    <a:pt x="35" y="185"/>
                    <a:pt x="58" y="180"/>
                    <a:pt x="77" y="168"/>
                  </a:cubicBezTo>
                  <a:cubicBezTo>
                    <a:pt x="97" y="156"/>
                    <a:pt x="111" y="136"/>
                    <a:pt x="116" y="113"/>
                  </a:cubicBezTo>
                  <a:cubicBezTo>
                    <a:pt x="121" y="90"/>
                    <a:pt x="117" y="67"/>
                    <a:pt x="105" y="47"/>
                  </a:cubicBezTo>
                  <a:cubicBezTo>
                    <a:pt x="93" y="28"/>
                    <a:pt x="74" y="14"/>
                    <a:pt x="53" y="8"/>
                  </a:cubicBezTo>
                  <a:lnTo>
                    <a:pt x="13" y="18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6" name="Freeform 308">
              <a:extLst>
                <a:ext uri="{FF2B5EF4-FFF2-40B4-BE49-F238E27FC236}">
                  <a16:creationId xmlns:a16="http://schemas.microsoft.com/office/drawing/2014/main" id="{82F3D93C-C064-51E0-27E0-E0C18362296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053728" y="4162554"/>
              <a:ext cx="256258" cy="58573"/>
            </a:xfrm>
            <a:custGeom>
              <a:avLst/>
              <a:gdLst>
                <a:gd name="T0" fmla="*/ 88 w 92"/>
                <a:gd name="T1" fmla="*/ 21 h 21"/>
                <a:gd name="T2" fmla="*/ 3 w 92"/>
                <a:gd name="T3" fmla="*/ 21 h 21"/>
                <a:gd name="T4" fmla="*/ 0 w 92"/>
                <a:gd name="T5" fmla="*/ 19 h 21"/>
                <a:gd name="T6" fmla="*/ 1 w 92"/>
                <a:gd name="T7" fmla="*/ 16 h 21"/>
                <a:gd name="T8" fmla="*/ 33 w 92"/>
                <a:gd name="T9" fmla="*/ 0 h 21"/>
                <a:gd name="T10" fmla="*/ 59 w 92"/>
                <a:gd name="T11" fmla="*/ 0 h 21"/>
                <a:gd name="T12" fmla="*/ 91 w 92"/>
                <a:gd name="T13" fmla="*/ 16 h 21"/>
                <a:gd name="T14" fmla="*/ 92 w 92"/>
                <a:gd name="T15" fmla="*/ 19 h 21"/>
                <a:gd name="T16" fmla="*/ 88 w 92"/>
                <a:gd name="T17" fmla="*/ 21 h 21"/>
                <a:gd name="T18" fmla="*/ 12 w 92"/>
                <a:gd name="T19" fmla="*/ 14 h 21"/>
                <a:gd name="T20" fmla="*/ 80 w 92"/>
                <a:gd name="T21" fmla="*/ 14 h 21"/>
                <a:gd name="T22" fmla="*/ 59 w 92"/>
                <a:gd name="T23" fmla="*/ 7 h 21"/>
                <a:gd name="T24" fmla="*/ 33 w 92"/>
                <a:gd name="T25" fmla="*/ 7 h 21"/>
                <a:gd name="T26" fmla="*/ 12 w 92"/>
                <a:gd name="T27" fmla="*/ 14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21">
                  <a:moveTo>
                    <a:pt x="88" y="21"/>
                  </a:moveTo>
                  <a:cubicBezTo>
                    <a:pt x="3" y="21"/>
                    <a:pt x="3" y="21"/>
                    <a:pt x="3" y="21"/>
                  </a:cubicBezTo>
                  <a:cubicBezTo>
                    <a:pt x="2" y="21"/>
                    <a:pt x="1" y="21"/>
                    <a:pt x="0" y="19"/>
                  </a:cubicBezTo>
                  <a:cubicBezTo>
                    <a:pt x="0" y="18"/>
                    <a:pt x="0" y="17"/>
                    <a:pt x="1" y="16"/>
                  </a:cubicBezTo>
                  <a:cubicBezTo>
                    <a:pt x="8" y="6"/>
                    <a:pt x="20" y="0"/>
                    <a:pt x="33" y="0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72" y="0"/>
                    <a:pt x="84" y="6"/>
                    <a:pt x="91" y="16"/>
                  </a:cubicBezTo>
                  <a:cubicBezTo>
                    <a:pt x="92" y="17"/>
                    <a:pt x="92" y="18"/>
                    <a:pt x="92" y="19"/>
                  </a:cubicBezTo>
                  <a:cubicBezTo>
                    <a:pt x="91" y="21"/>
                    <a:pt x="90" y="21"/>
                    <a:pt x="88" y="21"/>
                  </a:cubicBezTo>
                  <a:close/>
                  <a:moveTo>
                    <a:pt x="12" y="14"/>
                  </a:moveTo>
                  <a:cubicBezTo>
                    <a:pt x="80" y="14"/>
                    <a:pt x="80" y="14"/>
                    <a:pt x="80" y="14"/>
                  </a:cubicBezTo>
                  <a:cubicBezTo>
                    <a:pt x="74" y="10"/>
                    <a:pt x="67" y="7"/>
                    <a:pt x="59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25" y="7"/>
                    <a:pt x="18" y="10"/>
                    <a:pt x="12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7" name="Shape18_20200717_154431">
            <a:extLst>
              <a:ext uri="{FF2B5EF4-FFF2-40B4-BE49-F238E27FC236}">
                <a16:creationId xmlns:a16="http://schemas.microsoft.com/office/drawing/2014/main" id="{A7CACEBE-A76C-579C-B5CC-25D0960A3AD8}"/>
              </a:ext>
            </a:extLst>
          </p:cNvPr>
          <p:cNvGrpSpPr>
            <a:grpSpLocks noChangeAspect="1"/>
          </p:cNvGrpSpPr>
          <p:nvPr/>
        </p:nvGrpSpPr>
        <p:grpSpPr>
          <a:xfrm>
            <a:off x="10827409" y="2605699"/>
            <a:ext cx="981632" cy="386604"/>
            <a:chOff x="-1068963" y="3701289"/>
            <a:chExt cx="1068963" cy="420997"/>
          </a:xfrm>
          <a:solidFill>
            <a:schemeClr val="accent1"/>
          </a:solidFill>
        </p:grpSpPr>
        <p:sp>
          <p:nvSpPr>
            <p:cNvPr id="69" name="Freeform 309">
              <a:extLst>
                <a:ext uri="{FF2B5EF4-FFF2-40B4-BE49-F238E27FC236}">
                  <a16:creationId xmlns:a16="http://schemas.microsoft.com/office/drawing/2014/main" id="{AC0E69F0-29B0-E5E4-14CC-39963EC6D4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068963" y="3701289"/>
              <a:ext cx="420997" cy="420997"/>
            </a:xfrm>
            <a:custGeom>
              <a:avLst/>
              <a:gdLst>
                <a:gd name="T0" fmla="*/ 76 w 153"/>
                <a:gd name="T1" fmla="*/ 153 h 153"/>
                <a:gd name="T2" fmla="*/ 0 w 153"/>
                <a:gd name="T3" fmla="*/ 77 h 153"/>
                <a:gd name="T4" fmla="*/ 76 w 153"/>
                <a:gd name="T5" fmla="*/ 0 h 153"/>
                <a:gd name="T6" fmla="*/ 153 w 153"/>
                <a:gd name="T7" fmla="*/ 77 h 153"/>
                <a:gd name="T8" fmla="*/ 76 w 153"/>
                <a:gd name="T9" fmla="*/ 153 h 153"/>
                <a:gd name="T10" fmla="*/ 76 w 153"/>
                <a:gd name="T11" fmla="*/ 8 h 153"/>
                <a:gd name="T12" fmla="*/ 7 w 153"/>
                <a:gd name="T13" fmla="*/ 77 h 153"/>
                <a:gd name="T14" fmla="*/ 76 w 153"/>
                <a:gd name="T15" fmla="*/ 146 h 153"/>
                <a:gd name="T16" fmla="*/ 146 w 153"/>
                <a:gd name="T17" fmla="*/ 77 h 153"/>
                <a:gd name="T18" fmla="*/ 76 w 153"/>
                <a:gd name="T19" fmla="*/ 8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3" h="153">
                  <a:moveTo>
                    <a:pt x="76" y="153"/>
                  </a:moveTo>
                  <a:cubicBezTo>
                    <a:pt x="34" y="153"/>
                    <a:pt x="0" y="119"/>
                    <a:pt x="0" y="77"/>
                  </a:cubicBezTo>
                  <a:cubicBezTo>
                    <a:pt x="0" y="35"/>
                    <a:pt x="34" y="0"/>
                    <a:pt x="76" y="0"/>
                  </a:cubicBezTo>
                  <a:cubicBezTo>
                    <a:pt x="119" y="0"/>
                    <a:pt x="153" y="35"/>
                    <a:pt x="153" y="77"/>
                  </a:cubicBezTo>
                  <a:cubicBezTo>
                    <a:pt x="153" y="119"/>
                    <a:pt x="119" y="153"/>
                    <a:pt x="76" y="153"/>
                  </a:cubicBezTo>
                  <a:close/>
                  <a:moveTo>
                    <a:pt x="76" y="8"/>
                  </a:moveTo>
                  <a:cubicBezTo>
                    <a:pt x="38" y="8"/>
                    <a:pt x="7" y="39"/>
                    <a:pt x="7" y="77"/>
                  </a:cubicBezTo>
                  <a:cubicBezTo>
                    <a:pt x="7" y="115"/>
                    <a:pt x="38" y="146"/>
                    <a:pt x="76" y="146"/>
                  </a:cubicBezTo>
                  <a:cubicBezTo>
                    <a:pt x="115" y="146"/>
                    <a:pt x="146" y="115"/>
                    <a:pt x="146" y="77"/>
                  </a:cubicBezTo>
                  <a:cubicBezTo>
                    <a:pt x="146" y="39"/>
                    <a:pt x="115" y="8"/>
                    <a:pt x="76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0" name="Freeform 310">
              <a:extLst>
                <a:ext uri="{FF2B5EF4-FFF2-40B4-BE49-F238E27FC236}">
                  <a16:creationId xmlns:a16="http://schemas.microsoft.com/office/drawing/2014/main" id="{94E2BBD6-6A87-24FA-C373-B0D061D99449}"/>
                </a:ext>
              </a:extLst>
            </p:cNvPr>
            <p:cNvSpPr>
              <a:spLocks/>
            </p:cNvSpPr>
            <p:nvPr/>
          </p:nvSpPr>
          <p:spPr bwMode="auto">
            <a:xfrm>
              <a:off x="-1006730" y="3756200"/>
              <a:ext cx="296529" cy="76879"/>
            </a:xfrm>
            <a:custGeom>
              <a:avLst/>
              <a:gdLst>
                <a:gd name="T0" fmla="*/ 53 w 108"/>
                <a:gd name="T1" fmla="*/ 28 h 28"/>
                <a:gd name="T2" fmla="*/ 1 w 108"/>
                <a:gd name="T3" fmla="*/ 7 h 28"/>
                <a:gd name="T4" fmla="*/ 1 w 108"/>
                <a:gd name="T5" fmla="*/ 2 h 28"/>
                <a:gd name="T6" fmla="*/ 6 w 108"/>
                <a:gd name="T7" fmla="*/ 2 h 28"/>
                <a:gd name="T8" fmla="*/ 53 w 108"/>
                <a:gd name="T9" fmla="*/ 21 h 28"/>
                <a:gd name="T10" fmla="*/ 101 w 108"/>
                <a:gd name="T11" fmla="*/ 2 h 28"/>
                <a:gd name="T12" fmla="*/ 106 w 108"/>
                <a:gd name="T13" fmla="*/ 2 h 28"/>
                <a:gd name="T14" fmla="*/ 106 w 108"/>
                <a:gd name="T15" fmla="*/ 7 h 28"/>
                <a:gd name="T16" fmla="*/ 53 w 108"/>
                <a:gd name="T17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8" h="28">
                  <a:moveTo>
                    <a:pt x="53" y="28"/>
                  </a:moveTo>
                  <a:cubicBezTo>
                    <a:pt x="34" y="28"/>
                    <a:pt x="15" y="20"/>
                    <a:pt x="1" y="7"/>
                  </a:cubicBezTo>
                  <a:cubicBezTo>
                    <a:pt x="0" y="6"/>
                    <a:pt x="0" y="3"/>
                    <a:pt x="1" y="2"/>
                  </a:cubicBezTo>
                  <a:cubicBezTo>
                    <a:pt x="2" y="1"/>
                    <a:pt x="5" y="0"/>
                    <a:pt x="6" y="2"/>
                  </a:cubicBezTo>
                  <a:cubicBezTo>
                    <a:pt x="19" y="14"/>
                    <a:pt x="36" y="21"/>
                    <a:pt x="53" y="21"/>
                  </a:cubicBezTo>
                  <a:cubicBezTo>
                    <a:pt x="71" y="21"/>
                    <a:pt x="88" y="14"/>
                    <a:pt x="101" y="2"/>
                  </a:cubicBezTo>
                  <a:cubicBezTo>
                    <a:pt x="103" y="0"/>
                    <a:pt x="105" y="0"/>
                    <a:pt x="106" y="2"/>
                  </a:cubicBezTo>
                  <a:cubicBezTo>
                    <a:pt x="108" y="3"/>
                    <a:pt x="108" y="5"/>
                    <a:pt x="106" y="7"/>
                  </a:cubicBezTo>
                  <a:cubicBezTo>
                    <a:pt x="92" y="20"/>
                    <a:pt x="73" y="28"/>
                    <a:pt x="53" y="2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1" name="Freeform 311">
              <a:extLst>
                <a:ext uri="{FF2B5EF4-FFF2-40B4-BE49-F238E27FC236}">
                  <a16:creationId xmlns:a16="http://schemas.microsoft.com/office/drawing/2014/main" id="{25DC4203-F449-8A23-32DC-9099BF776201}"/>
                </a:ext>
              </a:extLst>
            </p:cNvPr>
            <p:cNvSpPr>
              <a:spLocks/>
            </p:cNvSpPr>
            <p:nvPr/>
          </p:nvSpPr>
          <p:spPr bwMode="auto">
            <a:xfrm>
              <a:off x="-1006730" y="3994156"/>
              <a:ext cx="296529" cy="73217"/>
            </a:xfrm>
            <a:custGeom>
              <a:avLst/>
              <a:gdLst>
                <a:gd name="T0" fmla="*/ 4 w 107"/>
                <a:gd name="T1" fmla="*/ 27 h 27"/>
                <a:gd name="T2" fmla="*/ 1 w 107"/>
                <a:gd name="T3" fmla="*/ 25 h 27"/>
                <a:gd name="T4" fmla="*/ 1 w 107"/>
                <a:gd name="T5" fmla="*/ 20 h 27"/>
                <a:gd name="T6" fmla="*/ 53 w 107"/>
                <a:gd name="T7" fmla="*/ 0 h 27"/>
                <a:gd name="T8" fmla="*/ 105 w 107"/>
                <a:gd name="T9" fmla="*/ 20 h 27"/>
                <a:gd name="T10" fmla="*/ 105 w 107"/>
                <a:gd name="T11" fmla="*/ 25 h 27"/>
                <a:gd name="T12" fmla="*/ 100 w 107"/>
                <a:gd name="T13" fmla="*/ 25 h 27"/>
                <a:gd name="T14" fmla="*/ 53 w 107"/>
                <a:gd name="T15" fmla="*/ 7 h 27"/>
                <a:gd name="T16" fmla="*/ 6 w 107"/>
                <a:gd name="T17" fmla="*/ 26 h 27"/>
                <a:gd name="T18" fmla="*/ 4 w 107"/>
                <a:gd name="T19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7" h="27">
                  <a:moveTo>
                    <a:pt x="4" y="27"/>
                  </a:moveTo>
                  <a:cubicBezTo>
                    <a:pt x="3" y="27"/>
                    <a:pt x="2" y="26"/>
                    <a:pt x="1" y="25"/>
                  </a:cubicBezTo>
                  <a:cubicBezTo>
                    <a:pt x="0" y="24"/>
                    <a:pt x="0" y="22"/>
                    <a:pt x="1" y="20"/>
                  </a:cubicBezTo>
                  <a:cubicBezTo>
                    <a:pt x="16" y="7"/>
                    <a:pt x="34" y="0"/>
                    <a:pt x="53" y="0"/>
                  </a:cubicBezTo>
                  <a:cubicBezTo>
                    <a:pt x="73" y="0"/>
                    <a:pt x="91" y="7"/>
                    <a:pt x="105" y="20"/>
                  </a:cubicBezTo>
                  <a:cubicBezTo>
                    <a:pt x="107" y="21"/>
                    <a:pt x="107" y="24"/>
                    <a:pt x="105" y="25"/>
                  </a:cubicBezTo>
                  <a:cubicBezTo>
                    <a:pt x="104" y="27"/>
                    <a:pt x="102" y="27"/>
                    <a:pt x="100" y="25"/>
                  </a:cubicBezTo>
                  <a:cubicBezTo>
                    <a:pt x="87" y="14"/>
                    <a:pt x="71" y="7"/>
                    <a:pt x="53" y="7"/>
                  </a:cubicBezTo>
                  <a:cubicBezTo>
                    <a:pt x="36" y="7"/>
                    <a:pt x="19" y="14"/>
                    <a:pt x="6" y="26"/>
                  </a:cubicBezTo>
                  <a:cubicBezTo>
                    <a:pt x="6" y="26"/>
                    <a:pt x="5" y="27"/>
                    <a:pt x="4" y="2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2" name="Freeform 312">
              <a:extLst>
                <a:ext uri="{FF2B5EF4-FFF2-40B4-BE49-F238E27FC236}">
                  <a16:creationId xmlns:a16="http://schemas.microsoft.com/office/drawing/2014/main" id="{F2697DC9-A996-A5A7-B995-495D4F167B4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973781" y="3701289"/>
              <a:ext cx="230634" cy="420997"/>
            </a:xfrm>
            <a:custGeom>
              <a:avLst/>
              <a:gdLst>
                <a:gd name="T0" fmla="*/ 41 w 83"/>
                <a:gd name="T1" fmla="*/ 153 h 153"/>
                <a:gd name="T2" fmla="*/ 0 w 83"/>
                <a:gd name="T3" fmla="*/ 77 h 153"/>
                <a:gd name="T4" fmla="*/ 41 w 83"/>
                <a:gd name="T5" fmla="*/ 0 h 153"/>
                <a:gd name="T6" fmla="*/ 83 w 83"/>
                <a:gd name="T7" fmla="*/ 77 h 153"/>
                <a:gd name="T8" fmla="*/ 41 w 83"/>
                <a:gd name="T9" fmla="*/ 153 h 153"/>
                <a:gd name="T10" fmla="*/ 41 w 83"/>
                <a:gd name="T11" fmla="*/ 8 h 153"/>
                <a:gd name="T12" fmla="*/ 7 w 83"/>
                <a:gd name="T13" fmla="*/ 77 h 153"/>
                <a:gd name="T14" fmla="*/ 41 w 83"/>
                <a:gd name="T15" fmla="*/ 146 h 153"/>
                <a:gd name="T16" fmla="*/ 76 w 83"/>
                <a:gd name="T17" fmla="*/ 77 h 153"/>
                <a:gd name="T18" fmla="*/ 41 w 83"/>
                <a:gd name="T19" fmla="*/ 8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3" h="153">
                  <a:moveTo>
                    <a:pt x="41" y="153"/>
                  </a:moveTo>
                  <a:cubicBezTo>
                    <a:pt x="18" y="153"/>
                    <a:pt x="0" y="120"/>
                    <a:pt x="0" y="77"/>
                  </a:cubicBezTo>
                  <a:cubicBezTo>
                    <a:pt x="0" y="34"/>
                    <a:pt x="18" y="0"/>
                    <a:pt x="41" y="0"/>
                  </a:cubicBezTo>
                  <a:cubicBezTo>
                    <a:pt x="65" y="0"/>
                    <a:pt x="83" y="34"/>
                    <a:pt x="83" y="77"/>
                  </a:cubicBezTo>
                  <a:cubicBezTo>
                    <a:pt x="83" y="120"/>
                    <a:pt x="65" y="153"/>
                    <a:pt x="41" y="153"/>
                  </a:cubicBezTo>
                  <a:close/>
                  <a:moveTo>
                    <a:pt x="41" y="8"/>
                  </a:moveTo>
                  <a:cubicBezTo>
                    <a:pt x="23" y="8"/>
                    <a:pt x="7" y="39"/>
                    <a:pt x="7" y="77"/>
                  </a:cubicBezTo>
                  <a:cubicBezTo>
                    <a:pt x="7" y="114"/>
                    <a:pt x="23" y="146"/>
                    <a:pt x="41" y="146"/>
                  </a:cubicBezTo>
                  <a:cubicBezTo>
                    <a:pt x="60" y="146"/>
                    <a:pt x="76" y="114"/>
                    <a:pt x="76" y="77"/>
                  </a:cubicBezTo>
                  <a:cubicBezTo>
                    <a:pt x="76" y="39"/>
                    <a:pt x="60" y="8"/>
                    <a:pt x="41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3" name="Freeform 313">
              <a:extLst>
                <a:ext uri="{FF2B5EF4-FFF2-40B4-BE49-F238E27FC236}">
                  <a16:creationId xmlns:a16="http://schemas.microsoft.com/office/drawing/2014/main" id="{44283E4D-C667-199F-914F-3DAFC30054BF}"/>
                </a:ext>
              </a:extLst>
            </p:cNvPr>
            <p:cNvSpPr>
              <a:spLocks/>
            </p:cNvSpPr>
            <p:nvPr/>
          </p:nvSpPr>
          <p:spPr bwMode="auto">
            <a:xfrm>
              <a:off x="-1068963" y="3902634"/>
              <a:ext cx="420997" cy="18305"/>
            </a:xfrm>
            <a:custGeom>
              <a:avLst/>
              <a:gdLst>
                <a:gd name="T0" fmla="*/ 149 w 153"/>
                <a:gd name="T1" fmla="*/ 7 h 7"/>
                <a:gd name="T2" fmla="*/ 4 w 153"/>
                <a:gd name="T3" fmla="*/ 7 h 7"/>
                <a:gd name="T4" fmla="*/ 0 w 153"/>
                <a:gd name="T5" fmla="*/ 4 h 7"/>
                <a:gd name="T6" fmla="*/ 4 w 153"/>
                <a:gd name="T7" fmla="*/ 0 h 7"/>
                <a:gd name="T8" fmla="*/ 149 w 153"/>
                <a:gd name="T9" fmla="*/ 0 h 7"/>
                <a:gd name="T10" fmla="*/ 153 w 153"/>
                <a:gd name="T11" fmla="*/ 4 h 7"/>
                <a:gd name="T12" fmla="*/ 149 w 153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3" h="7">
                  <a:moveTo>
                    <a:pt x="149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49" y="0"/>
                    <a:pt x="149" y="0"/>
                    <a:pt x="149" y="0"/>
                  </a:cubicBezTo>
                  <a:cubicBezTo>
                    <a:pt x="151" y="0"/>
                    <a:pt x="153" y="2"/>
                    <a:pt x="153" y="4"/>
                  </a:cubicBezTo>
                  <a:cubicBezTo>
                    <a:pt x="153" y="6"/>
                    <a:pt x="151" y="7"/>
                    <a:pt x="149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4" name="Freeform 314">
              <a:extLst>
                <a:ext uri="{FF2B5EF4-FFF2-40B4-BE49-F238E27FC236}">
                  <a16:creationId xmlns:a16="http://schemas.microsoft.com/office/drawing/2014/main" id="{8824348A-881B-B636-FA3D-03225AD275E3}"/>
                </a:ext>
              </a:extLst>
            </p:cNvPr>
            <p:cNvSpPr>
              <a:spLocks/>
            </p:cNvSpPr>
            <p:nvPr/>
          </p:nvSpPr>
          <p:spPr bwMode="auto">
            <a:xfrm>
              <a:off x="-867618" y="3701289"/>
              <a:ext cx="18305" cy="420997"/>
            </a:xfrm>
            <a:custGeom>
              <a:avLst/>
              <a:gdLst>
                <a:gd name="T0" fmla="*/ 3 w 7"/>
                <a:gd name="T1" fmla="*/ 153 h 153"/>
                <a:gd name="T2" fmla="*/ 0 w 7"/>
                <a:gd name="T3" fmla="*/ 150 h 153"/>
                <a:gd name="T4" fmla="*/ 0 w 7"/>
                <a:gd name="T5" fmla="*/ 4 h 153"/>
                <a:gd name="T6" fmla="*/ 3 w 7"/>
                <a:gd name="T7" fmla="*/ 0 h 153"/>
                <a:gd name="T8" fmla="*/ 7 w 7"/>
                <a:gd name="T9" fmla="*/ 4 h 153"/>
                <a:gd name="T10" fmla="*/ 7 w 7"/>
                <a:gd name="T11" fmla="*/ 150 h 153"/>
                <a:gd name="T12" fmla="*/ 3 w 7"/>
                <a:gd name="T13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53">
                  <a:moveTo>
                    <a:pt x="3" y="153"/>
                  </a:moveTo>
                  <a:cubicBezTo>
                    <a:pt x="1" y="153"/>
                    <a:pt x="0" y="152"/>
                    <a:pt x="0" y="15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150"/>
                    <a:pt x="7" y="150"/>
                    <a:pt x="7" y="150"/>
                  </a:cubicBezTo>
                  <a:cubicBezTo>
                    <a:pt x="7" y="152"/>
                    <a:pt x="5" y="153"/>
                    <a:pt x="3" y="15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5" name="Freeform 315">
              <a:extLst>
                <a:ext uri="{FF2B5EF4-FFF2-40B4-BE49-F238E27FC236}">
                  <a16:creationId xmlns:a16="http://schemas.microsoft.com/office/drawing/2014/main" id="{5FE9197A-C180-B4D0-8801-F417565E5353}"/>
                </a:ext>
              </a:extLst>
            </p:cNvPr>
            <p:cNvSpPr>
              <a:spLocks/>
            </p:cNvSpPr>
            <p:nvPr/>
          </p:nvSpPr>
          <p:spPr bwMode="auto">
            <a:xfrm>
              <a:off x="-633325" y="3840401"/>
              <a:ext cx="175720" cy="142774"/>
            </a:xfrm>
            <a:custGeom>
              <a:avLst/>
              <a:gdLst>
                <a:gd name="T0" fmla="*/ 43 w 63"/>
                <a:gd name="T1" fmla="*/ 51 h 51"/>
                <a:gd name="T2" fmla="*/ 43 w 63"/>
                <a:gd name="T3" fmla="*/ 51 h 51"/>
                <a:gd name="T4" fmla="*/ 39 w 63"/>
                <a:gd name="T5" fmla="*/ 49 h 51"/>
                <a:gd name="T6" fmla="*/ 31 w 63"/>
                <a:gd name="T7" fmla="*/ 26 h 51"/>
                <a:gd name="T8" fmla="*/ 23 w 63"/>
                <a:gd name="T9" fmla="*/ 49 h 51"/>
                <a:gd name="T10" fmla="*/ 20 w 63"/>
                <a:gd name="T11" fmla="*/ 51 h 51"/>
                <a:gd name="T12" fmla="*/ 16 w 63"/>
                <a:gd name="T13" fmla="*/ 49 h 51"/>
                <a:gd name="T14" fmla="*/ 0 w 63"/>
                <a:gd name="T15" fmla="*/ 6 h 51"/>
                <a:gd name="T16" fmla="*/ 2 w 63"/>
                <a:gd name="T17" fmla="*/ 2 h 51"/>
                <a:gd name="T18" fmla="*/ 7 w 63"/>
                <a:gd name="T19" fmla="*/ 4 h 51"/>
                <a:gd name="T20" fmla="*/ 20 w 63"/>
                <a:gd name="T21" fmla="*/ 37 h 51"/>
                <a:gd name="T22" fmla="*/ 28 w 63"/>
                <a:gd name="T23" fmla="*/ 14 h 51"/>
                <a:gd name="T24" fmla="*/ 31 w 63"/>
                <a:gd name="T25" fmla="*/ 12 h 51"/>
                <a:gd name="T26" fmla="*/ 31 w 63"/>
                <a:gd name="T27" fmla="*/ 12 h 51"/>
                <a:gd name="T28" fmla="*/ 34 w 63"/>
                <a:gd name="T29" fmla="*/ 14 h 51"/>
                <a:gd name="T30" fmla="*/ 43 w 63"/>
                <a:gd name="T31" fmla="*/ 37 h 51"/>
                <a:gd name="T32" fmla="*/ 56 w 63"/>
                <a:gd name="T33" fmla="*/ 3 h 51"/>
                <a:gd name="T34" fmla="*/ 60 w 63"/>
                <a:gd name="T35" fmla="*/ 1 h 51"/>
                <a:gd name="T36" fmla="*/ 62 w 63"/>
                <a:gd name="T37" fmla="*/ 5 h 51"/>
                <a:gd name="T38" fmla="*/ 46 w 63"/>
                <a:gd name="T39" fmla="*/ 49 h 51"/>
                <a:gd name="T40" fmla="*/ 43 w 63"/>
                <a:gd name="T41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3" h="51">
                  <a:moveTo>
                    <a:pt x="43" y="51"/>
                  </a:moveTo>
                  <a:cubicBezTo>
                    <a:pt x="43" y="51"/>
                    <a:pt x="43" y="51"/>
                    <a:pt x="43" y="51"/>
                  </a:cubicBezTo>
                  <a:cubicBezTo>
                    <a:pt x="41" y="51"/>
                    <a:pt x="40" y="50"/>
                    <a:pt x="39" y="49"/>
                  </a:cubicBezTo>
                  <a:cubicBezTo>
                    <a:pt x="31" y="26"/>
                    <a:pt x="31" y="26"/>
                    <a:pt x="31" y="26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3" y="50"/>
                    <a:pt x="21" y="51"/>
                    <a:pt x="20" y="51"/>
                  </a:cubicBezTo>
                  <a:cubicBezTo>
                    <a:pt x="18" y="51"/>
                    <a:pt x="17" y="50"/>
                    <a:pt x="16" y="49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1" y="2"/>
                    <a:pt x="2" y="2"/>
                  </a:cubicBezTo>
                  <a:cubicBezTo>
                    <a:pt x="4" y="1"/>
                    <a:pt x="6" y="2"/>
                    <a:pt x="7" y="4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8" y="14"/>
                    <a:pt x="28" y="14"/>
                    <a:pt x="28" y="14"/>
                  </a:cubicBezTo>
                  <a:cubicBezTo>
                    <a:pt x="28" y="13"/>
                    <a:pt x="30" y="12"/>
                    <a:pt x="31" y="12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33" y="12"/>
                    <a:pt x="34" y="13"/>
                    <a:pt x="34" y="14"/>
                  </a:cubicBezTo>
                  <a:cubicBezTo>
                    <a:pt x="43" y="37"/>
                    <a:pt x="43" y="37"/>
                    <a:pt x="43" y="37"/>
                  </a:cubicBezTo>
                  <a:cubicBezTo>
                    <a:pt x="56" y="3"/>
                    <a:pt x="56" y="3"/>
                    <a:pt x="56" y="3"/>
                  </a:cubicBezTo>
                  <a:cubicBezTo>
                    <a:pt x="56" y="1"/>
                    <a:pt x="58" y="0"/>
                    <a:pt x="60" y="1"/>
                  </a:cubicBezTo>
                  <a:cubicBezTo>
                    <a:pt x="62" y="1"/>
                    <a:pt x="63" y="4"/>
                    <a:pt x="62" y="5"/>
                  </a:cubicBezTo>
                  <a:cubicBezTo>
                    <a:pt x="46" y="49"/>
                    <a:pt x="46" y="49"/>
                    <a:pt x="46" y="49"/>
                  </a:cubicBezTo>
                  <a:cubicBezTo>
                    <a:pt x="45" y="50"/>
                    <a:pt x="44" y="51"/>
                    <a:pt x="43" y="5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6" name="Freeform 316">
              <a:extLst>
                <a:ext uri="{FF2B5EF4-FFF2-40B4-BE49-F238E27FC236}">
                  <a16:creationId xmlns:a16="http://schemas.microsoft.com/office/drawing/2014/main" id="{DE0B7DEA-559D-7D9C-8482-314550E8D129}"/>
                </a:ext>
              </a:extLst>
            </p:cNvPr>
            <p:cNvSpPr>
              <a:spLocks/>
            </p:cNvSpPr>
            <p:nvPr/>
          </p:nvSpPr>
          <p:spPr bwMode="auto">
            <a:xfrm>
              <a:off x="-450283" y="3840401"/>
              <a:ext cx="175720" cy="142774"/>
            </a:xfrm>
            <a:custGeom>
              <a:avLst/>
              <a:gdLst>
                <a:gd name="T0" fmla="*/ 43 w 64"/>
                <a:gd name="T1" fmla="*/ 51 h 51"/>
                <a:gd name="T2" fmla="*/ 43 w 64"/>
                <a:gd name="T3" fmla="*/ 51 h 51"/>
                <a:gd name="T4" fmla="*/ 40 w 64"/>
                <a:gd name="T5" fmla="*/ 49 h 51"/>
                <a:gd name="T6" fmla="*/ 32 w 64"/>
                <a:gd name="T7" fmla="*/ 26 h 51"/>
                <a:gd name="T8" fmla="*/ 24 w 64"/>
                <a:gd name="T9" fmla="*/ 49 h 51"/>
                <a:gd name="T10" fmla="*/ 21 w 64"/>
                <a:gd name="T11" fmla="*/ 51 h 51"/>
                <a:gd name="T12" fmla="*/ 17 w 64"/>
                <a:gd name="T13" fmla="*/ 49 h 51"/>
                <a:gd name="T14" fmla="*/ 1 w 64"/>
                <a:gd name="T15" fmla="*/ 6 h 51"/>
                <a:gd name="T16" fmla="*/ 3 w 64"/>
                <a:gd name="T17" fmla="*/ 2 h 51"/>
                <a:gd name="T18" fmla="*/ 8 w 64"/>
                <a:gd name="T19" fmla="*/ 4 h 51"/>
                <a:gd name="T20" fmla="*/ 20 w 64"/>
                <a:gd name="T21" fmla="*/ 37 h 51"/>
                <a:gd name="T22" fmla="*/ 29 w 64"/>
                <a:gd name="T23" fmla="*/ 14 h 51"/>
                <a:gd name="T24" fmla="*/ 32 w 64"/>
                <a:gd name="T25" fmla="*/ 12 h 51"/>
                <a:gd name="T26" fmla="*/ 32 w 64"/>
                <a:gd name="T27" fmla="*/ 12 h 51"/>
                <a:gd name="T28" fmla="*/ 35 w 64"/>
                <a:gd name="T29" fmla="*/ 14 h 51"/>
                <a:gd name="T30" fmla="*/ 44 w 64"/>
                <a:gd name="T31" fmla="*/ 37 h 51"/>
                <a:gd name="T32" fmla="*/ 57 w 64"/>
                <a:gd name="T33" fmla="*/ 3 h 51"/>
                <a:gd name="T34" fmla="*/ 61 w 64"/>
                <a:gd name="T35" fmla="*/ 1 h 51"/>
                <a:gd name="T36" fmla="*/ 63 w 64"/>
                <a:gd name="T37" fmla="*/ 5 h 51"/>
                <a:gd name="T38" fmla="*/ 47 w 64"/>
                <a:gd name="T39" fmla="*/ 49 h 51"/>
                <a:gd name="T40" fmla="*/ 43 w 64"/>
                <a:gd name="T41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4" h="51">
                  <a:moveTo>
                    <a:pt x="43" y="51"/>
                  </a:moveTo>
                  <a:cubicBezTo>
                    <a:pt x="43" y="51"/>
                    <a:pt x="43" y="51"/>
                    <a:pt x="43" y="51"/>
                  </a:cubicBezTo>
                  <a:cubicBezTo>
                    <a:pt x="42" y="51"/>
                    <a:pt x="41" y="50"/>
                    <a:pt x="40" y="49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3" y="50"/>
                    <a:pt x="22" y="51"/>
                    <a:pt x="21" y="51"/>
                  </a:cubicBezTo>
                  <a:cubicBezTo>
                    <a:pt x="19" y="51"/>
                    <a:pt x="18" y="50"/>
                    <a:pt x="17" y="49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4"/>
                    <a:pt x="1" y="2"/>
                    <a:pt x="3" y="2"/>
                  </a:cubicBezTo>
                  <a:cubicBezTo>
                    <a:pt x="5" y="1"/>
                    <a:pt x="7" y="2"/>
                    <a:pt x="8" y="4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29" y="13"/>
                    <a:pt x="30" y="12"/>
                    <a:pt x="32" y="12"/>
                  </a:cubicBezTo>
                  <a:cubicBezTo>
                    <a:pt x="32" y="12"/>
                    <a:pt x="32" y="12"/>
                    <a:pt x="32" y="12"/>
                  </a:cubicBezTo>
                  <a:cubicBezTo>
                    <a:pt x="33" y="12"/>
                    <a:pt x="35" y="13"/>
                    <a:pt x="35" y="14"/>
                  </a:cubicBezTo>
                  <a:cubicBezTo>
                    <a:pt x="44" y="37"/>
                    <a:pt x="44" y="37"/>
                    <a:pt x="44" y="37"/>
                  </a:cubicBezTo>
                  <a:cubicBezTo>
                    <a:pt x="57" y="3"/>
                    <a:pt x="57" y="3"/>
                    <a:pt x="57" y="3"/>
                  </a:cubicBezTo>
                  <a:cubicBezTo>
                    <a:pt x="57" y="1"/>
                    <a:pt x="59" y="0"/>
                    <a:pt x="61" y="1"/>
                  </a:cubicBezTo>
                  <a:cubicBezTo>
                    <a:pt x="63" y="1"/>
                    <a:pt x="64" y="4"/>
                    <a:pt x="63" y="5"/>
                  </a:cubicBezTo>
                  <a:cubicBezTo>
                    <a:pt x="47" y="49"/>
                    <a:pt x="47" y="49"/>
                    <a:pt x="47" y="49"/>
                  </a:cubicBezTo>
                  <a:cubicBezTo>
                    <a:pt x="46" y="50"/>
                    <a:pt x="45" y="51"/>
                    <a:pt x="43" y="5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7" name="Freeform 317">
              <a:extLst>
                <a:ext uri="{FF2B5EF4-FFF2-40B4-BE49-F238E27FC236}">
                  <a16:creationId xmlns:a16="http://schemas.microsoft.com/office/drawing/2014/main" id="{E5CC7AF3-686A-963C-C26C-4B262E78B2D7}"/>
                </a:ext>
              </a:extLst>
            </p:cNvPr>
            <p:cNvSpPr>
              <a:spLocks/>
            </p:cNvSpPr>
            <p:nvPr/>
          </p:nvSpPr>
          <p:spPr bwMode="auto">
            <a:xfrm>
              <a:off x="-263580" y="3840401"/>
              <a:ext cx="175720" cy="142774"/>
            </a:xfrm>
            <a:custGeom>
              <a:avLst/>
              <a:gdLst>
                <a:gd name="T0" fmla="*/ 43 w 64"/>
                <a:gd name="T1" fmla="*/ 51 h 51"/>
                <a:gd name="T2" fmla="*/ 43 w 64"/>
                <a:gd name="T3" fmla="*/ 51 h 51"/>
                <a:gd name="T4" fmla="*/ 40 w 64"/>
                <a:gd name="T5" fmla="*/ 49 h 51"/>
                <a:gd name="T6" fmla="*/ 32 w 64"/>
                <a:gd name="T7" fmla="*/ 26 h 51"/>
                <a:gd name="T8" fmla="*/ 24 w 64"/>
                <a:gd name="T9" fmla="*/ 49 h 51"/>
                <a:gd name="T10" fmla="*/ 20 w 64"/>
                <a:gd name="T11" fmla="*/ 51 h 51"/>
                <a:gd name="T12" fmla="*/ 17 w 64"/>
                <a:gd name="T13" fmla="*/ 49 h 51"/>
                <a:gd name="T14" fmla="*/ 1 w 64"/>
                <a:gd name="T15" fmla="*/ 6 h 51"/>
                <a:gd name="T16" fmla="*/ 3 w 64"/>
                <a:gd name="T17" fmla="*/ 2 h 51"/>
                <a:gd name="T18" fmla="*/ 8 w 64"/>
                <a:gd name="T19" fmla="*/ 4 h 51"/>
                <a:gd name="T20" fmla="*/ 20 w 64"/>
                <a:gd name="T21" fmla="*/ 37 h 51"/>
                <a:gd name="T22" fmla="*/ 28 w 64"/>
                <a:gd name="T23" fmla="*/ 14 h 51"/>
                <a:gd name="T24" fmla="*/ 32 w 64"/>
                <a:gd name="T25" fmla="*/ 12 h 51"/>
                <a:gd name="T26" fmla="*/ 32 w 64"/>
                <a:gd name="T27" fmla="*/ 12 h 51"/>
                <a:gd name="T28" fmla="*/ 35 w 64"/>
                <a:gd name="T29" fmla="*/ 14 h 51"/>
                <a:gd name="T30" fmla="*/ 43 w 64"/>
                <a:gd name="T31" fmla="*/ 37 h 51"/>
                <a:gd name="T32" fmla="*/ 56 w 64"/>
                <a:gd name="T33" fmla="*/ 3 h 51"/>
                <a:gd name="T34" fmla="*/ 61 w 64"/>
                <a:gd name="T35" fmla="*/ 1 h 51"/>
                <a:gd name="T36" fmla="*/ 63 w 64"/>
                <a:gd name="T37" fmla="*/ 5 h 51"/>
                <a:gd name="T38" fmla="*/ 47 w 64"/>
                <a:gd name="T39" fmla="*/ 49 h 51"/>
                <a:gd name="T40" fmla="*/ 43 w 64"/>
                <a:gd name="T41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4" h="51">
                  <a:moveTo>
                    <a:pt x="43" y="51"/>
                  </a:moveTo>
                  <a:cubicBezTo>
                    <a:pt x="43" y="51"/>
                    <a:pt x="43" y="51"/>
                    <a:pt x="43" y="51"/>
                  </a:cubicBezTo>
                  <a:cubicBezTo>
                    <a:pt x="42" y="51"/>
                    <a:pt x="40" y="50"/>
                    <a:pt x="40" y="49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3" y="50"/>
                    <a:pt x="22" y="51"/>
                    <a:pt x="20" y="51"/>
                  </a:cubicBezTo>
                  <a:cubicBezTo>
                    <a:pt x="19" y="51"/>
                    <a:pt x="18" y="50"/>
                    <a:pt x="17" y="49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4"/>
                    <a:pt x="1" y="2"/>
                    <a:pt x="3" y="2"/>
                  </a:cubicBezTo>
                  <a:cubicBezTo>
                    <a:pt x="5" y="1"/>
                    <a:pt x="7" y="2"/>
                    <a:pt x="8" y="4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8" y="14"/>
                    <a:pt x="28" y="14"/>
                    <a:pt x="28" y="14"/>
                  </a:cubicBezTo>
                  <a:cubicBezTo>
                    <a:pt x="29" y="13"/>
                    <a:pt x="30" y="12"/>
                    <a:pt x="32" y="12"/>
                  </a:cubicBezTo>
                  <a:cubicBezTo>
                    <a:pt x="32" y="12"/>
                    <a:pt x="32" y="12"/>
                    <a:pt x="32" y="12"/>
                  </a:cubicBezTo>
                  <a:cubicBezTo>
                    <a:pt x="33" y="12"/>
                    <a:pt x="35" y="13"/>
                    <a:pt x="35" y="14"/>
                  </a:cubicBezTo>
                  <a:cubicBezTo>
                    <a:pt x="43" y="37"/>
                    <a:pt x="43" y="37"/>
                    <a:pt x="43" y="37"/>
                  </a:cubicBezTo>
                  <a:cubicBezTo>
                    <a:pt x="56" y="3"/>
                    <a:pt x="56" y="3"/>
                    <a:pt x="56" y="3"/>
                  </a:cubicBezTo>
                  <a:cubicBezTo>
                    <a:pt x="57" y="1"/>
                    <a:pt x="59" y="0"/>
                    <a:pt x="61" y="1"/>
                  </a:cubicBezTo>
                  <a:cubicBezTo>
                    <a:pt x="63" y="1"/>
                    <a:pt x="64" y="4"/>
                    <a:pt x="63" y="5"/>
                  </a:cubicBezTo>
                  <a:cubicBezTo>
                    <a:pt x="47" y="49"/>
                    <a:pt x="47" y="49"/>
                    <a:pt x="47" y="49"/>
                  </a:cubicBezTo>
                  <a:cubicBezTo>
                    <a:pt x="46" y="50"/>
                    <a:pt x="45" y="51"/>
                    <a:pt x="43" y="5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8" name="Freeform 318">
              <a:extLst>
                <a:ext uri="{FF2B5EF4-FFF2-40B4-BE49-F238E27FC236}">
                  <a16:creationId xmlns:a16="http://schemas.microsoft.com/office/drawing/2014/main" id="{01B35370-B029-32B4-8433-99682E84ECA0}"/>
                </a:ext>
              </a:extLst>
            </p:cNvPr>
            <p:cNvSpPr>
              <a:spLocks/>
            </p:cNvSpPr>
            <p:nvPr/>
          </p:nvSpPr>
          <p:spPr bwMode="auto">
            <a:xfrm>
              <a:off x="-706542" y="3785487"/>
              <a:ext cx="706542" cy="252599"/>
            </a:xfrm>
            <a:custGeom>
              <a:avLst/>
              <a:gdLst>
                <a:gd name="T0" fmla="*/ 210 w 256"/>
                <a:gd name="T1" fmla="*/ 92 h 92"/>
                <a:gd name="T2" fmla="*/ 4 w 256"/>
                <a:gd name="T3" fmla="*/ 92 h 92"/>
                <a:gd name="T4" fmla="*/ 0 w 256"/>
                <a:gd name="T5" fmla="*/ 88 h 92"/>
                <a:gd name="T6" fmla="*/ 4 w 256"/>
                <a:gd name="T7" fmla="*/ 85 h 92"/>
                <a:gd name="T8" fmla="*/ 210 w 256"/>
                <a:gd name="T9" fmla="*/ 85 h 92"/>
                <a:gd name="T10" fmla="*/ 249 w 256"/>
                <a:gd name="T11" fmla="*/ 46 h 92"/>
                <a:gd name="T12" fmla="*/ 210 w 256"/>
                <a:gd name="T13" fmla="*/ 7 h 92"/>
                <a:gd name="T14" fmla="*/ 4 w 256"/>
                <a:gd name="T15" fmla="*/ 7 h 92"/>
                <a:gd name="T16" fmla="*/ 0 w 256"/>
                <a:gd name="T17" fmla="*/ 3 h 92"/>
                <a:gd name="T18" fmla="*/ 4 w 256"/>
                <a:gd name="T19" fmla="*/ 0 h 92"/>
                <a:gd name="T20" fmla="*/ 210 w 256"/>
                <a:gd name="T21" fmla="*/ 0 h 92"/>
                <a:gd name="T22" fmla="*/ 256 w 256"/>
                <a:gd name="T23" fmla="*/ 46 h 92"/>
                <a:gd name="T24" fmla="*/ 210 w 256"/>
                <a:gd name="T25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6" h="92">
                  <a:moveTo>
                    <a:pt x="210" y="92"/>
                  </a:moveTo>
                  <a:cubicBezTo>
                    <a:pt x="4" y="92"/>
                    <a:pt x="4" y="92"/>
                    <a:pt x="4" y="92"/>
                  </a:cubicBezTo>
                  <a:cubicBezTo>
                    <a:pt x="2" y="92"/>
                    <a:pt x="0" y="90"/>
                    <a:pt x="0" y="88"/>
                  </a:cubicBezTo>
                  <a:cubicBezTo>
                    <a:pt x="0" y="86"/>
                    <a:pt x="2" y="85"/>
                    <a:pt x="4" y="85"/>
                  </a:cubicBezTo>
                  <a:cubicBezTo>
                    <a:pt x="210" y="85"/>
                    <a:pt x="210" y="85"/>
                    <a:pt x="210" y="85"/>
                  </a:cubicBezTo>
                  <a:cubicBezTo>
                    <a:pt x="231" y="85"/>
                    <a:pt x="249" y="67"/>
                    <a:pt x="249" y="46"/>
                  </a:cubicBezTo>
                  <a:cubicBezTo>
                    <a:pt x="249" y="24"/>
                    <a:pt x="231" y="7"/>
                    <a:pt x="210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210" y="0"/>
                    <a:pt x="210" y="0"/>
                    <a:pt x="210" y="0"/>
                  </a:cubicBezTo>
                  <a:cubicBezTo>
                    <a:pt x="235" y="0"/>
                    <a:pt x="256" y="20"/>
                    <a:pt x="256" y="46"/>
                  </a:cubicBezTo>
                  <a:cubicBezTo>
                    <a:pt x="256" y="71"/>
                    <a:pt x="235" y="92"/>
                    <a:pt x="210" y="9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8" name="Shape19_20200717_154431">
            <a:extLst>
              <a:ext uri="{FF2B5EF4-FFF2-40B4-BE49-F238E27FC236}">
                <a16:creationId xmlns:a16="http://schemas.microsoft.com/office/drawing/2014/main" id="{274AA983-5BEC-6C08-41BE-D3D3A5F88E93}"/>
              </a:ext>
            </a:extLst>
          </p:cNvPr>
          <p:cNvGrpSpPr>
            <a:grpSpLocks noChangeAspect="1"/>
          </p:cNvGrpSpPr>
          <p:nvPr/>
        </p:nvGrpSpPr>
        <p:grpSpPr>
          <a:xfrm>
            <a:off x="5881839" y="3833317"/>
            <a:ext cx="428318" cy="626003"/>
            <a:chOff x="-2042744" y="4989902"/>
            <a:chExt cx="428318" cy="626003"/>
          </a:xfrm>
          <a:solidFill>
            <a:schemeClr val="accent1"/>
          </a:solidFill>
        </p:grpSpPr>
        <p:sp>
          <p:nvSpPr>
            <p:cNvPr id="67" name="Freeform 319">
              <a:extLst>
                <a:ext uri="{FF2B5EF4-FFF2-40B4-BE49-F238E27FC236}">
                  <a16:creationId xmlns:a16="http://schemas.microsoft.com/office/drawing/2014/main" id="{0FF20B13-974A-CDC3-B41B-912F91CCCB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042744" y="4989902"/>
              <a:ext cx="428318" cy="626003"/>
            </a:xfrm>
            <a:custGeom>
              <a:avLst/>
              <a:gdLst>
                <a:gd name="T0" fmla="*/ 78 w 156"/>
                <a:gd name="T1" fmla="*/ 227 h 227"/>
                <a:gd name="T2" fmla="*/ 75 w 156"/>
                <a:gd name="T3" fmla="*/ 224 h 227"/>
                <a:gd name="T4" fmla="*/ 53 w 156"/>
                <a:gd name="T5" fmla="*/ 151 h 227"/>
                <a:gd name="T6" fmla="*/ 0 w 156"/>
                <a:gd name="T7" fmla="*/ 77 h 227"/>
                <a:gd name="T8" fmla="*/ 78 w 156"/>
                <a:gd name="T9" fmla="*/ 0 h 227"/>
                <a:gd name="T10" fmla="*/ 156 w 156"/>
                <a:gd name="T11" fmla="*/ 77 h 227"/>
                <a:gd name="T12" fmla="*/ 103 w 156"/>
                <a:gd name="T13" fmla="*/ 151 h 227"/>
                <a:gd name="T14" fmla="*/ 82 w 156"/>
                <a:gd name="T15" fmla="*/ 224 h 227"/>
                <a:gd name="T16" fmla="*/ 78 w 156"/>
                <a:gd name="T17" fmla="*/ 227 h 227"/>
                <a:gd name="T18" fmla="*/ 78 w 156"/>
                <a:gd name="T19" fmla="*/ 7 h 227"/>
                <a:gd name="T20" fmla="*/ 7 w 156"/>
                <a:gd name="T21" fmla="*/ 77 h 227"/>
                <a:gd name="T22" fmla="*/ 57 w 156"/>
                <a:gd name="T23" fmla="*/ 145 h 227"/>
                <a:gd name="T24" fmla="*/ 60 w 156"/>
                <a:gd name="T25" fmla="*/ 147 h 227"/>
                <a:gd name="T26" fmla="*/ 78 w 156"/>
                <a:gd name="T27" fmla="*/ 211 h 227"/>
                <a:gd name="T28" fmla="*/ 97 w 156"/>
                <a:gd name="T29" fmla="*/ 147 h 227"/>
                <a:gd name="T30" fmla="*/ 99 w 156"/>
                <a:gd name="T31" fmla="*/ 145 h 227"/>
                <a:gd name="T32" fmla="*/ 149 w 156"/>
                <a:gd name="T33" fmla="*/ 77 h 227"/>
                <a:gd name="T34" fmla="*/ 78 w 156"/>
                <a:gd name="T35" fmla="*/ 7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6" h="227">
                  <a:moveTo>
                    <a:pt x="78" y="227"/>
                  </a:moveTo>
                  <a:cubicBezTo>
                    <a:pt x="77" y="227"/>
                    <a:pt x="75" y="226"/>
                    <a:pt x="75" y="224"/>
                  </a:cubicBezTo>
                  <a:cubicBezTo>
                    <a:pt x="53" y="151"/>
                    <a:pt x="53" y="151"/>
                    <a:pt x="53" y="151"/>
                  </a:cubicBezTo>
                  <a:cubicBezTo>
                    <a:pt x="21" y="141"/>
                    <a:pt x="0" y="111"/>
                    <a:pt x="0" y="77"/>
                  </a:cubicBezTo>
                  <a:cubicBezTo>
                    <a:pt x="0" y="35"/>
                    <a:pt x="35" y="0"/>
                    <a:pt x="78" y="0"/>
                  </a:cubicBezTo>
                  <a:cubicBezTo>
                    <a:pt x="121" y="0"/>
                    <a:pt x="156" y="35"/>
                    <a:pt x="156" y="77"/>
                  </a:cubicBezTo>
                  <a:cubicBezTo>
                    <a:pt x="156" y="111"/>
                    <a:pt x="135" y="141"/>
                    <a:pt x="103" y="151"/>
                  </a:cubicBezTo>
                  <a:cubicBezTo>
                    <a:pt x="82" y="224"/>
                    <a:pt x="82" y="224"/>
                    <a:pt x="82" y="224"/>
                  </a:cubicBezTo>
                  <a:cubicBezTo>
                    <a:pt x="81" y="226"/>
                    <a:pt x="80" y="227"/>
                    <a:pt x="78" y="227"/>
                  </a:cubicBezTo>
                  <a:close/>
                  <a:moveTo>
                    <a:pt x="78" y="7"/>
                  </a:moveTo>
                  <a:cubicBezTo>
                    <a:pt x="39" y="7"/>
                    <a:pt x="7" y="38"/>
                    <a:pt x="7" y="77"/>
                  </a:cubicBezTo>
                  <a:cubicBezTo>
                    <a:pt x="7" y="109"/>
                    <a:pt x="27" y="136"/>
                    <a:pt x="57" y="145"/>
                  </a:cubicBezTo>
                  <a:cubicBezTo>
                    <a:pt x="58" y="145"/>
                    <a:pt x="59" y="146"/>
                    <a:pt x="60" y="147"/>
                  </a:cubicBezTo>
                  <a:cubicBezTo>
                    <a:pt x="78" y="211"/>
                    <a:pt x="78" y="211"/>
                    <a:pt x="78" y="211"/>
                  </a:cubicBezTo>
                  <a:cubicBezTo>
                    <a:pt x="97" y="147"/>
                    <a:pt x="97" y="147"/>
                    <a:pt x="97" y="147"/>
                  </a:cubicBezTo>
                  <a:cubicBezTo>
                    <a:pt x="97" y="146"/>
                    <a:pt x="98" y="145"/>
                    <a:pt x="99" y="145"/>
                  </a:cubicBezTo>
                  <a:cubicBezTo>
                    <a:pt x="129" y="136"/>
                    <a:pt x="149" y="109"/>
                    <a:pt x="149" y="77"/>
                  </a:cubicBezTo>
                  <a:cubicBezTo>
                    <a:pt x="149" y="38"/>
                    <a:pt x="117" y="7"/>
                    <a:pt x="78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8" name="Freeform 320">
              <a:extLst>
                <a:ext uri="{FF2B5EF4-FFF2-40B4-BE49-F238E27FC236}">
                  <a16:creationId xmlns:a16="http://schemas.microsoft.com/office/drawing/2014/main" id="{F19A5B43-D658-C74F-1EA7-6FF25901F4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969527" y="5063118"/>
              <a:ext cx="285545" cy="281885"/>
            </a:xfrm>
            <a:custGeom>
              <a:avLst/>
              <a:gdLst>
                <a:gd name="T0" fmla="*/ 51 w 103"/>
                <a:gd name="T1" fmla="*/ 103 h 103"/>
                <a:gd name="T2" fmla="*/ 0 w 103"/>
                <a:gd name="T3" fmla="*/ 51 h 103"/>
                <a:gd name="T4" fmla="*/ 51 w 103"/>
                <a:gd name="T5" fmla="*/ 0 h 103"/>
                <a:gd name="T6" fmla="*/ 103 w 103"/>
                <a:gd name="T7" fmla="*/ 51 h 103"/>
                <a:gd name="T8" fmla="*/ 51 w 103"/>
                <a:gd name="T9" fmla="*/ 103 h 103"/>
                <a:gd name="T10" fmla="*/ 51 w 103"/>
                <a:gd name="T11" fmla="*/ 7 h 103"/>
                <a:gd name="T12" fmla="*/ 7 w 103"/>
                <a:gd name="T13" fmla="*/ 51 h 103"/>
                <a:gd name="T14" fmla="*/ 51 w 103"/>
                <a:gd name="T15" fmla="*/ 96 h 103"/>
                <a:gd name="T16" fmla="*/ 95 w 103"/>
                <a:gd name="T17" fmla="*/ 51 h 103"/>
                <a:gd name="T18" fmla="*/ 51 w 103"/>
                <a:gd name="T19" fmla="*/ 7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3" h="103">
                  <a:moveTo>
                    <a:pt x="51" y="103"/>
                  </a:moveTo>
                  <a:cubicBezTo>
                    <a:pt x="23" y="103"/>
                    <a:pt x="0" y="80"/>
                    <a:pt x="0" y="51"/>
                  </a:cubicBezTo>
                  <a:cubicBezTo>
                    <a:pt x="0" y="23"/>
                    <a:pt x="23" y="0"/>
                    <a:pt x="51" y="0"/>
                  </a:cubicBezTo>
                  <a:cubicBezTo>
                    <a:pt x="80" y="0"/>
                    <a:pt x="103" y="23"/>
                    <a:pt x="103" y="51"/>
                  </a:cubicBezTo>
                  <a:cubicBezTo>
                    <a:pt x="103" y="80"/>
                    <a:pt x="80" y="103"/>
                    <a:pt x="51" y="103"/>
                  </a:cubicBezTo>
                  <a:close/>
                  <a:moveTo>
                    <a:pt x="51" y="7"/>
                  </a:moveTo>
                  <a:cubicBezTo>
                    <a:pt x="27" y="7"/>
                    <a:pt x="7" y="27"/>
                    <a:pt x="7" y="51"/>
                  </a:cubicBezTo>
                  <a:cubicBezTo>
                    <a:pt x="7" y="76"/>
                    <a:pt x="27" y="96"/>
                    <a:pt x="51" y="96"/>
                  </a:cubicBezTo>
                  <a:cubicBezTo>
                    <a:pt x="76" y="96"/>
                    <a:pt x="95" y="76"/>
                    <a:pt x="95" y="51"/>
                  </a:cubicBezTo>
                  <a:cubicBezTo>
                    <a:pt x="95" y="27"/>
                    <a:pt x="76" y="7"/>
                    <a:pt x="51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9" name="Shape20_20200717_154431">
            <a:extLst>
              <a:ext uri="{FF2B5EF4-FFF2-40B4-BE49-F238E27FC236}">
                <a16:creationId xmlns:a16="http://schemas.microsoft.com/office/drawing/2014/main" id="{DFABD232-BC23-991C-5EFE-4C56A39E0CCE}"/>
              </a:ext>
            </a:extLst>
          </p:cNvPr>
          <p:cNvGrpSpPr>
            <a:grpSpLocks noChangeAspect="1"/>
          </p:cNvGrpSpPr>
          <p:nvPr/>
        </p:nvGrpSpPr>
        <p:grpSpPr>
          <a:xfrm>
            <a:off x="7075741" y="3836976"/>
            <a:ext cx="651628" cy="618682"/>
            <a:chOff x="-860297" y="4993561"/>
            <a:chExt cx="651628" cy="618682"/>
          </a:xfrm>
          <a:solidFill>
            <a:schemeClr val="accent1"/>
          </a:solidFill>
        </p:grpSpPr>
        <p:sp>
          <p:nvSpPr>
            <p:cNvPr id="65" name="Freeform 321">
              <a:extLst>
                <a:ext uri="{FF2B5EF4-FFF2-40B4-BE49-F238E27FC236}">
                  <a16:creationId xmlns:a16="http://schemas.microsoft.com/office/drawing/2014/main" id="{F9347513-5778-63C3-E80F-B86959A7078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860297" y="4993561"/>
              <a:ext cx="651628" cy="618682"/>
            </a:xfrm>
            <a:custGeom>
              <a:avLst/>
              <a:gdLst>
                <a:gd name="T0" fmla="*/ 118 w 236"/>
                <a:gd name="T1" fmla="*/ 225 h 225"/>
                <a:gd name="T2" fmla="*/ 118 w 236"/>
                <a:gd name="T3" fmla="*/ 225 h 225"/>
                <a:gd name="T4" fmla="*/ 111 w 236"/>
                <a:gd name="T5" fmla="*/ 221 h 225"/>
                <a:gd name="T6" fmla="*/ 83 w 236"/>
                <a:gd name="T7" fmla="*/ 171 h 225"/>
                <a:gd name="T8" fmla="*/ 28 w 236"/>
                <a:gd name="T9" fmla="*/ 171 h 225"/>
                <a:gd name="T10" fmla="*/ 0 w 236"/>
                <a:gd name="T11" fmla="*/ 142 h 225"/>
                <a:gd name="T12" fmla="*/ 0 w 236"/>
                <a:gd name="T13" fmla="*/ 28 h 225"/>
                <a:gd name="T14" fmla="*/ 28 w 236"/>
                <a:gd name="T15" fmla="*/ 0 h 225"/>
                <a:gd name="T16" fmla="*/ 208 w 236"/>
                <a:gd name="T17" fmla="*/ 0 h 225"/>
                <a:gd name="T18" fmla="*/ 236 w 236"/>
                <a:gd name="T19" fmla="*/ 28 h 225"/>
                <a:gd name="T20" fmla="*/ 236 w 236"/>
                <a:gd name="T21" fmla="*/ 142 h 225"/>
                <a:gd name="T22" fmla="*/ 208 w 236"/>
                <a:gd name="T23" fmla="*/ 171 h 225"/>
                <a:gd name="T24" fmla="*/ 153 w 236"/>
                <a:gd name="T25" fmla="*/ 171 h 225"/>
                <a:gd name="T26" fmla="*/ 125 w 236"/>
                <a:gd name="T27" fmla="*/ 221 h 225"/>
                <a:gd name="T28" fmla="*/ 118 w 236"/>
                <a:gd name="T29" fmla="*/ 225 h 225"/>
                <a:gd name="T30" fmla="*/ 28 w 236"/>
                <a:gd name="T31" fmla="*/ 7 h 225"/>
                <a:gd name="T32" fmla="*/ 7 w 236"/>
                <a:gd name="T33" fmla="*/ 28 h 225"/>
                <a:gd name="T34" fmla="*/ 7 w 236"/>
                <a:gd name="T35" fmla="*/ 142 h 225"/>
                <a:gd name="T36" fmla="*/ 28 w 236"/>
                <a:gd name="T37" fmla="*/ 164 h 225"/>
                <a:gd name="T38" fmla="*/ 85 w 236"/>
                <a:gd name="T39" fmla="*/ 164 h 225"/>
                <a:gd name="T40" fmla="*/ 88 w 236"/>
                <a:gd name="T41" fmla="*/ 166 h 225"/>
                <a:gd name="T42" fmla="*/ 117 w 236"/>
                <a:gd name="T43" fmla="*/ 217 h 225"/>
                <a:gd name="T44" fmla="*/ 118 w 236"/>
                <a:gd name="T45" fmla="*/ 218 h 225"/>
                <a:gd name="T46" fmla="*/ 118 w 236"/>
                <a:gd name="T47" fmla="*/ 218 h 225"/>
                <a:gd name="T48" fmla="*/ 119 w 236"/>
                <a:gd name="T49" fmla="*/ 217 h 225"/>
                <a:gd name="T50" fmla="*/ 148 w 236"/>
                <a:gd name="T51" fmla="*/ 166 h 225"/>
                <a:gd name="T52" fmla="*/ 151 w 236"/>
                <a:gd name="T53" fmla="*/ 164 h 225"/>
                <a:gd name="T54" fmla="*/ 208 w 236"/>
                <a:gd name="T55" fmla="*/ 164 h 225"/>
                <a:gd name="T56" fmla="*/ 229 w 236"/>
                <a:gd name="T57" fmla="*/ 142 h 225"/>
                <a:gd name="T58" fmla="*/ 229 w 236"/>
                <a:gd name="T59" fmla="*/ 28 h 225"/>
                <a:gd name="T60" fmla="*/ 208 w 236"/>
                <a:gd name="T61" fmla="*/ 7 h 225"/>
                <a:gd name="T62" fmla="*/ 28 w 236"/>
                <a:gd name="T63" fmla="*/ 7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36" h="225">
                  <a:moveTo>
                    <a:pt x="118" y="225"/>
                  </a:moveTo>
                  <a:cubicBezTo>
                    <a:pt x="118" y="225"/>
                    <a:pt x="118" y="225"/>
                    <a:pt x="118" y="225"/>
                  </a:cubicBezTo>
                  <a:cubicBezTo>
                    <a:pt x="115" y="225"/>
                    <a:pt x="112" y="223"/>
                    <a:pt x="111" y="221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28" y="171"/>
                    <a:pt x="28" y="171"/>
                    <a:pt x="28" y="171"/>
                  </a:cubicBezTo>
                  <a:cubicBezTo>
                    <a:pt x="12" y="171"/>
                    <a:pt x="0" y="158"/>
                    <a:pt x="0" y="142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2"/>
                    <a:pt x="12" y="0"/>
                    <a:pt x="28" y="0"/>
                  </a:cubicBezTo>
                  <a:cubicBezTo>
                    <a:pt x="208" y="0"/>
                    <a:pt x="208" y="0"/>
                    <a:pt x="208" y="0"/>
                  </a:cubicBezTo>
                  <a:cubicBezTo>
                    <a:pt x="223" y="0"/>
                    <a:pt x="236" y="12"/>
                    <a:pt x="236" y="28"/>
                  </a:cubicBezTo>
                  <a:cubicBezTo>
                    <a:pt x="236" y="142"/>
                    <a:pt x="236" y="142"/>
                    <a:pt x="236" y="142"/>
                  </a:cubicBezTo>
                  <a:cubicBezTo>
                    <a:pt x="236" y="158"/>
                    <a:pt x="223" y="171"/>
                    <a:pt x="208" y="171"/>
                  </a:cubicBezTo>
                  <a:cubicBezTo>
                    <a:pt x="153" y="171"/>
                    <a:pt x="153" y="171"/>
                    <a:pt x="153" y="171"/>
                  </a:cubicBezTo>
                  <a:cubicBezTo>
                    <a:pt x="125" y="221"/>
                    <a:pt x="125" y="221"/>
                    <a:pt x="125" y="221"/>
                  </a:cubicBezTo>
                  <a:cubicBezTo>
                    <a:pt x="124" y="223"/>
                    <a:pt x="121" y="225"/>
                    <a:pt x="118" y="225"/>
                  </a:cubicBezTo>
                  <a:close/>
                  <a:moveTo>
                    <a:pt x="28" y="7"/>
                  </a:moveTo>
                  <a:cubicBezTo>
                    <a:pt x="16" y="7"/>
                    <a:pt x="7" y="16"/>
                    <a:pt x="7" y="28"/>
                  </a:cubicBezTo>
                  <a:cubicBezTo>
                    <a:pt x="7" y="142"/>
                    <a:pt x="7" y="142"/>
                    <a:pt x="7" y="142"/>
                  </a:cubicBezTo>
                  <a:cubicBezTo>
                    <a:pt x="7" y="154"/>
                    <a:pt x="16" y="164"/>
                    <a:pt x="28" y="164"/>
                  </a:cubicBezTo>
                  <a:cubicBezTo>
                    <a:pt x="85" y="164"/>
                    <a:pt x="85" y="164"/>
                    <a:pt x="85" y="164"/>
                  </a:cubicBezTo>
                  <a:cubicBezTo>
                    <a:pt x="86" y="164"/>
                    <a:pt x="87" y="164"/>
                    <a:pt x="88" y="166"/>
                  </a:cubicBezTo>
                  <a:cubicBezTo>
                    <a:pt x="117" y="217"/>
                    <a:pt x="117" y="217"/>
                    <a:pt x="117" y="217"/>
                  </a:cubicBezTo>
                  <a:cubicBezTo>
                    <a:pt x="117" y="218"/>
                    <a:pt x="118" y="218"/>
                    <a:pt x="118" y="218"/>
                  </a:cubicBezTo>
                  <a:cubicBezTo>
                    <a:pt x="118" y="218"/>
                    <a:pt x="118" y="218"/>
                    <a:pt x="118" y="218"/>
                  </a:cubicBezTo>
                  <a:cubicBezTo>
                    <a:pt x="118" y="218"/>
                    <a:pt x="119" y="218"/>
                    <a:pt x="119" y="217"/>
                  </a:cubicBezTo>
                  <a:cubicBezTo>
                    <a:pt x="148" y="166"/>
                    <a:pt x="148" y="166"/>
                    <a:pt x="148" y="166"/>
                  </a:cubicBezTo>
                  <a:cubicBezTo>
                    <a:pt x="149" y="164"/>
                    <a:pt x="150" y="164"/>
                    <a:pt x="151" y="164"/>
                  </a:cubicBezTo>
                  <a:cubicBezTo>
                    <a:pt x="208" y="164"/>
                    <a:pt x="208" y="164"/>
                    <a:pt x="208" y="164"/>
                  </a:cubicBezTo>
                  <a:cubicBezTo>
                    <a:pt x="220" y="164"/>
                    <a:pt x="229" y="154"/>
                    <a:pt x="229" y="142"/>
                  </a:cubicBezTo>
                  <a:cubicBezTo>
                    <a:pt x="229" y="28"/>
                    <a:pt x="229" y="28"/>
                    <a:pt x="229" y="28"/>
                  </a:cubicBezTo>
                  <a:cubicBezTo>
                    <a:pt x="229" y="16"/>
                    <a:pt x="220" y="7"/>
                    <a:pt x="208" y="7"/>
                  </a:cubicBezTo>
                  <a:lnTo>
                    <a:pt x="28" y="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6" name="Freeform 322">
              <a:extLst>
                <a:ext uri="{FF2B5EF4-FFF2-40B4-BE49-F238E27FC236}">
                  <a16:creationId xmlns:a16="http://schemas.microsoft.com/office/drawing/2014/main" id="{806D4DD5-F488-DB52-D2CE-EE0974149D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87080" y="5066778"/>
              <a:ext cx="501535" cy="322153"/>
            </a:xfrm>
            <a:custGeom>
              <a:avLst/>
              <a:gdLst>
                <a:gd name="T0" fmla="*/ 163 w 182"/>
                <a:gd name="T1" fmla="*/ 117 h 117"/>
                <a:gd name="T2" fmla="*/ 19 w 182"/>
                <a:gd name="T3" fmla="*/ 117 h 117"/>
                <a:gd name="T4" fmla="*/ 0 w 182"/>
                <a:gd name="T5" fmla="*/ 97 h 117"/>
                <a:gd name="T6" fmla="*/ 0 w 182"/>
                <a:gd name="T7" fmla="*/ 19 h 117"/>
                <a:gd name="T8" fmla="*/ 19 w 182"/>
                <a:gd name="T9" fmla="*/ 0 h 117"/>
                <a:gd name="T10" fmla="*/ 163 w 182"/>
                <a:gd name="T11" fmla="*/ 0 h 117"/>
                <a:gd name="T12" fmla="*/ 182 w 182"/>
                <a:gd name="T13" fmla="*/ 19 h 117"/>
                <a:gd name="T14" fmla="*/ 182 w 182"/>
                <a:gd name="T15" fmla="*/ 97 h 117"/>
                <a:gd name="T16" fmla="*/ 163 w 182"/>
                <a:gd name="T17" fmla="*/ 117 h 117"/>
                <a:gd name="T18" fmla="*/ 19 w 182"/>
                <a:gd name="T19" fmla="*/ 7 h 117"/>
                <a:gd name="T20" fmla="*/ 7 w 182"/>
                <a:gd name="T21" fmla="*/ 19 h 117"/>
                <a:gd name="T22" fmla="*/ 7 w 182"/>
                <a:gd name="T23" fmla="*/ 97 h 117"/>
                <a:gd name="T24" fmla="*/ 19 w 182"/>
                <a:gd name="T25" fmla="*/ 110 h 117"/>
                <a:gd name="T26" fmla="*/ 163 w 182"/>
                <a:gd name="T27" fmla="*/ 110 h 117"/>
                <a:gd name="T28" fmla="*/ 175 w 182"/>
                <a:gd name="T29" fmla="*/ 97 h 117"/>
                <a:gd name="T30" fmla="*/ 175 w 182"/>
                <a:gd name="T31" fmla="*/ 19 h 117"/>
                <a:gd name="T32" fmla="*/ 163 w 182"/>
                <a:gd name="T33" fmla="*/ 7 h 117"/>
                <a:gd name="T34" fmla="*/ 19 w 182"/>
                <a:gd name="T35" fmla="*/ 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2" h="117">
                  <a:moveTo>
                    <a:pt x="163" y="117"/>
                  </a:moveTo>
                  <a:cubicBezTo>
                    <a:pt x="19" y="117"/>
                    <a:pt x="19" y="117"/>
                    <a:pt x="19" y="117"/>
                  </a:cubicBezTo>
                  <a:cubicBezTo>
                    <a:pt x="8" y="117"/>
                    <a:pt x="0" y="108"/>
                    <a:pt x="0" y="97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8"/>
                    <a:pt x="8" y="0"/>
                    <a:pt x="19" y="0"/>
                  </a:cubicBezTo>
                  <a:cubicBezTo>
                    <a:pt x="163" y="0"/>
                    <a:pt x="163" y="0"/>
                    <a:pt x="163" y="0"/>
                  </a:cubicBezTo>
                  <a:cubicBezTo>
                    <a:pt x="174" y="0"/>
                    <a:pt x="182" y="8"/>
                    <a:pt x="182" y="19"/>
                  </a:cubicBezTo>
                  <a:cubicBezTo>
                    <a:pt x="182" y="97"/>
                    <a:pt x="182" y="97"/>
                    <a:pt x="182" y="97"/>
                  </a:cubicBezTo>
                  <a:cubicBezTo>
                    <a:pt x="182" y="108"/>
                    <a:pt x="174" y="117"/>
                    <a:pt x="163" y="117"/>
                  </a:cubicBezTo>
                  <a:close/>
                  <a:moveTo>
                    <a:pt x="19" y="7"/>
                  </a:moveTo>
                  <a:cubicBezTo>
                    <a:pt x="12" y="7"/>
                    <a:pt x="7" y="12"/>
                    <a:pt x="7" y="19"/>
                  </a:cubicBezTo>
                  <a:cubicBezTo>
                    <a:pt x="7" y="97"/>
                    <a:pt x="7" y="97"/>
                    <a:pt x="7" y="97"/>
                  </a:cubicBezTo>
                  <a:cubicBezTo>
                    <a:pt x="7" y="104"/>
                    <a:pt x="12" y="110"/>
                    <a:pt x="19" y="110"/>
                  </a:cubicBezTo>
                  <a:cubicBezTo>
                    <a:pt x="163" y="110"/>
                    <a:pt x="163" y="110"/>
                    <a:pt x="163" y="110"/>
                  </a:cubicBezTo>
                  <a:cubicBezTo>
                    <a:pt x="170" y="110"/>
                    <a:pt x="175" y="104"/>
                    <a:pt x="175" y="97"/>
                  </a:cubicBezTo>
                  <a:cubicBezTo>
                    <a:pt x="175" y="19"/>
                    <a:pt x="175" y="19"/>
                    <a:pt x="175" y="19"/>
                  </a:cubicBezTo>
                  <a:cubicBezTo>
                    <a:pt x="175" y="12"/>
                    <a:pt x="170" y="7"/>
                    <a:pt x="163" y="7"/>
                  </a:cubicBezTo>
                  <a:lnTo>
                    <a:pt x="19" y="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50" name="Shape21_20200717_154431">
            <a:extLst>
              <a:ext uri="{FF2B5EF4-FFF2-40B4-BE49-F238E27FC236}">
                <a16:creationId xmlns:a16="http://schemas.microsoft.com/office/drawing/2014/main" id="{4549B101-1DA1-4BFC-29B7-77AD1D98DBAD}"/>
              </a:ext>
            </a:extLst>
          </p:cNvPr>
          <p:cNvGrpSpPr>
            <a:grpSpLocks noChangeAspect="1"/>
          </p:cNvGrpSpPr>
          <p:nvPr/>
        </p:nvGrpSpPr>
        <p:grpSpPr>
          <a:xfrm>
            <a:off x="4587266" y="3807690"/>
            <a:ext cx="406353" cy="658949"/>
            <a:chOff x="-3324035" y="4964275"/>
            <a:chExt cx="406353" cy="658949"/>
          </a:xfrm>
          <a:solidFill>
            <a:schemeClr val="accent1"/>
          </a:solidFill>
        </p:grpSpPr>
        <p:sp>
          <p:nvSpPr>
            <p:cNvPr id="63" name="Freeform 323">
              <a:extLst>
                <a:ext uri="{FF2B5EF4-FFF2-40B4-BE49-F238E27FC236}">
                  <a16:creationId xmlns:a16="http://schemas.microsoft.com/office/drawing/2014/main" id="{C626CC39-9305-D4B7-2EFD-61B1319D56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324035" y="4964275"/>
              <a:ext cx="406353" cy="322153"/>
            </a:xfrm>
            <a:custGeom>
              <a:avLst/>
              <a:gdLst>
                <a:gd name="T0" fmla="*/ 33 w 147"/>
                <a:gd name="T1" fmla="*/ 117 h 117"/>
                <a:gd name="T2" fmla="*/ 2 w 147"/>
                <a:gd name="T3" fmla="*/ 109 h 117"/>
                <a:gd name="T4" fmla="*/ 0 w 147"/>
                <a:gd name="T5" fmla="*/ 106 h 117"/>
                <a:gd name="T6" fmla="*/ 0 w 147"/>
                <a:gd name="T7" fmla="*/ 17 h 117"/>
                <a:gd name="T8" fmla="*/ 2 w 147"/>
                <a:gd name="T9" fmla="*/ 13 h 117"/>
                <a:gd name="T10" fmla="*/ 6 w 147"/>
                <a:gd name="T11" fmla="*/ 13 h 117"/>
                <a:gd name="T12" fmla="*/ 72 w 147"/>
                <a:gd name="T13" fmla="*/ 13 h 117"/>
                <a:gd name="T14" fmla="*/ 145 w 147"/>
                <a:gd name="T15" fmla="*/ 13 h 117"/>
                <a:gd name="T16" fmla="*/ 146 w 147"/>
                <a:gd name="T17" fmla="*/ 16 h 117"/>
                <a:gd name="T18" fmla="*/ 145 w 147"/>
                <a:gd name="T19" fmla="*/ 19 h 117"/>
                <a:gd name="T20" fmla="*/ 115 w 147"/>
                <a:gd name="T21" fmla="*/ 54 h 117"/>
                <a:gd name="T22" fmla="*/ 146 w 147"/>
                <a:gd name="T23" fmla="*/ 104 h 117"/>
                <a:gd name="T24" fmla="*/ 145 w 147"/>
                <a:gd name="T25" fmla="*/ 108 h 117"/>
                <a:gd name="T26" fmla="*/ 141 w 147"/>
                <a:gd name="T27" fmla="*/ 109 h 117"/>
                <a:gd name="T28" fmla="*/ 74 w 147"/>
                <a:gd name="T29" fmla="*/ 109 h 117"/>
                <a:gd name="T30" fmla="*/ 33 w 147"/>
                <a:gd name="T31" fmla="*/ 117 h 117"/>
                <a:gd name="T32" fmla="*/ 8 w 147"/>
                <a:gd name="T33" fmla="*/ 104 h 117"/>
                <a:gd name="T34" fmla="*/ 72 w 147"/>
                <a:gd name="T35" fmla="*/ 102 h 117"/>
                <a:gd name="T36" fmla="*/ 135 w 147"/>
                <a:gd name="T37" fmla="*/ 98 h 117"/>
                <a:gd name="T38" fmla="*/ 108 w 147"/>
                <a:gd name="T39" fmla="*/ 56 h 117"/>
                <a:gd name="T40" fmla="*/ 108 w 147"/>
                <a:gd name="T41" fmla="*/ 52 h 117"/>
                <a:gd name="T42" fmla="*/ 136 w 147"/>
                <a:gd name="T43" fmla="*/ 17 h 117"/>
                <a:gd name="T44" fmla="*/ 74 w 147"/>
                <a:gd name="T45" fmla="*/ 20 h 117"/>
                <a:gd name="T46" fmla="*/ 8 w 147"/>
                <a:gd name="T47" fmla="*/ 22 h 117"/>
                <a:gd name="T48" fmla="*/ 8 w 147"/>
                <a:gd name="T49" fmla="*/ 104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47" h="117">
                  <a:moveTo>
                    <a:pt x="33" y="117"/>
                  </a:moveTo>
                  <a:cubicBezTo>
                    <a:pt x="23" y="117"/>
                    <a:pt x="13" y="115"/>
                    <a:pt x="2" y="109"/>
                  </a:cubicBezTo>
                  <a:cubicBezTo>
                    <a:pt x="1" y="108"/>
                    <a:pt x="0" y="107"/>
                    <a:pt x="0" y="10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5"/>
                    <a:pt x="1" y="14"/>
                    <a:pt x="2" y="13"/>
                  </a:cubicBezTo>
                  <a:cubicBezTo>
                    <a:pt x="3" y="13"/>
                    <a:pt x="5" y="13"/>
                    <a:pt x="6" y="13"/>
                  </a:cubicBezTo>
                  <a:cubicBezTo>
                    <a:pt x="28" y="25"/>
                    <a:pt x="49" y="19"/>
                    <a:pt x="72" y="13"/>
                  </a:cubicBezTo>
                  <a:cubicBezTo>
                    <a:pt x="96" y="7"/>
                    <a:pt x="120" y="0"/>
                    <a:pt x="145" y="13"/>
                  </a:cubicBezTo>
                  <a:cubicBezTo>
                    <a:pt x="146" y="14"/>
                    <a:pt x="146" y="15"/>
                    <a:pt x="146" y="16"/>
                  </a:cubicBezTo>
                  <a:cubicBezTo>
                    <a:pt x="147" y="17"/>
                    <a:pt x="146" y="19"/>
                    <a:pt x="145" y="19"/>
                  </a:cubicBezTo>
                  <a:cubicBezTo>
                    <a:pt x="136" y="27"/>
                    <a:pt x="126" y="38"/>
                    <a:pt x="115" y="54"/>
                  </a:cubicBezTo>
                  <a:cubicBezTo>
                    <a:pt x="127" y="70"/>
                    <a:pt x="137" y="86"/>
                    <a:pt x="146" y="104"/>
                  </a:cubicBezTo>
                  <a:cubicBezTo>
                    <a:pt x="147" y="106"/>
                    <a:pt x="146" y="107"/>
                    <a:pt x="145" y="108"/>
                  </a:cubicBezTo>
                  <a:cubicBezTo>
                    <a:pt x="144" y="110"/>
                    <a:pt x="143" y="110"/>
                    <a:pt x="141" y="109"/>
                  </a:cubicBezTo>
                  <a:cubicBezTo>
                    <a:pt x="119" y="97"/>
                    <a:pt x="97" y="103"/>
                    <a:pt x="74" y="109"/>
                  </a:cubicBezTo>
                  <a:cubicBezTo>
                    <a:pt x="61" y="113"/>
                    <a:pt x="47" y="117"/>
                    <a:pt x="33" y="117"/>
                  </a:cubicBezTo>
                  <a:close/>
                  <a:moveTo>
                    <a:pt x="8" y="104"/>
                  </a:moveTo>
                  <a:cubicBezTo>
                    <a:pt x="29" y="114"/>
                    <a:pt x="50" y="108"/>
                    <a:pt x="72" y="102"/>
                  </a:cubicBezTo>
                  <a:cubicBezTo>
                    <a:pt x="93" y="97"/>
                    <a:pt x="114" y="91"/>
                    <a:pt x="135" y="98"/>
                  </a:cubicBezTo>
                  <a:cubicBezTo>
                    <a:pt x="127" y="83"/>
                    <a:pt x="118" y="70"/>
                    <a:pt x="108" y="56"/>
                  </a:cubicBezTo>
                  <a:cubicBezTo>
                    <a:pt x="107" y="55"/>
                    <a:pt x="107" y="53"/>
                    <a:pt x="108" y="52"/>
                  </a:cubicBezTo>
                  <a:cubicBezTo>
                    <a:pt x="118" y="37"/>
                    <a:pt x="128" y="26"/>
                    <a:pt x="136" y="17"/>
                  </a:cubicBezTo>
                  <a:cubicBezTo>
                    <a:pt x="116" y="9"/>
                    <a:pt x="96" y="14"/>
                    <a:pt x="74" y="20"/>
                  </a:cubicBezTo>
                  <a:cubicBezTo>
                    <a:pt x="53" y="26"/>
                    <a:pt x="30" y="32"/>
                    <a:pt x="8" y="22"/>
                  </a:cubicBezTo>
                  <a:lnTo>
                    <a:pt x="8" y="10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4" name="Freeform 324">
              <a:extLst>
                <a:ext uri="{FF2B5EF4-FFF2-40B4-BE49-F238E27FC236}">
                  <a16:creationId xmlns:a16="http://schemas.microsoft.com/office/drawing/2014/main" id="{B49B0149-7B41-618A-43A7-37BDCCE7F3AC}"/>
                </a:ext>
              </a:extLst>
            </p:cNvPr>
            <p:cNvSpPr>
              <a:spLocks/>
            </p:cNvSpPr>
            <p:nvPr/>
          </p:nvSpPr>
          <p:spPr bwMode="auto">
            <a:xfrm>
              <a:off x="-3324035" y="5000883"/>
              <a:ext cx="21965" cy="622341"/>
            </a:xfrm>
            <a:custGeom>
              <a:avLst/>
              <a:gdLst>
                <a:gd name="T0" fmla="*/ 4 w 8"/>
                <a:gd name="T1" fmla="*/ 226 h 226"/>
                <a:gd name="T2" fmla="*/ 0 w 8"/>
                <a:gd name="T3" fmla="*/ 222 h 226"/>
                <a:gd name="T4" fmla="*/ 0 w 8"/>
                <a:gd name="T5" fmla="*/ 4 h 226"/>
                <a:gd name="T6" fmla="*/ 4 w 8"/>
                <a:gd name="T7" fmla="*/ 0 h 226"/>
                <a:gd name="T8" fmla="*/ 8 w 8"/>
                <a:gd name="T9" fmla="*/ 4 h 226"/>
                <a:gd name="T10" fmla="*/ 8 w 8"/>
                <a:gd name="T11" fmla="*/ 222 h 226"/>
                <a:gd name="T12" fmla="*/ 4 w 8"/>
                <a:gd name="T13" fmla="*/ 226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226">
                  <a:moveTo>
                    <a:pt x="4" y="226"/>
                  </a:moveTo>
                  <a:cubicBezTo>
                    <a:pt x="2" y="226"/>
                    <a:pt x="0" y="224"/>
                    <a:pt x="0" y="22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222"/>
                    <a:pt x="8" y="222"/>
                    <a:pt x="8" y="222"/>
                  </a:cubicBezTo>
                  <a:cubicBezTo>
                    <a:pt x="8" y="224"/>
                    <a:pt x="6" y="226"/>
                    <a:pt x="4" y="22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51" name="Shape22_20200717_154431">
            <a:extLst>
              <a:ext uri="{FF2B5EF4-FFF2-40B4-BE49-F238E27FC236}">
                <a16:creationId xmlns:a16="http://schemas.microsoft.com/office/drawing/2014/main" id="{2DC4B753-33B5-B11B-D1A3-0223E417DDB6}"/>
              </a:ext>
            </a:extLst>
          </p:cNvPr>
          <p:cNvGrpSpPr>
            <a:grpSpLocks noChangeAspect="1"/>
          </p:cNvGrpSpPr>
          <p:nvPr/>
        </p:nvGrpSpPr>
        <p:grpSpPr>
          <a:xfrm>
            <a:off x="1921241" y="2455319"/>
            <a:ext cx="516178" cy="626003"/>
            <a:chOff x="-2086674" y="2207670"/>
            <a:chExt cx="516178" cy="626003"/>
          </a:xfrm>
          <a:solidFill>
            <a:schemeClr val="accent1"/>
          </a:solidFill>
        </p:grpSpPr>
        <p:sp>
          <p:nvSpPr>
            <p:cNvPr id="56" name="Freeform 325">
              <a:extLst>
                <a:ext uri="{FF2B5EF4-FFF2-40B4-BE49-F238E27FC236}">
                  <a16:creationId xmlns:a16="http://schemas.microsoft.com/office/drawing/2014/main" id="{3FE1783A-EDCB-8188-247F-F63F10A42AA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086674" y="2207670"/>
              <a:ext cx="516178" cy="516178"/>
            </a:xfrm>
            <a:custGeom>
              <a:avLst/>
              <a:gdLst>
                <a:gd name="T0" fmla="*/ 93 w 187"/>
                <a:gd name="T1" fmla="*/ 187 h 187"/>
                <a:gd name="T2" fmla="*/ 0 w 187"/>
                <a:gd name="T3" fmla="*/ 93 h 187"/>
                <a:gd name="T4" fmla="*/ 93 w 187"/>
                <a:gd name="T5" fmla="*/ 0 h 187"/>
                <a:gd name="T6" fmla="*/ 187 w 187"/>
                <a:gd name="T7" fmla="*/ 93 h 187"/>
                <a:gd name="T8" fmla="*/ 93 w 187"/>
                <a:gd name="T9" fmla="*/ 187 h 187"/>
                <a:gd name="T10" fmla="*/ 93 w 187"/>
                <a:gd name="T11" fmla="*/ 7 h 187"/>
                <a:gd name="T12" fmla="*/ 7 w 187"/>
                <a:gd name="T13" fmla="*/ 93 h 187"/>
                <a:gd name="T14" fmla="*/ 93 w 187"/>
                <a:gd name="T15" fmla="*/ 179 h 187"/>
                <a:gd name="T16" fmla="*/ 179 w 187"/>
                <a:gd name="T17" fmla="*/ 93 h 187"/>
                <a:gd name="T18" fmla="*/ 93 w 187"/>
                <a:gd name="T19" fmla="*/ 7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7" h="187">
                  <a:moveTo>
                    <a:pt x="93" y="187"/>
                  </a:moveTo>
                  <a:cubicBezTo>
                    <a:pt x="42" y="187"/>
                    <a:pt x="0" y="145"/>
                    <a:pt x="0" y="93"/>
                  </a:cubicBezTo>
                  <a:cubicBezTo>
                    <a:pt x="0" y="42"/>
                    <a:pt x="42" y="0"/>
                    <a:pt x="93" y="0"/>
                  </a:cubicBezTo>
                  <a:cubicBezTo>
                    <a:pt x="145" y="0"/>
                    <a:pt x="187" y="42"/>
                    <a:pt x="187" y="93"/>
                  </a:cubicBezTo>
                  <a:cubicBezTo>
                    <a:pt x="187" y="145"/>
                    <a:pt x="145" y="187"/>
                    <a:pt x="93" y="187"/>
                  </a:cubicBezTo>
                  <a:close/>
                  <a:moveTo>
                    <a:pt x="93" y="7"/>
                  </a:moveTo>
                  <a:cubicBezTo>
                    <a:pt x="46" y="7"/>
                    <a:pt x="7" y="45"/>
                    <a:pt x="7" y="93"/>
                  </a:cubicBezTo>
                  <a:cubicBezTo>
                    <a:pt x="7" y="141"/>
                    <a:pt x="46" y="179"/>
                    <a:pt x="93" y="179"/>
                  </a:cubicBezTo>
                  <a:cubicBezTo>
                    <a:pt x="141" y="179"/>
                    <a:pt x="179" y="141"/>
                    <a:pt x="179" y="93"/>
                  </a:cubicBezTo>
                  <a:cubicBezTo>
                    <a:pt x="179" y="45"/>
                    <a:pt x="141" y="7"/>
                    <a:pt x="93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7" name="Freeform 326">
              <a:extLst>
                <a:ext uri="{FF2B5EF4-FFF2-40B4-BE49-F238E27FC236}">
                  <a16:creationId xmlns:a16="http://schemas.microsoft.com/office/drawing/2014/main" id="{E329639B-FC6F-AF27-BFA5-4E81D3E92F57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09798" y="2273565"/>
              <a:ext cx="362423" cy="87860"/>
            </a:xfrm>
            <a:custGeom>
              <a:avLst/>
              <a:gdLst>
                <a:gd name="T0" fmla="*/ 65 w 131"/>
                <a:gd name="T1" fmla="*/ 32 h 32"/>
                <a:gd name="T2" fmla="*/ 1 w 131"/>
                <a:gd name="T3" fmla="*/ 7 h 32"/>
                <a:gd name="T4" fmla="*/ 1 w 131"/>
                <a:gd name="T5" fmla="*/ 2 h 32"/>
                <a:gd name="T6" fmla="*/ 6 w 131"/>
                <a:gd name="T7" fmla="*/ 2 h 32"/>
                <a:gd name="T8" fmla="*/ 65 w 131"/>
                <a:gd name="T9" fmla="*/ 25 h 32"/>
                <a:gd name="T10" fmla="*/ 125 w 131"/>
                <a:gd name="T11" fmla="*/ 1 h 32"/>
                <a:gd name="T12" fmla="*/ 130 w 131"/>
                <a:gd name="T13" fmla="*/ 2 h 32"/>
                <a:gd name="T14" fmla="*/ 130 w 131"/>
                <a:gd name="T15" fmla="*/ 7 h 32"/>
                <a:gd name="T16" fmla="*/ 65 w 131"/>
                <a:gd name="T1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1" h="32">
                  <a:moveTo>
                    <a:pt x="65" y="32"/>
                  </a:moveTo>
                  <a:cubicBezTo>
                    <a:pt x="41" y="32"/>
                    <a:pt x="18" y="23"/>
                    <a:pt x="1" y="7"/>
                  </a:cubicBezTo>
                  <a:cubicBezTo>
                    <a:pt x="0" y="6"/>
                    <a:pt x="0" y="3"/>
                    <a:pt x="1" y="2"/>
                  </a:cubicBezTo>
                  <a:cubicBezTo>
                    <a:pt x="2" y="0"/>
                    <a:pt x="5" y="0"/>
                    <a:pt x="6" y="2"/>
                  </a:cubicBezTo>
                  <a:cubicBezTo>
                    <a:pt x="22" y="17"/>
                    <a:pt x="43" y="25"/>
                    <a:pt x="65" y="25"/>
                  </a:cubicBezTo>
                  <a:cubicBezTo>
                    <a:pt x="87" y="25"/>
                    <a:pt x="109" y="17"/>
                    <a:pt x="125" y="1"/>
                  </a:cubicBezTo>
                  <a:cubicBezTo>
                    <a:pt x="126" y="0"/>
                    <a:pt x="128" y="0"/>
                    <a:pt x="130" y="2"/>
                  </a:cubicBezTo>
                  <a:cubicBezTo>
                    <a:pt x="131" y="3"/>
                    <a:pt x="131" y="5"/>
                    <a:pt x="130" y="7"/>
                  </a:cubicBezTo>
                  <a:cubicBezTo>
                    <a:pt x="112" y="23"/>
                    <a:pt x="89" y="32"/>
                    <a:pt x="65" y="3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8" name="Freeform 327">
              <a:extLst>
                <a:ext uri="{FF2B5EF4-FFF2-40B4-BE49-F238E27FC236}">
                  <a16:creationId xmlns:a16="http://schemas.microsoft.com/office/drawing/2014/main" id="{C33A46A3-B53B-C32D-D6F6-F3A8DD30F609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09798" y="2566431"/>
              <a:ext cx="358761" cy="87860"/>
            </a:xfrm>
            <a:custGeom>
              <a:avLst/>
              <a:gdLst>
                <a:gd name="T0" fmla="*/ 4 w 130"/>
                <a:gd name="T1" fmla="*/ 31 h 31"/>
                <a:gd name="T2" fmla="*/ 1 w 130"/>
                <a:gd name="T3" fmla="*/ 30 h 31"/>
                <a:gd name="T4" fmla="*/ 1 w 130"/>
                <a:gd name="T5" fmla="*/ 25 h 31"/>
                <a:gd name="T6" fmla="*/ 65 w 130"/>
                <a:gd name="T7" fmla="*/ 0 h 31"/>
                <a:gd name="T8" fmla="*/ 128 w 130"/>
                <a:gd name="T9" fmla="*/ 24 h 31"/>
                <a:gd name="T10" fmla="*/ 129 w 130"/>
                <a:gd name="T11" fmla="*/ 29 h 31"/>
                <a:gd name="T12" fmla="*/ 124 w 130"/>
                <a:gd name="T13" fmla="*/ 30 h 31"/>
                <a:gd name="T14" fmla="*/ 65 w 130"/>
                <a:gd name="T15" fmla="*/ 7 h 31"/>
                <a:gd name="T16" fmla="*/ 6 w 130"/>
                <a:gd name="T17" fmla="*/ 30 h 31"/>
                <a:gd name="T18" fmla="*/ 4 w 130"/>
                <a:gd name="T1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0" h="31">
                  <a:moveTo>
                    <a:pt x="4" y="31"/>
                  </a:moveTo>
                  <a:cubicBezTo>
                    <a:pt x="3" y="31"/>
                    <a:pt x="2" y="31"/>
                    <a:pt x="1" y="30"/>
                  </a:cubicBezTo>
                  <a:cubicBezTo>
                    <a:pt x="0" y="28"/>
                    <a:pt x="0" y="26"/>
                    <a:pt x="1" y="25"/>
                  </a:cubicBezTo>
                  <a:cubicBezTo>
                    <a:pt x="19" y="9"/>
                    <a:pt x="41" y="0"/>
                    <a:pt x="65" y="0"/>
                  </a:cubicBezTo>
                  <a:cubicBezTo>
                    <a:pt x="89" y="0"/>
                    <a:pt x="111" y="8"/>
                    <a:pt x="128" y="24"/>
                  </a:cubicBezTo>
                  <a:cubicBezTo>
                    <a:pt x="130" y="26"/>
                    <a:pt x="130" y="28"/>
                    <a:pt x="129" y="29"/>
                  </a:cubicBezTo>
                  <a:cubicBezTo>
                    <a:pt x="127" y="31"/>
                    <a:pt x="125" y="31"/>
                    <a:pt x="124" y="30"/>
                  </a:cubicBezTo>
                  <a:cubicBezTo>
                    <a:pt x="108" y="15"/>
                    <a:pt x="87" y="7"/>
                    <a:pt x="65" y="7"/>
                  </a:cubicBezTo>
                  <a:cubicBezTo>
                    <a:pt x="43" y="7"/>
                    <a:pt x="22" y="15"/>
                    <a:pt x="6" y="30"/>
                  </a:cubicBezTo>
                  <a:cubicBezTo>
                    <a:pt x="6" y="31"/>
                    <a:pt x="5" y="31"/>
                    <a:pt x="4" y="3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9" name="Freeform 328">
              <a:extLst>
                <a:ext uri="{FF2B5EF4-FFF2-40B4-BE49-F238E27FC236}">
                  <a16:creationId xmlns:a16="http://schemas.microsoft.com/office/drawing/2014/main" id="{05125DF9-BA61-1176-24A0-DBE10328D1B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969527" y="2207670"/>
              <a:ext cx="281885" cy="516178"/>
            </a:xfrm>
            <a:custGeom>
              <a:avLst/>
              <a:gdLst>
                <a:gd name="T0" fmla="*/ 51 w 102"/>
                <a:gd name="T1" fmla="*/ 187 h 187"/>
                <a:gd name="T2" fmla="*/ 0 w 102"/>
                <a:gd name="T3" fmla="*/ 93 h 187"/>
                <a:gd name="T4" fmla="*/ 51 w 102"/>
                <a:gd name="T5" fmla="*/ 0 h 187"/>
                <a:gd name="T6" fmla="*/ 102 w 102"/>
                <a:gd name="T7" fmla="*/ 93 h 187"/>
                <a:gd name="T8" fmla="*/ 51 w 102"/>
                <a:gd name="T9" fmla="*/ 187 h 187"/>
                <a:gd name="T10" fmla="*/ 51 w 102"/>
                <a:gd name="T11" fmla="*/ 7 h 187"/>
                <a:gd name="T12" fmla="*/ 8 w 102"/>
                <a:gd name="T13" fmla="*/ 93 h 187"/>
                <a:gd name="T14" fmla="*/ 51 w 102"/>
                <a:gd name="T15" fmla="*/ 179 h 187"/>
                <a:gd name="T16" fmla="*/ 95 w 102"/>
                <a:gd name="T17" fmla="*/ 93 h 187"/>
                <a:gd name="T18" fmla="*/ 51 w 102"/>
                <a:gd name="T19" fmla="*/ 7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2" h="187">
                  <a:moveTo>
                    <a:pt x="51" y="187"/>
                  </a:moveTo>
                  <a:cubicBezTo>
                    <a:pt x="23" y="187"/>
                    <a:pt x="0" y="146"/>
                    <a:pt x="0" y="93"/>
                  </a:cubicBezTo>
                  <a:cubicBezTo>
                    <a:pt x="0" y="41"/>
                    <a:pt x="23" y="0"/>
                    <a:pt x="51" y="0"/>
                  </a:cubicBezTo>
                  <a:cubicBezTo>
                    <a:pt x="80" y="0"/>
                    <a:pt x="102" y="41"/>
                    <a:pt x="102" y="93"/>
                  </a:cubicBezTo>
                  <a:cubicBezTo>
                    <a:pt x="102" y="146"/>
                    <a:pt x="80" y="187"/>
                    <a:pt x="51" y="187"/>
                  </a:cubicBezTo>
                  <a:close/>
                  <a:moveTo>
                    <a:pt x="51" y="7"/>
                  </a:moveTo>
                  <a:cubicBezTo>
                    <a:pt x="28" y="7"/>
                    <a:pt x="8" y="46"/>
                    <a:pt x="8" y="93"/>
                  </a:cubicBezTo>
                  <a:cubicBezTo>
                    <a:pt x="8" y="140"/>
                    <a:pt x="28" y="179"/>
                    <a:pt x="51" y="179"/>
                  </a:cubicBezTo>
                  <a:cubicBezTo>
                    <a:pt x="75" y="179"/>
                    <a:pt x="95" y="140"/>
                    <a:pt x="95" y="93"/>
                  </a:cubicBezTo>
                  <a:cubicBezTo>
                    <a:pt x="95" y="46"/>
                    <a:pt x="75" y="7"/>
                    <a:pt x="51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0" name="Freeform 329">
              <a:extLst>
                <a:ext uri="{FF2B5EF4-FFF2-40B4-BE49-F238E27FC236}">
                  <a16:creationId xmlns:a16="http://schemas.microsoft.com/office/drawing/2014/main" id="{1D23630F-D14D-0694-805B-B0D2EDCD9781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86674" y="2452944"/>
              <a:ext cx="516178" cy="21965"/>
            </a:xfrm>
            <a:custGeom>
              <a:avLst/>
              <a:gdLst>
                <a:gd name="T0" fmla="*/ 183 w 187"/>
                <a:gd name="T1" fmla="*/ 8 h 8"/>
                <a:gd name="T2" fmla="*/ 3 w 187"/>
                <a:gd name="T3" fmla="*/ 8 h 8"/>
                <a:gd name="T4" fmla="*/ 0 w 187"/>
                <a:gd name="T5" fmla="*/ 4 h 8"/>
                <a:gd name="T6" fmla="*/ 3 w 187"/>
                <a:gd name="T7" fmla="*/ 0 h 8"/>
                <a:gd name="T8" fmla="*/ 183 w 187"/>
                <a:gd name="T9" fmla="*/ 0 h 8"/>
                <a:gd name="T10" fmla="*/ 187 w 187"/>
                <a:gd name="T11" fmla="*/ 4 h 8"/>
                <a:gd name="T12" fmla="*/ 183 w 187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7" h="8">
                  <a:moveTo>
                    <a:pt x="18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1" y="8"/>
                    <a:pt x="0" y="6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183" y="0"/>
                    <a:pt x="183" y="0"/>
                    <a:pt x="183" y="0"/>
                  </a:cubicBezTo>
                  <a:cubicBezTo>
                    <a:pt x="185" y="0"/>
                    <a:pt x="187" y="2"/>
                    <a:pt x="187" y="4"/>
                  </a:cubicBezTo>
                  <a:cubicBezTo>
                    <a:pt x="187" y="6"/>
                    <a:pt x="185" y="8"/>
                    <a:pt x="183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1" name="Freeform 330">
              <a:extLst>
                <a:ext uri="{FF2B5EF4-FFF2-40B4-BE49-F238E27FC236}">
                  <a16:creationId xmlns:a16="http://schemas.microsoft.com/office/drawing/2014/main" id="{68E09087-3961-60CE-CD4A-B27BEFB9A8E6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37737" y="2207670"/>
              <a:ext cx="18305" cy="574752"/>
            </a:xfrm>
            <a:custGeom>
              <a:avLst/>
              <a:gdLst>
                <a:gd name="T0" fmla="*/ 3 w 7"/>
                <a:gd name="T1" fmla="*/ 208 h 208"/>
                <a:gd name="T2" fmla="*/ 0 w 7"/>
                <a:gd name="T3" fmla="*/ 204 h 208"/>
                <a:gd name="T4" fmla="*/ 0 w 7"/>
                <a:gd name="T5" fmla="*/ 3 h 208"/>
                <a:gd name="T6" fmla="*/ 3 w 7"/>
                <a:gd name="T7" fmla="*/ 0 h 208"/>
                <a:gd name="T8" fmla="*/ 7 w 7"/>
                <a:gd name="T9" fmla="*/ 3 h 208"/>
                <a:gd name="T10" fmla="*/ 7 w 7"/>
                <a:gd name="T11" fmla="*/ 204 h 208"/>
                <a:gd name="T12" fmla="*/ 3 w 7"/>
                <a:gd name="T13" fmla="*/ 208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208">
                  <a:moveTo>
                    <a:pt x="3" y="208"/>
                  </a:moveTo>
                  <a:cubicBezTo>
                    <a:pt x="1" y="208"/>
                    <a:pt x="0" y="206"/>
                    <a:pt x="0" y="20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5" y="0"/>
                    <a:pt x="7" y="1"/>
                    <a:pt x="7" y="3"/>
                  </a:cubicBezTo>
                  <a:cubicBezTo>
                    <a:pt x="7" y="204"/>
                    <a:pt x="7" y="204"/>
                    <a:pt x="7" y="204"/>
                  </a:cubicBezTo>
                  <a:cubicBezTo>
                    <a:pt x="7" y="206"/>
                    <a:pt x="5" y="208"/>
                    <a:pt x="3" y="20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2" name="Freeform 331">
              <a:extLst>
                <a:ext uri="{FF2B5EF4-FFF2-40B4-BE49-F238E27FC236}">
                  <a16:creationId xmlns:a16="http://schemas.microsoft.com/office/drawing/2014/main" id="{C95815D4-852F-C877-E943-D7B3D4B9617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980511" y="2764116"/>
              <a:ext cx="307510" cy="69557"/>
            </a:xfrm>
            <a:custGeom>
              <a:avLst/>
              <a:gdLst>
                <a:gd name="T0" fmla="*/ 107 w 111"/>
                <a:gd name="T1" fmla="*/ 26 h 26"/>
                <a:gd name="T2" fmla="*/ 4 w 111"/>
                <a:gd name="T3" fmla="*/ 26 h 26"/>
                <a:gd name="T4" fmla="*/ 1 w 111"/>
                <a:gd name="T5" fmla="*/ 24 h 26"/>
                <a:gd name="T6" fmla="*/ 1 w 111"/>
                <a:gd name="T7" fmla="*/ 20 h 26"/>
                <a:gd name="T8" fmla="*/ 51 w 111"/>
                <a:gd name="T9" fmla="*/ 0 h 26"/>
                <a:gd name="T10" fmla="*/ 60 w 111"/>
                <a:gd name="T11" fmla="*/ 0 h 26"/>
                <a:gd name="T12" fmla="*/ 109 w 111"/>
                <a:gd name="T13" fmla="*/ 20 h 26"/>
                <a:gd name="T14" fmla="*/ 110 w 111"/>
                <a:gd name="T15" fmla="*/ 24 h 26"/>
                <a:gd name="T16" fmla="*/ 107 w 111"/>
                <a:gd name="T17" fmla="*/ 26 h 26"/>
                <a:gd name="T18" fmla="*/ 14 w 111"/>
                <a:gd name="T19" fmla="*/ 19 h 26"/>
                <a:gd name="T20" fmla="*/ 97 w 111"/>
                <a:gd name="T21" fmla="*/ 19 h 26"/>
                <a:gd name="T22" fmla="*/ 60 w 111"/>
                <a:gd name="T23" fmla="*/ 7 h 26"/>
                <a:gd name="T24" fmla="*/ 51 w 111"/>
                <a:gd name="T25" fmla="*/ 7 h 26"/>
                <a:gd name="T26" fmla="*/ 14 w 111"/>
                <a:gd name="T27" fmla="*/ 19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1" h="26">
                  <a:moveTo>
                    <a:pt x="107" y="26"/>
                  </a:moveTo>
                  <a:cubicBezTo>
                    <a:pt x="4" y="26"/>
                    <a:pt x="4" y="26"/>
                    <a:pt x="4" y="26"/>
                  </a:cubicBezTo>
                  <a:cubicBezTo>
                    <a:pt x="2" y="26"/>
                    <a:pt x="1" y="25"/>
                    <a:pt x="1" y="24"/>
                  </a:cubicBezTo>
                  <a:cubicBezTo>
                    <a:pt x="0" y="23"/>
                    <a:pt x="0" y="21"/>
                    <a:pt x="1" y="20"/>
                  </a:cubicBezTo>
                  <a:cubicBezTo>
                    <a:pt x="15" y="7"/>
                    <a:pt x="32" y="0"/>
                    <a:pt x="51" y="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79" y="0"/>
                    <a:pt x="96" y="7"/>
                    <a:pt x="109" y="20"/>
                  </a:cubicBezTo>
                  <a:cubicBezTo>
                    <a:pt x="110" y="21"/>
                    <a:pt x="111" y="23"/>
                    <a:pt x="110" y="24"/>
                  </a:cubicBezTo>
                  <a:cubicBezTo>
                    <a:pt x="110" y="25"/>
                    <a:pt x="108" y="26"/>
                    <a:pt x="107" y="26"/>
                  </a:cubicBezTo>
                  <a:close/>
                  <a:moveTo>
                    <a:pt x="14" y="19"/>
                  </a:moveTo>
                  <a:cubicBezTo>
                    <a:pt x="97" y="19"/>
                    <a:pt x="97" y="19"/>
                    <a:pt x="97" y="19"/>
                  </a:cubicBezTo>
                  <a:cubicBezTo>
                    <a:pt x="87" y="11"/>
                    <a:pt x="74" y="7"/>
                    <a:pt x="60" y="7"/>
                  </a:cubicBezTo>
                  <a:cubicBezTo>
                    <a:pt x="51" y="7"/>
                    <a:pt x="51" y="7"/>
                    <a:pt x="51" y="7"/>
                  </a:cubicBezTo>
                  <a:cubicBezTo>
                    <a:pt x="37" y="7"/>
                    <a:pt x="24" y="11"/>
                    <a:pt x="14" y="1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52" name="Shape23_20200717_154431">
            <a:extLst>
              <a:ext uri="{FF2B5EF4-FFF2-40B4-BE49-F238E27FC236}">
                <a16:creationId xmlns:a16="http://schemas.microsoft.com/office/drawing/2014/main" id="{3059B502-3DD3-5174-5612-821F2DACE209}"/>
              </a:ext>
            </a:extLst>
          </p:cNvPr>
          <p:cNvGrpSpPr>
            <a:grpSpLocks noChangeAspect="1"/>
          </p:cNvGrpSpPr>
          <p:nvPr/>
        </p:nvGrpSpPr>
        <p:grpSpPr>
          <a:xfrm>
            <a:off x="1875481" y="1193504"/>
            <a:ext cx="607698" cy="604038"/>
            <a:chOff x="-6011085" y="827535"/>
            <a:chExt cx="607698" cy="604038"/>
          </a:xfrm>
          <a:solidFill>
            <a:schemeClr val="accent1"/>
          </a:solidFill>
        </p:grpSpPr>
        <p:sp>
          <p:nvSpPr>
            <p:cNvPr id="53" name="Freeform 332">
              <a:extLst>
                <a:ext uri="{FF2B5EF4-FFF2-40B4-BE49-F238E27FC236}">
                  <a16:creationId xmlns:a16="http://schemas.microsoft.com/office/drawing/2014/main" id="{88B4163A-88A1-80BF-32AC-09A468A9315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011085" y="827535"/>
              <a:ext cx="607698" cy="604038"/>
            </a:xfrm>
            <a:custGeom>
              <a:avLst/>
              <a:gdLst>
                <a:gd name="T0" fmla="*/ 110 w 220"/>
                <a:gd name="T1" fmla="*/ 219 h 219"/>
                <a:gd name="T2" fmla="*/ 0 w 220"/>
                <a:gd name="T3" fmla="*/ 110 h 219"/>
                <a:gd name="T4" fmla="*/ 110 w 220"/>
                <a:gd name="T5" fmla="*/ 0 h 219"/>
                <a:gd name="T6" fmla="*/ 220 w 220"/>
                <a:gd name="T7" fmla="*/ 110 h 219"/>
                <a:gd name="T8" fmla="*/ 110 w 220"/>
                <a:gd name="T9" fmla="*/ 219 h 219"/>
                <a:gd name="T10" fmla="*/ 110 w 220"/>
                <a:gd name="T11" fmla="*/ 7 h 219"/>
                <a:gd name="T12" fmla="*/ 7 w 220"/>
                <a:gd name="T13" fmla="*/ 110 h 219"/>
                <a:gd name="T14" fmla="*/ 110 w 220"/>
                <a:gd name="T15" fmla="*/ 212 h 219"/>
                <a:gd name="T16" fmla="*/ 212 w 220"/>
                <a:gd name="T17" fmla="*/ 110 h 219"/>
                <a:gd name="T18" fmla="*/ 110 w 220"/>
                <a:gd name="T19" fmla="*/ 7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19">
                  <a:moveTo>
                    <a:pt x="110" y="219"/>
                  </a:moveTo>
                  <a:cubicBezTo>
                    <a:pt x="49" y="219"/>
                    <a:pt x="0" y="170"/>
                    <a:pt x="0" y="110"/>
                  </a:cubicBezTo>
                  <a:cubicBezTo>
                    <a:pt x="0" y="49"/>
                    <a:pt x="49" y="0"/>
                    <a:pt x="110" y="0"/>
                  </a:cubicBezTo>
                  <a:cubicBezTo>
                    <a:pt x="170" y="0"/>
                    <a:pt x="220" y="49"/>
                    <a:pt x="220" y="110"/>
                  </a:cubicBezTo>
                  <a:cubicBezTo>
                    <a:pt x="220" y="170"/>
                    <a:pt x="170" y="219"/>
                    <a:pt x="110" y="219"/>
                  </a:cubicBezTo>
                  <a:close/>
                  <a:moveTo>
                    <a:pt x="110" y="7"/>
                  </a:moveTo>
                  <a:cubicBezTo>
                    <a:pt x="53" y="7"/>
                    <a:pt x="7" y="53"/>
                    <a:pt x="7" y="110"/>
                  </a:cubicBezTo>
                  <a:cubicBezTo>
                    <a:pt x="7" y="166"/>
                    <a:pt x="53" y="212"/>
                    <a:pt x="110" y="212"/>
                  </a:cubicBezTo>
                  <a:cubicBezTo>
                    <a:pt x="166" y="212"/>
                    <a:pt x="212" y="166"/>
                    <a:pt x="212" y="110"/>
                  </a:cubicBezTo>
                  <a:cubicBezTo>
                    <a:pt x="212" y="53"/>
                    <a:pt x="166" y="7"/>
                    <a:pt x="110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4" name="Freeform 333">
              <a:extLst>
                <a:ext uri="{FF2B5EF4-FFF2-40B4-BE49-F238E27FC236}">
                  <a16:creationId xmlns:a16="http://schemas.microsoft.com/office/drawing/2014/main" id="{6431CC0C-33EE-8948-22A2-6EDBE4E61D9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688932" y="871465"/>
              <a:ext cx="248937" cy="549125"/>
            </a:xfrm>
            <a:custGeom>
              <a:avLst/>
              <a:gdLst>
                <a:gd name="T0" fmla="*/ 23 w 91"/>
                <a:gd name="T1" fmla="*/ 199 h 199"/>
                <a:gd name="T2" fmla="*/ 22 w 91"/>
                <a:gd name="T3" fmla="*/ 199 h 199"/>
                <a:gd name="T4" fmla="*/ 20 w 91"/>
                <a:gd name="T5" fmla="*/ 194 h 199"/>
                <a:gd name="T6" fmla="*/ 40 w 91"/>
                <a:gd name="T7" fmla="*/ 158 h 199"/>
                <a:gd name="T8" fmla="*/ 42 w 91"/>
                <a:gd name="T9" fmla="*/ 154 h 199"/>
                <a:gd name="T10" fmla="*/ 27 w 91"/>
                <a:gd name="T11" fmla="*/ 156 h 199"/>
                <a:gd name="T12" fmla="*/ 9 w 91"/>
                <a:gd name="T13" fmla="*/ 152 h 199"/>
                <a:gd name="T14" fmla="*/ 10 w 91"/>
                <a:gd name="T15" fmla="*/ 103 h 199"/>
                <a:gd name="T16" fmla="*/ 43 w 91"/>
                <a:gd name="T17" fmla="*/ 100 h 199"/>
                <a:gd name="T18" fmla="*/ 76 w 91"/>
                <a:gd name="T19" fmla="*/ 98 h 199"/>
                <a:gd name="T20" fmla="*/ 82 w 91"/>
                <a:gd name="T21" fmla="*/ 88 h 199"/>
                <a:gd name="T22" fmla="*/ 80 w 91"/>
                <a:gd name="T23" fmla="*/ 88 h 199"/>
                <a:gd name="T24" fmla="*/ 69 w 91"/>
                <a:gd name="T25" fmla="*/ 84 h 199"/>
                <a:gd name="T26" fmla="*/ 58 w 91"/>
                <a:gd name="T27" fmla="*/ 80 h 199"/>
                <a:gd name="T28" fmla="*/ 52 w 91"/>
                <a:gd name="T29" fmla="*/ 86 h 199"/>
                <a:gd name="T30" fmla="*/ 40 w 91"/>
                <a:gd name="T31" fmla="*/ 94 h 199"/>
                <a:gd name="T32" fmla="*/ 20 w 91"/>
                <a:gd name="T33" fmla="*/ 83 h 199"/>
                <a:gd name="T34" fmla="*/ 18 w 91"/>
                <a:gd name="T35" fmla="*/ 75 h 199"/>
                <a:gd name="T36" fmla="*/ 34 w 91"/>
                <a:gd name="T37" fmla="*/ 64 h 199"/>
                <a:gd name="T38" fmla="*/ 46 w 91"/>
                <a:gd name="T39" fmla="*/ 59 h 199"/>
                <a:gd name="T40" fmla="*/ 36 w 91"/>
                <a:gd name="T41" fmla="*/ 55 h 199"/>
                <a:gd name="T42" fmla="*/ 39 w 91"/>
                <a:gd name="T43" fmla="*/ 43 h 199"/>
                <a:gd name="T44" fmla="*/ 40 w 91"/>
                <a:gd name="T45" fmla="*/ 41 h 199"/>
                <a:gd name="T46" fmla="*/ 23 w 91"/>
                <a:gd name="T47" fmla="*/ 25 h 199"/>
                <a:gd name="T48" fmla="*/ 26 w 91"/>
                <a:gd name="T49" fmla="*/ 9 h 199"/>
                <a:gd name="T50" fmla="*/ 60 w 91"/>
                <a:gd name="T51" fmla="*/ 7 h 199"/>
                <a:gd name="T52" fmla="*/ 63 w 91"/>
                <a:gd name="T53" fmla="*/ 12 h 199"/>
                <a:gd name="T54" fmla="*/ 58 w 91"/>
                <a:gd name="T55" fmla="*/ 14 h 199"/>
                <a:gd name="T56" fmla="*/ 31 w 91"/>
                <a:gd name="T57" fmla="*/ 14 h 199"/>
                <a:gd name="T58" fmla="*/ 30 w 91"/>
                <a:gd name="T59" fmla="*/ 23 h 199"/>
                <a:gd name="T60" fmla="*/ 43 w 91"/>
                <a:gd name="T61" fmla="*/ 33 h 199"/>
                <a:gd name="T62" fmla="*/ 49 w 91"/>
                <a:gd name="T63" fmla="*/ 35 h 199"/>
                <a:gd name="T64" fmla="*/ 45 w 91"/>
                <a:gd name="T65" fmla="*/ 47 h 199"/>
                <a:gd name="T66" fmla="*/ 43 w 91"/>
                <a:gd name="T67" fmla="*/ 52 h 199"/>
                <a:gd name="T68" fmla="*/ 47 w 91"/>
                <a:gd name="T69" fmla="*/ 52 h 199"/>
                <a:gd name="T70" fmla="*/ 55 w 91"/>
                <a:gd name="T71" fmla="*/ 55 h 199"/>
                <a:gd name="T72" fmla="*/ 54 w 91"/>
                <a:gd name="T73" fmla="*/ 61 h 199"/>
                <a:gd name="T74" fmla="*/ 37 w 91"/>
                <a:gd name="T75" fmla="*/ 71 h 199"/>
                <a:gd name="T76" fmla="*/ 25 w 91"/>
                <a:gd name="T77" fmla="*/ 77 h 199"/>
                <a:gd name="T78" fmla="*/ 26 w 91"/>
                <a:gd name="T79" fmla="*/ 78 h 199"/>
                <a:gd name="T80" fmla="*/ 39 w 91"/>
                <a:gd name="T81" fmla="*/ 87 h 199"/>
                <a:gd name="T82" fmla="*/ 46 w 91"/>
                <a:gd name="T83" fmla="*/ 82 h 199"/>
                <a:gd name="T84" fmla="*/ 57 w 91"/>
                <a:gd name="T85" fmla="*/ 73 h 199"/>
                <a:gd name="T86" fmla="*/ 73 w 91"/>
                <a:gd name="T87" fmla="*/ 79 h 199"/>
                <a:gd name="T88" fmla="*/ 81 w 91"/>
                <a:gd name="T89" fmla="*/ 80 h 199"/>
                <a:gd name="T90" fmla="*/ 89 w 91"/>
                <a:gd name="T91" fmla="*/ 84 h 199"/>
                <a:gd name="T92" fmla="*/ 82 w 91"/>
                <a:gd name="T93" fmla="*/ 102 h 199"/>
                <a:gd name="T94" fmla="*/ 41 w 91"/>
                <a:gd name="T95" fmla="*/ 107 h 199"/>
                <a:gd name="T96" fmla="*/ 17 w 91"/>
                <a:gd name="T97" fmla="*/ 107 h 199"/>
                <a:gd name="T98" fmla="*/ 15 w 91"/>
                <a:gd name="T99" fmla="*/ 147 h 199"/>
                <a:gd name="T100" fmla="*/ 25 w 91"/>
                <a:gd name="T101" fmla="*/ 150 h 199"/>
                <a:gd name="T102" fmla="*/ 48 w 91"/>
                <a:gd name="T103" fmla="*/ 150 h 199"/>
                <a:gd name="T104" fmla="*/ 45 w 91"/>
                <a:gd name="T105" fmla="*/ 163 h 199"/>
                <a:gd name="T106" fmla="*/ 26 w 91"/>
                <a:gd name="T107" fmla="*/ 197 h 199"/>
                <a:gd name="T108" fmla="*/ 23 w 91"/>
                <a:gd name="T109" fmla="*/ 199 h 199"/>
                <a:gd name="T110" fmla="*/ 48 w 91"/>
                <a:gd name="T111" fmla="*/ 56 h 199"/>
                <a:gd name="T112" fmla="*/ 48 w 91"/>
                <a:gd name="T113" fmla="*/ 56 h 199"/>
                <a:gd name="T114" fmla="*/ 48 w 91"/>
                <a:gd name="T115" fmla="*/ 56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91" h="199">
                  <a:moveTo>
                    <a:pt x="23" y="199"/>
                  </a:moveTo>
                  <a:cubicBezTo>
                    <a:pt x="23" y="199"/>
                    <a:pt x="22" y="199"/>
                    <a:pt x="22" y="199"/>
                  </a:cubicBezTo>
                  <a:cubicBezTo>
                    <a:pt x="20" y="198"/>
                    <a:pt x="19" y="196"/>
                    <a:pt x="20" y="194"/>
                  </a:cubicBezTo>
                  <a:cubicBezTo>
                    <a:pt x="20" y="193"/>
                    <a:pt x="33" y="165"/>
                    <a:pt x="40" y="158"/>
                  </a:cubicBezTo>
                  <a:cubicBezTo>
                    <a:pt x="41" y="156"/>
                    <a:pt x="42" y="154"/>
                    <a:pt x="42" y="154"/>
                  </a:cubicBezTo>
                  <a:cubicBezTo>
                    <a:pt x="41" y="153"/>
                    <a:pt x="38" y="153"/>
                    <a:pt x="27" y="156"/>
                  </a:cubicBezTo>
                  <a:cubicBezTo>
                    <a:pt x="20" y="159"/>
                    <a:pt x="13" y="157"/>
                    <a:pt x="9" y="152"/>
                  </a:cubicBezTo>
                  <a:cubicBezTo>
                    <a:pt x="0" y="141"/>
                    <a:pt x="2" y="116"/>
                    <a:pt x="10" y="103"/>
                  </a:cubicBezTo>
                  <a:cubicBezTo>
                    <a:pt x="17" y="92"/>
                    <a:pt x="30" y="96"/>
                    <a:pt x="43" y="100"/>
                  </a:cubicBezTo>
                  <a:cubicBezTo>
                    <a:pt x="59" y="105"/>
                    <a:pt x="69" y="108"/>
                    <a:pt x="76" y="98"/>
                  </a:cubicBezTo>
                  <a:cubicBezTo>
                    <a:pt x="80" y="92"/>
                    <a:pt x="82" y="89"/>
                    <a:pt x="82" y="88"/>
                  </a:cubicBezTo>
                  <a:cubicBezTo>
                    <a:pt x="82" y="88"/>
                    <a:pt x="81" y="88"/>
                    <a:pt x="80" y="88"/>
                  </a:cubicBezTo>
                  <a:cubicBezTo>
                    <a:pt x="77" y="87"/>
                    <a:pt x="72" y="87"/>
                    <a:pt x="69" y="84"/>
                  </a:cubicBezTo>
                  <a:cubicBezTo>
                    <a:pt x="63" y="81"/>
                    <a:pt x="60" y="79"/>
                    <a:pt x="58" y="80"/>
                  </a:cubicBezTo>
                  <a:cubicBezTo>
                    <a:pt x="56" y="80"/>
                    <a:pt x="54" y="82"/>
                    <a:pt x="52" y="86"/>
                  </a:cubicBezTo>
                  <a:cubicBezTo>
                    <a:pt x="48" y="93"/>
                    <a:pt x="43" y="94"/>
                    <a:pt x="40" y="94"/>
                  </a:cubicBezTo>
                  <a:cubicBezTo>
                    <a:pt x="33" y="95"/>
                    <a:pt x="27" y="91"/>
                    <a:pt x="20" y="83"/>
                  </a:cubicBezTo>
                  <a:cubicBezTo>
                    <a:pt x="18" y="80"/>
                    <a:pt x="18" y="77"/>
                    <a:pt x="18" y="75"/>
                  </a:cubicBezTo>
                  <a:cubicBezTo>
                    <a:pt x="20" y="70"/>
                    <a:pt x="26" y="67"/>
                    <a:pt x="34" y="64"/>
                  </a:cubicBezTo>
                  <a:cubicBezTo>
                    <a:pt x="38" y="63"/>
                    <a:pt x="43" y="61"/>
                    <a:pt x="46" y="59"/>
                  </a:cubicBezTo>
                  <a:cubicBezTo>
                    <a:pt x="42" y="59"/>
                    <a:pt x="38" y="59"/>
                    <a:pt x="36" y="55"/>
                  </a:cubicBezTo>
                  <a:cubicBezTo>
                    <a:pt x="34" y="51"/>
                    <a:pt x="37" y="46"/>
                    <a:pt x="39" y="43"/>
                  </a:cubicBezTo>
                  <a:cubicBezTo>
                    <a:pt x="40" y="42"/>
                    <a:pt x="40" y="41"/>
                    <a:pt x="40" y="41"/>
                  </a:cubicBezTo>
                  <a:cubicBezTo>
                    <a:pt x="35" y="41"/>
                    <a:pt x="27" y="39"/>
                    <a:pt x="23" y="25"/>
                  </a:cubicBezTo>
                  <a:cubicBezTo>
                    <a:pt x="21" y="18"/>
                    <a:pt x="22" y="12"/>
                    <a:pt x="26" y="9"/>
                  </a:cubicBezTo>
                  <a:cubicBezTo>
                    <a:pt x="35" y="0"/>
                    <a:pt x="58" y="6"/>
                    <a:pt x="60" y="7"/>
                  </a:cubicBezTo>
                  <a:cubicBezTo>
                    <a:pt x="62" y="8"/>
                    <a:pt x="63" y="10"/>
                    <a:pt x="63" y="12"/>
                  </a:cubicBezTo>
                  <a:cubicBezTo>
                    <a:pt x="62" y="14"/>
                    <a:pt x="60" y="15"/>
                    <a:pt x="58" y="14"/>
                  </a:cubicBezTo>
                  <a:cubicBezTo>
                    <a:pt x="50" y="12"/>
                    <a:pt x="36" y="9"/>
                    <a:pt x="31" y="14"/>
                  </a:cubicBezTo>
                  <a:cubicBezTo>
                    <a:pt x="29" y="16"/>
                    <a:pt x="29" y="19"/>
                    <a:pt x="30" y="23"/>
                  </a:cubicBezTo>
                  <a:cubicBezTo>
                    <a:pt x="33" y="35"/>
                    <a:pt x="38" y="34"/>
                    <a:pt x="43" y="33"/>
                  </a:cubicBezTo>
                  <a:cubicBezTo>
                    <a:pt x="45" y="33"/>
                    <a:pt x="48" y="33"/>
                    <a:pt x="49" y="35"/>
                  </a:cubicBezTo>
                  <a:cubicBezTo>
                    <a:pt x="51" y="38"/>
                    <a:pt x="49" y="41"/>
                    <a:pt x="45" y="47"/>
                  </a:cubicBezTo>
                  <a:cubicBezTo>
                    <a:pt x="43" y="49"/>
                    <a:pt x="43" y="51"/>
                    <a:pt x="43" y="52"/>
                  </a:cubicBezTo>
                  <a:cubicBezTo>
                    <a:pt x="44" y="52"/>
                    <a:pt x="45" y="52"/>
                    <a:pt x="47" y="52"/>
                  </a:cubicBezTo>
                  <a:cubicBezTo>
                    <a:pt x="50" y="52"/>
                    <a:pt x="53" y="52"/>
                    <a:pt x="55" y="55"/>
                  </a:cubicBezTo>
                  <a:cubicBezTo>
                    <a:pt x="56" y="58"/>
                    <a:pt x="54" y="60"/>
                    <a:pt x="54" y="61"/>
                  </a:cubicBezTo>
                  <a:cubicBezTo>
                    <a:pt x="50" y="66"/>
                    <a:pt x="43" y="69"/>
                    <a:pt x="37" y="71"/>
                  </a:cubicBezTo>
                  <a:cubicBezTo>
                    <a:pt x="33" y="73"/>
                    <a:pt x="25" y="75"/>
                    <a:pt x="25" y="77"/>
                  </a:cubicBezTo>
                  <a:cubicBezTo>
                    <a:pt x="25" y="77"/>
                    <a:pt x="25" y="78"/>
                    <a:pt x="26" y="78"/>
                  </a:cubicBezTo>
                  <a:cubicBezTo>
                    <a:pt x="31" y="84"/>
                    <a:pt x="35" y="87"/>
                    <a:pt x="39" y="87"/>
                  </a:cubicBezTo>
                  <a:cubicBezTo>
                    <a:pt x="42" y="87"/>
                    <a:pt x="44" y="85"/>
                    <a:pt x="46" y="82"/>
                  </a:cubicBezTo>
                  <a:cubicBezTo>
                    <a:pt x="49" y="77"/>
                    <a:pt x="52" y="74"/>
                    <a:pt x="57" y="73"/>
                  </a:cubicBezTo>
                  <a:cubicBezTo>
                    <a:pt x="62" y="72"/>
                    <a:pt x="68" y="75"/>
                    <a:pt x="73" y="79"/>
                  </a:cubicBezTo>
                  <a:cubicBezTo>
                    <a:pt x="75" y="80"/>
                    <a:pt x="78" y="80"/>
                    <a:pt x="81" y="80"/>
                  </a:cubicBezTo>
                  <a:cubicBezTo>
                    <a:pt x="84" y="81"/>
                    <a:pt x="88" y="81"/>
                    <a:pt x="89" y="84"/>
                  </a:cubicBezTo>
                  <a:cubicBezTo>
                    <a:pt x="91" y="88"/>
                    <a:pt x="89" y="92"/>
                    <a:pt x="82" y="102"/>
                  </a:cubicBezTo>
                  <a:cubicBezTo>
                    <a:pt x="72" y="117"/>
                    <a:pt x="55" y="112"/>
                    <a:pt x="41" y="107"/>
                  </a:cubicBezTo>
                  <a:cubicBezTo>
                    <a:pt x="28" y="103"/>
                    <a:pt x="20" y="101"/>
                    <a:pt x="17" y="107"/>
                  </a:cubicBezTo>
                  <a:cubicBezTo>
                    <a:pt x="9" y="119"/>
                    <a:pt x="8" y="139"/>
                    <a:pt x="15" y="147"/>
                  </a:cubicBezTo>
                  <a:cubicBezTo>
                    <a:pt x="16" y="149"/>
                    <a:pt x="19" y="152"/>
                    <a:pt x="25" y="150"/>
                  </a:cubicBezTo>
                  <a:cubicBezTo>
                    <a:pt x="38" y="145"/>
                    <a:pt x="45" y="145"/>
                    <a:pt x="48" y="150"/>
                  </a:cubicBezTo>
                  <a:cubicBezTo>
                    <a:pt x="51" y="153"/>
                    <a:pt x="49" y="158"/>
                    <a:pt x="45" y="163"/>
                  </a:cubicBezTo>
                  <a:cubicBezTo>
                    <a:pt x="40" y="168"/>
                    <a:pt x="30" y="189"/>
                    <a:pt x="26" y="197"/>
                  </a:cubicBezTo>
                  <a:cubicBezTo>
                    <a:pt x="26" y="198"/>
                    <a:pt x="24" y="199"/>
                    <a:pt x="23" y="199"/>
                  </a:cubicBezTo>
                  <a:close/>
                  <a:moveTo>
                    <a:pt x="48" y="56"/>
                  </a:moveTo>
                  <a:cubicBezTo>
                    <a:pt x="48" y="56"/>
                    <a:pt x="48" y="56"/>
                    <a:pt x="48" y="56"/>
                  </a:cubicBezTo>
                  <a:cubicBezTo>
                    <a:pt x="48" y="56"/>
                    <a:pt x="48" y="56"/>
                    <a:pt x="48" y="5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5" name="Freeform 334">
              <a:extLst>
                <a:ext uri="{FF2B5EF4-FFF2-40B4-BE49-F238E27FC236}">
                  <a16:creationId xmlns:a16="http://schemas.microsoft.com/office/drawing/2014/main" id="{0AB34D04-A32F-733B-A397-26E14879A104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34209" y="893430"/>
              <a:ext cx="237955" cy="534481"/>
            </a:xfrm>
            <a:custGeom>
              <a:avLst/>
              <a:gdLst>
                <a:gd name="T0" fmla="*/ 68 w 86"/>
                <a:gd name="T1" fmla="*/ 194 h 194"/>
                <a:gd name="T2" fmla="*/ 65 w 86"/>
                <a:gd name="T3" fmla="*/ 193 h 194"/>
                <a:gd name="T4" fmla="*/ 65 w 86"/>
                <a:gd name="T5" fmla="*/ 188 h 194"/>
                <a:gd name="T6" fmla="*/ 78 w 86"/>
                <a:gd name="T7" fmla="*/ 158 h 194"/>
                <a:gd name="T8" fmla="*/ 41 w 86"/>
                <a:gd name="T9" fmla="*/ 139 h 194"/>
                <a:gd name="T10" fmla="*/ 17 w 86"/>
                <a:gd name="T11" fmla="*/ 132 h 194"/>
                <a:gd name="T12" fmla="*/ 3 w 86"/>
                <a:gd name="T13" fmla="*/ 118 h 194"/>
                <a:gd name="T14" fmla="*/ 7 w 86"/>
                <a:gd name="T15" fmla="*/ 100 h 194"/>
                <a:gd name="T16" fmla="*/ 8 w 86"/>
                <a:gd name="T17" fmla="*/ 99 h 194"/>
                <a:gd name="T18" fmla="*/ 50 w 86"/>
                <a:gd name="T19" fmla="*/ 52 h 194"/>
                <a:gd name="T20" fmla="*/ 41 w 86"/>
                <a:gd name="T21" fmla="*/ 31 h 194"/>
                <a:gd name="T22" fmla="*/ 36 w 86"/>
                <a:gd name="T23" fmla="*/ 34 h 194"/>
                <a:gd name="T24" fmla="*/ 14 w 86"/>
                <a:gd name="T25" fmla="*/ 56 h 194"/>
                <a:gd name="T26" fmla="*/ 8 w 86"/>
                <a:gd name="T27" fmla="*/ 54 h 194"/>
                <a:gd name="T28" fmla="*/ 14 w 86"/>
                <a:gd name="T29" fmla="*/ 33 h 194"/>
                <a:gd name="T30" fmla="*/ 20 w 86"/>
                <a:gd name="T31" fmla="*/ 11 h 194"/>
                <a:gd name="T32" fmla="*/ 13 w 86"/>
                <a:gd name="T33" fmla="*/ 8 h 194"/>
                <a:gd name="T34" fmla="*/ 9 w 86"/>
                <a:gd name="T35" fmla="*/ 5 h 194"/>
                <a:gd name="T36" fmla="*/ 13 w 86"/>
                <a:gd name="T37" fmla="*/ 1 h 194"/>
                <a:gd name="T38" fmla="*/ 26 w 86"/>
                <a:gd name="T39" fmla="*/ 7 h 194"/>
                <a:gd name="T40" fmla="*/ 20 w 86"/>
                <a:gd name="T41" fmla="*/ 37 h 194"/>
                <a:gd name="T42" fmla="*/ 14 w 86"/>
                <a:gd name="T43" fmla="*/ 49 h 194"/>
                <a:gd name="T44" fmla="*/ 30 w 86"/>
                <a:gd name="T45" fmla="*/ 32 h 194"/>
                <a:gd name="T46" fmla="*/ 43 w 86"/>
                <a:gd name="T47" fmla="*/ 24 h 194"/>
                <a:gd name="T48" fmla="*/ 57 w 86"/>
                <a:gd name="T49" fmla="*/ 54 h 194"/>
                <a:gd name="T50" fmla="*/ 13 w 86"/>
                <a:gd name="T51" fmla="*/ 104 h 194"/>
                <a:gd name="T52" fmla="*/ 10 w 86"/>
                <a:gd name="T53" fmla="*/ 117 h 194"/>
                <a:gd name="T54" fmla="*/ 19 w 86"/>
                <a:gd name="T55" fmla="*/ 125 h 194"/>
                <a:gd name="T56" fmla="*/ 43 w 86"/>
                <a:gd name="T57" fmla="*/ 132 h 194"/>
                <a:gd name="T58" fmla="*/ 85 w 86"/>
                <a:gd name="T59" fmla="*/ 158 h 194"/>
                <a:gd name="T60" fmla="*/ 70 w 86"/>
                <a:gd name="T61" fmla="*/ 193 h 194"/>
                <a:gd name="T62" fmla="*/ 68 w 86"/>
                <a:gd name="T63" fmla="*/ 19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86" h="194">
                  <a:moveTo>
                    <a:pt x="68" y="194"/>
                  </a:moveTo>
                  <a:cubicBezTo>
                    <a:pt x="67" y="194"/>
                    <a:pt x="66" y="194"/>
                    <a:pt x="65" y="193"/>
                  </a:cubicBezTo>
                  <a:cubicBezTo>
                    <a:pt x="64" y="192"/>
                    <a:pt x="64" y="189"/>
                    <a:pt x="65" y="188"/>
                  </a:cubicBezTo>
                  <a:cubicBezTo>
                    <a:pt x="65" y="188"/>
                    <a:pt x="79" y="176"/>
                    <a:pt x="78" y="158"/>
                  </a:cubicBezTo>
                  <a:cubicBezTo>
                    <a:pt x="78" y="148"/>
                    <a:pt x="59" y="143"/>
                    <a:pt x="41" y="139"/>
                  </a:cubicBezTo>
                  <a:cubicBezTo>
                    <a:pt x="33" y="137"/>
                    <a:pt x="24" y="135"/>
                    <a:pt x="17" y="132"/>
                  </a:cubicBezTo>
                  <a:cubicBezTo>
                    <a:pt x="9" y="129"/>
                    <a:pt x="4" y="124"/>
                    <a:pt x="3" y="118"/>
                  </a:cubicBezTo>
                  <a:cubicBezTo>
                    <a:pt x="0" y="109"/>
                    <a:pt x="7" y="100"/>
                    <a:pt x="7" y="100"/>
                  </a:cubicBezTo>
                  <a:cubicBezTo>
                    <a:pt x="7" y="99"/>
                    <a:pt x="8" y="99"/>
                    <a:pt x="8" y="99"/>
                  </a:cubicBezTo>
                  <a:cubicBezTo>
                    <a:pt x="18" y="91"/>
                    <a:pt x="47" y="66"/>
                    <a:pt x="50" y="52"/>
                  </a:cubicBezTo>
                  <a:cubicBezTo>
                    <a:pt x="52" y="42"/>
                    <a:pt x="46" y="32"/>
                    <a:pt x="41" y="31"/>
                  </a:cubicBezTo>
                  <a:cubicBezTo>
                    <a:pt x="40" y="30"/>
                    <a:pt x="38" y="30"/>
                    <a:pt x="36" y="34"/>
                  </a:cubicBezTo>
                  <a:cubicBezTo>
                    <a:pt x="33" y="45"/>
                    <a:pt x="21" y="55"/>
                    <a:pt x="14" y="56"/>
                  </a:cubicBezTo>
                  <a:cubicBezTo>
                    <a:pt x="11" y="57"/>
                    <a:pt x="9" y="56"/>
                    <a:pt x="8" y="54"/>
                  </a:cubicBezTo>
                  <a:cubicBezTo>
                    <a:pt x="6" y="51"/>
                    <a:pt x="5" y="47"/>
                    <a:pt x="14" y="33"/>
                  </a:cubicBezTo>
                  <a:cubicBezTo>
                    <a:pt x="23" y="18"/>
                    <a:pt x="21" y="12"/>
                    <a:pt x="20" y="11"/>
                  </a:cubicBezTo>
                  <a:cubicBezTo>
                    <a:pt x="18" y="8"/>
                    <a:pt x="13" y="8"/>
                    <a:pt x="13" y="8"/>
                  </a:cubicBezTo>
                  <a:cubicBezTo>
                    <a:pt x="11" y="9"/>
                    <a:pt x="10" y="7"/>
                    <a:pt x="9" y="5"/>
                  </a:cubicBezTo>
                  <a:cubicBezTo>
                    <a:pt x="9" y="3"/>
                    <a:pt x="11" y="2"/>
                    <a:pt x="13" y="1"/>
                  </a:cubicBezTo>
                  <a:cubicBezTo>
                    <a:pt x="13" y="1"/>
                    <a:pt x="22" y="0"/>
                    <a:pt x="26" y="7"/>
                  </a:cubicBezTo>
                  <a:cubicBezTo>
                    <a:pt x="30" y="13"/>
                    <a:pt x="28" y="23"/>
                    <a:pt x="20" y="37"/>
                  </a:cubicBezTo>
                  <a:cubicBezTo>
                    <a:pt x="16" y="44"/>
                    <a:pt x="14" y="47"/>
                    <a:pt x="14" y="49"/>
                  </a:cubicBezTo>
                  <a:cubicBezTo>
                    <a:pt x="18" y="47"/>
                    <a:pt x="27" y="40"/>
                    <a:pt x="30" y="32"/>
                  </a:cubicBezTo>
                  <a:cubicBezTo>
                    <a:pt x="32" y="24"/>
                    <a:pt x="38" y="22"/>
                    <a:pt x="43" y="24"/>
                  </a:cubicBezTo>
                  <a:cubicBezTo>
                    <a:pt x="52" y="26"/>
                    <a:pt x="60" y="40"/>
                    <a:pt x="57" y="54"/>
                  </a:cubicBezTo>
                  <a:cubicBezTo>
                    <a:pt x="53" y="72"/>
                    <a:pt x="17" y="101"/>
                    <a:pt x="13" y="104"/>
                  </a:cubicBezTo>
                  <a:cubicBezTo>
                    <a:pt x="12" y="106"/>
                    <a:pt x="8" y="111"/>
                    <a:pt x="10" y="117"/>
                  </a:cubicBezTo>
                  <a:cubicBezTo>
                    <a:pt x="11" y="120"/>
                    <a:pt x="14" y="123"/>
                    <a:pt x="19" y="125"/>
                  </a:cubicBezTo>
                  <a:cubicBezTo>
                    <a:pt x="26" y="128"/>
                    <a:pt x="35" y="130"/>
                    <a:pt x="43" y="132"/>
                  </a:cubicBezTo>
                  <a:cubicBezTo>
                    <a:pt x="64" y="137"/>
                    <a:pt x="85" y="142"/>
                    <a:pt x="85" y="158"/>
                  </a:cubicBezTo>
                  <a:cubicBezTo>
                    <a:pt x="86" y="179"/>
                    <a:pt x="71" y="193"/>
                    <a:pt x="70" y="193"/>
                  </a:cubicBezTo>
                  <a:cubicBezTo>
                    <a:pt x="69" y="194"/>
                    <a:pt x="68" y="194"/>
                    <a:pt x="68" y="19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67844294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480F8F-DFE9-BE03-755A-7A7A299D75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26335A42-5021-AF2C-66DB-8FC8BEAF47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6335A42-5021-AF2C-66DB-8FC8BEAF47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9443FC9-62F3-BAA2-3DB6-5ACEB5494F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xt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45C56381-E89D-93AE-068F-987AF8C3C44F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2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10" name="Google Shape;1755;p32">
            <a:extLst>
              <a:ext uri="{FF2B5EF4-FFF2-40B4-BE49-F238E27FC236}">
                <a16:creationId xmlns:a16="http://schemas.microsoft.com/office/drawing/2014/main" id="{ECEF4300-B6FE-B42E-3E7C-AB25850DAFF1}"/>
              </a:ext>
            </a:extLst>
          </p:cNvPr>
          <p:cNvSpPr/>
          <p:nvPr/>
        </p:nvSpPr>
        <p:spPr>
          <a:xfrm>
            <a:off x="6317245" y="1446992"/>
            <a:ext cx="57973" cy="472794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1979" dirty="0">
              <a:solidFill>
                <a:srgbClr val="FFFFFF"/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211" name="Google Shape;1756;p32">
            <a:extLst>
              <a:ext uri="{FF2B5EF4-FFF2-40B4-BE49-F238E27FC236}">
                <a16:creationId xmlns:a16="http://schemas.microsoft.com/office/drawing/2014/main" id="{AC363765-7AF3-D492-A318-8D53F49B2950}"/>
              </a:ext>
            </a:extLst>
          </p:cNvPr>
          <p:cNvSpPr/>
          <p:nvPr/>
        </p:nvSpPr>
        <p:spPr>
          <a:xfrm>
            <a:off x="726648" y="1446992"/>
            <a:ext cx="57973" cy="472794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1979" dirty="0">
              <a:solidFill>
                <a:srgbClr val="FFFFFF"/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212" name="Google Shape;1759;p32">
            <a:extLst>
              <a:ext uri="{FF2B5EF4-FFF2-40B4-BE49-F238E27FC236}">
                <a16:creationId xmlns:a16="http://schemas.microsoft.com/office/drawing/2014/main" id="{488BF145-2983-49DA-AC4B-C98545D3AF9C}"/>
              </a:ext>
            </a:extLst>
          </p:cNvPr>
          <p:cNvSpPr txBox="1"/>
          <p:nvPr/>
        </p:nvSpPr>
        <p:spPr>
          <a:xfrm>
            <a:off x="7024810" y="3465825"/>
            <a:ext cx="2391933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r>
              <a:rPr lang="en-US" sz="1600" b="1" dirty="0">
                <a:ea typeface="Trebuchet MS"/>
                <a:cs typeface="Arial" panose="020B0604020202020204" pitchFamily="34" charset="0"/>
                <a:sym typeface="Trebuchet MS"/>
              </a:rPr>
              <a:t>12:20 – 13:30</a:t>
            </a:r>
            <a:endParaRPr sz="1600" dirty="0"/>
          </a:p>
        </p:txBody>
      </p:sp>
      <p:sp>
        <p:nvSpPr>
          <p:cNvPr id="213" name="Google Shape;1760;p32">
            <a:extLst>
              <a:ext uri="{FF2B5EF4-FFF2-40B4-BE49-F238E27FC236}">
                <a16:creationId xmlns:a16="http://schemas.microsoft.com/office/drawing/2014/main" id="{C2A00892-97E9-4660-1E22-7D4FA2EDB060}"/>
              </a:ext>
            </a:extLst>
          </p:cNvPr>
          <p:cNvSpPr/>
          <p:nvPr/>
        </p:nvSpPr>
        <p:spPr>
          <a:xfrm>
            <a:off x="6010251" y="3252678"/>
            <a:ext cx="671964" cy="67250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4000" dirty="0">
              <a:solidFill>
                <a:schemeClr val="dk1"/>
              </a:solidFill>
              <a:cs typeface="Arial" panose="020B0604020202020204" pitchFamily="34" charset="0"/>
              <a:sym typeface="Trebuchet MS"/>
            </a:endParaRPr>
          </a:p>
        </p:txBody>
      </p:sp>
      <p:grpSp>
        <p:nvGrpSpPr>
          <p:cNvPr id="215" name="Group 214">
            <a:extLst>
              <a:ext uri="{FF2B5EF4-FFF2-40B4-BE49-F238E27FC236}">
                <a16:creationId xmlns:a16="http://schemas.microsoft.com/office/drawing/2014/main" id="{2AB25C61-1919-FF72-6985-5FEECD334F0C}"/>
              </a:ext>
            </a:extLst>
          </p:cNvPr>
          <p:cNvGrpSpPr/>
          <p:nvPr/>
        </p:nvGrpSpPr>
        <p:grpSpPr>
          <a:xfrm>
            <a:off x="6218443" y="3423636"/>
            <a:ext cx="255580" cy="330591"/>
            <a:chOff x="6718397" y="3655606"/>
            <a:chExt cx="197829" cy="255891"/>
          </a:xfrm>
        </p:grpSpPr>
        <p:sp>
          <p:nvSpPr>
            <p:cNvPr id="216" name="Google Shape;1763;p32">
              <a:extLst>
                <a:ext uri="{FF2B5EF4-FFF2-40B4-BE49-F238E27FC236}">
                  <a16:creationId xmlns:a16="http://schemas.microsoft.com/office/drawing/2014/main" id="{28BD2643-BE6D-6B39-3C3A-2B1021CDDFCA}"/>
                </a:ext>
              </a:extLst>
            </p:cNvPr>
            <p:cNvSpPr/>
            <p:nvPr/>
          </p:nvSpPr>
          <p:spPr>
            <a:xfrm>
              <a:off x="6718397" y="3655606"/>
              <a:ext cx="197829" cy="255891"/>
            </a:xfrm>
            <a:custGeom>
              <a:avLst/>
              <a:gdLst/>
              <a:ahLst/>
              <a:cxnLst/>
              <a:rect l="l" t="t" r="r" b="b"/>
              <a:pathLst>
                <a:path w="332" h="431" extrusionOk="0">
                  <a:moveTo>
                    <a:pt x="295" y="431"/>
                  </a:moveTo>
                  <a:cubicBezTo>
                    <a:pt x="37" y="431"/>
                    <a:pt x="37" y="431"/>
                    <a:pt x="37" y="431"/>
                  </a:cubicBezTo>
                  <a:cubicBezTo>
                    <a:pt x="17" y="431"/>
                    <a:pt x="0" y="414"/>
                    <a:pt x="0" y="394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17"/>
                    <a:pt x="17" y="0"/>
                    <a:pt x="37" y="0"/>
                  </a:cubicBezTo>
                  <a:cubicBezTo>
                    <a:pt x="295" y="0"/>
                    <a:pt x="295" y="0"/>
                    <a:pt x="295" y="0"/>
                  </a:cubicBezTo>
                  <a:cubicBezTo>
                    <a:pt x="316" y="0"/>
                    <a:pt x="332" y="17"/>
                    <a:pt x="332" y="37"/>
                  </a:cubicBezTo>
                  <a:cubicBezTo>
                    <a:pt x="332" y="394"/>
                    <a:pt x="332" y="394"/>
                    <a:pt x="332" y="394"/>
                  </a:cubicBezTo>
                  <a:cubicBezTo>
                    <a:pt x="332" y="414"/>
                    <a:pt x="316" y="431"/>
                    <a:pt x="295" y="431"/>
                  </a:cubicBezTo>
                  <a:close/>
                  <a:moveTo>
                    <a:pt x="37" y="13"/>
                  </a:moveTo>
                  <a:cubicBezTo>
                    <a:pt x="23" y="13"/>
                    <a:pt x="12" y="24"/>
                    <a:pt x="12" y="37"/>
                  </a:cubicBezTo>
                  <a:cubicBezTo>
                    <a:pt x="12" y="394"/>
                    <a:pt x="12" y="394"/>
                    <a:pt x="12" y="394"/>
                  </a:cubicBezTo>
                  <a:cubicBezTo>
                    <a:pt x="12" y="407"/>
                    <a:pt x="23" y="418"/>
                    <a:pt x="37" y="418"/>
                  </a:cubicBezTo>
                  <a:cubicBezTo>
                    <a:pt x="295" y="418"/>
                    <a:pt x="295" y="418"/>
                    <a:pt x="295" y="418"/>
                  </a:cubicBezTo>
                  <a:cubicBezTo>
                    <a:pt x="309" y="418"/>
                    <a:pt x="320" y="407"/>
                    <a:pt x="320" y="394"/>
                  </a:cubicBezTo>
                  <a:cubicBezTo>
                    <a:pt x="320" y="37"/>
                    <a:pt x="320" y="37"/>
                    <a:pt x="320" y="37"/>
                  </a:cubicBezTo>
                  <a:cubicBezTo>
                    <a:pt x="320" y="24"/>
                    <a:pt x="309" y="13"/>
                    <a:pt x="295" y="13"/>
                  </a:cubicBezTo>
                  <a:lnTo>
                    <a:pt x="37" y="1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17" name="Google Shape;1764;p32">
              <a:extLst>
                <a:ext uri="{FF2B5EF4-FFF2-40B4-BE49-F238E27FC236}">
                  <a16:creationId xmlns:a16="http://schemas.microsoft.com/office/drawing/2014/main" id="{55D90866-F2F0-A39F-C4C6-ED5D7FC53168}"/>
                </a:ext>
              </a:extLst>
            </p:cNvPr>
            <p:cNvSpPr/>
            <p:nvPr/>
          </p:nvSpPr>
          <p:spPr>
            <a:xfrm>
              <a:off x="6746351" y="3655606"/>
              <a:ext cx="141921" cy="32255"/>
            </a:xfrm>
            <a:custGeom>
              <a:avLst/>
              <a:gdLst/>
              <a:ahLst/>
              <a:cxnLst/>
              <a:rect l="l" t="t" r="r" b="b"/>
              <a:pathLst>
                <a:path w="242" h="54" extrusionOk="0">
                  <a:moveTo>
                    <a:pt x="236" y="54"/>
                  </a:moveTo>
                  <a:cubicBezTo>
                    <a:pt x="7" y="54"/>
                    <a:pt x="7" y="54"/>
                    <a:pt x="7" y="54"/>
                  </a:cubicBezTo>
                  <a:cubicBezTo>
                    <a:pt x="3" y="54"/>
                    <a:pt x="0" y="52"/>
                    <a:pt x="0" y="48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cubicBezTo>
                    <a:pt x="236" y="0"/>
                    <a:pt x="236" y="0"/>
                    <a:pt x="236" y="0"/>
                  </a:cubicBezTo>
                  <a:cubicBezTo>
                    <a:pt x="239" y="0"/>
                    <a:pt x="242" y="3"/>
                    <a:pt x="242" y="7"/>
                  </a:cubicBezTo>
                  <a:cubicBezTo>
                    <a:pt x="242" y="48"/>
                    <a:pt x="242" y="48"/>
                    <a:pt x="242" y="48"/>
                  </a:cubicBezTo>
                  <a:cubicBezTo>
                    <a:pt x="242" y="52"/>
                    <a:pt x="239" y="54"/>
                    <a:pt x="236" y="54"/>
                  </a:cubicBezTo>
                  <a:close/>
                  <a:moveTo>
                    <a:pt x="13" y="42"/>
                  </a:moveTo>
                  <a:cubicBezTo>
                    <a:pt x="230" y="42"/>
                    <a:pt x="230" y="42"/>
                    <a:pt x="230" y="42"/>
                  </a:cubicBezTo>
                  <a:cubicBezTo>
                    <a:pt x="230" y="13"/>
                    <a:pt x="230" y="13"/>
                    <a:pt x="230" y="13"/>
                  </a:cubicBezTo>
                  <a:cubicBezTo>
                    <a:pt x="13" y="13"/>
                    <a:pt x="13" y="13"/>
                    <a:pt x="13" y="13"/>
                  </a:cubicBezTo>
                  <a:lnTo>
                    <a:pt x="13" y="4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18" name="Google Shape;1765;p32">
              <a:extLst>
                <a:ext uri="{FF2B5EF4-FFF2-40B4-BE49-F238E27FC236}">
                  <a16:creationId xmlns:a16="http://schemas.microsoft.com/office/drawing/2014/main" id="{CABDF413-E4DA-F06A-4FAB-3592031067FC}"/>
                </a:ext>
              </a:extLst>
            </p:cNvPr>
            <p:cNvSpPr/>
            <p:nvPr/>
          </p:nvSpPr>
          <p:spPr>
            <a:xfrm>
              <a:off x="6757103" y="3726568"/>
              <a:ext cx="38706" cy="27954"/>
            </a:xfrm>
            <a:custGeom>
              <a:avLst/>
              <a:gdLst/>
              <a:ahLst/>
              <a:cxnLst/>
              <a:rect l="l" t="t" r="r" b="b"/>
              <a:pathLst>
                <a:path w="66" h="49" extrusionOk="0">
                  <a:moveTo>
                    <a:pt x="25" y="49"/>
                  </a:moveTo>
                  <a:cubicBezTo>
                    <a:pt x="23" y="49"/>
                    <a:pt x="21" y="48"/>
                    <a:pt x="20" y="47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0" y="27"/>
                    <a:pt x="0" y="23"/>
                    <a:pt x="3" y="20"/>
                  </a:cubicBezTo>
                  <a:cubicBezTo>
                    <a:pt x="5" y="18"/>
                    <a:pt x="9" y="18"/>
                    <a:pt x="11" y="20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55" y="3"/>
                    <a:pt x="55" y="3"/>
                    <a:pt x="55" y="3"/>
                  </a:cubicBezTo>
                  <a:cubicBezTo>
                    <a:pt x="58" y="0"/>
                    <a:pt x="62" y="0"/>
                    <a:pt x="64" y="3"/>
                  </a:cubicBezTo>
                  <a:cubicBezTo>
                    <a:pt x="66" y="5"/>
                    <a:pt x="66" y="9"/>
                    <a:pt x="64" y="12"/>
                  </a:cubicBezTo>
                  <a:cubicBezTo>
                    <a:pt x="29" y="47"/>
                    <a:pt x="29" y="47"/>
                    <a:pt x="29" y="47"/>
                  </a:cubicBezTo>
                  <a:cubicBezTo>
                    <a:pt x="28" y="48"/>
                    <a:pt x="26" y="49"/>
                    <a:pt x="25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19" name="Google Shape;1766;p32">
              <a:extLst>
                <a:ext uri="{FF2B5EF4-FFF2-40B4-BE49-F238E27FC236}">
                  <a16:creationId xmlns:a16="http://schemas.microsoft.com/office/drawing/2014/main" id="{6D9B7587-82F4-327D-CB85-3337C75EF89B}"/>
                </a:ext>
              </a:extLst>
            </p:cNvPr>
            <p:cNvSpPr/>
            <p:nvPr/>
          </p:nvSpPr>
          <p:spPr>
            <a:xfrm>
              <a:off x="6757103" y="3778176"/>
              <a:ext cx="38706" cy="30105"/>
            </a:xfrm>
            <a:custGeom>
              <a:avLst/>
              <a:gdLst/>
              <a:ahLst/>
              <a:cxnLst/>
              <a:rect l="l" t="t" r="r" b="b"/>
              <a:pathLst>
                <a:path w="66" h="49" extrusionOk="0">
                  <a:moveTo>
                    <a:pt x="25" y="49"/>
                  </a:moveTo>
                  <a:cubicBezTo>
                    <a:pt x="23" y="49"/>
                    <a:pt x="21" y="48"/>
                    <a:pt x="20" y="47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0" y="27"/>
                    <a:pt x="0" y="23"/>
                    <a:pt x="3" y="20"/>
                  </a:cubicBezTo>
                  <a:cubicBezTo>
                    <a:pt x="5" y="18"/>
                    <a:pt x="9" y="18"/>
                    <a:pt x="11" y="20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55" y="3"/>
                    <a:pt x="55" y="3"/>
                    <a:pt x="55" y="3"/>
                  </a:cubicBezTo>
                  <a:cubicBezTo>
                    <a:pt x="58" y="0"/>
                    <a:pt x="62" y="0"/>
                    <a:pt x="64" y="3"/>
                  </a:cubicBezTo>
                  <a:cubicBezTo>
                    <a:pt x="66" y="5"/>
                    <a:pt x="66" y="9"/>
                    <a:pt x="64" y="12"/>
                  </a:cubicBezTo>
                  <a:cubicBezTo>
                    <a:pt x="29" y="47"/>
                    <a:pt x="29" y="47"/>
                    <a:pt x="29" y="47"/>
                  </a:cubicBezTo>
                  <a:cubicBezTo>
                    <a:pt x="28" y="48"/>
                    <a:pt x="26" y="49"/>
                    <a:pt x="25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20" name="Google Shape;1767;p32">
              <a:extLst>
                <a:ext uri="{FF2B5EF4-FFF2-40B4-BE49-F238E27FC236}">
                  <a16:creationId xmlns:a16="http://schemas.microsoft.com/office/drawing/2014/main" id="{2CF1F735-16C0-A629-08D9-01B872239BA8}"/>
                </a:ext>
              </a:extLst>
            </p:cNvPr>
            <p:cNvSpPr/>
            <p:nvPr/>
          </p:nvSpPr>
          <p:spPr>
            <a:xfrm>
              <a:off x="6757103" y="3831935"/>
              <a:ext cx="38706" cy="27954"/>
            </a:xfrm>
            <a:custGeom>
              <a:avLst/>
              <a:gdLst/>
              <a:ahLst/>
              <a:cxnLst/>
              <a:rect l="l" t="t" r="r" b="b"/>
              <a:pathLst>
                <a:path w="66" h="49" extrusionOk="0">
                  <a:moveTo>
                    <a:pt x="25" y="49"/>
                  </a:moveTo>
                  <a:cubicBezTo>
                    <a:pt x="23" y="49"/>
                    <a:pt x="21" y="48"/>
                    <a:pt x="20" y="47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0" y="27"/>
                    <a:pt x="0" y="23"/>
                    <a:pt x="3" y="20"/>
                  </a:cubicBezTo>
                  <a:cubicBezTo>
                    <a:pt x="5" y="18"/>
                    <a:pt x="9" y="18"/>
                    <a:pt x="11" y="20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55" y="3"/>
                    <a:pt x="55" y="3"/>
                    <a:pt x="55" y="3"/>
                  </a:cubicBezTo>
                  <a:cubicBezTo>
                    <a:pt x="58" y="0"/>
                    <a:pt x="62" y="0"/>
                    <a:pt x="64" y="3"/>
                  </a:cubicBezTo>
                  <a:cubicBezTo>
                    <a:pt x="66" y="5"/>
                    <a:pt x="66" y="9"/>
                    <a:pt x="64" y="12"/>
                  </a:cubicBezTo>
                  <a:cubicBezTo>
                    <a:pt x="29" y="47"/>
                    <a:pt x="29" y="47"/>
                    <a:pt x="29" y="47"/>
                  </a:cubicBezTo>
                  <a:cubicBezTo>
                    <a:pt x="28" y="48"/>
                    <a:pt x="26" y="49"/>
                    <a:pt x="25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21" name="Google Shape;1768;p32">
              <a:extLst>
                <a:ext uri="{FF2B5EF4-FFF2-40B4-BE49-F238E27FC236}">
                  <a16:creationId xmlns:a16="http://schemas.microsoft.com/office/drawing/2014/main" id="{5D376F00-9940-4CF2-BB8B-68190B0A9FDE}"/>
                </a:ext>
              </a:extLst>
            </p:cNvPr>
            <p:cNvSpPr/>
            <p:nvPr/>
          </p:nvSpPr>
          <p:spPr>
            <a:xfrm>
              <a:off x="6810860" y="3748071"/>
              <a:ext cx="66660" cy="6451"/>
            </a:xfrm>
            <a:custGeom>
              <a:avLst/>
              <a:gdLst/>
              <a:ahLst/>
              <a:cxnLst/>
              <a:rect l="l" t="t" r="r" b="b"/>
              <a:pathLst>
                <a:path w="113" h="13" extrusionOk="0">
                  <a:moveTo>
                    <a:pt x="106" y="13"/>
                  </a:moveTo>
                  <a:cubicBezTo>
                    <a:pt x="6" y="13"/>
                    <a:pt x="6" y="13"/>
                    <a:pt x="6" y="13"/>
                  </a:cubicBezTo>
                  <a:cubicBezTo>
                    <a:pt x="3" y="13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10" y="0"/>
                    <a:pt x="113" y="3"/>
                    <a:pt x="113" y="6"/>
                  </a:cubicBezTo>
                  <a:cubicBezTo>
                    <a:pt x="113" y="10"/>
                    <a:pt x="110" y="13"/>
                    <a:pt x="106" y="1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22" name="Google Shape;1769;p32">
              <a:extLst>
                <a:ext uri="{FF2B5EF4-FFF2-40B4-BE49-F238E27FC236}">
                  <a16:creationId xmlns:a16="http://schemas.microsoft.com/office/drawing/2014/main" id="{18714499-807B-24A8-49BF-4FE3DF8C1912}"/>
                </a:ext>
              </a:extLst>
            </p:cNvPr>
            <p:cNvSpPr/>
            <p:nvPr/>
          </p:nvSpPr>
          <p:spPr>
            <a:xfrm>
              <a:off x="6810860" y="3799679"/>
              <a:ext cx="66660" cy="8602"/>
            </a:xfrm>
            <a:custGeom>
              <a:avLst/>
              <a:gdLst/>
              <a:ahLst/>
              <a:cxnLst/>
              <a:rect l="l" t="t" r="r" b="b"/>
              <a:pathLst>
                <a:path w="113" h="13" extrusionOk="0">
                  <a:moveTo>
                    <a:pt x="106" y="13"/>
                  </a:moveTo>
                  <a:cubicBezTo>
                    <a:pt x="6" y="13"/>
                    <a:pt x="6" y="13"/>
                    <a:pt x="6" y="13"/>
                  </a:cubicBezTo>
                  <a:cubicBezTo>
                    <a:pt x="3" y="13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10" y="0"/>
                    <a:pt x="113" y="3"/>
                    <a:pt x="113" y="6"/>
                  </a:cubicBezTo>
                  <a:cubicBezTo>
                    <a:pt x="113" y="10"/>
                    <a:pt x="110" y="13"/>
                    <a:pt x="106" y="1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23" name="Google Shape;1770;p32">
              <a:extLst>
                <a:ext uri="{FF2B5EF4-FFF2-40B4-BE49-F238E27FC236}">
                  <a16:creationId xmlns:a16="http://schemas.microsoft.com/office/drawing/2014/main" id="{CB7762A5-EB15-B28E-0EA7-2C87A32289F6}"/>
                </a:ext>
              </a:extLst>
            </p:cNvPr>
            <p:cNvSpPr/>
            <p:nvPr/>
          </p:nvSpPr>
          <p:spPr>
            <a:xfrm>
              <a:off x="6810860" y="3853438"/>
              <a:ext cx="66660" cy="6451"/>
            </a:xfrm>
            <a:custGeom>
              <a:avLst/>
              <a:gdLst/>
              <a:ahLst/>
              <a:cxnLst/>
              <a:rect l="l" t="t" r="r" b="b"/>
              <a:pathLst>
                <a:path w="113" h="13" extrusionOk="0">
                  <a:moveTo>
                    <a:pt x="106" y="13"/>
                  </a:moveTo>
                  <a:cubicBezTo>
                    <a:pt x="6" y="13"/>
                    <a:pt x="6" y="13"/>
                    <a:pt x="6" y="13"/>
                  </a:cubicBezTo>
                  <a:cubicBezTo>
                    <a:pt x="3" y="13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10" y="0"/>
                    <a:pt x="113" y="3"/>
                    <a:pt x="113" y="6"/>
                  </a:cubicBezTo>
                  <a:cubicBezTo>
                    <a:pt x="113" y="10"/>
                    <a:pt x="110" y="13"/>
                    <a:pt x="106" y="1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</p:grpSp>
      <p:sp>
        <p:nvSpPr>
          <p:cNvPr id="224" name="Google Shape;1771;p32">
            <a:extLst>
              <a:ext uri="{FF2B5EF4-FFF2-40B4-BE49-F238E27FC236}">
                <a16:creationId xmlns:a16="http://schemas.microsoft.com/office/drawing/2014/main" id="{8DEC41D8-4A96-5CA6-1A45-9F57B396BC7C}"/>
              </a:ext>
            </a:extLst>
          </p:cNvPr>
          <p:cNvSpPr txBox="1"/>
          <p:nvPr/>
        </p:nvSpPr>
        <p:spPr>
          <a:xfrm>
            <a:off x="1431454" y="1746353"/>
            <a:ext cx="2391933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r>
              <a:rPr lang="en-US" sz="1600" b="1" dirty="0">
                <a:ea typeface="Trebuchet MS"/>
                <a:cs typeface="Arial" panose="020B0604020202020204" pitchFamily="34" charset="0"/>
                <a:sym typeface="Trebuchet MS"/>
              </a:rPr>
              <a:t>08:30 – 08:45</a:t>
            </a:r>
            <a:endParaRPr sz="1600" dirty="0"/>
          </a:p>
        </p:txBody>
      </p:sp>
      <p:sp>
        <p:nvSpPr>
          <p:cNvPr id="226" name="Google Shape;1773;p32">
            <a:extLst>
              <a:ext uri="{FF2B5EF4-FFF2-40B4-BE49-F238E27FC236}">
                <a16:creationId xmlns:a16="http://schemas.microsoft.com/office/drawing/2014/main" id="{740BA741-5628-F8C1-0C2B-2D0405C0E428}"/>
              </a:ext>
            </a:extLst>
          </p:cNvPr>
          <p:cNvSpPr/>
          <p:nvPr/>
        </p:nvSpPr>
        <p:spPr>
          <a:xfrm rot="5400000">
            <a:off x="419101" y="1532926"/>
            <a:ext cx="673068" cy="67306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4000" dirty="0">
              <a:solidFill>
                <a:schemeClr val="dk1"/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grpSp>
        <p:nvGrpSpPr>
          <p:cNvPr id="227" name="Group 226">
            <a:extLst>
              <a:ext uri="{FF2B5EF4-FFF2-40B4-BE49-F238E27FC236}">
                <a16:creationId xmlns:a16="http://schemas.microsoft.com/office/drawing/2014/main" id="{3681C051-1B29-9E78-9E6C-EE8C9430474B}"/>
              </a:ext>
            </a:extLst>
          </p:cNvPr>
          <p:cNvGrpSpPr/>
          <p:nvPr/>
        </p:nvGrpSpPr>
        <p:grpSpPr>
          <a:xfrm>
            <a:off x="576698" y="1673324"/>
            <a:ext cx="357875" cy="392280"/>
            <a:chOff x="842171" y="2300796"/>
            <a:chExt cx="277009" cy="303640"/>
          </a:xfrm>
        </p:grpSpPr>
        <p:sp>
          <p:nvSpPr>
            <p:cNvPr id="228" name="Google Shape;1775;p32">
              <a:extLst>
                <a:ext uri="{FF2B5EF4-FFF2-40B4-BE49-F238E27FC236}">
                  <a16:creationId xmlns:a16="http://schemas.microsoft.com/office/drawing/2014/main" id="{0D15EC15-D015-8EDD-5125-99C9F417B775}"/>
                </a:ext>
              </a:extLst>
            </p:cNvPr>
            <p:cNvSpPr/>
            <p:nvPr/>
          </p:nvSpPr>
          <p:spPr>
            <a:xfrm>
              <a:off x="906096" y="2367385"/>
              <a:ext cx="146495" cy="237051"/>
            </a:xfrm>
            <a:custGeom>
              <a:avLst/>
              <a:gdLst/>
              <a:ahLst/>
              <a:cxnLst/>
              <a:rect l="l" t="t" r="r" b="b"/>
              <a:pathLst>
                <a:path w="201" h="320" extrusionOk="0">
                  <a:moveTo>
                    <a:pt x="100" y="320"/>
                  </a:moveTo>
                  <a:cubicBezTo>
                    <a:pt x="77" y="320"/>
                    <a:pt x="58" y="302"/>
                    <a:pt x="57" y="279"/>
                  </a:cubicBezTo>
                  <a:cubicBezTo>
                    <a:pt x="57" y="274"/>
                    <a:pt x="57" y="274"/>
                    <a:pt x="57" y="274"/>
                  </a:cubicBezTo>
                  <a:cubicBezTo>
                    <a:pt x="56" y="233"/>
                    <a:pt x="42" y="192"/>
                    <a:pt x="19" y="156"/>
                  </a:cubicBezTo>
                  <a:cubicBezTo>
                    <a:pt x="6" y="137"/>
                    <a:pt x="0" y="114"/>
                    <a:pt x="3" y="90"/>
                  </a:cubicBezTo>
                  <a:cubicBezTo>
                    <a:pt x="8" y="45"/>
                    <a:pt x="44" y="8"/>
                    <a:pt x="90" y="3"/>
                  </a:cubicBezTo>
                  <a:cubicBezTo>
                    <a:pt x="119" y="0"/>
                    <a:pt x="146" y="8"/>
                    <a:pt x="168" y="27"/>
                  </a:cubicBezTo>
                  <a:cubicBezTo>
                    <a:pt x="189" y="46"/>
                    <a:pt x="201" y="73"/>
                    <a:pt x="201" y="101"/>
                  </a:cubicBezTo>
                  <a:cubicBezTo>
                    <a:pt x="201" y="122"/>
                    <a:pt x="194" y="141"/>
                    <a:pt x="183" y="158"/>
                  </a:cubicBezTo>
                  <a:cubicBezTo>
                    <a:pt x="158" y="194"/>
                    <a:pt x="144" y="236"/>
                    <a:pt x="142" y="279"/>
                  </a:cubicBezTo>
                  <a:cubicBezTo>
                    <a:pt x="141" y="302"/>
                    <a:pt x="123" y="320"/>
                    <a:pt x="100" y="320"/>
                  </a:cubicBezTo>
                  <a:close/>
                  <a:moveTo>
                    <a:pt x="101" y="14"/>
                  </a:moveTo>
                  <a:cubicBezTo>
                    <a:pt x="98" y="14"/>
                    <a:pt x="95" y="15"/>
                    <a:pt x="91" y="15"/>
                  </a:cubicBezTo>
                  <a:cubicBezTo>
                    <a:pt x="51" y="19"/>
                    <a:pt x="19" y="52"/>
                    <a:pt x="15" y="91"/>
                  </a:cubicBezTo>
                  <a:cubicBezTo>
                    <a:pt x="12" y="112"/>
                    <a:pt x="17" y="132"/>
                    <a:pt x="29" y="150"/>
                  </a:cubicBezTo>
                  <a:cubicBezTo>
                    <a:pt x="54" y="187"/>
                    <a:pt x="68" y="230"/>
                    <a:pt x="69" y="274"/>
                  </a:cubicBezTo>
                  <a:cubicBezTo>
                    <a:pt x="70" y="279"/>
                    <a:pt x="70" y="279"/>
                    <a:pt x="70" y="279"/>
                  </a:cubicBezTo>
                  <a:cubicBezTo>
                    <a:pt x="70" y="295"/>
                    <a:pt x="83" y="308"/>
                    <a:pt x="100" y="308"/>
                  </a:cubicBezTo>
                  <a:cubicBezTo>
                    <a:pt x="116" y="308"/>
                    <a:pt x="129" y="295"/>
                    <a:pt x="130" y="279"/>
                  </a:cubicBezTo>
                  <a:cubicBezTo>
                    <a:pt x="131" y="233"/>
                    <a:pt x="146" y="189"/>
                    <a:pt x="173" y="151"/>
                  </a:cubicBezTo>
                  <a:cubicBezTo>
                    <a:pt x="183" y="136"/>
                    <a:pt x="188" y="119"/>
                    <a:pt x="188" y="101"/>
                  </a:cubicBezTo>
                  <a:cubicBezTo>
                    <a:pt x="188" y="77"/>
                    <a:pt x="178" y="53"/>
                    <a:pt x="159" y="37"/>
                  </a:cubicBezTo>
                  <a:cubicBezTo>
                    <a:pt x="143" y="22"/>
                    <a:pt x="123" y="14"/>
                    <a:pt x="101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29" name="Google Shape;1776;p32">
              <a:extLst>
                <a:ext uri="{FF2B5EF4-FFF2-40B4-BE49-F238E27FC236}">
                  <a16:creationId xmlns:a16="http://schemas.microsoft.com/office/drawing/2014/main" id="{42E79594-D6D6-44F3-AEEF-14D6346C5C92}"/>
                </a:ext>
              </a:extLst>
            </p:cNvPr>
            <p:cNvSpPr/>
            <p:nvPr/>
          </p:nvSpPr>
          <p:spPr>
            <a:xfrm>
              <a:off x="946049" y="2532521"/>
              <a:ext cx="66590" cy="18645"/>
            </a:xfrm>
            <a:custGeom>
              <a:avLst/>
              <a:gdLst/>
              <a:ahLst/>
              <a:cxnLst/>
              <a:rect l="l" t="t" r="r" b="b"/>
              <a:pathLst>
                <a:path w="91" h="22" extrusionOk="0">
                  <a:moveTo>
                    <a:pt x="45" y="22"/>
                  </a:moveTo>
                  <a:cubicBezTo>
                    <a:pt x="21" y="22"/>
                    <a:pt x="5" y="13"/>
                    <a:pt x="4" y="13"/>
                  </a:cubicBezTo>
                  <a:cubicBezTo>
                    <a:pt x="1" y="11"/>
                    <a:pt x="0" y="7"/>
                    <a:pt x="1" y="4"/>
                  </a:cubicBezTo>
                  <a:cubicBezTo>
                    <a:pt x="3" y="2"/>
                    <a:pt x="7" y="0"/>
                    <a:pt x="10" y="2"/>
                  </a:cubicBezTo>
                  <a:cubicBezTo>
                    <a:pt x="11" y="3"/>
                    <a:pt x="42" y="20"/>
                    <a:pt x="82" y="2"/>
                  </a:cubicBezTo>
                  <a:cubicBezTo>
                    <a:pt x="85" y="1"/>
                    <a:pt x="88" y="2"/>
                    <a:pt x="90" y="5"/>
                  </a:cubicBezTo>
                  <a:cubicBezTo>
                    <a:pt x="91" y="8"/>
                    <a:pt x="90" y="12"/>
                    <a:pt x="87" y="13"/>
                  </a:cubicBezTo>
                  <a:cubicBezTo>
                    <a:pt x="71" y="20"/>
                    <a:pt x="57" y="22"/>
                    <a:pt x="45" y="22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30" name="Google Shape;1777;p32">
              <a:extLst>
                <a:ext uri="{FF2B5EF4-FFF2-40B4-BE49-F238E27FC236}">
                  <a16:creationId xmlns:a16="http://schemas.microsoft.com/office/drawing/2014/main" id="{96138038-486E-52C7-698E-BA7D00E78A88}"/>
                </a:ext>
              </a:extLst>
            </p:cNvPr>
            <p:cNvSpPr/>
            <p:nvPr/>
          </p:nvSpPr>
          <p:spPr>
            <a:xfrm>
              <a:off x="975347" y="2300796"/>
              <a:ext cx="7990" cy="34627"/>
            </a:xfrm>
            <a:custGeom>
              <a:avLst/>
              <a:gdLst/>
              <a:ahLst/>
              <a:cxnLst/>
              <a:rect l="l" t="t" r="r" b="b"/>
              <a:pathLst>
                <a:path w="12" h="45" extrusionOk="0">
                  <a:moveTo>
                    <a:pt x="6" y="45"/>
                  </a:moveTo>
                  <a:cubicBezTo>
                    <a:pt x="3" y="45"/>
                    <a:pt x="0" y="42"/>
                    <a:pt x="0" y="39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39"/>
                    <a:pt x="12" y="39"/>
                    <a:pt x="12" y="39"/>
                  </a:cubicBezTo>
                  <a:cubicBezTo>
                    <a:pt x="12" y="42"/>
                    <a:pt x="10" y="45"/>
                    <a:pt x="6" y="4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31" name="Google Shape;1778;p32">
              <a:extLst>
                <a:ext uri="{FF2B5EF4-FFF2-40B4-BE49-F238E27FC236}">
                  <a16:creationId xmlns:a16="http://schemas.microsoft.com/office/drawing/2014/main" id="{960C0B98-302C-1517-B8D7-040BCCC0981C}"/>
                </a:ext>
              </a:extLst>
            </p:cNvPr>
            <p:cNvSpPr/>
            <p:nvPr/>
          </p:nvSpPr>
          <p:spPr>
            <a:xfrm>
              <a:off x="887451" y="2332758"/>
              <a:ext cx="23972" cy="29299"/>
            </a:xfrm>
            <a:custGeom>
              <a:avLst/>
              <a:gdLst/>
              <a:ahLst/>
              <a:cxnLst/>
              <a:rect l="l" t="t" r="r" b="b"/>
              <a:pathLst>
                <a:path w="34" h="37" extrusionOk="0">
                  <a:moveTo>
                    <a:pt x="27" y="37"/>
                  </a:moveTo>
                  <a:cubicBezTo>
                    <a:pt x="26" y="37"/>
                    <a:pt x="24" y="37"/>
                    <a:pt x="23" y="35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0" y="8"/>
                    <a:pt x="0" y="4"/>
                    <a:pt x="3" y="2"/>
                  </a:cubicBezTo>
                  <a:cubicBezTo>
                    <a:pt x="5" y="0"/>
                    <a:pt x="9" y="0"/>
                    <a:pt x="11" y="3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4" y="30"/>
                    <a:pt x="34" y="34"/>
                    <a:pt x="31" y="36"/>
                  </a:cubicBezTo>
                  <a:cubicBezTo>
                    <a:pt x="30" y="37"/>
                    <a:pt x="29" y="37"/>
                    <a:pt x="27" y="3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32" name="Google Shape;1779;p32">
              <a:extLst>
                <a:ext uri="{FF2B5EF4-FFF2-40B4-BE49-F238E27FC236}">
                  <a16:creationId xmlns:a16="http://schemas.microsoft.com/office/drawing/2014/main" id="{26D08D37-D604-3B59-60A2-B84772BB5721}"/>
                </a:ext>
              </a:extLst>
            </p:cNvPr>
            <p:cNvSpPr/>
            <p:nvPr/>
          </p:nvSpPr>
          <p:spPr>
            <a:xfrm>
              <a:off x="842171" y="2412662"/>
              <a:ext cx="31962" cy="15980"/>
            </a:xfrm>
            <a:custGeom>
              <a:avLst/>
              <a:gdLst/>
              <a:ahLst/>
              <a:cxnLst/>
              <a:rect l="l" t="t" r="r" b="b"/>
              <a:pathLst>
                <a:path w="45" h="19" extrusionOk="0">
                  <a:moveTo>
                    <a:pt x="38" y="19"/>
                  </a:moveTo>
                  <a:cubicBezTo>
                    <a:pt x="38" y="19"/>
                    <a:pt x="37" y="19"/>
                    <a:pt x="37" y="19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1" y="3"/>
                    <a:pt x="4" y="0"/>
                    <a:pt x="7" y="1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43" y="7"/>
                    <a:pt x="45" y="10"/>
                    <a:pt x="44" y="14"/>
                  </a:cubicBezTo>
                  <a:cubicBezTo>
                    <a:pt x="44" y="17"/>
                    <a:pt x="41" y="19"/>
                    <a:pt x="38" y="1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33" name="Google Shape;1780;p32">
              <a:extLst>
                <a:ext uri="{FF2B5EF4-FFF2-40B4-BE49-F238E27FC236}">
                  <a16:creationId xmlns:a16="http://schemas.microsoft.com/office/drawing/2014/main" id="{1EA394D4-5551-94D4-D582-F983A2378120}"/>
                </a:ext>
              </a:extLst>
            </p:cNvPr>
            <p:cNvSpPr/>
            <p:nvPr/>
          </p:nvSpPr>
          <p:spPr>
            <a:xfrm>
              <a:off x="855489" y="2492568"/>
              <a:ext cx="31962" cy="21308"/>
            </a:xfrm>
            <a:custGeom>
              <a:avLst/>
              <a:gdLst/>
              <a:ahLst/>
              <a:cxnLst/>
              <a:rect l="l" t="t" r="r" b="b"/>
              <a:pathLst>
                <a:path w="42" h="29" extrusionOk="0">
                  <a:moveTo>
                    <a:pt x="7" y="29"/>
                  </a:moveTo>
                  <a:cubicBezTo>
                    <a:pt x="5" y="29"/>
                    <a:pt x="3" y="28"/>
                    <a:pt x="2" y="26"/>
                  </a:cubicBezTo>
                  <a:cubicBezTo>
                    <a:pt x="0" y="23"/>
                    <a:pt x="1" y="20"/>
                    <a:pt x="4" y="18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5" y="0"/>
                    <a:pt x="39" y="1"/>
                    <a:pt x="41" y="4"/>
                  </a:cubicBezTo>
                  <a:cubicBezTo>
                    <a:pt x="42" y="7"/>
                    <a:pt x="41" y="11"/>
                    <a:pt x="38" y="13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9" y="29"/>
                    <a:pt x="8" y="29"/>
                    <a:pt x="7" y="2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34" name="Google Shape;1781;p32">
              <a:extLst>
                <a:ext uri="{FF2B5EF4-FFF2-40B4-BE49-F238E27FC236}">
                  <a16:creationId xmlns:a16="http://schemas.microsoft.com/office/drawing/2014/main" id="{0C41D308-9224-6ACA-F00B-6C7FF2BDC8B8}"/>
                </a:ext>
              </a:extLst>
            </p:cNvPr>
            <p:cNvSpPr/>
            <p:nvPr/>
          </p:nvSpPr>
          <p:spPr>
            <a:xfrm>
              <a:off x="1071235" y="2492568"/>
              <a:ext cx="31962" cy="21308"/>
            </a:xfrm>
            <a:custGeom>
              <a:avLst/>
              <a:gdLst/>
              <a:ahLst/>
              <a:cxnLst/>
              <a:rect l="l" t="t" r="r" b="b"/>
              <a:pathLst>
                <a:path w="42" h="29" extrusionOk="0">
                  <a:moveTo>
                    <a:pt x="35" y="29"/>
                  </a:moveTo>
                  <a:cubicBezTo>
                    <a:pt x="34" y="29"/>
                    <a:pt x="33" y="29"/>
                    <a:pt x="32" y="29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1" y="11"/>
                    <a:pt x="0" y="7"/>
                    <a:pt x="2" y="4"/>
                  </a:cubicBezTo>
                  <a:cubicBezTo>
                    <a:pt x="4" y="1"/>
                    <a:pt x="7" y="0"/>
                    <a:pt x="10" y="2"/>
                  </a:cubicBezTo>
                  <a:cubicBezTo>
                    <a:pt x="38" y="18"/>
                    <a:pt x="38" y="18"/>
                    <a:pt x="38" y="18"/>
                  </a:cubicBezTo>
                  <a:cubicBezTo>
                    <a:pt x="41" y="20"/>
                    <a:pt x="42" y="23"/>
                    <a:pt x="41" y="26"/>
                  </a:cubicBezTo>
                  <a:cubicBezTo>
                    <a:pt x="39" y="28"/>
                    <a:pt x="37" y="29"/>
                    <a:pt x="35" y="2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35" name="Google Shape;1782;p32">
              <a:extLst>
                <a:ext uri="{FF2B5EF4-FFF2-40B4-BE49-F238E27FC236}">
                  <a16:creationId xmlns:a16="http://schemas.microsoft.com/office/drawing/2014/main" id="{0221A1BE-AF26-70B6-DBAD-9E83055D114D}"/>
                </a:ext>
              </a:extLst>
            </p:cNvPr>
            <p:cNvSpPr/>
            <p:nvPr/>
          </p:nvSpPr>
          <p:spPr>
            <a:xfrm>
              <a:off x="1084553" y="2412662"/>
              <a:ext cx="34627" cy="15980"/>
            </a:xfrm>
            <a:custGeom>
              <a:avLst/>
              <a:gdLst/>
              <a:ahLst/>
              <a:cxnLst/>
              <a:rect l="l" t="t" r="r" b="b"/>
              <a:pathLst>
                <a:path w="45" h="19" extrusionOk="0">
                  <a:moveTo>
                    <a:pt x="6" y="19"/>
                  </a:moveTo>
                  <a:cubicBezTo>
                    <a:pt x="4" y="19"/>
                    <a:pt x="1" y="17"/>
                    <a:pt x="0" y="14"/>
                  </a:cubicBezTo>
                  <a:cubicBezTo>
                    <a:pt x="0" y="10"/>
                    <a:pt x="2" y="7"/>
                    <a:pt x="5" y="6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41" y="0"/>
                    <a:pt x="44" y="3"/>
                    <a:pt x="44" y="6"/>
                  </a:cubicBezTo>
                  <a:cubicBezTo>
                    <a:pt x="45" y="9"/>
                    <a:pt x="43" y="12"/>
                    <a:pt x="39" y="13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7" y="19"/>
                    <a:pt x="7" y="19"/>
                    <a:pt x="6" y="1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36" name="Google Shape;1783;p32">
              <a:extLst>
                <a:ext uri="{FF2B5EF4-FFF2-40B4-BE49-F238E27FC236}">
                  <a16:creationId xmlns:a16="http://schemas.microsoft.com/office/drawing/2014/main" id="{F2EA8A1B-30AE-03DC-E31B-534519298F03}"/>
                </a:ext>
              </a:extLst>
            </p:cNvPr>
            <p:cNvSpPr/>
            <p:nvPr/>
          </p:nvSpPr>
          <p:spPr>
            <a:xfrm>
              <a:off x="1047264" y="2332758"/>
              <a:ext cx="23972" cy="29299"/>
            </a:xfrm>
            <a:custGeom>
              <a:avLst/>
              <a:gdLst/>
              <a:ahLst/>
              <a:cxnLst/>
              <a:rect l="l" t="t" r="r" b="b"/>
              <a:pathLst>
                <a:path w="35" h="37" extrusionOk="0">
                  <a:moveTo>
                    <a:pt x="7" y="37"/>
                  </a:moveTo>
                  <a:cubicBezTo>
                    <a:pt x="6" y="37"/>
                    <a:pt x="5" y="37"/>
                    <a:pt x="3" y="36"/>
                  </a:cubicBezTo>
                  <a:cubicBezTo>
                    <a:pt x="1" y="34"/>
                    <a:pt x="0" y="30"/>
                    <a:pt x="3" y="27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6" y="0"/>
                    <a:pt x="29" y="0"/>
                    <a:pt x="32" y="2"/>
                  </a:cubicBezTo>
                  <a:cubicBezTo>
                    <a:pt x="35" y="4"/>
                    <a:pt x="35" y="8"/>
                    <a:pt x="33" y="10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1" y="37"/>
                    <a:pt x="9" y="37"/>
                    <a:pt x="7" y="3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</p:grpSp>
      <p:sp>
        <p:nvSpPr>
          <p:cNvPr id="237" name="Google Shape;1784;p32">
            <a:extLst>
              <a:ext uri="{FF2B5EF4-FFF2-40B4-BE49-F238E27FC236}">
                <a16:creationId xmlns:a16="http://schemas.microsoft.com/office/drawing/2014/main" id="{3A63195A-13A6-B4E4-A212-4C87EB905082}"/>
              </a:ext>
            </a:extLst>
          </p:cNvPr>
          <p:cNvSpPr txBox="1"/>
          <p:nvPr/>
        </p:nvSpPr>
        <p:spPr>
          <a:xfrm>
            <a:off x="1431454" y="3465542"/>
            <a:ext cx="2391933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r>
              <a:rPr lang="en-US" sz="1600" b="1" dirty="0">
                <a:ea typeface="Trebuchet MS"/>
                <a:cs typeface="Arial" panose="020B0604020202020204" pitchFamily="34" charset="0"/>
                <a:sym typeface="Trebuchet MS"/>
              </a:rPr>
              <a:t>08:45 – 10:00</a:t>
            </a:r>
            <a:endParaRPr sz="1600" dirty="0"/>
          </a:p>
        </p:txBody>
      </p:sp>
      <p:sp>
        <p:nvSpPr>
          <p:cNvPr id="239" name="Google Shape;1786;p32">
            <a:extLst>
              <a:ext uri="{FF2B5EF4-FFF2-40B4-BE49-F238E27FC236}">
                <a16:creationId xmlns:a16="http://schemas.microsoft.com/office/drawing/2014/main" id="{4A771AB7-DA64-CB13-1729-42EA81F69AFA}"/>
              </a:ext>
            </a:extLst>
          </p:cNvPr>
          <p:cNvSpPr/>
          <p:nvPr/>
        </p:nvSpPr>
        <p:spPr>
          <a:xfrm flipH="1">
            <a:off x="419099" y="3252117"/>
            <a:ext cx="673068" cy="67306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4000" dirty="0">
              <a:solidFill>
                <a:schemeClr val="dk1"/>
              </a:solidFill>
              <a:cs typeface="Arial" panose="020B0604020202020204" pitchFamily="34" charset="0"/>
              <a:sym typeface="Trebuchet MS"/>
            </a:endParaRPr>
          </a:p>
        </p:txBody>
      </p:sp>
      <p:grpSp>
        <p:nvGrpSpPr>
          <p:cNvPr id="240" name="Group 239">
            <a:extLst>
              <a:ext uri="{FF2B5EF4-FFF2-40B4-BE49-F238E27FC236}">
                <a16:creationId xmlns:a16="http://schemas.microsoft.com/office/drawing/2014/main" id="{6A4B6C1B-873A-7174-6D9A-A7CAB5539A56}"/>
              </a:ext>
            </a:extLst>
          </p:cNvPr>
          <p:cNvGrpSpPr/>
          <p:nvPr/>
        </p:nvGrpSpPr>
        <p:grpSpPr>
          <a:xfrm>
            <a:off x="543953" y="3427837"/>
            <a:ext cx="423363" cy="321625"/>
            <a:chOff x="816826" y="3658858"/>
            <a:chExt cx="327699" cy="248951"/>
          </a:xfrm>
        </p:grpSpPr>
        <p:sp>
          <p:nvSpPr>
            <p:cNvPr id="241" name="Google Shape;1788;p32">
              <a:extLst>
                <a:ext uri="{FF2B5EF4-FFF2-40B4-BE49-F238E27FC236}">
                  <a16:creationId xmlns:a16="http://schemas.microsoft.com/office/drawing/2014/main" id="{8D52E48A-9016-7486-58E0-7A48B4CBE211}"/>
                </a:ext>
              </a:extLst>
            </p:cNvPr>
            <p:cNvSpPr/>
            <p:nvPr/>
          </p:nvSpPr>
          <p:spPr>
            <a:xfrm flipH="1">
              <a:off x="926060" y="3658858"/>
              <a:ext cx="111774" cy="38105"/>
            </a:xfrm>
            <a:custGeom>
              <a:avLst/>
              <a:gdLst/>
              <a:ahLst/>
              <a:cxnLst/>
              <a:rect l="l" t="t" r="r" b="b"/>
              <a:pathLst>
                <a:path w="158" h="54" extrusionOk="0">
                  <a:moveTo>
                    <a:pt x="151" y="54"/>
                  </a:moveTo>
                  <a:cubicBezTo>
                    <a:pt x="8" y="54"/>
                    <a:pt x="8" y="54"/>
                    <a:pt x="8" y="54"/>
                  </a:cubicBezTo>
                  <a:cubicBezTo>
                    <a:pt x="4" y="54"/>
                    <a:pt x="0" y="51"/>
                    <a:pt x="0" y="47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2"/>
                    <a:pt x="13" y="0"/>
                    <a:pt x="29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45" y="0"/>
                    <a:pt x="158" y="12"/>
                    <a:pt x="158" y="28"/>
                  </a:cubicBezTo>
                  <a:cubicBezTo>
                    <a:pt x="158" y="47"/>
                    <a:pt x="158" y="47"/>
                    <a:pt x="158" y="47"/>
                  </a:cubicBezTo>
                  <a:cubicBezTo>
                    <a:pt x="158" y="51"/>
                    <a:pt x="155" y="54"/>
                    <a:pt x="151" y="54"/>
                  </a:cubicBezTo>
                  <a:close/>
                  <a:moveTo>
                    <a:pt x="15" y="40"/>
                  </a:moveTo>
                  <a:cubicBezTo>
                    <a:pt x="143" y="40"/>
                    <a:pt x="143" y="40"/>
                    <a:pt x="143" y="40"/>
                  </a:cubicBezTo>
                  <a:cubicBezTo>
                    <a:pt x="143" y="28"/>
                    <a:pt x="143" y="28"/>
                    <a:pt x="143" y="28"/>
                  </a:cubicBezTo>
                  <a:cubicBezTo>
                    <a:pt x="143" y="20"/>
                    <a:pt x="137" y="14"/>
                    <a:pt x="129" y="14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21" y="14"/>
                    <a:pt x="15" y="20"/>
                    <a:pt x="15" y="28"/>
                  </a:cubicBezTo>
                  <a:lnTo>
                    <a:pt x="15" y="4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42" name="Google Shape;1789;p32">
              <a:extLst>
                <a:ext uri="{FF2B5EF4-FFF2-40B4-BE49-F238E27FC236}">
                  <a16:creationId xmlns:a16="http://schemas.microsoft.com/office/drawing/2014/main" id="{EEA4838D-3894-2B92-E656-7043396A5252}"/>
                </a:ext>
              </a:extLst>
            </p:cNvPr>
            <p:cNvSpPr/>
            <p:nvPr/>
          </p:nvSpPr>
          <p:spPr>
            <a:xfrm flipH="1">
              <a:off x="832068" y="3785874"/>
              <a:ext cx="299754" cy="121935"/>
            </a:xfrm>
            <a:custGeom>
              <a:avLst/>
              <a:gdLst/>
              <a:ahLst/>
              <a:cxnLst/>
              <a:rect l="l" t="t" r="r" b="b"/>
              <a:pathLst>
                <a:path w="428" h="174" extrusionOk="0">
                  <a:moveTo>
                    <a:pt x="399" y="174"/>
                  </a:moveTo>
                  <a:cubicBezTo>
                    <a:pt x="30" y="174"/>
                    <a:pt x="30" y="174"/>
                    <a:pt x="30" y="174"/>
                  </a:cubicBezTo>
                  <a:cubicBezTo>
                    <a:pt x="13" y="174"/>
                    <a:pt x="0" y="160"/>
                    <a:pt x="0" y="144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6"/>
                    <a:pt x="1" y="4"/>
                    <a:pt x="2" y="2"/>
                  </a:cubicBezTo>
                  <a:cubicBezTo>
                    <a:pt x="4" y="1"/>
                    <a:pt x="6" y="0"/>
                    <a:pt x="8" y="1"/>
                  </a:cubicBezTo>
                  <a:cubicBezTo>
                    <a:pt x="92" y="17"/>
                    <a:pt x="92" y="17"/>
                    <a:pt x="92" y="17"/>
                  </a:cubicBezTo>
                  <a:cubicBezTo>
                    <a:pt x="96" y="17"/>
                    <a:pt x="98" y="20"/>
                    <a:pt x="98" y="24"/>
                  </a:cubicBezTo>
                  <a:cubicBezTo>
                    <a:pt x="98" y="63"/>
                    <a:pt x="98" y="63"/>
                    <a:pt x="98" y="63"/>
                  </a:cubicBezTo>
                  <a:cubicBezTo>
                    <a:pt x="124" y="63"/>
                    <a:pt x="124" y="63"/>
                    <a:pt x="124" y="63"/>
                  </a:cubicBezTo>
                  <a:cubicBezTo>
                    <a:pt x="124" y="31"/>
                    <a:pt x="124" y="31"/>
                    <a:pt x="124" y="31"/>
                  </a:cubicBezTo>
                  <a:cubicBezTo>
                    <a:pt x="124" y="29"/>
                    <a:pt x="125" y="27"/>
                    <a:pt x="127" y="26"/>
                  </a:cubicBezTo>
                  <a:cubicBezTo>
                    <a:pt x="128" y="24"/>
                    <a:pt x="131" y="24"/>
                    <a:pt x="133" y="24"/>
                  </a:cubicBezTo>
                  <a:cubicBezTo>
                    <a:pt x="214" y="39"/>
                    <a:pt x="214" y="39"/>
                    <a:pt x="214" y="39"/>
                  </a:cubicBezTo>
                  <a:cubicBezTo>
                    <a:pt x="295" y="24"/>
                    <a:pt x="295" y="24"/>
                    <a:pt x="295" y="24"/>
                  </a:cubicBezTo>
                  <a:cubicBezTo>
                    <a:pt x="297" y="24"/>
                    <a:pt x="300" y="24"/>
                    <a:pt x="301" y="26"/>
                  </a:cubicBezTo>
                  <a:cubicBezTo>
                    <a:pt x="303" y="27"/>
                    <a:pt x="304" y="29"/>
                    <a:pt x="304" y="31"/>
                  </a:cubicBezTo>
                  <a:cubicBezTo>
                    <a:pt x="304" y="63"/>
                    <a:pt x="304" y="63"/>
                    <a:pt x="304" y="63"/>
                  </a:cubicBezTo>
                  <a:cubicBezTo>
                    <a:pt x="330" y="63"/>
                    <a:pt x="330" y="63"/>
                    <a:pt x="330" y="63"/>
                  </a:cubicBezTo>
                  <a:cubicBezTo>
                    <a:pt x="330" y="24"/>
                    <a:pt x="330" y="24"/>
                    <a:pt x="330" y="24"/>
                  </a:cubicBezTo>
                  <a:cubicBezTo>
                    <a:pt x="330" y="20"/>
                    <a:pt x="332" y="17"/>
                    <a:pt x="336" y="17"/>
                  </a:cubicBezTo>
                  <a:cubicBezTo>
                    <a:pt x="420" y="1"/>
                    <a:pt x="420" y="1"/>
                    <a:pt x="420" y="1"/>
                  </a:cubicBezTo>
                  <a:cubicBezTo>
                    <a:pt x="422" y="0"/>
                    <a:pt x="424" y="1"/>
                    <a:pt x="426" y="2"/>
                  </a:cubicBezTo>
                  <a:cubicBezTo>
                    <a:pt x="428" y="4"/>
                    <a:pt x="428" y="6"/>
                    <a:pt x="428" y="8"/>
                  </a:cubicBezTo>
                  <a:cubicBezTo>
                    <a:pt x="428" y="144"/>
                    <a:pt x="428" y="144"/>
                    <a:pt x="428" y="144"/>
                  </a:cubicBezTo>
                  <a:cubicBezTo>
                    <a:pt x="428" y="160"/>
                    <a:pt x="415" y="174"/>
                    <a:pt x="399" y="174"/>
                  </a:cubicBezTo>
                  <a:close/>
                  <a:moveTo>
                    <a:pt x="14" y="17"/>
                  </a:moveTo>
                  <a:cubicBezTo>
                    <a:pt x="14" y="144"/>
                    <a:pt x="14" y="144"/>
                    <a:pt x="14" y="144"/>
                  </a:cubicBezTo>
                  <a:cubicBezTo>
                    <a:pt x="14" y="152"/>
                    <a:pt x="21" y="159"/>
                    <a:pt x="30" y="159"/>
                  </a:cubicBezTo>
                  <a:cubicBezTo>
                    <a:pt x="399" y="159"/>
                    <a:pt x="399" y="159"/>
                    <a:pt x="399" y="159"/>
                  </a:cubicBezTo>
                  <a:cubicBezTo>
                    <a:pt x="407" y="159"/>
                    <a:pt x="414" y="152"/>
                    <a:pt x="414" y="144"/>
                  </a:cubicBezTo>
                  <a:cubicBezTo>
                    <a:pt x="414" y="17"/>
                    <a:pt x="414" y="17"/>
                    <a:pt x="414" y="17"/>
                  </a:cubicBezTo>
                  <a:cubicBezTo>
                    <a:pt x="344" y="30"/>
                    <a:pt x="344" y="30"/>
                    <a:pt x="344" y="30"/>
                  </a:cubicBezTo>
                  <a:cubicBezTo>
                    <a:pt x="344" y="70"/>
                    <a:pt x="344" y="70"/>
                    <a:pt x="344" y="70"/>
                  </a:cubicBezTo>
                  <a:cubicBezTo>
                    <a:pt x="344" y="74"/>
                    <a:pt x="341" y="77"/>
                    <a:pt x="337" y="77"/>
                  </a:cubicBezTo>
                  <a:cubicBezTo>
                    <a:pt x="297" y="77"/>
                    <a:pt x="297" y="77"/>
                    <a:pt x="297" y="77"/>
                  </a:cubicBezTo>
                  <a:cubicBezTo>
                    <a:pt x="293" y="77"/>
                    <a:pt x="289" y="74"/>
                    <a:pt x="289" y="70"/>
                  </a:cubicBezTo>
                  <a:cubicBezTo>
                    <a:pt x="289" y="40"/>
                    <a:pt x="289" y="40"/>
                    <a:pt x="289" y="40"/>
                  </a:cubicBezTo>
                  <a:cubicBezTo>
                    <a:pt x="215" y="54"/>
                    <a:pt x="215" y="54"/>
                    <a:pt x="215" y="54"/>
                  </a:cubicBezTo>
                  <a:cubicBezTo>
                    <a:pt x="214" y="54"/>
                    <a:pt x="214" y="54"/>
                    <a:pt x="213" y="54"/>
                  </a:cubicBezTo>
                  <a:cubicBezTo>
                    <a:pt x="139" y="40"/>
                    <a:pt x="139" y="40"/>
                    <a:pt x="139" y="40"/>
                  </a:cubicBezTo>
                  <a:cubicBezTo>
                    <a:pt x="139" y="70"/>
                    <a:pt x="139" y="70"/>
                    <a:pt x="139" y="70"/>
                  </a:cubicBezTo>
                  <a:cubicBezTo>
                    <a:pt x="139" y="74"/>
                    <a:pt x="135" y="77"/>
                    <a:pt x="131" y="77"/>
                  </a:cubicBezTo>
                  <a:cubicBezTo>
                    <a:pt x="91" y="77"/>
                    <a:pt x="91" y="77"/>
                    <a:pt x="91" y="77"/>
                  </a:cubicBezTo>
                  <a:cubicBezTo>
                    <a:pt x="87" y="77"/>
                    <a:pt x="84" y="74"/>
                    <a:pt x="84" y="70"/>
                  </a:cubicBezTo>
                  <a:cubicBezTo>
                    <a:pt x="84" y="30"/>
                    <a:pt x="84" y="30"/>
                    <a:pt x="84" y="30"/>
                  </a:cubicBezTo>
                  <a:lnTo>
                    <a:pt x="14" y="17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43" name="Google Shape;1790;p32">
              <a:extLst>
                <a:ext uri="{FF2B5EF4-FFF2-40B4-BE49-F238E27FC236}">
                  <a16:creationId xmlns:a16="http://schemas.microsoft.com/office/drawing/2014/main" id="{A2F32688-E06F-B09C-ACE7-1E0EB26AA105}"/>
                </a:ext>
              </a:extLst>
            </p:cNvPr>
            <p:cNvSpPr/>
            <p:nvPr/>
          </p:nvSpPr>
          <p:spPr>
            <a:xfrm flipH="1">
              <a:off x="816826" y="3686801"/>
              <a:ext cx="327699" cy="137177"/>
            </a:xfrm>
            <a:custGeom>
              <a:avLst/>
              <a:gdLst/>
              <a:ahLst/>
              <a:cxnLst/>
              <a:rect l="l" t="t" r="r" b="b"/>
              <a:pathLst>
                <a:path w="466" h="196" extrusionOk="0">
                  <a:moveTo>
                    <a:pt x="233" y="196"/>
                  </a:moveTo>
                  <a:cubicBezTo>
                    <a:pt x="233" y="196"/>
                    <a:pt x="232" y="196"/>
                    <a:pt x="232" y="196"/>
                  </a:cubicBezTo>
                  <a:cubicBezTo>
                    <a:pt x="149" y="180"/>
                    <a:pt x="149" y="180"/>
                    <a:pt x="149" y="180"/>
                  </a:cubicBezTo>
                  <a:cubicBezTo>
                    <a:pt x="146" y="180"/>
                    <a:pt x="143" y="177"/>
                    <a:pt x="143" y="173"/>
                  </a:cubicBezTo>
                  <a:cubicBezTo>
                    <a:pt x="143" y="142"/>
                    <a:pt x="143" y="142"/>
                    <a:pt x="143" y="142"/>
                  </a:cubicBezTo>
                  <a:cubicBezTo>
                    <a:pt x="117" y="142"/>
                    <a:pt x="117" y="142"/>
                    <a:pt x="117" y="142"/>
                  </a:cubicBezTo>
                  <a:cubicBezTo>
                    <a:pt x="117" y="166"/>
                    <a:pt x="117" y="166"/>
                    <a:pt x="117" y="166"/>
                  </a:cubicBezTo>
                  <a:cubicBezTo>
                    <a:pt x="117" y="168"/>
                    <a:pt x="116" y="170"/>
                    <a:pt x="115" y="171"/>
                  </a:cubicBezTo>
                  <a:cubicBezTo>
                    <a:pt x="113" y="173"/>
                    <a:pt x="111" y="173"/>
                    <a:pt x="109" y="173"/>
                  </a:cubicBezTo>
                  <a:cubicBezTo>
                    <a:pt x="25" y="157"/>
                    <a:pt x="25" y="157"/>
                    <a:pt x="25" y="157"/>
                  </a:cubicBezTo>
                  <a:cubicBezTo>
                    <a:pt x="10" y="154"/>
                    <a:pt x="0" y="142"/>
                    <a:pt x="0" y="128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3"/>
                    <a:pt x="14" y="0"/>
                    <a:pt x="30" y="0"/>
                  </a:cubicBezTo>
                  <a:cubicBezTo>
                    <a:pt x="436" y="0"/>
                    <a:pt x="436" y="0"/>
                    <a:pt x="436" y="0"/>
                  </a:cubicBezTo>
                  <a:cubicBezTo>
                    <a:pt x="453" y="0"/>
                    <a:pt x="466" y="13"/>
                    <a:pt x="466" y="30"/>
                  </a:cubicBezTo>
                  <a:cubicBezTo>
                    <a:pt x="466" y="128"/>
                    <a:pt x="466" y="128"/>
                    <a:pt x="466" y="128"/>
                  </a:cubicBezTo>
                  <a:cubicBezTo>
                    <a:pt x="466" y="142"/>
                    <a:pt x="456" y="154"/>
                    <a:pt x="442" y="157"/>
                  </a:cubicBezTo>
                  <a:cubicBezTo>
                    <a:pt x="357" y="173"/>
                    <a:pt x="357" y="173"/>
                    <a:pt x="357" y="173"/>
                  </a:cubicBezTo>
                  <a:cubicBezTo>
                    <a:pt x="355" y="173"/>
                    <a:pt x="353" y="173"/>
                    <a:pt x="351" y="171"/>
                  </a:cubicBezTo>
                  <a:cubicBezTo>
                    <a:pt x="350" y="170"/>
                    <a:pt x="349" y="168"/>
                    <a:pt x="349" y="166"/>
                  </a:cubicBezTo>
                  <a:cubicBezTo>
                    <a:pt x="349" y="142"/>
                    <a:pt x="349" y="142"/>
                    <a:pt x="349" y="142"/>
                  </a:cubicBezTo>
                  <a:cubicBezTo>
                    <a:pt x="323" y="142"/>
                    <a:pt x="323" y="142"/>
                    <a:pt x="323" y="142"/>
                  </a:cubicBezTo>
                  <a:cubicBezTo>
                    <a:pt x="323" y="173"/>
                    <a:pt x="323" y="173"/>
                    <a:pt x="323" y="173"/>
                  </a:cubicBezTo>
                  <a:cubicBezTo>
                    <a:pt x="323" y="177"/>
                    <a:pt x="320" y="180"/>
                    <a:pt x="317" y="180"/>
                  </a:cubicBezTo>
                  <a:cubicBezTo>
                    <a:pt x="234" y="196"/>
                    <a:pt x="234" y="196"/>
                    <a:pt x="234" y="196"/>
                  </a:cubicBezTo>
                  <a:cubicBezTo>
                    <a:pt x="234" y="196"/>
                    <a:pt x="233" y="196"/>
                    <a:pt x="233" y="196"/>
                  </a:cubicBezTo>
                  <a:close/>
                  <a:moveTo>
                    <a:pt x="158" y="167"/>
                  </a:moveTo>
                  <a:cubicBezTo>
                    <a:pt x="233" y="181"/>
                    <a:pt x="233" y="181"/>
                    <a:pt x="233" y="181"/>
                  </a:cubicBezTo>
                  <a:cubicBezTo>
                    <a:pt x="308" y="167"/>
                    <a:pt x="308" y="167"/>
                    <a:pt x="308" y="167"/>
                  </a:cubicBezTo>
                  <a:cubicBezTo>
                    <a:pt x="308" y="135"/>
                    <a:pt x="308" y="135"/>
                    <a:pt x="308" y="135"/>
                  </a:cubicBezTo>
                  <a:cubicBezTo>
                    <a:pt x="308" y="131"/>
                    <a:pt x="312" y="127"/>
                    <a:pt x="316" y="127"/>
                  </a:cubicBezTo>
                  <a:cubicBezTo>
                    <a:pt x="356" y="127"/>
                    <a:pt x="356" y="127"/>
                    <a:pt x="356" y="127"/>
                  </a:cubicBezTo>
                  <a:cubicBezTo>
                    <a:pt x="360" y="127"/>
                    <a:pt x="363" y="131"/>
                    <a:pt x="363" y="135"/>
                  </a:cubicBezTo>
                  <a:cubicBezTo>
                    <a:pt x="363" y="157"/>
                    <a:pt x="363" y="157"/>
                    <a:pt x="363" y="157"/>
                  </a:cubicBezTo>
                  <a:cubicBezTo>
                    <a:pt x="439" y="143"/>
                    <a:pt x="439" y="143"/>
                    <a:pt x="439" y="143"/>
                  </a:cubicBezTo>
                  <a:cubicBezTo>
                    <a:pt x="446" y="142"/>
                    <a:pt x="451" y="135"/>
                    <a:pt x="451" y="128"/>
                  </a:cubicBezTo>
                  <a:cubicBezTo>
                    <a:pt x="451" y="30"/>
                    <a:pt x="451" y="30"/>
                    <a:pt x="451" y="30"/>
                  </a:cubicBezTo>
                  <a:cubicBezTo>
                    <a:pt x="451" y="21"/>
                    <a:pt x="445" y="14"/>
                    <a:pt x="436" y="14"/>
                  </a:cubicBezTo>
                  <a:cubicBezTo>
                    <a:pt x="30" y="14"/>
                    <a:pt x="30" y="14"/>
                    <a:pt x="30" y="14"/>
                  </a:cubicBezTo>
                  <a:cubicBezTo>
                    <a:pt x="22" y="14"/>
                    <a:pt x="15" y="21"/>
                    <a:pt x="15" y="30"/>
                  </a:cubicBezTo>
                  <a:cubicBezTo>
                    <a:pt x="15" y="128"/>
                    <a:pt x="15" y="128"/>
                    <a:pt x="15" y="128"/>
                  </a:cubicBezTo>
                  <a:cubicBezTo>
                    <a:pt x="15" y="135"/>
                    <a:pt x="20" y="142"/>
                    <a:pt x="27" y="143"/>
                  </a:cubicBezTo>
                  <a:cubicBezTo>
                    <a:pt x="103" y="157"/>
                    <a:pt x="103" y="157"/>
                    <a:pt x="103" y="157"/>
                  </a:cubicBezTo>
                  <a:cubicBezTo>
                    <a:pt x="103" y="135"/>
                    <a:pt x="103" y="135"/>
                    <a:pt x="103" y="135"/>
                  </a:cubicBezTo>
                  <a:cubicBezTo>
                    <a:pt x="103" y="131"/>
                    <a:pt x="106" y="127"/>
                    <a:pt x="110" y="127"/>
                  </a:cubicBezTo>
                  <a:cubicBezTo>
                    <a:pt x="150" y="127"/>
                    <a:pt x="150" y="127"/>
                    <a:pt x="150" y="127"/>
                  </a:cubicBezTo>
                  <a:cubicBezTo>
                    <a:pt x="154" y="127"/>
                    <a:pt x="158" y="131"/>
                    <a:pt x="158" y="135"/>
                  </a:cubicBezTo>
                  <a:lnTo>
                    <a:pt x="158" y="167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44" name="Google Shape;1791;p32">
              <a:extLst>
                <a:ext uri="{FF2B5EF4-FFF2-40B4-BE49-F238E27FC236}">
                  <a16:creationId xmlns:a16="http://schemas.microsoft.com/office/drawing/2014/main" id="{8867F31B-C8D9-9090-6B10-61A5A41756F7}"/>
                </a:ext>
              </a:extLst>
            </p:cNvPr>
            <p:cNvSpPr/>
            <p:nvPr/>
          </p:nvSpPr>
          <p:spPr>
            <a:xfrm flipH="1">
              <a:off x="918437" y="3801116"/>
              <a:ext cx="68588" cy="22864"/>
            </a:xfrm>
            <a:custGeom>
              <a:avLst/>
              <a:gdLst/>
              <a:ahLst/>
              <a:cxnLst/>
              <a:rect l="l" t="t" r="r" b="b"/>
              <a:pathLst>
                <a:path w="98" h="31" extrusionOk="0">
                  <a:moveTo>
                    <a:pt x="8" y="31"/>
                  </a:moveTo>
                  <a:cubicBezTo>
                    <a:pt x="5" y="31"/>
                    <a:pt x="2" y="29"/>
                    <a:pt x="1" y="25"/>
                  </a:cubicBezTo>
                  <a:cubicBezTo>
                    <a:pt x="0" y="21"/>
                    <a:pt x="3" y="17"/>
                    <a:pt x="7" y="17"/>
                  </a:cubicBezTo>
                  <a:cubicBezTo>
                    <a:pt x="89" y="1"/>
                    <a:pt x="89" y="1"/>
                    <a:pt x="89" y="1"/>
                  </a:cubicBezTo>
                  <a:cubicBezTo>
                    <a:pt x="93" y="0"/>
                    <a:pt x="97" y="3"/>
                    <a:pt x="98" y="7"/>
                  </a:cubicBezTo>
                  <a:cubicBezTo>
                    <a:pt x="98" y="7"/>
                    <a:pt x="98" y="8"/>
                    <a:pt x="98" y="8"/>
                  </a:cubicBezTo>
                  <a:cubicBezTo>
                    <a:pt x="98" y="11"/>
                    <a:pt x="96" y="14"/>
                    <a:pt x="93" y="15"/>
                  </a:cubicBezTo>
                  <a:cubicBezTo>
                    <a:pt x="93" y="15"/>
                    <a:pt x="93" y="15"/>
                    <a:pt x="93" y="15"/>
                  </a:cubicBezTo>
                  <a:cubicBezTo>
                    <a:pt x="93" y="15"/>
                    <a:pt x="92" y="15"/>
                    <a:pt x="92" y="15"/>
                  </a:cubicBezTo>
                  <a:cubicBezTo>
                    <a:pt x="9" y="31"/>
                    <a:pt x="9" y="31"/>
                    <a:pt x="9" y="31"/>
                  </a:cubicBezTo>
                  <a:cubicBezTo>
                    <a:pt x="9" y="31"/>
                    <a:pt x="8" y="31"/>
                    <a:pt x="8" y="3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45" name="Google Shape;1792;p32">
              <a:extLst>
                <a:ext uri="{FF2B5EF4-FFF2-40B4-BE49-F238E27FC236}">
                  <a16:creationId xmlns:a16="http://schemas.microsoft.com/office/drawing/2014/main" id="{E11ABC7A-84F0-74D4-1AD9-3A28D5CDEEE8}"/>
                </a:ext>
              </a:extLst>
            </p:cNvPr>
            <p:cNvSpPr/>
            <p:nvPr/>
          </p:nvSpPr>
          <p:spPr>
            <a:xfrm flipH="1">
              <a:off x="1063233" y="3785874"/>
              <a:ext cx="68588" cy="22864"/>
            </a:xfrm>
            <a:custGeom>
              <a:avLst/>
              <a:gdLst/>
              <a:ahLst/>
              <a:cxnLst/>
              <a:rect l="l" t="t" r="r" b="b"/>
              <a:pathLst>
                <a:path w="98" h="31" extrusionOk="0">
                  <a:moveTo>
                    <a:pt x="91" y="31"/>
                  </a:moveTo>
                  <a:cubicBezTo>
                    <a:pt x="91" y="31"/>
                    <a:pt x="90" y="31"/>
                    <a:pt x="90" y="31"/>
                  </a:cubicBezTo>
                  <a:cubicBezTo>
                    <a:pt x="90" y="31"/>
                    <a:pt x="90" y="31"/>
                    <a:pt x="90" y="31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2" y="14"/>
                    <a:pt x="0" y="11"/>
                    <a:pt x="0" y="8"/>
                  </a:cubicBezTo>
                  <a:cubicBezTo>
                    <a:pt x="0" y="8"/>
                    <a:pt x="0" y="7"/>
                    <a:pt x="0" y="7"/>
                  </a:cubicBezTo>
                  <a:cubicBezTo>
                    <a:pt x="0" y="3"/>
                    <a:pt x="4" y="0"/>
                    <a:pt x="8" y="1"/>
                  </a:cubicBezTo>
                  <a:cubicBezTo>
                    <a:pt x="92" y="17"/>
                    <a:pt x="92" y="17"/>
                    <a:pt x="92" y="17"/>
                  </a:cubicBezTo>
                  <a:cubicBezTo>
                    <a:pt x="93" y="17"/>
                    <a:pt x="93" y="17"/>
                    <a:pt x="94" y="17"/>
                  </a:cubicBezTo>
                  <a:cubicBezTo>
                    <a:pt x="96" y="18"/>
                    <a:pt x="98" y="21"/>
                    <a:pt x="98" y="24"/>
                  </a:cubicBezTo>
                  <a:cubicBezTo>
                    <a:pt x="98" y="24"/>
                    <a:pt x="98" y="25"/>
                    <a:pt x="98" y="25"/>
                  </a:cubicBezTo>
                  <a:cubicBezTo>
                    <a:pt x="98" y="25"/>
                    <a:pt x="98" y="25"/>
                    <a:pt x="98" y="25"/>
                  </a:cubicBezTo>
                  <a:cubicBezTo>
                    <a:pt x="98" y="28"/>
                    <a:pt x="96" y="29"/>
                    <a:pt x="94" y="30"/>
                  </a:cubicBezTo>
                  <a:cubicBezTo>
                    <a:pt x="94" y="30"/>
                    <a:pt x="94" y="30"/>
                    <a:pt x="94" y="30"/>
                  </a:cubicBezTo>
                  <a:cubicBezTo>
                    <a:pt x="94" y="30"/>
                    <a:pt x="94" y="30"/>
                    <a:pt x="94" y="30"/>
                  </a:cubicBezTo>
                  <a:cubicBezTo>
                    <a:pt x="93" y="31"/>
                    <a:pt x="92" y="31"/>
                    <a:pt x="91" y="3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46" name="Google Shape;1793;p32">
              <a:extLst>
                <a:ext uri="{FF2B5EF4-FFF2-40B4-BE49-F238E27FC236}">
                  <a16:creationId xmlns:a16="http://schemas.microsoft.com/office/drawing/2014/main" id="{40419461-8357-5DD5-6881-D23BE903A402}"/>
                </a:ext>
              </a:extLst>
            </p:cNvPr>
            <p:cNvSpPr/>
            <p:nvPr/>
          </p:nvSpPr>
          <p:spPr>
            <a:xfrm flipH="1">
              <a:off x="976864" y="3801116"/>
              <a:ext cx="68588" cy="22864"/>
            </a:xfrm>
            <a:custGeom>
              <a:avLst/>
              <a:gdLst/>
              <a:ahLst/>
              <a:cxnLst/>
              <a:rect l="l" t="t" r="r" b="b"/>
              <a:pathLst>
                <a:path w="97" h="31" extrusionOk="0">
                  <a:moveTo>
                    <a:pt x="90" y="31"/>
                  </a:moveTo>
                  <a:cubicBezTo>
                    <a:pt x="90" y="31"/>
                    <a:pt x="89" y="31"/>
                    <a:pt x="89" y="31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3" y="15"/>
                    <a:pt x="0" y="12"/>
                    <a:pt x="0" y="8"/>
                  </a:cubicBezTo>
                  <a:cubicBezTo>
                    <a:pt x="0" y="8"/>
                    <a:pt x="0" y="7"/>
                    <a:pt x="0" y="7"/>
                  </a:cubicBezTo>
                  <a:cubicBezTo>
                    <a:pt x="1" y="3"/>
                    <a:pt x="5" y="0"/>
                    <a:pt x="9" y="1"/>
                  </a:cubicBezTo>
                  <a:cubicBezTo>
                    <a:pt x="91" y="17"/>
                    <a:pt x="91" y="17"/>
                    <a:pt x="91" y="17"/>
                  </a:cubicBezTo>
                  <a:cubicBezTo>
                    <a:pt x="95" y="17"/>
                    <a:pt x="97" y="20"/>
                    <a:pt x="97" y="24"/>
                  </a:cubicBezTo>
                  <a:cubicBezTo>
                    <a:pt x="97" y="24"/>
                    <a:pt x="97" y="25"/>
                    <a:pt x="97" y="25"/>
                  </a:cubicBezTo>
                  <a:cubicBezTo>
                    <a:pt x="97" y="29"/>
                    <a:pt x="93" y="31"/>
                    <a:pt x="90" y="3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47" name="Google Shape;1794;p32">
              <a:extLst>
                <a:ext uri="{FF2B5EF4-FFF2-40B4-BE49-F238E27FC236}">
                  <a16:creationId xmlns:a16="http://schemas.microsoft.com/office/drawing/2014/main" id="{CD2A6035-E6E4-FC42-F0B4-93DD2D59AEC2}"/>
                </a:ext>
              </a:extLst>
            </p:cNvPr>
            <p:cNvSpPr/>
            <p:nvPr/>
          </p:nvSpPr>
          <p:spPr>
            <a:xfrm flipH="1">
              <a:off x="829528" y="3785874"/>
              <a:ext cx="71128" cy="22864"/>
            </a:xfrm>
            <a:custGeom>
              <a:avLst/>
              <a:gdLst/>
              <a:ahLst/>
              <a:cxnLst/>
              <a:rect l="l" t="t" r="r" b="b"/>
              <a:pathLst>
                <a:path w="100" h="31" extrusionOk="0">
                  <a:moveTo>
                    <a:pt x="8" y="31"/>
                  </a:moveTo>
                  <a:cubicBezTo>
                    <a:pt x="5" y="31"/>
                    <a:pt x="1" y="29"/>
                    <a:pt x="1" y="25"/>
                  </a:cubicBezTo>
                  <a:cubicBezTo>
                    <a:pt x="0" y="21"/>
                    <a:pt x="3" y="17"/>
                    <a:pt x="7" y="17"/>
                  </a:cubicBezTo>
                  <a:cubicBezTo>
                    <a:pt x="91" y="1"/>
                    <a:pt x="91" y="1"/>
                    <a:pt x="91" y="1"/>
                  </a:cubicBezTo>
                  <a:cubicBezTo>
                    <a:pt x="95" y="0"/>
                    <a:pt x="99" y="3"/>
                    <a:pt x="99" y="7"/>
                  </a:cubicBezTo>
                  <a:cubicBezTo>
                    <a:pt x="99" y="7"/>
                    <a:pt x="100" y="8"/>
                    <a:pt x="99" y="8"/>
                  </a:cubicBezTo>
                  <a:cubicBezTo>
                    <a:pt x="99" y="12"/>
                    <a:pt x="97" y="15"/>
                    <a:pt x="94" y="15"/>
                  </a:cubicBezTo>
                  <a:cubicBezTo>
                    <a:pt x="9" y="31"/>
                    <a:pt x="9" y="31"/>
                    <a:pt x="9" y="31"/>
                  </a:cubicBezTo>
                  <a:cubicBezTo>
                    <a:pt x="9" y="31"/>
                    <a:pt x="8" y="31"/>
                    <a:pt x="8" y="3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48" name="Google Shape;1795;p32">
              <a:extLst>
                <a:ext uri="{FF2B5EF4-FFF2-40B4-BE49-F238E27FC236}">
                  <a16:creationId xmlns:a16="http://schemas.microsoft.com/office/drawing/2014/main" id="{400C907F-D7E9-4297-A628-F075D4A9865C}"/>
                </a:ext>
              </a:extLst>
            </p:cNvPr>
            <p:cNvSpPr/>
            <p:nvPr/>
          </p:nvSpPr>
          <p:spPr>
            <a:xfrm flipH="1">
              <a:off x="1032751" y="3775713"/>
              <a:ext cx="40645" cy="63509"/>
            </a:xfrm>
            <a:custGeom>
              <a:avLst/>
              <a:gdLst/>
              <a:ahLst/>
              <a:cxnLst/>
              <a:rect l="l" t="t" r="r" b="b"/>
              <a:pathLst>
                <a:path w="55" h="92" extrusionOk="0">
                  <a:moveTo>
                    <a:pt x="47" y="92"/>
                  </a:moveTo>
                  <a:cubicBezTo>
                    <a:pt x="7" y="92"/>
                    <a:pt x="7" y="92"/>
                    <a:pt x="7" y="92"/>
                  </a:cubicBezTo>
                  <a:cubicBezTo>
                    <a:pt x="3" y="92"/>
                    <a:pt x="0" y="89"/>
                    <a:pt x="0" y="85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3" y="0"/>
                    <a:pt x="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51" y="0"/>
                    <a:pt x="55" y="4"/>
                    <a:pt x="55" y="8"/>
                  </a:cubicBezTo>
                  <a:cubicBezTo>
                    <a:pt x="55" y="85"/>
                    <a:pt x="55" y="85"/>
                    <a:pt x="55" y="85"/>
                  </a:cubicBezTo>
                  <a:cubicBezTo>
                    <a:pt x="55" y="89"/>
                    <a:pt x="51" y="92"/>
                    <a:pt x="47" y="92"/>
                  </a:cubicBezTo>
                  <a:close/>
                  <a:moveTo>
                    <a:pt x="14" y="78"/>
                  </a:moveTo>
                  <a:cubicBezTo>
                    <a:pt x="40" y="78"/>
                    <a:pt x="40" y="78"/>
                    <a:pt x="40" y="78"/>
                  </a:cubicBezTo>
                  <a:cubicBezTo>
                    <a:pt x="40" y="15"/>
                    <a:pt x="40" y="15"/>
                    <a:pt x="40" y="15"/>
                  </a:cubicBezTo>
                  <a:cubicBezTo>
                    <a:pt x="14" y="15"/>
                    <a:pt x="14" y="15"/>
                    <a:pt x="14" y="15"/>
                  </a:cubicBezTo>
                  <a:lnTo>
                    <a:pt x="14" y="7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</p:grpSp>
      <p:sp>
        <p:nvSpPr>
          <p:cNvPr id="249" name="Google Shape;1796;p32">
            <a:extLst>
              <a:ext uri="{FF2B5EF4-FFF2-40B4-BE49-F238E27FC236}">
                <a16:creationId xmlns:a16="http://schemas.microsoft.com/office/drawing/2014/main" id="{44BEC986-8367-CFFA-74CF-35A30A080DB9}"/>
              </a:ext>
            </a:extLst>
          </p:cNvPr>
          <p:cNvSpPr txBox="1"/>
          <p:nvPr/>
        </p:nvSpPr>
        <p:spPr>
          <a:xfrm>
            <a:off x="7024810" y="5185014"/>
            <a:ext cx="2391933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r>
              <a:rPr lang="en-US" sz="1600" b="1" dirty="0">
                <a:ea typeface="Trebuchet MS"/>
                <a:cs typeface="Arial" panose="020B0604020202020204" pitchFamily="34" charset="0"/>
                <a:sym typeface="Trebuchet MS"/>
              </a:rPr>
              <a:t>13:30 – 13:45</a:t>
            </a:r>
            <a:endParaRPr sz="1600" dirty="0"/>
          </a:p>
        </p:txBody>
      </p:sp>
      <p:sp>
        <p:nvSpPr>
          <p:cNvPr id="250" name="Google Shape;1797;p32">
            <a:extLst>
              <a:ext uri="{FF2B5EF4-FFF2-40B4-BE49-F238E27FC236}">
                <a16:creationId xmlns:a16="http://schemas.microsoft.com/office/drawing/2014/main" id="{AC2CFFD1-E9E6-1DE4-F955-E527DA0E1B10}"/>
              </a:ext>
            </a:extLst>
          </p:cNvPr>
          <p:cNvSpPr/>
          <p:nvPr/>
        </p:nvSpPr>
        <p:spPr>
          <a:xfrm>
            <a:off x="6010251" y="4971868"/>
            <a:ext cx="671964" cy="67250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4000" dirty="0">
              <a:solidFill>
                <a:schemeClr val="dk1"/>
              </a:solidFill>
              <a:cs typeface="Arial" panose="020B0604020202020204" pitchFamily="34" charset="0"/>
              <a:sym typeface="Trebuchet MS"/>
            </a:endParaRPr>
          </a:p>
        </p:txBody>
      </p:sp>
      <p:grpSp>
        <p:nvGrpSpPr>
          <p:cNvPr id="252" name="Group 251">
            <a:extLst>
              <a:ext uri="{FF2B5EF4-FFF2-40B4-BE49-F238E27FC236}">
                <a16:creationId xmlns:a16="http://schemas.microsoft.com/office/drawing/2014/main" id="{8D155DA2-AC54-F12C-DA5A-8729C0061775}"/>
              </a:ext>
            </a:extLst>
          </p:cNvPr>
          <p:cNvGrpSpPr/>
          <p:nvPr/>
        </p:nvGrpSpPr>
        <p:grpSpPr>
          <a:xfrm>
            <a:off x="6193585" y="5156746"/>
            <a:ext cx="305292" cy="302752"/>
            <a:chOff x="6699156" y="4997102"/>
            <a:chExt cx="236309" cy="234342"/>
          </a:xfrm>
          <a:solidFill>
            <a:schemeClr val="bg1"/>
          </a:solidFill>
        </p:grpSpPr>
        <p:sp>
          <p:nvSpPr>
            <p:cNvPr id="253" name="Google Shape;1800;p32">
              <a:extLst>
                <a:ext uri="{FF2B5EF4-FFF2-40B4-BE49-F238E27FC236}">
                  <a16:creationId xmlns:a16="http://schemas.microsoft.com/office/drawing/2014/main" id="{E6C79BFD-5D42-F6D0-E504-85C63479528B}"/>
                </a:ext>
              </a:extLst>
            </p:cNvPr>
            <p:cNvSpPr/>
            <p:nvPr/>
          </p:nvSpPr>
          <p:spPr>
            <a:xfrm>
              <a:off x="6861369" y="5157596"/>
              <a:ext cx="58075" cy="57108"/>
            </a:xfrm>
            <a:custGeom>
              <a:avLst/>
              <a:gdLst/>
              <a:ahLst/>
              <a:cxnLst/>
              <a:rect l="l" t="t" r="r" b="b"/>
              <a:pathLst>
                <a:path w="41" h="41" extrusionOk="0">
                  <a:moveTo>
                    <a:pt x="16" y="41"/>
                  </a:moveTo>
                  <a:cubicBezTo>
                    <a:pt x="15" y="41"/>
                    <a:pt x="14" y="41"/>
                    <a:pt x="13" y="40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0" y="27"/>
                    <a:pt x="0" y="26"/>
                    <a:pt x="0" y="24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6" y="5"/>
                    <a:pt x="7" y="5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5" y="0"/>
                    <a:pt x="27" y="0"/>
                    <a:pt x="28" y="1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41" y="15"/>
                    <a:pt x="41" y="16"/>
                    <a:pt x="41" y="17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36" y="35"/>
                    <a:pt x="35" y="36"/>
                    <a:pt x="34" y="37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1"/>
                    <a:pt x="16" y="41"/>
                    <a:pt x="16" y="41"/>
                  </a:cubicBezTo>
                  <a:close/>
                  <a:moveTo>
                    <a:pt x="5" y="25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9" y="9"/>
                    <a:pt x="9" y="9"/>
                    <a:pt x="9" y="9"/>
                  </a:cubicBezTo>
                  <a:lnTo>
                    <a:pt x="5" y="25"/>
                  </a:lnTo>
                  <a:close/>
                  <a:moveTo>
                    <a:pt x="32" y="33"/>
                  </a:moveTo>
                  <a:cubicBezTo>
                    <a:pt x="32" y="33"/>
                    <a:pt x="32" y="33"/>
                    <a:pt x="32" y="33"/>
                  </a:cubicBezTo>
                  <a:close/>
                  <a:moveTo>
                    <a:pt x="5" y="26"/>
                  </a:move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lose/>
                  <a:moveTo>
                    <a:pt x="36" y="16"/>
                  </a:moveTo>
                  <a:cubicBezTo>
                    <a:pt x="36" y="16"/>
                    <a:pt x="36" y="16"/>
                    <a:pt x="36" y="16"/>
                  </a:cubicBezTo>
                  <a:close/>
                  <a:moveTo>
                    <a:pt x="9" y="9"/>
                  </a:move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40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54" name="Google Shape;1801;p32">
              <a:extLst>
                <a:ext uri="{FF2B5EF4-FFF2-40B4-BE49-F238E27FC236}">
                  <a16:creationId xmlns:a16="http://schemas.microsoft.com/office/drawing/2014/main" id="{6F5435AD-D713-E10E-AA59-5C077B17042C}"/>
                </a:ext>
              </a:extLst>
            </p:cNvPr>
            <p:cNvSpPr/>
            <p:nvPr/>
          </p:nvSpPr>
          <p:spPr>
            <a:xfrm>
              <a:off x="6701158" y="4999072"/>
              <a:ext cx="65086" cy="64001"/>
            </a:xfrm>
            <a:custGeom>
              <a:avLst/>
              <a:gdLst/>
              <a:ahLst/>
              <a:cxnLst/>
              <a:rect l="l" t="t" r="r" b="b"/>
              <a:pathLst>
                <a:path w="46" h="46" extrusionOk="0">
                  <a:moveTo>
                    <a:pt x="18" y="46"/>
                  </a:moveTo>
                  <a:cubicBezTo>
                    <a:pt x="18" y="46"/>
                    <a:pt x="17" y="46"/>
                    <a:pt x="16" y="45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0" y="29"/>
                    <a:pt x="0" y="27"/>
                    <a:pt x="1" y="26"/>
                  </a:cubicBezTo>
                  <a:cubicBezTo>
                    <a:pt x="2" y="25"/>
                    <a:pt x="4" y="25"/>
                    <a:pt x="5" y="26"/>
                  </a:cubicBezTo>
                  <a:cubicBezTo>
                    <a:pt x="19" y="41"/>
                    <a:pt x="19" y="41"/>
                    <a:pt x="19" y="41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5" y="4"/>
                    <a:pt x="25" y="2"/>
                    <a:pt x="26" y="1"/>
                  </a:cubicBezTo>
                  <a:cubicBezTo>
                    <a:pt x="27" y="0"/>
                    <a:pt x="29" y="0"/>
                    <a:pt x="30" y="1"/>
                  </a:cubicBezTo>
                  <a:cubicBezTo>
                    <a:pt x="45" y="17"/>
                    <a:pt x="45" y="17"/>
                    <a:pt x="45" y="17"/>
                  </a:cubicBezTo>
                  <a:cubicBezTo>
                    <a:pt x="45" y="17"/>
                    <a:pt x="46" y="18"/>
                    <a:pt x="45" y="19"/>
                  </a:cubicBezTo>
                  <a:cubicBezTo>
                    <a:pt x="40" y="39"/>
                    <a:pt x="40" y="39"/>
                    <a:pt x="40" y="39"/>
                  </a:cubicBezTo>
                  <a:cubicBezTo>
                    <a:pt x="40" y="40"/>
                    <a:pt x="39" y="40"/>
                    <a:pt x="38" y="40"/>
                  </a:cubicBezTo>
                  <a:cubicBezTo>
                    <a:pt x="19" y="46"/>
                    <a:pt x="19" y="46"/>
                    <a:pt x="19" y="46"/>
                  </a:cubicBezTo>
                  <a:cubicBezTo>
                    <a:pt x="19" y="46"/>
                    <a:pt x="18" y="46"/>
                    <a:pt x="18" y="4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40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55" name="Google Shape;1802;p32">
              <a:extLst>
                <a:ext uri="{FF2B5EF4-FFF2-40B4-BE49-F238E27FC236}">
                  <a16:creationId xmlns:a16="http://schemas.microsoft.com/office/drawing/2014/main" id="{4639EED0-D456-8371-DFF2-22547C3015F5}"/>
                </a:ext>
              </a:extLst>
            </p:cNvPr>
            <p:cNvSpPr/>
            <p:nvPr/>
          </p:nvSpPr>
          <p:spPr>
            <a:xfrm>
              <a:off x="6699156" y="5033533"/>
              <a:ext cx="73096" cy="56124"/>
            </a:xfrm>
            <a:custGeom>
              <a:avLst/>
              <a:gdLst/>
              <a:ahLst/>
              <a:cxnLst/>
              <a:rect l="l" t="t" r="r" b="b"/>
              <a:pathLst>
                <a:path w="51" h="40" extrusionOk="0">
                  <a:moveTo>
                    <a:pt x="33" y="40"/>
                  </a:moveTo>
                  <a:cubicBezTo>
                    <a:pt x="25" y="40"/>
                    <a:pt x="17" y="36"/>
                    <a:pt x="11" y="30"/>
                  </a:cubicBezTo>
                  <a:cubicBezTo>
                    <a:pt x="3" y="23"/>
                    <a:pt x="0" y="13"/>
                    <a:pt x="1" y="3"/>
                  </a:cubicBezTo>
                  <a:cubicBezTo>
                    <a:pt x="2" y="1"/>
                    <a:pt x="3" y="0"/>
                    <a:pt x="4" y="1"/>
                  </a:cubicBezTo>
                  <a:cubicBezTo>
                    <a:pt x="6" y="1"/>
                    <a:pt x="7" y="2"/>
                    <a:pt x="6" y="3"/>
                  </a:cubicBezTo>
                  <a:cubicBezTo>
                    <a:pt x="5" y="12"/>
                    <a:pt x="8" y="21"/>
                    <a:pt x="14" y="27"/>
                  </a:cubicBezTo>
                  <a:cubicBezTo>
                    <a:pt x="23" y="36"/>
                    <a:pt x="36" y="37"/>
                    <a:pt x="47" y="31"/>
                  </a:cubicBezTo>
                  <a:cubicBezTo>
                    <a:pt x="48" y="30"/>
                    <a:pt x="50" y="31"/>
                    <a:pt x="50" y="32"/>
                  </a:cubicBezTo>
                  <a:cubicBezTo>
                    <a:pt x="51" y="33"/>
                    <a:pt x="51" y="34"/>
                    <a:pt x="50" y="35"/>
                  </a:cubicBezTo>
                  <a:cubicBezTo>
                    <a:pt x="45" y="38"/>
                    <a:pt x="39" y="40"/>
                    <a:pt x="33" y="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40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56" name="Google Shape;1803;p32">
              <a:extLst>
                <a:ext uri="{FF2B5EF4-FFF2-40B4-BE49-F238E27FC236}">
                  <a16:creationId xmlns:a16="http://schemas.microsoft.com/office/drawing/2014/main" id="{2F89AED7-816C-63CD-B0F1-F2FCCC31366A}"/>
                </a:ext>
              </a:extLst>
            </p:cNvPr>
            <p:cNvSpPr/>
            <p:nvPr/>
          </p:nvSpPr>
          <p:spPr>
            <a:xfrm>
              <a:off x="6736205" y="4997102"/>
              <a:ext cx="60079" cy="71878"/>
            </a:xfrm>
            <a:custGeom>
              <a:avLst/>
              <a:gdLst/>
              <a:ahLst/>
              <a:cxnLst/>
              <a:rect l="l" t="t" r="r" b="b"/>
              <a:pathLst>
                <a:path w="42" h="51" extrusionOk="0">
                  <a:moveTo>
                    <a:pt x="33" y="51"/>
                  </a:moveTo>
                  <a:cubicBezTo>
                    <a:pt x="32" y="51"/>
                    <a:pt x="32" y="51"/>
                    <a:pt x="31" y="51"/>
                  </a:cubicBezTo>
                  <a:cubicBezTo>
                    <a:pt x="30" y="50"/>
                    <a:pt x="30" y="49"/>
                    <a:pt x="31" y="47"/>
                  </a:cubicBezTo>
                  <a:cubicBezTo>
                    <a:pt x="37" y="37"/>
                    <a:pt x="35" y="23"/>
                    <a:pt x="26" y="14"/>
                  </a:cubicBezTo>
                  <a:cubicBezTo>
                    <a:pt x="20" y="8"/>
                    <a:pt x="12" y="5"/>
                    <a:pt x="3" y="7"/>
                  </a:cubicBezTo>
                  <a:cubicBezTo>
                    <a:pt x="2" y="7"/>
                    <a:pt x="1" y="6"/>
                    <a:pt x="0" y="5"/>
                  </a:cubicBezTo>
                  <a:cubicBezTo>
                    <a:pt x="0" y="3"/>
                    <a:pt x="1" y="2"/>
                    <a:pt x="2" y="2"/>
                  </a:cubicBezTo>
                  <a:cubicBezTo>
                    <a:pt x="12" y="0"/>
                    <a:pt x="23" y="4"/>
                    <a:pt x="30" y="11"/>
                  </a:cubicBezTo>
                  <a:cubicBezTo>
                    <a:pt x="40" y="21"/>
                    <a:pt x="42" y="37"/>
                    <a:pt x="35" y="50"/>
                  </a:cubicBezTo>
                  <a:cubicBezTo>
                    <a:pt x="34" y="51"/>
                    <a:pt x="34" y="51"/>
                    <a:pt x="33" y="5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40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57" name="Google Shape;1804;p32">
              <a:extLst>
                <a:ext uri="{FF2B5EF4-FFF2-40B4-BE49-F238E27FC236}">
                  <a16:creationId xmlns:a16="http://schemas.microsoft.com/office/drawing/2014/main" id="{89938D3C-5A44-2DF1-151C-5BCF50F05288}"/>
                </a:ext>
              </a:extLst>
            </p:cNvPr>
            <p:cNvSpPr/>
            <p:nvPr/>
          </p:nvSpPr>
          <p:spPr>
            <a:xfrm>
              <a:off x="6765242" y="5077841"/>
              <a:ext cx="37049" cy="34463"/>
            </a:xfrm>
            <a:custGeom>
              <a:avLst/>
              <a:gdLst/>
              <a:ahLst/>
              <a:cxnLst/>
              <a:rect l="l" t="t" r="r" b="b"/>
              <a:pathLst>
                <a:path w="26" h="25" extrusionOk="0">
                  <a:moveTo>
                    <a:pt x="23" y="25"/>
                  </a:moveTo>
                  <a:cubicBezTo>
                    <a:pt x="23" y="25"/>
                    <a:pt x="22" y="25"/>
                    <a:pt x="21" y="25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5" y="1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26" y="22"/>
                    <a:pt x="26" y="24"/>
                    <a:pt x="25" y="25"/>
                  </a:cubicBezTo>
                  <a:cubicBezTo>
                    <a:pt x="24" y="25"/>
                    <a:pt x="24" y="25"/>
                    <a:pt x="23" y="2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40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58" name="Google Shape;1805;p32">
              <a:extLst>
                <a:ext uri="{FF2B5EF4-FFF2-40B4-BE49-F238E27FC236}">
                  <a16:creationId xmlns:a16="http://schemas.microsoft.com/office/drawing/2014/main" id="{B6245195-75CA-7950-0917-D45F85579316}"/>
                </a:ext>
              </a:extLst>
            </p:cNvPr>
            <p:cNvSpPr/>
            <p:nvPr/>
          </p:nvSpPr>
          <p:spPr>
            <a:xfrm>
              <a:off x="6820315" y="5131996"/>
              <a:ext cx="38050" cy="36431"/>
            </a:xfrm>
            <a:custGeom>
              <a:avLst/>
              <a:gdLst/>
              <a:ahLst/>
              <a:cxnLst/>
              <a:rect l="l" t="t" r="r" b="b"/>
              <a:pathLst>
                <a:path w="27" h="26" extrusionOk="0">
                  <a:moveTo>
                    <a:pt x="24" y="26"/>
                  </a:moveTo>
                  <a:cubicBezTo>
                    <a:pt x="24" y="26"/>
                    <a:pt x="23" y="26"/>
                    <a:pt x="22" y="26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5" y="1"/>
                  </a:cubicBezTo>
                  <a:cubicBezTo>
                    <a:pt x="26" y="22"/>
                    <a:pt x="26" y="22"/>
                    <a:pt x="26" y="22"/>
                  </a:cubicBezTo>
                  <a:cubicBezTo>
                    <a:pt x="27" y="23"/>
                    <a:pt x="27" y="25"/>
                    <a:pt x="26" y="26"/>
                  </a:cubicBezTo>
                  <a:cubicBezTo>
                    <a:pt x="25" y="26"/>
                    <a:pt x="25" y="26"/>
                    <a:pt x="24" y="2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40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59" name="Google Shape;1806;p32">
              <a:extLst>
                <a:ext uri="{FF2B5EF4-FFF2-40B4-BE49-F238E27FC236}">
                  <a16:creationId xmlns:a16="http://schemas.microsoft.com/office/drawing/2014/main" id="{18A7461C-DE94-2690-1A64-42D24E08B02F}"/>
                </a:ext>
              </a:extLst>
            </p:cNvPr>
            <p:cNvSpPr/>
            <p:nvPr/>
          </p:nvSpPr>
          <p:spPr>
            <a:xfrm>
              <a:off x="6780263" y="5063072"/>
              <a:ext cx="93122" cy="91571"/>
            </a:xfrm>
            <a:custGeom>
              <a:avLst/>
              <a:gdLst/>
              <a:ahLst/>
              <a:cxnLst/>
              <a:rect l="l" t="t" r="r" b="b"/>
              <a:pathLst>
                <a:path w="65" h="65" extrusionOk="0">
                  <a:moveTo>
                    <a:pt x="63" y="65"/>
                  </a:moveTo>
                  <a:cubicBezTo>
                    <a:pt x="62" y="65"/>
                    <a:pt x="61" y="65"/>
                    <a:pt x="61" y="6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1"/>
                  </a:cubicBezTo>
                  <a:cubicBezTo>
                    <a:pt x="64" y="61"/>
                    <a:pt x="64" y="61"/>
                    <a:pt x="64" y="61"/>
                  </a:cubicBezTo>
                  <a:cubicBezTo>
                    <a:pt x="65" y="62"/>
                    <a:pt x="65" y="63"/>
                    <a:pt x="64" y="64"/>
                  </a:cubicBezTo>
                  <a:cubicBezTo>
                    <a:pt x="64" y="65"/>
                    <a:pt x="63" y="65"/>
                    <a:pt x="63" y="6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40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60" name="Google Shape;1807;p32">
              <a:extLst>
                <a:ext uri="{FF2B5EF4-FFF2-40B4-BE49-F238E27FC236}">
                  <a16:creationId xmlns:a16="http://schemas.microsoft.com/office/drawing/2014/main" id="{AC0C871D-C312-FC25-EDF5-11305722A1E7}"/>
                </a:ext>
              </a:extLst>
            </p:cNvPr>
            <p:cNvSpPr/>
            <p:nvPr/>
          </p:nvSpPr>
          <p:spPr>
            <a:xfrm>
              <a:off x="6841342" y="5137905"/>
              <a:ext cx="94123" cy="93539"/>
            </a:xfrm>
            <a:custGeom>
              <a:avLst/>
              <a:gdLst/>
              <a:ahLst/>
              <a:cxnLst/>
              <a:rect l="l" t="t" r="r" b="b"/>
              <a:pathLst>
                <a:path w="66" h="67" extrusionOk="0">
                  <a:moveTo>
                    <a:pt x="34" y="67"/>
                  </a:moveTo>
                  <a:cubicBezTo>
                    <a:pt x="26" y="67"/>
                    <a:pt x="18" y="63"/>
                    <a:pt x="12" y="57"/>
                  </a:cubicBezTo>
                  <a:cubicBezTo>
                    <a:pt x="2" y="47"/>
                    <a:pt x="0" y="31"/>
                    <a:pt x="7" y="19"/>
                  </a:cubicBezTo>
                  <a:cubicBezTo>
                    <a:pt x="8" y="18"/>
                    <a:pt x="9" y="17"/>
                    <a:pt x="10" y="18"/>
                  </a:cubicBezTo>
                  <a:cubicBezTo>
                    <a:pt x="12" y="19"/>
                    <a:pt x="12" y="20"/>
                    <a:pt x="11" y="21"/>
                  </a:cubicBezTo>
                  <a:cubicBezTo>
                    <a:pt x="5" y="32"/>
                    <a:pt x="7" y="45"/>
                    <a:pt x="16" y="54"/>
                  </a:cubicBezTo>
                  <a:cubicBezTo>
                    <a:pt x="21" y="59"/>
                    <a:pt x="27" y="62"/>
                    <a:pt x="34" y="62"/>
                  </a:cubicBezTo>
                  <a:cubicBezTo>
                    <a:pt x="42" y="62"/>
                    <a:pt x="48" y="59"/>
                    <a:pt x="53" y="54"/>
                  </a:cubicBezTo>
                  <a:cubicBezTo>
                    <a:pt x="59" y="49"/>
                    <a:pt x="61" y="42"/>
                    <a:pt x="61" y="35"/>
                  </a:cubicBezTo>
                  <a:cubicBezTo>
                    <a:pt x="61" y="28"/>
                    <a:pt x="59" y="21"/>
                    <a:pt x="53" y="16"/>
                  </a:cubicBezTo>
                  <a:cubicBezTo>
                    <a:pt x="45" y="7"/>
                    <a:pt x="31" y="5"/>
                    <a:pt x="21" y="12"/>
                  </a:cubicBezTo>
                  <a:cubicBezTo>
                    <a:pt x="20" y="12"/>
                    <a:pt x="18" y="12"/>
                    <a:pt x="18" y="11"/>
                  </a:cubicBezTo>
                  <a:cubicBezTo>
                    <a:pt x="17" y="10"/>
                    <a:pt x="17" y="8"/>
                    <a:pt x="18" y="7"/>
                  </a:cubicBezTo>
                  <a:cubicBezTo>
                    <a:pt x="31" y="0"/>
                    <a:pt x="47" y="2"/>
                    <a:pt x="57" y="12"/>
                  </a:cubicBezTo>
                  <a:cubicBezTo>
                    <a:pt x="63" y="18"/>
                    <a:pt x="66" y="26"/>
                    <a:pt x="66" y="35"/>
                  </a:cubicBezTo>
                  <a:cubicBezTo>
                    <a:pt x="66" y="43"/>
                    <a:pt x="63" y="51"/>
                    <a:pt x="57" y="57"/>
                  </a:cubicBezTo>
                  <a:cubicBezTo>
                    <a:pt x="51" y="63"/>
                    <a:pt x="43" y="67"/>
                    <a:pt x="34" y="6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40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61" name="Google Shape;1808;p32">
              <a:extLst>
                <a:ext uri="{FF2B5EF4-FFF2-40B4-BE49-F238E27FC236}">
                  <a16:creationId xmlns:a16="http://schemas.microsoft.com/office/drawing/2014/main" id="{4F1565FE-EE2A-CBB5-94FE-D53CDB45E91F}"/>
                </a:ext>
              </a:extLst>
            </p:cNvPr>
            <p:cNvSpPr/>
            <p:nvPr/>
          </p:nvSpPr>
          <p:spPr>
            <a:xfrm>
              <a:off x="6810302" y="5006949"/>
              <a:ext cx="117153" cy="117172"/>
            </a:xfrm>
            <a:custGeom>
              <a:avLst/>
              <a:gdLst/>
              <a:ahLst/>
              <a:cxnLst/>
              <a:rect l="l" t="t" r="r" b="b"/>
              <a:pathLst>
                <a:path w="82" h="83" extrusionOk="0">
                  <a:moveTo>
                    <a:pt x="2" y="83"/>
                  </a:moveTo>
                  <a:cubicBezTo>
                    <a:pt x="2" y="83"/>
                    <a:pt x="1" y="82"/>
                    <a:pt x="1" y="82"/>
                  </a:cubicBezTo>
                  <a:cubicBezTo>
                    <a:pt x="0" y="81"/>
                    <a:pt x="0" y="79"/>
                    <a:pt x="1" y="78"/>
                  </a:cubicBezTo>
                  <a:cubicBezTo>
                    <a:pt x="78" y="1"/>
                    <a:pt x="78" y="1"/>
                    <a:pt x="78" y="1"/>
                  </a:cubicBezTo>
                  <a:cubicBezTo>
                    <a:pt x="79" y="0"/>
                    <a:pt x="80" y="0"/>
                    <a:pt x="81" y="1"/>
                  </a:cubicBezTo>
                  <a:cubicBezTo>
                    <a:pt x="82" y="2"/>
                    <a:pt x="82" y="4"/>
                    <a:pt x="81" y="5"/>
                  </a:cubicBezTo>
                  <a:cubicBezTo>
                    <a:pt x="4" y="82"/>
                    <a:pt x="4" y="82"/>
                    <a:pt x="4" y="82"/>
                  </a:cubicBezTo>
                  <a:cubicBezTo>
                    <a:pt x="4" y="82"/>
                    <a:pt x="3" y="83"/>
                    <a:pt x="2" y="8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40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62" name="Google Shape;1809;p32">
              <a:extLst>
                <a:ext uri="{FF2B5EF4-FFF2-40B4-BE49-F238E27FC236}">
                  <a16:creationId xmlns:a16="http://schemas.microsoft.com/office/drawing/2014/main" id="{605665D8-F62B-ACB3-0EB7-EFAB539B1C03}"/>
                </a:ext>
              </a:extLst>
            </p:cNvPr>
            <p:cNvSpPr/>
            <p:nvPr/>
          </p:nvSpPr>
          <p:spPr>
            <a:xfrm>
              <a:off x="6702160" y="5118212"/>
              <a:ext cx="114149" cy="109293"/>
            </a:xfrm>
            <a:custGeom>
              <a:avLst/>
              <a:gdLst/>
              <a:ahLst/>
              <a:cxnLst/>
              <a:rect l="l" t="t" r="r" b="b"/>
              <a:pathLst>
                <a:path w="80" h="78" extrusionOk="0">
                  <a:moveTo>
                    <a:pt x="26" y="78"/>
                  </a:moveTo>
                  <a:cubicBezTo>
                    <a:pt x="23" y="78"/>
                    <a:pt x="21" y="77"/>
                    <a:pt x="20" y="76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0" y="57"/>
                    <a:pt x="0" y="51"/>
                    <a:pt x="4" y="48"/>
                  </a:cubicBezTo>
                  <a:cubicBezTo>
                    <a:pt x="49" y="3"/>
                    <a:pt x="49" y="3"/>
                    <a:pt x="49" y="3"/>
                  </a:cubicBezTo>
                  <a:cubicBezTo>
                    <a:pt x="50" y="1"/>
                    <a:pt x="52" y="0"/>
                    <a:pt x="55" y="0"/>
                  </a:cubicBezTo>
                  <a:cubicBezTo>
                    <a:pt x="57" y="0"/>
                    <a:pt x="59" y="1"/>
                    <a:pt x="61" y="3"/>
                  </a:cubicBezTo>
                  <a:cubicBezTo>
                    <a:pt x="77" y="19"/>
                    <a:pt x="77" y="19"/>
                    <a:pt x="77" y="19"/>
                  </a:cubicBezTo>
                  <a:cubicBezTo>
                    <a:pt x="80" y="22"/>
                    <a:pt x="80" y="28"/>
                    <a:pt x="77" y="31"/>
                  </a:cubicBezTo>
                  <a:cubicBezTo>
                    <a:pt x="32" y="76"/>
                    <a:pt x="32" y="76"/>
                    <a:pt x="32" y="76"/>
                  </a:cubicBezTo>
                  <a:cubicBezTo>
                    <a:pt x="30" y="77"/>
                    <a:pt x="28" y="78"/>
                    <a:pt x="26" y="78"/>
                  </a:cubicBezTo>
                  <a:close/>
                  <a:moveTo>
                    <a:pt x="55" y="5"/>
                  </a:moveTo>
                  <a:cubicBezTo>
                    <a:pt x="54" y="5"/>
                    <a:pt x="53" y="6"/>
                    <a:pt x="52" y="7"/>
                  </a:cubicBezTo>
                  <a:cubicBezTo>
                    <a:pt x="7" y="51"/>
                    <a:pt x="7" y="51"/>
                    <a:pt x="7" y="51"/>
                  </a:cubicBezTo>
                  <a:cubicBezTo>
                    <a:pt x="6" y="53"/>
                    <a:pt x="6" y="55"/>
                    <a:pt x="7" y="57"/>
                  </a:cubicBezTo>
                  <a:cubicBezTo>
                    <a:pt x="23" y="72"/>
                    <a:pt x="23" y="72"/>
                    <a:pt x="23" y="72"/>
                  </a:cubicBezTo>
                  <a:cubicBezTo>
                    <a:pt x="24" y="74"/>
                    <a:pt x="27" y="74"/>
                    <a:pt x="28" y="72"/>
                  </a:cubicBezTo>
                  <a:cubicBezTo>
                    <a:pt x="73" y="28"/>
                    <a:pt x="73" y="28"/>
                    <a:pt x="73" y="28"/>
                  </a:cubicBezTo>
                  <a:cubicBezTo>
                    <a:pt x="75" y="26"/>
                    <a:pt x="75" y="24"/>
                    <a:pt x="73" y="22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7" y="6"/>
                    <a:pt x="56" y="5"/>
                    <a:pt x="55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40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63" name="Google Shape;1810;p32">
              <a:extLst>
                <a:ext uri="{FF2B5EF4-FFF2-40B4-BE49-F238E27FC236}">
                  <a16:creationId xmlns:a16="http://schemas.microsoft.com/office/drawing/2014/main" id="{FBF52793-76D2-DDA6-76ED-5D51555B36DA}"/>
                </a:ext>
              </a:extLst>
            </p:cNvPr>
            <p:cNvSpPr/>
            <p:nvPr/>
          </p:nvSpPr>
          <p:spPr>
            <a:xfrm>
              <a:off x="6783267" y="5105411"/>
              <a:ext cx="46060" cy="43324"/>
            </a:xfrm>
            <a:custGeom>
              <a:avLst/>
              <a:gdLst/>
              <a:ahLst/>
              <a:cxnLst/>
              <a:rect l="l" t="t" r="r" b="b"/>
              <a:pathLst>
                <a:path w="32" h="31" extrusionOk="0">
                  <a:moveTo>
                    <a:pt x="19" y="31"/>
                  </a:moveTo>
                  <a:cubicBezTo>
                    <a:pt x="17" y="31"/>
                    <a:pt x="16" y="31"/>
                    <a:pt x="14" y="29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1" y="16"/>
                    <a:pt x="0" y="14"/>
                    <a:pt x="0" y="12"/>
                  </a:cubicBezTo>
                  <a:cubicBezTo>
                    <a:pt x="0" y="10"/>
                    <a:pt x="1" y="9"/>
                    <a:pt x="2" y="7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8" y="1"/>
                    <a:pt x="10" y="0"/>
                    <a:pt x="12" y="0"/>
                  </a:cubicBezTo>
                  <a:cubicBezTo>
                    <a:pt x="14" y="0"/>
                    <a:pt x="16" y="1"/>
                    <a:pt x="17" y="3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32" y="17"/>
                    <a:pt x="32" y="22"/>
                    <a:pt x="29" y="24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23" y="31"/>
                    <a:pt x="21" y="31"/>
                    <a:pt x="19" y="31"/>
                  </a:cubicBezTo>
                  <a:close/>
                  <a:moveTo>
                    <a:pt x="12" y="5"/>
                  </a:moveTo>
                  <a:cubicBezTo>
                    <a:pt x="12" y="5"/>
                    <a:pt x="11" y="6"/>
                    <a:pt x="11" y="6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5" y="11"/>
                    <a:pt x="5" y="12"/>
                    <a:pt x="5" y="12"/>
                  </a:cubicBezTo>
                  <a:cubicBezTo>
                    <a:pt x="5" y="13"/>
                    <a:pt x="5" y="13"/>
                    <a:pt x="6" y="14"/>
                  </a:cubicBezTo>
                  <a:cubicBezTo>
                    <a:pt x="18" y="26"/>
                    <a:pt x="18" y="26"/>
                    <a:pt x="18" y="26"/>
                  </a:cubicBezTo>
                  <a:cubicBezTo>
                    <a:pt x="19" y="27"/>
                    <a:pt x="20" y="27"/>
                    <a:pt x="21" y="26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6" y="21"/>
                    <a:pt x="26" y="21"/>
                    <a:pt x="26" y="21"/>
                  </a:cubicBezTo>
                  <a:cubicBezTo>
                    <a:pt x="27" y="20"/>
                    <a:pt x="27" y="19"/>
                    <a:pt x="26" y="18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3" y="6"/>
                    <a:pt x="13" y="5"/>
                    <a:pt x="12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40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64" name="Google Shape;1811;p32">
              <a:extLst>
                <a:ext uri="{FF2B5EF4-FFF2-40B4-BE49-F238E27FC236}">
                  <a16:creationId xmlns:a16="http://schemas.microsoft.com/office/drawing/2014/main" id="{17915D20-DD6D-08BD-8DEA-88101486FA51}"/>
                </a:ext>
              </a:extLst>
            </p:cNvPr>
            <p:cNvSpPr/>
            <p:nvPr/>
          </p:nvSpPr>
          <p:spPr>
            <a:xfrm>
              <a:off x="6908430" y="5006949"/>
              <a:ext cx="20027" cy="19693"/>
            </a:xfrm>
            <a:custGeom>
              <a:avLst/>
              <a:gdLst/>
              <a:ahLst/>
              <a:cxnLst/>
              <a:rect l="l" t="t" r="r" b="b"/>
              <a:pathLst>
                <a:path w="14" h="14" extrusionOk="0">
                  <a:moveTo>
                    <a:pt x="4" y="14"/>
                  </a:moveTo>
                  <a:cubicBezTo>
                    <a:pt x="3" y="14"/>
                    <a:pt x="2" y="13"/>
                    <a:pt x="1" y="1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0" y="11"/>
                    <a:pt x="0" y="9"/>
                    <a:pt x="1" y="8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9" y="0"/>
                    <a:pt x="11" y="0"/>
                    <a:pt x="13" y="1"/>
                  </a:cubicBezTo>
                  <a:cubicBezTo>
                    <a:pt x="13" y="2"/>
                    <a:pt x="14" y="3"/>
                    <a:pt x="14" y="3"/>
                  </a:cubicBezTo>
                  <a:cubicBezTo>
                    <a:pt x="14" y="4"/>
                    <a:pt x="13" y="5"/>
                    <a:pt x="13" y="6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5" y="13"/>
                    <a:pt x="4" y="14"/>
                    <a:pt x="4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40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</p:grpSp>
      <p:sp>
        <p:nvSpPr>
          <p:cNvPr id="265" name="Google Shape;1812;p32">
            <a:extLst>
              <a:ext uri="{FF2B5EF4-FFF2-40B4-BE49-F238E27FC236}">
                <a16:creationId xmlns:a16="http://schemas.microsoft.com/office/drawing/2014/main" id="{8EA89EE4-E695-A1C2-2375-88F7CA69EC4D}"/>
              </a:ext>
            </a:extLst>
          </p:cNvPr>
          <p:cNvSpPr txBox="1"/>
          <p:nvPr/>
        </p:nvSpPr>
        <p:spPr>
          <a:xfrm>
            <a:off x="1431454" y="5184733"/>
            <a:ext cx="2391933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r>
              <a:rPr lang="en-US" sz="1600" b="1" dirty="0">
                <a:ea typeface="Trebuchet MS"/>
                <a:cs typeface="Arial" panose="020B0604020202020204" pitchFamily="34" charset="0"/>
                <a:sym typeface="Trebuchet MS"/>
              </a:rPr>
              <a:t>10:00 – 10:30</a:t>
            </a:r>
            <a:endParaRPr sz="1600" dirty="0"/>
          </a:p>
        </p:txBody>
      </p:sp>
      <p:sp>
        <p:nvSpPr>
          <p:cNvPr id="225" name="Google Shape;1772;p32">
            <a:extLst>
              <a:ext uri="{FF2B5EF4-FFF2-40B4-BE49-F238E27FC236}">
                <a16:creationId xmlns:a16="http://schemas.microsoft.com/office/drawing/2014/main" id="{32416B2D-8EEA-823E-0AE0-3F78232A582B}"/>
              </a:ext>
            </a:extLst>
          </p:cNvPr>
          <p:cNvSpPr txBox="1"/>
          <p:nvPr/>
        </p:nvSpPr>
        <p:spPr>
          <a:xfrm>
            <a:off x="3289858" y="1749833"/>
            <a:ext cx="2476769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chemeClr val="dk1"/>
              </a:buClr>
              <a:buSzPts val="1200"/>
            </a:pPr>
            <a:r>
              <a:rPr lang="en-US" sz="1600" dirty="0"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600" dirty="0"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238" name="Google Shape;1785;p32">
            <a:extLst>
              <a:ext uri="{FF2B5EF4-FFF2-40B4-BE49-F238E27FC236}">
                <a16:creationId xmlns:a16="http://schemas.microsoft.com/office/drawing/2014/main" id="{E938BB29-0EFA-350E-7BBD-06798024AD27}"/>
              </a:ext>
            </a:extLst>
          </p:cNvPr>
          <p:cNvSpPr txBox="1"/>
          <p:nvPr/>
        </p:nvSpPr>
        <p:spPr>
          <a:xfrm>
            <a:off x="3289858" y="3469020"/>
            <a:ext cx="2476769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chemeClr val="dk1"/>
              </a:buClr>
              <a:buSzPts val="1200"/>
            </a:pPr>
            <a:r>
              <a:rPr lang="en-US" sz="1600" dirty="0"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600" dirty="0"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266" name="Google Shape;1813;p32">
            <a:extLst>
              <a:ext uri="{FF2B5EF4-FFF2-40B4-BE49-F238E27FC236}">
                <a16:creationId xmlns:a16="http://schemas.microsoft.com/office/drawing/2014/main" id="{C5F180FC-7EE9-DB4A-A9B3-57AA933D28B9}"/>
              </a:ext>
            </a:extLst>
          </p:cNvPr>
          <p:cNvSpPr txBox="1"/>
          <p:nvPr/>
        </p:nvSpPr>
        <p:spPr>
          <a:xfrm>
            <a:off x="3289858" y="5188210"/>
            <a:ext cx="2476769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chemeClr val="dk1"/>
              </a:buClr>
              <a:buSzPts val="1200"/>
            </a:pPr>
            <a:r>
              <a:rPr lang="en-US" sz="1600" dirty="0"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600" dirty="0"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267" name="Google Shape;1814;p32">
            <a:extLst>
              <a:ext uri="{FF2B5EF4-FFF2-40B4-BE49-F238E27FC236}">
                <a16:creationId xmlns:a16="http://schemas.microsoft.com/office/drawing/2014/main" id="{7759F041-FBDC-C6C4-6709-C3DA26DE55FB}"/>
              </a:ext>
            </a:extLst>
          </p:cNvPr>
          <p:cNvSpPr/>
          <p:nvPr/>
        </p:nvSpPr>
        <p:spPr>
          <a:xfrm rot="5400000">
            <a:off x="419101" y="4971306"/>
            <a:ext cx="673068" cy="67306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4000" dirty="0">
              <a:solidFill>
                <a:schemeClr val="dk1"/>
              </a:solidFill>
              <a:cs typeface="Arial" panose="020B0604020202020204" pitchFamily="34" charset="0"/>
              <a:sym typeface="Trebuchet MS"/>
            </a:endParaRPr>
          </a:p>
        </p:txBody>
      </p:sp>
      <p:grpSp>
        <p:nvGrpSpPr>
          <p:cNvPr id="268" name="Group 267">
            <a:extLst>
              <a:ext uri="{FF2B5EF4-FFF2-40B4-BE49-F238E27FC236}">
                <a16:creationId xmlns:a16="http://schemas.microsoft.com/office/drawing/2014/main" id="{7CBC3E2C-C494-4327-D62C-D969F527F814}"/>
              </a:ext>
            </a:extLst>
          </p:cNvPr>
          <p:cNvGrpSpPr/>
          <p:nvPr/>
        </p:nvGrpSpPr>
        <p:grpSpPr>
          <a:xfrm>
            <a:off x="583581" y="5134065"/>
            <a:ext cx="344111" cy="347548"/>
            <a:chOff x="847499" y="4979547"/>
            <a:chExt cx="266355" cy="269016"/>
          </a:xfrm>
        </p:grpSpPr>
        <p:sp>
          <p:nvSpPr>
            <p:cNvPr id="269" name="Google Shape;1816;p32">
              <a:extLst>
                <a:ext uri="{FF2B5EF4-FFF2-40B4-BE49-F238E27FC236}">
                  <a16:creationId xmlns:a16="http://schemas.microsoft.com/office/drawing/2014/main" id="{127775AE-ACF7-59E2-B530-8FC4725A5BB8}"/>
                </a:ext>
              </a:extLst>
            </p:cNvPr>
            <p:cNvSpPr/>
            <p:nvPr/>
          </p:nvSpPr>
          <p:spPr>
            <a:xfrm>
              <a:off x="847499" y="4979547"/>
              <a:ext cx="207758" cy="210419"/>
            </a:xfrm>
            <a:custGeom>
              <a:avLst/>
              <a:gdLst/>
              <a:ahLst/>
              <a:cxnLst/>
              <a:rect l="l" t="t" r="r" b="b"/>
              <a:pathLst>
                <a:path w="285" h="285" extrusionOk="0">
                  <a:moveTo>
                    <a:pt x="142" y="285"/>
                  </a:moveTo>
                  <a:cubicBezTo>
                    <a:pt x="64" y="285"/>
                    <a:pt x="0" y="221"/>
                    <a:pt x="0" y="143"/>
                  </a:cubicBezTo>
                  <a:cubicBezTo>
                    <a:pt x="0" y="64"/>
                    <a:pt x="64" y="0"/>
                    <a:pt x="142" y="0"/>
                  </a:cubicBezTo>
                  <a:cubicBezTo>
                    <a:pt x="221" y="0"/>
                    <a:pt x="285" y="64"/>
                    <a:pt x="285" y="143"/>
                  </a:cubicBezTo>
                  <a:cubicBezTo>
                    <a:pt x="285" y="221"/>
                    <a:pt x="221" y="285"/>
                    <a:pt x="142" y="285"/>
                  </a:cubicBezTo>
                  <a:close/>
                  <a:moveTo>
                    <a:pt x="142" y="12"/>
                  </a:moveTo>
                  <a:cubicBezTo>
                    <a:pt x="70" y="12"/>
                    <a:pt x="12" y="71"/>
                    <a:pt x="12" y="143"/>
                  </a:cubicBezTo>
                  <a:cubicBezTo>
                    <a:pt x="12" y="214"/>
                    <a:pt x="70" y="273"/>
                    <a:pt x="142" y="273"/>
                  </a:cubicBezTo>
                  <a:cubicBezTo>
                    <a:pt x="214" y="273"/>
                    <a:pt x="273" y="214"/>
                    <a:pt x="273" y="143"/>
                  </a:cubicBezTo>
                  <a:cubicBezTo>
                    <a:pt x="273" y="71"/>
                    <a:pt x="214" y="12"/>
                    <a:pt x="142" y="12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70" name="Google Shape;1817;p32">
              <a:extLst>
                <a:ext uri="{FF2B5EF4-FFF2-40B4-BE49-F238E27FC236}">
                  <a16:creationId xmlns:a16="http://schemas.microsoft.com/office/drawing/2014/main" id="{0634FCCF-4E39-0C32-6CA9-B734EE2D0024}"/>
                </a:ext>
              </a:extLst>
            </p:cNvPr>
            <p:cNvSpPr/>
            <p:nvPr/>
          </p:nvSpPr>
          <p:spPr>
            <a:xfrm>
              <a:off x="1007312" y="5139359"/>
              <a:ext cx="106542" cy="109204"/>
            </a:xfrm>
            <a:custGeom>
              <a:avLst/>
              <a:gdLst/>
              <a:ahLst/>
              <a:cxnLst/>
              <a:rect l="l" t="t" r="r" b="b"/>
              <a:pathLst>
                <a:path w="145" h="146" extrusionOk="0">
                  <a:moveTo>
                    <a:pt x="119" y="146"/>
                  </a:moveTo>
                  <a:cubicBezTo>
                    <a:pt x="112" y="146"/>
                    <a:pt x="105" y="143"/>
                    <a:pt x="100" y="138"/>
                  </a:cubicBezTo>
                  <a:cubicBezTo>
                    <a:pt x="2" y="40"/>
                    <a:pt x="2" y="40"/>
                    <a:pt x="2" y="40"/>
                  </a:cubicBezTo>
                  <a:cubicBezTo>
                    <a:pt x="0" y="38"/>
                    <a:pt x="0" y="34"/>
                    <a:pt x="2" y="3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4" y="0"/>
                    <a:pt x="38" y="0"/>
                    <a:pt x="40" y="3"/>
                  </a:cubicBezTo>
                  <a:cubicBezTo>
                    <a:pt x="138" y="100"/>
                    <a:pt x="138" y="100"/>
                    <a:pt x="138" y="100"/>
                  </a:cubicBezTo>
                  <a:cubicBezTo>
                    <a:pt x="143" y="105"/>
                    <a:pt x="145" y="112"/>
                    <a:pt x="145" y="119"/>
                  </a:cubicBezTo>
                  <a:cubicBezTo>
                    <a:pt x="145" y="126"/>
                    <a:pt x="143" y="133"/>
                    <a:pt x="138" y="138"/>
                  </a:cubicBezTo>
                  <a:cubicBezTo>
                    <a:pt x="132" y="143"/>
                    <a:pt x="126" y="146"/>
                    <a:pt x="119" y="146"/>
                  </a:cubicBezTo>
                  <a:close/>
                  <a:moveTo>
                    <a:pt x="15" y="36"/>
                  </a:moveTo>
                  <a:cubicBezTo>
                    <a:pt x="109" y="129"/>
                    <a:pt x="109" y="129"/>
                    <a:pt x="109" y="129"/>
                  </a:cubicBezTo>
                  <a:cubicBezTo>
                    <a:pt x="109" y="129"/>
                    <a:pt x="109" y="129"/>
                    <a:pt x="109" y="129"/>
                  </a:cubicBezTo>
                  <a:cubicBezTo>
                    <a:pt x="114" y="135"/>
                    <a:pt x="123" y="135"/>
                    <a:pt x="129" y="129"/>
                  </a:cubicBezTo>
                  <a:cubicBezTo>
                    <a:pt x="132" y="126"/>
                    <a:pt x="133" y="123"/>
                    <a:pt x="133" y="119"/>
                  </a:cubicBezTo>
                  <a:cubicBezTo>
                    <a:pt x="133" y="115"/>
                    <a:pt x="132" y="112"/>
                    <a:pt x="129" y="109"/>
                  </a:cubicBezTo>
                  <a:cubicBezTo>
                    <a:pt x="36" y="16"/>
                    <a:pt x="36" y="16"/>
                    <a:pt x="36" y="16"/>
                  </a:cubicBezTo>
                  <a:lnTo>
                    <a:pt x="15" y="36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71" name="Google Shape;1818;p32">
              <a:extLst>
                <a:ext uri="{FF2B5EF4-FFF2-40B4-BE49-F238E27FC236}">
                  <a16:creationId xmlns:a16="http://schemas.microsoft.com/office/drawing/2014/main" id="{6370EC88-0D1A-BF5F-418D-9C117B6B0B5E}"/>
                </a:ext>
              </a:extLst>
            </p:cNvPr>
            <p:cNvSpPr/>
            <p:nvPr/>
          </p:nvSpPr>
          <p:spPr>
            <a:xfrm>
              <a:off x="882124" y="5014172"/>
              <a:ext cx="74579" cy="74578"/>
            </a:xfrm>
            <a:custGeom>
              <a:avLst/>
              <a:gdLst/>
              <a:ahLst/>
              <a:cxnLst/>
              <a:rect l="l" t="t" r="r" b="b"/>
              <a:pathLst>
                <a:path w="99" h="100" extrusionOk="0">
                  <a:moveTo>
                    <a:pt x="6" y="100"/>
                  </a:moveTo>
                  <a:cubicBezTo>
                    <a:pt x="3" y="100"/>
                    <a:pt x="0" y="97"/>
                    <a:pt x="0" y="94"/>
                  </a:cubicBezTo>
                  <a:cubicBezTo>
                    <a:pt x="0" y="42"/>
                    <a:pt x="42" y="0"/>
                    <a:pt x="93" y="0"/>
                  </a:cubicBezTo>
                  <a:cubicBezTo>
                    <a:pt x="97" y="0"/>
                    <a:pt x="99" y="3"/>
                    <a:pt x="99" y="6"/>
                  </a:cubicBezTo>
                  <a:cubicBezTo>
                    <a:pt x="99" y="10"/>
                    <a:pt x="97" y="12"/>
                    <a:pt x="93" y="12"/>
                  </a:cubicBezTo>
                  <a:cubicBezTo>
                    <a:pt x="48" y="12"/>
                    <a:pt x="12" y="49"/>
                    <a:pt x="12" y="94"/>
                  </a:cubicBezTo>
                  <a:cubicBezTo>
                    <a:pt x="12" y="97"/>
                    <a:pt x="9" y="100"/>
                    <a:pt x="6" y="10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</p:grpSp>
      <p:sp>
        <p:nvSpPr>
          <p:cNvPr id="272" name="Google Shape;1819;p32">
            <a:extLst>
              <a:ext uri="{FF2B5EF4-FFF2-40B4-BE49-F238E27FC236}">
                <a16:creationId xmlns:a16="http://schemas.microsoft.com/office/drawing/2014/main" id="{017EA663-2402-072A-492D-93B406EE788F}"/>
              </a:ext>
            </a:extLst>
          </p:cNvPr>
          <p:cNvSpPr txBox="1"/>
          <p:nvPr/>
        </p:nvSpPr>
        <p:spPr>
          <a:xfrm>
            <a:off x="7022605" y="1746353"/>
            <a:ext cx="2391933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r>
              <a:rPr lang="en-US" sz="1600" b="1" dirty="0">
                <a:ea typeface="Trebuchet MS"/>
                <a:cs typeface="Arial" panose="020B0604020202020204" pitchFamily="34" charset="0"/>
                <a:sym typeface="Trebuchet MS"/>
              </a:rPr>
              <a:t>10:30 – 11:25</a:t>
            </a:r>
            <a:endParaRPr sz="1600" dirty="0"/>
          </a:p>
        </p:txBody>
      </p:sp>
      <p:sp>
        <p:nvSpPr>
          <p:cNvPr id="214" name="Google Shape;1761;p32">
            <a:extLst>
              <a:ext uri="{FF2B5EF4-FFF2-40B4-BE49-F238E27FC236}">
                <a16:creationId xmlns:a16="http://schemas.microsoft.com/office/drawing/2014/main" id="{0E1DE8AA-C3D5-6DF8-DB79-0A086FFF4888}"/>
              </a:ext>
            </a:extLst>
          </p:cNvPr>
          <p:cNvSpPr txBox="1"/>
          <p:nvPr/>
        </p:nvSpPr>
        <p:spPr>
          <a:xfrm>
            <a:off x="8875846" y="3469301"/>
            <a:ext cx="2625591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chemeClr val="dk1"/>
              </a:buClr>
              <a:buSzPts val="1200"/>
            </a:pPr>
            <a:r>
              <a:rPr lang="en-US" sz="1600" dirty="0"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600" dirty="0"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251" name="Google Shape;1798;p32">
            <a:extLst>
              <a:ext uri="{FF2B5EF4-FFF2-40B4-BE49-F238E27FC236}">
                <a16:creationId xmlns:a16="http://schemas.microsoft.com/office/drawing/2014/main" id="{EC564270-AB45-A104-0587-56D8E633ECA4}"/>
              </a:ext>
            </a:extLst>
          </p:cNvPr>
          <p:cNvSpPr txBox="1"/>
          <p:nvPr/>
        </p:nvSpPr>
        <p:spPr>
          <a:xfrm>
            <a:off x="8875846" y="5188492"/>
            <a:ext cx="2625591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chemeClr val="dk1"/>
              </a:buClr>
              <a:buSzPts val="1200"/>
            </a:pPr>
            <a:r>
              <a:rPr lang="en-US" sz="1600" dirty="0"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600" dirty="0"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273" name="Google Shape;1820;p32">
            <a:extLst>
              <a:ext uri="{FF2B5EF4-FFF2-40B4-BE49-F238E27FC236}">
                <a16:creationId xmlns:a16="http://schemas.microsoft.com/office/drawing/2014/main" id="{6DE8F4DB-C588-0F06-D530-1260CAEFE368}"/>
              </a:ext>
            </a:extLst>
          </p:cNvPr>
          <p:cNvSpPr txBox="1"/>
          <p:nvPr/>
        </p:nvSpPr>
        <p:spPr>
          <a:xfrm>
            <a:off x="8879742" y="1749833"/>
            <a:ext cx="2625591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chemeClr val="dk1"/>
              </a:buClr>
              <a:buSzPts val="1200"/>
            </a:pPr>
            <a:r>
              <a:rPr lang="en-US" sz="1600" dirty="0"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600" dirty="0"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274" name="Google Shape;1821;p32">
            <a:extLst>
              <a:ext uri="{FF2B5EF4-FFF2-40B4-BE49-F238E27FC236}">
                <a16:creationId xmlns:a16="http://schemas.microsoft.com/office/drawing/2014/main" id="{3AB166C1-A066-106E-058A-37748D859939}"/>
              </a:ext>
            </a:extLst>
          </p:cNvPr>
          <p:cNvSpPr/>
          <p:nvPr/>
        </p:nvSpPr>
        <p:spPr>
          <a:xfrm rot="10800000">
            <a:off x="6010251" y="1532926"/>
            <a:ext cx="673068" cy="67306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4000" dirty="0">
              <a:solidFill>
                <a:schemeClr val="dk1"/>
              </a:solidFill>
              <a:cs typeface="Arial" panose="020B0604020202020204" pitchFamily="34" charset="0"/>
              <a:sym typeface="Trebuchet MS"/>
            </a:endParaRPr>
          </a:p>
        </p:txBody>
      </p:sp>
      <p:grpSp>
        <p:nvGrpSpPr>
          <p:cNvPr id="275" name="Group 274">
            <a:extLst>
              <a:ext uri="{FF2B5EF4-FFF2-40B4-BE49-F238E27FC236}">
                <a16:creationId xmlns:a16="http://schemas.microsoft.com/office/drawing/2014/main" id="{67B6EAA2-2EB5-B1EA-1EB4-C231656ED1D2}"/>
              </a:ext>
            </a:extLst>
          </p:cNvPr>
          <p:cNvGrpSpPr/>
          <p:nvPr/>
        </p:nvGrpSpPr>
        <p:grpSpPr>
          <a:xfrm>
            <a:off x="6149874" y="1674188"/>
            <a:ext cx="393828" cy="390544"/>
            <a:chOff x="6665322" y="2301465"/>
            <a:chExt cx="304838" cy="302297"/>
          </a:xfrm>
        </p:grpSpPr>
        <p:sp>
          <p:nvSpPr>
            <p:cNvPr id="276" name="Google Shape;1823;p32">
              <a:extLst>
                <a:ext uri="{FF2B5EF4-FFF2-40B4-BE49-F238E27FC236}">
                  <a16:creationId xmlns:a16="http://schemas.microsoft.com/office/drawing/2014/main" id="{576015C6-76C3-F18B-205B-F87DBBBDFE47}"/>
                </a:ext>
              </a:extLst>
            </p:cNvPr>
            <p:cNvSpPr/>
            <p:nvPr/>
          </p:nvSpPr>
          <p:spPr>
            <a:xfrm flipH="1">
              <a:off x="6738990" y="2372593"/>
              <a:ext cx="160040" cy="160041"/>
            </a:xfrm>
            <a:custGeom>
              <a:avLst/>
              <a:gdLst/>
              <a:ahLst/>
              <a:cxnLst/>
              <a:rect l="l" t="t" r="r" b="b"/>
              <a:pathLst>
                <a:path w="228" h="228" extrusionOk="0">
                  <a:moveTo>
                    <a:pt x="114" y="228"/>
                  </a:moveTo>
                  <a:cubicBezTo>
                    <a:pt x="51" y="228"/>
                    <a:pt x="0" y="177"/>
                    <a:pt x="0" y="114"/>
                  </a:cubicBezTo>
                  <a:cubicBezTo>
                    <a:pt x="0" y="51"/>
                    <a:pt x="51" y="0"/>
                    <a:pt x="114" y="0"/>
                  </a:cubicBezTo>
                  <a:cubicBezTo>
                    <a:pt x="177" y="0"/>
                    <a:pt x="228" y="51"/>
                    <a:pt x="228" y="114"/>
                  </a:cubicBezTo>
                  <a:cubicBezTo>
                    <a:pt x="228" y="177"/>
                    <a:pt x="177" y="228"/>
                    <a:pt x="114" y="228"/>
                  </a:cubicBezTo>
                  <a:close/>
                  <a:moveTo>
                    <a:pt x="114" y="12"/>
                  </a:moveTo>
                  <a:cubicBezTo>
                    <a:pt x="58" y="12"/>
                    <a:pt x="12" y="58"/>
                    <a:pt x="12" y="114"/>
                  </a:cubicBezTo>
                  <a:cubicBezTo>
                    <a:pt x="12" y="170"/>
                    <a:pt x="58" y="216"/>
                    <a:pt x="114" y="216"/>
                  </a:cubicBezTo>
                  <a:cubicBezTo>
                    <a:pt x="170" y="216"/>
                    <a:pt x="216" y="170"/>
                    <a:pt x="216" y="114"/>
                  </a:cubicBezTo>
                  <a:cubicBezTo>
                    <a:pt x="216" y="58"/>
                    <a:pt x="170" y="12"/>
                    <a:pt x="114" y="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77" name="Google Shape;1824;p32">
              <a:extLst>
                <a:ext uri="{FF2B5EF4-FFF2-40B4-BE49-F238E27FC236}">
                  <a16:creationId xmlns:a16="http://schemas.microsoft.com/office/drawing/2014/main" id="{6D905437-9B36-C756-EED7-919D71E4CE49}"/>
                </a:ext>
              </a:extLst>
            </p:cNvPr>
            <p:cNvSpPr/>
            <p:nvPr/>
          </p:nvSpPr>
          <p:spPr>
            <a:xfrm flipH="1">
              <a:off x="6665322" y="2301465"/>
              <a:ext cx="304838" cy="302297"/>
            </a:xfrm>
            <a:custGeom>
              <a:avLst/>
              <a:gdLst/>
              <a:ahLst/>
              <a:cxnLst/>
              <a:rect l="l" t="t" r="r" b="b"/>
              <a:pathLst>
                <a:path w="432" h="432" extrusionOk="0">
                  <a:moveTo>
                    <a:pt x="229" y="432"/>
                  </a:moveTo>
                  <a:cubicBezTo>
                    <a:pt x="204" y="432"/>
                    <a:pt x="204" y="432"/>
                    <a:pt x="204" y="432"/>
                  </a:cubicBezTo>
                  <a:cubicBezTo>
                    <a:pt x="186" y="432"/>
                    <a:pt x="172" y="418"/>
                    <a:pt x="172" y="401"/>
                  </a:cubicBezTo>
                  <a:cubicBezTo>
                    <a:pt x="172" y="379"/>
                    <a:pt x="172" y="379"/>
                    <a:pt x="172" y="379"/>
                  </a:cubicBezTo>
                  <a:cubicBezTo>
                    <a:pt x="158" y="375"/>
                    <a:pt x="145" y="369"/>
                    <a:pt x="132" y="362"/>
                  </a:cubicBezTo>
                  <a:cubicBezTo>
                    <a:pt x="116" y="378"/>
                    <a:pt x="116" y="378"/>
                    <a:pt x="116" y="378"/>
                  </a:cubicBezTo>
                  <a:cubicBezTo>
                    <a:pt x="104" y="390"/>
                    <a:pt x="84" y="390"/>
                    <a:pt x="72" y="378"/>
                  </a:cubicBezTo>
                  <a:cubicBezTo>
                    <a:pt x="54" y="360"/>
                    <a:pt x="54" y="360"/>
                    <a:pt x="54" y="360"/>
                  </a:cubicBezTo>
                  <a:cubicBezTo>
                    <a:pt x="48" y="354"/>
                    <a:pt x="45" y="346"/>
                    <a:pt x="45" y="338"/>
                  </a:cubicBezTo>
                  <a:cubicBezTo>
                    <a:pt x="45" y="329"/>
                    <a:pt x="48" y="322"/>
                    <a:pt x="54" y="316"/>
                  </a:cubicBezTo>
                  <a:cubicBezTo>
                    <a:pt x="70" y="300"/>
                    <a:pt x="70" y="300"/>
                    <a:pt x="70" y="300"/>
                  </a:cubicBezTo>
                  <a:cubicBezTo>
                    <a:pt x="63" y="287"/>
                    <a:pt x="57" y="274"/>
                    <a:pt x="53" y="260"/>
                  </a:cubicBezTo>
                  <a:cubicBezTo>
                    <a:pt x="31" y="260"/>
                    <a:pt x="31" y="260"/>
                    <a:pt x="31" y="260"/>
                  </a:cubicBezTo>
                  <a:cubicBezTo>
                    <a:pt x="14" y="260"/>
                    <a:pt x="0" y="246"/>
                    <a:pt x="0" y="228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0" y="186"/>
                    <a:pt x="14" y="172"/>
                    <a:pt x="31" y="172"/>
                  </a:cubicBezTo>
                  <a:cubicBezTo>
                    <a:pt x="53" y="172"/>
                    <a:pt x="53" y="172"/>
                    <a:pt x="53" y="172"/>
                  </a:cubicBezTo>
                  <a:cubicBezTo>
                    <a:pt x="57" y="158"/>
                    <a:pt x="63" y="144"/>
                    <a:pt x="70" y="132"/>
                  </a:cubicBezTo>
                  <a:cubicBezTo>
                    <a:pt x="54" y="116"/>
                    <a:pt x="54" y="116"/>
                    <a:pt x="54" y="116"/>
                  </a:cubicBezTo>
                  <a:cubicBezTo>
                    <a:pt x="48" y="110"/>
                    <a:pt x="45" y="102"/>
                    <a:pt x="45" y="94"/>
                  </a:cubicBezTo>
                  <a:cubicBezTo>
                    <a:pt x="45" y="85"/>
                    <a:pt x="48" y="78"/>
                    <a:pt x="54" y="72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84" y="42"/>
                    <a:pt x="104" y="42"/>
                    <a:pt x="116" y="54"/>
                  </a:cubicBezTo>
                  <a:cubicBezTo>
                    <a:pt x="132" y="70"/>
                    <a:pt x="132" y="70"/>
                    <a:pt x="132" y="70"/>
                  </a:cubicBezTo>
                  <a:cubicBezTo>
                    <a:pt x="145" y="62"/>
                    <a:pt x="158" y="57"/>
                    <a:pt x="172" y="53"/>
                  </a:cubicBezTo>
                  <a:cubicBezTo>
                    <a:pt x="172" y="31"/>
                    <a:pt x="172" y="31"/>
                    <a:pt x="172" y="31"/>
                  </a:cubicBezTo>
                  <a:cubicBezTo>
                    <a:pt x="172" y="14"/>
                    <a:pt x="186" y="0"/>
                    <a:pt x="204" y="0"/>
                  </a:cubicBezTo>
                  <a:cubicBezTo>
                    <a:pt x="229" y="0"/>
                    <a:pt x="229" y="0"/>
                    <a:pt x="229" y="0"/>
                  </a:cubicBezTo>
                  <a:cubicBezTo>
                    <a:pt x="246" y="0"/>
                    <a:pt x="260" y="14"/>
                    <a:pt x="260" y="31"/>
                  </a:cubicBezTo>
                  <a:cubicBezTo>
                    <a:pt x="260" y="53"/>
                    <a:pt x="260" y="53"/>
                    <a:pt x="260" y="53"/>
                  </a:cubicBezTo>
                  <a:cubicBezTo>
                    <a:pt x="274" y="57"/>
                    <a:pt x="288" y="62"/>
                    <a:pt x="300" y="70"/>
                  </a:cubicBezTo>
                  <a:cubicBezTo>
                    <a:pt x="316" y="54"/>
                    <a:pt x="316" y="54"/>
                    <a:pt x="316" y="54"/>
                  </a:cubicBezTo>
                  <a:cubicBezTo>
                    <a:pt x="328" y="42"/>
                    <a:pt x="348" y="42"/>
                    <a:pt x="360" y="54"/>
                  </a:cubicBezTo>
                  <a:cubicBezTo>
                    <a:pt x="378" y="72"/>
                    <a:pt x="378" y="72"/>
                    <a:pt x="378" y="72"/>
                  </a:cubicBezTo>
                  <a:cubicBezTo>
                    <a:pt x="384" y="78"/>
                    <a:pt x="387" y="85"/>
                    <a:pt x="387" y="94"/>
                  </a:cubicBezTo>
                  <a:cubicBezTo>
                    <a:pt x="387" y="102"/>
                    <a:pt x="384" y="110"/>
                    <a:pt x="378" y="116"/>
                  </a:cubicBezTo>
                  <a:cubicBezTo>
                    <a:pt x="362" y="132"/>
                    <a:pt x="362" y="132"/>
                    <a:pt x="362" y="132"/>
                  </a:cubicBezTo>
                  <a:cubicBezTo>
                    <a:pt x="370" y="144"/>
                    <a:pt x="375" y="158"/>
                    <a:pt x="379" y="172"/>
                  </a:cubicBezTo>
                  <a:cubicBezTo>
                    <a:pt x="401" y="172"/>
                    <a:pt x="401" y="172"/>
                    <a:pt x="401" y="172"/>
                  </a:cubicBezTo>
                  <a:cubicBezTo>
                    <a:pt x="418" y="172"/>
                    <a:pt x="432" y="186"/>
                    <a:pt x="432" y="203"/>
                  </a:cubicBezTo>
                  <a:cubicBezTo>
                    <a:pt x="432" y="228"/>
                    <a:pt x="432" y="228"/>
                    <a:pt x="432" y="228"/>
                  </a:cubicBezTo>
                  <a:cubicBezTo>
                    <a:pt x="432" y="246"/>
                    <a:pt x="418" y="260"/>
                    <a:pt x="401" y="260"/>
                  </a:cubicBezTo>
                  <a:cubicBezTo>
                    <a:pt x="379" y="260"/>
                    <a:pt x="379" y="260"/>
                    <a:pt x="379" y="260"/>
                  </a:cubicBezTo>
                  <a:cubicBezTo>
                    <a:pt x="375" y="274"/>
                    <a:pt x="370" y="287"/>
                    <a:pt x="362" y="300"/>
                  </a:cubicBezTo>
                  <a:cubicBezTo>
                    <a:pt x="378" y="316"/>
                    <a:pt x="378" y="316"/>
                    <a:pt x="378" y="316"/>
                  </a:cubicBezTo>
                  <a:cubicBezTo>
                    <a:pt x="384" y="322"/>
                    <a:pt x="387" y="329"/>
                    <a:pt x="387" y="338"/>
                  </a:cubicBezTo>
                  <a:cubicBezTo>
                    <a:pt x="387" y="346"/>
                    <a:pt x="384" y="354"/>
                    <a:pt x="378" y="360"/>
                  </a:cubicBezTo>
                  <a:cubicBezTo>
                    <a:pt x="360" y="378"/>
                    <a:pt x="360" y="378"/>
                    <a:pt x="360" y="378"/>
                  </a:cubicBezTo>
                  <a:cubicBezTo>
                    <a:pt x="348" y="390"/>
                    <a:pt x="328" y="390"/>
                    <a:pt x="316" y="378"/>
                  </a:cubicBezTo>
                  <a:cubicBezTo>
                    <a:pt x="300" y="362"/>
                    <a:pt x="300" y="362"/>
                    <a:pt x="300" y="362"/>
                  </a:cubicBezTo>
                  <a:cubicBezTo>
                    <a:pt x="288" y="369"/>
                    <a:pt x="274" y="375"/>
                    <a:pt x="260" y="379"/>
                  </a:cubicBezTo>
                  <a:cubicBezTo>
                    <a:pt x="260" y="401"/>
                    <a:pt x="260" y="401"/>
                    <a:pt x="260" y="401"/>
                  </a:cubicBezTo>
                  <a:cubicBezTo>
                    <a:pt x="260" y="418"/>
                    <a:pt x="246" y="432"/>
                    <a:pt x="229" y="432"/>
                  </a:cubicBezTo>
                  <a:close/>
                  <a:moveTo>
                    <a:pt x="131" y="348"/>
                  </a:moveTo>
                  <a:cubicBezTo>
                    <a:pt x="132" y="348"/>
                    <a:pt x="133" y="349"/>
                    <a:pt x="134" y="349"/>
                  </a:cubicBezTo>
                  <a:cubicBezTo>
                    <a:pt x="148" y="358"/>
                    <a:pt x="164" y="364"/>
                    <a:pt x="180" y="368"/>
                  </a:cubicBezTo>
                  <a:cubicBezTo>
                    <a:pt x="183" y="369"/>
                    <a:pt x="185" y="371"/>
                    <a:pt x="185" y="374"/>
                  </a:cubicBezTo>
                  <a:cubicBezTo>
                    <a:pt x="185" y="401"/>
                    <a:pt x="185" y="401"/>
                    <a:pt x="185" y="401"/>
                  </a:cubicBezTo>
                  <a:cubicBezTo>
                    <a:pt x="185" y="411"/>
                    <a:pt x="193" y="420"/>
                    <a:pt x="204" y="420"/>
                  </a:cubicBezTo>
                  <a:cubicBezTo>
                    <a:pt x="229" y="420"/>
                    <a:pt x="229" y="420"/>
                    <a:pt x="229" y="420"/>
                  </a:cubicBezTo>
                  <a:cubicBezTo>
                    <a:pt x="239" y="420"/>
                    <a:pt x="248" y="411"/>
                    <a:pt x="248" y="401"/>
                  </a:cubicBezTo>
                  <a:cubicBezTo>
                    <a:pt x="248" y="374"/>
                    <a:pt x="248" y="374"/>
                    <a:pt x="248" y="374"/>
                  </a:cubicBezTo>
                  <a:cubicBezTo>
                    <a:pt x="248" y="371"/>
                    <a:pt x="250" y="369"/>
                    <a:pt x="252" y="368"/>
                  </a:cubicBezTo>
                  <a:cubicBezTo>
                    <a:pt x="269" y="364"/>
                    <a:pt x="284" y="358"/>
                    <a:pt x="298" y="349"/>
                  </a:cubicBezTo>
                  <a:cubicBezTo>
                    <a:pt x="301" y="348"/>
                    <a:pt x="304" y="348"/>
                    <a:pt x="306" y="350"/>
                  </a:cubicBezTo>
                  <a:cubicBezTo>
                    <a:pt x="325" y="369"/>
                    <a:pt x="325" y="369"/>
                    <a:pt x="325" y="369"/>
                  </a:cubicBezTo>
                  <a:cubicBezTo>
                    <a:pt x="332" y="376"/>
                    <a:pt x="344" y="376"/>
                    <a:pt x="352" y="369"/>
                  </a:cubicBezTo>
                  <a:cubicBezTo>
                    <a:pt x="369" y="351"/>
                    <a:pt x="369" y="351"/>
                    <a:pt x="369" y="351"/>
                  </a:cubicBezTo>
                  <a:cubicBezTo>
                    <a:pt x="377" y="344"/>
                    <a:pt x="377" y="332"/>
                    <a:pt x="369" y="324"/>
                  </a:cubicBezTo>
                  <a:cubicBezTo>
                    <a:pt x="351" y="306"/>
                    <a:pt x="351" y="306"/>
                    <a:pt x="351" y="306"/>
                  </a:cubicBezTo>
                  <a:cubicBezTo>
                    <a:pt x="349" y="304"/>
                    <a:pt x="348" y="302"/>
                    <a:pt x="349" y="299"/>
                  </a:cubicBezTo>
                  <a:cubicBezTo>
                    <a:pt x="349" y="299"/>
                    <a:pt x="349" y="298"/>
                    <a:pt x="349" y="298"/>
                  </a:cubicBezTo>
                  <a:cubicBezTo>
                    <a:pt x="358" y="284"/>
                    <a:pt x="364" y="268"/>
                    <a:pt x="368" y="252"/>
                  </a:cubicBezTo>
                  <a:cubicBezTo>
                    <a:pt x="369" y="249"/>
                    <a:pt x="371" y="247"/>
                    <a:pt x="374" y="247"/>
                  </a:cubicBezTo>
                  <a:cubicBezTo>
                    <a:pt x="401" y="247"/>
                    <a:pt x="401" y="247"/>
                    <a:pt x="401" y="247"/>
                  </a:cubicBezTo>
                  <a:cubicBezTo>
                    <a:pt x="412" y="247"/>
                    <a:pt x="420" y="239"/>
                    <a:pt x="420" y="228"/>
                  </a:cubicBezTo>
                  <a:cubicBezTo>
                    <a:pt x="420" y="203"/>
                    <a:pt x="420" y="203"/>
                    <a:pt x="420" y="203"/>
                  </a:cubicBezTo>
                  <a:cubicBezTo>
                    <a:pt x="420" y="193"/>
                    <a:pt x="412" y="184"/>
                    <a:pt x="401" y="184"/>
                  </a:cubicBezTo>
                  <a:cubicBezTo>
                    <a:pt x="374" y="184"/>
                    <a:pt x="374" y="184"/>
                    <a:pt x="374" y="184"/>
                  </a:cubicBezTo>
                  <a:cubicBezTo>
                    <a:pt x="371" y="184"/>
                    <a:pt x="369" y="182"/>
                    <a:pt x="368" y="180"/>
                  </a:cubicBezTo>
                  <a:cubicBezTo>
                    <a:pt x="364" y="163"/>
                    <a:pt x="358" y="148"/>
                    <a:pt x="349" y="134"/>
                  </a:cubicBezTo>
                  <a:cubicBezTo>
                    <a:pt x="348" y="131"/>
                    <a:pt x="348" y="128"/>
                    <a:pt x="350" y="126"/>
                  </a:cubicBezTo>
                  <a:cubicBezTo>
                    <a:pt x="369" y="107"/>
                    <a:pt x="369" y="107"/>
                    <a:pt x="369" y="107"/>
                  </a:cubicBezTo>
                  <a:cubicBezTo>
                    <a:pt x="377" y="100"/>
                    <a:pt x="377" y="88"/>
                    <a:pt x="369" y="80"/>
                  </a:cubicBezTo>
                  <a:cubicBezTo>
                    <a:pt x="352" y="63"/>
                    <a:pt x="352" y="63"/>
                    <a:pt x="352" y="63"/>
                  </a:cubicBezTo>
                  <a:cubicBezTo>
                    <a:pt x="344" y="55"/>
                    <a:pt x="332" y="55"/>
                    <a:pt x="325" y="63"/>
                  </a:cubicBezTo>
                  <a:cubicBezTo>
                    <a:pt x="306" y="82"/>
                    <a:pt x="306" y="82"/>
                    <a:pt x="306" y="82"/>
                  </a:cubicBezTo>
                  <a:cubicBezTo>
                    <a:pt x="304" y="84"/>
                    <a:pt x="300" y="84"/>
                    <a:pt x="298" y="83"/>
                  </a:cubicBezTo>
                  <a:cubicBezTo>
                    <a:pt x="284" y="74"/>
                    <a:pt x="269" y="68"/>
                    <a:pt x="252" y="64"/>
                  </a:cubicBezTo>
                  <a:cubicBezTo>
                    <a:pt x="250" y="63"/>
                    <a:pt x="248" y="61"/>
                    <a:pt x="248" y="58"/>
                  </a:cubicBezTo>
                  <a:cubicBezTo>
                    <a:pt x="248" y="31"/>
                    <a:pt x="248" y="31"/>
                    <a:pt x="248" y="31"/>
                  </a:cubicBezTo>
                  <a:cubicBezTo>
                    <a:pt x="248" y="20"/>
                    <a:pt x="239" y="12"/>
                    <a:pt x="229" y="12"/>
                  </a:cubicBezTo>
                  <a:cubicBezTo>
                    <a:pt x="204" y="12"/>
                    <a:pt x="204" y="12"/>
                    <a:pt x="204" y="12"/>
                  </a:cubicBezTo>
                  <a:cubicBezTo>
                    <a:pt x="193" y="12"/>
                    <a:pt x="185" y="20"/>
                    <a:pt x="185" y="31"/>
                  </a:cubicBezTo>
                  <a:cubicBezTo>
                    <a:pt x="185" y="58"/>
                    <a:pt x="185" y="58"/>
                    <a:pt x="185" y="58"/>
                  </a:cubicBezTo>
                  <a:cubicBezTo>
                    <a:pt x="185" y="61"/>
                    <a:pt x="183" y="63"/>
                    <a:pt x="180" y="64"/>
                  </a:cubicBezTo>
                  <a:cubicBezTo>
                    <a:pt x="164" y="68"/>
                    <a:pt x="148" y="74"/>
                    <a:pt x="134" y="83"/>
                  </a:cubicBezTo>
                  <a:cubicBezTo>
                    <a:pt x="132" y="84"/>
                    <a:pt x="129" y="84"/>
                    <a:pt x="127" y="82"/>
                  </a:cubicBezTo>
                  <a:cubicBezTo>
                    <a:pt x="108" y="63"/>
                    <a:pt x="108" y="63"/>
                    <a:pt x="108" y="63"/>
                  </a:cubicBezTo>
                  <a:cubicBezTo>
                    <a:pt x="100" y="55"/>
                    <a:pt x="88" y="55"/>
                    <a:pt x="81" y="63"/>
                  </a:cubicBezTo>
                  <a:cubicBezTo>
                    <a:pt x="63" y="80"/>
                    <a:pt x="63" y="80"/>
                    <a:pt x="63" y="80"/>
                  </a:cubicBezTo>
                  <a:cubicBezTo>
                    <a:pt x="59" y="84"/>
                    <a:pt x="57" y="89"/>
                    <a:pt x="57" y="94"/>
                  </a:cubicBezTo>
                  <a:cubicBezTo>
                    <a:pt x="57" y="99"/>
                    <a:pt x="59" y="104"/>
                    <a:pt x="63" y="107"/>
                  </a:cubicBezTo>
                  <a:cubicBezTo>
                    <a:pt x="82" y="126"/>
                    <a:pt x="82" y="126"/>
                    <a:pt x="82" y="126"/>
                  </a:cubicBezTo>
                  <a:cubicBezTo>
                    <a:pt x="84" y="128"/>
                    <a:pt x="84" y="131"/>
                    <a:pt x="83" y="134"/>
                  </a:cubicBezTo>
                  <a:cubicBezTo>
                    <a:pt x="74" y="148"/>
                    <a:pt x="68" y="163"/>
                    <a:pt x="64" y="180"/>
                  </a:cubicBezTo>
                  <a:cubicBezTo>
                    <a:pt x="63" y="182"/>
                    <a:pt x="61" y="184"/>
                    <a:pt x="58" y="184"/>
                  </a:cubicBezTo>
                  <a:cubicBezTo>
                    <a:pt x="31" y="184"/>
                    <a:pt x="31" y="184"/>
                    <a:pt x="31" y="184"/>
                  </a:cubicBezTo>
                  <a:cubicBezTo>
                    <a:pt x="21" y="184"/>
                    <a:pt x="12" y="193"/>
                    <a:pt x="12" y="203"/>
                  </a:cubicBezTo>
                  <a:cubicBezTo>
                    <a:pt x="12" y="228"/>
                    <a:pt x="12" y="228"/>
                    <a:pt x="12" y="228"/>
                  </a:cubicBezTo>
                  <a:cubicBezTo>
                    <a:pt x="12" y="239"/>
                    <a:pt x="21" y="247"/>
                    <a:pt x="31" y="247"/>
                  </a:cubicBezTo>
                  <a:cubicBezTo>
                    <a:pt x="58" y="247"/>
                    <a:pt x="58" y="247"/>
                    <a:pt x="58" y="247"/>
                  </a:cubicBezTo>
                  <a:cubicBezTo>
                    <a:pt x="61" y="247"/>
                    <a:pt x="63" y="249"/>
                    <a:pt x="64" y="252"/>
                  </a:cubicBezTo>
                  <a:cubicBezTo>
                    <a:pt x="68" y="268"/>
                    <a:pt x="74" y="284"/>
                    <a:pt x="83" y="298"/>
                  </a:cubicBezTo>
                  <a:cubicBezTo>
                    <a:pt x="83" y="298"/>
                    <a:pt x="83" y="299"/>
                    <a:pt x="83" y="299"/>
                  </a:cubicBezTo>
                  <a:cubicBezTo>
                    <a:pt x="84" y="302"/>
                    <a:pt x="83" y="304"/>
                    <a:pt x="82" y="306"/>
                  </a:cubicBezTo>
                  <a:cubicBezTo>
                    <a:pt x="63" y="324"/>
                    <a:pt x="63" y="324"/>
                    <a:pt x="63" y="324"/>
                  </a:cubicBezTo>
                  <a:cubicBezTo>
                    <a:pt x="59" y="328"/>
                    <a:pt x="57" y="333"/>
                    <a:pt x="57" y="338"/>
                  </a:cubicBezTo>
                  <a:cubicBezTo>
                    <a:pt x="57" y="343"/>
                    <a:pt x="59" y="348"/>
                    <a:pt x="63" y="351"/>
                  </a:cubicBezTo>
                  <a:cubicBezTo>
                    <a:pt x="81" y="369"/>
                    <a:pt x="81" y="369"/>
                    <a:pt x="81" y="369"/>
                  </a:cubicBezTo>
                  <a:cubicBezTo>
                    <a:pt x="88" y="376"/>
                    <a:pt x="100" y="376"/>
                    <a:pt x="108" y="369"/>
                  </a:cubicBezTo>
                  <a:cubicBezTo>
                    <a:pt x="126" y="350"/>
                    <a:pt x="126" y="350"/>
                    <a:pt x="126" y="350"/>
                  </a:cubicBezTo>
                  <a:cubicBezTo>
                    <a:pt x="127" y="349"/>
                    <a:pt x="129" y="348"/>
                    <a:pt x="131" y="34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87004104"/>
      </p:ext>
    </p:extLst>
  </p:cSld>
  <p:clrMapOvr>
    <a:masterClrMapping/>
  </p:clrMapOvr>
</p:sld>
</file>

<file path=ppt/slides/slide2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968CBB0-1F0A-FD01-732D-F354B3D1B5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6" name="think-cell data - do not delete" hidden="1">
            <a:extLst>
              <a:ext uri="{FF2B5EF4-FFF2-40B4-BE49-F238E27FC236}">
                <a16:creationId xmlns:a16="http://schemas.microsoft.com/office/drawing/2014/main" id="{F570EF73-0AE7-D90D-010A-2668221E268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8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570EF73-0AE7-D90D-010A-2668221E26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3E972C9-B3EB-CD52-0129-54C20F9713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210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4A74592-33FD-DA42-07FC-14001CA181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Icons </a:t>
            </a:r>
          </a:p>
        </p:txBody>
      </p:sp>
      <p:grpSp>
        <p:nvGrpSpPr>
          <p:cNvPr id="29" name="Shape1_20200717_154439">
            <a:extLst>
              <a:ext uri="{FF2B5EF4-FFF2-40B4-BE49-F238E27FC236}">
                <a16:creationId xmlns:a16="http://schemas.microsoft.com/office/drawing/2014/main" id="{D79DA785-603A-1564-1ABD-77B8EB69A68A}"/>
              </a:ext>
            </a:extLst>
          </p:cNvPr>
          <p:cNvGrpSpPr>
            <a:grpSpLocks noChangeAspect="1"/>
          </p:cNvGrpSpPr>
          <p:nvPr/>
        </p:nvGrpSpPr>
        <p:grpSpPr>
          <a:xfrm>
            <a:off x="3181328" y="3821329"/>
            <a:ext cx="607116" cy="610606"/>
            <a:chOff x="-6921024" y="988797"/>
            <a:chExt cx="607116" cy="610606"/>
          </a:xfrm>
          <a:solidFill>
            <a:schemeClr val="accent1"/>
          </a:solidFill>
        </p:grpSpPr>
        <p:sp>
          <p:nvSpPr>
            <p:cNvPr id="271" name="Freeform 447">
              <a:extLst>
                <a:ext uri="{FF2B5EF4-FFF2-40B4-BE49-F238E27FC236}">
                  <a16:creationId xmlns:a16="http://schemas.microsoft.com/office/drawing/2014/main" id="{EC17CA2E-EC7C-080D-7648-45112ADA21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921024" y="988797"/>
              <a:ext cx="607116" cy="610606"/>
            </a:xfrm>
            <a:custGeom>
              <a:avLst/>
              <a:gdLst>
                <a:gd name="T0" fmla="*/ 115 w 231"/>
                <a:gd name="T1" fmla="*/ 232 h 232"/>
                <a:gd name="T2" fmla="*/ 0 w 231"/>
                <a:gd name="T3" fmla="*/ 116 h 232"/>
                <a:gd name="T4" fmla="*/ 115 w 231"/>
                <a:gd name="T5" fmla="*/ 0 h 232"/>
                <a:gd name="T6" fmla="*/ 231 w 231"/>
                <a:gd name="T7" fmla="*/ 116 h 232"/>
                <a:gd name="T8" fmla="*/ 115 w 231"/>
                <a:gd name="T9" fmla="*/ 232 h 232"/>
                <a:gd name="T10" fmla="*/ 115 w 231"/>
                <a:gd name="T11" fmla="*/ 8 h 232"/>
                <a:gd name="T12" fmla="*/ 7 w 231"/>
                <a:gd name="T13" fmla="*/ 116 h 232"/>
                <a:gd name="T14" fmla="*/ 115 w 231"/>
                <a:gd name="T15" fmla="*/ 225 h 232"/>
                <a:gd name="T16" fmla="*/ 224 w 231"/>
                <a:gd name="T17" fmla="*/ 116 h 232"/>
                <a:gd name="T18" fmla="*/ 115 w 231"/>
                <a:gd name="T19" fmla="*/ 8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1" h="232">
                  <a:moveTo>
                    <a:pt x="115" y="232"/>
                  </a:moveTo>
                  <a:cubicBezTo>
                    <a:pt x="52" y="232"/>
                    <a:pt x="0" y="180"/>
                    <a:pt x="0" y="116"/>
                  </a:cubicBezTo>
                  <a:cubicBezTo>
                    <a:pt x="0" y="52"/>
                    <a:pt x="52" y="0"/>
                    <a:pt x="115" y="0"/>
                  </a:cubicBezTo>
                  <a:cubicBezTo>
                    <a:pt x="179" y="0"/>
                    <a:pt x="231" y="52"/>
                    <a:pt x="231" y="116"/>
                  </a:cubicBezTo>
                  <a:cubicBezTo>
                    <a:pt x="231" y="180"/>
                    <a:pt x="179" y="232"/>
                    <a:pt x="115" y="232"/>
                  </a:cubicBezTo>
                  <a:close/>
                  <a:moveTo>
                    <a:pt x="115" y="8"/>
                  </a:moveTo>
                  <a:cubicBezTo>
                    <a:pt x="56" y="8"/>
                    <a:pt x="7" y="56"/>
                    <a:pt x="7" y="116"/>
                  </a:cubicBezTo>
                  <a:cubicBezTo>
                    <a:pt x="7" y="176"/>
                    <a:pt x="56" y="225"/>
                    <a:pt x="115" y="225"/>
                  </a:cubicBezTo>
                  <a:cubicBezTo>
                    <a:pt x="175" y="225"/>
                    <a:pt x="224" y="176"/>
                    <a:pt x="224" y="116"/>
                  </a:cubicBezTo>
                  <a:cubicBezTo>
                    <a:pt x="224" y="56"/>
                    <a:pt x="175" y="8"/>
                    <a:pt x="115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2" name="Freeform 448">
              <a:extLst>
                <a:ext uri="{FF2B5EF4-FFF2-40B4-BE49-F238E27FC236}">
                  <a16:creationId xmlns:a16="http://schemas.microsoft.com/office/drawing/2014/main" id="{1C2260FC-CF2F-17E0-E71D-2E45CD3B7DD8}"/>
                </a:ext>
              </a:extLst>
            </p:cNvPr>
            <p:cNvSpPr>
              <a:spLocks/>
            </p:cNvSpPr>
            <p:nvPr/>
          </p:nvSpPr>
          <p:spPr bwMode="auto">
            <a:xfrm>
              <a:off x="-6627933" y="1041133"/>
              <a:ext cx="20935" cy="59317"/>
            </a:xfrm>
            <a:custGeom>
              <a:avLst/>
              <a:gdLst>
                <a:gd name="T0" fmla="*/ 3 w 7"/>
                <a:gd name="T1" fmla="*/ 22 h 22"/>
                <a:gd name="T2" fmla="*/ 0 w 7"/>
                <a:gd name="T3" fmla="*/ 18 h 22"/>
                <a:gd name="T4" fmla="*/ 0 w 7"/>
                <a:gd name="T5" fmla="*/ 4 h 22"/>
                <a:gd name="T6" fmla="*/ 3 w 7"/>
                <a:gd name="T7" fmla="*/ 0 h 22"/>
                <a:gd name="T8" fmla="*/ 7 w 7"/>
                <a:gd name="T9" fmla="*/ 4 h 22"/>
                <a:gd name="T10" fmla="*/ 7 w 7"/>
                <a:gd name="T11" fmla="*/ 18 h 22"/>
                <a:gd name="T12" fmla="*/ 3 w 7"/>
                <a:gd name="T1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22">
                  <a:moveTo>
                    <a:pt x="3" y="22"/>
                  </a:moveTo>
                  <a:cubicBezTo>
                    <a:pt x="1" y="22"/>
                    <a:pt x="0" y="20"/>
                    <a:pt x="0" y="18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7" y="20"/>
                    <a:pt x="5" y="22"/>
                    <a:pt x="3" y="2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3" name="Freeform 449">
              <a:extLst>
                <a:ext uri="{FF2B5EF4-FFF2-40B4-BE49-F238E27FC236}">
                  <a16:creationId xmlns:a16="http://schemas.microsoft.com/office/drawing/2014/main" id="{D0E6C777-E89B-2BEF-721D-F4A4D008E1B6}"/>
                </a:ext>
              </a:extLst>
            </p:cNvPr>
            <p:cNvSpPr>
              <a:spLocks/>
            </p:cNvSpPr>
            <p:nvPr/>
          </p:nvSpPr>
          <p:spPr bwMode="auto">
            <a:xfrm>
              <a:off x="-6750053" y="1072537"/>
              <a:ext cx="38382" cy="52339"/>
            </a:xfrm>
            <a:custGeom>
              <a:avLst/>
              <a:gdLst>
                <a:gd name="T0" fmla="*/ 11 w 15"/>
                <a:gd name="T1" fmla="*/ 20 h 20"/>
                <a:gd name="T2" fmla="*/ 8 w 15"/>
                <a:gd name="T3" fmla="*/ 18 h 20"/>
                <a:gd name="T4" fmla="*/ 1 w 15"/>
                <a:gd name="T5" fmla="*/ 6 h 20"/>
                <a:gd name="T6" fmla="*/ 2 w 15"/>
                <a:gd name="T7" fmla="*/ 1 h 20"/>
                <a:gd name="T8" fmla="*/ 7 w 15"/>
                <a:gd name="T9" fmla="*/ 2 h 20"/>
                <a:gd name="T10" fmla="*/ 14 w 15"/>
                <a:gd name="T11" fmla="*/ 15 h 20"/>
                <a:gd name="T12" fmla="*/ 13 w 15"/>
                <a:gd name="T13" fmla="*/ 20 h 20"/>
                <a:gd name="T14" fmla="*/ 11 w 15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20">
                  <a:moveTo>
                    <a:pt x="11" y="20"/>
                  </a:moveTo>
                  <a:cubicBezTo>
                    <a:pt x="10" y="20"/>
                    <a:pt x="9" y="19"/>
                    <a:pt x="8" y="18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4"/>
                    <a:pt x="1" y="2"/>
                    <a:pt x="2" y="1"/>
                  </a:cubicBezTo>
                  <a:cubicBezTo>
                    <a:pt x="4" y="0"/>
                    <a:pt x="6" y="1"/>
                    <a:pt x="7" y="2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5" y="16"/>
                    <a:pt x="15" y="19"/>
                    <a:pt x="13" y="20"/>
                  </a:cubicBezTo>
                  <a:cubicBezTo>
                    <a:pt x="13" y="20"/>
                    <a:pt x="12" y="20"/>
                    <a:pt x="11" y="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4" name="Freeform 450">
              <a:extLst>
                <a:ext uri="{FF2B5EF4-FFF2-40B4-BE49-F238E27FC236}">
                  <a16:creationId xmlns:a16="http://schemas.microsoft.com/office/drawing/2014/main" id="{D9817C6D-BA4D-F250-96B6-E1100D45F3A6}"/>
                </a:ext>
              </a:extLst>
            </p:cNvPr>
            <p:cNvSpPr>
              <a:spLocks/>
            </p:cNvSpPr>
            <p:nvPr/>
          </p:nvSpPr>
          <p:spPr bwMode="auto">
            <a:xfrm>
              <a:off x="-6840772" y="1163256"/>
              <a:ext cx="55827" cy="38382"/>
            </a:xfrm>
            <a:custGeom>
              <a:avLst/>
              <a:gdLst>
                <a:gd name="T0" fmla="*/ 17 w 21"/>
                <a:gd name="T1" fmla="*/ 15 h 15"/>
                <a:gd name="T2" fmla="*/ 15 w 21"/>
                <a:gd name="T3" fmla="*/ 14 h 15"/>
                <a:gd name="T4" fmla="*/ 3 w 21"/>
                <a:gd name="T5" fmla="*/ 7 h 15"/>
                <a:gd name="T6" fmla="*/ 1 w 21"/>
                <a:gd name="T7" fmla="*/ 2 h 15"/>
                <a:gd name="T8" fmla="*/ 6 w 21"/>
                <a:gd name="T9" fmla="*/ 1 h 15"/>
                <a:gd name="T10" fmla="*/ 18 w 21"/>
                <a:gd name="T11" fmla="*/ 8 h 15"/>
                <a:gd name="T12" fmla="*/ 20 w 21"/>
                <a:gd name="T13" fmla="*/ 13 h 15"/>
                <a:gd name="T14" fmla="*/ 17 w 21"/>
                <a:gd name="T1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15">
                  <a:moveTo>
                    <a:pt x="17" y="15"/>
                  </a:moveTo>
                  <a:cubicBezTo>
                    <a:pt x="16" y="15"/>
                    <a:pt x="15" y="14"/>
                    <a:pt x="15" y="14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" y="6"/>
                    <a:pt x="0" y="4"/>
                    <a:pt x="1" y="2"/>
                  </a:cubicBezTo>
                  <a:cubicBezTo>
                    <a:pt x="2" y="0"/>
                    <a:pt x="5" y="0"/>
                    <a:pt x="6" y="1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20" y="9"/>
                    <a:pt x="21" y="11"/>
                    <a:pt x="20" y="13"/>
                  </a:cubicBezTo>
                  <a:cubicBezTo>
                    <a:pt x="19" y="14"/>
                    <a:pt x="18" y="15"/>
                    <a:pt x="17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5" name="Freeform 451">
              <a:extLst>
                <a:ext uri="{FF2B5EF4-FFF2-40B4-BE49-F238E27FC236}">
                  <a16:creationId xmlns:a16="http://schemas.microsoft.com/office/drawing/2014/main" id="{D6AF512D-0A38-F089-F2F5-8BBCCC156456}"/>
                </a:ext>
              </a:extLst>
            </p:cNvPr>
            <p:cNvSpPr>
              <a:spLocks/>
            </p:cNvSpPr>
            <p:nvPr/>
          </p:nvSpPr>
          <p:spPr bwMode="auto">
            <a:xfrm>
              <a:off x="-6872176" y="1285376"/>
              <a:ext cx="59317" cy="20935"/>
            </a:xfrm>
            <a:custGeom>
              <a:avLst/>
              <a:gdLst>
                <a:gd name="T0" fmla="*/ 18 w 22"/>
                <a:gd name="T1" fmla="*/ 7 h 7"/>
                <a:gd name="T2" fmla="*/ 4 w 22"/>
                <a:gd name="T3" fmla="*/ 7 h 7"/>
                <a:gd name="T4" fmla="*/ 0 w 22"/>
                <a:gd name="T5" fmla="*/ 3 h 7"/>
                <a:gd name="T6" fmla="*/ 4 w 22"/>
                <a:gd name="T7" fmla="*/ 0 h 7"/>
                <a:gd name="T8" fmla="*/ 18 w 22"/>
                <a:gd name="T9" fmla="*/ 0 h 7"/>
                <a:gd name="T10" fmla="*/ 22 w 22"/>
                <a:gd name="T11" fmla="*/ 3 h 7"/>
                <a:gd name="T12" fmla="*/ 18 w 22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7">
                  <a:moveTo>
                    <a:pt x="18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0" y="0"/>
                    <a:pt x="22" y="1"/>
                    <a:pt x="22" y="3"/>
                  </a:cubicBezTo>
                  <a:cubicBezTo>
                    <a:pt x="22" y="5"/>
                    <a:pt x="20" y="7"/>
                    <a:pt x="18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6" name="Freeform 452">
              <a:extLst>
                <a:ext uri="{FF2B5EF4-FFF2-40B4-BE49-F238E27FC236}">
                  <a16:creationId xmlns:a16="http://schemas.microsoft.com/office/drawing/2014/main" id="{739B1189-2C8E-189B-6786-7ED4DE944802}"/>
                </a:ext>
              </a:extLst>
            </p:cNvPr>
            <p:cNvSpPr>
              <a:spLocks/>
            </p:cNvSpPr>
            <p:nvPr/>
          </p:nvSpPr>
          <p:spPr bwMode="auto">
            <a:xfrm>
              <a:off x="-6840772" y="1386563"/>
              <a:ext cx="55827" cy="38382"/>
            </a:xfrm>
            <a:custGeom>
              <a:avLst/>
              <a:gdLst>
                <a:gd name="T0" fmla="*/ 4 w 21"/>
                <a:gd name="T1" fmla="*/ 15 h 15"/>
                <a:gd name="T2" fmla="*/ 1 w 21"/>
                <a:gd name="T3" fmla="*/ 13 h 15"/>
                <a:gd name="T4" fmla="*/ 3 w 21"/>
                <a:gd name="T5" fmla="*/ 8 h 15"/>
                <a:gd name="T6" fmla="*/ 15 w 21"/>
                <a:gd name="T7" fmla="*/ 1 h 15"/>
                <a:gd name="T8" fmla="*/ 20 w 21"/>
                <a:gd name="T9" fmla="*/ 2 h 15"/>
                <a:gd name="T10" fmla="*/ 18 w 21"/>
                <a:gd name="T11" fmla="*/ 7 h 15"/>
                <a:gd name="T12" fmla="*/ 6 w 21"/>
                <a:gd name="T13" fmla="*/ 14 h 15"/>
                <a:gd name="T14" fmla="*/ 4 w 21"/>
                <a:gd name="T1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15">
                  <a:moveTo>
                    <a:pt x="4" y="15"/>
                  </a:moveTo>
                  <a:cubicBezTo>
                    <a:pt x="3" y="15"/>
                    <a:pt x="2" y="14"/>
                    <a:pt x="1" y="13"/>
                  </a:cubicBezTo>
                  <a:cubicBezTo>
                    <a:pt x="0" y="11"/>
                    <a:pt x="1" y="9"/>
                    <a:pt x="3" y="8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7" y="0"/>
                    <a:pt x="19" y="1"/>
                    <a:pt x="20" y="2"/>
                  </a:cubicBezTo>
                  <a:cubicBezTo>
                    <a:pt x="21" y="4"/>
                    <a:pt x="20" y="6"/>
                    <a:pt x="18" y="7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6" y="15"/>
                    <a:pt x="5" y="15"/>
                    <a:pt x="4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7" name="Freeform 453">
              <a:extLst>
                <a:ext uri="{FF2B5EF4-FFF2-40B4-BE49-F238E27FC236}">
                  <a16:creationId xmlns:a16="http://schemas.microsoft.com/office/drawing/2014/main" id="{FF10CCDD-0E60-F151-1EEF-2E4179116475}"/>
                </a:ext>
              </a:extLst>
            </p:cNvPr>
            <p:cNvSpPr>
              <a:spLocks/>
            </p:cNvSpPr>
            <p:nvPr/>
          </p:nvSpPr>
          <p:spPr bwMode="auto">
            <a:xfrm>
              <a:off x="-6750053" y="1463324"/>
              <a:ext cx="38382" cy="52339"/>
            </a:xfrm>
            <a:custGeom>
              <a:avLst/>
              <a:gdLst>
                <a:gd name="T0" fmla="*/ 4 w 15"/>
                <a:gd name="T1" fmla="*/ 20 h 20"/>
                <a:gd name="T2" fmla="*/ 2 w 15"/>
                <a:gd name="T3" fmla="*/ 19 h 20"/>
                <a:gd name="T4" fmla="*/ 1 w 15"/>
                <a:gd name="T5" fmla="*/ 14 h 20"/>
                <a:gd name="T6" fmla="*/ 8 w 15"/>
                <a:gd name="T7" fmla="*/ 2 h 20"/>
                <a:gd name="T8" fmla="*/ 13 w 15"/>
                <a:gd name="T9" fmla="*/ 1 h 20"/>
                <a:gd name="T10" fmla="*/ 14 w 15"/>
                <a:gd name="T11" fmla="*/ 6 h 20"/>
                <a:gd name="T12" fmla="*/ 7 w 15"/>
                <a:gd name="T13" fmla="*/ 18 h 20"/>
                <a:gd name="T14" fmla="*/ 4 w 15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20">
                  <a:moveTo>
                    <a:pt x="4" y="20"/>
                  </a:moveTo>
                  <a:cubicBezTo>
                    <a:pt x="4" y="20"/>
                    <a:pt x="3" y="20"/>
                    <a:pt x="2" y="19"/>
                  </a:cubicBezTo>
                  <a:cubicBezTo>
                    <a:pt x="1" y="18"/>
                    <a:pt x="0" y="16"/>
                    <a:pt x="1" y="14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9" y="0"/>
                    <a:pt x="11" y="0"/>
                    <a:pt x="13" y="1"/>
                  </a:cubicBezTo>
                  <a:cubicBezTo>
                    <a:pt x="15" y="2"/>
                    <a:pt x="15" y="4"/>
                    <a:pt x="14" y="6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7" y="19"/>
                    <a:pt x="6" y="20"/>
                    <a:pt x="4" y="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8" name="Freeform 454">
              <a:extLst>
                <a:ext uri="{FF2B5EF4-FFF2-40B4-BE49-F238E27FC236}">
                  <a16:creationId xmlns:a16="http://schemas.microsoft.com/office/drawing/2014/main" id="{885EB5D4-2299-89DB-659F-304276B32DA9}"/>
                </a:ext>
              </a:extLst>
            </p:cNvPr>
            <p:cNvSpPr>
              <a:spLocks/>
            </p:cNvSpPr>
            <p:nvPr/>
          </p:nvSpPr>
          <p:spPr bwMode="auto">
            <a:xfrm>
              <a:off x="-6627933" y="1491238"/>
              <a:ext cx="20935" cy="55827"/>
            </a:xfrm>
            <a:custGeom>
              <a:avLst/>
              <a:gdLst>
                <a:gd name="T0" fmla="*/ 3 w 7"/>
                <a:gd name="T1" fmla="*/ 21 h 21"/>
                <a:gd name="T2" fmla="*/ 0 w 7"/>
                <a:gd name="T3" fmla="*/ 17 h 21"/>
                <a:gd name="T4" fmla="*/ 0 w 7"/>
                <a:gd name="T5" fmla="*/ 3 h 21"/>
                <a:gd name="T6" fmla="*/ 3 w 7"/>
                <a:gd name="T7" fmla="*/ 0 h 21"/>
                <a:gd name="T8" fmla="*/ 7 w 7"/>
                <a:gd name="T9" fmla="*/ 3 h 21"/>
                <a:gd name="T10" fmla="*/ 7 w 7"/>
                <a:gd name="T11" fmla="*/ 17 h 21"/>
                <a:gd name="T12" fmla="*/ 3 w 7"/>
                <a:gd name="T13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21">
                  <a:moveTo>
                    <a:pt x="3" y="21"/>
                  </a:moveTo>
                  <a:cubicBezTo>
                    <a:pt x="1" y="21"/>
                    <a:pt x="0" y="19"/>
                    <a:pt x="0" y="17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5" y="0"/>
                    <a:pt x="7" y="1"/>
                    <a:pt x="7" y="3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7" y="19"/>
                    <a:pt x="5" y="21"/>
                    <a:pt x="3" y="2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9" name="Freeform 455">
              <a:extLst>
                <a:ext uri="{FF2B5EF4-FFF2-40B4-BE49-F238E27FC236}">
                  <a16:creationId xmlns:a16="http://schemas.microsoft.com/office/drawing/2014/main" id="{7B351887-8FDC-2BF2-5EC7-CDB8694B3250}"/>
                </a:ext>
              </a:extLst>
            </p:cNvPr>
            <p:cNvSpPr>
              <a:spLocks/>
            </p:cNvSpPr>
            <p:nvPr/>
          </p:nvSpPr>
          <p:spPr bwMode="auto">
            <a:xfrm>
              <a:off x="-6526746" y="1463324"/>
              <a:ext cx="41870" cy="52339"/>
            </a:xfrm>
            <a:custGeom>
              <a:avLst/>
              <a:gdLst>
                <a:gd name="T0" fmla="*/ 12 w 16"/>
                <a:gd name="T1" fmla="*/ 20 h 20"/>
                <a:gd name="T2" fmla="*/ 8 w 16"/>
                <a:gd name="T3" fmla="*/ 18 h 20"/>
                <a:gd name="T4" fmla="*/ 1 w 16"/>
                <a:gd name="T5" fmla="*/ 6 h 20"/>
                <a:gd name="T6" fmla="*/ 3 w 16"/>
                <a:gd name="T7" fmla="*/ 1 h 20"/>
                <a:gd name="T8" fmla="*/ 8 w 16"/>
                <a:gd name="T9" fmla="*/ 2 h 20"/>
                <a:gd name="T10" fmla="*/ 15 w 16"/>
                <a:gd name="T11" fmla="*/ 14 h 20"/>
                <a:gd name="T12" fmla="*/ 13 w 16"/>
                <a:gd name="T13" fmla="*/ 19 h 20"/>
                <a:gd name="T14" fmla="*/ 12 w 16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20">
                  <a:moveTo>
                    <a:pt x="12" y="20"/>
                  </a:moveTo>
                  <a:cubicBezTo>
                    <a:pt x="10" y="20"/>
                    <a:pt x="9" y="19"/>
                    <a:pt x="8" y="18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4"/>
                    <a:pt x="1" y="2"/>
                    <a:pt x="3" y="1"/>
                  </a:cubicBezTo>
                  <a:cubicBezTo>
                    <a:pt x="4" y="0"/>
                    <a:pt x="7" y="0"/>
                    <a:pt x="8" y="2"/>
                  </a:cubicBezTo>
                  <a:cubicBezTo>
                    <a:pt x="15" y="14"/>
                    <a:pt x="15" y="14"/>
                    <a:pt x="15" y="14"/>
                  </a:cubicBezTo>
                  <a:cubicBezTo>
                    <a:pt x="16" y="16"/>
                    <a:pt x="15" y="18"/>
                    <a:pt x="13" y="19"/>
                  </a:cubicBezTo>
                  <a:cubicBezTo>
                    <a:pt x="13" y="20"/>
                    <a:pt x="12" y="20"/>
                    <a:pt x="12" y="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0" name="Freeform 456">
              <a:extLst>
                <a:ext uri="{FF2B5EF4-FFF2-40B4-BE49-F238E27FC236}">
                  <a16:creationId xmlns:a16="http://schemas.microsoft.com/office/drawing/2014/main" id="{A92A61F7-A2BE-6866-2DAA-B06BFDD2C822}"/>
                </a:ext>
              </a:extLst>
            </p:cNvPr>
            <p:cNvSpPr>
              <a:spLocks/>
            </p:cNvSpPr>
            <p:nvPr/>
          </p:nvSpPr>
          <p:spPr bwMode="auto">
            <a:xfrm>
              <a:off x="-6449985" y="1386563"/>
              <a:ext cx="55827" cy="38382"/>
            </a:xfrm>
            <a:custGeom>
              <a:avLst/>
              <a:gdLst>
                <a:gd name="T0" fmla="*/ 16 w 21"/>
                <a:gd name="T1" fmla="*/ 15 h 15"/>
                <a:gd name="T2" fmla="*/ 15 w 21"/>
                <a:gd name="T3" fmla="*/ 14 h 15"/>
                <a:gd name="T4" fmla="*/ 2 w 21"/>
                <a:gd name="T5" fmla="*/ 7 h 15"/>
                <a:gd name="T6" fmla="*/ 1 w 21"/>
                <a:gd name="T7" fmla="*/ 2 h 15"/>
                <a:gd name="T8" fmla="*/ 6 w 21"/>
                <a:gd name="T9" fmla="*/ 1 h 15"/>
                <a:gd name="T10" fmla="*/ 18 w 21"/>
                <a:gd name="T11" fmla="*/ 8 h 15"/>
                <a:gd name="T12" fmla="*/ 20 w 21"/>
                <a:gd name="T13" fmla="*/ 13 h 15"/>
                <a:gd name="T14" fmla="*/ 16 w 21"/>
                <a:gd name="T1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15">
                  <a:moveTo>
                    <a:pt x="16" y="15"/>
                  </a:moveTo>
                  <a:cubicBezTo>
                    <a:pt x="16" y="15"/>
                    <a:pt x="15" y="15"/>
                    <a:pt x="15" y="14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1" y="6"/>
                    <a:pt x="0" y="4"/>
                    <a:pt x="1" y="2"/>
                  </a:cubicBezTo>
                  <a:cubicBezTo>
                    <a:pt x="2" y="1"/>
                    <a:pt x="4" y="0"/>
                    <a:pt x="6" y="1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20" y="9"/>
                    <a:pt x="21" y="11"/>
                    <a:pt x="20" y="13"/>
                  </a:cubicBezTo>
                  <a:cubicBezTo>
                    <a:pt x="19" y="14"/>
                    <a:pt x="18" y="15"/>
                    <a:pt x="16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1" name="Freeform 457">
              <a:extLst>
                <a:ext uri="{FF2B5EF4-FFF2-40B4-BE49-F238E27FC236}">
                  <a16:creationId xmlns:a16="http://schemas.microsoft.com/office/drawing/2014/main" id="{E538A9FF-CA78-9A12-7C33-21519E56C930}"/>
                </a:ext>
              </a:extLst>
            </p:cNvPr>
            <p:cNvSpPr>
              <a:spLocks/>
            </p:cNvSpPr>
            <p:nvPr/>
          </p:nvSpPr>
          <p:spPr bwMode="auto">
            <a:xfrm>
              <a:off x="-6422071" y="1285376"/>
              <a:ext cx="55827" cy="20935"/>
            </a:xfrm>
            <a:custGeom>
              <a:avLst/>
              <a:gdLst>
                <a:gd name="T0" fmla="*/ 18 w 21"/>
                <a:gd name="T1" fmla="*/ 7 h 7"/>
                <a:gd name="T2" fmla="*/ 4 w 21"/>
                <a:gd name="T3" fmla="*/ 7 h 7"/>
                <a:gd name="T4" fmla="*/ 0 w 21"/>
                <a:gd name="T5" fmla="*/ 3 h 7"/>
                <a:gd name="T6" fmla="*/ 4 w 21"/>
                <a:gd name="T7" fmla="*/ 0 h 7"/>
                <a:gd name="T8" fmla="*/ 18 w 21"/>
                <a:gd name="T9" fmla="*/ 0 h 7"/>
                <a:gd name="T10" fmla="*/ 21 w 21"/>
                <a:gd name="T11" fmla="*/ 3 h 7"/>
                <a:gd name="T12" fmla="*/ 18 w 21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7">
                  <a:moveTo>
                    <a:pt x="18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0" y="0"/>
                    <a:pt x="21" y="1"/>
                    <a:pt x="21" y="3"/>
                  </a:cubicBezTo>
                  <a:cubicBezTo>
                    <a:pt x="21" y="5"/>
                    <a:pt x="20" y="7"/>
                    <a:pt x="18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2" name="Freeform 458">
              <a:extLst>
                <a:ext uri="{FF2B5EF4-FFF2-40B4-BE49-F238E27FC236}">
                  <a16:creationId xmlns:a16="http://schemas.microsoft.com/office/drawing/2014/main" id="{B55EE807-6C75-433A-26B5-6C95BD312C0E}"/>
                </a:ext>
              </a:extLst>
            </p:cNvPr>
            <p:cNvSpPr>
              <a:spLocks/>
            </p:cNvSpPr>
            <p:nvPr/>
          </p:nvSpPr>
          <p:spPr bwMode="auto">
            <a:xfrm>
              <a:off x="-6449985" y="1163256"/>
              <a:ext cx="55827" cy="38382"/>
            </a:xfrm>
            <a:custGeom>
              <a:avLst/>
              <a:gdLst>
                <a:gd name="T0" fmla="*/ 4 w 21"/>
                <a:gd name="T1" fmla="*/ 15 h 15"/>
                <a:gd name="T2" fmla="*/ 1 w 21"/>
                <a:gd name="T3" fmla="*/ 13 h 15"/>
                <a:gd name="T4" fmla="*/ 2 w 21"/>
                <a:gd name="T5" fmla="*/ 8 h 15"/>
                <a:gd name="T6" fmla="*/ 15 w 21"/>
                <a:gd name="T7" fmla="*/ 1 h 15"/>
                <a:gd name="T8" fmla="*/ 20 w 21"/>
                <a:gd name="T9" fmla="*/ 2 h 15"/>
                <a:gd name="T10" fmla="*/ 18 w 21"/>
                <a:gd name="T11" fmla="*/ 7 h 15"/>
                <a:gd name="T12" fmla="*/ 6 w 21"/>
                <a:gd name="T13" fmla="*/ 14 h 15"/>
                <a:gd name="T14" fmla="*/ 4 w 21"/>
                <a:gd name="T1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15">
                  <a:moveTo>
                    <a:pt x="4" y="15"/>
                  </a:moveTo>
                  <a:cubicBezTo>
                    <a:pt x="3" y="15"/>
                    <a:pt x="2" y="14"/>
                    <a:pt x="1" y="13"/>
                  </a:cubicBezTo>
                  <a:cubicBezTo>
                    <a:pt x="0" y="11"/>
                    <a:pt x="1" y="9"/>
                    <a:pt x="2" y="8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6" y="0"/>
                    <a:pt x="19" y="0"/>
                    <a:pt x="20" y="2"/>
                  </a:cubicBezTo>
                  <a:cubicBezTo>
                    <a:pt x="21" y="4"/>
                    <a:pt x="20" y="6"/>
                    <a:pt x="18" y="7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5" y="14"/>
                    <a:pt x="5" y="15"/>
                    <a:pt x="4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3" name="Freeform 459">
              <a:extLst>
                <a:ext uri="{FF2B5EF4-FFF2-40B4-BE49-F238E27FC236}">
                  <a16:creationId xmlns:a16="http://schemas.microsoft.com/office/drawing/2014/main" id="{A2663FB8-248D-F4E8-7220-EB55F6F95613}"/>
                </a:ext>
              </a:extLst>
            </p:cNvPr>
            <p:cNvSpPr>
              <a:spLocks/>
            </p:cNvSpPr>
            <p:nvPr/>
          </p:nvSpPr>
          <p:spPr bwMode="auto">
            <a:xfrm>
              <a:off x="-6526746" y="1072537"/>
              <a:ext cx="41870" cy="52339"/>
            </a:xfrm>
            <a:custGeom>
              <a:avLst/>
              <a:gdLst>
                <a:gd name="T0" fmla="*/ 5 w 16"/>
                <a:gd name="T1" fmla="*/ 20 h 20"/>
                <a:gd name="T2" fmla="*/ 3 w 16"/>
                <a:gd name="T3" fmla="*/ 20 h 20"/>
                <a:gd name="T4" fmla="*/ 1 w 16"/>
                <a:gd name="T5" fmla="*/ 15 h 20"/>
                <a:gd name="T6" fmla="*/ 8 w 16"/>
                <a:gd name="T7" fmla="*/ 2 h 20"/>
                <a:gd name="T8" fmla="*/ 13 w 16"/>
                <a:gd name="T9" fmla="*/ 1 h 20"/>
                <a:gd name="T10" fmla="*/ 15 w 16"/>
                <a:gd name="T11" fmla="*/ 6 h 20"/>
                <a:gd name="T12" fmla="*/ 8 w 16"/>
                <a:gd name="T13" fmla="*/ 18 h 20"/>
                <a:gd name="T14" fmla="*/ 5 w 16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20">
                  <a:moveTo>
                    <a:pt x="5" y="20"/>
                  </a:moveTo>
                  <a:cubicBezTo>
                    <a:pt x="4" y="20"/>
                    <a:pt x="3" y="20"/>
                    <a:pt x="3" y="20"/>
                  </a:cubicBezTo>
                  <a:cubicBezTo>
                    <a:pt x="1" y="19"/>
                    <a:pt x="0" y="16"/>
                    <a:pt x="1" y="15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9" y="1"/>
                    <a:pt x="12" y="0"/>
                    <a:pt x="13" y="1"/>
                  </a:cubicBezTo>
                  <a:cubicBezTo>
                    <a:pt x="15" y="2"/>
                    <a:pt x="16" y="4"/>
                    <a:pt x="15" y="6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7" y="19"/>
                    <a:pt x="6" y="20"/>
                    <a:pt x="5" y="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4" name="Freeform 460">
              <a:extLst>
                <a:ext uri="{FF2B5EF4-FFF2-40B4-BE49-F238E27FC236}">
                  <a16:creationId xmlns:a16="http://schemas.microsoft.com/office/drawing/2014/main" id="{4A1DFF90-336C-2DA0-6EC2-CD8C66FF8122}"/>
                </a:ext>
              </a:extLst>
            </p:cNvPr>
            <p:cNvSpPr>
              <a:spLocks/>
            </p:cNvSpPr>
            <p:nvPr/>
          </p:nvSpPr>
          <p:spPr bwMode="auto">
            <a:xfrm>
              <a:off x="-6627933" y="1149299"/>
              <a:ext cx="108165" cy="157014"/>
            </a:xfrm>
            <a:custGeom>
              <a:avLst/>
              <a:gdLst>
                <a:gd name="T0" fmla="*/ 3 w 41"/>
                <a:gd name="T1" fmla="*/ 60 h 60"/>
                <a:gd name="T2" fmla="*/ 2 w 41"/>
                <a:gd name="T3" fmla="*/ 59 h 60"/>
                <a:gd name="T4" fmla="*/ 0 w 41"/>
                <a:gd name="T5" fmla="*/ 56 h 60"/>
                <a:gd name="T6" fmla="*/ 0 w 41"/>
                <a:gd name="T7" fmla="*/ 3 h 60"/>
                <a:gd name="T8" fmla="*/ 3 w 41"/>
                <a:gd name="T9" fmla="*/ 0 h 60"/>
                <a:gd name="T10" fmla="*/ 7 w 41"/>
                <a:gd name="T11" fmla="*/ 3 h 60"/>
                <a:gd name="T12" fmla="*/ 7 w 41"/>
                <a:gd name="T13" fmla="*/ 50 h 60"/>
                <a:gd name="T14" fmla="*/ 35 w 41"/>
                <a:gd name="T15" fmla="*/ 34 h 60"/>
                <a:gd name="T16" fmla="*/ 40 w 41"/>
                <a:gd name="T17" fmla="*/ 35 h 60"/>
                <a:gd name="T18" fmla="*/ 38 w 41"/>
                <a:gd name="T19" fmla="*/ 40 h 60"/>
                <a:gd name="T20" fmla="*/ 5 w 41"/>
                <a:gd name="T21" fmla="*/ 59 h 60"/>
                <a:gd name="T22" fmla="*/ 3 w 41"/>
                <a:gd name="T2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" h="60">
                  <a:moveTo>
                    <a:pt x="3" y="60"/>
                  </a:moveTo>
                  <a:cubicBezTo>
                    <a:pt x="3" y="60"/>
                    <a:pt x="2" y="60"/>
                    <a:pt x="2" y="59"/>
                  </a:cubicBezTo>
                  <a:cubicBezTo>
                    <a:pt x="1" y="59"/>
                    <a:pt x="0" y="57"/>
                    <a:pt x="0" y="56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5" y="0"/>
                    <a:pt x="7" y="1"/>
                    <a:pt x="7" y="3"/>
                  </a:cubicBezTo>
                  <a:cubicBezTo>
                    <a:pt x="7" y="50"/>
                    <a:pt x="7" y="50"/>
                    <a:pt x="7" y="50"/>
                  </a:cubicBezTo>
                  <a:cubicBezTo>
                    <a:pt x="35" y="34"/>
                    <a:pt x="35" y="34"/>
                    <a:pt x="35" y="34"/>
                  </a:cubicBezTo>
                  <a:cubicBezTo>
                    <a:pt x="36" y="33"/>
                    <a:pt x="39" y="33"/>
                    <a:pt x="40" y="35"/>
                  </a:cubicBezTo>
                  <a:cubicBezTo>
                    <a:pt x="41" y="37"/>
                    <a:pt x="40" y="39"/>
                    <a:pt x="38" y="40"/>
                  </a:cubicBezTo>
                  <a:cubicBezTo>
                    <a:pt x="5" y="59"/>
                    <a:pt x="5" y="59"/>
                    <a:pt x="5" y="59"/>
                  </a:cubicBezTo>
                  <a:cubicBezTo>
                    <a:pt x="5" y="60"/>
                    <a:pt x="4" y="60"/>
                    <a:pt x="3" y="6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0" name="Shape2_20200717_154439">
            <a:extLst>
              <a:ext uri="{FF2B5EF4-FFF2-40B4-BE49-F238E27FC236}">
                <a16:creationId xmlns:a16="http://schemas.microsoft.com/office/drawing/2014/main" id="{08666F48-24E1-81FE-BCFE-DEE5635A24B6}"/>
              </a:ext>
            </a:extLst>
          </p:cNvPr>
          <p:cNvGrpSpPr>
            <a:grpSpLocks noChangeAspect="1"/>
          </p:cNvGrpSpPr>
          <p:nvPr/>
        </p:nvGrpSpPr>
        <p:grpSpPr>
          <a:xfrm>
            <a:off x="556260" y="1242036"/>
            <a:ext cx="635029" cy="547802"/>
            <a:chOff x="-5703302" y="1020198"/>
            <a:chExt cx="635029" cy="547802"/>
          </a:xfrm>
          <a:solidFill>
            <a:schemeClr val="accent1"/>
          </a:solidFill>
        </p:grpSpPr>
        <p:sp>
          <p:nvSpPr>
            <p:cNvPr id="259" name="Freeform 461">
              <a:extLst>
                <a:ext uri="{FF2B5EF4-FFF2-40B4-BE49-F238E27FC236}">
                  <a16:creationId xmlns:a16="http://schemas.microsoft.com/office/drawing/2014/main" id="{15357180-451C-32D3-B4C4-7C6BBF02F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703302" y="1173722"/>
              <a:ext cx="635029" cy="394278"/>
            </a:xfrm>
            <a:custGeom>
              <a:avLst/>
              <a:gdLst>
                <a:gd name="T0" fmla="*/ 232 w 242"/>
                <a:gd name="T1" fmla="*/ 150 h 150"/>
                <a:gd name="T2" fmla="*/ 10 w 242"/>
                <a:gd name="T3" fmla="*/ 150 h 150"/>
                <a:gd name="T4" fmla="*/ 0 w 242"/>
                <a:gd name="T5" fmla="*/ 140 h 150"/>
                <a:gd name="T6" fmla="*/ 0 w 242"/>
                <a:gd name="T7" fmla="*/ 4 h 150"/>
                <a:gd name="T8" fmla="*/ 3 w 242"/>
                <a:gd name="T9" fmla="*/ 0 h 150"/>
                <a:gd name="T10" fmla="*/ 238 w 242"/>
                <a:gd name="T11" fmla="*/ 0 h 150"/>
                <a:gd name="T12" fmla="*/ 242 w 242"/>
                <a:gd name="T13" fmla="*/ 4 h 150"/>
                <a:gd name="T14" fmla="*/ 242 w 242"/>
                <a:gd name="T15" fmla="*/ 140 h 150"/>
                <a:gd name="T16" fmla="*/ 232 w 242"/>
                <a:gd name="T17" fmla="*/ 150 h 150"/>
                <a:gd name="T18" fmla="*/ 7 w 242"/>
                <a:gd name="T19" fmla="*/ 8 h 150"/>
                <a:gd name="T20" fmla="*/ 7 w 242"/>
                <a:gd name="T21" fmla="*/ 140 h 150"/>
                <a:gd name="T22" fmla="*/ 10 w 242"/>
                <a:gd name="T23" fmla="*/ 143 h 150"/>
                <a:gd name="T24" fmla="*/ 232 w 242"/>
                <a:gd name="T25" fmla="*/ 143 h 150"/>
                <a:gd name="T26" fmla="*/ 234 w 242"/>
                <a:gd name="T27" fmla="*/ 140 h 150"/>
                <a:gd name="T28" fmla="*/ 234 w 242"/>
                <a:gd name="T29" fmla="*/ 8 h 150"/>
                <a:gd name="T30" fmla="*/ 7 w 242"/>
                <a:gd name="T31" fmla="*/ 8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42" h="150">
                  <a:moveTo>
                    <a:pt x="232" y="150"/>
                  </a:moveTo>
                  <a:cubicBezTo>
                    <a:pt x="10" y="150"/>
                    <a:pt x="10" y="150"/>
                    <a:pt x="10" y="150"/>
                  </a:cubicBezTo>
                  <a:cubicBezTo>
                    <a:pt x="4" y="150"/>
                    <a:pt x="0" y="146"/>
                    <a:pt x="0" y="14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238" y="0"/>
                    <a:pt x="238" y="0"/>
                    <a:pt x="238" y="0"/>
                  </a:cubicBezTo>
                  <a:cubicBezTo>
                    <a:pt x="240" y="0"/>
                    <a:pt x="242" y="2"/>
                    <a:pt x="242" y="4"/>
                  </a:cubicBezTo>
                  <a:cubicBezTo>
                    <a:pt x="242" y="140"/>
                    <a:pt x="242" y="140"/>
                    <a:pt x="242" y="140"/>
                  </a:cubicBezTo>
                  <a:cubicBezTo>
                    <a:pt x="242" y="146"/>
                    <a:pt x="237" y="150"/>
                    <a:pt x="232" y="150"/>
                  </a:cubicBezTo>
                  <a:close/>
                  <a:moveTo>
                    <a:pt x="7" y="8"/>
                  </a:moveTo>
                  <a:cubicBezTo>
                    <a:pt x="7" y="140"/>
                    <a:pt x="7" y="140"/>
                    <a:pt x="7" y="140"/>
                  </a:cubicBezTo>
                  <a:cubicBezTo>
                    <a:pt x="7" y="142"/>
                    <a:pt x="8" y="143"/>
                    <a:pt x="10" y="143"/>
                  </a:cubicBezTo>
                  <a:cubicBezTo>
                    <a:pt x="232" y="143"/>
                    <a:pt x="232" y="143"/>
                    <a:pt x="232" y="143"/>
                  </a:cubicBezTo>
                  <a:cubicBezTo>
                    <a:pt x="233" y="143"/>
                    <a:pt x="234" y="142"/>
                    <a:pt x="234" y="140"/>
                  </a:cubicBezTo>
                  <a:cubicBezTo>
                    <a:pt x="234" y="8"/>
                    <a:pt x="234" y="8"/>
                    <a:pt x="234" y="8"/>
                  </a:cubicBezTo>
                  <a:lnTo>
                    <a:pt x="7" y="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0" name="Freeform 462">
              <a:extLst>
                <a:ext uri="{FF2B5EF4-FFF2-40B4-BE49-F238E27FC236}">
                  <a16:creationId xmlns:a16="http://schemas.microsoft.com/office/drawing/2014/main" id="{834095CB-C224-59AE-5B49-9F5CCCA16D1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703302" y="1079515"/>
              <a:ext cx="635029" cy="115144"/>
            </a:xfrm>
            <a:custGeom>
              <a:avLst/>
              <a:gdLst>
                <a:gd name="T0" fmla="*/ 238 w 242"/>
                <a:gd name="T1" fmla="*/ 44 h 44"/>
                <a:gd name="T2" fmla="*/ 3 w 242"/>
                <a:gd name="T3" fmla="*/ 44 h 44"/>
                <a:gd name="T4" fmla="*/ 0 w 242"/>
                <a:gd name="T5" fmla="*/ 40 h 44"/>
                <a:gd name="T6" fmla="*/ 0 w 242"/>
                <a:gd name="T7" fmla="*/ 10 h 44"/>
                <a:gd name="T8" fmla="*/ 10 w 242"/>
                <a:gd name="T9" fmla="*/ 0 h 44"/>
                <a:gd name="T10" fmla="*/ 38 w 242"/>
                <a:gd name="T11" fmla="*/ 0 h 44"/>
                <a:gd name="T12" fmla="*/ 41 w 242"/>
                <a:gd name="T13" fmla="*/ 4 h 44"/>
                <a:gd name="T14" fmla="*/ 41 w 242"/>
                <a:gd name="T15" fmla="*/ 10 h 44"/>
                <a:gd name="T16" fmla="*/ 51 w 242"/>
                <a:gd name="T17" fmla="*/ 19 h 44"/>
                <a:gd name="T18" fmla="*/ 60 w 242"/>
                <a:gd name="T19" fmla="*/ 10 h 44"/>
                <a:gd name="T20" fmla="*/ 60 w 242"/>
                <a:gd name="T21" fmla="*/ 4 h 44"/>
                <a:gd name="T22" fmla="*/ 63 w 242"/>
                <a:gd name="T23" fmla="*/ 0 h 44"/>
                <a:gd name="T24" fmla="*/ 178 w 242"/>
                <a:gd name="T25" fmla="*/ 0 h 44"/>
                <a:gd name="T26" fmla="*/ 182 w 242"/>
                <a:gd name="T27" fmla="*/ 4 h 44"/>
                <a:gd name="T28" fmla="*/ 182 w 242"/>
                <a:gd name="T29" fmla="*/ 10 h 44"/>
                <a:gd name="T30" fmla="*/ 191 w 242"/>
                <a:gd name="T31" fmla="*/ 19 h 44"/>
                <a:gd name="T32" fmla="*/ 200 w 242"/>
                <a:gd name="T33" fmla="*/ 10 h 44"/>
                <a:gd name="T34" fmla="*/ 200 w 242"/>
                <a:gd name="T35" fmla="*/ 4 h 44"/>
                <a:gd name="T36" fmla="*/ 203 w 242"/>
                <a:gd name="T37" fmla="*/ 0 h 44"/>
                <a:gd name="T38" fmla="*/ 232 w 242"/>
                <a:gd name="T39" fmla="*/ 0 h 44"/>
                <a:gd name="T40" fmla="*/ 242 w 242"/>
                <a:gd name="T41" fmla="*/ 10 h 44"/>
                <a:gd name="T42" fmla="*/ 242 w 242"/>
                <a:gd name="T43" fmla="*/ 40 h 44"/>
                <a:gd name="T44" fmla="*/ 238 w 242"/>
                <a:gd name="T45" fmla="*/ 44 h 44"/>
                <a:gd name="T46" fmla="*/ 7 w 242"/>
                <a:gd name="T47" fmla="*/ 36 h 44"/>
                <a:gd name="T48" fmla="*/ 234 w 242"/>
                <a:gd name="T49" fmla="*/ 36 h 44"/>
                <a:gd name="T50" fmla="*/ 234 w 242"/>
                <a:gd name="T51" fmla="*/ 10 h 44"/>
                <a:gd name="T52" fmla="*/ 232 w 242"/>
                <a:gd name="T53" fmla="*/ 8 h 44"/>
                <a:gd name="T54" fmla="*/ 207 w 242"/>
                <a:gd name="T55" fmla="*/ 8 h 44"/>
                <a:gd name="T56" fmla="*/ 207 w 242"/>
                <a:gd name="T57" fmla="*/ 10 h 44"/>
                <a:gd name="T58" fmla="*/ 191 w 242"/>
                <a:gd name="T59" fmla="*/ 26 h 44"/>
                <a:gd name="T60" fmla="*/ 175 w 242"/>
                <a:gd name="T61" fmla="*/ 10 h 44"/>
                <a:gd name="T62" fmla="*/ 175 w 242"/>
                <a:gd name="T63" fmla="*/ 8 h 44"/>
                <a:gd name="T64" fmla="*/ 67 w 242"/>
                <a:gd name="T65" fmla="*/ 8 h 44"/>
                <a:gd name="T66" fmla="*/ 67 w 242"/>
                <a:gd name="T67" fmla="*/ 10 h 44"/>
                <a:gd name="T68" fmla="*/ 51 w 242"/>
                <a:gd name="T69" fmla="*/ 26 h 44"/>
                <a:gd name="T70" fmla="*/ 34 w 242"/>
                <a:gd name="T71" fmla="*/ 10 h 44"/>
                <a:gd name="T72" fmla="*/ 34 w 242"/>
                <a:gd name="T73" fmla="*/ 8 h 44"/>
                <a:gd name="T74" fmla="*/ 10 w 242"/>
                <a:gd name="T75" fmla="*/ 8 h 44"/>
                <a:gd name="T76" fmla="*/ 7 w 242"/>
                <a:gd name="T77" fmla="*/ 10 h 44"/>
                <a:gd name="T78" fmla="*/ 7 w 242"/>
                <a:gd name="T79" fmla="*/ 3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42" h="44">
                  <a:moveTo>
                    <a:pt x="238" y="44"/>
                  </a:moveTo>
                  <a:cubicBezTo>
                    <a:pt x="3" y="44"/>
                    <a:pt x="3" y="44"/>
                    <a:pt x="3" y="44"/>
                  </a:cubicBezTo>
                  <a:cubicBezTo>
                    <a:pt x="1" y="44"/>
                    <a:pt x="0" y="42"/>
                    <a:pt x="0" y="4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5"/>
                    <a:pt x="4" y="0"/>
                    <a:pt x="10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40" y="0"/>
                    <a:pt x="41" y="2"/>
                    <a:pt x="41" y="4"/>
                  </a:cubicBezTo>
                  <a:cubicBezTo>
                    <a:pt x="41" y="10"/>
                    <a:pt x="41" y="10"/>
                    <a:pt x="41" y="10"/>
                  </a:cubicBezTo>
                  <a:cubicBezTo>
                    <a:pt x="41" y="15"/>
                    <a:pt x="45" y="19"/>
                    <a:pt x="51" y="19"/>
                  </a:cubicBezTo>
                  <a:cubicBezTo>
                    <a:pt x="56" y="19"/>
                    <a:pt x="60" y="15"/>
                    <a:pt x="60" y="10"/>
                  </a:cubicBezTo>
                  <a:cubicBezTo>
                    <a:pt x="60" y="4"/>
                    <a:pt x="60" y="4"/>
                    <a:pt x="60" y="4"/>
                  </a:cubicBezTo>
                  <a:cubicBezTo>
                    <a:pt x="60" y="2"/>
                    <a:pt x="61" y="0"/>
                    <a:pt x="63" y="0"/>
                  </a:cubicBezTo>
                  <a:cubicBezTo>
                    <a:pt x="178" y="0"/>
                    <a:pt x="178" y="0"/>
                    <a:pt x="178" y="0"/>
                  </a:cubicBezTo>
                  <a:cubicBezTo>
                    <a:pt x="180" y="0"/>
                    <a:pt x="182" y="2"/>
                    <a:pt x="182" y="4"/>
                  </a:cubicBezTo>
                  <a:cubicBezTo>
                    <a:pt x="182" y="10"/>
                    <a:pt x="182" y="10"/>
                    <a:pt x="182" y="10"/>
                  </a:cubicBezTo>
                  <a:cubicBezTo>
                    <a:pt x="182" y="15"/>
                    <a:pt x="186" y="19"/>
                    <a:pt x="191" y="19"/>
                  </a:cubicBezTo>
                  <a:cubicBezTo>
                    <a:pt x="196" y="19"/>
                    <a:pt x="200" y="15"/>
                    <a:pt x="200" y="10"/>
                  </a:cubicBezTo>
                  <a:cubicBezTo>
                    <a:pt x="200" y="4"/>
                    <a:pt x="200" y="4"/>
                    <a:pt x="200" y="4"/>
                  </a:cubicBezTo>
                  <a:cubicBezTo>
                    <a:pt x="200" y="2"/>
                    <a:pt x="202" y="0"/>
                    <a:pt x="203" y="0"/>
                  </a:cubicBezTo>
                  <a:cubicBezTo>
                    <a:pt x="232" y="0"/>
                    <a:pt x="232" y="0"/>
                    <a:pt x="232" y="0"/>
                  </a:cubicBezTo>
                  <a:cubicBezTo>
                    <a:pt x="237" y="0"/>
                    <a:pt x="242" y="5"/>
                    <a:pt x="242" y="10"/>
                  </a:cubicBezTo>
                  <a:cubicBezTo>
                    <a:pt x="242" y="40"/>
                    <a:pt x="242" y="40"/>
                    <a:pt x="242" y="40"/>
                  </a:cubicBezTo>
                  <a:cubicBezTo>
                    <a:pt x="242" y="42"/>
                    <a:pt x="240" y="44"/>
                    <a:pt x="238" y="44"/>
                  </a:cubicBezTo>
                  <a:close/>
                  <a:moveTo>
                    <a:pt x="7" y="36"/>
                  </a:moveTo>
                  <a:cubicBezTo>
                    <a:pt x="234" y="36"/>
                    <a:pt x="234" y="36"/>
                    <a:pt x="234" y="36"/>
                  </a:cubicBezTo>
                  <a:cubicBezTo>
                    <a:pt x="234" y="10"/>
                    <a:pt x="234" y="10"/>
                    <a:pt x="234" y="10"/>
                  </a:cubicBezTo>
                  <a:cubicBezTo>
                    <a:pt x="234" y="9"/>
                    <a:pt x="233" y="8"/>
                    <a:pt x="232" y="8"/>
                  </a:cubicBezTo>
                  <a:cubicBezTo>
                    <a:pt x="207" y="8"/>
                    <a:pt x="207" y="8"/>
                    <a:pt x="207" y="8"/>
                  </a:cubicBezTo>
                  <a:cubicBezTo>
                    <a:pt x="207" y="10"/>
                    <a:pt x="207" y="10"/>
                    <a:pt x="207" y="10"/>
                  </a:cubicBezTo>
                  <a:cubicBezTo>
                    <a:pt x="207" y="19"/>
                    <a:pt x="200" y="26"/>
                    <a:pt x="191" y="26"/>
                  </a:cubicBezTo>
                  <a:cubicBezTo>
                    <a:pt x="182" y="26"/>
                    <a:pt x="175" y="19"/>
                    <a:pt x="175" y="10"/>
                  </a:cubicBezTo>
                  <a:cubicBezTo>
                    <a:pt x="175" y="8"/>
                    <a:pt x="175" y="8"/>
                    <a:pt x="175" y="8"/>
                  </a:cubicBezTo>
                  <a:cubicBezTo>
                    <a:pt x="67" y="8"/>
                    <a:pt x="67" y="8"/>
                    <a:pt x="67" y="8"/>
                  </a:cubicBezTo>
                  <a:cubicBezTo>
                    <a:pt x="67" y="10"/>
                    <a:pt x="67" y="10"/>
                    <a:pt x="67" y="10"/>
                  </a:cubicBezTo>
                  <a:cubicBezTo>
                    <a:pt x="67" y="19"/>
                    <a:pt x="59" y="26"/>
                    <a:pt x="51" y="26"/>
                  </a:cubicBezTo>
                  <a:cubicBezTo>
                    <a:pt x="42" y="26"/>
                    <a:pt x="34" y="19"/>
                    <a:pt x="34" y="10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8" y="8"/>
                    <a:pt x="7" y="9"/>
                    <a:pt x="7" y="10"/>
                  </a:cubicBezTo>
                  <a:lnTo>
                    <a:pt x="7" y="3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1" name="Freeform 463">
              <a:extLst>
                <a:ext uri="{FF2B5EF4-FFF2-40B4-BE49-F238E27FC236}">
                  <a16:creationId xmlns:a16="http://schemas.microsoft.com/office/drawing/2014/main" id="{C6C80602-B0DA-E8D5-D68C-467CAF04195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612583" y="1020198"/>
              <a:ext cx="87230" cy="129100"/>
            </a:xfrm>
            <a:custGeom>
              <a:avLst/>
              <a:gdLst>
                <a:gd name="T0" fmla="*/ 17 w 33"/>
                <a:gd name="T1" fmla="*/ 48 h 48"/>
                <a:gd name="T2" fmla="*/ 0 w 33"/>
                <a:gd name="T3" fmla="*/ 32 h 48"/>
                <a:gd name="T4" fmla="*/ 0 w 33"/>
                <a:gd name="T5" fmla="*/ 17 h 48"/>
                <a:gd name="T6" fmla="*/ 17 w 33"/>
                <a:gd name="T7" fmla="*/ 0 h 48"/>
                <a:gd name="T8" fmla="*/ 33 w 33"/>
                <a:gd name="T9" fmla="*/ 17 h 48"/>
                <a:gd name="T10" fmla="*/ 33 w 33"/>
                <a:gd name="T11" fmla="*/ 32 h 48"/>
                <a:gd name="T12" fmla="*/ 17 w 33"/>
                <a:gd name="T13" fmla="*/ 48 h 48"/>
                <a:gd name="T14" fmla="*/ 17 w 33"/>
                <a:gd name="T15" fmla="*/ 7 h 48"/>
                <a:gd name="T16" fmla="*/ 7 w 33"/>
                <a:gd name="T17" fmla="*/ 17 h 48"/>
                <a:gd name="T18" fmla="*/ 7 w 33"/>
                <a:gd name="T19" fmla="*/ 32 h 48"/>
                <a:gd name="T20" fmla="*/ 17 w 33"/>
                <a:gd name="T21" fmla="*/ 41 h 48"/>
                <a:gd name="T22" fmla="*/ 26 w 33"/>
                <a:gd name="T23" fmla="*/ 32 h 48"/>
                <a:gd name="T24" fmla="*/ 26 w 33"/>
                <a:gd name="T25" fmla="*/ 17 h 48"/>
                <a:gd name="T26" fmla="*/ 17 w 33"/>
                <a:gd name="T27" fmla="*/ 7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3" h="48">
                  <a:moveTo>
                    <a:pt x="17" y="48"/>
                  </a:moveTo>
                  <a:cubicBezTo>
                    <a:pt x="8" y="48"/>
                    <a:pt x="0" y="41"/>
                    <a:pt x="0" y="32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5" y="0"/>
                    <a:pt x="33" y="8"/>
                    <a:pt x="33" y="17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41"/>
                    <a:pt x="25" y="48"/>
                    <a:pt x="17" y="48"/>
                  </a:cubicBezTo>
                  <a:close/>
                  <a:moveTo>
                    <a:pt x="17" y="7"/>
                  </a:moveTo>
                  <a:cubicBezTo>
                    <a:pt x="11" y="7"/>
                    <a:pt x="7" y="12"/>
                    <a:pt x="7" y="17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7" y="37"/>
                    <a:pt x="11" y="41"/>
                    <a:pt x="17" y="41"/>
                  </a:cubicBezTo>
                  <a:cubicBezTo>
                    <a:pt x="22" y="41"/>
                    <a:pt x="26" y="37"/>
                    <a:pt x="26" y="32"/>
                  </a:cubicBezTo>
                  <a:cubicBezTo>
                    <a:pt x="26" y="17"/>
                    <a:pt x="26" y="17"/>
                    <a:pt x="26" y="17"/>
                  </a:cubicBezTo>
                  <a:cubicBezTo>
                    <a:pt x="26" y="12"/>
                    <a:pt x="22" y="7"/>
                    <a:pt x="17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2" name="Freeform 464">
              <a:extLst>
                <a:ext uri="{FF2B5EF4-FFF2-40B4-BE49-F238E27FC236}">
                  <a16:creationId xmlns:a16="http://schemas.microsoft.com/office/drawing/2014/main" id="{6F8082EE-5506-2C76-2611-988F9AB0C6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242731" y="1020198"/>
              <a:ext cx="83740" cy="129100"/>
            </a:xfrm>
            <a:custGeom>
              <a:avLst/>
              <a:gdLst>
                <a:gd name="T0" fmla="*/ 16 w 32"/>
                <a:gd name="T1" fmla="*/ 48 h 48"/>
                <a:gd name="T2" fmla="*/ 0 w 32"/>
                <a:gd name="T3" fmla="*/ 32 h 48"/>
                <a:gd name="T4" fmla="*/ 0 w 32"/>
                <a:gd name="T5" fmla="*/ 17 h 48"/>
                <a:gd name="T6" fmla="*/ 16 w 32"/>
                <a:gd name="T7" fmla="*/ 0 h 48"/>
                <a:gd name="T8" fmla="*/ 32 w 32"/>
                <a:gd name="T9" fmla="*/ 17 h 48"/>
                <a:gd name="T10" fmla="*/ 32 w 32"/>
                <a:gd name="T11" fmla="*/ 32 h 48"/>
                <a:gd name="T12" fmla="*/ 16 w 32"/>
                <a:gd name="T13" fmla="*/ 48 h 48"/>
                <a:gd name="T14" fmla="*/ 16 w 32"/>
                <a:gd name="T15" fmla="*/ 7 h 48"/>
                <a:gd name="T16" fmla="*/ 7 w 32"/>
                <a:gd name="T17" fmla="*/ 17 h 48"/>
                <a:gd name="T18" fmla="*/ 7 w 32"/>
                <a:gd name="T19" fmla="*/ 32 h 48"/>
                <a:gd name="T20" fmla="*/ 16 w 32"/>
                <a:gd name="T21" fmla="*/ 41 h 48"/>
                <a:gd name="T22" fmla="*/ 25 w 32"/>
                <a:gd name="T23" fmla="*/ 32 h 48"/>
                <a:gd name="T24" fmla="*/ 25 w 32"/>
                <a:gd name="T25" fmla="*/ 17 h 48"/>
                <a:gd name="T26" fmla="*/ 16 w 32"/>
                <a:gd name="T27" fmla="*/ 7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" h="48">
                  <a:moveTo>
                    <a:pt x="16" y="48"/>
                  </a:moveTo>
                  <a:cubicBezTo>
                    <a:pt x="7" y="48"/>
                    <a:pt x="0" y="41"/>
                    <a:pt x="0" y="32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7" y="0"/>
                    <a:pt x="16" y="0"/>
                  </a:cubicBezTo>
                  <a:cubicBezTo>
                    <a:pt x="25" y="0"/>
                    <a:pt x="32" y="8"/>
                    <a:pt x="32" y="17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41"/>
                    <a:pt x="25" y="48"/>
                    <a:pt x="16" y="48"/>
                  </a:cubicBezTo>
                  <a:close/>
                  <a:moveTo>
                    <a:pt x="16" y="7"/>
                  </a:moveTo>
                  <a:cubicBezTo>
                    <a:pt x="11" y="7"/>
                    <a:pt x="7" y="12"/>
                    <a:pt x="7" y="17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7" y="37"/>
                    <a:pt x="11" y="41"/>
                    <a:pt x="16" y="41"/>
                  </a:cubicBezTo>
                  <a:cubicBezTo>
                    <a:pt x="21" y="41"/>
                    <a:pt x="25" y="37"/>
                    <a:pt x="25" y="32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2"/>
                    <a:pt x="21" y="7"/>
                    <a:pt x="16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3" name="Freeform 465">
              <a:extLst>
                <a:ext uri="{FF2B5EF4-FFF2-40B4-BE49-F238E27FC236}">
                  <a16:creationId xmlns:a16="http://schemas.microsoft.com/office/drawing/2014/main" id="{7D4252BF-A54F-9C1E-77E9-0B48332A10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640496" y="1257462"/>
              <a:ext cx="90718" cy="90718"/>
            </a:xfrm>
            <a:custGeom>
              <a:avLst/>
              <a:gdLst>
                <a:gd name="T0" fmla="*/ 31 w 34"/>
                <a:gd name="T1" fmla="*/ 34 h 34"/>
                <a:gd name="T2" fmla="*/ 3 w 34"/>
                <a:gd name="T3" fmla="*/ 34 h 34"/>
                <a:gd name="T4" fmla="*/ 0 w 34"/>
                <a:gd name="T5" fmla="*/ 31 h 34"/>
                <a:gd name="T6" fmla="*/ 0 w 34"/>
                <a:gd name="T7" fmla="*/ 3 h 34"/>
                <a:gd name="T8" fmla="*/ 3 w 34"/>
                <a:gd name="T9" fmla="*/ 0 h 34"/>
                <a:gd name="T10" fmla="*/ 31 w 34"/>
                <a:gd name="T11" fmla="*/ 0 h 34"/>
                <a:gd name="T12" fmla="*/ 34 w 34"/>
                <a:gd name="T13" fmla="*/ 3 h 34"/>
                <a:gd name="T14" fmla="*/ 34 w 34"/>
                <a:gd name="T15" fmla="*/ 31 h 34"/>
                <a:gd name="T16" fmla="*/ 31 w 34"/>
                <a:gd name="T17" fmla="*/ 34 h 34"/>
                <a:gd name="T18" fmla="*/ 7 w 34"/>
                <a:gd name="T19" fmla="*/ 27 h 34"/>
                <a:gd name="T20" fmla="*/ 27 w 34"/>
                <a:gd name="T21" fmla="*/ 27 h 34"/>
                <a:gd name="T22" fmla="*/ 27 w 34"/>
                <a:gd name="T23" fmla="*/ 7 h 34"/>
                <a:gd name="T24" fmla="*/ 7 w 34"/>
                <a:gd name="T25" fmla="*/ 7 h 34"/>
                <a:gd name="T26" fmla="*/ 7 w 34"/>
                <a:gd name="T27" fmla="*/ 2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4" h="34">
                  <a:moveTo>
                    <a:pt x="31" y="34"/>
                  </a:moveTo>
                  <a:cubicBezTo>
                    <a:pt x="3" y="34"/>
                    <a:pt x="3" y="34"/>
                    <a:pt x="3" y="34"/>
                  </a:cubicBezTo>
                  <a:cubicBezTo>
                    <a:pt x="1" y="34"/>
                    <a:pt x="0" y="33"/>
                    <a:pt x="0" y="31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3" y="0"/>
                    <a:pt x="34" y="1"/>
                    <a:pt x="34" y="3"/>
                  </a:cubicBezTo>
                  <a:cubicBezTo>
                    <a:pt x="34" y="31"/>
                    <a:pt x="34" y="31"/>
                    <a:pt x="34" y="31"/>
                  </a:cubicBezTo>
                  <a:cubicBezTo>
                    <a:pt x="34" y="33"/>
                    <a:pt x="33" y="34"/>
                    <a:pt x="31" y="34"/>
                  </a:cubicBezTo>
                  <a:close/>
                  <a:moveTo>
                    <a:pt x="7" y="27"/>
                  </a:moveTo>
                  <a:cubicBezTo>
                    <a:pt x="27" y="27"/>
                    <a:pt x="27" y="27"/>
                    <a:pt x="27" y="2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2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4" name="Freeform 466">
              <a:extLst>
                <a:ext uri="{FF2B5EF4-FFF2-40B4-BE49-F238E27FC236}">
                  <a16:creationId xmlns:a16="http://schemas.microsoft.com/office/drawing/2014/main" id="{52C1BA1D-030E-B403-E6D5-DC89C7794BD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500930" y="1257462"/>
              <a:ext cx="90718" cy="90718"/>
            </a:xfrm>
            <a:custGeom>
              <a:avLst/>
              <a:gdLst>
                <a:gd name="T0" fmla="*/ 31 w 35"/>
                <a:gd name="T1" fmla="*/ 34 h 34"/>
                <a:gd name="T2" fmla="*/ 4 w 35"/>
                <a:gd name="T3" fmla="*/ 34 h 34"/>
                <a:gd name="T4" fmla="*/ 0 w 35"/>
                <a:gd name="T5" fmla="*/ 31 h 34"/>
                <a:gd name="T6" fmla="*/ 0 w 35"/>
                <a:gd name="T7" fmla="*/ 3 h 34"/>
                <a:gd name="T8" fmla="*/ 4 w 35"/>
                <a:gd name="T9" fmla="*/ 0 h 34"/>
                <a:gd name="T10" fmla="*/ 31 w 35"/>
                <a:gd name="T11" fmla="*/ 0 h 34"/>
                <a:gd name="T12" fmla="*/ 35 w 35"/>
                <a:gd name="T13" fmla="*/ 3 h 34"/>
                <a:gd name="T14" fmla="*/ 35 w 35"/>
                <a:gd name="T15" fmla="*/ 31 h 34"/>
                <a:gd name="T16" fmla="*/ 31 w 35"/>
                <a:gd name="T17" fmla="*/ 34 h 34"/>
                <a:gd name="T18" fmla="*/ 7 w 35"/>
                <a:gd name="T19" fmla="*/ 27 h 34"/>
                <a:gd name="T20" fmla="*/ 28 w 35"/>
                <a:gd name="T21" fmla="*/ 27 h 34"/>
                <a:gd name="T22" fmla="*/ 28 w 35"/>
                <a:gd name="T23" fmla="*/ 7 h 34"/>
                <a:gd name="T24" fmla="*/ 7 w 35"/>
                <a:gd name="T25" fmla="*/ 7 h 34"/>
                <a:gd name="T26" fmla="*/ 7 w 35"/>
                <a:gd name="T27" fmla="*/ 2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5" h="34">
                  <a:moveTo>
                    <a:pt x="31" y="34"/>
                  </a:moveTo>
                  <a:cubicBezTo>
                    <a:pt x="4" y="34"/>
                    <a:pt x="4" y="34"/>
                    <a:pt x="4" y="34"/>
                  </a:cubicBezTo>
                  <a:cubicBezTo>
                    <a:pt x="2" y="34"/>
                    <a:pt x="0" y="33"/>
                    <a:pt x="0" y="31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3" y="0"/>
                    <a:pt x="35" y="1"/>
                    <a:pt x="35" y="3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3"/>
                    <a:pt x="33" y="34"/>
                    <a:pt x="31" y="34"/>
                  </a:cubicBezTo>
                  <a:close/>
                  <a:moveTo>
                    <a:pt x="7" y="27"/>
                  </a:moveTo>
                  <a:cubicBezTo>
                    <a:pt x="28" y="27"/>
                    <a:pt x="28" y="27"/>
                    <a:pt x="28" y="2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2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5" name="Freeform 467">
              <a:extLst>
                <a:ext uri="{FF2B5EF4-FFF2-40B4-BE49-F238E27FC236}">
                  <a16:creationId xmlns:a16="http://schemas.microsoft.com/office/drawing/2014/main" id="{A8DD508A-11D8-58A8-0F42-E4DA4822EE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357875" y="1257462"/>
              <a:ext cx="87230" cy="90718"/>
            </a:xfrm>
            <a:custGeom>
              <a:avLst/>
              <a:gdLst>
                <a:gd name="T0" fmla="*/ 31 w 34"/>
                <a:gd name="T1" fmla="*/ 34 h 34"/>
                <a:gd name="T2" fmla="*/ 3 w 34"/>
                <a:gd name="T3" fmla="*/ 34 h 34"/>
                <a:gd name="T4" fmla="*/ 0 w 34"/>
                <a:gd name="T5" fmla="*/ 31 h 34"/>
                <a:gd name="T6" fmla="*/ 0 w 34"/>
                <a:gd name="T7" fmla="*/ 3 h 34"/>
                <a:gd name="T8" fmla="*/ 3 w 34"/>
                <a:gd name="T9" fmla="*/ 0 h 34"/>
                <a:gd name="T10" fmla="*/ 31 w 34"/>
                <a:gd name="T11" fmla="*/ 0 h 34"/>
                <a:gd name="T12" fmla="*/ 34 w 34"/>
                <a:gd name="T13" fmla="*/ 3 h 34"/>
                <a:gd name="T14" fmla="*/ 34 w 34"/>
                <a:gd name="T15" fmla="*/ 31 h 34"/>
                <a:gd name="T16" fmla="*/ 31 w 34"/>
                <a:gd name="T17" fmla="*/ 34 h 34"/>
                <a:gd name="T18" fmla="*/ 7 w 34"/>
                <a:gd name="T19" fmla="*/ 27 h 34"/>
                <a:gd name="T20" fmla="*/ 27 w 34"/>
                <a:gd name="T21" fmla="*/ 27 h 34"/>
                <a:gd name="T22" fmla="*/ 27 w 34"/>
                <a:gd name="T23" fmla="*/ 7 h 34"/>
                <a:gd name="T24" fmla="*/ 7 w 34"/>
                <a:gd name="T25" fmla="*/ 7 h 34"/>
                <a:gd name="T26" fmla="*/ 7 w 34"/>
                <a:gd name="T27" fmla="*/ 2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4" h="34">
                  <a:moveTo>
                    <a:pt x="31" y="34"/>
                  </a:moveTo>
                  <a:cubicBezTo>
                    <a:pt x="3" y="34"/>
                    <a:pt x="3" y="34"/>
                    <a:pt x="3" y="34"/>
                  </a:cubicBezTo>
                  <a:cubicBezTo>
                    <a:pt x="1" y="34"/>
                    <a:pt x="0" y="33"/>
                    <a:pt x="0" y="31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3" y="0"/>
                    <a:pt x="34" y="1"/>
                    <a:pt x="34" y="3"/>
                  </a:cubicBezTo>
                  <a:cubicBezTo>
                    <a:pt x="34" y="31"/>
                    <a:pt x="34" y="31"/>
                    <a:pt x="34" y="31"/>
                  </a:cubicBezTo>
                  <a:cubicBezTo>
                    <a:pt x="34" y="33"/>
                    <a:pt x="33" y="34"/>
                    <a:pt x="31" y="34"/>
                  </a:cubicBezTo>
                  <a:close/>
                  <a:moveTo>
                    <a:pt x="7" y="27"/>
                  </a:moveTo>
                  <a:cubicBezTo>
                    <a:pt x="27" y="27"/>
                    <a:pt x="27" y="27"/>
                    <a:pt x="27" y="2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2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6" name="Freeform 468">
              <a:extLst>
                <a:ext uri="{FF2B5EF4-FFF2-40B4-BE49-F238E27FC236}">
                  <a16:creationId xmlns:a16="http://schemas.microsoft.com/office/drawing/2014/main" id="{1501677B-1DEF-82C3-8F7B-F43DD86B5F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218308" y="1257462"/>
              <a:ext cx="90718" cy="90718"/>
            </a:xfrm>
            <a:custGeom>
              <a:avLst/>
              <a:gdLst>
                <a:gd name="T0" fmla="*/ 31 w 35"/>
                <a:gd name="T1" fmla="*/ 34 h 34"/>
                <a:gd name="T2" fmla="*/ 4 w 35"/>
                <a:gd name="T3" fmla="*/ 34 h 34"/>
                <a:gd name="T4" fmla="*/ 0 w 35"/>
                <a:gd name="T5" fmla="*/ 31 h 34"/>
                <a:gd name="T6" fmla="*/ 0 w 35"/>
                <a:gd name="T7" fmla="*/ 3 h 34"/>
                <a:gd name="T8" fmla="*/ 4 w 35"/>
                <a:gd name="T9" fmla="*/ 0 h 34"/>
                <a:gd name="T10" fmla="*/ 31 w 35"/>
                <a:gd name="T11" fmla="*/ 0 h 34"/>
                <a:gd name="T12" fmla="*/ 35 w 35"/>
                <a:gd name="T13" fmla="*/ 3 h 34"/>
                <a:gd name="T14" fmla="*/ 35 w 35"/>
                <a:gd name="T15" fmla="*/ 31 h 34"/>
                <a:gd name="T16" fmla="*/ 31 w 35"/>
                <a:gd name="T17" fmla="*/ 34 h 34"/>
                <a:gd name="T18" fmla="*/ 7 w 35"/>
                <a:gd name="T19" fmla="*/ 27 h 34"/>
                <a:gd name="T20" fmla="*/ 27 w 35"/>
                <a:gd name="T21" fmla="*/ 27 h 34"/>
                <a:gd name="T22" fmla="*/ 27 w 35"/>
                <a:gd name="T23" fmla="*/ 7 h 34"/>
                <a:gd name="T24" fmla="*/ 7 w 35"/>
                <a:gd name="T25" fmla="*/ 7 h 34"/>
                <a:gd name="T26" fmla="*/ 7 w 35"/>
                <a:gd name="T27" fmla="*/ 2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5" h="34">
                  <a:moveTo>
                    <a:pt x="31" y="34"/>
                  </a:moveTo>
                  <a:cubicBezTo>
                    <a:pt x="4" y="34"/>
                    <a:pt x="4" y="34"/>
                    <a:pt x="4" y="34"/>
                  </a:cubicBezTo>
                  <a:cubicBezTo>
                    <a:pt x="2" y="34"/>
                    <a:pt x="0" y="33"/>
                    <a:pt x="0" y="31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3" y="0"/>
                    <a:pt x="35" y="1"/>
                    <a:pt x="35" y="3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3"/>
                    <a:pt x="33" y="34"/>
                    <a:pt x="31" y="34"/>
                  </a:cubicBezTo>
                  <a:close/>
                  <a:moveTo>
                    <a:pt x="7" y="27"/>
                  </a:moveTo>
                  <a:cubicBezTo>
                    <a:pt x="27" y="27"/>
                    <a:pt x="27" y="27"/>
                    <a:pt x="27" y="2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2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7" name="Freeform 469">
              <a:extLst>
                <a:ext uri="{FF2B5EF4-FFF2-40B4-BE49-F238E27FC236}">
                  <a16:creationId xmlns:a16="http://schemas.microsoft.com/office/drawing/2014/main" id="{75C81AB8-97F8-21F0-AADB-6A2C862B0BB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640496" y="1397029"/>
              <a:ext cx="90718" cy="94209"/>
            </a:xfrm>
            <a:custGeom>
              <a:avLst/>
              <a:gdLst>
                <a:gd name="T0" fmla="*/ 31 w 34"/>
                <a:gd name="T1" fmla="*/ 35 h 35"/>
                <a:gd name="T2" fmla="*/ 3 w 34"/>
                <a:gd name="T3" fmla="*/ 35 h 35"/>
                <a:gd name="T4" fmla="*/ 0 w 34"/>
                <a:gd name="T5" fmla="*/ 31 h 35"/>
                <a:gd name="T6" fmla="*/ 0 w 34"/>
                <a:gd name="T7" fmla="*/ 4 h 35"/>
                <a:gd name="T8" fmla="*/ 3 w 34"/>
                <a:gd name="T9" fmla="*/ 0 h 35"/>
                <a:gd name="T10" fmla="*/ 31 w 34"/>
                <a:gd name="T11" fmla="*/ 0 h 35"/>
                <a:gd name="T12" fmla="*/ 34 w 34"/>
                <a:gd name="T13" fmla="*/ 4 h 35"/>
                <a:gd name="T14" fmla="*/ 34 w 34"/>
                <a:gd name="T15" fmla="*/ 31 h 35"/>
                <a:gd name="T16" fmla="*/ 31 w 34"/>
                <a:gd name="T17" fmla="*/ 35 h 35"/>
                <a:gd name="T18" fmla="*/ 7 w 34"/>
                <a:gd name="T19" fmla="*/ 27 h 35"/>
                <a:gd name="T20" fmla="*/ 27 w 34"/>
                <a:gd name="T21" fmla="*/ 27 h 35"/>
                <a:gd name="T22" fmla="*/ 27 w 34"/>
                <a:gd name="T23" fmla="*/ 7 h 35"/>
                <a:gd name="T24" fmla="*/ 7 w 34"/>
                <a:gd name="T25" fmla="*/ 7 h 35"/>
                <a:gd name="T26" fmla="*/ 7 w 34"/>
                <a:gd name="T27" fmla="*/ 2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4" h="35">
                  <a:moveTo>
                    <a:pt x="31" y="35"/>
                  </a:moveTo>
                  <a:cubicBezTo>
                    <a:pt x="3" y="35"/>
                    <a:pt x="3" y="35"/>
                    <a:pt x="3" y="35"/>
                  </a:cubicBezTo>
                  <a:cubicBezTo>
                    <a:pt x="1" y="35"/>
                    <a:pt x="0" y="33"/>
                    <a:pt x="0" y="3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3" y="0"/>
                    <a:pt x="34" y="2"/>
                    <a:pt x="34" y="4"/>
                  </a:cubicBezTo>
                  <a:cubicBezTo>
                    <a:pt x="34" y="31"/>
                    <a:pt x="34" y="31"/>
                    <a:pt x="34" y="31"/>
                  </a:cubicBezTo>
                  <a:cubicBezTo>
                    <a:pt x="34" y="33"/>
                    <a:pt x="33" y="35"/>
                    <a:pt x="31" y="35"/>
                  </a:cubicBezTo>
                  <a:close/>
                  <a:moveTo>
                    <a:pt x="7" y="27"/>
                  </a:moveTo>
                  <a:cubicBezTo>
                    <a:pt x="27" y="27"/>
                    <a:pt x="27" y="27"/>
                    <a:pt x="27" y="2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2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8" name="Freeform 470">
              <a:extLst>
                <a:ext uri="{FF2B5EF4-FFF2-40B4-BE49-F238E27FC236}">
                  <a16:creationId xmlns:a16="http://schemas.microsoft.com/office/drawing/2014/main" id="{3A4997FF-87C8-33A1-EE54-DB4CE4EB51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500930" y="1397029"/>
              <a:ext cx="90718" cy="94209"/>
            </a:xfrm>
            <a:custGeom>
              <a:avLst/>
              <a:gdLst>
                <a:gd name="T0" fmla="*/ 31 w 35"/>
                <a:gd name="T1" fmla="*/ 35 h 35"/>
                <a:gd name="T2" fmla="*/ 4 w 35"/>
                <a:gd name="T3" fmla="*/ 35 h 35"/>
                <a:gd name="T4" fmla="*/ 0 w 35"/>
                <a:gd name="T5" fmla="*/ 31 h 35"/>
                <a:gd name="T6" fmla="*/ 0 w 35"/>
                <a:gd name="T7" fmla="*/ 4 h 35"/>
                <a:gd name="T8" fmla="*/ 4 w 35"/>
                <a:gd name="T9" fmla="*/ 0 h 35"/>
                <a:gd name="T10" fmla="*/ 31 w 35"/>
                <a:gd name="T11" fmla="*/ 0 h 35"/>
                <a:gd name="T12" fmla="*/ 35 w 35"/>
                <a:gd name="T13" fmla="*/ 4 h 35"/>
                <a:gd name="T14" fmla="*/ 35 w 35"/>
                <a:gd name="T15" fmla="*/ 31 h 35"/>
                <a:gd name="T16" fmla="*/ 31 w 35"/>
                <a:gd name="T17" fmla="*/ 35 h 35"/>
                <a:gd name="T18" fmla="*/ 7 w 35"/>
                <a:gd name="T19" fmla="*/ 27 h 35"/>
                <a:gd name="T20" fmla="*/ 28 w 35"/>
                <a:gd name="T21" fmla="*/ 27 h 35"/>
                <a:gd name="T22" fmla="*/ 28 w 35"/>
                <a:gd name="T23" fmla="*/ 7 h 35"/>
                <a:gd name="T24" fmla="*/ 7 w 35"/>
                <a:gd name="T25" fmla="*/ 7 h 35"/>
                <a:gd name="T26" fmla="*/ 7 w 35"/>
                <a:gd name="T27" fmla="*/ 2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5" h="35">
                  <a:moveTo>
                    <a:pt x="31" y="35"/>
                  </a:moveTo>
                  <a:cubicBezTo>
                    <a:pt x="4" y="35"/>
                    <a:pt x="4" y="35"/>
                    <a:pt x="4" y="35"/>
                  </a:cubicBezTo>
                  <a:cubicBezTo>
                    <a:pt x="2" y="35"/>
                    <a:pt x="0" y="33"/>
                    <a:pt x="0" y="3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3" y="0"/>
                    <a:pt x="35" y="2"/>
                    <a:pt x="35" y="4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3"/>
                    <a:pt x="33" y="35"/>
                    <a:pt x="31" y="35"/>
                  </a:cubicBezTo>
                  <a:close/>
                  <a:moveTo>
                    <a:pt x="7" y="27"/>
                  </a:moveTo>
                  <a:cubicBezTo>
                    <a:pt x="28" y="27"/>
                    <a:pt x="28" y="27"/>
                    <a:pt x="28" y="2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2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9" name="Freeform 471">
              <a:extLst>
                <a:ext uri="{FF2B5EF4-FFF2-40B4-BE49-F238E27FC236}">
                  <a16:creationId xmlns:a16="http://schemas.microsoft.com/office/drawing/2014/main" id="{4B65E6F3-82B2-2098-4B84-EB774F424E5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357875" y="1397029"/>
              <a:ext cx="87230" cy="94209"/>
            </a:xfrm>
            <a:custGeom>
              <a:avLst/>
              <a:gdLst>
                <a:gd name="T0" fmla="*/ 31 w 34"/>
                <a:gd name="T1" fmla="*/ 35 h 35"/>
                <a:gd name="T2" fmla="*/ 3 w 34"/>
                <a:gd name="T3" fmla="*/ 35 h 35"/>
                <a:gd name="T4" fmla="*/ 0 w 34"/>
                <a:gd name="T5" fmla="*/ 31 h 35"/>
                <a:gd name="T6" fmla="*/ 0 w 34"/>
                <a:gd name="T7" fmla="*/ 4 h 35"/>
                <a:gd name="T8" fmla="*/ 3 w 34"/>
                <a:gd name="T9" fmla="*/ 0 h 35"/>
                <a:gd name="T10" fmla="*/ 31 w 34"/>
                <a:gd name="T11" fmla="*/ 0 h 35"/>
                <a:gd name="T12" fmla="*/ 34 w 34"/>
                <a:gd name="T13" fmla="*/ 4 h 35"/>
                <a:gd name="T14" fmla="*/ 34 w 34"/>
                <a:gd name="T15" fmla="*/ 31 h 35"/>
                <a:gd name="T16" fmla="*/ 31 w 34"/>
                <a:gd name="T17" fmla="*/ 35 h 35"/>
                <a:gd name="T18" fmla="*/ 7 w 34"/>
                <a:gd name="T19" fmla="*/ 27 h 35"/>
                <a:gd name="T20" fmla="*/ 27 w 34"/>
                <a:gd name="T21" fmla="*/ 27 h 35"/>
                <a:gd name="T22" fmla="*/ 27 w 34"/>
                <a:gd name="T23" fmla="*/ 7 h 35"/>
                <a:gd name="T24" fmla="*/ 7 w 34"/>
                <a:gd name="T25" fmla="*/ 7 h 35"/>
                <a:gd name="T26" fmla="*/ 7 w 34"/>
                <a:gd name="T27" fmla="*/ 2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4" h="35">
                  <a:moveTo>
                    <a:pt x="31" y="35"/>
                  </a:moveTo>
                  <a:cubicBezTo>
                    <a:pt x="3" y="35"/>
                    <a:pt x="3" y="35"/>
                    <a:pt x="3" y="35"/>
                  </a:cubicBezTo>
                  <a:cubicBezTo>
                    <a:pt x="1" y="35"/>
                    <a:pt x="0" y="33"/>
                    <a:pt x="0" y="3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3" y="0"/>
                    <a:pt x="34" y="2"/>
                    <a:pt x="34" y="4"/>
                  </a:cubicBezTo>
                  <a:cubicBezTo>
                    <a:pt x="34" y="31"/>
                    <a:pt x="34" y="31"/>
                    <a:pt x="34" y="31"/>
                  </a:cubicBezTo>
                  <a:cubicBezTo>
                    <a:pt x="34" y="33"/>
                    <a:pt x="33" y="35"/>
                    <a:pt x="31" y="35"/>
                  </a:cubicBezTo>
                  <a:close/>
                  <a:moveTo>
                    <a:pt x="7" y="27"/>
                  </a:moveTo>
                  <a:cubicBezTo>
                    <a:pt x="27" y="27"/>
                    <a:pt x="27" y="27"/>
                    <a:pt x="27" y="2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2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0" name="Freeform 472">
              <a:extLst>
                <a:ext uri="{FF2B5EF4-FFF2-40B4-BE49-F238E27FC236}">
                  <a16:creationId xmlns:a16="http://schemas.microsoft.com/office/drawing/2014/main" id="{F6608EEF-483F-ACB1-4995-51B7B59B5B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218308" y="1397029"/>
              <a:ext cx="90718" cy="94209"/>
            </a:xfrm>
            <a:custGeom>
              <a:avLst/>
              <a:gdLst>
                <a:gd name="T0" fmla="*/ 31 w 35"/>
                <a:gd name="T1" fmla="*/ 35 h 35"/>
                <a:gd name="T2" fmla="*/ 4 w 35"/>
                <a:gd name="T3" fmla="*/ 35 h 35"/>
                <a:gd name="T4" fmla="*/ 0 w 35"/>
                <a:gd name="T5" fmla="*/ 31 h 35"/>
                <a:gd name="T6" fmla="*/ 0 w 35"/>
                <a:gd name="T7" fmla="*/ 4 h 35"/>
                <a:gd name="T8" fmla="*/ 4 w 35"/>
                <a:gd name="T9" fmla="*/ 0 h 35"/>
                <a:gd name="T10" fmla="*/ 31 w 35"/>
                <a:gd name="T11" fmla="*/ 0 h 35"/>
                <a:gd name="T12" fmla="*/ 35 w 35"/>
                <a:gd name="T13" fmla="*/ 4 h 35"/>
                <a:gd name="T14" fmla="*/ 35 w 35"/>
                <a:gd name="T15" fmla="*/ 31 h 35"/>
                <a:gd name="T16" fmla="*/ 31 w 35"/>
                <a:gd name="T17" fmla="*/ 35 h 35"/>
                <a:gd name="T18" fmla="*/ 7 w 35"/>
                <a:gd name="T19" fmla="*/ 27 h 35"/>
                <a:gd name="T20" fmla="*/ 27 w 35"/>
                <a:gd name="T21" fmla="*/ 27 h 35"/>
                <a:gd name="T22" fmla="*/ 27 w 35"/>
                <a:gd name="T23" fmla="*/ 7 h 35"/>
                <a:gd name="T24" fmla="*/ 7 w 35"/>
                <a:gd name="T25" fmla="*/ 7 h 35"/>
                <a:gd name="T26" fmla="*/ 7 w 35"/>
                <a:gd name="T27" fmla="*/ 2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5" h="35">
                  <a:moveTo>
                    <a:pt x="31" y="35"/>
                  </a:moveTo>
                  <a:cubicBezTo>
                    <a:pt x="4" y="35"/>
                    <a:pt x="4" y="35"/>
                    <a:pt x="4" y="35"/>
                  </a:cubicBezTo>
                  <a:cubicBezTo>
                    <a:pt x="2" y="35"/>
                    <a:pt x="0" y="33"/>
                    <a:pt x="0" y="3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3" y="0"/>
                    <a:pt x="35" y="2"/>
                    <a:pt x="35" y="4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3"/>
                    <a:pt x="33" y="35"/>
                    <a:pt x="31" y="35"/>
                  </a:cubicBezTo>
                  <a:close/>
                  <a:moveTo>
                    <a:pt x="7" y="27"/>
                  </a:moveTo>
                  <a:cubicBezTo>
                    <a:pt x="27" y="27"/>
                    <a:pt x="27" y="27"/>
                    <a:pt x="27" y="2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2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1" name="Shape3_20200717_154439">
            <a:extLst>
              <a:ext uri="{FF2B5EF4-FFF2-40B4-BE49-F238E27FC236}">
                <a16:creationId xmlns:a16="http://schemas.microsoft.com/office/drawing/2014/main" id="{EC02AE85-00A5-B398-A180-368140F667E9}"/>
              </a:ext>
            </a:extLst>
          </p:cNvPr>
          <p:cNvGrpSpPr>
            <a:grpSpLocks noChangeAspect="1"/>
          </p:cNvGrpSpPr>
          <p:nvPr/>
        </p:nvGrpSpPr>
        <p:grpSpPr>
          <a:xfrm>
            <a:off x="1875772" y="1210635"/>
            <a:ext cx="607116" cy="610606"/>
            <a:chOff x="-4457668" y="988797"/>
            <a:chExt cx="607116" cy="610606"/>
          </a:xfrm>
          <a:solidFill>
            <a:schemeClr val="accent1"/>
          </a:solidFill>
        </p:grpSpPr>
        <p:sp>
          <p:nvSpPr>
            <p:cNvPr id="256" name="Freeform 473">
              <a:extLst>
                <a:ext uri="{FF2B5EF4-FFF2-40B4-BE49-F238E27FC236}">
                  <a16:creationId xmlns:a16="http://schemas.microsoft.com/office/drawing/2014/main" id="{678ECC75-47D7-68DD-8B34-244CE42D0A44}"/>
                </a:ext>
              </a:extLst>
            </p:cNvPr>
            <p:cNvSpPr>
              <a:spLocks/>
            </p:cNvSpPr>
            <p:nvPr/>
          </p:nvSpPr>
          <p:spPr bwMode="auto">
            <a:xfrm>
              <a:off x="-4457668" y="988797"/>
              <a:ext cx="607116" cy="610606"/>
            </a:xfrm>
            <a:custGeom>
              <a:avLst/>
              <a:gdLst>
                <a:gd name="T0" fmla="*/ 116 w 232"/>
                <a:gd name="T1" fmla="*/ 232 h 232"/>
                <a:gd name="T2" fmla="*/ 0 w 232"/>
                <a:gd name="T3" fmla="*/ 116 h 232"/>
                <a:gd name="T4" fmla="*/ 116 w 232"/>
                <a:gd name="T5" fmla="*/ 0 h 232"/>
                <a:gd name="T6" fmla="*/ 193 w 232"/>
                <a:gd name="T7" fmla="*/ 30 h 232"/>
                <a:gd name="T8" fmla="*/ 194 w 232"/>
                <a:gd name="T9" fmla="*/ 35 h 232"/>
                <a:gd name="T10" fmla="*/ 189 w 232"/>
                <a:gd name="T11" fmla="*/ 36 h 232"/>
                <a:gd name="T12" fmla="*/ 116 w 232"/>
                <a:gd name="T13" fmla="*/ 8 h 232"/>
                <a:gd name="T14" fmla="*/ 7 w 232"/>
                <a:gd name="T15" fmla="*/ 116 h 232"/>
                <a:gd name="T16" fmla="*/ 116 w 232"/>
                <a:gd name="T17" fmla="*/ 225 h 232"/>
                <a:gd name="T18" fmla="*/ 224 w 232"/>
                <a:gd name="T19" fmla="*/ 116 h 232"/>
                <a:gd name="T20" fmla="*/ 228 w 232"/>
                <a:gd name="T21" fmla="*/ 113 h 232"/>
                <a:gd name="T22" fmla="*/ 232 w 232"/>
                <a:gd name="T23" fmla="*/ 116 h 232"/>
                <a:gd name="T24" fmla="*/ 116 w 232"/>
                <a:gd name="T25" fmla="*/ 232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" h="232">
                  <a:moveTo>
                    <a:pt x="116" y="232"/>
                  </a:moveTo>
                  <a:cubicBezTo>
                    <a:pt x="52" y="232"/>
                    <a:pt x="0" y="180"/>
                    <a:pt x="0" y="116"/>
                  </a:cubicBezTo>
                  <a:cubicBezTo>
                    <a:pt x="0" y="52"/>
                    <a:pt x="52" y="0"/>
                    <a:pt x="116" y="0"/>
                  </a:cubicBezTo>
                  <a:cubicBezTo>
                    <a:pt x="145" y="0"/>
                    <a:pt x="172" y="11"/>
                    <a:pt x="193" y="30"/>
                  </a:cubicBezTo>
                  <a:cubicBezTo>
                    <a:pt x="195" y="32"/>
                    <a:pt x="195" y="34"/>
                    <a:pt x="194" y="35"/>
                  </a:cubicBezTo>
                  <a:cubicBezTo>
                    <a:pt x="192" y="37"/>
                    <a:pt x="190" y="37"/>
                    <a:pt x="189" y="36"/>
                  </a:cubicBezTo>
                  <a:cubicBezTo>
                    <a:pt x="169" y="18"/>
                    <a:pt x="143" y="8"/>
                    <a:pt x="116" y="8"/>
                  </a:cubicBezTo>
                  <a:cubicBezTo>
                    <a:pt x="56" y="8"/>
                    <a:pt x="7" y="56"/>
                    <a:pt x="7" y="116"/>
                  </a:cubicBezTo>
                  <a:cubicBezTo>
                    <a:pt x="7" y="176"/>
                    <a:pt x="56" y="225"/>
                    <a:pt x="116" y="225"/>
                  </a:cubicBezTo>
                  <a:cubicBezTo>
                    <a:pt x="176" y="225"/>
                    <a:pt x="224" y="176"/>
                    <a:pt x="224" y="116"/>
                  </a:cubicBezTo>
                  <a:cubicBezTo>
                    <a:pt x="224" y="114"/>
                    <a:pt x="226" y="113"/>
                    <a:pt x="228" y="113"/>
                  </a:cubicBezTo>
                  <a:cubicBezTo>
                    <a:pt x="230" y="113"/>
                    <a:pt x="232" y="114"/>
                    <a:pt x="232" y="116"/>
                  </a:cubicBezTo>
                  <a:cubicBezTo>
                    <a:pt x="232" y="180"/>
                    <a:pt x="180" y="232"/>
                    <a:pt x="116" y="23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7" name="Freeform 474">
              <a:extLst>
                <a:ext uri="{FF2B5EF4-FFF2-40B4-BE49-F238E27FC236}">
                  <a16:creationId xmlns:a16="http://schemas.microsoft.com/office/drawing/2014/main" id="{1A62EE22-86F7-9788-543D-C9950FE5968C}"/>
                </a:ext>
              </a:extLst>
            </p:cNvPr>
            <p:cNvSpPr>
              <a:spLocks/>
            </p:cNvSpPr>
            <p:nvPr/>
          </p:nvSpPr>
          <p:spPr bwMode="auto">
            <a:xfrm>
              <a:off x="-4164577" y="1076025"/>
              <a:ext cx="129100" cy="230285"/>
            </a:xfrm>
            <a:custGeom>
              <a:avLst/>
              <a:gdLst>
                <a:gd name="T0" fmla="*/ 45 w 49"/>
                <a:gd name="T1" fmla="*/ 87 h 87"/>
                <a:gd name="T2" fmla="*/ 4 w 49"/>
                <a:gd name="T3" fmla="*/ 87 h 87"/>
                <a:gd name="T4" fmla="*/ 0 w 49"/>
                <a:gd name="T5" fmla="*/ 83 h 87"/>
                <a:gd name="T6" fmla="*/ 0 w 49"/>
                <a:gd name="T7" fmla="*/ 3 h 87"/>
                <a:gd name="T8" fmla="*/ 4 w 49"/>
                <a:gd name="T9" fmla="*/ 0 h 87"/>
                <a:gd name="T10" fmla="*/ 7 w 49"/>
                <a:gd name="T11" fmla="*/ 3 h 87"/>
                <a:gd name="T12" fmla="*/ 7 w 49"/>
                <a:gd name="T13" fmla="*/ 80 h 87"/>
                <a:gd name="T14" fmla="*/ 45 w 49"/>
                <a:gd name="T15" fmla="*/ 80 h 87"/>
                <a:gd name="T16" fmla="*/ 49 w 49"/>
                <a:gd name="T17" fmla="*/ 83 h 87"/>
                <a:gd name="T18" fmla="*/ 45 w 49"/>
                <a:gd name="T1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9" h="87">
                  <a:moveTo>
                    <a:pt x="45" y="87"/>
                  </a:moveTo>
                  <a:cubicBezTo>
                    <a:pt x="4" y="87"/>
                    <a:pt x="4" y="87"/>
                    <a:pt x="4" y="87"/>
                  </a:cubicBezTo>
                  <a:cubicBezTo>
                    <a:pt x="2" y="87"/>
                    <a:pt x="0" y="85"/>
                    <a:pt x="0" y="8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" y="0"/>
                    <a:pt x="7" y="1"/>
                    <a:pt x="7" y="3"/>
                  </a:cubicBezTo>
                  <a:cubicBezTo>
                    <a:pt x="7" y="80"/>
                    <a:pt x="7" y="80"/>
                    <a:pt x="7" y="80"/>
                  </a:cubicBezTo>
                  <a:cubicBezTo>
                    <a:pt x="45" y="80"/>
                    <a:pt x="45" y="80"/>
                    <a:pt x="45" y="80"/>
                  </a:cubicBezTo>
                  <a:cubicBezTo>
                    <a:pt x="47" y="80"/>
                    <a:pt x="49" y="81"/>
                    <a:pt x="49" y="83"/>
                  </a:cubicBezTo>
                  <a:cubicBezTo>
                    <a:pt x="49" y="85"/>
                    <a:pt x="47" y="87"/>
                    <a:pt x="45" y="8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8" name="Freeform 475">
              <a:extLst>
                <a:ext uri="{FF2B5EF4-FFF2-40B4-BE49-F238E27FC236}">
                  <a16:creationId xmlns:a16="http://schemas.microsoft.com/office/drawing/2014/main" id="{1AF75103-22C0-1AB1-78FE-64E85E06ADB7}"/>
                </a:ext>
              </a:extLst>
            </p:cNvPr>
            <p:cNvSpPr>
              <a:spLocks/>
            </p:cNvSpPr>
            <p:nvPr/>
          </p:nvSpPr>
          <p:spPr bwMode="auto">
            <a:xfrm>
              <a:off x="-4038967" y="992285"/>
              <a:ext cx="94209" cy="101187"/>
            </a:xfrm>
            <a:custGeom>
              <a:avLst/>
              <a:gdLst>
                <a:gd name="T0" fmla="*/ 3 w 35"/>
                <a:gd name="T1" fmla="*/ 39 h 39"/>
                <a:gd name="T2" fmla="*/ 0 w 35"/>
                <a:gd name="T3" fmla="*/ 36 h 39"/>
                <a:gd name="T4" fmla="*/ 3 w 35"/>
                <a:gd name="T5" fmla="*/ 32 h 39"/>
                <a:gd name="T6" fmla="*/ 27 w 35"/>
                <a:gd name="T7" fmla="*/ 29 h 39"/>
                <a:gd name="T8" fmla="*/ 25 w 35"/>
                <a:gd name="T9" fmla="*/ 4 h 39"/>
                <a:gd name="T10" fmla="*/ 28 w 35"/>
                <a:gd name="T11" fmla="*/ 0 h 39"/>
                <a:gd name="T12" fmla="*/ 32 w 35"/>
                <a:gd name="T13" fmla="*/ 3 h 39"/>
                <a:gd name="T14" fmla="*/ 35 w 35"/>
                <a:gd name="T15" fmla="*/ 32 h 39"/>
                <a:gd name="T16" fmla="*/ 34 w 35"/>
                <a:gd name="T17" fmla="*/ 34 h 39"/>
                <a:gd name="T18" fmla="*/ 32 w 35"/>
                <a:gd name="T19" fmla="*/ 36 h 39"/>
                <a:gd name="T20" fmla="*/ 4 w 35"/>
                <a:gd name="T21" fmla="*/ 39 h 39"/>
                <a:gd name="T22" fmla="*/ 3 w 35"/>
                <a:gd name="T23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39">
                  <a:moveTo>
                    <a:pt x="3" y="39"/>
                  </a:moveTo>
                  <a:cubicBezTo>
                    <a:pt x="2" y="39"/>
                    <a:pt x="0" y="37"/>
                    <a:pt x="0" y="36"/>
                  </a:cubicBezTo>
                  <a:cubicBezTo>
                    <a:pt x="0" y="34"/>
                    <a:pt x="1" y="32"/>
                    <a:pt x="3" y="32"/>
                  </a:cubicBezTo>
                  <a:cubicBezTo>
                    <a:pt x="27" y="29"/>
                    <a:pt x="27" y="29"/>
                    <a:pt x="27" y="29"/>
                  </a:cubicBezTo>
                  <a:cubicBezTo>
                    <a:pt x="25" y="4"/>
                    <a:pt x="25" y="4"/>
                    <a:pt x="25" y="4"/>
                  </a:cubicBezTo>
                  <a:cubicBezTo>
                    <a:pt x="24" y="2"/>
                    <a:pt x="26" y="1"/>
                    <a:pt x="28" y="0"/>
                  </a:cubicBezTo>
                  <a:cubicBezTo>
                    <a:pt x="30" y="0"/>
                    <a:pt x="32" y="2"/>
                    <a:pt x="32" y="3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3"/>
                    <a:pt x="35" y="34"/>
                    <a:pt x="34" y="34"/>
                  </a:cubicBezTo>
                  <a:cubicBezTo>
                    <a:pt x="33" y="35"/>
                    <a:pt x="33" y="36"/>
                    <a:pt x="32" y="36"/>
                  </a:cubicBezTo>
                  <a:cubicBezTo>
                    <a:pt x="4" y="39"/>
                    <a:pt x="4" y="39"/>
                    <a:pt x="4" y="39"/>
                  </a:cubicBezTo>
                  <a:cubicBezTo>
                    <a:pt x="4" y="39"/>
                    <a:pt x="3" y="39"/>
                    <a:pt x="3" y="3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2" name="Shape0_20200717_154439">
            <a:extLst>
              <a:ext uri="{FF2B5EF4-FFF2-40B4-BE49-F238E27FC236}">
                <a16:creationId xmlns:a16="http://schemas.microsoft.com/office/drawing/2014/main" id="{C364CCF4-BB81-3883-97EB-6B65EEF95D34}"/>
              </a:ext>
            </a:extLst>
          </p:cNvPr>
          <p:cNvGrpSpPr>
            <a:grpSpLocks noChangeAspect="1"/>
          </p:cNvGrpSpPr>
          <p:nvPr/>
        </p:nvGrpSpPr>
        <p:grpSpPr>
          <a:xfrm>
            <a:off x="4479906" y="1207145"/>
            <a:ext cx="621073" cy="621075"/>
            <a:chOff x="-2001290" y="985307"/>
            <a:chExt cx="621073" cy="621075"/>
          </a:xfrm>
          <a:solidFill>
            <a:schemeClr val="accent1"/>
          </a:solidFill>
        </p:grpSpPr>
        <p:sp>
          <p:nvSpPr>
            <p:cNvPr id="242" name="Freeform 476">
              <a:extLst>
                <a:ext uri="{FF2B5EF4-FFF2-40B4-BE49-F238E27FC236}">
                  <a16:creationId xmlns:a16="http://schemas.microsoft.com/office/drawing/2014/main" id="{EDEFC7C1-7523-66AF-5DA0-A7726B347EB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001290" y="985307"/>
              <a:ext cx="621073" cy="621073"/>
            </a:xfrm>
            <a:custGeom>
              <a:avLst/>
              <a:gdLst>
                <a:gd name="T0" fmla="*/ 118 w 237"/>
                <a:gd name="T1" fmla="*/ 236 h 236"/>
                <a:gd name="T2" fmla="*/ 0 w 237"/>
                <a:gd name="T3" fmla="*/ 118 h 236"/>
                <a:gd name="T4" fmla="*/ 118 w 237"/>
                <a:gd name="T5" fmla="*/ 0 h 236"/>
                <a:gd name="T6" fmla="*/ 237 w 237"/>
                <a:gd name="T7" fmla="*/ 118 h 236"/>
                <a:gd name="T8" fmla="*/ 118 w 237"/>
                <a:gd name="T9" fmla="*/ 236 h 236"/>
                <a:gd name="T10" fmla="*/ 118 w 237"/>
                <a:gd name="T11" fmla="*/ 7 h 236"/>
                <a:gd name="T12" fmla="*/ 7 w 237"/>
                <a:gd name="T13" fmla="*/ 118 h 236"/>
                <a:gd name="T14" fmla="*/ 118 w 237"/>
                <a:gd name="T15" fmla="*/ 229 h 236"/>
                <a:gd name="T16" fmla="*/ 229 w 237"/>
                <a:gd name="T17" fmla="*/ 118 h 236"/>
                <a:gd name="T18" fmla="*/ 118 w 237"/>
                <a:gd name="T19" fmla="*/ 7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7" h="236">
                  <a:moveTo>
                    <a:pt x="118" y="236"/>
                  </a:moveTo>
                  <a:cubicBezTo>
                    <a:pt x="53" y="236"/>
                    <a:pt x="0" y="183"/>
                    <a:pt x="0" y="118"/>
                  </a:cubicBezTo>
                  <a:cubicBezTo>
                    <a:pt x="0" y="53"/>
                    <a:pt x="53" y="0"/>
                    <a:pt x="118" y="0"/>
                  </a:cubicBezTo>
                  <a:cubicBezTo>
                    <a:pt x="184" y="0"/>
                    <a:pt x="237" y="53"/>
                    <a:pt x="237" y="118"/>
                  </a:cubicBezTo>
                  <a:cubicBezTo>
                    <a:pt x="237" y="183"/>
                    <a:pt x="184" y="236"/>
                    <a:pt x="118" y="236"/>
                  </a:cubicBezTo>
                  <a:close/>
                  <a:moveTo>
                    <a:pt x="118" y="7"/>
                  </a:moveTo>
                  <a:cubicBezTo>
                    <a:pt x="57" y="7"/>
                    <a:pt x="7" y="57"/>
                    <a:pt x="7" y="118"/>
                  </a:cubicBezTo>
                  <a:cubicBezTo>
                    <a:pt x="7" y="179"/>
                    <a:pt x="57" y="229"/>
                    <a:pt x="118" y="229"/>
                  </a:cubicBezTo>
                  <a:cubicBezTo>
                    <a:pt x="180" y="229"/>
                    <a:pt x="229" y="179"/>
                    <a:pt x="229" y="118"/>
                  </a:cubicBezTo>
                  <a:cubicBezTo>
                    <a:pt x="229" y="57"/>
                    <a:pt x="180" y="7"/>
                    <a:pt x="118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3" name="Freeform 477">
              <a:extLst>
                <a:ext uri="{FF2B5EF4-FFF2-40B4-BE49-F238E27FC236}">
                  <a16:creationId xmlns:a16="http://schemas.microsoft.com/office/drawing/2014/main" id="{052DFEFE-4C52-B195-168A-C748CD9D0438}"/>
                </a:ext>
              </a:extLst>
            </p:cNvPr>
            <p:cNvSpPr>
              <a:spLocks/>
            </p:cNvSpPr>
            <p:nvPr/>
          </p:nvSpPr>
          <p:spPr bwMode="auto">
            <a:xfrm>
              <a:off x="-1701221" y="985307"/>
              <a:ext cx="17447" cy="52339"/>
            </a:xfrm>
            <a:custGeom>
              <a:avLst/>
              <a:gdLst>
                <a:gd name="T0" fmla="*/ 3 w 7"/>
                <a:gd name="T1" fmla="*/ 20 h 20"/>
                <a:gd name="T2" fmla="*/ 0 w 7"/>
                <a:gd name="T3" fmla="*/ 17 h 20"/>
                <a:gd name="T4" fmla="*/ 0 w 7"/>
                <a:gd name="T5" fmla="*/ 3 h 20"/>
                <a:gd name="T6" fmla="*/ 3 w 7"/>
                <a:gd name="T7" fmla="*/ 0 h 20"/>
                <a:gd name="T8" fmla="*/ 7 w 7"/>
                <a:gd name="T9" fmla="*/ 3 h 20"/>
                <a:gd name="T10" fmla="*/ 7 w 7"/>
                <a:gd name="T11" fmla="*/ 17 h 20"/>
                <a:gd name="T12" fmla="*/ 3 w 7"/>
                <a:gd name="T13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20">
                  <a:moveTo>
                    <a:pt x="3" y="20"/>
                  </a:moveTo>
                  <a:cubicBezTo>
                    <a:pt x="1" y="20"/>
                    <a:pt x="0" y="19"/>
                    <a:pt x="0" y="17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5" y="0"/>
                    <a:pt x="7" y="1"/>
                    <a:pt x="7" y="3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7" y="19"/>
                    <a:pt x="5" y="20"/>
                    <a:pt x="3" y="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4" name="Freeform 478">
              <a:extLst>
                <a:ext uri="{FF2B5EF4-FFF2-40B4-BE49-F238E27FC236}">
                  <a16:creationId xmlns:a16="http://schemas.microsoft.com/office/drawing/2014/main" id="{9A11F2EB-7C04-29C7-0CBC-C12DC835E41C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54745" y="1023689"/>
              <a:ext cx="41870" cy="48848"/>
            </a:xfrm>
            <a:custGeom>
              <a:avLst/>
              <a:gdLst>
                <a:gd name="T0" fmla="*/ 11 w 15"/>
                <a:gd name="T1" fmla="*/ 19 h 19"/>
                <a:gd name="T2" fmla="*/ 7 w 15"/>
                <a:gd name="T3" fmla="*/ 17 h 19"/>
                <a:gd name="T4" fmla="*/ 1 w 15"/>
                <a:gd name="T5" fmla="*/ 6 h 19"/>
                <a:gd name="T6" fmla="*/ 2 w 15"/>
                <a:gd name="T7" fmla="*/ 1 h 19"/>
                <a:gd name="T8" fmla="*/ 7 w 15"/>
                <a:gd name="T9" fmla="*/ 2 h 19"/>
                <a:gd name="T10" fmla="*/ 14 w 15"/>
                <a:gd name="T11" fmla="*/ 13 h 19"/>
                <a:gd name="T12" fmla="*/ 12 w 15"/>
                <a:gd name="T13" fmla="*/ 18 h 19"/>
                <a:gd name="T14" fmla="*/ 11 w 15"/>
                <a:gd name="T1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19">
                  <a:moveTo>
                    <a:pt x="11" y="19"/>
                  </a:moveTo>
                  <a:cubicBezTo>
                    <a:pt x="9" y="19"/>
                    <a:pt x="8" y="18"/>
                    <a:pt x="7" y="17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4"/>
                    <a:pt x="0" y="2"/>
                    <a:pt x="2" y="1"/>
                  </a:cubicBezTo>
                  <a:cubicBezTo>
                    <a:pt x="4" y="0"/>
                    <a:pt x="6" y="0"/>
                    <a:pt x="7" y="2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5" y="15"/>
                    <a:pt x="14" y="17"/>
                    <a:pt x="12" y="18"/>
                  </a:cubicBezTo>
                  <a:cubicBezTo>
                    <a:pt x="12" y="19"/>
                    <a:pt x="11" y="19"/>
                    <a:pt x="11" y="1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5" name="Freeform 479">
              <a:extLst>
                <a:ext uri="{FF2B5EF4-FFF2-40B4-BE49-F238E27FC236}">
                  <a16:creationId xmlns:a16="http://schemas.microsoft.com/office/drawing/2014/main" id="{3E88E600-FD51-63B7-EE2F-49C005151824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62908" y="1135342"/>
              <a:ext cx="48848" cy="34892"/>
            </a:xfrm>
            <a:custGeom>
              <a:avLst/>
              <a:gdLst>
                <a:gd name="T0" fmla="*/ 15 w 19"/>
                <a:gd name="T1" fmla="*/ 14 h 14"/>
                <a:gd name="T2" fmla="*/ 14 w 19"/>
                <a:gd name="T3" fmla="*/ 13 h 14"/>
                <a:gd name="T4" fmla="*/ 2 w 19"/>
                <a:gd name="T5" fmla="*/ 7 h 14"/>
                <a:gd name="T6" fmla="*/ 1 w 19"/>
                <a:gd name="T7" fmla="*/ 2 h 14"/>
                <a:gd name="T8" fmla="*/ 6 w 19"/>
                <a:gd name="T9" fmla="*/ 1 h 14"/>
                <a:gd name="T10" fmla="*/ 17 w 19"/>
                <a:gd name="T11" fmla="*/ 7 h 14"/>
                <a:gd name="T12" fmla="*/ 18 w 19"/>
                <a:gd name="T13" fmla="*/ 12 h 14"/>
                <a:gd name="T14" fmla="*/ 15 w 19"/>
                <a:gd name="T1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" h="14">
                  <a:moveTo>
                    <a:pt x="15" y="14"/>
                  </a:moveTo>
                  <a:cubicBezTo>
                    <a:pt x="15" y="14"/>
                    <a:pt x="14" y="14"/>
                    <a:pt x="14" y="13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1" y="6"/>
                    <a:pt x="0" y="4"/>
                    <a:pt x="1" y="2"/>
                  </a:cubicBezTo>
                  <a:cubicBezTo>
                    <a:pt x="2" y="0"/>
                    <a:pt x="4" y="0"/>
                    <a:pt x="6" y="1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9" y="8"/>
                    <a:pt x="19" y="10"/>
                    <a:pt x="18" y="12"/>
                  </a:cubicBezTo>
                  <a:cubicBezTo>
                    <a:pt x="18" y="13"/>
                    <a:pt x="17" y="14"/>
                    <a:pt x="15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6" name="Freeform 480">
              <a:extLst>
                <a:ext uri="{FF2B5EF4-FFF2-40B4-BE49-F238E27FC236}">
                  <a16:creationId xmlns:a16="http://schemas.microsoft.com/office/drawing/2014/main" id="{101A25E2-EB6C-B605-29C9-9120ACA3E4A3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01290" y="1285376"/>
              <a:ext cx="52339" cy="20935"/>
            </a:xfrm>
            <a:custGeom>
              <a:avLst/>
              <a:gdLst>
                <a:gd name="T0" fmla="*/ 17 w 20"/>
                <a:gd name="T1" fmla="*/ 7 h 7"/>
                <a:gd name="T2" fmla="*/ 4 w 20"/>
                <a:gd name="T3" fmla="*/ 7 h 7"/>
                <a:gd name="T4" fmla="*/ 0 w 20"/>
                <a:gd name="T5" fmla="*/ 3 h 7"/>
                <a:gd name="T6" fmla="*/ 4 w 20"/>
                <a:gd name="T7" fmla="*/ 0 h 7"/>
                <a:gd name="T8" fmla="*/ 17 w 20"/>
                <a:gd name="T9" fmla="*/ 0 h 7"/>
                <a:gd name="T10" fmla="*/ 20 w 20"/>
                <a:gd name="T11" fmla="*/ 3 h 7"/>
                <a:gd name="T12" fmla="*/ 17 w 20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7">
                  <a:moveTo>
                    <a:pt x="17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9" y="0"/>
                    <a:pt x="20" y="1"/>
                    <a:pt x="20" y="3"/>
                  </a:cubicBezTo>
                  <a:cubicBezTo>
                    <a:pt x="20" y="5"/>
                    <a:pt x="19" y="7"/>
                    <a:pt x="17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7" name="Freeform 481">
              <a:extLst>
                <a:ext uri="{FF2B5EF4-FFF2-40B4-BE49-F238E27FC236}">
                  <a16:creationId xmlns:a16="http://schemas.microsoft.com/office/drawing/2014/main" id="{3C54C869-80C2-B307-3FB8-AE31AD272354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62908" y="1417964"/>
              <a:ext cx="48848" cy="38382"/>
            </a:xfrm>
            <a:custGeom>
              <a:avLst/>
              <a:gdLst>
                <a:gd name="T0" fmla="*/ 4 w 19"/>
                <a:gd name="T1" fmla="*/ 14 h 14"/>
                <a:gd name="T2" fmla="*/ 1 w 19"/>
                <a:gd name="T3" fmla="*/ 12 h 14"/>
                <a:gd name="T4" fmla="*/ 2 w 19"/>
                <a:gd name="T5" fmla="*/ 7 h 14"/>
                <a:gd name="T6" fmla="*/ 14 w 19"/>
                <a:gd name="T7" fmla="*/ 1 h 14"/>
                <a:gd name="T8" fmla="*/ 18 w 19"/>
                <a:gd name="T9" fmla="*/ 2 h 14"/>
                <a:gd name="T10" fmla="*/ 17 w 19"/>
                <a:gd name="T11" fmla="*/ 7 h 14"/>
                <a:gd name="T12" fmla="*/ 6 w 19"/>
                <a:gd name="T13" fmla="*/ 14 h 14"/>
                <a:gd name="T14" fmla="*/ 4 w 19"/>
                <a:gd name="T1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" h="14">
                  <a:moveTo>
                    <a:pt x="4" y="14"/>
                  </a:moveTo>
                  <a:cubicBezTo>
                    <a:pt x="3" y="14"/>
                    <a:pt x="2" y="13"/>
                    <a:pt x="1" y="12"/>
                  </a:cubicBezTo>
                  <a:cubicBezTo>
                    <a:pt x="0" y="11"/>
                    <a:pt x="1" y="8"/>
                    <a:pt x="2" y="7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5" y="0"/>
                    <a:pt x="17" y="0"/>
                    <a:pt x="18" y="2"/>
                  </a:cubicBezTo>
                  <a:cubicBezTo>
                    <a:pt x="19" y="4"/>
                    <a:pt x="19" y="6"/>
                    <a:pt x="17" y="7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5" y="14"/>
                    <a:pt x="5" y="14"/>
                    <a:pt x="4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8" name="Freeform 482">
              <a:extLst>
                <a:ext uri="{FF2B5EF4-FFF2-40B4-BE49-F238E27FC236}">
                  <a16:creationId xmlns:a16="http://schemas.microsoft.com/office/drawing/2014/main" id="{7FE60695-B581-BD9B-97E6-DFA5D295DCFF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54745" y="1515661"/>
              <a:ext cx="41870" cy="48848"/>
            </a:xfrm>
            <a:custGeom>
              <a:avLst/>
              <a:gdLst>
                <a:gd name="T0" fmla="*/ 4 w 15"/>
                <a:gd name="T1" fmla="*/ 19 h 19"/>
                <a:gd name="T2" fmla="*/ 2 w 15"/>
                <a:gd name="T3" fmla="*/ 19 h 19"/>
                <a:gd name="T4" fmla="*/ 1 w 15"/>
                <a:gd name="T5" fmla="*/ 14 h 19"/>
                <a:gd name="T6" fmla="*/ 7 w 15"/>
                <a:gd name="T7" fmla="*/ 2 h 19"/>
                <a:gd name="T8" fmla="*/ 12 w 15"/>
                <a:gd name="T9" fmla="*/ 1 h 19"/>
                <a:gd name="T10" fmla="*/ 14 w 15"/>
                <a:gd name="T11" fmla="*/ 6 h 19"/>
                <a:gd name="T12" fmla="*/ 7 w 15"/>
                <a:gd name="T13" fmla="*/ 17 h 19"/>
                <a:gd name="T14" fmla="*/ 4 w 15"/>
                <a:gd name="T1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19">
                  <a:moveTo>
                    <a:pt x="4" y="19"/>
                  </a:moveTo>
                  <a:cubicBezTo>
                    <a:pt x="3" y="19"/>
                    <a:pt x="3" y="19"/>
                    <a:pt x="2" y="19"/>
                  </a:cubicBezTo>
                  <a:cubicBezTo>
                    <a:pt x="0" y="18"/>
                    <a:pt x="0" y="15"/>
                    <a:pt x="1" y="14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8" y="1"/>
                    <a:pt x="11" y="0"/>
                    <a:pt x="12" y="1"/>
                  </a:cubicBezTo>
                  <a:cubicBezTo>
                    <a:pt x="14" y="2"/>
                    <a:pt x="15" y="4"/>
                    <a:pt x="14" y="6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6" y="18"/>
                    <a:pt x="5" y="19"/>
                    <a:pt x="4" y="1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9" name="Freeform 483">
              <a:extLst>
                <a:ext uri="{FF2B5EF4-FFF2-40B4-BE49-F238E27FC236}">
                  <a16:creationId xmlns:a16="http://schemas.microsoft.com/office/drawing/2014/main" id="{6DE080B4-3510-307F-292B-8CAD18C0CDBA}"/>
                </a:ext>
              </a:extLst>
            </p:cNvPr>
            <p:cNvSpPr>
              <a:spLocks/>
            </p:cNvSpPr>
            <p:nvPr/>
          </p:nvSpPr>
          <p:spPr bwMode="auto">
            <a:xfrm>
              <a:off x="-1701221" y="1554043"/>
              <a:ext cx="17447" cy="52339"/>
            </a:xfrm>
            <a:custGeom>
              <a:avLst/>
              <a:gdLst>
                <a:gd name="T0" fmla="*/ 3 w 7"/>
                <a:gd name="T1" fmla="*/ 20 h 20"/>
                <a:gd name="T2" fmla="*/ 0 w 7"/>
                <a:gd name="T3" fmla="*/ 17 h 20"/>
                <a:gd name="T4" fmla="*/ 0 w 7"/>
                <a:gd name="T5" fmla="*/ 4 h 20"/>
                <a:gd name="T6" fmla="*/ 3 w 7"/>
                <a:gd name="T7" fmla="*/ 0 h 20"/>
                <a:gd name="T8" fmla="*/ 7 w 7"/>
                <a:gd name="T9" fmla="*/ 4 h 20"/>
                <a:gd name="T10" fmla="*/ 7 w 7"/>
                <a:gd name="T11" fmla="*/ 17 h 20"/>
                <a:gd name="T12" fmla="*/ 3 w 7"/>
                <a:gd name="T13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20">
                  <a:moveTo>
                    <a:pt x="3" y="20"/>
                  </a:moveTo>
                  <a:cubicBezTo>
                    <a:pt x="1" y="20"/>
                    <a:pt x="0" y="19"/>
                    <a:pt x="0" y="17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7" y="19"/>
                    <a:pt x="5" y="20"/>
                    <a:pt x="3" y="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0" name="Freeform 484">
              <a:extLst>
                <a:ext uri="{FF2B5EF4-FFF2-40B4-BE49-F238E27FC236}">
                  <a16:creationId xmlns:a16="http://schemas.microsoft.com/office/drawing/2014/main" id="{55CC70EA-6874-AE31-240E-2B399099207A}"/>
                </a:ext>
              </a:extLst>
            </p:cNvPr>
            <p:cNvSpPr>
              <a:spLocks/>
            </p:cNvSpPr>
            <p:nvPr/>
          </p:nvSpPr>
          <p:spPr bwMode="auto">
            <a:xfrm>
              <a:off x="-1568633" y="1515661"/>
              <a:ext cx="38382" cy="48848"/>
            </a:xfrm>
            <a:custGeom>
              <a:avLst/>
              <a:gdLst>
                <a:gd name="T0" fmla="*/ 11 w 15"/>
                <a:gd name="T1" fmla="*/ 19 h 19"/>
                <a:gd name="T2" fmla="*/ 8 w 15"/>
                <a:gd name="T3" fmla="*/ 17 h 19"/>
                <a:gd name="T4" fmla="*/ 1 w 15"/>
                <a:gd name="T5" fmla="*/ 6 h 19"/>
                <a:gd name="T6" fmla="*/ 2 w 15"/>
                <a:gd name="T7" fmla="*/ 1 h 19"/>
                <a:gd name="T8" fmla="*/ 7 w 15"/>
                <a:gd name="T9" fmla="*/ 2 h 19"/>
                <a:gd name="T10" fmla="*/ 14 w 15"/>
                <a:gd name="T11" fmla="*/ 14 h 19"/>
                <a:gd name="T12" fmla="*/ 12 w 15"/>
                <a:gd name="T13" fmla="*/ 19 h 19"/>
                <a:gd name="T14" fmla="*/ 11 w 15"/>
                <a:gd name="T1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19">
                  <a:moveTo>
                    <a:pt x="11" y="19"/>
                  </a:moveTo>
                  <a:cubicBezTo>
                    <a:pt x="9" y="19"/>
                    <a:pt x="8" y="18"/>
                    <a:pt x="8" y="17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4"/>
                    <a:pt x="1" y="2"/>
                    <a:pt x="2" y="1"/>
                  </a:cubicBezTo>
                  <a:cubicBezTo>
                    <a:pt x="4" y="0"/>
                    <a:pt x="6" y="1"/>
                    <a:pt x="7" y="2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5" y="15"/>
                    <a:pt x="14" y="18"/>
                    <a:pt x="12" y="19"/>
                  </a:cubicBezTo>
                  <a:cubicBezTo>
                    <a:pt x="12" y="19"/>
                    <a:pt x="11" y="19"/>
                    <a:pt x="11" y="1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1" name="Freeform 485">
              <a:extLst>
                <a:ext uri="{FF2B5EF4-FFF2-40B4-BE49-F238E27FC236}">
                  <a16:creationId xmlns:a16="http://schemas.microsoft.com/office/drawing/2014/main" id="{F4FCCFC7-548E-4BB9-2DDE-058D47BAB729}"/>
                </a:ext>
              </a:extLst>
            </p:cNvPr>
            <p:cNvSpPr>
              <a:spLocks/>
            </p:cNvSpPr>
            <p:nvPr/>
          </p:nvSpPr>
          <p:spPr bwMode="auto">
            <a:xfrm>
              <a:off x="-1470936" y="1417964"/>
              <a:ext cx="52339" cy="38382"/>
            </a:xfrm>
            <a:custGeom>
              <a:avLst/>
              <a:gdLst>
                <a:gd name="T0" fmla="*/ 16 w 20"/>
                <a:gd name="T1" fmla="*/ 14 h 14"/>
                <a:gd name="T2" fmla="*/ 14 w 20"/>
                <a:gd name="T3" fmla="*/ 14 h 14"/>
                <a:gd name="T4" fmla="*/ 3 w 20"/>
                <a:gd name="T5" fmla="*/ 7 h 14"/>
                <a:gd name="T6" fmla="*/ 1 w 20"/>
                <a:gd name="T7" fmla="*/ 2 h 14"/>
                <a:gd name="T8" fmla="*/ 6 w 20"/>
                <a:gd name="T9" fmla="*/ 1 h 14"/>
                <a:gd name="T10" fmla="*/ 17 w 20"/>
                <a:gd name="T11" fmla="*/ 7 h 14"/>
                <a:gd name="T12" fmla="*/ 19 w 20"/>
                <a:gd name="T13" fmla="*/ 12 h 14"/>
                <a:gd name="T14" fmla="*/ 16 w 20"/>
                <a:gd name="T1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14">
                  <a:moveTo>
                    <a:pt x="16" y="14"/>
                  </a:moveTo>
                  <a:cubicBezTo>
                    <a:pt x="15" y="14"/>
                    <a:pt x="14" y="14"/>
                    <a:pt x="14" y="14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" y="6"/>
                    <a:pt x="0" y="4"/>
                    <a:pt x="1" y="2"/>
                  </a:cubicBezTo>
                  <a:cubicBezTo>
                    <a:pt x="2" y="0"/>
                    <a:pt x="4" y="0"/>
                    <a:pt x="6" y="1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9" y="8"/>
                    <a:pt x="20" y="11"/>
                    <a:pt x="19" y="12"/>
                  </a:cubicBezTo>
                  <a:cubicBezTo>
                    <a:pt x="18" y="13"/>
                    <a:pt x="17" y="14"/>
                    <a:pt x="16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2" name="Freeform 486">
              <a:extLst>
                <a:ext uri="{FF2B5EF4-FFF2-40B4-BE49-F238E27FC236}">
                  <a16:creationId xmlns:a16="http://schemas.microsoft.com/office/drawing/2014/main" id="{8A559C6E-32DE-E58C-675E-A1A0832EEC13}"/>
                </a:ext>
              </a:extLst>
            </p:cNvPr>
            <p:cNvSpPr>
              <a:spLocks/>
            </p:cNvSpPr>
            <p:nvPr/>
          </p:nvSpPr>
          <p:spPr bwMode="auto">
            <a:xfrm>
              <a:off x="-1436044" y="1285376"/>
              <a:ext cx="55827" cy="20935"/>
            </a:xfrm>
            <a:custGeom>
              <a:avLst/>
              <a:gdLst>
                <a:gd name="T0" fmla="*/ 17 w 21"/>
                <a:gd name="T1" fmla="*/ 7 h 7"/>
                <a:gd name="T2" fmla="*/ 4 w 21"/>
                <a:gd name="T3" fmla="*/ 7 h 7"/>
                <a:gd name="T4" fmla="*/ 0 w 21"/>
                <a:gd name="T5" fmla="*/ 3 h 7"/>
                <a:gd name="T6" fmla="*/ 4 w 21"/>
                <a:gd name="T7" fmla="*/ 0 h 7"/>
                <a:gd name="T8" fmla="*/ 17 w 21"/>
                <a:gd name="T9" fmla="*/ 0 h 7"/>
                <a:gd name="T10" fmla="*/ 21 w 21"/>
                <a:gd name="T11" fmla="*/ 3 h 7"/>
                <a:gd name="T12" fmla="*/ 17 w 21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7">
                  <a:moveTo>
                    <a:pt x="17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9" y="0"/>
                    <a:pt x="21" y="1"/>
                    <a:pt x="21" y="3"/>
                  </a:cubicBezTo>
                  <a:cubicBezTo>
                    <a:pt x="21" y="5"/>
                    <a:pt x="19" y="7"/>
                    <a:pt x="17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3" name="Freeform 487">
              <a:extLst>
                <a:ext uri="{FF2B5EF4-FFF2-40B4-BE49-F238E27FC236}">
                  <a16:creationId xmlns:a16="http://schemas.microsoft.com/office/drawing/2014/main" id="{91B4B745-29B0-DB97-8A09-7D5923EC7444}"/>
                </a:ext>
              </a:extLst>
            </p:cNvPr>
            <p:cNvSpPr>
              <a:spLocks/>
            </p:cNvSpPr>
            <p:nvPr/>
          </p:nvSpPr>
          <p:spPr bwMode="auto">
            <a:xfrm>
              <a:off x="-1470936" y="1135342"/>
              <a:ext cx="52339" cy="34892"/>
            </a:xfrm>
            <a:custGeom>
              <a:avLst/>
              <a:gdLst>
                <a:gd name="T0" fmla="*/ 4 w 20"/>
                <a:gd name="T1" fmla="*/ 14 h 14"/>
                <a:gd name="T2" fmla="*/ 1 w 20"/>
                <a:gd name="T3" fmla="*/ 12 h 14"/>
                <a:gd name="T4" fmla="*/ 3 w 20"/>
                <a:gd name="T5" fmla="*/ 7 h 14"/>
                <a:gd name="T6" fmla="*/ 14 w 20"/>
                <a:gd name="T7" fmla="*/ 1 h 14"/>
                <a:gd name="T8" fmla="*/ 19 w 20"/>
                <a:gd name="T9" fmla="*/ 2 h 14"/>
                <a:gd name="T10" fmla="*/ 17 w 20"/>
                <a:gd name="T11" fmla="*/ 7 h 14"/>
                <a:gd name="T12" fmla="*/ 6 w 20"/>
                <a:gd name="T13" fmla="*/ 13 h 14"/>
                <a:gd name="T14" fmla="*/ 4 w 20"/>
                <a:gd name="T1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14">
                  <a:moveTo>
                    <a:pt x="4" y="14"/>
                  </a:moveTo>
                  <a:cubicBezTo>
                    <a:pt x="3" y="14"/>
                    <a:pt x="2" y="13"/>
                    <a:pt x="1" y="12"/>
                  </a:cubicBezTo>
                  <a:cubicBezTo>
                    <a:pt x="0" y="10"/>
                    <a:pt x="1" y="8"/>
                    <a:pt x="3" y="7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6" y="0"/>
                    <a:pt x="18" y="0"/>
                    <a:pt x="19" y="2"/>
                  </a:cubicBezTo>
                  <a:cubicBezTo>
                    <a:pt x="20" y="4"/>
                    <a:pt x="19" y="6"/>
                    <a:pt x="17" y="7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4"/>
                    <a:pt x="5" y="14"/>
                    <a:pt x="4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4" name="Freeform 488">
              <a:extLst>
                <a:ext uri="{FF2B5EF4-FFF2-40B4-BE49-F238E27FC236}">
                  <a16:creationId xmlns:a16="http://schemas.microsoft.com/office/drawing/2014/main" id="{C8E9E374-060E-EA55-3463-E51D4B685854}"/>
                </a:ext>
              </a:extLst>
            </p:cNvPr>
            <p:cNvSpPr>
              <a:spLocks/>
            </p:cNvSpPr>
            <p:nvPr/>
          </p:nvSpPr>
          <p:spPr bwMode="auto">
            <a:xfrm>
              <a:off x="-1568633" y="1023689"/>
              <a:ext cx="38382" cy="48848"/>
            </a:xfrm>
            <a:custGeom>
              <a:avLst/>
              <a:gdLst>
                <a:gd name="T0" fmla="*/ 4 w 15"/>
                <a:gd name="T1" fmla="*/ 19 h 19"/>
                <a:gd name="T2" fmla="*/ 2 w 15"/>
                <a:gd name="T3" fmla="*/ 18 h 19"/>
                <a:gd name="T4" fmla="*/ 1 w 15"/>
                <a:gd name="T5" fmla="*/ 13 h 19"/>
                <a:gd name="T6" fmla="*/ 8 w 15"/>
                <a:gd name="T7" fmla="*/ 2 h 19"/>
                <a:gd name="T8" fmla="*/ 12 w 15"/>
                <a:gd name="T9" fmla="*/ 1 h 19"/>
                <a:gd name="T10" fmla="*/ 14 w 15"/>
                <a:gd name="T11" fmla="*/ 6 h 19"/>
                <a:gd name="T12" fmla="*/ 7 w 15"/>
                <a:gd name="T13" fmla="*/ 17 h 19"/>
                <a:gd name="T14" fmla="*/ 4 w 15"/>
                <a:gd name="T1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19">
                  <a:moveTo>
                    <a:pt x="4" y="19"/>
                  </a:moveTo>
                  <a:cubicBezTo>
                    <a:pt x="4" y="19"/>
                    <a:pt x="3" y="19"/>
                    <a:pt x="2" y="18"/>
                  </a:cubicBezTo>
                  <a:cubicBezTo>
                    <a:pt x="1" y="17"/>
                    <a:pt x="0" y="15"/>
                    <a:pt x="1" y="13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9" y="0"/>
                    <a:pt x="11" y="0"/>
                    <a:pt x="12" y="1"/>
                  </a:cubicBezTo>
                  <a:cubicBezTo>
                    <a:pt x="14" y="2"/>
                    <a:pt x="15" y="4"/>
                    <a:pt x="14" y="6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7" y="18"/>
                    <a:pt x="5" y="19"/>
                    <a:pt x="4" y="1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5" name="Freeform 489">
              <a:extLst>
                <a:ext uri="{FF2B5EF4-FFF2-40B4-BE49-F238E27FC236}">
                  <a16:creationId xmlns:a16="http://schemas.microsoft.com/office/drawing/2014/main" id="{99259FD1-83A2-118C-92C0-97604F5AAABC}"/>
                </a:ext>
              </a:extLst>
            </p:cNvPr>
            <p:cNvSpPr>
              <a:spLocks/>
            </p:cNvSpPr>
            <p:nvPr/>
          </p:nvSpPr>
          <p:spPr bwMode="auto">
            <a:xfrm>
              <a:off x="-1701221" y="1093472"/>
              <a:ext cx="94209" cy="258199"/>
            </a:xfrm>
            <a:custGeom>
              <a:avLst/>
              <a:gdLst>
                <a:gd name="T0" fmla="*/ 31 w 35"/>
                <a:gd name="T1" fmla="*/ 99 h 99"/>
                <a:gd name="T2" fmla="*/ 29 w 35"/>
                <a:gd name="T3" fmla="*/ 98 h 99"/>
                <a:gd name="T4" fmla="*/ 1 w 35"/>
                <a:gd name="T5" fmla="*/ 80 h 99"/>
                <a:gd name="T6" fmla="*/ 0 w 35"/>
                <a:gd name="T7" fmla="*/ 77 h 99"/>
                <a:gd name="T8" fmla="*/ 0 w 35"/>
                <a:gd name="T9" fmla="*/ 4 h 99"/>
                <a:gd name="T10" fmla="*/ 3 w 35"/>
                <a:gd name="T11" fmla="*/ 0 h 99"/>
                <a:gd name="T12" fmla="*/ 7 w 35"/>
                <a:gd name="T13" fmla="*/ 4 h 99"/>
                <a:gd name="T14" fmla="*/ 7 w 35"/>
                <a:gd name="T15" fmla="*/ 75 h 99"/>
                <a:gd name="T16" fmla="*/ 33 w 35"/>
                <a:gd name="T17" fmla="*/ 92 h 99"/>
                <a:gd name="T18" fmla="*/ 34 w 35"/>
                <a:gd name="T19" fmla="*/ 97 h 99"/>
                <a:gd name="T20" fmla="*/ 31 w 35"/>
                <a:gd name="T21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" h="99">
                  <a:moveTo>
                    <a:pt x="31" y="99"/>
                  </a:moveTo>
                  <a:cubicBezTo>
                    <a:pt x="30" y="99"/>
                    <a:pt x="29" y="99"/>
                    <a:pt x="29" y="98"/>
                  </a:cubicBezTo>
                  <a:cubicBezTo>
                    <a:pt x="1" y="80"/>
                    <a:pt x="1" y="80"/>
                    <a:pt x="1" y="80"/>
                  </a:cubicBezTo>
                  <a:cubicBezTo>
                    <a:pt x="0" y="79"/>
                    <a:pt x="0" y="78"/>
                    <a:pt x="0" y="77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33" y="92"/>
                    <a:pt x="33" y="92"/>
                    <a:pt x="33" y="92"/>
                  </a:cubicBezTo>
                  <a:cubicBezTo>
                    <a:pt x="34" y="93"/>
                    <a:pt x="35" y="95"/>
                    <a:pt x="34" y="97"/>
                  </a:cubicBezTo>
                  <a:cubicBezTo>
                    <a:pt x="33" y="98"/>
                    <a:pt x="32" y="99"/>
                    <a:pt x="31" y="9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3" name="Shape4_20200717_154439">
            <a:extLst>
              <a:ext uri="{FF2B5EF4-FFF2-40B4-BE49-F238E27FC236}">
                <a16:creationId xmlns:a16="http://schemas.microsoft.com/office/drawing/2014/main" id="{58D84CB6-3E20-7BF5-2E44-8672106D816E}"/>
              </a:ext>
            </a:extLst>
          </p:cNvPr>
          <p:cNvGrpSpPr>
            <a:grpSpLocks noChangeAspect="1"/>
          </p:cNvGrpSpPr>
          <p:nvPr/>
        </p:nvGrpSpPr>
        <p:grpSpPr>
          <a:xfrm>
            <a:off x="10998965" y="1207143"/>
            <a:ext cx="638520" cy="638520"/>
            <a:chOff x="-2011757" y="2297236"/>
            <a:chExt cx="638520" cy="638520"/>
          </a:xfrm>
          <a:solidFill>
            <a:schemeClr val="accent1"/>
          </a:solidFill>
        </p:grpSpPr>
        <p:sp>
          <p:nvSpPr>
            <p:cNvPr id="227" name="Freeform 490">
              <a:extLst>
                <a:ext uri="{FF2B5EF4-FFF2-40B4-BE49-F238E27FC236}">
                  <a16:creationId xmlns:a16="http://schemas.microsoft.com/office/drawing/2014/main" id="{16ED9533-3C20-B701-4D7D-D8F0F04838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962908" y="2346084"/>
              <a:ext cx="540823" cy="540823"/>
            </a:xfrm>
            <a:custGeom>
              <a:avLst/>
              <a:gdLst>
                <a:gd name="T0" fmla="*/ 103 w 206"/>
                <a:gd name="T1" fmla="*/ 206 h 206"/>
                <a:gd name="T2" fmla="*/ 0 w 206"/>
                <a:gd name="T3" fmla="*/ 103 h 206"/>
                <a:gd name="T4" fmla="*/ 103 w 206"/>
                <a:gd name="T5" fmla="*/ 0 h 206"/>
                <a:gd name="T6" fmla="*/ 206 w 206"/>
                <a:gd name="T7" fmla="*/ 103 h 206"/>
                <a:gd name="T8" fmla="*/ 103 w 206"/>
                <a:gd name="T9" fmla="*/ 206 h 206"/>
                <a:gd name="T10" fmla="*/ 103 w 206"/>
                <a:gd name="T11" fmla="*/ 8 h 206"/>
                <a:gd name="T12" fmla="*/ 8 w 206"/>
                <a:gd name="T13" fmla="*/ 103 h 206"/>
                <a:gd name="T14" fmla="*/ 103 w 206"/>
                <a:gd name="T15" fmla="*/ 199 h 206"/>
                <a:gd name="T16" fmla="*/ 199 w 206"/>
                <a:gd name="T17" fmla="*/ 103 h 206"/>
                <a:gd name="T18" fmla="*/ 103 w 206"/>
                <a:gd name="T19" fmla="*/ 8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6" h="206">
                  <a:moveTo>
                    <a:pt x="103" y="206"/>
                  </a:moveTo>
                  <a:cubicBezTo>
                    <a:pt x="47" y="206"/>
                    <a:pt x="0" y="160"/>
                    <a:pt x="0" y="103"/>
                  </a:cubicBezTo>
                  <a:cubicBezTo>
                    <a:pt x="0" y="47"/>
                    <a:pt x="47" y="0"/>
                    <a:pt x="103" y="0"/>
                  </a:cubicBezTo>
                  <a:cubicBezTo>
                    <a:pt x="160" y="0"/>
                    <a:pt x="206" y="47"/>
                    <a:pt x="206" y="103"/>
                  </a:cubicBezTo>
                  <a:cubicBezTo>
                    <a:pt x="206" y="160"/>
                    <a:pt x="160" y="206"/>
                    <a:pt x="103" y="206"/>
                  </a:cubicBezTo>
                  <a:close/>
                  <a:moveTo>
                    <a:pt x="103" y="8"/>
                  </a:moveTo>
                  <a:cubicBezTo>
                    <a:pt x="51" y="8"/>
                    <a:pt x="8" y="50"/>
                    <a:pt x="8" y="103"/>
                  </a:cubicBezTo>
                  <a:cubicBezTo>
                    <a:pt x="8" y="156"/>
                    <a:pt x="51" y="199"/>
                    <a:pt x="103" y="199"/>
                  </a:cubicBezTo>
                  <a:cubicBezTo>
                    <a:pt x="156" y="199"/>
                    <a:pt x="199" y="156"/>
                    <a:pt x="199" y="103"/>
                  </a:cubicBezTo>
                  <a:cubicBezTo>
                    <a:pt x="199" y="50"/>
                    <a:pt x="156" y="8"/>
                    <a:pt x="103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8" name="Freeform 491">
              <a:extLst>
                <a:ext uri="{FF2B5EF4-FFF2-40B4-BE49-F238E27FC236}">
                  <a16:creationId xmlns:a16="http://schemas.microsoft.com/office/drawing/2014/main" id="{1ACA4AC9-0857-9019-7C16-BD0645D9A07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011757" y="2297236"/>
              <a:ext cx="638520" cy="638520"/>
            </a:xfrm>
            <a:custGeom>
              <a:avLst/>
              <a:gdLst>
                <a:gd name="T0" fmla="*/ 121 w 242"/>
                <a:gd name="T1" fmla="*/ 242 h 242"/>
                <a:gd name="T2" fmla="*/ 0 w 242"/>
                <a:gd name="T3" fmla="*/ 121 h 242"/>
                <a:gd name="T4" fmla="*/ 121 w 242"/>
                <a:gd name="T5" fmla="*/ 0 h 242"/>
                <a:gd name="T6" fmla="*/ 242 w 242"/>
                <a:gd name="T7" fmla="*/ 121 h 242"/>
                <a:gd name="T8" fmla="*/ 121 w 242"/>
                <a:gd name="T9" fmla="*/ 242 h 242"/>
                <a:gd name="T10" fmla="*/ 121 w 242"/>
                <a:gd name="T11" fmla="*/ 7 h 242"/>
                <a:gd name="T12" fmla="*/ 8 w 242"/>
                <a:gd name="T13" fmla="*/ 121 h 242"/>
                <a:gd name="T14" fmla="*/ 121 w 242"/>
                <a:gd name="T15" fmla="*/ 235 h 242"/>
                <a:gd name="T16" fmla="*/ 235 w 242"/>
                <a:gd name="T17" fmla="*/ 121 h 242"/>
                <a:gd name="T18" fmla="*/ 121 w 242"/>
                <a:gd name="T19" fmla="*/ 7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2" h="242">
                  <a:moveTo>
                    <a:pt x="121" y="242"/>
                  </a:moveTo>
                  <a:cubicBezTo>
                    <a:pt x="55" y="242"/>
                    <a:pt x="0" y="188"/>
                    <a:pt x="0" y="121"/>
                  </a:cubicBezTo>
                  <a:cubicBezTo>
                    <a:pt x="0" y="55"/>
                    <a:pt x="55" y="0"/>
                    <a:pt x="121" y="0"/>
                  </a:cubicBezTo>
                  <a:cubicBezTo>
                    <a:pt x="188" y="0"/>
                    <a:pt x="242" y="55"/>
                    <a:pt x="242" y="121"/>
                  </a:cubicBezTo>
                  <a:cubicBezTo>
                    <a:pt x="242" y="188"/>
                    <a:pt x="188" y="242"/>
                    <a:pt x="121" y="242"/>
                  </a:cubicBezTo>
                  <a:close/>
                  <a:moveTo>
                    <a:pt x="121" y="7"/>
                  </a:moveTo>
                  <a:cubicBezTo>
                    <a:pt x="59" y="7"/>
                    <a:pt x="8" y="59"/>
                    <a:pt x="8" y="121"/>
                  </a:cubicBezTo>
                  <a:cubicBezTo>
                    <a:pt x="8" y="184"/>
                    <a:pt x="59" y="235"/>
                    <a:pt x="121" y="235"/>
                  </a:cubicBezTo>
                  <a:cubicBezTo>
                    <a:pt x="184" y="235"/>
                    <a:pt x="235" y="184"/>
                    <a:pt x="235" y="121"/>
                  </a:cubicBezTo>
                  <a:cubicBezTo>
                    <a:pt x="235" y="59"/>
                    <a:pt x="184" y="7"/>
                    <a:pt x="121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9" name="Freeform 492">
              <a:extLst>
                <a:ext uri="{FF2B5EF4-FFF2-40B4-BE49-F238E27FC236}">
                  <a16:creationId xmlns:a16="http://schemas.microsoft.com/office/drawing/2014/main" id="{843F6B60-5933-FD0F-2852-0564AC52CA5C}"/>
                </a:ext>
              </a:extLst>
            </p:cNvPr>
            <p:cNvSpPr>
              <a:spLocks/>
            </p:cNvSpPr>
            <p:nvPr/>
          </p:nvSpPr>
          <p:spPr bwMode="auto">
            <a:xfrm>
              <a:off x="-1701221" y="2346084"/>
              <a:ext cx="17447" cy="48848"/>
            </a:xfrm>
            <a:custGeom>
              <a:avLst/>
              <a:gdLst>
                <a:gd name="T0" fmla="*/ 3 w 7"/>
                <a:gd name="T1" fmla="*/ 19 h 19"/>
                <a:gd name="T2" fmla="*/ 0 w 7"/>
                <a:gd name="T3" fmla="*/ 15 h 19"/>
                <a:gd name="T4" fmla="*/ 0 w 7"/>
                <a:gd name="T5" fmla="*/ 4 h 19"/>
                <a:gd name="T6" fmla="*/ 3 w 7"/>
                <a:gd name="T7" fmla="*/ 0 h 19"/>
                <a:gd name="T8" fmla="*/ 7 w 7"/>
                <a:gd name="T9" fmla="*/ 4 h 19"/>
                <a:gd name="T10" fmla="*/ 7 w 7"/>
                <a:gd name="T11" fmla="*/ 15 h 19"/>
                <a:gd name="T12" fmla="*/ 3 w 7"/>
                <a:gd name="T1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9">
                  <a:moveTo>
                    <a:pt x="3" y="19"/>
                  </a:moveTo>
                  <a:cubicBezTo>
                    <a:pt x="1" y="19"/>
                    <a:pt x="0" y="17"/>
                    <a:pt x="0" y="1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7"/>
                    <a:pt x="5" y="19"/>
                    <a:pt x="3" y="1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0" name="Freeform 493">
              <a:extLst>
                <a:ext uri="{FF2B5EF4-FFF2-40B4-BE49-F238E27FC236}">
                  <a16:creationId xmlns:a16="http://schemas.microsoft.com/office/drawing/2014/main" id="{921B891D-9DBD-CA2E-1ECE-EBB94C2D7A52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30320" y="2380976"/>
              <a:ext cx="31404" cy="45360"/>
            </a:xfrm>
            <a:custGeom>
              <a:avLst/>
              <a:gdLst>
                <a:gd name="T0" fmla="*/ 9 w 13"/>
                <a:gd name="T1" fmla="*/ 18 h 18"/>
                <a:gd name="T2" fmla="*/ 6 w 13"/>
                <a:gd name="T3" fmla="*/ 16 h 18"/>
                <a:gd name="T4" fmla="*/ 1 w 13"/>
                <a:gd name="T5" fmla="*/ 6 h 18"/>
                <a:gd name="T6" fmla="*/ 2 w 13"/>
                <a:gd name="T7" fmla="*/ 1 h 18"/>
                <a:gd name="T8" fmla="*/ 7 w 13"/>
                <a:gd name="T9" fmla="*/ 2 h 18"/>
                <a:gd name="T10" fmla="*/ 12 w 13"/>
                <a:gd name="T11" fmla="*/ 12 h 18"/>
                <a:gd name="T12" fmla="*/ 11 w 13"/>
                <a:gd name="T13" fmla="*/ 17 h 18"/>
                <a:gd name="T14" fmla="*/ 9 w 13"/>
                <a:gd name="T1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18">
                  <a:moveTo>
                    <a:pt x="9" y="18"/>
                  </a:moveTo>
                  <a:cubicBezTo>
                    <a:pt x="8" y="18"/>
                    <a:pt x="7" y="17"/>
                    <a:pt x="6" y="1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4"/>
                    <a:pt x="0" y="2"/>
                    <a:pt x="2" y="1"/>
                  </a:cubicBezTo>
                  <a:cubicBezTo>
                    <a:pt x="4" y="0"/>
                    <a:pt x="6" y="1"/>
                    <a:pt x="7" y="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14"/>
                    <a:pt x="13" y="16"/>
                    <a:pt x="11" y="17"/>
                  </a:cubicBezTo>
                  <a:cubicBezTo>
                    <a:pt x="11" y="18"/>
                    <a:pt x="10" y="18"/>
                    <a:pt x="9" y="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1" name="Freeform 494">
              <a:extLst>
                <a:ext uri="{FF2B5EF4-FFF2-40B4-BE49-F238E27FC236}">
                  <a16:creationId xmlns:a16="http://schemas.microsoft.com/office/drawing/2014/main" id="{4EB7915D-E554-0DA4-5AB3-68F17A6C371A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28017" y="2475185"/>
              <a:ext cx="45360" cy="34892"/>
            </a:xfrm>
            <a:custGeom>
              <a:avLst/>
              <a:gdLst>
                <a:gd name="T0" fmla="*/ 14 w 18"/>
                <a:gd name="T1" fmla="*/ 13 h 13"/>
                <a:gd name="T2" fmla="*/ 12 w 18"/>
                <a:gd name="T3" fmla="*/ 12 h 13"/>
                <a:gd name="T4" fmla="*/ 3 w 18"/>
                <a:gd name="T5" fmla="*/ 7 h 13"/>
                <a:gd name="T6" fmla="*/ 1 w 18"/>
                <a:gd name="T7" fmla="*/ 2 h 13"/>
                <a:gd name="T8" fmla="*/ 6 w 18"/>
                <a:gd name="T9" fmla="*/ 0 h 13"/>
                <a:gd name="T10" fmla="*/ 16 w 18"/>
                <a:gd name="T11" fmla="*/ 6 h 13"/>
                <a:gd name="T12" fmla="*/ 17 w 18"/>
                <a:gd name="T13" fmla="*/ 11 h 13"/>
                <a:gd name="T14" fmla="*/ 14 w 18"/>
                <a:gd name="T15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3">
                  <a:moveTo>
                    <a:pt x="14" y="13"/>
                  </a:moveTo>
                  <a:cubicBezTo>
                    <a:pt x="14" y="13"/>
                    <a:pt x="13" y="13"/>
                    <a:pt x="12" y="12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" y="6"/>
                    <a:pt x="0" y="4"/>
                    <a:pt x="1" y="2"/>
                  </a:cubicBezTo>
                  <a:cubicBezTo>
                    <a:pt x="2" y="0"/>
                    <a:pt x="4" y="0"/>
                    <a:pt x="6" y="0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8" y="7"/>
                    <a:pt x="18" y="9"/>
                    <a:pt x="17" y="11"/>
                  </a:cubicBezTo>
                  <a:cubicBezTo>
                    <a:pt x="17" y="12"/>
                    <a:pt x="15" y="13"/>
                    <a:pt x="14" y="1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2" name="Freeform 495">
              <a:extLst>
                <a:ext uri="{FF2B5EF4-FFF2-40B4-BE49-F238E27FC236}">
                  <a16:creationId xmlns:a16="http://schemas.microsoft.com/office/drawing/2014/main" id="{8B602A65-0B35-1CDF-683B-F4C1A5697D3C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62908" y="2607773"/>
              <a:ext cx="48848" cy="20935"/>
            </a:xfrm>
            <a:custGeom>
              <a:avLst/>
              <a:gdLst>
                <a:gd name="T0" fmla="*/ 15 w 19"/>
                <a:gd name="T1" fmla="*/ 7 h 7"/>
                <a:gd name="T2" fmla="*/ 4 w 19"/>
                <a:gd name="T3" fmla="*/ 7 h 7"/>
                <a:gd name="T4" fmla="*/ 0 w 19"/>
                <a:gd name="T5" fmla="*/ 3 h 7"/>
                <a:gd name="T6" fmla="*/ 4 w 19"/>
                <a:gd name="T7" fmla="*/ 0 h 7"/>
                <a:gd name="T8" fmla="*/ 15 w 19"/>
                <a:gd name="T9" fmla="*/ 0 h 7"/>
                <a:gd name="T10" fmla="*/ 19 w 19"/>
                <a:gd name="T11" fmla="*/ 3 h 7"/>
                <a:gd name="T12" fmla="*/ 15 w 19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7">
                  <a:moveTo>
                    <a:pt x="15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7" y="0"/>
                    <a:pt x="19" y="1"/>
                    <a:pt x="19" y="3"/>
                  </a:cubicBezTo>
                  <a:cubicBezTo>
                    <a:pt x="19" y="5"/>
                    <a:pt x="17" y="7"/>
                    <a:pt x="15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3" name="Freeform 496">
              <a:extLst>
                <a:ext uri="{FF2B5EF4-FFF2-40B4-BE49-F238E27FC236}">
                  <a16:creationId xmlns:a16="http://schemas.microsoft.com/office/drawing/2014/main" id="{C1F0C19E-768E-6B2E-EF90-328BDA29D112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28017" y="2722915"/>
              <a:ext cx="45360" cy="34892"/>
            </a:xfrm>
            <a:custGeom>
              <a:avLst/>
              <a:gdLst>
                <a:gd name="T0" fmla="*/ 4 w 18"/>
                <a:gd name="T1" fmla="*/ 14 h 14"/>
                <a:gd name="T2" fmla="*/ 1 w 18"/>
                <a:gd name="T3" fmla="*/ 12 h 14"/>
                <a:gd name="T4" fmla="*/ 3 w 18"/>
                <a:gd name="T5" fmla="*/ 7 h 14"/>
                <a:gd name="T6" fmla="*/ 12 w 18"/>
                <a:gd name="T7" fmla="*/ 1 h 14"/>
                <a:gd name="T8" fmla="*/ 17 w 18"/>
                <a:gd name="T9" fmla="*/ 2 h 14"/>
                <a:gd name="T10" fmla="*/ 16 w 18"/>
                <a:gd name="T11" fmla="*/ 7 h 14"/>
                <a:gd name="T12" fmla="*/ 6 w 18"/>
                <a:gd name="T13" fmla="*/ 13 h 14"/>
                <a:gd name="T14" fmla="*/ 4 w 18"/>
                <a:gd name="T1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4">
                  <a:moveTo>
                    <a:pt x="4" y="14"/>
                  </a:moveTo>
                  <a:cubicBezTo>
                    <a:pt x="3" y="14"/>
                    <a:pt x="2" y="13"/>
                    <a:pt x="1" y="12"/>
                  </a:cubicBezTo>
                  <a:cubicBezTo>
                    <a:pt x="0" y="10"/>
                    <a:pt x="1" y="8"/>
                    <a:pt x="3" y="7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4" y="0"/>
                    <a:pt x="16" y="1"/>
                    <a:pt x="17" y="2"/>
                  </a:cubicBezTo>
                  <a:cubicBezTo>
                    <a:pt x="18" y="4"/>
                    <a:pt x="18" y="6"/>
                    <a:pt x="16" y="7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5" y="14"/>
                    <a:pt x="4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4" name="Freeform 497">
              <a:extLst>
                <a:ext uri="{FF2B5EF4-FFF2-40B4-BE49-F238E27FC236}">
                  <a16:creationId xmlns:a16="http://schemas.microsoft.com/office/drawing/2014/main" id="{817BFED0-E2CC-2E8C-6DFC-3346F3B5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30320" y="2806655"/>
              <a:ext cx="31404" cy="45360"/>
            </a:xfrm>
            <a:custGeom>
              <a:avLst/>
              <a:gdLst>
                <a:gd name="T0" fmla="*/ 4 w 13"/>
                <a:gd name="T1" fmla="*/ 18 h 18"/>
                <a:gd name="T2" fmla="*/ 2 w 13"/>
                <a:gd name="T3" fmla="*/ 17 h 18"/>
                <a:gd name="T4" fmla="*/ 1 w 13"/>
                <a:gd name="T5" fmla="*/ 13 h 18"/>
                <a:gd name="T6" fmla="*/ 6 w 13"/>
                <a:gd name="T7" fmla="*/ 3 h 18"/>
                <a:gd name="T8" fmla="*/ 11 w 13"/>
                <a:gd name="T9" fmla="*/ 1 h 18"/>
                <a:gd name="T10" fmla="*/ 12 w 13"/>
                <a:gd name="T11" fmla="*/ 6 h 18"/>
                <a:gd name="T12" fmla="*/ 7 w 13"/>
                <a:gd name="T13" fmla="*/ 16 h 18"/>
                <a:gd name="T14" fmla="*/ 4 w 13"/>
                <a:gd name="T1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18">
                  <a:moveTo>
                    <a:pt x="4" y="18"/>
                  </a:moveTo>
                  <a:cubicBezTo>
                    <a:pt x="3" y="18"/>
                    <a:pt x="2" y="18"/>
                    <a:pt x="2" y="17"/>
                  </a:cubicBezTo>
                  <a:cubicBezTo>
                    <a:pt x="0" y="16"/>
                    <a:pt x="0" y="14"/>
                    <a:pt x="1" y="1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7" y="1"/>
                    <a:pt x="9" y="0"/>
                    <a:pt x="11" y="1"/>
                  </a:cubicBezTo>
                  <a:cubicBezTo>
                    <a:pt x="13" y="2"/>
                    <a:pt x="13" y="5"/>
                    <a:pt x="12" y="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6" y="17"/>
                    <a:pt x="5" y="18"/>
                    <a:pt x="4" y="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5" name="Freeform 498">
              <a:extLst>
                <a:ext uri="{FF2B5EF4-FFF2-40B4-BE49-F238E27FC236}">
                  <a16:creationId xmlns:a16="http://schemas.microsoft.com/office/drawing/2014/main" id="{511FBA24-9C09-5758-E668-527184EDD6D7}"/>
                </a:ext>
              </a:extLst>
            </p:cNvPr>
            <p:cNvSpPr>
              <a:spLocks/>
            </p:cNvSpPr>
            <p:nvPr/>
          </p:nvSpPr>
          <p:spPr bwMode="auto">
            <a:xfrm>
              <a:off x="-1701221" y="2841547"/>
              <a:ext cx="17447" cy="45360"/>
            </a:xfrm>
            <a:custGeom>
              <a:avLst/>
              <a:gdLst>
                <a:gd name="T0" fmla="*/ 3 w 7"/>
                <a:gd name="T1" fmla="*/ 18 h 18"/>
                <a:gd name="T2" fmla="*/ 0 w 7"/>
                <a:gd name="T3" fmla="*/ 15 h 18"/>
                <a:gd name="T4" fmla="*/ 0 w 7"/>
                <a:gd name="T5" fmla="*/ 3 h 18"/>
                <a:gd name="T6" fmla="*/ 3 w 7"/>
                <a:gd name="T7" fmla="*/ 0 h 18"/>
                <a:gd name="T8" fmla="*/ 7 w 7"/>
                <a:gd name="T9" fmla="*/ 3 h 18"/>
                <a:gd name="T10" fmla="*/ 7 w 7"/>
                <a:gd name="T11" fmla="*/ 15 h 18"/>
                <a:gd name="T12" fmla="*/ 3 w 7"/>
                <a:gd name="T1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8">
                  <a:moveTo>
                    <a:pt x="3" y="18"/>
                  </a:moveTo>
                  <a:cubicBezTo>
                    <a:pt x="1" y="18"/>
                    <a:pt x="0" y="17"/>
                    <a:pt x="0" y="1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5" y="0"/>
                    <a:pt x="7" y="1"/>
                    <a:pt x="7" y="3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7"/>
                    <a:pt x="5" y="18"/>
                    <a:pt x="3" y="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6" name="Freeform 499">
              <a:extLst>
                <a:ext uri="{FF2B5EF4-FFF2-40B4-BE49-F238E27FC236}">
                  <a16:creationId xmlns:a16="http://schemas.microsoft.com/office/drawing/2014/main" id="{59C30BBB-4E11-032F-020F-C1970630AD8F}"/>
                </a:ext>
              </a:extLst>
            </p:cNvPr>
            <p:cNvSpPr>
              <a:spLocks/>
            </p:cNvSpPr>
            <p:nvPr/>
          </p:nvSpPr>
          <p:spPr bwMode="auto">
            <a:xfrm>
              <a:off x="-1586078" y="2806655"/>
              <a:ext cx="34892" cy="45360"/>
            </a:xfrm>
            <a:custGeom>
              <a:avLst/>
              <a:gdLst>
                <a:gd name="T0" fmla="*/ 10 w 14"/>
                <a:gd name="T1" fmla="*/ 18 h 18"/>
                <a:gd name="T2" fmla="*/ 7 w 14"/>
                <a:gd name="T3" fmla="*/ 16 h 18"/>
                <a:gd name="T4" fmla="*/ 1 w 14"/>
                <a:gd name="T5" fmla="*/ 6 h 18"/>
                <a:gd name="T6" fmla="*/ 3 w 14"/>
                <a:gd name="T7" fmla="*/ 1 h 18"/>
                <a:gd name="T8" fmla="*/ 7 w 14"/>
                <a:gd name="T9" fmla="*/ 3 h 18"/>
                <a:gd name="T10" fmla="*/ 13 w 14"/>
                <a:gd name="T11" fmla="*/ 13 h 18"/>
                <a:gd name="T12" fmla="*/ 12 w 14"/>
                <a:gd name="T13" fmla="*/ 17 h 18"/>
                <a:gd name="T14" fmla="*/ 10 w 14"/>
                <a:gd name="T1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18">
                  <a:moveTo>
                    <a:pt x="10" y="18"/>
                  </a:moveTo>
                  <a:cubicBezTo>
                    <a:pt x="9" y="18"/>
                    <a:pt x="8" y="17"/>
                    <a:pt x="7" y="1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5"/>
                    <a:pt x="1" y="2"/>
                    <a:pt x="3" y="1"/>
                  </a:cubicBezTo>
                  <a:cubicBezTo>
                    <a:pt x="4" y="0"/>
                    <a:pt x="6" y="1"/>
                    <a:pt x="7" y="3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4" y="14"/>
                    <a:pt x="14" y="16"/>
                    <a:pt x="12" y="17"/>
                  </a:cubicBezTo>
                  <a:cubicBezTo>
                    <a:pt x="11" y="18"/>
                    <a:pt x="11" y="18"/>
                    <a:pt x="10" y="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7" name="Freeform 500">
              <a:extLst>
                <a:ext uri="{FF2B5EF4-FFF2-40B4-BE49-F238E27FC236}">
                  <a16:creationId xmlns:a16="http://schemas.microsoft.com/office/drawing/2014/main" id="{0DD2B2DE-39C3-BA9D-AB79-19745A9EEC77}"/>
                </a:ext>
              </a:extLst>
            </p:cNvPr>
            <p:cNvSpPr>
              <a:spLocks/>
            </p:cNvSpPr>
            <p:nvPr/>
          </p:nvSpPr>
          <p:spPr bwMode="auto">
            <a:xfrm>
              <a:off x="-1502338" y="2722915"/>
              <a:ext cx="45360" cy="34892"/>
            </a:xfrm>
            <a:custGeom>
              <a:avLst/>
              <a:gdLst>
                <a:gd name="T0" fmla="*/ 14 w 18"/>
                <a:gd name="T1" fmla="*/ 14 h 14"/>
                <a:gd name="T2" fmla="*/ 13 w 18"/>
                <a:gd name="T3" fmla="*/ 13 h 14"/>
                <a:gd name="T4" fmla="*/ 3 w 18"/>
                <a:gd name="T5" fmla="*/ 7 h 14"/>
                <a:gd name="T6" fmla="*/ 1 w 18"/>
                <a:gd name="T7" fmla="*/ 2 h 14"/>
                <a:gd name="T8" fmla="*/ 6 w 18"/>
                <a:gd name="T9" fmla="*/ 1 h 14"/>
                <a:gd name="T10" fmla="*/ 16 w 18"/>
                <a:gd name="T11" fmla="*/ 7 h 14"/>
                <a:gd name="T12" fmla="*/ 17 w 18"/>
                <a:gd name="T13" fmla="*/ 12 h 14"/>
                <a:gd name="T14" fmla="*/ 14 w 18"/>
                <a:gd name="T1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4">
                  <a:moveTo>
                    <a:pt x="14" y="14"/>
                  </a:moveTo>
                  <a:cubicBezTo>
                    <a:pt x="14" y="14"/>
                    <a:pt x="13" y="13"/>
                    <a:pt x="13" y="13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" y="6"/>
                    <a:pt x="0" y="4"/>
                    <a:pt x="1" y="2"/>
                  </a:cubicBezTo>
                  <a:cubicBezTo>
                    <a:pt x="2" y="1"/>
                    <a:pt x="5" y="0"/>
                    <a:pt x="6" y="1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8" y="8"/>
                    <a:pt x="18" y="10"/>
                    <a:pt x="17" y="12"/>
                  </a:cubicBezTo>
                  <a:cubicBezTo>
                    <a:pt x="17" y="13"/>
                    <a:pt x="16" y="14"/>
                    <a:pt x="14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8" name="Freeform 501">
              <a:extLst>
                <a:ext uri="{FF2B5EF4-FFF2-40B4-BE49-F238E27FC236}">
                  <a16:creationId xmlns:a16="http://schemas.microsoft.com/office/drawing/2014/main" id="{2F51C929-BA24-59E1-538F-FDA82A8E23AB}"/>
                </a:ext>
              </a:extLst>
            </p:cNvPr>
            <p:cNvSpPr>
              <a:spLocks/>
            </p:cNvSpPr>
            <p:nvPr/>
          </p:nvSpPr>
          <p:spPr bwMode="auto">
            <a:xfrm>
              <a:off x="-1467446" y="2607773"/>
              <a:ext cx="45360" cy="20935"/>
            </a:xfrm>
            <a:custGeom>
              <a:avLst/>
              <a:gdLst>
                <a:gd name="T0" fmla="*/ 15 w 18"/>
                <a:gd name="T1" fmla="*/ 7 h 7"/>
                <a:gd name="T2" fmla="*/ 3 w 18"/>
                <a:gd name="T3" fmla="*/ 7 h 7"/>
                <a:gd name="T4" fmla="*/ 0 w 18"/>
                <a:gd name="T5" fmla="*/ 3 h 7"/>
                <a:gd name="T6" fmla="*/ 3 w 18"/>
                <a:gd name="T7" fmla="*/ 0 h 7"/>
                <a:gd name="T8" fmla="*/ 15 w 18"/>
                <a:gd name="T9" fmla="*/ 0 h 7"/>
                <a:gd name="T10" fmla="*/ 18 w 18"/>
                <a:gd name="T11" fmla="*/ 3 h 7"/>
                <a:gd name="T12" fmla="*/ 15 w 18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7">
                  <a:moveTo>
                    <a:pt x="15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7" y="0"/>
                    <a:pt x="18" y="1"/>
                    <a:pt x="18" y="3"/>
                  </a:cubicBezTo>
                  <a:cubicBezTo>
                    <a:pt x="18" y="5"/>
                    <a:pt x="17" y="7"/>
                    <a:pt x="15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9" name="Freeform 502">
              <a:extLst>
                <a:ext uri="{FF2B5EF4-FFF2-40B4-BE49-F238E27FC236}">
                  <a16:creationId xmlns:a16="http://schemas.microsoft.com/office/drawing/2014/main" id="{6F66F9A8-BC83-863C-2403-4B904B61C1E6}"/>
                </a:ext>
              </a:extLst>
            </p:cNvPr>
            <p:cNvSpPr>
              <a:spLocks/>
            </p:cNvSpPr>
            <p:nvPr/>
          </p:nvSpPr>
          <p:spPr bwMode="auto">
            <a:xfrm>
              <a:off x="-1502338" y="2475185"/>
              <a:ext cx="45360" cy="34892"/>
            </a:xfrm>
            <a:custGeom>
              <a:avLst/>
              <a:gdLst>
                <a:gd name="T0" fmla="*/ 5 w 18"/>
                <a:gd name="T1" fmla="*/ 13 h 13"/>
                <a:gd name="T2" fmla="*/ 1 w 18"/>
                <a:gd name="T3" fmla="*/ 11 h 13"/>
                <a:gd name="T4" fmla="*/ 3 w 18"/>
                <a:gd name="T5" fmla="*/ 6 h 13"/>
                <a:gd name="T6" fmla="*/ 13 w 18"/>
                <a:gd name="T7" fmla="*/ 0 h 13"/>
                <a:gd name="T8" fmla="*/ 17 w 18"/>
                <a:gd name="T9" fmla="*/ 2 h 13"/>
                <a:gd name="T10" fmla="*/ 16 w 18"/>
                <a:gd name="T11" fmla="*/ 7 h 13"/>
                <a:gd name="T12" fmla="*/ 6 w 18"/>
                <a:gd name="T13" fmla="*/ 12 h 13"/>
                <a:gd name="T14" fmla="*/ 5 w 18"/>
                <a:gd name="T15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3">
                  <a:moveTo>
                    <a:pt x="5" y="13"/>
                  </a:moveTo>
                  <a:cubicBezTo>
                    <a:pt x="3" y="13"/>
                    <a:pt x="2" y="12"/>
                    <a:pt x="1" y="11"/>
                  </a:cubicBezTo>
                  <a:cubicBezTo>
                    <a:pt x="0" y="9"/>
                    <a:pt x="1" y="7"/>
                    <a:pt x="3" y="6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4" y="0"/>
                    <a:pt x="17" y="0"/>
                    <a:pt x="17" y="2"/>
                  </a:cubicBezTo>
                  <a:cubicBezTo>
                    <a:pt x="18" y="4"/>
                    <a:pt x="18" y="6"/>
                    <a:pt x="16" y="7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6" y="13"/>
                    <a:pt x="5" y="13"/>
                    <a:pt x="5" y="1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0" name="Freeform 503">
              <a:extLst>
                <a:ext uri="{FF2B5EF4-FFF2-40B4-BE49-F238E27FC236}">
                  <a16:creationId xmlns:a16="http://schemas.microsoft.com/office/drawing/2014/main" id="{C1B7D783-F4F5-2934-095C-9A29ACBAFA1B}"/>
                </a:ext>
              </a:extLst>
            </p:cNvPr>
            <p:cNvSpPr>
              <a:spLocks/>
            </p:cNvSpPr>
            <p:nvPr/>
          </p:nvSpPr>
          <p:spPr bwMode="auto">
            <a:xfrm>
              <a:off x="-1586078" y="2380976"/>
              <a:ext cx="34892" cy="45360"/>
            </a:xfrm>
            <a:custGeom>
              <a:avLst/>
              <a:gdLst>
                <a:gd name="T0" fmla="*/ 4 w 14"/>
                <a:gd name="T1" fmla="*/ 18 h 18"/>
                <a:gd name="T2" fmla="*/ 3 w 14"/>
                <a:gd name="T3" fmla="*/ 17 h 18"/>
                <a:gd name="T4" fmla="*/ 1 w 14"/>
                <a:gd name="T5" fmla="*/ 12 h 18"/>
                <a:gd name="T6" fmla="*/ 7 w 14"/>
                <a:gd name="T7" fmla="*/ 2 h 18"/>
                <a:gd name="T8" fmla="*/ 12 w 14"/>
                <a:gd name="T9" fmla="*/ 1 h 18"/>
                <a:gd name="T10" fmla="*/ 13 w 14"/>
                <a:gd name="T11" fmla="*/ 6 h 18"/>
                <a:gd name="T12" fmla="*/ 7 w 14"/>
                <a:gd name="T13" fmla="*/ 16 h 18"/>
                <a:gd name="T14" fmla="*/ 4 w 14"/>
                <a:gd name="T1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18">
                  <a:moveTo>
                    <a:pt x="4" y="18"/>
                  </a:moveTo>
                  <a:cubicBezTo>
                    <a:pt x="4" y="18"/>
                    <a:pt x="3" y="18"/>
                    <a:pt x="3" y="17"/>
                  </a:cubicBezTo>
                  <a:cubicBezTo>
                    <a:pt x="1" y="16"/>
                    <a:pt x="0" y="14"/>
                    <a:pt x="1" y="1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8" y="1"/>
                    <a:pt x="10" y="0"/>
                    <a:pt x="12" y="1"/>
                  </a:cubicBezTo>
                  <a:cubicBezTo>
                    <a:pt x="14" y="2"/>
                    <a:pt x="14" y="4"/>
                    <a:pt x="13" y="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7"/>
                    <a:pt x="6" y="18"/>
                    <a:pt x="4" y="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1" name="Freeform 504">
              <a:extLst>
                <a:ext uri="{FF2B5EF4-FFF2-40B4-BE49-F238E27FC236}">
                  <a16:creationId xmlns:a16="http://schemas.microsoft.com/office/drawing/2014/main" id="{0A50E09B-15FE-800F-4C68-BB0BE6E115A4}"/>
                </a:ext>
              </a:extLst>
            </p:cNvPr>
            <p:cNvSpPr>
              <a:spLocks/>
            </p:cNvSpPr>
            <p:nvPr/>
          </p:nvSpPr>
          <p:spPr bwMode="auto">
            <a:xfrm>
              <a:off x="-1701221" y="2440293"/>
              <a:ext cx="83740" cy="226797"/>
            </a:xfrm>
            <a:custGeom>
              <a:avLst/>
              <a:gdLst>
                <a:gd name="T0" fmla="*/ 27 w 31"/>
                <a:gd name="T1" fmla="*/ 86 h 86"/>
                <a:gd name="T2" fmla="*/ 25 w 31"/>
                <a:gd name="T3" fmla="*/ 86 h 86"/>
                <a:gd name="T4" fmla="*/ 1 w 31"/>
                <a:gd name="T5" fmla="*/ 70 h 86"/>
                <a:gd name="T6" fmla="*/ 0 w 31"/>
                <a:gd name="T7" fmla="*/ 67 h 86"/>
                <a:gd name="T8" fmla="*/ 0 w 31"/>
                <a:gd name="T9" fmla="*/ 4 h 86"/>
                <a:gd name="T10" fmla="*/ 3 w 31"/>
                <a:gd name="T11" fmla="*/ 0 h 86"/>
                <a:gd name="T12" fmla="*/ 7 w 31"/>
                <a:gd name="T13" fmla="*/ 4 h 86"/>
                <a:gd name="T14" fmla="*/ 7 w 31"/>
                <a:gd name="T15" fmla="*/ 65 h 86"/>
                <a:gd name="T16" fmla="*/ 29 w 31"/>
                <a:gd name="T17" fmla="*/ 80 h 86"/>
                <a:gd name="T18" fmla="*/ 30 w 31"/>
                <a:gd name="T19" fmla="*/ 85 h 86"/>
                <a:gd name="T20" fmla="*/ 27 w 31"/>
                <a:gd name="T21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" h="86">
                  <a:moveTo>
                    <a:pt x="27" y="86"/>
                  </a:moveTo>
                  <a:cubicBezTo>
                    <a:pt x="26" y="86"/>
                    <a:pt x="26" y="86"/>
                    <a:pt x="25" y="86"/>
                  </a:cubicBezTo>
                  <a:cubicBezTo>
                    <a:pt x="1" y="70"/>
                    <a:pt x="1" y="70"/>
                    <a:pt x="1" y="70"/>
                  </a:cubicBezTo>
                  <a:cubicBezTo>
                    <a:pt x="0" y="70"/>
                    <a:pt x="0" y="68"/>
                    <a:pt x="0" y="67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65"/>
                    <a:pt x="7" y="65"/>
                    <a:pt x="7" y="65"/>
                  </a:cubicBezTo>
                  <a:cubicBezTo>
                    <a:pt x="29" y="80"/>
                    <a:pt x="29" y="80"/>
                    <a:pt x="29" y="80"/>
                  </a:cubicBezTo>
                  <a:cubicBezTo>
                    <a:pt x="31" y="81"/>
                    <a:pt x="31" y="83"/>
                    <a:pt x="30" y="85"/>
                  </a:cubicBezTo>
                  <a:cubicBezTo>
                    <a:pt x="29" y="86"/>
                    <a:pt x="28" y="86"/>
                    <a:pt x="27" y="8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4" name="Shape5_20200717_154439">
            <a:extLst>
              <a:ext uri="{FF2B5EF4-FFF2-40B4-BE49-F238E27FC236}">
                <a16:creationId xmlns:a16="http://schemas.microsoft.com/office/drawing/2014/main" id="{29EF57C4-6FEA-1BC1-AA9A-E4EEFEFC1BF7}"/>
              </a:ext>
            </a:extLst>
          </p:cNvPr>
          <p:cNvGrpSpPr>
            <a:grpSpLocks noChangeAspect="1"/>
          </p:cNvGrpSpPr>
          <p:nvPr/>
        </p:nvGrpSpPr>
        <p:grpSpPr>
          <a:xfrm>
            <a:off x="7097997" y="3843526"/>
            <a:ext cx="607116" cy="607116"/>
            <a:chOff x="-6921024" y="4955985"/>
            <a:chExt cx="607116" cy="607116"/>
          </a:xfrm>
          <a:solidFill>
            <a:schemeClr val="accent1"/>
          </a:solidFill>
        </p:grpSpPr>
        <p:sp>
          <p:nvSpPr>
            <p:cNvPr id="211" name="Freeform 505">
              <a:extLst>
                <a:ext uri="{FF2B5EF4-FFF2-40B4-BE49-F238E27FC236}">
                  <a16:creationId xmlns:a16="http://schemas.microsoft.com/office/drawing/2014/main" id="{5B033C1F-E6B0-377F-EC20-0610BD7EEC7A}"/>
                </a:ext>
              </a:extLst>
            </p:cNvPr>
            <p:cNvSpPr>
              <a:spLocks/>
            </p:cNvSpPr>
            <p:nvPr/>
          </p:nvSpPr>
          <p:spPr bwMode="auto">
            <a:xfrm>
              <a:off x="-6921024" y="4955985"/>
              <a:ext cx="607116" cy="607116"/>
            </a:xfrm>
            <a:custGeom>
              <a:avLst/>
              <a:gdLst>
                <a:gd name="T0" fmla="*/ 115 w 231"/>
                <a:gd name="T1" fmla="*/ 231 h 231"/>
                <a:gd name="T2" fmla="*/ 0 w 231"/>
                <a:gd name="T3" fmla="*/ 116 h 231"/>
                <a:gd name="T4" fmla="*/ 115 w 231"/>
                <a:gd name="T5" fmla="*/ 0 h 231"/>
                <a:gd name="T6" fmla="*/ 193 w 231"/>
                <a:gd name="T7" fmla="*/ 30 h 231"/>
                <a:gd name="T8" fmla="*/ 193 w 231"/>
                <a:gd name="T9" fmla="*/ 35 h 231"/>
                <a:gd name="T10" fmla="*/ 188 w 231"/>
                <a:gd name="T11" fmla="*/ 35 h 231"/>
                <a:gd name="T12" fmla="*/ 115 w 231"/>
                <a:gd name="T13" fmla="*/ 7 h 231"/>
                <a:gd name="T14" fmla="*/ 7 w 231"/>
                <a:gd name="T15" fmla="*/ 116 h 231"/>
                <a:gd name="T16" fmla="*/ 115 w 231"/>
                <a:gd name="T17" fmla="*/ 224 h 231"/>
                <a:gd name="T18" fmla="*/ 224 w 231"/>
                <a:gd name="T19" fmla="*/ 116 h 231"/>
                <a:gd name="T20" fmla="*/ 228 w 231"/>
                <a:gd name="T21" fmla="*/ 112 h 231"/>
                <a:gd name="T22" fmla="*/ 231 w 231"/>
                <a:gd name="T23" fmla="*/ 116 h 231"/>
                <a:gd name="T24" fmla="*/ 115 w 231"/>
                <a:gd name="T25" fmla="*/ 231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1" h="231">
                  <a:moveTo>
                    <a:pt x="115" y="231"/>
                  </a:moveTo>
                  <a:cubicBezTo>
                    <a:pt x="52" y="231"/>
                    <a:pt x="0" y="179"/>
                    <a:pt x="0" y="116"/>
                  </a:cubicBezTo>
                  <a:cubicBezTo>
                    <a:pt x="0" y="52"/>
                    <a:pt x="52" y="0"/>
                    <a:pt x="115" y="0"/>
                  </a:cubicBezTo>
                  <a:cubicBezTo>
                    <a:pt x="144" y="0"/>
                    <a:pt x="172" y="10"/>
                    <a:pt x="193" y="30"/>
                  </a:cubicBezTo>
                  <a:cubicBezTo>
                    <a:pt x="194" y="31"/>
                    <a:pt x="195" y="33"/>
                    <a:pt x="193" y="35"/>
                  </a:cubicBezTo>
                  <a:cubicBezTo>
                    <a:pt x="192" y="36"/>
                    <a:pt x="190" y="36"/>
                    <a:pt x="188" y="35"/>
                  </a:cubicBezTo>
                  <a:cubicBezTo>
                    <a:pt x="168" y="17"/>
                    <a:pt x="142" y="7"/>
                    <a:pt x="115" y="7"/>
                  </a:cubicBezTo>
                  <a:cubicBezTo>
                    <a:pt x="56" y="7"/>
                    <a:pt x="7" y="56"/>
                    <a:pt x="7" y="116"/>
                  </a:cubicBezTo>
                  <a:cubicBezTo>
                    <a:pt x="7" y="175"/>
                    <a:pt x="56" y="224"/>
                    <a:pt x="115" y="224"/>
                  </a:cubicBezTo>
                  <a:cubicBezTo>
                    <a:pt x="175" y="224"/>
                    <a:pt x="224" y="175"/>
                    <a:pt x="224" y="116"/>
                  </a:cubicBezTo>
                  <a:cubicBezTo>
                    <a:pt x="224" y="114"/>
                    <a:pt x="226" y="112"/>
                    <a:pt x="228" y="112"/>
                  </a:cubicBezTo>
                  <a:cubicBezTo>
                    <a:pt x="230" y="112"/>
                    <a:pt x="231" y="114"/>
                    <a:pt x="231" y="116"/>
                  </a:cubicBezTo>
                  <a:cubicBezTo>
                    <a:pt x="231" y="179"/>
                    <a:pt x="179" y="231"/>
                    <a:pt x="115" y="23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2" name="Freeform 506">
              <a:extLst>
                <a:ext uri="{FF2B5EF4-FFF2-40B4-BE49-F238E27FC236}">
                  <a16:creationId xmlns:a16="http://schemas.microsoft.com/office/drawing/2014/main" id="{7621B32A-A36A-D2FF-000F-5F360887A6D5}"/>
                </a:ext>
              </a:extLst>
            </p:cNvPr>
            <p:cNvSpPr>
              <a:spLocks/>
            </p:cNvSpPr>
            <p:nvPr/>
          </p:nvSpPr>
          <p:spPr bwMode="auto">
            <a:xfrm>
              <a:off x="-6502323" y="4959476"/>
              <a:ext cx="90718" cy="101187"/>
            </a:xfrm>
            <a:custGeom>
              <a:avLst/>
              <a:gdLst>
                <a:gd name="T0" fmla="*/ 4 w 35"/>
                <a:gd name="T1" fmla="*/ 38 h 38"/>
                <a:gd name="T2" fmla="*/ 0 w 35"/>
                <a:gd name="T3" fmla="*/ 35 h 38"/>
                <a:gd name="T4" fmla="*/ 4 w 35"/>
                <a:gd name="T5" fmla="*/ 31 h 38"/>
                <a:gd name="T6" fmla="*/ 28 w 35"/>
                <a:gd name="T7" fmla="*/ 28 h 38"/>
                <a:gd name="T8" fmla="*/ 25 w 35"/>
                <a:gd name="T9" fmla="*/ 4 h 38"/>
                <a:gd name="T10" fmla="*/ 28 w 35"/>
                <a:gd name="T11" fmla="*/ 0 h 38"/>
                <a:gd name="T12" fmla="*/ 32 w 35"/>
                <a:gd name="T13" fmla="*/ 3 h 38"/>
                <a:gd name="T14" fmla="*/ 35 w 35"/>
                <a:gd name="T15" fmla="*/ 31 h 38"/>
                <a:gd name="T16" fmla="*/ 35 w 35"/>
                <a:gd name="T17" fmla="*/ 34 h 38"/>
                <a:gd name="T18" fmla="*/ 32 w 35"/>
                <a:gd name="T19" fmla="*/ 35 h 38"/>
                <a:gd name="T20" fmla="*/ 4 w 35"/>
                <a:gd name="T21" fmla="*/ 38 h 38"/>
                <a:gd name="T22" fmla="*/ 4 w 35"/>
                <a:gd name="T23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38">
                  <a:moveTo>
                    <a:pt x="4" y="38"/>
                  </a:moveTo>
                  <a:cubicBezTo>
                    <a:pt x="2" y="38"/>
                    <a:pt x="1" y="37"/>
                    <a:pt x="0" y="35"/>
                  </a:cubicBezTo>
                  <a:cubicBezTo>
                    <a:pt x="0" y="33"/>
                    <a:pt x="2" y="31"/>
                    <a:pt x="4" y="31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5" y="4"/>
                    <a:pt x="25" y="4"/>
                    <a:pt x="25" y="4"/>
                  </a:cubicBezTo>
                  <a:cubicBezTo>
                    <a:pt x="25" y="2"/>
                    <a:pt x="26" y="0"/>
                    <a:pt x="28" y="0"/>
                  </a:cubicBezTo>
                  <a:cubicBezTo>
                    <a:pt x="30" y="0"/>
                    <a:pt x="32" y="1"/>
                    <a:pt x="32" y="3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2"/>
                    <a:pt x="35" y="33"/>
                    <a:pt x="35" y="34"/>
                  </a:cubicBezTo>
                  <a:cubicBezTo>
                    <a:pt x="34" y="35"/>
                    <a:pt x="33" y="35"/>
                    <a:pt x="32" y="35"/>
                  </a:cubicBezTo>
                  <a:cubicBezTo>
                    <a:pt x="4" y="38"/>
                    <a:pt x="4" y="38"/>
                    <a:pt x="4" y="38"/>
                  </a:cubicBezTo>
                  <a:cubicBezTo>
                    <a:pt x="4" y="38"/>
                    <a:pt x="4" y="38"/>
                    <a:pt x="4" y="3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3" name="Freeform 507">
              <a:extLst>
                <a:ext uri="{FF2B5EF4-FFF2-40B4-BE49-F238E27FC236}">
                  <a16:creationId xmlns:a16="http://schemas.microsoft.com/office/drawing/2014/main" id="{5171992E-D4F3-42DD-546D-28D44EE8A81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823327" y="5053682"/>
              <a:ext cx="411722" cy="415213"/>
            </a:xfrm>
            <a:custGeom>
              <a:avLst/>
              <a:gdLst>
                <a:gd name="T0" fmla="*/ 78 w 157"/>
                <a:gd name="T1" fmla="*/ 157 h 157"/>
                <a:gd name="T2" fmla="*/ 0 w 157"/>
                <a:gd name="T3" fmla="*/ 79 h 157"/>
                <a:gd name="T4" fmla="*/ 78 w 157"/>
                <a:gd name="T5" fmla="*/ 0 h 157"/>
                <a:gd name="T6" fmla="*/ 157 w 157"/>
                <a:gd name="T7" fmla="*/ 79 h 157"/>
                <a:gd name="T8" fmla="*/ 78 w 157"/>
                <a:gd name="T9" fmla="*/ 157 h 157"/>
                <a:gd name="T10" fmla="*/ 78 w 157"/>
                <a:gd name="T11" fmla="*/ 7 h 157"/>
                <a:gd name="T12" fmla="*/ 7 w 157"/>
                <a:gd name="T13" fmla="*/ 79 h 157"/>
                <a:gd name="T14" fmla="*/ 78 w 157"/>
                <a:gd name="T15" fmla="*/ 150 h 157"/>
                <a:gd name="T16" fmla="*/ 150 w 157"/>
                <a:gd name="T17" fmla="*/ 79 h 157"/>
                <a:gd name="T18" fmla="*/ 78 w 157"/>
                <a:gd name="T19" fmla="*/ 7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7" h="157">
                  <a:moveTo>
                    <a:pt x="78" y="157"/>
                  </a:moveTo>
                  <a:cubicBezTo>
                    <a:pt x="35" y="157"/>
                    <a:pt x="0" y="122"/>
                    <a:pt x="0" y="79"/>
                  </a:cubicBezTo>
                  <a:cubicBezTo>
                    <a:pt x="0" y="35"/>
                    <a:pt x="35" y="0"/>
                    <a:pt x="78" y="0"/>
                  </a:cubicBezTo>
                  <a:cubicBezTo>
                    <a:pt x="122" y="0"/>
                    <a:pt x="157" y="35"/>
                    <a:pt x="157" y="79"/>
                  </a:cubicBezTo>
                  <a:cubicBezTo>
                    <a:pt x="157" y="122"/>
                    <a:pt x="122" y="157"/>
                    <a:pt x="78" y="157"/>
                  </a:cubicBezTo>
                  <a:close/>
                  <a:moveTo>
                    <a:pt x="78" y="7"/>
                  </a:moveTo>
                  <a:cubicBezTo>
                    <a:pt x="39" y="7"/>
                    <a:pt x="7" y="39"/>
                    <a:pt x="7" y="79"/>
                  </a:cubicBezTo>
                  <a:cubicBezTo>
                    <a:pt x="7" y="118"/>
                    <a:pt x="39" y="150"/>
                    <a:pt x="78" y="150"/>
                  </a:cubicBezTo>
                  <a:cubicBezTo>
                    <a:pt x="118" y="150"/>
                    <a:pt x="150" y="118"/>
                    <a:pt x="150" y="79"/>
                  </a:cubicBezTo>
                  <a:cubicBezTo>
                    <a:pt x="150" y="39"/>
                    <a:pt x="118" y="7"/>
                    <a:pt x="78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4" name="Freeform 508">
              <a:extLst>
                <a:ext uri="{FF2B5EF4-FFF2-40B4-BE49-F238E27FC236}">
                  <a16:creationId xmlns:a16="http://schemas.microsoft.com/office/drawing/2014/main" id="{054B9F72-245D-A0EC-BB60-A7EA37054C91}"/>
                </a:ext>
              </a:extLst>
            </p:cNvPr>
            <p:cNvSpPr>
              <a:spLocks/>
            </p:cNvSpPr>
            <p:nvPr/>
          </p:nvSpPr>
          <p:spPr bwMode="auto">
            <a:xfrm>
              <a:off x="-6627933" y="5053682"/>
              <a:ext cx="20935" cy="41870"/>
            </a:xfrm>
            <a:custGeom>
              <a:avLst/>
              <a:gdLst>
                <a:gd name="T0" fmla="*/ 3 w 7"/>
                <a:gd name="T1" fmla="*/ 16 h 16"/>
                <a:gd name="T2" fmla="*/ 0 w 7"/>
                <a:gd name="T3" fmla="*/ 12 h 16"/>
                <a:gd name="T4" fmla="*/ 0 w 7"/>
                <a:gd name="T5" fmla="*/ 3 h 16"/>
                <a:gd name="T6" fmla="*/ 3 w 7"/>
                <a:gd name="T7" fmla="*/ 0 h 16"/>
                <a:gd name="T8" fmla="*/ 7 w 7"/>
                <a:gd name="T9" fmla="*/ 3 h 16"/>
                <a:gd name="T10" fmla="*/ 7 w 7"/>
                <a:gd name="T11" fmla="*/ 12 h 16"/>
                <a:gd name="T12" fmla="*/ 3 w 7"/>
                <a:gd name="T13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6">
                  <a:moveTo>
                    <a:pt x="3" y="16"/>
                  </a:moveTo>
                  <a:cubicBezTo>
                    <a:pt x="1" y="16"/>
                    <a:pt x="0" y="14"/>
                    <a:pt x="0" y="1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5" y="0"/>
                    <a:pt x="7" y="1"/>
                    <a:pt x="7" y="3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4"/>
                    <a:pt x="5" y="16"/>
                    <a:pt x="3" y="1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5" name="Freeform 509">
              <a:extLst>
                <a:ext uri="{FF2B5EF4-FFF2-40B4-BE49-F238E27FC236}">
                  <a16:creationId xmlns:a16="http://schemas.microsoft.com/office/drawing/2014/main" id="{3B677331-45DA-AED2-925D-7204C174853F}"/>
                </a:ext>
              </a:extLst>
            </p:cNvPr>
            <p:cNvSpPr>
              <a:spLocks/>
            </p:cNvSpPr>
            <p:nvPr/>
          </p:nvSpPr>
          <p:spPr bwMode="auto">
            <a:xfrm>
              <a:off x="-6725630" y="5078107"/>
              <a:ext cx="31404" cy="41870"/>
            </a:xfrm>
            <a:custGeom>
              <a:avLst/>
              <a:gdLst>
                <a:gd name="T0" fmla="*/ 8 w 12"/>
                <a:gd name="T1" fmla="*/ 16 h 16"/>
                <a:gd name="T2" fmla="*/ 5 w 12"/>
                <a:gd name="T3" fmla="*/ 14 h 16"/>
                <a:gd name="T4" fmla="*/ 1 w 12"/>
                <a:gd name="T5" fmla="*/ 6 h 16"/>
                <a:gd name="T6" fmla="*/ 2 w 12"/>
                <a:gd name="T7" fmla="*/ 1 h 16"/>
                <a:gd name="T8" fmla="*/ 7 w 12"/>
                <a:gd name="T9" fmla="*/ 3 h 16"/>
                <a:gd name="T10" fmla="*/ 11 w 12"/>
                <a:gd name="T11" fmla="*/ 10 h 16"/>
                <a:gd name="T12" fmla="*/ 10 w 12"/>
                <a:gd name="T13" fmla="*/ 15 h 16"/>
                <a:gd name="T14" fmla="*/ 8 w 12"/>
                <a:gd name="T15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16">
                  <a:moveTo>
                    <a:pt x="8" y="16"/>
                  </a:moveTo>
                  <a:cubicBezTo>
                    <a:pt x="7" y="16"/>
                    <a:pt x="6" y="15"/>
                    <a:pt x="5" y="14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5"/>
                    <a:pt x="0" y="2"/>
                    <a:pt x="2" y="1"/>
                  </a:cubicBezTo>
                  <a:cubicBezTo>
                    <a:pt x="4" y="0"/>
                    <a:pt x="6" y="1"/>
                    <a:pt x="7" y="3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12" y="12"/>
                    <a:pt x="12" y="14"/>
                    <a:pt x="10" y="15"/>
                  </a:cubicBezTo>
                  <a:cubicBezTo>
                    <a:pt x="9" y="15"/>
                    <a:pt x="9" y="16"/>
                    <a:pt x="8" y="1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6" name="Freeform 510">
              <a:extLst>
                <a:ext uri="{FF2B5EF4-FFF2-40B4-BE49-F238E27FC236}">
                  <a16:creationId xmlns:a16="http://schemas.microsoft.com/office/drawing/2014/main" id="{881F40F8-74B0-E111-C7E7-AD3E0D28C7C4}"/>
                </a:ext>
              </a:extLst>
            </p:cNvPr>
            <p:cNvSpPr>
              <a:spLocks/>
            </p:cNvSpPr>
            <p:nvPr/>
          </p:nvSpPr>
          <p:spPr bwMode="auto">
            <a:xfrm>
              <a:off x="-6798902" y="5151379"/>
              <a:ext cx="41870" cy="31404"/>
            </a:xfrm>
            <a:custGeom>
              <a:avLst/>
              <a:gdLst>
                <a:gd name="T0" fmla="*/ 12 w 16"/>
                <a:gd name="T1" fmla="*/ 12 h 12"/>
                <a:gd name="T2" fmla="*/ 10 w 16"/>
                <a:gd name="T3" fmla="*/ 11 h 12"/>
                <a:gd name="T4" fmla="*/ 3 w 16"/>
                <a:gd name="T5" fmla="*/ 7 h 12"/>
                <a:gd name="T6" fmla="*/ 1 w 16"/>
                <a:gd name="T7" fmla="*/ 2 h 12"/>
                <a:gd name="T8" fmla="*/ 6 w 16"/>
                <a:gd name="T9" fmla="*/ 1 h 12"/>
                <a:gd name="T10" fmla="*/ 14 w 16"/>
                <a:gd name="T11" fmla="*/ 5 h 12"/>
                <a:gd name="T12" fmla="*/ 15 w 16"/>
                <a:gd name="T13" fmla="*/ 10 h 12"/>
                <a:gd name="T14" fmla="*/ 12 w 16"/>
                <a:gd name="T1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12">
                  <a:moveTo>
                    <a:pt x="12" y="12"/>
                  </a:moveTo>
                  <a:cubicBezTo>
                    <a:pt x="11" y="12"/>
                    <a:pt x="11" y="12"/>
                    <a:pt x="10" y="11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" y="6"/>
                    <a:pt x="0" y="4"/>
                    <a:pt x="1" y="2"/>
                  </a:cubicBezTo>
                  <a:cubicBezTo>
                    <a:pt x="2" y="0"/>
                    <a:pt x="4" y="0"/>
                    <a:pt x="6" y="1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5" y="6"/>
                    <a:pt x="16" y="8"/>
                    <a:pt x="15" y="10"/>
                  </a:cubicBezTo>
                  <a:cubicBezTo>
                    <a:pt x="14" y="11"/>
                    <a:pt x="13" y="12"/>
                    <a:pt x="12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7" name="Freeform 511">
              <a:extLst>
                <a:ext uri="{FF2B5EF4-FFF2-40B4-BE49-F238E27FC236}">
                  <a16:creationId xmlns:a16="http://schemas.microsoft.com/office/drawing/2014/main" id="{EF8DA856-98BA-91D6-9A29-8900384A5BBB}"/>
                </a:ext>
              </a:extLst>
            </p:cNvPr>
            <p:cNvSpPr>
              <a:spLocks/>
            </p:cNvSpPr>
            <p:nvPr/>
          </p:nvSpPr>
          <p:spPr bwMode="auto">
            <a:xfrm>
              <a:off x="-6823327" y="5252566"/>
              <a:ext cx="38382" cy="17447"/>
            </a:xfrm>
            <a:custGeom>
              <a:avLst/>
              <a:gdLst>
                <a:gd name="T0" fmla="*/ 12 w 15"/>
                <a:gd name="T1" fmla="*/ 7 h 7"/>
                <a:gd name="T2" fmla="*/ 3 w 15"/>
                <a:gd name="T3" fmla="*/ 7 h 7"/>
                <a:gd name="T4" fmla="*/ 0 w 15"/>
                <a:gd name="T5" fmla="*/ 4 h 7"/>
                <a:gd name="T6" fmla="*/ 3 w 15"/>
                <a:gd name="T7" fmla="*/ 0 h 7"/>
                <a:gd name="T8" fmla="*/ 12 w 15"/>
                <a:gd name="T9" fmla="*/ 0 h 7"/>
                <a:gd name="T10" fmla="*/ 15 w 15"/>
                <a:gd name="T11" fmla="*/ 4 h 7"/>
                <a:gd name="T12" fmla="*/ 12 w 15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7">
                  <a:moveTo>
                    <a:pt x="12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6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4" y="0"/>
                    <a:pt x="15" y="2"/>
                    <a:pt x="15" y="4"/>
                  </a:cubicBezTo>
                  <a:cubicBezTo>
                    <a:pt x="15" y="6"/>
                    <a:pt x="14" y="7"/>
                    <a:pt x="12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8" name="Freeform 512">
              <a:extLst>
                <a:ext uri="{FF2B5EF4-FFF2-40B4-BE49-F238E27FC236}">
                  <a16:creationId xmlns:a16="http://schemas.microsoft.com/office/drawing/2014/main" id="{064B7B8C-0907-62AD-63C7-903672017272}"/>
                </a:ext>
              </a:extLst>
            </p:cNvPr>
            <p:cNvSpPr>
              <a:spLocks/>
            </p:cNvSpPr>
            <p:nvPr/>
          </p:nvSpPr>
          <p:spPr bwMode="auto">
            <a:xfrm>
              <a:off x="-6798902" y="5339794"/>
              <a:ext cx="41870" cy="31404"/>
            </a:xfrm>
            <a:custGeom>
              <a:avLst/>
              <a:gdLst>
                <a:gd name="T0" fmla="*/ 4 w 16"/>
                <a:gd name="T1" fmla="*/ 12 h 12"/>
                <a:gd name="T2" fmla="*/ 1 w 16"/>
                <a:gd name="T3" fmla="*/ 10 h 12"/>
                <a:gd name="T4" fmla="*/ 3 w 16"/>
                <a:gd name="T5" fmla="*/ 5 h 12"/>
                <a:gd name="T6" fmla="*/ 10 w 16"/>
                <a:gd name="T7" fmla="*/ 1 h 12"/>
                <a:gd name="T8" fmla="*/ 15 w 16"/>
                <a:gd name="T9" fmla="*/ 2 h 12"/>
                <a:gd name="T10" fmla="*/ 14 w 16"/>
                <a:gd name="T11" fmla="*/ 7 h 12"/>
                <a:gd name="T12" fmla="*/ 6 w 16"/>
                <a:gd name="T13" fmla="*/ 11 h 12"/>
                <a:gd name="T14" fmla="*/ 4 w 16"/>
                <a:gd name="T1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12">
                  <a:moveTo>
                    <a:pt x="4" y="12"/>
                  </a:moveTo>
                  <a:cubicBezTo>
                    <a:pt x="3" y="12"/>
                    <a:pt x="2" y="11"/>
                    <a:pt x="1" y="10"/>
                  </a:cubicBezTo>
                  <a:cubicBezTo>
                    <a:pt x="0" y="8"/>
                    <a:pt x="1" y="6"/>
                    <a:pt x="3" y="5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2" y="0"/>
                    <a:pt x="14" y="0"/>
                    <a:pt x="15" y="2"/>
                  </a:cubicBezTo>
                  <a:cubicBezTo>
                    <a:pt x="16" y="4"/>
                    <a:pt x="15" y="6"/>
                    <a:pt x="14" y="7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2"/>
                    <a:pt x="5" y="12"/>
                    <a:pt x="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9" name="Freeform 513">
              <a:extLst>
                <a:ext uri="{FF2B5EF4-FFF2-40B4-BE49-F238E27FC236}">
                  <a16:creationId xmlns:a16="http://schemas.microsoft.com/office/drawing/2014/main" id="{0A119F6B-67D4-F0AF-A71D-2083F46970A4}"/>
                </a:ext>
              </a:extLst>
            </p:cNvPr>
            <p:cNvSpPr>
              <a:spLocks/>
            </p:cNvSpPr>
            <p:nvPr/>
          </p:nvSpPr>
          <p:spPr bwMode="auto">
            <a:xfrm>
              <a:off x="-6725630" y="5402599"/>
              <a:ext cx="31404" cy="38382"/>
            </a:xfrm>
            <a:custGeom>
              <a:avLst/>
              <a:gdLst>
                <a:gd name="T0" fmla="*/ 4 w 12"/>
                <a:gd name="T1" fmla="*/ 15 h 15"/>
                <a:gd name="T2" fmla="*/ 2 w 12"/>
                <a:gd name="T3" fmla="*/ 15 h 15"/>
                <a:gd name="T4" fmla="*/ 1 w 12"/>
                <a:gd name="T5" fmla="*/ 10 h 15"/>
                <a:gd name="T6" fmla="*/ 5 w 12"/>
                <a:gd name="T7" fmla="*/ 2 h 15"/>
                <a:gd name="T8" fmla="*/ 10 w 12"/>
                <a:gd name="T9" fmla="*/ 1 h 15"/>
                <a:gd name="T10" fmla="*/ 11 w 12"/>
                <a:gd name="T11" fmla="*/ 6 h 15"/>
                <a:gd name="T12" fmla="*/ 7 w 12"/>
                <a:gd name="T13" fmla="*/ 13 h 15"/>
                <a:gd name="T14" fmla="*/ 4 w 12"/>
                <a:gd name="T1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15">
                  <a:moveTo>
                    <a:pt x="4" y="15"/>
                  </a:moveTo>
                  <a:cubicBezTo>
                    <a:pt x="3" y="15"/>
                    <a:pt x="3" y="15"/>
                    <a:pt x="2" y="15"/>
                  </a:cubicBezTo>
                  <a:cubicBezTo>
                    <a:pt x="0" y="14"/>
                    <a:pt x="0" y="12"/>
                    <a:pt x="1" y="10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6" y="1"/>
                    <a:pt x="8" y="0"/>
                    <a:pt x="10" y="1"/>
                  </a:cubicBezTo>
                  <a:cubicBezTo>
                    <a:pt x="12" y="2"/>
                    <a:pt x="12" y="4"/>
                    <a:pt x="11" y="6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6" y="15"/>
                    <a:pt x="5" y="15"/>
                    <a:pt x="4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0" name="Freeform 514">
              <a:extLst>
                <a:ext uri="{FF2B5EF4-FFF2-40B4-BE49-F238E27FC236}">
                  <a16:creationId xmlns:a16="http://schemas.microsoft.com/office/drawing/2014/main" id="{4A5F4E88-C8D5-038F-E0A1-2C29296E7EC8}"/>
                </a:ext>
              </a:extLst>
            </p:cNvPr>
            <p:cNvSpPr>
              <a:spLocks/>
            </p:cNvSpPr>
            <p:nvPr/>
          </p:nvSpPr>
          <p:spPr bwMode="auto">
            <a:xfrm>
              <a:off x="-6627933" y="5427025"/>
              <a:ext cx="20935" cy="41870"/>
            </a:xfrm>
            <a:custGeom>
              <a:avLst/>
              <a:gdLst>
                <a:gd name="T0" fmla="*/ 3 w 7"/>
                <a:gd name="T1" fmla="*/ 15 h 15"/>
                <a:gd name="T2" fmla="*/ 0 w 7"/>
                <a:gd name="T3" fmla="*/ 12 h 15"/>
                <a:gd name="T4" fmla="*/ 0 w 7"/>
                <a:gd name="T5" fmla="*/ 3 h 15"/>
                <a:gd name="T6" fmla="*/ 3 w 7"/>
                <a:gd name="T7" fmla="*/ 0 h 15"/>
                <a:gd name="T8" fmla="*/ 7 w 7"/>
                <a:gd name="T9" fmla="*/ 3 h 15"/>
                <a:gd name="T10" fmla="*/ 7 w 7"/>
                <a:gd name="T11" fmla="*/ 12 h 15"/>
                <a:gd name="T12" fmla="*/ 3 w 7"/>
                <a:gd name="T13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5">
                  <a:moveTo>
                    <a:pt x="3" y="15"/>
                  </a:moveTo>
                  <a:cubicBezTo>
                    <a:pt x="1" y="15"/>
                    <a:pt x="0" y="14"/>
                    <a:pt x="0" y="1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5" y="0"/>
                    <a:pt x="7" y="1"/>
                    <a:pt x="7" y="3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4"/>
                    <a:pt x="5" y="15"/>
                    <a:pt x="3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1" name="Freeform 515">
              <a:extLst>
                <a:ext uri="{FF2B5EF4-FFF2-40B4-BE49-F238E27FC236}">
                  <a16:creationId xmlns:a16="http://schemas.microsoft.com/office/drawing/2014/main" id="{8ABA689B-EAEE-D202-1756-8B6CF053131B}"/>
                </a:ext>
              </a:extLst>
            </p:cNvPr>
            <p:cNvSpPr>
              <a:spLocks/>
            </p:cNvSpPr>
            <p:nvPr/>
          </p:nvSpPr>
          <p:spPr bwMode="auto">
            <a:xfrm>
              <a:off x="-6540703" y="5402599"/>
              <a:ext cx="31404" cy="38382"/>
            </a:xfrm>
            <a:custGeom>
              <a:avLst/>
              <a:gdLst>
                <a:gd name="T0" fmla="*/ 8 w 12"/>
                <a:gd name="T1" fmla="*/ 15 h 15"/>
                <a:gd name="T2" fmla="*/ 5 w 12"/>
                <a:gd name="T3" fmla="*/ 13 h 15"/>
                <a:gd name="T4" fmla="*/ 1 w 12"/>
                <a:gd name="T5" fmla="*/ 6 h 15"/>
                <a:gd name="T6" fmla="*/ 2 w 12"/>
                <a:gd name="T7" fmla="*/ 1 h 15"/>
                <a:gd name="T8" fmla="*/ 7 w 12"/>
                <a:gd name="T9" fmla="*/ 2 h 15"/>
                <a:gd name="T10" fmla="*/ 11 w 12"/>
                <a:gd name="T11" fmla="*/ 10 h 15"/>
                <a:gd name="T12" fmla="*/ 10 w 12"/>
                <a:gd name="T13" fmla="*/ 15 h 15"/>
                <a:gd name="T14" fmla="*/ 8 w 12"/>
                <a:gd name="T1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15">
                  <a:moveTo>
                    <a:pt x="8" y="15"/>
                  </a:moveTo>
                  <a:cubicBezTo>
                    <a:pt x="7" y="15"/>
                    <a:pt x="6" y="15"/>
                    <a:pt x="5" y="13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4"/>
                    <a:pt x="0" y="2"/>
                    <a:pt x="2" y="1"/>
                  </a:cubicBezTo>
                  <a:cubicBezTo>
                    <a:pt x="4" y="0"/>
                    <a:pt x="6" y="1"/>
                    <a:pt x="7" y="2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12" y="12"/>
                    <a:pt x="12" y="14"/>
                    <a:pt x="10" y="15"/>
                  </a:cubicBezTo>
                  <a:cubicBezTo>
                    <a:pt x="9" y="15"/>
                    <a:pt x="9" y="15"/>
                    <a:pt x="8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2" name="Freeform 516">
              <a:extLst>
                <a:ext uri="{FF2B5EF4-FFF2-40B4-BE49-F238E27FC236}">
                  <a16:creationId xmlns:a16="http://schemas.microsoft.com/office/drawing/2014/main" id="{B5C8CA0E-2F05-B4D1-7096-1A04054DA21E}"/>
                </a:ext>
              </a:extLst>
            </p:cNvPr>
            <p:cNvSpPr>
              <a:spLocks/>
            </p:cNvSpPr>
            <p:nvPr/>
          </p:nvSpPr>
          <p:spPr bwMode="auto">
            <a:xfrm>
              <a:off x="-6477898" y="5339794"/>
              <a:ext cx="41870" cy="31404"/>
            </a:xfrm>
            <a:custGeom>
              <a:avLst/>
              <a:gdLst>
                <a:gd name="T0" fmla="*/ 12 w 16"/>
                <a:gd name="T1" fmla="*/ 12 h 12"/>
                <a:gd name="T2" fmla="*/ 10 w 16"/>
                <a:gd name="T3" fmla="*/ 11 h 12"/>
                <a:gd name="T4" fmla="*/ 2 w 16"/>
                <a:gd name="T5" fmla="*/ 7 h 12"/>
                <a:gd name="T6" fmla="*/ 1 w 16"/>
                <a:gd name="T7" fmla="*/ 2 h 12"/>
                <a:gd name="T8" fmla="*/ 6 w 16"/>
                <a:gd name="T9" fmla="*/ 1 h 12"/>
                <a:gd name="T10" fmla="*/ 13 w 16"/>
                <a:gd name="T11" fmla="*/ 5 h 12"/>
                <a:gd name="T12" fmla="*/ 15 w 16"/>
                <a:gd name="T13" fmla="*/ 10 h 12"/>
                <a:gd name="T14" fmla="*/ 12 w 16"/>
                <a:gd name="T1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12">
                  <a:moveTo>
                    <a:pt x="12" y="12"/>
                  </a:moveTo>
                  <a:cubicBezTo>
                    <a:pt x="11" y="12"/>
                    <a:pt x="10" y="12"/>
                    <a:pt x="10" y="11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1" y="6"/>
                    <a:pt x="0" y="4"/>
                    <a:pt x="1" y="2"/>
                  </a:cubicBezTo>
                  <a:cubicBezTo>
                    <a:pt x="2" y="0"/>
                    <a:pt x="4" y="0"/>
                    <a:pt x="6" y="1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5" y="6"/>
                    <a:pt x="16" y="8"/>
                    <a:pt x="15" y="10"/>
                  </a:cubicBezTo>
                  <a:cubicBezTo>
                    <a:pt x="14" y="11"/>
                    <a:pt x="13" y="12"/>
                    <a:pt x="12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3" name="Freeform 517">
              <a:extLst>
                <a:ext uri="{FF2B5EF4-FFF2-40B4-BE49-F238E27FC236}">
                  <a16:creationId xmlns:a16="http://schemas.microsoft.com/office/drawing/2014/main" id="{D4A2F9FF-3236-16B4-A4FC-98DBFC967B9B}"/>
                </a:ext>
              </a:extLst>
            </p:cNvPr>
            <p:cNvSpPr>
              <a:spLocks/>
            </p:cNvSpPr>
            <p:nvPr/>
          </p:nvSpPr>
          <p:spPr bwMode="auto">
            <a:xfrm>
              <a:off x="-6453475" y="5252566"/>
              <a:ext cx="41870" cy="17447"/>
            </a:xfrm>
            <a:custGeom>
              <a:avLst/>
              <a:gdLst>
                <a:gd name="T0" fmla="*/ 13 w 16"/>
                <a:gd name="T1" fmla="*/ 7 h 7"/>
                <a:gd name="T2" fmla="*/ 4 w 16"/>
                <a:gd name="T3" fmla="*/ 7 h 7"/>
                <a:gd name="T4" fmla="*/ 0 w 16"/>
                <a:gd name="T5" fmla="*/ 4 h 7"/>
                <a:gd name="T6" fmla="*/ 4 w 16"/>
                <a:gd name="T7" fmla="*/ 0 h 7"/>
                <a:gd name="T8" fmla="*/ 13 w 16"/>
                <a:gd name="T9" fmla="*/ 0 h 7"/>
                <a:gd name="T10" fmla="*/ 16 w 16"/>
                <a:gd name="T11" fmla="*/ 4 h 7"/>
                <a:gd name="T12" fmla="*/ 13 w 16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7">
                  <a:moveTo>
                    <a:pt x="13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5" y="0"/>
                    <a:pt x="16" y="2"/>
                    <a:pt x="16" y="4"/>
                  </a:cubicBezTo>
                  <a:cubicBezTo>
                    <a:pt x="16" y="6"/>
                    <a:pt x="15" y="7"/>
                    <a:pt x="13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4" name="Freeform 518">
              <a:extLst>
                <a:ext uri="{FF2B5EF4-FFF2-40B4-BE49-F238E27FC236}">
                  <a16:creationId xmlns:a16="http://schemas.microsoft.com/office/drawing/2014/main" id="{E1E20286-D755-A3BD-830E-C135530FF96B}"/>
                </a:ext>
              </a:extLst>
            </p:cNvPr>
            <p:cNvSpPr>
              <a:spLocks/>
            </p:cNvSpPr>
            <p:nvPr/>
          </p:nvSpPr>
          <p:spPr bwMode="auto">
            <a:xfrm>
              <a:off x="-6477898" y="5151379"/>
              <a:ext cx="41870" cy="31404"/>
            </a:xfrm>
            <a:custGeom>
              <a:avLst/>
              <a:gdLst>
                <a:gd name="T0" fmla="*/ 4 w 16"/>
                <a:gd name="T1" fmla="*/ 12 h 12"/>
                <a:gd name="T2" fmla="*/ 1 w 16"/>
                <a:gd name="T3" fmla="*/ 10 h 12"/>
                <a:gd name="T4" fmla="*/ 2 w 16"/>
                <a:gd name="T5" fmla="*/ 5 h 12"/>
                <a:gd name="T6" fmla="*/ 10 w 16"/>
                <a:gd name="T7" fmla="*/ 1 h 12"/>
                <a:gd name="T8" fmla="*/ 15 w 16"/>
                <a:gd name="T9" fmla="*/ 2 h 12"/>
                <a:gd name="T10" fmla="*/ 13 w 16"/>
                <a:gd name="T11" fmla="*/ 7 h 12"/>
                <a:gd name="T12" fmla="*/ 6 w 16"/>
                <a:gd name="T13" fmla="*/ 11 h 12"/>
                <a:gd name="T14" fmla="*/ 4 w 16"/>
                <a:gd name="T1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12">
                  <a:moveTo>
                    <a:pt x="4" y="12"/>
                  </a:moveTo>
                  <a:cubicBezTo>
                    <a:pt x="3" y="12"/>
                    <a:pt x="2" y="11"/>
                    <a:pt x="1" y="10"/>
                  </a:cubicBezTo>
                  <a:cubicBezTo>
                    <a:pt x="0" y="8"/>
                    <a:pt x="1" y="6"/>
                    <a:pt x="2" y="5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1" y="0"/>
                    <a:pt x="14" y="0"/>
                    <a:pt x="15" y="2"/>
                  </a:cubicBezTo>
                  <a:cubicBezTo>
                    <a:pt x="16" y="4"/>
                    <a:pt x="15" y="6"/>
                    <a:pt x="13" y="7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5" y="12"/>
                    <a:pt x="5" y="12"/>
                    <a:pt x="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5" name="Freeform 519">
              <a:extLst>
                <a:ext uri="{FF2B5EF4-FFF2-40B4-BE49-F238E27FC236}">
                  <a16:creationId xmlns:a16="http://schemas.microsoft.com/office/drawing/2014/main" id="{89DD15C8-017A-C1B4-757C-B920AC5A16CE}"/>
                </a:ext>
              </a:extLst>
            </p:cNvPr>
            <p:cNvSpPr>
              <a:spLocks/>
            </p:cNvSpPr>
            <p:nvPr/>
          </p:nvSpPr>
          <p:spPr bwMode="auto">
            <a:xfrm>
              <a:off x="-6540703" y="5078107"/>
              <a:ext cx="31404" cy="41870"/>
            </a:xfrm>
            <a:custGeom>
              <a:avLst/>
              <a:gdLst>
                <a:gd name="T0" fmla="*/ 4 w 12"/>
                <a:gd name="T1" fmla="*/ 16 h 16"/>
                <a:gd name="T2" fmla="*/ 2 w 12"/>
                <a:gd name="T3" fmla="*/ 15 h 16"/>
                <a:gd name="T4" fmla="*/ 1 w 12"/>
                <a:gd name="T5" fmla="*/ 10 h 16"/>
                <a:gd name="T6" fmla="*/ 5 w 12"/>
                <a:gd name="T7" fmla="*/ 3 h 16"/>
                <a:gd name="T8" fmla="*/ 10 w 12"/>
                <a:gd name="T9" fmla="*/ 1 h 16"/>
                <a:gd name="T10" fmla="*/ 11 w 12"/>
                <a:gd name="T11" fmla="*/ 6 h 16"/>
                <a:gd name="T12" fmla="*/ 7 w 12"/>
                <a:gd name="T13" fmla="*/ 14 h 16"/>
                <a:gd name="T14" fmla="*/ 4 w 12"/>
                <a:gd name="T15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16">
                  <a:moveTo>
                    <a:pt x="4" y="16"/>
                  </a:moveTo>
                  <a:cubicBezTo>
                    <a:pt x="3" y="16"/>
                    <a:pt x="2" y="15"/>
                    <a:pt x="2" y="15"/>
                  </a:cubicBezTo>
                  <a:cubicBezTo>
                    <a:pt x="0" y="14"/>
                    <a:pt x="0" y="12"/>
                    <a:pt x="1" y="10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6" y="1"/>
                    <a:pt x="8" y="0"/>
                    <a:pt x="10" y="1"/>
                  </a:cubicBezTo>
                  <a:cubicBezTo>
                    <a:pt x="12" y="2"/>
                    <a:pt x="12" y="5"/>
                    <a:pt x="11" y="6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6" y="15"/>
                    <a:pt x="5" y="16"/>
                    <a:pt x="4" y="1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6" name="Freeform 520">
              <a:extLst>
                <a:ext uri="{FF2B5EF4-FFF2-40B4-BE49-F238E27FC236}">
                  <a16:creationId xmlns:a16="http://schemas.microsoft.com/office/drawing/2014/main" id="{70D67433-7466-E508-8404-687238206924}"/>
                </a:ext>
              </a:extLst>
            </p:cNvPr>
            <p:cNvSpPr>
              <a:spLocks/>
            </p:cNvSpPr>
            <p:nvPr/>
          </p:nvSpPr>
          <p:spPr bwMode="auto">
            <a:xfrm>
              <a:off x="-6627933" y="5123466"/>
              <a:ext cx="66295" cy="177949"/>
            </a:xfrm>
            <a:custGeom>
              <a:avLst/>
              <a:gdLst>
                <a:gd name="T0" fmla="*/ 21 w 25"/>
                <a:gd name="T1" fmla="*/ 67 h 67"/>
                <a:gd name="T2" fmla="*/ 19 w 25"/>
                <a:gd name="T3" fmla="*/ 66 h 67"/>
                <a:gd name="T4" fmla="*/ 1 w 25"/>
                <a:gd name="T5" fmla="*/ 55 h 67"/>
                <a:gd name="T6" fmla="*/ 0 w 25"/>
                <a:gd name="T7" fmla="*/ 52 h 67"/>
                <a:gd name="T8" fmla="*/ 0 w 25"/>
                <a:gd name="T9" fmla="*/ 3 h 67"/>
                <a:gd name="T10" fmla="*/ 3 w 25"/>
                <a:gd name="T11" fmla="*/ 0 h 67"/>
                <a:gd name="T12" fmla="*/ 7 w 25"/>
                <a:gd name="T13" fmla="*/ 3 h 67"/>
                <a:gd name="T14" fmla="*/ 7 w 25"/>
                <a:gd name="T15" fmla="*/ 50 h 67"/>
                <a:gd name="T16" fmla="*/ 23 w 25"/>
                <a:gd name="T17" fmla="*/ 60 h 67"/>
                <a:gd name="T18" fmla="*/ 24 w 25"/>
                <a:gd name="T19" fmla="*/ 65 h 67"/>
                <a:gd name="T20" fmla="*/ 21 w 25"/>
                <a:gd name="T21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" h="67">
                  <a:moveTo>
                    <a:pt x="21" y="67"/>
                  </a:moveTo>
                  <a:cubicBezTo>
                    <a:pt x="21" y="67"/>
                    <a:pt x="20" y="67"/>
                    <a:pt x="19" y="66"/>
                  </a:cubicBezTo>
                  <a:cubicBezTo>
                    <a:pt x="1" y="55"/>
                    <a:pt x="1" y="55"/>
                    <a:pt x="1" y="55"/>
                  </a:cubicBezTo>
                  <a:cubicBezTo>
                    <a:pt x="0" y="54"/>
                    <a:pt x="0" y="53"/>
                    <a:pt x="0" y="5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5" y="0"/>
                    <a:pt x="7" y="1"/>
                    <a:pt x="7" y="3"/>
                  </a:cubicBezTo>
                  <a:cubicBezTo>
                    <a:pt x="7" y="50"/>
                    <a:pt x="7" y="50"/>
                    <a:pt x="7" y="50"/>
                  </a:cubicBezTo>
                  <a:cubicBezTo>
                    <a:pt x="23" y="60"/>
                    <a:pt x="23" y="60"/>
                    <a:pt x="23" y="60"/>
                  </a:cubicBezTo>
                  <a:cubicBezTo>
                    <a:pt x="25" y="61"/>
                    <a:pt x="25" y="64"/>
                    <a:pt x="24" y="65"/>
                  </a:cubicBezTo>
                  <a:cubicBezTo>
                    <a:pt x="24" y="66"/>
                    <a:pt x="22" y="67"/>
                    <a:pt x="21" y="6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5" name="Shape6_20200717_154439">
            <a:extLst>
              <a:ext uri="{FF2B5EF4-FFF2-40B4-BE49-F238E27FC236}">
                <a16:creationId xmlns:a16="http://schemas.microsoft.com/office/drawing/2014/main" id="{1DFACAD5-C077-26A9-5327-4B99AA6DDC9E}"/>
              </a:ext>
            </a:extLst>
          </p:cNvPr>
          <p:cNvGrpSpPr>
            <a:grpSpLocks noChangeAspect="1"/>
          </p:cNvGrpSpPr>
          <p:nvPr/>
        </p:nvGrpSpPr>
        <p:grpSpPr>
          <a:xfrm>
            <a:off x="3160393" y="1193188"/>
            <a:ext cx="648987" cy="648989"/>
            <a:chOff x="-3246924" y="971350"/>
            <a:chExt cx="648987" cy="648989"/>
          </a:xfrm>
          <a:solidFill>
            <a:schemeClr val="accent1"/>
          </a:solidFill>
        </p:grpSpPr>
        <p:sp>
          <p:nvSpPr>
            <p:cNvPr id="198" name="Freeform 521">
              <a:extLst>
                <a:ext uri="{FF2B5EF4-FFF2-40B4-BE49-F238E27FC236}">
                  <a16:creationId xmlns:a16="http://schemas.microsoft.com/office/drawing/2014/main" id="{D5A8A26E-2B75-61CB-42AA-0D4E5EA92CC8}"/>
                </a:ext>
              </a:extLst>
            </p:cNvPr>
            <p:cNvSpPr>
              <a:spLocks/>
            </p:cNvSpPr>
            <p:nvPr/>
          </p:nvSpPr>
          <p:spPr bwMode="auto">
            <a:xfrm>
              <a:off x="-2932898" y="971350"/>
              <a:ext cx="20935" cy="31404"/>
            </a:xfrm>
            <a:custGeom>
              <a:avLst/>
              <a:gdLst>
                <a:gd name="T0" fmla="*/ 3 w 7"/>
                <a:gd name="T1" fmla="*/ 12 h 12"/>
                <a:gd name="T2" fmla="*/ 0 w 7"/>
                <a:gd name="T3" fmla="*/ 8 h 12"/>
                <a:gd name="T4" fmla="*/ 0 w 7"/>
                <a:gd name="T5" fmla="*/ 3 h 12"/>
                <a:gd name="T6" fmla="*/ 3 w 7"/>
                <a:gd name="T7" fmla="*/ 0 h 12"/>
                <a:gd name="T8" fmla="*/ 7 w 7"/>
                <a:gd name="T9" fmla="*/ 3 h 12"/>
                <a:gd name="T10" fmla="*/ 7 w 7"/>
                <a:gd name="T11" fmla="*/ 8 h 12"/>
                <a:gd name="T12" fmla="*/ 3 w 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2">
                  <a:moveTo>
                    <a:pt x="3" y="12"/>
                  </a:moveTo>
                  <a:cubicBezTo>
                    <a:pt x="1" y="12"/>
                    <a:pt x="0" y="10"/>
                    <a:pt x="0" y="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5" y="0"/>
                    <a:pt x="7" y="1"/>
                    <a:pt x="7" y="3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10"/>
                    <a:pt x="5" y="12"/>
                    <a:pt x="3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9" name="Freeform 522">
              <a:extLst>
                <a:ext uri="{FF2B5EF4-FFF2-40B4-BE49-F238E27FC236}">
                  <a16:creationId xmlns:a16="http://schemas.microsoft.com/office/drawing/2014/main" id="{53C6E10B-B7FA-771D-E856-19CE8144D601}"/>
                </a:ext>
              </a:extLst>
            </p:cNvPr>
            <p:cNvSpPr>
              <a:spLocks/>
            </p:cNvSpPr>
            <p:nvPr/>
          </p:nvSpPr>
          <p:spPr bwMode="auto">
            <a:xfrm>
              <a:off x="-3093400" y="1009732"/>
              <a:ext cx="31404" cy="31404"/>
            </a:xfrm>
            <a:custGeom>
              <a:avLst/>
              <a:gdLst>
                <a:gd name="T0" fmla="*/ 7 w 11"/>
                <a:gd name="T1" fmla="*/ 12 h 12"/>
                <a:gd name="T2" fmla="*/ 3 w 11"/>
                <a:gd name="T3" fmla="*/ 10 h 12"/>
                <a:gd name="T4" fmla="*/ 1 w 11"/>
                <a:gd name="T5" fmla="*/ 6 h 12"/>
                <a:gd name="T6" fmla="*/ 2 w 11"/>
                <a:gd name="T7" fmla="*/ 1 h 12"/>
                <a:gd name="T8" fmla="*/ 7 w 11"/>
                <a:gd name="T9" fmla="*/ 2 h 12"/>
                <a:gd name="T10" fmla="*/ 10 w 11"/>
                <a:gd name="T11" fmla="*/ 7 h 12"/>
                <a:gd name="T12" fmla="*/ 8 w 11"/>
                <a:gd name="T13" fmla="*/ 12 h 12"/>
                <a:gd name="T14" fmla="*/ 7 w 11"/>
                <a:gd name="T1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12">
                  <a:moveTo>
                    <a:pt x="7" y="12"/>
                  </a:moveTo>
                  <a:cubicBezTo>
                    <a:pt x="5" y="12"/>
                    <a:pt x="4" y="11"/>
                    <a:pt x="3" y="10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4"/>
                    <a:pt x="1" y="2"/>
                    <a:pt x="2" y="1"/>
                  </a:cubicBezTo>
                  <a:cubicBezTo>
                    <a:pt x="4" y="0"/>
                    <a:pt x="6" y="1"/>
                    <a:pt x="7" y="2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8"/>
                    <a:pt x="10" y="11"/>
                    <a:pt x="8" y="12"/>
                  </a:cubicBezTo>
                  <a:cubicBezTo>
                    <a:pt x="8" y="12"/>
                    <a:pt x="7" y="12"/>
                    <a:pt x="7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0" name="Freeform 523">
              <a:extLst>
                <a:ext uri="{FF2B5EF4-FFF2-40B4-BE49-F238E27FC236}">
                  <a16:creationId xmlns:a16="http://schemas.microsoft.com/office/drawing/2014/main" id="{79B37150-5B06-A887-79AF-3F5C30709A5D}"/>
                </a:ext>
              </a:extLst>
            </p:cNvPr>
            <p:cNvSpPr>
              <a:spLocks/>
            </p:cNvSpPr>
            <p:nvPr/>
          </p:nvSpPr>
          <p:spPr bwMode="auto">
            <a:xfrm>
              <a:off x="-3208544" y="1124874"/>
              <a:ext cx="34892" cy="27913"/>
            </a:xfrm>
            <a:custGeom>
              <a:avLst/>
              <a:gdLst>
                <a:gd name="T0" fmla="*/ 8 w 13"/>
                <a:gd name="T1" fmla="*/ 10 h 10"/>
                <a:gd name="T2" fmla="*/ 7 w 13"/>
                <a:gd name="T3" fmla="*/ 10 h 10"/>
                <a:gd name="T4" fmla="*/ 2 w 13"/>
                <a:gd name="T5" fmla="*/ 7 h 10"/>
                <a:gd name="T6" fmla="*/ 1 w 13"/>
                <a:gd name="T7" fmla="*/ 2 h 10"/>
                <a:gd name="T8" fmla="*/ 6 w 13"/>
                <a:gd name="T9" fmla="*/ 1 h 10"/>
                <a:gd name="T10" fmla="*/ 10 w 13"/>
                <a:gd name="T11" fmla="*/ 3 h 10"/>
                <a:gd name="T12" fmla="*/ 12 w 13"/>
                <a:gd name="T13" fmla="*/ 8 h 10"/>
                <a:gd name="T14" fmla="*/ 8 w 13"/>
                <a:gd name="T1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10">
                  <a:moveTo>
                    <a:pt x="8" y="10"/>
                  </a:moveTo>
                  <a:cubicBezTo>
                    <a:pt x="8" y="10"/>
                    <a:pt x="7" y="10"/>
                    <a:pt x="7" y="10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1" y="6"/>
                    <a:pt x="0" y="4"/>
                    <a:pt x="1" y="2"/>
                  </a:cubicBezTo>
                  <a:cubicBezTo>
                    <a:pt x="2" y="1"/>
                    <a:pt x="4" y="0"/>
                    <a:pt x="6" y="1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2" y="4"/>
                    <a:pt x="13" y="7"/>
                    <a:pt x="12" y="8"/>
                  </a:cubicBezTo>
                  <a:cubicBezTo>
                    <a:pt x="11" y="10"/>
                    <a:pt x="10" y="10"/>
                    <a:pt x="8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1" name="Freeform 524">
              <a:extLst>
                <a:ext uri="{FF2B5EF4-FFF2-40B4-BE49-F238E27FC236}">
                  <a16:creationId xmlns:a16="http://schemas.microsoft.com/office/drawing/2014/main" id="{7929BA3A-4F44-54BC-4E25-D413D6642DA6}"/>
                </a:ext>
              </a:extLst>
            </p:cNvPr>
            <p:cNvSpPr>
              <a:spLocks/>
            </p:cNvSpPr>
            <p:nvPr/>
          </p:nvSpPr>
          <p:spPr bwMode="auto">
            <a:xfrm>
              <a:off x="-3246924" y="1285376"/>
              <a:ext cx="31404" cy="20935"/>
            </a:xfrm>
            <a:custGeom>
              <a:avLst/>
              <a:gdLst>
                <a:gd name="T0" fmla="*/ 8 w 12"/>
                <a:gd name="T1" fmla="*/ 7 h 7"/>
                <a:gd name="T2" fmla="*/ 3 w 12"/>
                <a:gd name="T3" fmla="*/ 7 h 7"/>
                <a:gd name="T4" fmla="*/ 0 w 12"/>
                <a:gd name="T5" fmla="*/ 3 h 7"/>
                <a:gd name="T6" fmla="*/ 3 w 12"/>
                <a:gd name="T7" fmla="*/ 0 h 7"/>
                <a:gd name="T8" fmla="*/ 8 w 12"/>
                <a:gd name="T9" fmla="*/ 0 h 7"/>
                <a:gd name="T10" fmla="*/ 12 w 12"/>
                <a:gd name="T11" fmla="*/ 3 h 7"/>
                <a:gd name="T12" fmla="*/ 8 w 12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7">
                  <a:moveTo>
                    <a:pt x="8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10" y="0"/>
                    <a:pt x="12" y="1"/>
                    <a:pt x="12" y="3"/>
                  </a:cubicBezTo>
                  <a:cubicBezTo>
                    <a:pt x="12" y="5"/>
                    <a:pt x="10" y="7"/>
                    <a:pt x="8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2" name="Freeform 525">
              <a:extLst>
                <a:ext uri="{FF2B5EF4-FFF2-40B4-BE49-F238E27FC236}">
                  <a16:creationId xmlns:a16="http://schemas.microsoft.com/office/drawing/2014/main" id="{FCC368B0-E921-72A0-6378-004C0429D1AD}"/>
                </a:ext>
              </a:extLst>
            </p:cNvPr>
            <p:cNvSpPr>
              <a:spLocks/>
            </p:cNvSpPr>
            <p:nvPr/>
          </p:nvSpPr>
          <p:spPr bwMode="auto">
            <a:xfrm>
              <a:off x="-3208544" y="1438899"/>
              <a:ext cx="34892" cy="24425"/>
            </a:xfrm>
            <a:custGeom>
              <a:avLst/>
              <a:gdLst>
                <a:gd name="T0" fmla="*/ 4 w 13"/>
                <a:gd name="T1" fmla="*/ 10 h 10"/>
                <a:gd name="T2" fmla="*/ 1 w 13"/>
                <a:gd name="T3" fmla="*/ 8 h 10"/>
                <a:gd name="T4" fmla="*/ 2 w 13"/>
                <a:gd name="T5" fmla="*/ 3 h 10"/>
                <a:gd name="T6" fmla="*/ 7 w 13"/>
                <a:gd name="T7" fmla="*/ 1 h 10"/>
                <a:gd name="T8" fmla="*/ 12 w 13"/>
                <a:gd name="T9" fmla="*/ 2 h 10"/>
                <a:gd name="T10" fmla="*/ 10 w 13"/>
                <a:gd name="T11" fmla="*/ 7 h 10"/>
                <a:gd name="T12" fmla="*/ 6 w 13"/>
                <a:gd name="T13" fmla="*/ 9 h 10"/>
                <a:gd name="T14" fmla="*/ 4 w 13"/>
                <a:gd name="T1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10">
                  <a:moveTo>
                    <a:pt x="4" y="10"/>
                  </a:moveTo>
                  <a:cubicBezTo>
                    <a:pt x="3" y="10"/>
                    <a:pt x="2" y="9"/>
                    <a:pt x="1" y="8"/>
                  </a:cubicBezTo>
                  <a:cubicBezTo>
                    <a:pt x="0" y="6"/>
                    <a:pt x="1" y="4"/>
                    <a:pt x="2" y="3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8" y="0"/>
                    <a:pt x="11" y="0"/>
                    <a:pt x="12" y="2"/>
                  </a:cubicBezTo>
                  <a:cubicBezTo>
                    <a:pt x="13" y="4"/>
                    <a:pt x="12" y="6"/>
                    <a:pt x="10" y="7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5" y="10"/>
                    <a:pt x="5" y="10"/>
                    <a:pt x="4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3" name="Freeform 526">
              <a:extLst>
                <a:ext uri="{FF2B5EF4-FFF2-40B4-BE49-F238E27FC236}">
                  <a16:creationId xmlns:a16="http://schemas.microsoft.com/office/drawing/2014/main" id="{28952C08-45DA-E9DC-AD31-EB0CDC0B29A2}"/>
                </a:ext>
              </a:extLst>
            </p:cNvPr>
            <p:cNvSpPr>
              <a:spLocks/>
            </p:cNvSpPr>
            <p:nvPr/>
          </p:nvSpPr>
          <p:spPr bwMode="auto">
            <a:xfrm>
              <a:off x="-3093400" y="1547065"/>
              <a:ext cx="31404" cy="31404"/>
            </a:xfrm>
            <a:custGeom>
              <a:avLst/>
              <a:gdLst>
                <a:gd name="T0" fmla="*/ 4 w 11"/>
                <a:gd name="T1" fmla="*/ 12 h 12"/>
                <a:gd name="T2" fmla="*/ 2 w 11"/>
                <a:gd name="T3" fmla="*/ 11 h 12"/>
                <a:gd name="T4" fmla="*/ 1 w 11"/>
                <a:gd name="T5" fmla="*/ 6 h 12"/>
                <a:gd name="T6" fmla="*/ 3 w 11"/>
                <a:gd name="T7" fmla="*/ 2 h 12"/>
                <a:gd name="T8" fmla="*/ 8 w 11"/>
                <a:gd name="T9" fmla="*/ 1 h 12"/>
                <a:gd name="T10" fmla="*/ 10 w 11"/>
                <a:gd name="T11" fmla="*/ 6 h 12"/>
                <a:gd name="T12" fmla="*/ 7 w 11"/>
                <a:gd name="T13" fmla="*/ 10 h 12"/>
                <a:gd name="T14" fmla="*/ 4 w 11"/>
                <a:gd name="T1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12">
                  <a:moveTo>
                    <a:pt x="4" y="12"/>
                  </a:moveTo>
                  <a:cubicBezTo>
                    <a:pt x="3" y="12"/>
                    <a:pt x="3" y="12"/>
                    <a:pt x="2" y="11"/>
                  </a:cubicBezTo>
                  <a:cubicBezTo>
                    <a:pt x="1" y="10"/>
                    <a:pt x="0" y="8"/>
                    <a:pt x="1" y="6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0"/>
                    <a:pt x="7" y="0"/>
                    <a:pt x="8" y="1"/>
                  </a:cubicBezTo>
                  <a:cubicBezTo>
                    <a:pt x="10" y="2"/>
                    <a:pt x="11" y="4"/>
                    <a:pt x="10" y="6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1"/>
                    <a:pt x="5" y="12"/>
                    <a:pt x="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4" name="Freeform 527">
              <a:extLst>
                <a:ext uri="{FF2B5EF4-FFF2-40B4-BE49-F238E27FC236}">
                  <a16:creationId xmlns:a16="http://schemas.microsoft.com/office/drawing/2014/main" id="{844210F5-0F2F-3FF2-5453-83794E05087B}"/>
                </a:ext>
              </a:extLst>
            </p:cNvPr>
            <p:cNvSpPr>
              <a:spLocks/>
            </p:cNvSpPr>
            <p:nvPr/>
          </p:nvSpPr>
          <p:spPr bwMode="auto">
            <a:xfrm>
              <a:off x="-2932898" y="1588935"/>
              <a:ext cx="20935" cy="31404"/>
            </a:xfrm>
            <a:custGeom>
              <a:avLst/>
              <a:gdLst>
                <a:gd name="T0" fmla="*/ 3 w 7"/>
                <a:gd name="T1" fmla="*/ 12 h 12"/>
                <a:gd name="T2" fmla="*/ 0 w 7"/>
                <a:gd name="T3" fmla="*/ 8 h 12"/>
                <a:gd name="T4" fmla="*/ 0 w 7"/>
                <a:gd name="T5" fmla="*/ 3 h 12"/>
                <a:gd name="T6" fmla="*/ 3 w 7"/>
                <a:gd name="T7" fmla="*/ 0 h 12"/>
                <a:gd name="T8" fmla="*/ 7 w 7"/>
                <a:gd name="T9" fmla="*/ 3 h 12"/>
                <a:gd name="T10" fmla="*/ 7 w 7"/>
                <a:gd name="T11" fmla="*/ 8 h 12"/>
                <a:gd name="T12" fmla="*/ 3 w 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2">
                  <a:moveTo>
                    <a:pt x="3" y="12"/>
                  </a:moveTo>
                  <a:cubicBezTo>
                    <a:pt x="1" y="12"/>
                    <a:pt x="0" y="10"/>
                    <a:pt x="0" y="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5" y="0"/>
                    <a:pt x="7" y="1"/>
                    <a:pt x="7" y="3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10"/>
                    <a:pt x="5" y="12"/>
                    <a:pt x="3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5" name="Freeform 528">
              <a:extLst>
                <a:ext uri="{FF2B5EF4-FFF2-40B4-BE49-F238E27FC236}">
                  <a16:creationId xmlns:a16="http://schemas.microsoft.com/office/drawing/2014/main" id="{BA2A574B-A5E9-F638-8B0D-A98433699B57}"/>
                </a:ext>
              </a:extLst>
            </p:cNvPr>
            <p:cNvSpPr>
              <a:spLocks/>
            </p:cNvSpPr>
            <p:nvPr/>
          </p:nvSpPr>
          <p:spPr bwMode="auto">
            <a:xfrm>
              <a:off x="-2782865" y="1547065"/>
              <a:ext cx="27913" cy="31404"/>
            </a:xfrm>
            <a:custGeom>
              <a:avLst/>
              <a:gdLst>
                <a:gd name="T0" fmla="*/ 6 w 10"/>
                <a:gd name="T1" fmla="*/ 12 h 12"/>
                <a:gd name="T2" fmla="*/ 3 w 10"/>
                <a:gd name="T3" fmla="*/ 10 h 12"/>
                <a:gd name="T4" fmla="*/ 1 w 10"/>
                <a:gd name="T5" fmla="*/ 6 h 12"/>
                <a:gd name="T6" fmla="*/ 2 w 10"/>
                <a:gd name="T7" fmla="*/ 1 h 12"/>
                <a:gd name="T8" fmla="*/ 7 w 10"/>
                <a:gd name="T9" fmla="*/ 2 h 12"/>
                <a:gd name="T10" fmla="*/ 9 w 10"/>
                <a:gd name="T11" fmla="*/ 6 h 12"/>
                <a:gd name="T12" fmla="*/ 8 w 10"/>
                <a:gd name="T13" fmla="*/ 11 h 12"/>
                <a:gd name="T14" fmla="*/ 6 w 10"/>
                <a:gd name="T1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12">
                  <a:moveTo>
                    <a:pt x="6" y="12"/>
                  </a:moveTo>
                  <a:cubicBezTo>
                    <a:pt x="5" y="12"/>
                    <a:pt x="4" y="11"/>
                    <a:pt x="3" y="10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4"/>
                    <a:pt x="0" y="2"/>
                    <a:pt x="2" y="1"/>
                  </a:cubicBezTo>
                  <a:cubicBezTo>
                    <a:pt x="4" y="0"/>
                    <a:pt x="6" y="0"/>
                    <a:pt x="7" y="2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0" y="8"/>
                    <a:pt x="10" y="10"/>
                    <a:pt x="8" y="11"/>
                  </a:cubicBezTo>
                  <a:cubicBezTo>
                    <a:pt x="7" y="12"/>
                    <a:pt x="7" y="12"/>
                    <a:pt x="6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6" name="Freeform 529">
              <a:extLst>
                <a:ext uri="{FF2B5EF4-FFF2-40B4-BE49-F238E27FC236}">
                  <a16:creationId xmlns:a16="http://schemas.microsoft.com/office/drawing/2014/main" id="{3CE5EF68-E81B-FA54-D9B6-10D59E1ECC83}"/>
                </a:ext>
              </a:extLst>
            </p:cNvPr>
            <p:cNvSpPr>
              <a:spLocks/>
            </p:cNvSpPr>
            <p:nvPr/>
          </p:nvSpPr>
          <p:spPr bwMode="auto">
            <a:xfrm>
              <a:off x="-2671212" y="1438899"/>
              <a:ext cx="31404" cy="24425"/>
            </a:xfrm>
            <a:custGeom>
              <a:avLst/>
              <a:gdLst>
                <a:gd name="T0" fmla="*/ 8 w 12"/>
                <a:gd name="T1" fmla="*/ 10 h 10"/>
                <a:gd name="T2" fmla="*/ 6 w 12"/>
                <a:gd name="T3" fmla="*/ 9 h 10"/>
                <a:gd name="T4" fmla="*/ 2 w 12"/>
                <a:gd name="T5" fmla="*/ 7 h 10"/>
                <a:gd name="T6" fmla="*/ 1 w 12"/>
                <a:gd name="T7" fmla="*/ 2 h 10"/>
                <a:gd name="T8" fmla="*/ 6 w 12"/>
                <a:gd name="T9" fmla="*/ 1 h 10"/>
                <a:gd name="T10" fmla="*/ 10 w 12"/>
                <a:gd name="T11" fmla="*/ 3 h 10"/>
                <a:gd name="T12" fmla="*/ 11 w 12"/>
                <a:gd name="T13" fmla="*/ 8 h 10"/>
                <a:gd name="T14" fmla="*/ 8 w 12"/>
                <a:gd name="T1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10">
                  <a:moveTo>
                    <a:pt x="8" y="10"/>
                  </a:moveTo>
                  <a:cubicBezTo>
                    <a:pt x="7" y="10"/>
                    <a:pt x="7" y="10"/>
                    <a:pt x="6" y="9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0" y="6"/>
                    <a:pt x="0" y="4"/>
                    <a:pt x="1" y="2"/>
                  </a:cubicBezTo>
                  <a:cubicBezTo>
                    <a:pt x="2" y="0"/>
                    <a:pt x="4" y="0"/>
                    <a:pt x="6" y="1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2" y="4"/>
                    <a:pt x="12" y="6"/>
                    <a:pt x="11" y="8"/>
                  </a:cubicBezTo>
                  <a:cubicBezTo>
                    <a:pt x="10" y="9"/>
                    <a:pt x="9" y="10"/>
                    <a:pt x="8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7" name="Freeform 530">
              <a:extLst>
                <a:ext uri="{FF2B5EF4-FFF2-40B4-BE49-F238E27FC236}">
                  <a16:creationId xmlns:a16="http://schemas.microsoft.com/office/drawing/2014/main" id="{A63FCBFB-602A-EF5D-1443-6DF8760CADDE}"/>
                </a:ext>
              </a:extLst>
            </p:cNvPr>
            <p:cNvSpPr>
              <a:spLocks/>
            </p:cNvSpPr>
            <p:nvPr/>
          </p:nvSpPr>
          <p:spPr bwMode="auto">
            <a:xfrm>
              <a:off x="-2629341" y="1285376"/>
              <a:ext cx="31404" cy="20935"/>
            </a:xfrm>
            <a:custGeom>
              <a:avLst/>
              <a:gdLst>
                <a:gd name="T0" fmla="*/ 8 w 12"/>
                <a:gd name="T1" fmla="*/ 7 h 7"/>
                <a:gd name="T2" fmla="*/ 3 w 12"/>
                <a:gd name="T3" fmla="*/ 7 h 7"/>
                <a:gd name="T4" fmla="*/ 0 w 12"/>
                <a:gd name="T5" fmla="*/ 3 h 7"/>
                <a:gd name="T6" fmla="*/ 3 w 12"/>
                <a:gd name="T7" fmla="*/ 0 h 7"/>
                <a:gd name="T8" fmla="*/ 8 w 12"/>
                <a:gd name="T9" fmla="*/ 0 h 7"/>
                <a:gd name="T10" fmla="*/ 12 w 12"/>
                <a:gd name="T11" fmla="*/ 3 h 7"/>
                <a:gd name="T12" fmla="*/ 8 w 12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7">
                  <a:moveTo>
                    <a:pt x="8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10" y="0"/>
                    <a:pt x="12" y="1"/>
                    <a:pt x="12" y="3"/>
                  </a:cubicBezTo>
                  <a:cubicBezTo>
                    <a:pt x="12" y="5"/>
                    <a:pt x="10" y="7"/>
                    <a:pt x="8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8" name="Freeform 531">
              <a:extLst>
                <a:ext uri="{FF2B5EF4-FFF2-40B4-BE49-F238E27FC236}">
                  <a16:creationId xmlns:a16="http://schemas.microsoft.com/office/drawing/2014/main" id="{516A0FC0-620A-CABA-0C9A-F9B834D81992}"/>
                </a:ext>
              </a:extLst>
            </p:cNvPr>
            <p:cNvSpPr>
              <a:spLocks/>
            </p:cNvSpPr>
            <p:nvPr/>
          </p:nvSpPr>
          <p:spPr bwMode="auto">
            <a:xfrm>
              <a:off x="-2671212" y="1124874"/>
              <a:ext cx="31404" cy="27913"/>
            </a:xfrm>
            <a:custGeom>
              <a:avLst/>
              <a:gdLst>
                <a:gd name="T0" fmla="*/ 4 w 12"/>
                <a:gd name="T1" fmla="*/ 10 h 10"/>
                <a:gd name="T2" fmla="*/ 1 w 12"/>
                <a:gd name="T3" fmla="*/ 8 h 10"/>
                <a:gd name="T4" fmla="*/ 2 w 12"/>
                <a:gd name="T5" fmla="*/ 3 h 10"/>
                <a:gd name="T6" fmla="*/ 6 w 12"/>
                <a:gd name="T7" fmla="*/ 1 h 10"/>
                <a:gd name="T8" fmla="*/ 11 w 12"/>
                <a:gd name="T9" fmla="*/ 2 h 10"/>
                <a:gd name="T10" fmla="*/ 10 w 12"/>
                <a:gd name="T11" fmla="*/ 7 h 10"/>
                <a:gd name="T12" fmla="*/ 6 w 12"/>
                <a:gd name="T13" fmla="*/ 10 h 10"/>
                <a:gd name="T14" fmla="*/ 4 w 12"/>
                <a:gd name="T1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10">
                  <a:moveTo>
                    <a:pt x="4" y="10"/>
                  </a:moveTo>
                  <a:cubicBezTo>
                    <a:pt x="3" y="10"/>
                    <a:pt x="1" y="10"/>
                    <a:pt x="1" y="8"/>
                  </a:cubicBezTo>
                  <a:cubicBezTo>
                    <a:pt x="0" y="7"/>
                    <a:pt x="0" y="4"/>
                    <a:pt x="2" y="3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8" y="0"/>
                    <a:pt x="10" y="1"/>
                    <a:pt x="11" y="2"/>
                  </a:cubicBezTo>
                  <a:cubicBezTo>
                    <a:pt x="12" y="4"/>
                    <a:pt x="12" y="6"/>
                    <a:pt x="10" y="7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5" y="10"/>
                    <a:pt x="4" y="10"/>
                    <a:pt x="4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9" name="Freeform 532">
              <a:extLst>
                <a:ext uri="{FF2B5EF4-FFF2-40B4-BE49-F238E27FC236}">
                  <a16:creationId xmlns:a16="http://schemas.microsoft.com/office/drawing/2014/main" id="{CCA5BF76-0617-D66E-6464-54721E5EF055}"/>
                </a:ext>
              </a:extLst>
            </p:cNvPr>
            <p:cNvSpPr>
              <a:spLocks/>
            </p:cNvSpPr>
            <p:nvPr/>
          </p:nvSpPr>
          <p:spPr bwMode="auto">
            <a:xfrm>
              <a:off x="-2782865" y="1009732"/>
              <a:ext cx="27913" cy="31404"/>
            </a:xfrm>
            <a:custGeom>
              <a:avLst/>
              <a:gdLst>
                <a:gd name="T0" fmla="*/ 4 w 10"/>
                <a:gd name="T1" fmla="*/ 12 h 12"/>
                <a:gd name="T2" fmla="*/ 2 w 10"/>
                <a:gd name="T3" fmla="*/ 12 h 12"/>
                <a:gd name="T4" fmla="*/ 1 w 10"/>
                <a:gd name="T5" fmla="*/ 7 h 12"/>
                <a:gd name="T6" fmla="*/ 3 w 10"/>
                <a:gd name="T7" fmla="*/ 2 h 12"/>
                <a:gd name="T8" fmla="*/ 8 w 10"/>
                <a:gd name="T9" fmla="*/ 1 h 12"/>
                <a:gd name="T10" fmla="*/ 9 w 10"/>
                <a:gd name="T11" fmla="*/ 6 h 12"/>
                <a:gd name="T12" fmla="*/ 7 w 10"/>
                <a:gd name="T13" fmla="*/ 10 h 12"/>
                <a:gd name="T14" fmla="*/ 4 w 10"/>
                <a:gd name="T1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12">
                  <a:moveTo>
                    <a:pt x="4" y="12"/>
                  </a:moveTo>
                  <a:cubicBezTo>
                    <a:pt x="3" y="12"/>
                    <a:pt x="2" y="12"/>
                    <a:pt x="2" y="12"/>
                  </a:cubicBezTo>
                  <a:cubicBezTo>
                    <a:pt x="0" y="11"/>
                    <a:pt x="0" y="8"/>
                    <a:pt x="1" y="7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6" y="0"/>
                    <a:pt x="8" y="1"/>
                  </a:cubicBezTo>
                  <a:cubicBezTo>
                    <a:pt x="10" y="2"/>
                    <a:pt x="10" y="4"/>
                    <a:pt x="9" y="6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6" y="11"/>
                    <a:pt x="5" y="12"/>
                    <a:pt x="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0" name="Freeform 533">
              <a:extLst>
                <a:ext uri="{FF2B5EF4-FFF2-40B4-BE49-F238E27FC236}">
                  <a16:creationId xmlns:a16="http://schemas.microsoft.com/office/drawing/2014/main" id="{8A267EC2-2E22-CCD3-F050-372FC0C63B14}"/>
                </a:ext>
              </a:extLst>
            </p:cNvPr>
            <p:cNvSpPr>
              <a:spLocks/>
            </p:cNvSpPr>
            <p:nvPr/>
          </p:nvSpPr>
          <p:spPr bwMode="auto">
            <a:xfrm>
              <a:off x="-3048042" y="1079515"/>
              <a:ext cx="136079" cy="226797"/>
            </a:xfrm>
            <a:custGeom>
              <a:avLst/>
              <a:gdLst>
                <a:gd name="T0" fmla="*/ 48 w 52"/>
                <a:gd name="T1" fmla="*/ 86 h 86"/>
                <a:gd name="T2" fmla="*/ 46 w 52"/>
                <a:gd name="T3" fmla="*/ 85 h 86"/>
                <a:gd name="T4" fmla="*/ 2 w 52"/>
                <a:gd name="T5" fmla="*/ 57 h 86"/>
                <a:gd name="T6" fmla="*/ 1 w 52"/>
                <a:gd name="T7" fmla="*/ 52 h 86"/>
                <a:gd name="T8" fmla="*/ 6 w 52"/>
                <a:gd name="T9" fmla="*/ 51 h 86"/>
                <a:gd name="T10" fmla="*/ 45 w 52"/>
                <a:gd name="T11" fmla="*/ 76 h 86"/>
                <a:gd name="T12" fmla="*/ 45 w 52"/>
                <a:gd name="T13" fmla="*/ 3 h 86"/>
                <a:gd name="T14" fmla="*/ 48 w 52"/>
                <a:gd name="T15" fmla="*/ 0 h 86"/>
                <a:gd name="T16" fmla="*/ 52 w 52"/>
                <a:gd name="T17" fmla="*/ 3 h 86"/>
                <a:gd name="T18" fmla="*/ 52 w 52"/>
                <a:gd name="T19" fmla="*/ 82 h 86"/>
                <a:gd name="T20" fmla="*/ 50 w 52"/>
                <a:gd name="T21" fmla="*/ 85 h 86"/>
                <a:gd name="T22" fmla="*/ 48 w 52"/>
                <a:gd name="T23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2" h="86">
                  <a:moveTo>
                    <a:pt x="48" y="86"/>
                  </a:moveTo>
                  <a:cubicBezTo>
                    <a:pt x="47" y="86"/>
                    <a:pt x="47" y="86"/>
                    <a:pt x="46" y="85"/>
                  </a:cubicBezTo>
                  <a:cubicBezTo>
                    <a:pt x="2" y="57"/>
                    <a:pt x="2" y="57"/>
                    <a:pt x="2" y="57"/>
                  </a:cubicBezTo>
                  <a:cubicBezTo>
                    <a:pt x="0" y="56"/>
                    <a:pt x="0" y="54"/>
                    <a:pt x="1" y="52"/>
                  </a:cubicBezTo>
                  <a:cubicBezTo>
                    <a:pt x="2" y="51"/>
                    <a:pt x="4" y="50"/>
                    <a:pt x="6" y="51"/>
                  </a:cubicBezTo>
                  <a:cubicBezTo>
                    <a:pt x="45" y="76"/>
                    <a:pt x="45" y="76"/>
                    <a:pt x="45" y="76"/>
                  </a:cubicBezTo>
                  <a:cubicBezTo>
                    <a:pt x="45" y="3"/>
                    <a:pt x="45" y="3"/>
                    <a:pt x="45" y="3"/>
                  </a:cubicBezTo>
                  <a:cubicBezTo>
                    <a:pt x="45" y="1"/>
                    <a:pt x="46" y="0"/>
                    <a:pt x="48" y="0"/>
                  </a:cubicBezTo>
                  <a:cubicBezTo>
                    <a:pt x="50" y="0"/>
                    <a:pt x="52" y="1"/>
                    <a:pt x="52" y="3"/>
                  </a:cubicBezTo>
                  <a:cubicBezTo>
                    <a:pt x="52" y="82"/>
                    <a:pt x="52" y="82"/>
                    <a:pt x="52" y="82"/>
                  </a:cubicBezTo>
                  <a:cubicBezTo>
                    <a:pt x="52" y="83"/>
                    <a:pt x="51" y="85"/>
                    <a:pt x="50" y="85"/>
                  </a:cubicBezTo>
                  <a:cubicBezTo>
                    <a:pt x="49" y="86"/>
                    <a:pt x="49" y="86"/>
                    <a:pt x="48" y="8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6" name="Shape7_20200717_154439">
            <a:extLst>
              <a:ext uri="{FF2B5EF4-FFF2-40B4-BE49-F238E27FC236}">
                <a16:creationId xmlns:a16="http://schemas.microsoft.com/office/drawing/2014/main" id="{1D52337A-F2B3-A066-8785-537D73995032}"/>
              </a:ext>
            </a:extLst>
          </p:cNvPr>
          <p:cNvGrpSpPr>
            <a:grpSpLocks noChangeAspect="1"/>
          </p:cNvGrpSpPr>
          <p:nvPr/>
        </p:nvGrpSpPr>
        <p:grpSpPr>
          <a:xfrm>
            <a:off x="5881414" y="1200166"/>
            <a:ext cx="429169" cy="635030"/>
            <a:chOff x="-675405" y="978328"/>
            <a:chExt cx="429169" cy="635030"/>
          </a:xfrm>
          <a:solidFill>
            <a:schemeClr val="accent1"/>
          </a:solidFill>
        </p:grpSpPr>
        <p:sp>
          <p:nvSpPr>
            <p:cNvPr id="182" name="Freeform 534">
              <a:extLst>
                <a:ext uri="{FF2B5EF4-FFF2-40B4-BE49-F238E27FC236}">
                  <a16:creationId xmlns:a16="http://schemas.microsoft.com/office/drawing/2014/main" id="{8E4BB825-4E79-677C-9D00-498CA182A4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75405" y="1079515"/>
              <a:ext cx="429169" cy="432657"/>
            </a:xfrm>
            <a:custGeom>
              <a:avLst/>
              <a:gdLst>
                <a:gd name="T0" fmla="*/ 82 w 163"/>
                <a:gd name="T1" fmla="*/ 164 h 164"/>
                <a:gd name="T2" fmla="*/ 0 w 163"/>
                <a:gd name="T3" fmla="*/ 82 h 164"/>
                <a:gd name="T4" fmla="*/ 82 w 163"/>
                <a:gd name="T5" fmla="*/ 0 h 164"/>
                <a:gd name="T6" fmla="*/ 163 w 163"/>
                <a:gd name="T7" fmla="*/ 82 h 164"/>
                <a:gd name="T8" fmla="*/ 82 w 163"/>
                <a:gd name="T9" fmla="*/ 164 h 164"/>
                <a:gd name="T10" fmla="*/ 82 w 163"/>
                <a:gd name="T11" fmla="*/ 8 h 164"/>
                <a:gd name="T12" fmla="*/ 7 w 163"/>
                <a:gd name="T13" fmla="*/ 82 h 164"/>
                <a:gd name="T14" fmla="*/ 82 w 163"/>
                <a:gd name="T15" fmla="*/ 157 h 164"/>
                <a:gd name="T16" fmla="*/ 156 w 163"/>
                <a:gd name="T17" fmla="*/ 82 h 164"/>
                <a:gd name="T18" fmla="*/ 82 w 163"/>
                <a:gd name="T19" fmla="*/ 8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3" h="164">
                  <a:moveTo>
                    <a:pt x="82" y="164"/>
                  </a:moveTo>
                  <a:cubicBezTo>
                    <a:pt x="36" y="164"/>
                    <a:pt x="0" y="127"/>
                    <a:pt x="0" y="82"/>
                  </a:cubicBezTo>
                  <a:cubicBezTo>
                    <a:pt x="0" y="37"/>
                    <a:pt x="36" y="0"/>
                    <a:pt x="82" y="0"/>
                  </a:cubicBezTo>
                  <a:cubicBezTo>
                    <a:pt x="127" y="0"/>
                    <a:pt x="163" y="37"/>
                    <a:pt x="163" y="82"/>
                  </a:cubicBezTo>
                  <a:cubicBezTo>
                    <a:pt x="163" y="127"/>
                    <a:pt x="127" y="164"/>
                    <a:pt x="82" y="164"/>
                  </a:cubicBezTo>
                  <a:close/>
                  <a:moveTo>
                    <a:pt x="82" y="8"/>
                  </a:moveTo>
                  <a:cubicBezTo>
                    <a:pt x="40" y="8"/>
                    <a:pt x="7" y="41"/>
                    <a:pt x="7" y="82"/>
                  </a:cubicBezTo>
                  <a:cubicBezTo>
                    <a:pt x="7" y="123"/>
                    <a:pt x="40" y="157"/>
                    <a:pt x="82" y="157"/>
                  </a:cubicBezTo>
                  <a:cubicBezTo>
                    <a:pt x="123" y="157"/>
                    <a:pt x="156" y="123"/>
                    <a:pt x="156" y="82"/>
                  </a:cubicBezTo>
                  <a:cubicBezTo>
                    <a:pt x="156" y="41"/>
                    <a:pt x="123" y="8"/>
                    <a:pt x="82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3" name="Freeform 535">
              <a:extLst>
                <a:ext uri="{FF2B5EF4-FFF2-40B4-BE49-F238E27FC236}">
                  <a16:creationId xmlns:a16="http://schemas.microsoft.com/office/drawing/2014/main" id="{D3472B79-342F-533D-0D58-46AF28A3350F}"/>
                </a:ext>
              </a:extLst>
            </p:cNvPr>
            <p:cNvSpPr>
              <a:spLocks/>
            </p:cNvSpPr>
            <p:nvPr/>
          </p:nvSpPr>
          <p:spPr bwMode="auto">
            <a:xfrm>
              <a:off x="-469542" y="1079515"/>
              <a:ext cx="17447" cy="48848"/>
            </a:xfrm>
            <a:custGeom>
              <a:avLst/>
              <a:gdLst>
                <a:gd name="T0" fmla="*/ 4 w 7"/>
                <a:gd name="T1" fmla="*/ 19 h 19"/>
                <a:gd name="T2" fmla="*/ 0 w 7"/>
                <a:gd name="T3" fmla="*/ 16 h 19"/>
                <a:gd name="T4" fmla="*/ 0 w 7"/>
                <a:gd name="T5" fmla="*/ 4 h 19"/>
                <a:gd name="T6" fmla="*/ 4 w 7"/>
                <a:gd name="T7" fmla="*/ 0 h 19"/>
                <a:gd name="T8" fmla="*/ 7 w 7"/>
                <a:gd name="T9" fmla="*/ 4 h 19"/>
                <a:gd name="T10" fmla="*/ 7 w 7"/>
                <a:gd name="T11" fmla="*/ 16 h 19"/>
                <a:gd name="T12" fmla="*/ 4 w 7"/>
                <a:gd name="T1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9">
                  <a:moveTo>
                    <a:pt x="4" y="19"/>
                  </a:moveTo>
                  <a:cubicBezTo>
                    <a:pt x="2" y="19"/>
                    <a:pt x="0" y="18"/>
                    <a:pt x="0" y="1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7" y="2"/>
                    <a:pt x="7" y="4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8"/>
                    <a:pt x="6" y="19"/>
                    <a:pt x="4" y="1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4" name="Freeform 536">
              <a:extLst>
                <a:ext uri="{FF2B5EF4-FFF2-40B4-BE49-F238E27FC236}">
                  <a16:creationId xmlns:a16="http://schemas.microsoft.com/office/drawing/2014/main" id="{A8060ECD-50A2-C933-8F59-27202F23E22C}"/>
                </a:ext>
              </a:extLst>
            </p:cNvPr>
            <p:cNvSpPr>
              <a:spLocks/>
            </p:cNvSpPr>
            <p:nvPr/>
          </p:nvSpPr>
          <p:spPr bwMode="auto">
            <a:xfrm>
              <a:off x="-574218" y="1103939"/>
              <a:ext cx="38382" cy="48848"/>
            </a:xfrm>
            <a:custGeom>
              <a:avLst/>
              <a:gdLst>
                <a:gd name="T0" fmla="*/ 10 w 15"/>
                <a:gd name="T1" fmla="*/ 18 h 18"/>
                <a:gd name="T2" fmla="*/ 7 w 15"/>
                <a:gd name="T3" fmla="*/ 17 h 18"/>
                <a:gd name="T4" fmla="*/ 1 w 15"/>
                <a:gd name="T5" fmla="*/ 6 h 18"/>
                <a:gd name="T6" fmla="*/ 3 w 15"/>
                <a:gd name="T7" fmla="*/ 1 h 18"/>
                <a:gd name="T8" fmla="*/ 8 w 15"/>
                <a:gd name="T9" fmla="*/ 3 h 18"/>
                <a:gd name="T10" fmla="*/ 14 w 15"/>
                <a:gd name="T11" fmla="*/ 13 h 18"/>
                <a:gd name="T12" fmla="*/ 12 w 15"/>
                <a:gd name="T13" fmla="*/ 18 h 18"/>
                <a:gd name="T14" fmla="*/ 10 w 15"/>
                <a:gd name="T1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18">
                  <a:moveTo>
                    <a:pt x="10" y="18"/>
                  </a:moveTo>
                  <a:cubicBezTo>
                    <a:pt x="9" y="18"/>
                    <a:pt x="8" y="18"/>
                    <a:pt x="7" y="17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4"/>
                    <a:pt x="1" y="2"/>
                    <a:pt x="3" y="1"/>
                  </a:cubicBezTo>
                  <a:cubicBezTo>
                    <a:pt x="4" y="0"/>
                    <a:pt x="7" y="1"/>
                    <a:pt x="8" y="3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5" y="15"/>
                    <a:pt x="14" y="17"/>
                    <a:pt x="12" y="18"/>
                  </a:cubicBezTo>
                  <a:cubicBezTo>
                    <a:pt x="12" y="18"/>
                    <a:pt x="11" y="18"/>
                    <a:pt x="10" y="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5" name="Freeform 537">
              <a:extLst>
                <a:ext uri="{FF2B5EF4-FFF2-40B4-BE49-F238E27FC236}">
                  <a16:creationId xmlns:a16="http://schemas.microsoft.com/office/drawing/2014/main" id="{AF91E172-1CA5-6F9F-A387-B86FFE9BC7D1}"/>
                </a:ext>
              </a:extLst>
            </p:cNvPr>
            <p:cNvSpPr>
              <a:spLocks/>
            </p:cNvSpPr>
            <p:nvPr/>
          </p:nvSpPr>
          <p:spPr bwMode="auto">
            <a:xfrm>
              <a:off x="-647491" y="1180700"/>
              <a:ext cx="45360" cy="38382"/>
            </a:xfrm>
            <a:custGeom>
              <a:avLst/>
              <a:gdLst>
                <a:gd name="T0" fmla="*/ 14 w 18"/>
                <a:gd name="T1" fmla="*/ 14 h 14"/>
                <a:gd name="T2" fmla="*/ 12 w 18"/>
                <a:gd name="T3" fmla="*/ 13 h 14"/>
                <a:gd name="T4" fmla="*/ 2 w 18"/>
                <a:gd name="T5" fmla="*/ 7 h 14"/>
                <a:gd name="T6" fmla="*/ 1 w 18"/>
                <a:gd name="T7" fmla="*/ 2 h 14"/>
                <a:gd name="T8" fmla="*/ 6 w 18"/>
                <a:gd name="T9" fmla="*/ 1 h 14"/>
                <a:gd name="T10" fmla="*/ 16 w 18"/>
                <a:gd name="T11" fmla="*/ 7 h 14"/>
                <a:gd name="T12" fmla="*/ 17 w 18"/>
                <a:gd name="T13" fmla="*/ 12 h 14"/>
                <a:gd name="T14" fmla="*/ 14 w 18"/>
                <a:gd name="T1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4">
                  <a:moveTo>
                    <a:pt x="14" y="14"/>
                  </a:moveTo>
                  <a:cubicBezTo>
                    <a:pt x="14" y="14"/>
                    <a:pt x="13" y="13"/>
                    <a:pt x="12" y="13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0" y="6"/>
                    <a:pt x="0" y="4"/>
                    <a:pt x="1" y="2"/>
                  </a:cubicBezTo>
                  <a:cubicBezTo>
                    <a:pt x="2" y="1"/>
                    <a:pt x="4" y="0"/>
                    <a:pt x="6" y="1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8" y="8"/>
                    <a:pt x="18" y="10"/>
                    <a:pt x="17" y="12"/>
                  </a:cubicBezTo>
                  <a:cubicBezTo>
                    <a:pt x="17" y="13"/>
                    <a:pt x="15" y="14"/>
                    <a:pt x="14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6" name="Freeform 538">
              <a:extLst>
                <a:ext uri="{FF2B5EF4-FFF2-40B4-BE49-F238E27FC236}">
                  <a16:creationId xmlns:a16="http://schemas.microsoft.com/office/drawing/2014/main" id="{A9410A06-E6F7-6580-49D2-010AFB7CDF73}"/>
                </a:ext>
              </a:extLst>
            </p:cNvPr>
            <p:cNvSpPr>
              <a:spLocks/>
            </p:cNvSpPr>
            <p:nvPr/>
          </p:nvSpPr>
          <p:spPr bwMode="auto">
            <a:xfrm>
              <a:off x="-675405" y="1285376"/>
              <a:ext cx="48848" cy="20935"/>
            </a:xfrm>
            <a:custGeom>
              <a:avLst/>
              <a:gdLst>
                <a:gd name="T0" fmla="*/ 15 w 19"/>
                <a:gd name="T1" fmla="*/ 7 h 7"/>
                <a:gd name="T2" fmla="*/ 3 w 19"/>
                <a:gd name="T3" fmla="*/ 7 h 7"/>
                <a:gd name="T4" fmla="*/ 0 w 19"/>
                <a:gd name="T5" fmla="*/ 3 h 7"/>
                <a:gd name="T6" fmla="*/ 3 w 19"/>
                <a:gd name="T7" fmla="*/ 0 h 7"/>
                <a:gd name="T8" fmla="*/ 15 w 19"/>
                <a:gd name="T9" fmla="*/ 0 h 7"/>
                <a:gd name="T10" fmla="*/ 19 w 19"/>
                <a:gd name="T11" fmla="*/ 3 h 7"/>
                <a:gd name="T12" fmla="*/ 15 w 19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7">
                  <a:moveTo>
                    <a:pt x="15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7" y="0"/>
                    <a:pt x="19" y="1"/>
                    <a:pt x="19" y="3"/>
                  </a:cubicBezTo>
                  <a:cubicBezTo>
                    <a:pt x="19" y="5"/>
                    <a:pt x="17" y="7"/>
                    <a:pt x="15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7" name="Freeform 539">
              <a:extLst>
                <a:ext uri="{FF2B5EF4-FFF2-40B4-BE49-F238E27FC236}">
                  <a16:creationId xmlns:a16="http://schemas.microsoft.com/office/drawing/2014/main" id="{96F1F746-B830-754B-4666-231438F551BC}"/>
                </a:ext>
              </a:extLst>
            </p:cNvPr>
            <p:cNvSpPr>
              <a:spLocks/>
            </p:cNvSpPr>
            <p:nvPr/>
          </p:nvSpPr>
          <p:spPr bwMode="auto">
            <a:xfrm>
              <a:off x="-647491" y="1372606"/>
              <a:ext cx="45360" cy="34892"/>
            </a:xfrm>
            <a:custGeom>
              <a:avLst/>
              <a:gdLst>
                <a:gd name="T0" fmla="*/ 4 w 18"/>
                <a:gd name="T1" fmla="*/ 14 h 14"/>
                <a:gd name="T2" fmla="*/ 1 w 18"/>
                <a:gd name="T3" fmla="*/ 12 h 14"/>
                <a:gd name="T4" fmla="*/ 2 w 18"/>
                <a:gd name="T5" fmla="*/ 7 h 14"/>
                <a:gd name="T6" fmla="*/ 12 w 18"/>
                <a:gd name="T7" fmla="*/ 1 h 14"/>
                <a:gd name="T8" fmla="*/ 17 w 18"/>
                <a:gd name="T9" fmla="*/ 2 h 14"/>
                <a:gd name="T10" fmla="*/ 16 w 18"/>
                <a:gd name="T11" fmla="*/ 7 h 14"/>
                <a:gd name="T12" fmla="*/ 6 w 18"/>
                <a:gd name="T13" fmla="*/ 13 h 14"/>
                <a:gd name="T14" fmla="*/ 4 w 18"/>
                <a:gd name="T1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4">
                  <a:moveTo>
                    <a:pt x="4" y="14"/>
                  </a:moveTo>
                  <a:cubicBezTo>
                    <a:pt x="3" y="14"/>
                    <a:pt x="1" y="13"/>
                    <a:pt x="1" y="12"/>
                  </a:cubicBezTo>
                  <a:cubicBezTo>
                    <a:pt x="0" y="10"/>
                    <a:pt x="0" y="8"/>
                    <a:pt x="2" y="7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4" y="0"/>
                    <a:pt x="16" y="1"/>
                    <a:pt x="17" y="2"/>
                  </a:cubicBezTo>
                  <a:cubicBezTo>
                    <a:pt x="18" y="4"/>
                    <a:pt x="18" y="6"/>
                    <a:pt x="16" y="7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5" y="14"/>
                    <a:pt x="4" y="14"/>
                    <a:pt x="4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8" name="Freeform 540">
              <a:extLst>
                <a:ext uri="{FF2B5EF4-FFF2-40B4-BE49-F238E27FC236}">
                  <a16:creationId xmlns:a16="http://schemas.microsoft.com/office/drawing/2014/main" id="{6961BD69-C673-FAF8-5022-7A489156C9A4}"/>
                </a:ext>
              </a:extLst>
            </p:cNvPr>
            <p:cNvSpPr>
              <a:spLocks/>
            </p:cNvSpPr>
            <p:nvPr/>
          </p:nvSpPr>
          <p:spPr bwMode="auto">
            <a:xfrm>
              <a:off x="-574218" y="1435411"/>
              <a:ext cx="38382" cy="45360"/>
            </a:xfrm>
            <a:custGeom>
              <a:avLst/>
              <a:gdLst>
                <a:gd name="T0" fmla="*/ 4 w 15"/>
                <a:gd name="T1" fmla="*/ 18 h 18"/>
                <a:gd name="T2" fmla="*/ 3 w 15"/>
                <a:gd name="T3" fmla="*/ 18 h 18"/>
                <a:gd name="T4" fmla="*/ 1 w 15"/>
                <a:gd name="T5" fmla="*/ 13 h 18"/>
                <a:gd name="T6" fmla="*/ 7 w 15"/>
                <a:gd name="T7" fmla="*/ 3 h 18"/>
                <a:gd name="T8" fmla="*/ 12 w 15"/>
                <a:gd name="T9" fmla="*/ 1 h 18"/>
                <a:gd name="T10" fmla="*/ 14 w 15"/>
                <a:gd name="T11" fmla="*/ 6 h 18"/>
                <a:gd name="T12" fmla="*/ 8 w 15"/>
                <a:gd name="T13" fmla="*/ 17 h 18"/>
                <a:gd name="T14" fmla="*/ 4 w 15"/>
                <a:gd name="T1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18">
                  <a:moveTo>
                    <a:pt x="4" y="18"/>
                  </a:moveTo>
                  <a:cubicBezTo>
                    <a:pt x="4" y="18"/>
                    <a:pt x="3" y="18"/>
                    <a:pt x="3" y="18"/>
                  </a:cubicBezTo>
                  <a:cubicBezTo>
                    <a:pt x="1" y="17"/>
                    <a:pt x="0" y="15"/>
                    <a:pt x="1" y="1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8" y="1"/>
                    <a:pt x="11" y="0"/>
                    <a:pt x="12" y="1"/>
                  </a:cubicBezTo>
                  <a:cubicBezTo>
                    <a:pt x="14" y="2"/>
                    <a:pt x="15" y="5"/>
                    <a:pt x="14" y="6"/>
                  </a:cubicBezTo>
                  <a:cubicBezTo>
                    <a:pt x="8" y="17"/>
                    <a:pt x="8" y="17"/>
                    <a:pt x="8" y="17"/>
                  </a:cubicBezTo>
                  <a:cubicBezTo>
                    <a:pt x="7" y="18"/>
                    <a:pt x="6" y="18"/>
                    <a:pt x="4" y="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9" name="Freeform 541">
              <a:extLst>
                <a:ext uri="{FF2B5EF4-FFF2-40B4-BE49-F238E27FC236}">
                  <a16:creationId xmlns:a16="http://schemas.microsoft.com/office/drawing/2014/main" id="{3623D8A4-DA3C-03D8-3CFE-66297F2B4B36}"/>
                </a:ext>
              </a:extLst>
            </p:cNvPr>
            <p:cNvSpPr>
              <a:spLocks/>
            </p:cNvSpPr>
            <p:nvPr/>
          </p:nvSpPr>
          <p:spPr bwMode="auto">
            <a:xfrm>
              <a:off x="-469542" y="1459834"/>
              <a:ext cx="17447" cy="52339"/>
            </a:xfrm>
            <a:custGeom>
              <a:avLst/>
              <a:gdLst>
                <a:gd name="T0" fmla="*/ 4 w 7"/>
                <a:gd name="T1" fmla="*/ 19 h 19"/>
                <a:gd name="T2" fmla="*/ 0 w 7"/>
                <a:gd name="T3" fmla="*/ 15 h 19"/>
                <a:gd name="T4" fmla="*/ 0 w 7"/>
                <a:gd name="T5" fmla="*/ 3 h 19"/>
                <a:gd name="T6" fmla="*/ 4 w 7"/>
                <a:gd name="T7" fmla="*/ 0 h 19"/>
                <a:gd name="T8" fmla="*/ 7 w 7"/>
                <a:gd name="T9" fmla="*/ 3 h 19"/>
                <a:gd name="T10" fmla="*/ 7 w 7"/>
                <a:gd name="T11" fmla="*/ 15 h 19"/>
                <a:gd name="T12" fmla="*/ 4 w 7"/>
                <a:gd name="T1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9">
                  <a:moveTo>
                    <a:pt x="4" y="19"/>
                  </a:moveTo>
                  <a:cubicBezTo>
                    <a:pt x="2" y="19"/>
                    <a:pt x="0" y="17"/>
                    <a:pt x="0" y="1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" y="0"/>
                    <a:pt x="7" y="1"/>
                    <a:pt x="7" y="3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7"/>
                    <a:pt x="6" y="19"/>
                    <a:pt x="4" y="1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0" name="Freeform 542">
              <a:extLst>
                <a:ext uri="{FF2B5EF4-FFF2-40B4-BE49-F238E27FC236}">
                  <a16:creationId xmlns:a16="http://schemas.microsoft.com/office/drawing/2014/main" id="{771F0457-7655-762D-05AC-CE1C511C0E03}"/>
                </a:ext>
              </a:extLst>
            </p:cNvPr>
            <p:cNvSpPr>
              <a:spLocks/>
            </p:cNvSpPr>
            <p:nvPr/>
          </p:nvSpPr>
          <p:spPr bwMode="auto">
            <a:xfrm>
              <a:off x="-382314" y="1435411"/>
              <a:ext cx="34892" cy="45360"/>
            </a:xfrm>
            <a:custGeom>
              <a:avLst/>
              <a:gdLst>
                <a:gd name="T0" fmla="*/ 10 w 14"/>
                <a:gd name="T1" fmla="*/ 18 h 18"/>
                <a:gd name="T2" fmla="*/ 7 w 14"/>
                <a:gd name="T3" fmla="*/ 17 h 18"/>
                <a:gd name="T4" fmla="*/ 1 w 14"/>
                <a:gd name="T5" fmla="*/ 6 h 18"/>
                <a:gd name="T6" fmla="*/ 2 w 14"/>
                <a:gd name="T7" fmla="*/ 1 h 18"/>
                <a:gd name="T8" fmla="*/ 7 w 14"/>
                <a:gd name="T9" fmla="*/ 3 h 18"/>
                <a:gd name="T10" fmla="*/ 13 w 14"/>
                <a:gd name="T11" fmla="*/ 13 h 18"/>
                <a:gd name="T12" fmla="*/ 11 w 14"/>
                <a:gd name="T13" fmla="*/ 18 h 18"/>
                <a:gd name="T14" fmla="*/ 10 w 14"/>
                <a:gd name="T1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18">
                  <a:moveTo>
                    <a:pt x="10" y="18"/>
                  </a:moveTo>
                  <a:cubicBezTo>
                    <a:pt x="8" y="18"/>
                    <a:pt x="7" y="18"/>
                    <a:pt x="7" y="17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5"/>
                    <a:pt x="0" y="2"/>
                    <a:pt x="2" y="1"/>
                  </a:cubicBezTo>
                  <a:cubicBezTo>
                    <a:pt x="4" y="0"/>
                    <a:pt x="6" y="1"/>
                    <a:pt x="7" y="3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4" y="15"/>
                    <a:pt x="13" y="17"/>
                    <a:pt x="11" y="18"/>
                  </a:cubicBezTo>
                  <a:cubicBezTo>
                    <a:pt x="11" y="18"/>
                    <a:pt x="10" y="18"/>
                    <a:pt x="10" y="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1" name="Freeform 543">
              <a:extLst>
                <a:ext uri="{FF2B5EF4-FFF2-40B4-BE49-F238E27FC236}">
                  <a16:creationId xmlns:a16="http://schemas.microsoft.com/office/drawing/2014/main" id="{2B3B4A80-A06E-CD9E-2408-18057FF22CCB}"/>
                </a:ext>
              </a:extLst>
            </p:cNvPr>
            <p:cNvSpPr>
              <a:spLocks/>
            </p:cNvSpPr>
            <p:nvPr/>
          </p:nvSpPr>
          <p:spPr bwMode="auto">
            <a:xfrm>
              <a:off x="-319509" y="1372606"/>
              <a:ext cx="45360" cy="34892"/>
            </a:xfrm>
            <a:custGeom>
              <a:avLst/>
              <a:gdLst>
                <a:gd name="T0" fmla="*/ 14 w 18"/>
                <a:gd name="T1" fmla="*/ 14 h 14"/>
                <a:gd name="T2" fmla="*/ 13 w 18"/>
                <a:gd name="T3" fmla="*/ 13 h 14"/>
                <a:gd name="T4" fmla="*/ 2 w 18"/>
                <a:gd name="T5" fmla="*/ 7 h 14"/>
                <a:gd name="T6" fmla="*/ 1 w 18"/>
                <a:gd name="T7" fmla="*/ 2 h 14"/>
                <a:gd name="T8" fmla="*/ 6 w 18"/>
                <a:gd name="T9" fmla="*/ 1 h 14"/>
                <a:gd name="T10" fmla="*/ 16 w 18"/>
                <a:gd name="T11" fmla="*/ 7 h 14"/>
                <a:gd name="T12" fmla="*/ 17 w 18"/>
                <a:gd name="T13" fmla="*/ 12 h 14"/>
                <a:gd name="T14" fmla="*/ 14 w 18"/>
                <a:gd name="T1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4">
                  <a:moveTo>
                    <a:pt x="14" y="14"/>
                  </a:moveTo>
                  <a:cubicBezTo>
                    <a:pt x="14" y="14"/>
                    <a:pt x="13" y="14"/>
                    <a:pt x="13" y="13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0" y="6"/>
                    <a:pt x="0" y="4"/>
                    <a:pt x="1" y="2"/>
                  </a:cubicBezTo>
                  <a:cubicBezTo>
                    <a:pt x="2" y="1"/>
                    <a:pt x="4" y="0"/>
                    <a:pt x="6" y="1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8" y="8"/>
                    <a:pt x="18" y="10"/>
                    <a:pt x="17" y="12"/>
                  </a:cubicBezTo>
                  <a:cubicBezTo>
                    <a:pt x="17" y="13"/>
                    <a:pt x="16" y="14"/>
                    <a:pt x="14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2" name="Freeform 544">
              <a:extLst>
                <a:ext uri="{FF2B5EF4-FFF2-40B4-BE49-F238E27FC236}">
                  <a16:creationId xmlns:a16="http://schemas.microsoft.com/office/drawing/2014/main" id="{8C11D7AB-108C-2F5F-368D-9EB19B08BEFE}"/>
                </a:ext>
              </a:extLst>
            </p:cNvPr>
            <p:cNvSpPr>
              <a:spLocks/>
            </p:cNvSpPr>
            <p:nvPr/>
          </p:nvSpPr>
          <p:spPr bwMode="auto">
            <a:xfrm>
              <a:off x="-295084" y="1285376"/>
              <a:ext cx="48848" cy="20935"/>
            </a:xfrm>
            <a:custGeom>
              <a:avLst/>
              <a:gdLst>
                <a:gd name="T0" fmla="*/ 16 w 19"/>
                <a:gd name="T1" fmla="*/ 7 h 7"/>
                <a:gd name="T2" fmla="*/ 4 w 19"/>
                <a:gd name="T3" fmla="*/ 7 h 7"/>
                <a:gd name="T4" fmla="*/ 0 w 19"/>
                <a:gd name="T5" fmla="*/ 3 h 7"/>
                <a:gd name="T6" fmla="*/ 4 w 19"/>
                <a:gd name="T7" fmla="*/ 0 h 7"/>
                <a:gd name="T8" fmla="*/ 16 w 19"/>
                <a:gd name="T9" fmla="*/ 0 h 7"/>
                <a:gd name="T10" fmla="*/ 19 w 19"/>
                <a:gd name="T11" fmla="*/ 3 h 7"/>
                <a:gd name="T12" fmla="*/ 16 w 19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7">
                  <a:moveTo>
                    <a:pt x="16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8" y="0"/>
                    <a:pt x="19" y="1"/>
                    <a:pt x="19" y="3"/>
                  </a:cubicBezTo>
                  <a:cubicBezTo>
                    <a:pt x="19" y="5"/>
                    <a:pt x="18" y="7"/>
                    <a:pt x="16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3" name="Freeform 545">
              <a:extLst>
                <a:ext uri="{FF2B5EF4-FFF2-40B4-BE49-F238E27FC236}">
                  <a16:creationId xmlns:a16="http://schemas.microsoft.com/office/drawing/2014/main" id="{50D28398-FCD3-A188-1F8D-2BF5F28D5EB2}"/>
                </a:ext>
              </a:extLst>
            </p:cNvPr>
            <p:cNvSpPr>
              <a:spLocks/>
            </p:cNvSpPr>
            <p:nvPr/>
          </p:nvSpPr>
          <p:spPr bwMode="auto">
            <a:xfrm>
              <a:off x="-319509" y="1180700"/>
              <a:ext cx="45360" cy="38382"/>
            </a:xfrm>
            <a:custGeom>
              <a:avLst/>
              <a:gdLst>
                <a:gd name="T0" fmla="*/ 4 w 18"/>
                <a:gd name="T1" fmla="*/ 14 h 14"/>
                <a:gd name="T2" fmla="*/ 1 w 18"/>
                <a:gd name="T3" fmla="*/ 12 h 14"/>
                <a:gd name="T4" fmla="*/ 2 w 18"/>
                <a:gd name="T5" fmla="*/ 7 h 14"/>
                <a:gd name="T6" fmla="*/ 13 w 18"/>
                <a:gd name="T7" fmla="*/ 1 h 14"/>
                <a:gd name="T8" fmla="*/ 17 w 18"/>
                <a:gd name="T9" fmla="*/ 2 h 14"/>
                <a:gd name="T10" fmla="*/ 16 w 18"/>
                <a:gd name="T11" fmla="*/ 7 h 14"/>
                <a:gd name="T12" fmla="*/ 6 w 18"/>
                <a:gd name="T13" fmla="*/ 13 h 14"/>
                <a:gd name="T14" fmla="*/ 4 w 18"/>
                <a:gd name="T1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4">
                  <a:moveTo>
                    <a:pt x="4" y="14"/>
                  </a:moveTo>
                  <a:cubicBezTo>
                    <a:pt x="3" y="14"/>
                    <a:pt x="2" y="13"/>
                    <a:pt x="1" y="12"/>
                  </a:cubicBezTo>
                  <a:cubicBezTo>
                    <a:pt x="0" y="10"/>
                    <a:pt x="0" y="8"/>
                    <a:pt x="2" y="7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4" y="0"/>
                    <a:pt x="16" y="1"/>
                    <a:pt x="17" y="2"/>
                  </a:cubicBezTo>
                  <a:cubicBezTo>
                    <a:pt x="18" y="4"/>
                    <a:pt x="18" y="6"/>
                    <a:pt x="16" y="7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5" y="13"/>
                    <a:pt x="5" y="14"/>
                    <a:pt x="4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4" name="Freeform 546">
              <a:extLst>
                <a:ext uri="{FF2B5EF4-FFF2-40B4-BE49-F238E27FC236}">
                  <a16:creationId xmlns:a16="http://schemas.microsoft.com/office/drawing/2014/main" id="{3ACBAB15-18CA-C7A4-C918-96A603D4B61E}"/>
                </a:ext>
              </a:extLst>
            </p:cNvPr>
            <p:cNvSpPr>
              <a:spLocks/>
            </p:cNvSpPr>
            <p:nvPr/>
          </p:nvSpPr>
          <p:spPr bwMode="auto">
            <a:xfrm>
              <a:off x="-382314" y="1103939"/>
              <a:ext cx="34892" cy="48848"/>
            </a:xfrm>
            <a:custGeom>
              <a:avLst/>
              <a:gdLst>
                <a:gd name="T0" fmla="*/ 4 w 14"/>
                <a:gd name="T1" fmla="*/ 18 h 18"/>
                <a:gd name="T2" fmla="*/ 2 w 14"/>
                <a:gd name="T3" fmla="*/ 18 h 18"/>
                <a:gd name="T4" fmla="*/ 1 w 14"/>
                <a:gd name="T5" fmla="*/ 13 h 18"/>
                <a:gd name="T6" fmla="*/ 7 w 14"/>
                <a:gd name="T7" fmla="*/ 3 h 18"/>
                <a:gd name="T8" fmla="*/ 11 w 14"/>
                <a:gd name="T9" fmla="*/ 1 h 18"/>
                <a:gd name="T10" fmla="*/ 13 w 14"/>
                <a:gd name="T11" fmla="*/ 6 h 18"/>
                <a:gd name="T12" fmla="*/ 7 w 14"/>
                <a:gd name="T13" fmla="*/ 17 h 18"/>
                <a:gd name="T14" fmla="*/ 4 w 14"/>
                <a:gd name="T1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18">
                  <a:moveTo>
                    <a:pt x="4" y="18"/>
                  </a:moveTo>
                  <a:cubicBezTo>
                    <a:pt x="3" y="18"/>
                    <a:pt x="2" y="18"/>
                    <a:pt x="2" y="18"/>
                  </a:cubicBezTo>
                  <a:cubicBezTo>
                    <a:pt x="0" y="17"/>
                    <a:pt x="0" y="15"/>
                    <a:pt x="1" y="1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8" y="1"/>
                    <a:pt x="10" y="0"/>
                    <a:pt x="11" y="1"/>
                  </a:cubicBezTo>
                  <a:cubicBezTo>
                    <a:pt x="13" y="2"/>
                    <a:pt x="14" y="4"/>
                    <a:pt x="13" y="6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6" y="18"/>
                    <a:pt x="5" y="18"/>
                    <a:pt x="4" y="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5" name="Freeform 547">
              <a:extLst>
                <a:ext uri="{FF2B5EF4-FFF2-40B4-BE49-F238E27FC236}">
                  <a16:creationId xmlns:a16="http://schemas.microsoft.com/office/drawing/2014/main" id="{E950CE68-4B1A-AB08-3EAA-1E31C74A2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-469542" y="1177212"/>
              <a:ext cx="80252" cy="129100"/>
            </a:xfrm>
            <a:custGeom>
              <a:avLst/>
              <a:gdLst>
                <a:gd name="T0" fmla="*/ 4 w 31"/>
                <a:gd name="T1" fmla="*/ 49 h 49"/>
                <a:gd name="T2" fmla="*/ 2 w 31"/>
                <a:gd name="T3" fmla="*/ 48 h 49"/>
                <a:gd name="T4" fmla="*/ 0 w 31"/>
                <a:gd name="T5" fmla="*/ 45 h 49"/>
                <a:gd name="T6" fmla="*/ 0 w 31"/>
                <a:gd name="T7" fmla="*/ 4 h 49"/>
                <a:gd name="T8" fmla="*/ 4 w 31"/>
                <a:gd name="T9" fmla="*/ 0 h 49"/>
                <a:gd name="T10" fmla="*/ 7 w 31"/>
                <a:gd name="T11" fmla="*/ 4 h 49"/>
                <a:gd name="T12" fmla="*/ 7 w 31"/>
                <a:gd name="T13" fmla="*/ 39 h 49"/>
                <a:gd name="T14" fmla="*/ 25 w 31"/>
                <a:gd name="T15" fmla="*/ 28 h 49"/>
                <a:gd name="T16" fmla="*/ 30 w 31"/>
                <a:gd name="T17" fmla="*/ 30 h 49"/>
                <a:gd name="T18" fmla="*/ 28 w 31"/>
                <a:gd name="T19" fmla="*/ 35 h 49"/>
                <a:gd name="T20" fmla="*/ 5 w 31"/>
                <a:gd name="T21" fmla="*/ 48 h 49"/>
                <a:gd name="T22" fmla="*/ 4 w 31"/>
                <a:gd name="T23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" h="49">
                  <a:moveTo>
                    <a:pt x="4" y="49"/>
                  </a:moveTo>
                  <a:cubicBezTo>
                    <a:pt x="3" y="49"/>
                    <a:pt x="2" y="49"/>
                    <a:pt x="2" y="48"/>
                  </a:cubicBezTo>
                  <a:cubicBezTo>
                    <a:pt x="1" y="48"/>
                    <a:pt x="0" y="46"/>
                    <a:pt x="0" y="4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7" y="2"/>
                    <a:pt x="7" y="4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25" y="28"/>
                    <a:pt x="25" y="28"/>
                    <a:pt x="25" y="28"/>
                  </a:cubicBezTo>
                  <a:cubicBezTo>
                    <a:pt x="27" y="27"/>
                    <a:pt x="29" y="28"/>
                    <a:pt x="30" y="30"/>
                  </a:cubicBezTo>
                  <a:cubicBezTo>
                    <a:pt x="31" y="31"/>
                    <a:pt x="30" y="34"/>
                    <a:pt x="28" y="35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5" y="49"/>
                    <a:pt x="4" y="49"/>
                    <a:pt x="4" y="4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6" name="Freeform 548">
              <a:extLst>
                <a:ext uri="{FF2B5EF4-FFF2-40B4-BE49-F238E27FC236}">
                  <a16:creationId xmlns:a16="http://schemas.microsoft.com/office/drawing/2014/main" id="{F0ED0CB2-39D7-2CD0-76A3-83900145B2C8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4686" y="1459834"/>
              <a:ext cx="247732" cy="153524"/>
            </a:xfrm>
            <a:custGeom>
              <a:avLst/>
              <a:gdLst>
                <a:gd name="T0" fmla="*/ 72 w 95"/>
                <a:gd name="T1" fmla="*/ 59 h 59"/>
                <a:gd name="T2" fmla="*/ 23 w 95"/>
                <a:gd name="T3" fmla="*/ 59 h 59"/>
                <a:gd name="T4" fmla="*/ 9 w 95"/>
                <a:gd name="T5" fmla="*/ 47 h 59"/>
                <a:gd name="T6" fmla="*/ 1 w 95"/>
                <a:gd name="T7" fmla="*/ 7 h 59"/>
                <a:gd name="T8" fmla="*/ 4 w 95"/>
                <a:gd name="T9" fmla="*/ 2 h 59"/>
                <a:gd name="T10" fmla="*/ 8 w 95"/>
                <a:gd name="T11" fmla="*/ 5 h 59"/>
                <a:gd name="T12" fmla="*/ 16 w 95"/>
                <a:gd name="T13" fmla="*/ 46 h 59"/>
                <a:gd name="T14" fmla="*/ 23 w 95"/>
                <a:gd name="T15" fmla="*/ 52 h 59"/>
                <a:gd name="T16" fmla="*/ 72 w 95"/>
                <a:gd name="T17" fmla="*/ 52 h 59"/>
                <a:gd name="T18" fmla="*/ 79 w 95"/>
                <a:gd name="T19" fmla="*/ 46 h 59"/>
                <a:gd name="T20" fmla="*/ 88 w 95"/>
                <a:gd name="T21" fmla="*/ 4 h 59"/>
                <a:gd name="T22" fmla="*/ 92 w 95"/>
                <a:gd name="T23" fmla="*/ 1 h 59"/>
                <a:gd name="T24" fmla="*/ 95 w 95"/>
                <a:gd name="T25" fmla="*/ 5 h 59"/>
                <a:gd name="T26" fmla="*/ 86 w 95"/>
                <a:gd name="T27" fmla="*/ 47 h 59"/>
                <a:gd name="T28" fmla="*/ 72 w 95"/>
                <a:gd name="T29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59">
                  <a:moveTo>
                    <a:pt x="72" y="59"/>
                  </a:moveTo>
                  <a:cubicBezTo>
                    <a:pt x="23" y="59"/>
                    <a:pt x="23" y="59"/>
                    <a:pt x="23" y="59"/>
                  </a:cubicBezTo>
                  <a:cubicBezTo>
                    <a:pt x="17" y="59"/>
                    <a:pt x="11" y="54"/>
                    <a:pt x="9" y="4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5"/>
                    <a:pt x="2" y="3"/>
                    <a:pt x="4" y="2"/>
                  </a:cubicBezTo>
                  <a:cubicBezTo>
                    <a:pt x="6" y="2"/>
                    <a:pt x="7" y="3"/>
                    <a:pt x="8" y="5"/>
                  </a:cubicBezTo>
                  <a:cubicBezTo>
                    <a:pt x="16" y="46"/>
                    <a:pt x="16" y="46"/>
                    <a:pt x="16" y="46"/>
                  </a:cubicBezTo>
                  <a:cubicBezTo>
                    <a:pt x="17" y="49"/>
                    <a:pt x="20" y="52"/>
                    <a:pt x="23" y="52"/>
                  </a:cubicBezTo>
                  <a:cubicBezTo>
                    <a:pt x="72" y="52"/>
                    <a:pt x="72" y="52"/>
                    <a:pt x="72" y="52"/>
                  </a:cubicBezTo>
                  <a:cubicBezTo>
                    <a:pt x="75" y="52"/>
                    <a:pt x="78" y="49"/>
                    <a:pt x="79" y="46"/>
                  </a:cubicBezTo>
                  <a:cubicBezTo>
                    <a:pt x="88" y="4"/>
                    <a:pt x="88" y="4"/>
                    <a:pt x="88" y="4"/>
                  </a:cubicBezTo>
                  <a:cubicBezTo>
                    <a:pt x="88" y="2"/>
                    <a:pt x="90" y="0"/>
                    <a:pt x="92" y="1"/>
                  </a:cubicBezTo>
                  <a:cubicBezTo>
                    <a:pt x="94" y="1"/>
                    <a:pt x="95" y="3"/>
                    <a:pt x="95" y="5"/>
                  </a:cubicBezTo>
                  <a:cubicBezTo>
                    <a:pt x="86" y="47"/>
                    <a:pt x="86" y="47"/>
                    <a:pt x="86" y="47"/>
                  </a:cubicBezTo>
                  <a:cubicBezTo>
                    <a:pt x="85" y="54"/>
                    <a:pt x="79" y="59"/>
                    <a:pt x="72" y="5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7" name="Freeform 549">
              <a:extLst>
                <a:ext uri="{FF2B5EF4-FFF2-40B4-BE49-F238E27FC236}">
                  <a16:creationId xmlns:a16="http://schemas.microsoft.com/office/drawing/2014/main" id="{A37F219C-D318-8437-587A-75109824CDE1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4686" y="978328"/>
              <a:ext cx="247732" cy="150036"/>
            </a:xfrm>
            <a:custGeom>
              <a:avLst/>
              <a:gdLst>
                <a:gd name="T0" fmla="*/ 4 w 95"/>
                <a:gd name="T1" fmla="*/ 57 h 57"/>
                <a:gd name="T2" fmla="*/ 3 w 95"/>
                <a:gd name="T3" fmla="*/ 57 h 57"/>
                <a:gd name="T4" fmla="*/ 1 w 95"/>
                <a:gd name="T5" fmla="*/ 53 h 57"/>
                <a:gd name="T6" fmla="*/ 9 w 95"/>
                <a:gd name="T7" fmla="*/ 11 h 57"/>
                <a:gd name="T8" fmla="*/ 23 w 95"/>
                <a:gd name="T9" fmla="*/ 0 h 57"/>
                <a:gd name="T10" fmla="*/ 72 w 95"/>
                <a:gd name="T11" fmla="*/ 0 h 57"/>
                <a:gd name="T12" fmla="*/ 86 w 95"/>
                <a:gd name="T13" fmla="*/ 11 h 57"/>
                <a:gd name="T14" fmla="*/ 94 w 95"/>
                <a:gd name="T15" fmla="*/ 52 h 57"/>
                <a:gd name="T16" fmla="*/ 92 w 95"/>
                <a:gd name="T17" fmla="*/ 56 h 57"/>
                <a:gd name="T18" fmla="*/ 87 w 95"/>
                <a:gd name="T19" fmla="*/ 53 h 57"/>
                <a:gd name="T20" fmla="*/ 79 w 95"/>
                <a:gd name="T21" fmla="*/ 13 h 57"/>
                <a:gd name="T22" fmla="*/ 72 w 95"/>
                <a:gd name="T23" fmla="*/ 7 h 57"/>
                <a:gd name="T24" fmla="*/ 23 w 95"/>
                <a:gd name="T25" fmla="*/ 7 h 57"/>
                <a:gd name="T26" fmla="*/ 16 w 95"/>
                <a:gd name="T27" fmla="*/ 13 h 57"/>
                <a:gd name="T28" fmla="*/ 8 w 95"/>
                <a:gd name="T29" fmla="*/ 55 h 57"/>
                <a:gd name="T30" fmla="*/ 4 w 95"/>
                <a:gd name="T31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5" h="57">
                  <a:moveTo>
                    <a:pt x="4" y="57"/>
                  </a:moveTo>
                  <a:cubicBezTo>
                    <a:pt x="4" y="57"/>
                    <a:pt x="4" y="57"/>
                    <a:pt x="3" y="57"/>
                  </a:cubicBezTo>
                  <a:cubicBezTo>
                    <a:pt x="1" y="57"/>
                    <a:pt x="0" y="55"/>
                    <a:pt x="1" y="53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11" y="4"/>
                    <a:pt x="17" y="0"/>
                    <a:pt x="23" y="0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79" y="0"/>
                    <a:pt x="85" y="4"/>
                    <a:pt x="86" y="11"/>
                  </a:cubicBezTo>
                  <a:cubicBezTo>
                    <a:pt x="94" y="52"/>
                    <a:pt x="94" y="52"/>
                    <a:pt x="94" y="52"/>
                  </a:cubicBezTo>
                  <a:cubicBezTo>
                    <a:pt x="95" y="54"/>
                    <a:pt x="93" y="56"/>
                    <a:pt x="92" y="56"/>
                  </a:cubicBezTo>
                  <a:cubicBezTo>
                    <a:pt x="90" y="56"/>
                    <a:pt x="88" y="55"/>
                    <a:pt x="87" y="53"/>
                  </a:cubicBezTo>
                  <a:cubicBezTo>
                    <a:pt x="79" y="13"/>
                    <a:pt x="79" y="13"/>
                    <a:pt x="79" y="13"/>
                  </a:cubicBezTo>
                  <a:cubicBezTo>
                    <a:pt x="78" y="9"/>
                    <a:pt x="75" y="7"/>
                    <a:pt x="72" y="7"/>
                  </a:cubicBezTo>
                  <a:cubicBezTo>
                    <a:pt x="23" y="7"/>
                    <a:pt x="23" y="7"/>
                    <a:pt x="23" y="7"/>
                  </a:cubicBezTo>
                  <a:cubicBezTo>
                    <a:pt x="20" y="7"/>
                    <a:pt x="17" y="9"/>
                    <a:pt x="16" y="13"/>
                  </a:cubicBezTo>
                  <a:cubicBezTo>
                    <a:pt x="8" y="55"/>
                    <a:pt x="8" y="55"/>
                    <a:pt x="8" y="55"/>
                  </a:cubicBezTo>
                  <a:cubicBezTo>
                    <a:pt x="7" y="56"/>
                    <a:pt x="6" y="57"/>
                    <a:pt x="4" y="5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7" name="Shape8_20200717_154439">
            <a:extLst>
              <a:ext uri="{FF2B5EF4-FFF2-40B4-BE49-F238E27FC236}">
                <a16:creationId xmlns:a16="http://schemas.microsoft.com/office/drawing/2014/main" id="{7A299E40-90F5-7939-A1E1-E80A9AD11301}"/>
              </a:ext>
            </a:extLst>
          </p:cNvPr>
          <p:cNvGrpSpPr>
            <a:grpSpLocks noChangeAspect="1"/>
          </p:cNvGrpSpPr>
          <p:nvPr/>
        </p:nvGrpSpPr>
        <p:grpSpPr>
          <a:xfrm>
            <a:off x="4533987" y="3808500"/>
            <a:ext cx="512910" cy="603627"/>
            <a:chOff x="-6872176" y="2314683"/>
            <a:chExt cx="512910" cy="603627"/>
          </a:xfrm>
          <a:solidFill>
            <a:schemeClr val="accent1"/>
          </a:solidFill>
        </p:grpSpPr>
        <p:sp>
          <p:nvSpPr>
            <p:cNvPr id="177" name="Freeform 550">
              <a:extLst>
                <a:ext uri="{FF2B5EF4-FFF2-40B4-BE49-F238E27FC236}">
                  <a16:creationId xmlns:a16="http://schemas.microsoft.com/office/drawing/2014/main" id="{7A3D90D7-5334-06F9-5CE9-657EB6A8E5D8}"/>
                </a:ext>
              </a:extLst>
            </p:cNvPr>
            <p:cNvSpPr>
              <a:spLocks/>
            </p:cNvSpPr>
            <p:nvPr/>
          </p:nvSpPr>
          <p:spPr bwMode="auto">
            <a:xfrm>
              <a:off x="-6627933" y="2520543"/>
              <a:ext cx="76762" cy="181437"/>
            </a:xfrm>
            <a:custGeom>
              <a:avLst/>
              <a:gdLst>
                <a:gd name="T0" fmla="*/ 25 w 29"/>
                <a:gd name="T1" fmla="*/ 70 h 70"/>
                <a:gd name="T2" fmla="*/ 23 w 29"/>
                <a:gd name="T3" fmla="*/ 69 h 70"/>
                <a:gd name="T4" fmla="*/ 2 w 29"/>
                <a:gd name="T5" fmla="*/ 57 h 70"/>
                <a:gd name="T6" fmla="*/ 0 w 29"/>
                <a:gd name="T7" fmla="*/ 54 h 70"/>
                <a:gd name="T8" fmla="*/ 0 w 29"/>
                <a:gd name="T9" fmla="*/ 4 h 70"/>
                <a:gd name="T10" fmla="*/ 3 w 29"/>
                <a:gd name="T11" fmla="*/ 0 h 70"/>
                <a:gd name="T12" fmla="*/ 7 w 29"/>
                <a:gd name="T13" fmla="*/ 4 h 70"/>
                <a:gd name="T14" fmla="*/ 7 w 29"/>
                <a:gd name="T15" fmla="*/ 52 h 70"/>
                <a:gd name="T16" fmla="*/ 27 w 29"/>
                <a:gd name="T17" fmla="*/ 63 h 70"/>
                <a:gd name="T18" fmla="*/ 28 w 29"/>
                <a:gd name="T19" fmla="*/ 68 h 70"/>
                <a:gd name="T20" fmla="*/ 25 w 29"/>
                <a:gd name="T21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9" h="70">
                  <a:moveTo>
                    <a:pt x="25" y="70"/>
                  </a:moveTo>
                  <a:cubicBezTo>
                    <a:pt x="24" y="70"/>
                    <a:pt x="24" y="69"/>
                    <a:pt x="23" y="69"/>
                  </a:cubicBezTo>
                  <a:cubicBezTo>
                    <a:pt x="2" y="57"/>
                    <a:pt x="2" y="57"/>
                    <a:pt x="2" y="57"/>
                  </a:cubicBezTo>
                  <a:cubicBezTo>
                    <a:pt x="1" y="57"/>
                    <a:pt x="0" y="56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52"/>
                    <a:pt x="7" y="52"/>
                    <a:pt x="7" y="52"/>
                  </a:cubicBezTo>
                  <a:cubicBezTo>
                    <a:pt x="27" y="63"/>
                    <a:pt x="27" y="63"/>
                    <a:pt x="27" y="63"/>
                  </a:cubicBezTo>
                  <a:cubicBezTo>
                    <a:pt x="28" y="64"/>
                    <a:pt x="29" y="66"/>
                    <a:pt x="28" y="68"/>
                  </a:cubicBezTo>
                  <a:cubicBezTo>
                    <a:pt x="27" y="69"/>
                    <a:pt x="26" y="70"/>
                    <a:pt x="25" y="7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8" name="Freeform 551">
              <a:extLst>
                <a:ext uri="{FF2B5EF4-FFF2-40B4-BE49-F238E27FC236}">
                  <a16:creationId xmlns:a16="http://schemas.microsoft.com/office/drawing/2014/main" id="{4E82A868-3A65-D4E4-61E4-076E2DD7952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830306" y="2447271"/>
              <a:ext cx="425679" cy="425679"/>
            </a:xfrm>
            <a:custGeom>
              <a:avLst/>
              <a:gdLst>
                <a:gd name="T0" fmla="*/ 80 w 161"/>
                <a:gd name="T1" fmla="*/ 162 h 162"/>
                <a:gd name="T2" fmla="*/ 0 w 161"/>
                <a:gd name="T3" fmla="*/ 81 h 162"/>
                <a:gd name="T4" fmla="*/ 80 w 161"/>
                <a:gd name="T5" fmla="*/ 0 h 162"/>
                <a:gd name="T6" fmla="*/ 161 w 161"/>
                <a:gd name="T7" fmla="*/ 81 h 162"/>
                <a:gd name="T8" fmla="*/ 80 w 161"/>
                <a:gd name="T9" fmla="*/ 162 h 162"/>
                <a:gd name="T10" fmla="*/ 80 w 161"/>
                <a:gd name="T11" fmla="*/ 8 h 162"/>
                <a:gd name="T12" fmla="*/ 7 w 161"/>
                <a:gd name="T13" fmla="*/ 81 h 162"/>
                <a:gd name="T14" fmla="*/ 80 w 161"/>
                <a:gd name="T15" fmla="*/ 155 h 162"/>
                <a:gd name="T16" fmla="*/ 154 w 161"/>
                <a:gd name="T17" fmla="*/ 81 h 162"/>
                <a:gd name="T18" fmla="*/ 80 w 161"/>
                <a:gd name="T19" fmla="*/ 8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1" h="162">
                  <a:moveTo>
                    <a:pt x="80" y="162"/>
                  </a:moveTo>
                  <a:cubicBezTo>
                    <a:pt x="36" y="162"/>
                    <a:pt x="0" y="126"/>
                    <a:pt x="0" y="81"/>
                  </a:cubicBezTo>
                  <a:cubicBezTo>
                    <a:pt x="0" y="37"/>
                    <a:pt x="36" y="0"/>
                    <a:pt x="80" y="0"/>
                  </a:cubicBezTo>
                  <a:cubicBezTo>
                    <a:pt x="125" y="0"/>
                    <a:pt x="161" y="37"/>
                    <a:pt x="161" y="81"/>
                  </a:cubicBezTo>
                  <a:cubicBezTo>
                    <a:pt x="161" y="126"/>
                    <a:pt x="125" y="162"/>
                    <a:pt x="80" y="162"/>
                  </a:cubicBezTo>
                  <a:close/>
                  <a:moveTo>
                    <a:pt x="80" y="8"/>
                  </a:moveTo>
                  <a:cubicBezTo>
                    <a:pt x="40" y="8"/>
                    <a:pt x="7" y="41"/>
                    <a:pt x="7" y="81"/>
                  </a:cubicBezTo>
                  <a:cubicBezTo>
                    <a:pt x="7" y="122"/>
                    <a:pt x="40" y="155"/>
                    <a:pt x="80" y="155"/>
                  </a:cubicBezTo>
                  <a:cubicBezTo>
                    <a:pt x="121" y="155"/>
                    <a:pt x="154" y="122"/>
                    <a:pt x="154" y="81"/>
                  </a:cubicBezTo>
                  <a:cubicBezTo>
                    <a:pt x="154" y="41"/>
                    <a:pt x="121" y="8"/>
                    <a:pt x="8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9" name="Freeform 552">
              <a:extLst>
                <a:ext uri="{FF2B5EF4-FFF2-40B4-BE49-F238E27FC236}">
                  <a16:creationId xmlns:a16="http://schemas.microsoft.com/office/drawing/2014/main" id="{2D175942-7100-3B43-49B2-CE8D74111D4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872176" y="2405401"/>
              <a:ext cx="512910" cy="512909"/>
            </a:xfrm>
            <a:custGeom>
              <a:avLst/>
              <a:gdLst>
                <a:gd name="T0" fmla="*/ 97 w 195"/>
                <a:gd name="T1" fmla="*/ 195 h 195"/>
                <a:gd name="T2" fmla="*/ 0 w 195"/>
                <a:gd name="T3" fmla="*/ 97 h 195"/>
                <a:gd name="T4" fmla="*/ 97 w 195"/>
                <a:gd name="T5" fmla="*/ 0 h 195"/>
                <a:gd name="T6" fmla="*/ 195 w 195"/>
                <a:gd name="T7" fmla="*/ 97 h 195"/>
                <a:gd name="T8" fmla="*/ 97 w 195"/>
                <a:gd name="T9" fmla="*/ 195 h 195"/>
                <a:gd name="T10" fmla="*/ 97 w 195"/>
                <a:gd name="T11" fmla="*/ 7 h 195"/>
                <a:gd name="T12" fmla="*/ 7 w 195"/>
                <a:gd name="T13" fmla="*/ 97 h 195"/>
                <a:gd name="T14" fmla="*/ 97 w 195"/>
                <a:gd name="T15" fmla="*/ 188 h 195"/>
                <a:gd name="T16" fmla="*/ 188 w 195"/>
                <a:gd name="T17" fmla="*/ 97 h 195"/>
                <a:gd name="T18" fmla="*/ 97 w 195"/>
                <a:gd name="T19" fmla="*/ 7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5" h="195">
                  <a:moveTo>
                    <a:pt x="97" y="195"/>
                  </a:moveTo>
                  <a:cubicBezTo>
                    <a:pt x="44" y="195"/>
                    <a:pt x="0" y="151"/>
                    <a:pt x="0" y="97"/>
                  </a:cubicBezTo>
                  <a:cubicBezTo>
                    <a:pt x="0" y="43"/>
                    <a:pt x="44" y="0"/>
                    <a:pt x="97" y="0"/>
                  </a:cubicBezTo>
                  <a:cubicBezTo>
                    <a:pt x="151" y="0"/>
                    <a:pt x="195" y="43"/>
                    <a:pt x="195" y="97"/>
                  </a:cubicBezTo>
                  <a:cubicBezTo>
                    <a:pt x="195" y="151"/>
                    <a:pt x="151" y="195"/>
                    <a:pt x="97" y="195"/>
                  </a:cubicBezTo>
                  <a:close/>
                  <a:moveTo>
                    <a:pt x="97" y="7"/>
                  </a:moveTo>
                  <a:cubicBezTo>
                    <a:pt x="47" y="7"/>
                    <a:pt x="7" y="47"/>
                    <a:pt x="7" y="97"/>
                  </a:cubicBezTo>
                  <a:cubicBezTo>
                    <a:pt x="7" y="147"/>
                    <a:pt x="47" y="188"/>
                    <a:pt x="97" y="188"/>
                  </a:cubicBezTo>
                  <a:cubicBezTo>
                    <a:pt x="147" y="188"/>
                    <a:pt x="188" y="147"/>
                    <a:pt x="188" y="97"/>
                  </a:cubicBezTo>
                  <a:cubicBezTo>
                    <a:pt x="188" y="47"/>
                    <a:pt x="147" y="7"/>
                    <a:pt x="97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0" name="Freeform 553">
              <a:extLst>
                <a:ext uri="{FF2B5EF4-FFF2-40B4-BE49-F238E27FC236}">
                  <a16:creationId xmlns:a16="http://schemas.microsoft.com/office/drawing/2014/main" id="{636306B8-A0D0-8F92-CD9B-42C9A7B03F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683760" y="2314683"/>
              <a:ext cx="132589" cy="66295"/>
            </a:xfrm>
            <a:custGeom>
              <a:avLst/>
              <a:gdLst>
                <a:gd name="T0" fmla="*/ 47 w 51"/>
                <a:gd name="T1" fmla="*/ 25 h 25"/>
                <a:gd name="T2" fmla="*/ 4 w 51"/>
                <a:gd name="T3" fmla="*/ 25 h 25"/>
                <a:gd name="T4" fmla="*/ 0 w 51"/>
                <a:gd name="T5" fmla="*/ 21 h 25"/>
                <a:gd name="T6" fmla="*/ 0 w 51"/>
                <a:gd name="T7" fmla="*/ 3 h 25"/>
                <a:gd name="T8" fmla="*/ 4 w 51"/>
                <a:gd name="T9" fmla="*/ 0 h 25"/>
                <a:gd name="T10" fmla="*/ 47 w 51"/>
                <a:gd name="T11" fmla="*/ 0 h 25"/>
                <a:gd name="T12" fmla="*/ 51 w 51"/>
                <a:gd name="T13" fmla="*/ 3 h 25"/>
                <a:gd name="T14" fmla="*/ 51 w 51"/>
                <a:gd name="T15" fmla="*/ 21 h 25"/>
                <a:gd name="T16" fmla="*/ 47 w 51"/>
                <a:gd name="T17" fmla="*/ 25 h 25"/>
                <a:gd name="T18" fmla="*/ 8 w 51"/>
                <a:gd name="T19" fmla="*/ 18 h 25"/>
                <a:gd name="T20" fmla="*/ 43 w 51"/>
                <a:gd name="T21" fmla="*/ 18 h 25"/>
                <a:gd name="T22" fmla="*/ 43 w 51"/>
                <a:gd name="T23" fmla="*/ 7 h 25"/>
                <a:gd name="T24" fmla="*/ 8 w 51"/>
                <a:gd name="T25" fmla="*/ 7 h 25"/>
                <a:gd name="T26" fmla="*/ 8 w 51"/>
                <a:gd name="T27" fmla="*/ 18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1" h="25">
                  <a:moveTo>
                    <a:pt x="47" y="25"/>
                  </a:moveTo>
                  <a:cubicBezTo>
                    <a:pt x="4" y="25"/>
                    <a:pt x="4" y="25"/>
                    <a:pt x="4" y="25"/>
                  </a:cubicBezTo>
                  <a:cubicBezTo>
                    <a:pt x="2" y="25"/>
                    <a:pt x="0" y="23"/>
                    <a:pt x="0" y="21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9" y="0"/>
                    <a:pt x="51" y="1"/>
                    <a:pt x="51" y="3"/>
                  </a:cubicBezTo>
                  <a:cubicBezTo>
                    <a:pt x="51" y="21"/>
                    <a:pt x="51" y="21"/>
                    <a:pt x="51" y="21"/>
                  </a:cubicBezTo>
                  <a:cubicBezTo>
                    <a:pt x="51" y="23"/>
                    <a:pt x="49" y="25"/>
                    <a:pt x="47" y="25"/>
                  </a:cubicBezTo>
                  <a:close/>
                  <a:moveTo>
                    <a:pt x="8" y="18"/>
                  </a:moveTo>
                  <a:cubicBezTo>
                    <a:pt x="43" y="18"/>
                    <a:pt x="43" y="18"/>
                    <a:pt x="43" y="18"/>
                  </a:cubicBezTo>
                  <a:cubicBezTo>
                    <a:pt x="43" y="7"/>
                    <a:pt x="43" y="7"/>
                    <a:pt x="43" y="7"/>
                  </a:cubicBezTo>
                  <a:cubicBezTo>
                    <a:pt x="8" y="7"/>
                    <a:pt x="8" y="7"/>
                    <a:pt x="8" y="7"/>
                  </a:cubicBezTo>
                  <a:lnTo>
                    <a:pt x="8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1" name="Freeform 554">
              <a:extLst>
                <a:ext uri="{FF2B5EF4-FFF2-40B4-BE49-F238E27FC236}">
                  <a16:creationId xmlns:a16="http://schemas.microsoft.com/office/drawing/2014/main" id="{1816E395-BDA4-2DAF-B626-1ABEAF8FBC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648869" y="2363531"/>
              <a:ext cx="66295" cy="59317"/>
            </a:xfrm>
            <a:custGeom>
              <a:avLst/>
              <a:gdLst>
                <a:gd name="T0" fmla="*/ 22 w 25"/>
                <a:gd name="T1" fmla="*/ 23 h 23"/>
                <a:gd name="T2" fmla="*/ 3 w 25"/>
                <a:gd name="T3" fmla="*/ 23 h 23"/>
                <a:gd name="T4" fmla="*/ 0 w 25"/>
                <a:gd name="T5" fmla="*/ 19 h 23"/>
                <a:gd name="T6" fmla="*/ 0 w 25"/>
                <a:gd name="T7" fmla="*/ 3 h 23"/>
                <a:gd name="T8" fmla="*/ 3 w 25"/>
                <a:gd name="T9" fmla="*/ 0 h 23"/>
                <a:gd name="T10" fmla="*/ 22 w 25"/>
                <a:gd name="T11" fmla="*/ 0 h 23"/>
                <a:gd name="T12" fmla="*/ 25 w 25"/>
                <a:gd name="T13" fmla="*/ 3 h 23"/>
                <a:gd name="T14" fmla="*/ 25 w 25"/>
                <a:gd name="T15" fmla="*/ 19 h 23"/>
                <a:gd name="T16" fmla="*/ 22 w 25"/>
                <a:gd name="T17" fmla="*/ 23 h 23"/>
                <a:gd name="T18" fmla="*/ 7 w 25"/>
                <a:gd name="T19" fmla="*/ 16 h 23"/>
                <a:gd name="T20" fmla="*/ 18 w 25"/>
                <a:gd name="T21" fmla="*/ 16 h 23"/>
                <a:gd name="T22" fmla="*/ 18 w 25"/>
                <a:gd name="T23" fmla="*/ 7 h 23"/>
                <a:gd name="T24" fmla="*/ 7 w 25"/>
                <a:gd name="T25" fmla="*/ 7 h 23"/>
                <a:gd name="T26" fmla="*/ 7 w 25"/>
                <a:gd name="T27" fmla="*/ 16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" h="23">
                  <a:moveTo>
                    <a:pt x="22" y="23"/>
                  </a:moveTo>
                  <a:cubicBezTo>
                    <a:pt x="3" y="23"/>
                    <a:pt x="3" y="23"/>
                    <a:pt x="3" y="23"/>
                  </a:cubicBezTo>
                  <a:cubicBezTo>
                    <a:pt x="1" y="23"/>
                    <a:pt x="0" y="21"/>
                    <a:pt x="0" y="19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3" y="0"/>
                    <a:pt x="25" y="1"/>
                    <a:pt x="25" y="3"/>
                  </a:cubicBezTo>
                  <a:cubicBezTo>
                    <a:pt x="25" y="19"/>
                    <a:pt x="25" y="19"/>
                    <a:pt x="25" y="19"/>
                  </a:cubicBezTo>
                  <a:cubicBezTo>
                    <a:pt x="25" y="21"/>
                    <a:pt x="23" y="23"/>
                    <a:pt x="22" y="23"/>
                  </a:cubicBezTo>
                  <a:close/>
                  <a:moveTo>
                    <a:pt x="7" y="16"/>
                  </a:moveTo>
                  <a:cubicBezTo>
                    <a:pt x="18" y="16"/>
                    <a:pt x="18" y="16"/>
                    <a:pt x="18" y="16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8" name="Shape9_20200717_154439">
            <a:extLst>
              <a:ext uri="{FF2B5EF4-FFF2-40B4-BE49-F238E27FC236}">
                <a16:creationId xmlns:a16="http://schemas.microsoft.com/office/drawing/2014/main" id="{8D60BB4A-809E-6CE1-E485-26503294B1C6}"/>
              </a:ext>
            </a:extLst>
          </p:cNvPr>
          <p:cNvGrpSpPr>
            <a:grpSpLocks noChangeAspect="1"/>
          </p:cNvGrpSpPr>
          <p:nvPr/>
        </p:nvGrpSpPr>
        <p:grpSpPr>
          <a:xfrm>
            <a:off x="8393086" y="1210633"/>
            <a:ext cx="628051" cy="635029"/>
            <a:chOff x="-4468134" y="2300726"/>
            <a:chExt cx="628051" cy="635029"/>
          </a:xfrm>
          <a:solidFill>
            <a:schemeClr val="accent1"/>
          </a:solidFill>
        </p:grpSpPr>
        <p:sp>
          <p:nvSpPr>
            <p:cNvPr id="174" name="Freeform 555">
              <a:extLst>
                <a:ext uri="{FF2B5EF4-FFF2-40B4-BE49-F238E27FC236}">
                  <a16:creationId xmlns:a16="http://schemas.microsoft.com/office/drawing/2014/main" id="{E9C1B0D1-215C-BAB2-2E16-0549D08F04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468134" y="2300726"/>
              <a:ext cx="628051" cy="635029"/>
            </a:xfrm>
            <a:custGeom>
              <a:avLst/>
              <a:gdLst>
                <a:gd name="T0" fmla="*/ 120 w 240"/>
                <a:gd name="T1" fmla="*/ 241 h 241"/>
                <a:gd name="T2" fmla="*/ 0 w 240"/>
                <a:gd name="T3" fmla="*/ 120 h 241"/>
                <a:gd name="T4" fmla="*/ 120 w 240"/>
                <a:gd name="T5" fmla="*/ 0 h 241"/>
                <a:gd name="T6" fmla="*/ 240 w 240"/>
                <a:gd name="T7" fmla="*/ 120 h 241"/>
                <a:gd name="T8" fmla="*/ 120 w 240"/>
                <a:gd name="T9" fmla="*/ 241 h 241"/>
                <a:gd name="T10" fmla="*/ 120 w 240"/>
                <a:gd name="T11" fmla="*/ 7 h 241"/>
                <a:gd name="T12" fmla="*/ 7 w 240"/>
                <a:gd name="T13" fmla="*/ 120 h 241"/>
                <a:gd name="T14" fmla="*/ 120 w 240"/>
                <a:gd name="T15" fmla="*/ 233 h 241"/>
                <a:gd name="T16" fmla="*/ 233 w 240"/>
                <a:gd name="T17" fmla="*/ 120 h 241"/>
                <a:gd name="T18" fmla="*/ 120 w 240"/>
                <a:gd name="T19" fmla="*/ 7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0" h="241">
                  <a:moveTo>
                    <a:pt x="120" y="241"/>
                  </a:moveTo>
                  <a:cubicBezTo>
                    <a:pt x="54" y="241"/>
                    <a:pt x="0" y="187"/>
                    <a:pt x="0" y="120"/>
                  </a:cubicBezTo>
                  <a:cubicBezTo>
                    <a:pt x="0" y="54"/>
                    <a:pt x="54" y="0"/>
                    <a:pt x="120" y="0"/>
                  </a:cubicBezTo>
                  <a:cubicBezTo>
                    <a:pt x="186" y="0"/>
                    <a:pt x="240" y="54"/>
                    <a:pt x="240" y="120"/>
                  </a:cubicBezTo>
                  <a:cubicBezTo>
                    <a:pt x="240" y="187"/>
                    <a:pt x="186" y="241"/>
                    <a:pt x="120" y="241"/>
                  </a:cubicBezTo>
                  <a:close/>
                  <a:moveTo>
                    <a:pt x="120" y="7"/>
                  </a:moveTo>
                  <a:cubicBezTo>
                    <a:pt x="58" y="7"/>
                    <a:pt x="7" y="58"/>
                    <a:pt x="7" y="120"/>
                  </a:cubicBezTo>
                  <a:cubicBezTo>
                    <a:pt x="7" y="183"/>
                    <a:pt x="58" y="233"/>
                    <a:pt x="120" y="233"/>
                  </a:cubicBezTo>
                  <a:cubicBezTo>
                    <a:pt x="182" y="233"/>
                    <a:pt x="233" y="183"/>
                    <a:pt x="233" y="120"/>
                  </a:cubicBezTo>
                  <a:cubicBezTo>
                    <a:pt x="233" y="58"/>
                    <a:pt x="182" y="7"/>
                    <a:pt x="120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5" name="Freeform 556">
              <a:extLst>
                <a:ext uri="{FF2B5EF4-FFF2-40B4-BE49-F238E27FC236}">
                  <a16:creationId xmlns:a16="http://schemas.microsoft.com/office/drawing/2014/main" id="{B7C1D10D-AC30-FAE4-CF27-B32603BE110D}"/>
                </a:ext>
              </a:extLst>
            </p:cNvPr>
            <p:cNvSpPr>
              <a:spLocks/>
            </p:cNvSpPr>
            <p:nvPr/>
          </p:nvSpPr>
          <p:spPr bwMode="auto">
            <a:xfrm>
              <a:off x="-4342524" y="2499608"/>
              <a:ext cx="174459" cy="233776"/>
            </a:xfrm>
            <a:custGeom>
              <a:avLst/>
              <a:gdLst>
                <a:gd name="T0" fmla="*/ 63 w 67"/>
                <a:gd name="T1" fmla="*/ 90 h 90"/>
                <a:gd name="T2" fmla="*/ 4 w 67"/>
                <a:gd name="T3" fmla="*/ 90 h 90"/>
                <a:gd name="T4" fmla="*/ 1 w 67"/>
                <a:gd name="T5" fmla="*/ 88 h 90"/>
                <a:gd name="T6" fmla="*/ 2 w 67"/>
                <a:gd name="T7" fmla="*/ 84 h 90"/>
                <a:gd name="T8" fmla="*/ 48 w 67"/>
                <a:gd name="T9" fmla="*/ 54 h 90"/>
                <a:gd name="T10" fmla="*/ 59 w 67"/>
                <a:gd name="T11" fmla="*/ 32 h 90"/>
                <a:gd name="T12" fmla="*/ 59 w 67"/>
                <a:gd name="T13" fmla="*/ 30 h 90"/>
                <a:gd name="T14" fmla="*/ 35 w 67"/>
                <a:gd name="T15" fmla="*/ 7 h 90"/>
                <a:gd name="T16" fmla="*/ 16 w 67"/>
                <a:gd name="T17" fmla="*/ 14 h 90"/>
                <a:gd name="T18" fmla="*/ 8 w 67"/>
                <a:gd name="T19" fmla="*/ 33 h 90"/>
                <a:gd name="T20" fmla="*/ 4 w 67"/>
                <a:gd name="T21" fmla="*/ 37 h 90"/>
                <a:gd name="T22" fmla="*/ 1 w 67"/>
                <a:gd name="T23" fmla="*/ 33 h 90"/>
                <a:gd name="T24" fmla="*/ 11 w 67"/>
                <a:gd name="T25" fmla="*/ 9 h 90"/>
                <a:gd name="T26" fmla="*/ 35 w 67"/>
                <a:gd name="T27" fmla="*/ 0 h 90"/>
                <a:gd name="T28" fmla="*/ 66 w 67"/>
                <a:gd name="T29" fmla="*/ 30 h 90"/>
                <a:gd name="T30" fmla="*/ 66 w 67"/>
                <a:gd name="T31" fmla="*/ 32 h 90"/>
                <a:gd name="T32" fmla="*/ 52 w 67"/>
                <a:gd name="T33" fmla="*/ 60 h 90"/>
                <a:gd name="T34" fmla="*/ 16 w 67"/>
                <a:gd name="T35" fmla="*/ 83 h 90"/>
                <a:gd name="T36" fmla="*/ 63 w 67"/>
                <a:gd name="T37" fmla="*/ 83 h 90"/>
                <a:gd name="T38" fmla="*/ 66 w 67"/>
                <a:gd name="T39" fmla="*/ 87 h 90"/>
                <a:gd name="T40" fmla="*/ 63 w 67"/>
                <a:gd name="T41" fmla="*/ 9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7" h="90">
                  <a:moveTo>
                    <a:pt x="63" y="90"/>
                  </a:moveTo>
                  <a:cubicBezTo>
                    <a:pt x="4" y="90"/>
                    <a:pt x="4" y="90"/>
                    <a:pt x="4" y="90"/>
                  </a:cubicBezTo>
                  <a:cubicBezTo>
                    <a:pt x="3" y="90"/>
                    <a:pt x="1" y="89"/>
                    <a:pt x="1" y="88"/>
                  </a:cubicBezTo>
                  <a:cubicBezTo>
                    <a:pt x="0" y="86"/>
                    <a:pt x="1" y="85"/>
                    <a:pt x="2" y="84"/>
                  </a:cubicBezTo>
                  <a:cubicBezTo>
                    <a:pt x="48" y="54"/>
                    <a:pt x="48" y="54"/>
                    <a:pt x="48" y="54"/>
                  </a:cubicBezTo>
                  <a:cubicBezTo>
                    <a:pt x="55" y="49"/>
                    <a:pt x="60" y="40"/>
                    <a:pt x="59" y="32"/>
                  </a:cubicBezTo>
                  <a:cubicBezTo>
                    <a:pt x="59" y="31"/>
                    <a:pt x="59" y="31"/>
                    <a:pt x="59" y="30"/>
                  </a:cubicBezTo>
                  <a:cubicBezTo>
                    <a:pt x="58" y="18"/>
                    <a:pt x="48" y="8"/>
                    <a:pt x="35" y="7"/>
                  </a:cubicBezTo>
                  <a:cubicBezTo>
                    <a:pt x="28" y="7"/>
                    <a:pt x="21" y="10"/>
                    <a:pt x="16" y="14"/>
                  </a:cubicBezTo>
                  <a:cubicBezTo>
                    <a:pt x="11" y="19"/>
                    <a:pt x="8" y="26"/>
                    <a:pt x="8" y="33"/>
                  </a:cubicBezTo>
                  <a:cubicBezTo>
                    <a:pt x="8" y="35"/>
                    <a:pt x="6" y="37"/>
                    <a:pt x="4" y="37"/>
                  </a:cubicBezTo>
                  <a:cubicBezTo>
                    <a:pt x="2" y="37"/>
                    <a:pt x="1" y="35"/>
                    <a:pt x="1" y="33"/>
                  </a:cubicBezTo>
                  <a:cubicBezTo>
                    <a:pt x="1" y="24"/>
                    <a:pt x="4" y="15"/>
                    <a:pt x="11" y="9"/>
                  </a:cubicBezTo>
                  <a:cubicBezTo>
                    <a:pt x="18" y="3"/>
                    <a:pt x="26" y="0"/>
                    <a:pt x="35" y="0"/>
                  </a:cubicBezTo>
                  <a:cubicBezTo>
                    <a:pt x="51" y="1"/>
                    <a:pt x="65" y="14"/>
                    <a:pt x="66" y="30"/>
                  </a:cubicBezTo>
                  <a:cubicBezTo>
                    <a:pt x="66" y="30"/>
                    <a:pt x="66" y="31"/>
                    <a:pt x="66" y="32"/>
                  </a:cubicBezTo>
                  <a:cubicBezTo>
                    <a:pt x="67" y="43"/>
                    <a:pt x="61" y="53"/>
                    <a:pt x="52" y="60"/>
                  </a:cubicBezTo>
                  <a:cubicBezTo>
                    <a:pt x="16" y="83"/>
                    <a:pt x="16" y="83"/>
                    <a:pt x="16" y="83"/>
                  </a:cubicBezTo>
                  <a:cubicBezTo>
                    <a:pt x="63" y="83"/>
                    <a:pt x="63" y="83"/>
                    <a:pt x="63" y="83"/>
                  </a:cubicBezTo>
                  <a:cubicBezTo>
                    <a:pt x="65" y="83"/>
                    <a:pt x="66" y="85"/>
                    <a:pt x="66" y="87"/>
                  </a:cubicBezTo>
                  <a:cubicBezTo>
                    <a:pt x="66" y="89"/>
                    <a:pt x="65" y="90"/>
                    <a:pt x="63" y="9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6" name="Freeform 557">
              <a:extLst>
                <a:ext uri="{FF2B5EF4-FFF2-40B4-BE49-F238E27FC236}">
                  <a16:creationId xmlns:a16="http://schemas.microsoft.com/office/drawing/2014/main" id="{A81A3444-E2B0-2B4A-0D4F-96C0F4C0E5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122707" y="2499608"/>
              <a:ext cx="153524" cy="233776"/>
            </a:xfrm>
            <a:custGeom>
              <a:avLst/>
              <a:gdLst>
                <a:gd name="T0" fmla="*/ 45 w 59"/>
                <a:gd name="T1" fmla="*/ 90 h 90"/>
                <a:gd name="T2" fmla="*/ 42 w 59"/>
                <a:gd name="T3" fmla="*/ 87 h 90"/>
                <a:gd name="T4" fmla="*/ 42 w 59"/>
                <a:gd name="T5" fmla="*/ 61 h 90"/>
                <a:gd name="T6" fmla="*/ 3 w 59"/>
                <a:gd name="T7" fmla="*/ 61 h 90"/>
                <a:gd name="T8" fmla="*/ 0 w 59"/>
                <a:gd name="T9" fmla="*/ 59 h 90"/>
                <a:gd name="T10" fmla="*/ 1 w 59"/>
                <a:gd name="T11" fmla="*/ 55 h 90"/>
                <a:gd name="T12" fmla="*/ 43 w 59"/>
                <a:gd name="T13" fmla="*/ 2 h 90"/>
                <a:gd name="T14" fmla="*/ 47 w 59"/>
                <a:gd name="T15" fmla="*/ 0 h 90"/>
                <a:gd name="T16" fmla="*/ 49 w 59"/>
                <a:gd name="T17" fmla="*/ 4 h 90"/>
                <a:gd name="T18" fmla="*/ 49 w 59"/>
                <a:gd name="T19" fmla="*/ 54 h 90"/>
                <a:gd name="T20" fmla="*/ 56 w 59"/>
                <a:gd name="T21" fmla="*/ 54 h 90"/>
                <a:gd name="T22" fmla="*/ 59 w 59"/>
                <a:gd name="T23" fmla="*/ 58 h 90"/>
                <a:gd name="T24" fmla="*/ 56 w 59"/>
                <a:gd name="T25" fmla="*/ 61 h 90"/>
                <a:gd name="T26" fmla="*/ 49 w 59"/>
                <a:gd name="T27" fmla="*/ 61 h 90"/>
                <a:gd name="T28" fmla="*/ 49 w 59"/>
                <a:gd name="T29" fmla="*/ 87 h 90"/>
                <a:gd name="T30" fmla="*/ 45 w 59"/>
                <a:gd name="T31" fmla="*/ 90 h 90"/>
                <a:gd name="T32" fmla="*/ 11 w 59"/>
                <a:gd name="T33" fmla="*/ 54 h 90"/>
                <a:gd name="T34" fmla="*/ 42 w 59"/>
                <a:gd name="T35" fmla="*/ 54 h 90"/>
                <a:gd name="T36" fmla="*/ 42 w 59"/>
                <a:gd name="T37" fmla="*/ 14 h 90"/>
                <a:gd name="T38" fmla="*/ 11 w 59"/>
                <a:gd name="T39" fmla="*/ 5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9" h="90">
                  <a:moveTo>
                    <a:pt x="45" y="90"/>
                  </a:moveTo>
                  <a:cubicBezTo>
                    <a:pt x="43" y="90"/>
                    <a:pt x="42" y="89"/>
                    <a:pt x="42" y="87"/>
                  </a:cubicBezTo>
                  <a:cubicBezTo>
                    <a:pt x="42" y="61"/>
                    <a:pt x="42" y="61"/>
                    <a:pt x="42" y="61"/>
                  </a:cubicBezTo>
                  <a:cubicBezTo>
                    <a:pt x="3" y="61"/>
                    <a:pt x="3" y="61"/>
                    <a:pt x="3" y="61"/>
                  </a:cubicBezTo>
                  <a:cubicBezTo>
                    <a:pt x="2" y="61"/>
                    <a:pt x="1" y="60"/>
                    <a:pt x="0" y="59"/>
                  </a:cubicBezTo>
                  <a:cubicBezTo>
                    <a:pt x="0" y="58"/>
                    <a:pt x="0" y="56"/>
                    <a:pt x="1" y="55"/>
                  </a:cubicBezTo>
                  <a:cubicBezTo>
                    <a:pt x="43" y="2"/>
                    <a:pt x="43" y="2"/>
                    <a:pt x="43" y="2"/>
                  </a:cubicBezTo>
                  <a:cubicBezTo>
                    <a:pt x="44" y="0"/>
                    <a:pt x="45" y="0"/>
                    <a:pt x="47" y="0"/>
                  </a:cubicBezTo>
                  <a:cubicBezTo>
                    <a:pt x="48" y="1"/>
                    <a:pt x="49" y="2"/>
                    <a:pt x="49" y="4"/>
                  </a:cubicBezTo>
                  <a:cubicBezTo>
                    <a:pt x="49" y="54"/>
                    <a:pt x="49" y="54"/>
                    <a:pt x="49" y="54"/>
                  </a:cubicBezTo>
                  <a:cubicBezTo>
                    <a:pt x="56" y="54"/>
                    <a:pt x="56" y="54"/>
                    <a:pt x="56" y="54"/>
                  </a:cubicBezTo>
                  <a:cubicBezTo>
                    <a:pt x="58" y="54"/>
                    <a:pt x="59" y="56"/>
                    <a:pt x="59" y="58"/>
                  </a:cubicBezTo>
                  <a:cubicBezTo>
                    <a:pt x="59" y="60"/>
                    <a:pt x="58" y="61"/>
                    <a:pt x="56" y="61"/>
                  </a:cubicBezTo>
                  <a:cubicBezTo>
                    <a:pt x="49" y="61"/>
                    <a:pt x="49" y="61"/>
                    <a:pt x="49" y="61"/>
                  </a:cubicBezTo>
                  <a:cubicBezTo>
                    <a:pt x="49" y="87"/>
                    <a:pt x="49" y="87"/>
                    <a:pt x="49" y="87"/>
                  </a:cubicBezTo>
                  <a:cubicBezTo>
                    <a:pt x="49" y="89"/>
                    <a:pt x="47" y="90"/>
                    <a:pt x="45" y="90"/>
                  </a:cubicBezTo>
                  <a:close/>
                  <a:moveTo>
                    <a:pt x="11" y="54"/>
                  </a:moveTo>
                  <a:cubicBezTo>
                    <a:pt x="42" y="54"/>
                    <a:pt x="42" y="54"/>
                    <a:pt x="42" y="54"/>
                  </a:cubicBezTo>
                  <a:cubicBezTo>
                    <a:pt x="42" y="14"/>
                    <a:pt x="42" y="14"/>
                    <a:pt x="42" y="14"/>
                  </a:cubicBezTo>
                  <a:lnTo>
                    <a:pt x="11" y="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9" name="Shape10_20200717_154439">
            <a:extLst>
              <a:ext uri="{FF2B5EF4-FFF2-40B4-BE49-F238E27FC236}">
                <a16:creationId xmlns:a16="http://schemas.microsoft.com/office/drawing/2014/main" id="{E36CB19C-D490-D275-3EDC-B38D1BFDB2EE}"/>
              </a:ext>
            </a:extLst>
          </p:cNvPr>
          <p:cNvGrpSpPr>
            <a:grpSpLocks noChangeAspect="1"/>
          </p:cNvGrpSpPr>
          <p:nvPr/>
        </p:nvGrpSpPr>
        <p:grpSpPr>
          <a:xfrm>
            <a:off x="9639328" y="1224590"/>
            <a:ext cx="746682" cy="607116"/>
            <a:chOff x="-3295772" y="2314683"/>
            <a:chExt cx="746682" cy="607116"/>
          </a:xfrm>
          <a:solidFill>
            <a:schemeClr val="accent1"/>
          </a:solidFill>
        </p:grpSpPr>
        <p:sp>
          <p:nvSpPr>
            <p:cNvPr id="167" name="Freeform 558">
              <a:extLst>
                <a:ext uri="{FF2B5EF4-FFF2-40B4-BE49-F238E27FC236}">
                  <a16:creationId xmlns:a16="http://schemas.microsoft.com/office/drawing/2014/main" id="{5FDD841E-2946-23B9-CD75-A8CD9CBE848B}"/>
                </a:ext>
              </a:extLst>
            </p:cNvPr>
            <p:cNvSpPr>
              <a:spLocks/>
            </p:cNvSpPr>
            <p:nvPr/>
          </p:nvSpPr>
          <p:spPr bwMode="auto">
            <a:xfrm>
              <a:off x="-3295772" y="2454250"/>
              <a:ext cx="589671" cy="369852"/>
            </a:xfrm>
            <a:custGeom>
              <a:avLst/>
              <a:gdLst>
                <a:gd name="T0" fmla="*/ 165 w 225"/>
                <a:gd name="T1" fmla="*/ 140 h 140"/>
                <a:gd name="T2" fmla="*/ 9 w 225"/>
                <a:gd name="T3" fmla="*/ 140 h 140"/>
                <a:gd name="T4" fmla="*/ 0 w 225"/>
                <a:gd name="T5" fmla="*/ 130 h 140"/>
                <a:gd name="T6" fmla="*/ 0 w 225"/>
                <a:gd name="T7" fmla="*/ 4 h 140"/>
                <a:gd name="T8" fmla="*/ 3 w 225"/>
                <a:gd name="T9" fmla="*/ 0 h 140"/>
                <a:gd name="T10" fmla="*/ 222 w 225"/>
                <a:gd name="T11" fmla="*/ 0 h 140"/>
                <a:gd name="T12" fmla="*/ 225 w 225"/>
                <a:gd name="T13" fmla="*/ 4 h 140"/>
                <a:gd name="T14" fmla="*/ 225 w 225"/>
                <a:gd name="T15" fmla="*/ 53 h 140"/>
                <a:gd name="T16" fmla="*/ 222 w 225"/>
                <a:gd name="T17" fmla="*/ 56 h 140"/>
                <a:gd name="T18" fmla="*/ 218 w 225"/>
                <a:gd name="T19" fmla="*/ 53 h 140"/>
                <a:gd name="T20" fmla="*/ 218 w 225"/>
                <a:gd name="T21" fmla="*/ 7 h 140"/>
                <a:gd name="T22" fmla="*/ 7 w 225"/>
                <a:gd name="T23" fmla="*/ 7 h 140"/>
                <a:gd name="T24" fmla="*/ 7 w 225"/>
                <a:gd name="T25" fmla="*/ 130 h 140"/>
                <a:gd name="T26" fmla="*/ 9 w 225"/>
                <a:gd name="T27" fmla="*/ 132 h 140"/>
                <a:gd name="T28" fmla="*/ 165 w 225"/>
                <a:gd name="T29" fmla="*/ 132 h 140"/>
                <a:gd name="T30" fmla="*/ 168 w 225"/>
                <a:gd name="T31" fmla="*/ 136 h 140"/>
                <a:gd name="T32" fmla="*/ 165 w 225"/>
                <a:gd name="T33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5" h="140">
                  <a:moveTo>
                    <a:pt x="165" y="140"/>
                  </a:moveTo>
                  <a:cubicBezTo>
                    <a:pt x="9" y="140"/>
                    <a:pt x="9" y="140"/>
                    <a:pt x="9" y="140"/>
                  </a:cubicBezTo>
                  <a:cubicBezTo>
                    <a:pt x="4" y="140"/>
                    <a:pt x="0" y="135"/>
                    <a:pt x="0" y="13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222" y="0"/>
                    <a:pt x="222" y="0"/>
                    <a:pt x="222" y="0"/>
                  </a:cubicBezTo>
                  <a:cubicBezTo>
                    <a:pt x="224" y="0"/>
                    <a:pt x="225" y="2"/>
                    <a:pt x="225" y="4"/>
                  </a:cubicBezTo>
                  <a:cubicBezTo>
                    <a:pt x="225" y="53"/>
                    <a:pt x="225" y="53"/>
                    <a:pt x="225" y="53"/>
                  </a:cubicBezTo>
                  <a:cubicBezTo>
                    <a:pt x="225" y="55"/>
                    <a:pt x="224" y="56"/>
                    <a:pt x="222" y="56"/>
                  </a:cubicBezTo>
                  <a:cubicBezTo>
                    <a:pt x="220" y="56"/>
                    <a:pt x="218" y="55"/>
                    <a:pt x="218" y="53"/>
                  </a:cubicBezTo>
                  <a:cubicBezTo>
                    <a:pt x="218" y="7"/>
                    <a:pt x="218" y="7"/>
                    <a:pt x="218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130"/>
                    <a:pt x="7" y="130"/>
                    <a:pt x="7" y="130"/>
                  </a:cubicBezTo>
                  <a:cubicBezTo>
                    <a:pt x="7" y="131"/>
                    <a:pt x="8" y="132"/>
                    <a:pt x="9" y="132"/>
                  </a:cubicBezTo>
                  <a:cubicBezTo>
                    <a:pt x="165" y="132"/>
                    <a:pt x="165" y="132"/>
                    <a:pt x="165" y="132"/>
                  </a:cubicBezTo>
                  <a:cubicBezTo>
                    <a:pt x="167" y="132"/>
                    <a:pt x="168" y="134"/>
                    <a:pt x="168" y="136"/>
                  </a:cubicBezTo>
                  <a:cubicBezTo>
                    <a:pt x="168" y="138"/>
                    <a:pt x="167" y="140"/>
                    <a:pt x="165" y="1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8" name="Freeform 559">
              <a:extLst>
                <a:ext uri="{FF2B5EF4-FFF2-40B4-BE49-F238E27FC236}">
                  <a16:creationId xmlns:a16="http://schemas.microsoft.com/office/drawing/2014/main" id="{8A4EFD37-7B6D-0B96-A8B6-A398A363A1A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95772" y="2370509"/>
              <a:ext cx="589671" cy="104675"/>
            </a:xfrm>
            <a:custGeom>
              <a:avLst/>
              <a:gdLst>
                <a:gd name="T0" fmla="*/ 222 w 225"/>
                <a:gd name="T1" fmla="*/ 40 h 40"/>
                <a:gd name="T2" fmla="*/ 3 w 225"/>
                <a:gd name="T3" fmla="*/ 40 h 40"/>
                <a:gd name="T4" fmla="*/ 0 w 225"/>
                <a:gd name="T5" fmla="*/ 37 h 40"/>
                <a:gd name="T6" fmla="*/ 0 w 225"/>
                <a:gd name="T7" fmla="*/ 9 h 40"/>
                <a:gd name="T8" fmla="*/ 9 w 225"/>
                <a:gd name="T9" fmla="*/ 0 h 40"/>
                <a:gd name="T10" fmla="*/ 35 w 225"/>
                <a:gd name="T11" fmla="*/ 0 h 40"/>
                <a:gd name="T12" fmla="*/ 39 w 225"/>
                <a:gd name="T13" fmla="*/ 3 h 40"/>
                <a:gd name="T14" fmla="*/ 39 w 225"/>
                <a:gd name="T15" fmla="*/ 9 h 40"/>
                <a:gd name="T16" fmla="*/ 47 w 225"/>
                <a:gd name="T17" fmla="*/ 17 h 40"/>
                <a:gd name="T18" fmla="*/ 55 w 225"/>
                <a:gd name="T19" fmla="*/ 9 h 40"/>
                <a:gd name="T20" fmla="*/ 55 w 225"/>
                <a:gd name="T21" fmla="*/ 3 h 40"/>
                <a:gd name="T22" fmla="*/ 59 w 225"/>
                <a:gd name="T23" fmla="*/ 0 h 40"/>
                <a:gd name="T24" fmla="*/ 166 w 225"/>
                <a:gd name="T25" fmla="*/ 0 h 40"/>
                <a:gd name="T26" fmla="*/ 169 w 225"/>
                <a:gd name="T27" fmla="*/ 3 h 40"/>
                <a:gd name="T28" fmla="*/ 169 w 225"/>
                <a:gd name="T29" fmla="*/ 9 h 40"/>
                <a:gd name="T30" fmla="*/ 178 w 225"/>
                <a:gd name="T31" fmla="*/ 17 h 40"/>
                <a:gd name="T32" fmla="*/ 186 w 225"/>
                <a:gd name="T33" fmla="*/ 9 h 40"/>
                <a:gd name="T34" fmla="*/ 186 w 225"/>
                <a:gd name="T35" fmla="*/ 3 h 40"/>
                <a:gd name="T36" fmla="*/ 190 w 225"/>
                <a:gd name="T37" fmla="*/ 0 h 40"/>
                <a:gd name="T38" fmla="*/ 216 w 225"/>
                <a:gd name="T39" fmla="*/ 0 h 40"/>
                <a:gd name="T40" fmla="*/ 225 w 225"/>
                <a:gd name="T41" fmla="*/ 9 h 40"/>
                <a:gd name="T42" fmla="*/ 225 w 225"/>
                <a:gd name="T43" fmla="*/ 37 h 40"/>
                <a:gd name="T44" fmla="*/ 222 w 225"/>
                <a:gd name="T45" fmla="*/ 40 h 40"/>
                <a:gd name="T46" fmla="*/ 7 w 225"/>
                <a:gd name="T47" fmla="*/ 33 h 40"/>
                <a:gd name="T48" fmla="*/ 218 w 225"/>
                <a:gd name="T49" fmla="*/ 33 h 40"/>
                <a:gd name="T50" fmla="*/ 218 w 225"/>
                <a:gd name="T51" fmla="*/ 9 h 40"/>
                <a:gd name="T52" fmla="*/ 216 w 225"/>
                <a:gd name="T53" fmla="*/ 7 h 40"/>
                <a:gd name="T54" fmla="*/ 193 w 225"/>
                <a:gd name="T55" fmla="*/ 7 h 40"/>
                <a:gd name="T56" fmla="*/ 193 w 225"/>
                <a:gd name="T57" fmla="*/ 9 h 40"/>
                <a:gd name="T58" fmla="*/ 178 w 225"/>
                <a:gd name="T59" fmla="*/ 24 h 40"/>
                <a:gd name="T60" fmla="*/ 162 w 225"/>
                <a:gd name="T61" fmla="*/ 9 h 40"/>
                <a:gd name="T62" fmla="*/ 162 w 225"/>
                <a:gd name="T63" fmla="*/ 7 h 40"/>
                <a:gd name="T64" fmla="*/ 63 w 225"/>
                <a:gd name="T65" fmla="*/ 7 h 40"/>
                <a:gd name="T66" fmla="*/ 63 w 225"/>
                <a:gd name="T67" fmla="*/ 9 h 40"/>
                <a:gd name="T68" fmla="*/ 47 w 225"/>
                <a:gd name="T69" fmla="*/ 24 h 40"/>
                <a:gd name="T70" fmla="*/ 32 w 225"/>
                <a:gd name="T71" fmla="*/ 9 h 40"/>
                <a:gd name="T72" fmla="*/ 32 w 225"/>
                <a:gd name="T73" fmla="*/ 7 h 40"/>
                <a:gd name="T74" fmla="*/ 9 w 225"/>
                <a:gd name="T75" fmla="*/ 7 h 40"/>
                <a:gd name="T76" fmla="*/ 7 w 225"/>
                <a:gd name="T77" fmla="*/ 9 h 40"/>
                <a:gd name="T78" fmla="*/ 7 w 225"/>
                <a:gd name="T79" fmla="*/ 33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25" h="40">
                  <a:moveTo>
                    <a:pt x="222" y="40"/>
                  </a:moveTo>
                  <a:cubicBezTo>
                    <a:pt x="3" y="40"/>
                    <a:pt x="3" y="40"/>
                    <a:pt x="3" y="40"/>
                  </a:cubicBezTo>
                  <a:cubicBezTo>
                    <a:pt x="1" y="40"/>
                    <a:pt x="0" y="39"/>
                    <a:pt x="0" y="37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7" y="0"/>
                    <a:pt x="39" y="1"/>
                    <a:pt x="39" y="3"/>
                  </a:cubicBezTo>
                  <a:cubicBezTo>
                    <a:pt x="39" y="9"/>
                    <a:pt x="39" y="9"/>
                    <a:pt x="39" y="9"/>
                  </a:cubicBezTo>
                  <a:cubicBezTo>
                    <a:pt x="39" y="13"/>
                    <a:pt x="43" y="17"/>
                    <a:pt x="47" y="17"/>
                  </a:cubicBezTo>
                  <a:cubicBezTo>
                    <a:pt x="52" y="17"/>
                    <a:pt x="55" y="13"/>
                    <a:pt x="55" y="9"/>
                  </a:cubicBezTo>
                  <a:cubicBezTo>
                    <a:pt x="55" y="3"/>
                    <a:pt x="55" y="3"/>
                    <a:pt x="55" y="3"/>
                  </a:cubicBezTo>
                  <a:cubicBezTo>
                    <a:pt x="55" y="1"/>
                    <a:pt x="57" y="0"/>
                    <a:pt x="59" y="0"/>
                  </a:cubicBezTo>
                  <a:cubicBezTo>
                    <a:pt x="166" y="0"/>
                    <a:pt x="166" y="0"/>
                    <a:pt x="166" y="0"/>
                  </a:cubicBezTo>
                  <a:cubicBezTo>
                    <a:pt x="168" y="0"/>
                    <a:pt x="169" y="1"/>
                    <a:pt x="169" y="3"/>
                  </a:cubicBezTo>
                  <a:cubicBezTo>
                    <a:pt x="169" y="9"/>
                    <a:pt x="169" y="9"/>
                    <a:pt x="169" y="9"/>
                  </a:cubicBezTo>
                  <a:cubicBezTo>
                    <a:pt x="169" y="13"/>
                    <a:pt x="173" y="17"/>
                    <a:pt x="178" y="17"/>
                  </a:cubicBezTo>
                  <a:cubicBezTo>
                    <a:pt x="182" y="17"/>
                    <a:pt x="186" y="13"/>
                    <a:pt x="186" y="9"/>
                  </a:cubicBezTo>
                  <a:cubicBezTo>
                    <a:pt x="186" y="3"/>
                    <a:pt x="186" y="3"/>
                    <a:pt x="186" y="3"/>
                  </a:cubicBezTo>
                  <a:cubicBezTo>
                    <a:pt x="186" y="1"/>
                    <a:pt x="188" y="0"/>
                    <a:pt x="190" y="0"/>
                  </a:cubicBezTo>
                  <a:cubicBezTo>
                    <a:pt x="216" y="0"/>
                    <a:pt x="216" y="0"/>
                    <a:pt x="216" y="0"/>
                  </a:cubicBezTo>
                  <a:cubicBezTo>
                    <a:pt x="221" y="0"/>
                    <a:pt x="225" y="4"/>
                    <a:pt x="225" y="9"/>
                  </a:cubicBezTo>
                  <a:cubicBezTo>
                    <a:pt x="225" y="37"/>
                    <a:pt x="225" y="37"/>
                    <a:pt x="225" y="37"/>
                  </a:cubicBezTo>
                  <a:cubicBezTo>
                    <a:pt x="225" y="39"/>
                    <a:pt x="224" y="40"/>
                    <a:pt x="222" y="40"/>
                  </a:cubicBezTo>
                  <a:close/>
                  <a:moveTo>
                    <a:pt x="7" y="33"/>
                  </a:moveTo>
                  <a:cubicBezTo>
                    <a:pt x="218" y="33"/>
                    <a:pt x="218" y="33"/>
                    <a:pt x="218" y="33"/>
                  </a:cubicBezTo>
                  <a:cubicBezTo>
                    <a:pt x="218" y="9"/>
                    <a:pt x="218" y="9"/>
                    <a:pt x="218" y="9"/>
                  </a:cubicBezTo>
                  <a:cubicBezTo>
                    <a:pt x="218" y="8"/>
                    <a:pt x="217" y="7"/>
                    <a:pt x="216" y="7"/>
                  </a:cubicBezTo>
                  <a:cubicBezTo>
                    <a:pt x="193" y="7"/>
                    <a:pt x="193" y="7"/>
                    <a:pt x="193" y="7"/>
                  </a:cubicBezTo>
                  <a:cubicBezTo>
                    <a:pt x="193" y="9"/>
                    <a:pt x="193" y="9"/>
                    <a:pt x="193" y="9"/>
                  </a:cubicBezTo>
                  <a:cubicBezTo>
                    <a:pt x="193" y="17"/>
                    <a:pt x="186" y="24"/>
                    <a:pt x="178" y="24"/>
                  </a:cubicBezTo>
                  <a:cubicBezTo>
                    <a:pt x="169" y="24"/>
                    <a:pt x="162" y="17"/>
                    <a:pt x="162" y="9"/>
                  </a:cubicBezTo>
                  <a:cubicBezTo>
                    <a:pt x="162" y="7"/>
                    <a:pt x="162" y="7"/>
                    <a:pt x="162" y="7"/>
                  </a:cubicBezTo>
                  <a:cubicBezTo>
                    <a:pt x="63" y="7"/>
                    <a:pt x="63" y="7"/>
                    <a:pt x="63" y="7"/>
                  </a:cubicBezTo>
                  <a:cubicBezTo>
                    <a:pt x="63" y="9"/>
                    <a:pt x="63" y="9"/>
                    <a:pt x="63" y="9"/>
                  </a:cubicBezTo>
                  <a:cubicBezTo>
                    <a:pt x="63" y="17"/>
                    <a:pt x="56" y="24"/>
                    <a:pt x="47" y="24"/>
                  </a:cubicBezTo>
                  <a:cubicBezTo>
                    <a:pt x="39" y="24"/>
                    <a:pt x="32" y="17"/>
                    <a:pt x="32" y="9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8" y="7"/>
                    <a:pt x="7" y="8"/>
                    <a:pt x="7" y="9"/>
                  </a:cubicBezTo>
                  <a:lnTo>
                    <a:pt x="7" y="3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9" name="Freeform 560">
              <a:extLst>
                <a:ext uri="{FF2B5EF4-FFF2-40B4-BE49-F238E27FC236}">
                  <a16:creationId xmlns:a16="http://schemas.microsoft.com/office/drawing/2014/main" id="{A283F706-8BF8-5DD0-2AE0-2BA428C49F8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12032" y="2314683"/>
              <a:ext cx="80252" cy="118632"/>
            </a:xfrm>
            <a:custGeom>
              <a:avLst/>
              <a:gdLst>
                <a:gd name="T0" fmla="*/ 15 w 31"/>
                <a:gd name="T1" fmla="*/ 45 h 45"/>
                <a:gd name="T2" fmla="*/ 0 w 31"/>
                <a:gd name="T3" fmla="*/ 30 h 45"/>
                <a:gd name="T4" fmla="*/ 0 w 31"/>
                <a:gd name="T5" fmla="*/ 15 h 45"/>
                <a:gd name="T6" fmla="*/ 15 w 31"/>
                <a:gd name="T7" fmla="*/ 0 h 45"/>
                <a:gd name="T8" fmla="*/ 31 w 31"/>
                <a:gd name="T9" fmla="*/ 15 h 45"/>
                <a:gd name="T10" fmla="*/ 31 w 31"/>
                <a:gd name="T11" fmla="*/ 30 h 45"/>
                <a:gd name="T12" fmla="*/ 15 w 31"/>
                <a:gd name="T13" fmla="*/ 45 h 45"/>
                <a:gd name="T14" fmla="*/ 15 w 31"/>
                <a:gd name="T15" fmla="*/ 7 h 45"/>
                <a:gd name="T16" fmla="*/ 7 w 31"/>
                <a:gd name="T17" fmla="*/ 15 h 45"/>
                <a:gd name="T18" fmla="*/ 7 w 31"/>
                <a:gd name="T19" fmla="*/ 30 h 45"/>
                <a:gd name="T20" fmla="*/ 15 w 31"/>
                <a:gd name="T21" fmla="*/ 38 h 45"/>
                <a:gd name="T22" fmla="*/ 23 w 31"/>
                <a:gd name="T23" fmla="*/ 30 h 45"/>
                <a:gd name="T24" fmla="*/ 23 w 31"/>
                <a:gd name="T25" fmla="*/ 15 h 45"/>
                <a:gd name="T26" fmla="*/ 15 w 31"/>
                <a:gd name="T27" fmla="*/ 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1" h="45">
                  <a:moveTo>
                    <a:pt x="15" y="45"/>
                  </a:moveTo>
                  <a:cubicBezTo>
                    <a:pt x="7" y="45"/>
                    <a:pt x="0" y="38"/>
                    <a:pt x="0" y="30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24" y="0"/>
                    <a:pt x="31" y="7"/>
                    <a:pt x="31" y="15"/>
                  </a:cubicBezTo>
                  <a:cubicBezTo>
                    <a:pt x="31" y="30"/>
                    <a:pt x="31" y="30"/>
                    <a:pt x="31" y="30"/>
                  </a:cubicBezTo>
                  <a:cubicBezTo>
                    <a:pt x="31" y="38"/>
                    <a:pt x="24" y="45"/>
                    <a:pt x="15" y="45"/>
                  </a:cubicBezTo>
                  <a:close/>
                  <a:moveTo>
                    <a:pt x="15" y="7"/>
                  </a:moveTo>
                  <a:cubicBezTo>
                    <a:pt x="11" y="7"/>
                    <a:pt x="7" y="11"/>
                    <a:pt x="7" y="15"/>
                  </a:cubicBezTo>
                  <a:cubicBezTo>
                    <a:pt x="7" y="30"/>
                    <a:pt x="7" y="30"/>
                    <a:pt x="7" y="30"/>
                  </a:cubicBezTo>
                  <a:cubicBezTo>
                    <a:pt x="7" y="34"/>
                    <a:pt x="11" y="38"/>
                    <a:pt x="15" y="38"/>
                  </a:cubicBezTo>
                  <a:cubicBezTo>
                    <a:pt x="20" y="38"/>
                    <a:pt x="23" y="34"/>
                    <a:pt x="23" y="30"/>
                  </a:cubicBezTo>
                  <a:cubicBezTo>
                    <a:pt x="23" y="15"/>
                    <a:pt x="23" y="15"/>
                    <a:pt x="23" y="15"/>
                  </a:cubicBezTo>
                  <a:cubicBezTo>
                    <a:pt x="23" y="11"/>
                    <a:pt x="20" y="7"/>
                    <a:pt x="15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0" name="Freeform 561">
              <a:extLst>
                <a:ext uri="{FF2B5EF4-FFF2-40B4-BE49-F238E27FC236}">
                  <a16:creationId xmlns:a16="http://schemas.microsoft.com/office/drawing/2014/main" id="{DADA574E-375A-99F7-3386-AEA7C2FFD8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870093" y="2314683"/>
              <a:ext cx="80252" cy="118632"/>
            </a:xfrm>
            <a:custGeom>
              <a:avLst/>
              <a:gdLst>
                <a:gd name="T0" fmla="*/ 16 w 31"/>
                <a:gd name="T1" fmla="*/ 45 h 45"/>
                <a:gd name="T2" fmla="*/ 0 w 31"/>
                <a:gd name="T3" fmla="*/ 30 h 45"/>
                <a:gd name="T4" fmla="*/ 0 w 31"/>
                <a:gd name="T5" fmla="*/ 15 h 45"/>
                <a:gd name="T6" fmla="*/ 16 w 31"/>
                <a:gd name="T7" fmla="*/ 0 h 45"/>
                <a:gd name="T8" fmla="*/ 31 w 31"/>
                <a:gd name="T9" fmla="*/ 15 h 45"/>
                <a:gd name="T10" fmla="*/ 31 w 31"/>
                <a:gd name="T11" fmla="*/ 30 h 45"/>
                <a:gd name="T12" fmla="*/ 16 w 31"/>
                <a:gd name="T13" fmla="*/ 45 h 45"/>
                <a:gd name="T14" fmla="*/ 16 w 31"/>
                <a:gd name="T15" fmla="*/ 7 h 45"/>
                <a:gd name="T16" fmla="*/ 7 w 31"/>
                <a:gd name="T17" fmla="*/ 15 h 45"/>
                <a:gd name="T18" fmla="*/ 7 w 31"/>
                <a:gd name="T19" fmla="*/ 30 h 45"/>
                <a:gd name="T20" fmla="*/ 16 w 31"/>
                <a:gd name="T21" fmla="*/ 38 h 45"/>
                <a:gd name="T22" fmla="*/ 24 w 31"/>
                <a:gd name="T23" fmla="*/ 30 h 45"/>
                <a:gd name="T24" fmla="*/ 24 w 31"/>
                <a:gd name="T25" fmla="*/ 15 h 45"/>
                <a:gd name="T26" fmla="*/ 16 w 31"/>
                <a:gd name="T27" fmla="*/ 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1" h="45">
                  <a:moveTo>
                    <a:pt x="16" y="45"/>
                  </a:moveTo>
                  <a:cubicBezTo>
                    <a:pt x="7" y="45"/>
                    <a:pt x="0" y="38"/>
                    <a:pt x="0" y="30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24" y="0"/>
                    <a:pt x="31" y="7"/>
                    <a:pt x="31" y="15"/>
                  </a:cubicBezTo>
                  <a:cubicBezTo>
                    <a:pt x="31" y="30"/>
                    <a:pt x="31" y="30"/>
                    <a:pt x="31" y="30"/>
                  </a:cubicBezTo>
                  <a:cubicBezTo>
                    <a:pt x="31" y="38"/>
                    <a:pt x="24" y="45"/>
                    <a:pt x="16" y="45"/>
                  </a:cubicBezTo>
                  <a:close/>
                  <a:moveTo>
                    <a:pt x="16" y="7"/>
                  </a:moveTo>
                  <a:cubicBezTo>
                    <a:pt x="11" y="7"/>
                    <a:pt x="7" y="11"/>
                    <a:pt x="7" y="15"/>
                  </a:cubicBezTo>
                  <a:cubicBezTo>
                    <a:pt x="7" y="30"/>
                    <a:pt x="7" y="30"/>
                    <a:pt x="7" y="30"/>
                  </a:cubicBezTo>
                  <a:cubicBezTo>
                    <a:pt x="7" y="34"/>
                    <a:pt x="11" y="38"/>
                    <a:pt x="16" y="38"/>
                  </a:cubicBezTo>
                  <a:cubicBezTo>
                    <a:pt x="20" y="38"/>
                    <a:pt x="24" y="34"/>
                    <a:pt x="24" y="30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1"/>
                    <a:pt x="20" y="7"/>
                    <a:pt x="16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1" name="Freeform 562">
              <a:extLst>
                <a:ext uri="{FF2B5EF4-FFF2-40B4-BE49-F238E27FC236}">
                  <a16:creationId xmlns:a16="http://schemas.microsoft.com/office/drawing/2014/main" id="{8D3D3A78-2ED2-46D1-BAED-DA72B25C8F4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877072" y="2590326"/>
              <a:ext cx="327982" cy="331473"/>
            </a:xfrm>
            <a:custGeom>
              <a:avLst/>
              <a:gdLst>
                <a:gd name="T0" fmla="*/ 63 w 125"/>
                <a:gd name="T1" fmla="*/ 126 h 126"/>
                <a:gd name="T2" fmla="*/ 0 w 125"/>
                <a:gd name="T3" fmla="*/ 63 h 126"/>
                <a:gd name="T4" fmla="*/ 63 w 125"/>
                <a:gd name="T5" fmla="*/ 0 h 126"/>
                <a:gd name="T6" fmla="*/ 125 w 125"/>
                <a:gd name="T7" fmla="*/ 63 h 126"/>
                <a:gd name="T8" fmla="*/ 63 w 125"/>
                <a:gd name="T9" fmla="*/ 126 h 126"/>
                <a:gd name="T10" fmla="*/ 63 w 125"/>
                <a:gd name="T11" fmla="*/ 7 h 126"/>
                <a:gd name="T12" fmla="*/ 7 w 125"/>
                <a:gd name="T13" fmla="*/ 63 h 126"/>
                <a:gd name="T14" fmla="*/ 63 w 125"/>
                <a:gd name="T15" fmla="*/ 118 h 126"/>
                <a:gd name="T16" fmla="*/ 118 w 125"/>
                <a:gd name="T17" fmla="*/ 63 h 126"/>
                <a:gd name="T18" fmla="*/ 63 w 125"/>
                <a:gd name="T19" fmla="*/ 7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5" h="126">
                  <a:moveTo>
                    <a:pt x="63" y="126"/>
                  </a:moveTo>
                  <a:cubicBezTo>
                    <a:pt x="28" y="126"/>
                    <a:pt x="0" y="97"/>
                    <a:pt x="0" y="63"/>
                  </a:cubicBezTo>
                  <a:cubicBezTo>
                    <a:pt x="0" y="28"/>
                    <a:pt x="28" y="0"/>
                    <a:pt x="63" y="0"/>
                  </a:cubicBezTo>
                  <a:cubicBezTo>
                    <a:pt x="97" y="0"/>
                    <a:pt x="125" y="28"/>
                    <a:pt x="125" y="63"/>
                  </a:cubicBezTo>
                  <a:cubicBezTo>
                    <a:pt x="125" y="97"/>
                    <a:pt x="97" y="126"/>
                    <a:pt x="63" y="126"/>
                  </a:cubicBezTo>
                  <a:close/>
                  <a:moveTo>
                    <a:pt x="63" y="7"/>
                  </a:moveTo>
                  <a:cubicBezTo>
                    <a:pt x="32" y="7"/>
                    <a:pt x="7" y="32"/>
                    <a:pt x="7" y="63"/>
                  </a:cubicBezTo>
                  <a:cubicBezTo>
                    <a:pt x="7" y="93"/>
                    <a:pt x="32" y="118"/>
                    <a:pt x="63" y="118"/>
                  </a:cubicBezTo>
                  <a:cubicBezTo>
                    <a:pt x="93" y="118"/>
                    <a:pt x="118" y="93"/>
                    <a:pt x="118" y="63"/>
                  </a:cubicBezTo>
                  <a:cubicBezTo>
                    <a:pt x="118" y="32"/>
                    <a:pt x="93" y="7"/>
                    <a:pt x="63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2" name="Freeform 563">
              <a:extLst>
                <a:ext uri="{FF2B5EF4-FFF2-40B4-BE49-F238E27FC236}">
                  <a16:creationId xmlns:a16="http://schemas.microsoft.com/office/drawing/2014/main" id="{3338A5E8-35D5-9ACF-953F-7280496F02AF}"/>
                </a:ext>
              </a:extLst>
            </p:cNvPr>
            <p:cNvSpPr>
              <a:spLocks/>
            </p:cNvSpPr>
            <p:nvPr/>
          </p:nvSpPr>
          <p:spPr bwMode="auto">
            <a:xfrm>
              <a:off x="-2821245" y="2684535"/>
              <a:ext cx="104675" cy="139567"/>
            </a:xfrm>
            <a:custGeom>
              <a:avLst/>
              <a:gdLst>
                <a:gd name="T0" fmla="*/ 36 w 39"/>
                <a:gd name="T1" fmla="*/ 53 h 53"/>
                <a:gd name="T2" fmla="*/ 4 w 39"/>
                <a:gd name="T3" fmla="*/ 53 h 53"/>
                <a:gd name="T4" fmla="*/ 0 w 39"/>
                <a:gd name="T5" fmla="*/ 50 h 53"/>
                <a:gd name="T6" fmla="*/ 2 w 39"/>
                <a:gd name="T7" fmla="*/ 46 h 53"/>
                <a:gd name="T8" fmla="*/ 26 w 39"/>
                <a:gd name="T9" fmla="*/ 30 h 53"/>
                <a:gd name="T10" fmla="*/ 32 w 39"/>
                <a:gd name="T11" fmla="*/ 19 h 53"/>
                <a:gd name="T12" fmla="*/ 32 w 39"/>
                <a:gd name="T13" fmla="*/ 19 h 53"/>
                <a:gd name="T14" fmla="*/ 20 w 39"/>
                <a:gd name="T15" fmla="*/ 8 h 53"/>
                <a:gd name="T16" fmla="*/ 11 w 39"/>
                <a:gd name="T17" fmla="*/ 11 h 53"/>
                <a:gd name="T18" fmla="*/ 7 w 39"/>
                <a:gd name="T19" fmla="*/ 20 h 53"/>
                <a:gd name="T20" fmla="*/ 4 w 39"/>
                <a:gd name="T21" fmla="*/ 24 h 53"/>
                <a:gd name="T22" fmla="*/ 0 w 39"/>
                <a:gd name="T23" fmla="*/ 20 h 53"/>
                <a:gd name="T24" fmla="*/ 6 w 39"/>
                <a:gd name="T25" fmla="*/ 6 h 53"/>
                <a:gd name="T26" fmla="*/ 21 w 39"/>
                <a:gd name="T27" fmla="*/ 1 h 53"/>
                <a:gd name="T28" fmla="*/ 39 w 39"/>
                <a:gd name="T29" fmla="*/ 18 h 53"/>
                <a:gd name="T30" fmla="*/ 39 w 39"/>
                <a:gd name="T31" fmla="*/ 19 h 53"/>
                <a:gd name="T32" fmla="*/ 30 w 39"/>
                <a:gd name="T33" fmla="*/ 36 h 53"/>
                <a:gd name="T34" fmla="*/ 16 w 39"/>
                <a:gd name="T35" fmla="*/ 46 h 53"/>
                <a:gd name="T36" fmla="*/ 36 w 39"/>
                <a:gd name="T37" fmla="*/ 46 h 53"/>
                <a:gd name="T38" fmla="*/ 39 w 39"/>
                <a:gd name="T39" fmla="*/ 49 h 53"/>
                <a:gd name="T40" fmla="*/ 36 w 39"/>
                <a:gd name="T41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9" h="53">
                  <a:moveTo>
                    <a:pt x="36" y="53"/>
                  </a:moveTo>
                  <a:cubicBezTo>
                    <a:pt x="4" y="53"/>
                    <a:pt x="4" y="53"/>
                    <a:pt x="4" y="53"/>
                  </a:cubicBezTo>
                  <a:cubicBezTo>
                    <a:pt x="2" y="53"/>
                    <a:pt x="1" y="52"/>
                    <a:pt x="0" y="50"/>
                  </a:cubicBezTo>
                  <a:cubicBezTo>
                    <a:pt x="0" y="49"/>
                    <a:pt x="0" y="47"/>
                    <a:pt x="2" y="46"/>
                  </a:cubicBezTo>
                  <a:cubicBezTo>
                    <a:pt x="26" y="30"/>
                    <a:pt x="26" y="30"/>
                    <a:pt x="26" y="30"/>
                  </a:cubicBezTo>
                  <a:cubicBezTo>
                    <a:pt x="30" y="28"/>
                    <a:pt x="32" y="23"/>
                    <a:pt x="32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1" y="13"/>
                    <a:pt x="26" y="8"/>
                    <a:pt x="20" y="8"/>
                  </a:cubicBezTo>
                  <a:cubicBezTo>
                    <a:pt x="17" y="8"/>
                    <a:pt x="14" y="9"/>
                    <a:pt x="11" y="11"/>
                  </a:cubicBezTo>
                  <a:cubicBezTo>
                    <a:pt x="9" y="13"/>
                    <a:pt x="7" y="17"/>
                    <a:pt x="7" y="20"/>
                  </a:cubicBezTo>
                  <a:cubicBezTo>
                    <a:pt x="7" y="22"/>
                    <a:pt x="6" y="24"/>
                    <a:pt x="4" y="24"/>
                  </a:cubicBezTo>
                  <a:cubicBezTo>
                    <a:pt x="2" y="24"/>
                    <a:pt x="0" y="22"/>
                    <a:pt x="0" y="20"/>
                  </a:cubicBezTo>
                  <a:cubicBezTo>
                    <a:pt x="0" y="15"/>
                    <a:pt x="2" y="9"/>
                    <a:pt x="6" y="6"/>
                  </a:cubicBezTo>
                  <a:cubicBezTo>
                    <a:pt x="10" y="2"/>
                    <a:pt x="15" y="0"/>
                    <a:pt x="21" y="1"/>
                  </a:cubicBezTo>
                  <a:cubicBezTo>
                    <a:pt x="30" y="1"/>
                    <a:pt x="38" y="9"/>
                    <a:pt x="39" y="18"/>
                  </a:cubicBezTo>
                  <a:cubicBezTo>
                    <a:pt x="39" y="18"/>
                    <a:pt x="39" y="19"/>
                    <a:pt x="39" y="19"/>
                  </a:cubicBezTo>
                  <a:cubicBezTo>
                    <a:pt x="39" y="26"/>
                    <a:pt x="36" y="32"/>
                    <a:pt x="30" y="36"/>
                  </a:cubicBezTo>
                  <a:cubicBezTo>
                    <a:pt x="16" y="46"/>
                    <a:pt x="16" y="46"/>
                    <a:pt x="16" y="46"/>
                  </a:cubicBezTo>
                  <a:cubicBezTo>
                    <a:pt x="36" y="46"/>
                    <a:pt x="36" y="46"/>
                    <a:pt x="36" y="46"/>
                  </a:cubicBezTo>
                  <a:cubicBezTo>
                    <a:pt x="38" y="46"/>
                    <a:pt x="39" y="47"/>
                    <a:pt x="39" y="49"/>
                  </a:cubicBezTo>
                  <a:cubicBezTo>
                    <a:pt x="39" y="51"/>
                    <a:pt x="38" y="53"/>
                    <a:pt x="36" y="5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3" name="Freeform 564">
              <a:extLst>
                <a:ext uri="{FF2B5EF4-FFF2-40B4-BE49-F238E27FC236}">
                  <a16:creationId xmlns:a16="http://schemas.microsoft.com/office/drawing/2014/main" id="{80ED1A34-0612-6381-7599-DEC90CBED7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702613" y="2684535"/>
              <a:ext cx="101187" cy="139567"/>
            </a:xfrm>
            <a:custGeom>
              <a:avLst/>
              <a:gdLst>
                <a:gd name="T0" fmla="*/ 27 w 38"/>
                <a:gd name="T1" fmla="*/ 53 h 53"/>
                <a:gd name="T2" fmla="*/ 23 w 38"/>
                <a:gd name="T3" fmla="*/ 49 h 53"/>
                <a:gd name="T4" fmla="*/ 23 w 38"/>
                <a:gd name="T5" fmla="*/ 37 h 53"/>
                <a:gd name="T6" fmla="*/ 4 w 38"/>
                <a:gd name="T7" fmla="*/ 37 h 53"/>
                <a:gd name="T8" fmla="*/ 1 w 38"/>
                <a:gd name="T9" fmla="*/ 35 h 53"/>
                <a:gd name="T10" fmla="*/ 1 w 38"/>
                <a:gd name="T11" fmla="*/ 31 h 53"/>
                <a:gd name="T12" fmla="*/ 24 w 38"/>
                <a:gd name="T13" fmla="*/ 2 h 53"/>
                <a:gd name="T14" fmla="*/ 28 w 38"/>
                <a:gd name="T15" fmla="*/ 1 h 53"/>
                <a:gd name="T16" fmla="*/ 30 w 38"/>
                <a:gd name="T17" fmla="*/ 4 h 53"/>
                <a:gd name="T18" fmla="*/ 30 w 38"/>
                <a:gd name="T19" fmla="*/ 30 h 53"/>
                <a:gd name="T20" fmla="*/ 35 w 38"/>
                <a:gd name="T21" fmla="*/ 30 h 53"/>
                <a:gd name="T22" fmla="*/ 38 w 38"/>
                <a:gd name="T23" fmla="*/ 33 h 53"/>
                <a:gd name="T24" fmla="*/ 35 w 38"/>
                <a:gd name="T25" fmla="*/ 37 h 53"/>
                <a:gd name="T26" fmla="*/ 30 w 38"/>
                <a:gd name="T27" fmla="*/ 37 h 53"/>
                <a:gd name="T28" fmla="*/ 30 w 38"/>
                <a:gd name="T29" fmla="*/ 49 h 53"/>
                <a:gd name="T30" fmla="*/ 27 w 38"/>
                <a:gd name="T31" fmla="*/ 53 h 53"/>
                <a:gd name="T32" fmla="*/ 11 w 38"/>
                <a:gd name="T33" fmla="*/ 30 h 53"/>
                <a:gd name="T34" fmla="*/ 23 w 38"/>
                <a:gd name="T35" fmla="*/ 30 h 53"/>
                <a:gd name="T36" fmla="*/ 23 w 38"/>
                <a:gd name="T37" fmla="*/ 15 h 53"/>
                <a:gd name="T38" fmla="*/ 11 w 38"/>
                <a:gd name="T39" fmla="*/ 3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8" h="53">
                  <a:moveTo>
                    <a:pt x="27" y="53"/>
                  </a:moveTo>
                  <a:cubicBezTo>
                    <a:pt x="25" y="53"/>
                    <a:pt x="23" y="51"/>
                    <a:pt x="23" y="49"/>
                  </a:cubicBezTo>
                  <a:cubicBezTo>
                    <a:pt x="23" y="37"/>
                    <a:pt x="23" y="37"/>
                    <a:pt x="23" y="37"/>
                  </a:cubicBezTo>
                  <a:cubicBezTo>
                    <a:pt x="4" y="37"/>
                    <a:pt x="4" y="37"/>
                    <a:pt x="4" y="37"/>
                  </a:cubicBezTo>
                  <a:cubicBezTo>
                    <a:pt x="3" y="37"/>
                    <a:pt x="1" y="36"/>
                    <a:pt x="1" y="35"/>
                  </a:cubicBezTo>
                  <a:cubicBezTo>
                    <a:pt x="0" y="34"/>
                    <a:pt x="0" y="32"/>
                    <a:pt x="1" y="31"/>
                  </a:cubicBezTo>
                  <a:cubicBezTo>
                    <a:pt x="24" y="2"/>
                    <a:pt x="24" y="2"/>
                    <a:pt x="24" y="2"/>
                  </a:cubicBezTo>
                  <a:cubicBezTo>
                    <a:pt x="25" y="1"/>
                    <a:pt x="27" y="0"/>
                    <a:pt x="28" y="1"/>
                  </a:cubicBezTo>
                  <a:cubicBezTo>
                    <a:pt x="29" y="1"/>
                    <a:pt x="30" y="3"/>
                    <a:pt x="30" y="4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7" y="30"/>
                    <a:pt x="38" y="31"/>
                    <a:pt x="38" y="33"/>
                  </a:cubicBezTo>
                  <a:cubicBezTo>
                    <a:pt x="38" y="35"/>
                    <a:pt x="37" y="37"/>
                    <a:pt x="35" y="37"/>
                  </a:cubicBezTo>
                  <a:cubicBezTo>
                    <a:pt x="30" y="37"/>
                    <a:pt x="30" y="37"/>
                    <a:pt x="30" y="37"/>
                  </a:cubicBezTo>
                  <a:cubicBezTo>
                    <a:pt x="30" y="49"/>
                    <a:pt x="30" y="49"/>
                    <a:pt x="30" y="49"/>
                  </a:cubicBezTo>
                  <a:cubicBezTo>
                    <a:pt x="30" y="51"/>
                    <a:pt x="29" y="53"/>
                    <a:pt x="27" y="53"/>
                  </a:cubicBezTo>
                  <a:close/>
                  <a:moveTo>
                    <a:pt x="11" y="30"/>
                  </a:moveTo>
                  <a:cubicBezTo>
                    <a:pt x="23" y="30"/>
                    <a:pt x="23" y="30"/>
                    <a:pt x="23" y="30"/>
                  </a:cubicBezTo>
                  <a:cubicBezTo>
                    <a:pt x="23" y="15"/>
                    <a:pt x="23" y="15"/>
                    <a:pt x="23" y="15"/>
                  </a:cubicBezTo>
                  <a:lnTo>
                    <a:pt x="11" y="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0" name="Shape11_20200717_154439">
            <a:extLst>
              <a:ext uri="{FF2B5EF4-FFF2-40B4-BE49-F238E27FC236}">
                <a16:creationId xmlns:a16="http://schemas.microsoft.com/office/drawing/2014/main" id="{A72894A9-A586-51FF-CD17-4A749DCFC71D}"/>
              </a:ext>
            </a:extLst>
          </p:cNvPr>
          <p:cNvGrpSpPr>
            <a:grpSpLocks noChangeAspect="1"/>
          </p:cNvGrpSpPr>
          <p:nvPr/>
        </p:nvGrpSpPr>
        <p:grpSpPr>
          <a:xfrm>
            <a:off x="617319" y="2552622"/>
            <a:ext cx="512910" cy="603627"/>
            <a:chOff x="-717275" y="2314683"/>
            <a:chExt cx="512910" cy="603627"/>
          </a:xfrm>
          <a:solidFill>
            <a:schemeClr val="accent1"/>
          </a:solidFill>
        </p:grpSpPr>
        <p:sp>
          <p:nvSpPr>
            <p:cNvPr id="149" name="Freeform 565">
              <a:extLst>
                <a:ext uri="{FF2B5EF4-FFF2-40B4-BE49-F238E27FC236}">
                  <a16:creationId xmlns:a16="http://schemas.microsoft.com/office/drawing/2014/main" id="{805E108C-A848-AC05-033E-DEB4DD67A65D}"/>
                </a:ext>
              </a:extLst>
            </p:cNvPr>
            <p:cNvSpPr>
              <a:spLocks/>
            </p:cNvSpPr>
            <p:nvPr/>
          </p:nvSpPr>
          <p:spPr bwMode="auto">
            <a:xfrm>
              <a:off x="-469542" y="2443781"/>
              <a:ext cx="17447" cy="24425"/>
            </a:xfrm>
            <a:custGeom>
              <a:avLst/>
              <a:gdLst>
                <a:gd name="T0" fmla="*/ 4 w 7"/>
                <a:gd name="T1" fmla="*/ 10 h 10"/>
                <a:gd name="T2" fmla="*/ 0 w 7"/>
                <a:gd name="T3" fmla="*/ 7 h 10"/>
                <a:gd name="T4" fmla="*/ 0 w 7"/>
                <a:gd name="T5" fmla="*/ 3 h 10"/>
                <a:gd name="T6" fmla="*/ 4 w 7"/>
                <a:gd name="T7" fmla="*/ 0 h 10"/>
                <a:gd name="T8" fmla="*/ 7 w 7"/>
                <a:gd name="T9" fmla="*/ 3 h 10"/>
                <a:gd name="T10" fmla="*/ 7 w 7"/>
                <a:gd name="T11" fmla="*/ 7 h 10"/>
                <a:gd name="T12" fmla="*/ 4 w 7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0">
                  <a:moveTo>
                    <a:pt x="4" y="10"/>
                  </a:moveTo>
                  <a:cubicBezTo>
                    <a:pt x="2" y="10"/>
                    <a:pt x="0" y="9"/>
                    <a:pt x="0" y="7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" y="0"/>
                    <a:pt x="7" y="1"/>
                    <a:pt x="7" y="3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9"/>
                    <a:pt x="6" y="10"/>
                    <a:pt x="4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0" name="Freeform 566">
              <a:extLst>
                <a:ext uri="{FF2B5EF4-FFF2-40B4-BE49-F238E27FC236}">
                  <a16:creationId xmlns:a16="http://schemas.microsoft.com/office/drawing/2014/main" id="{A1F9E7D3-20EA-3B9E-F1E0-F2F98F480A11}"/>
                </a:ext>
              </a:extLst>
            </p:cNvPr>
            <p:cNvSpPr>
              <a:spLocks/>
            </p:cNvSpPr>
            <p:nvPr/>
          </p:nvSpPr>
          <p:spPr bwMode="auto">
            <a:xfrm>
              <a:off x="-577708" y="2468206"/>
              <a:ext cx="27913" cy="27913"/>
            </a:xfrm>
            <a:custGeom>
              <a:avLst/>
              <a:gdLst>
                <a:gd name="T0" fmla="*/ 6 w 10"/>
                <a:gd name="T1" fmla="*/ 10 h 10"/>
                <a:gd name="T2" fmla="*/ 3 w 10"/>
                <a:gd name="T3" fmla="*/ 9 h 10"/>
                <a:gd name="T4" fmla="*/ 1 w 10"/>
                <a:gd name="T5" fmla="*/ 6 h 10"/>
                <a:gd name="T6" fmla="*/ 3 w 10"/>
                <a:gd name="T7" fmla="*/ 1 h 10"/>
                <a:gd name="T8" fmla="*/ 8 w 10"/>
                <a:gd name="T9" fmla="*/ 2 h 10"/>
                <a:gd name="T10" fmla="*/ 9 w 10"/>
                <a:gd name="T11" fmla="*/ 5 h 10"/>
                <a:gd name="T12" fmla="*/ 8 w 10"/>
                <a:gd name="T13" fmla="*/ 10 h 10"/>
                <a:gd name="T14" fmla="*/ 6 w 10"/>
                <a:gd name="T1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10">
                  <a:moveTo>
                    <a:pt x="6" y="10"/>
                  </a:moveTo>
                  <a:cubicBezTo>
                    <a:pt x="5" y="10"/>
                    <a:pt x="4" y="10"/>
                    <a:pt x="3" y="9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4"/>
                    <a:pt x="1" y="2"/>
                    <a:pt x="3" y="1"/>
                  </a:cubicBezTo>
                  <a:cubicBezTo>
                    <a:pt x="4" y="0"/>
                    <a:pt x="7" y="0"/>
                    <a:pt x="8" y="2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7"/>
                    <a:pt x="10" y="9"/>
                    <a:pt x="8" y="10"/>
                  </a:cubicBezTo>
                  <a:cubicBezTo>
                    <a:pt x="7" y="10"/>
                    <a:pt x="7" y="10"/>
                    <a:pt x="6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1" name="Freeform 567">
              <a:extLst>
                <a:ext uri="{FF2B5EF4-FFF2-40B4-BE49-F238E27FC236}">
                  <a16:creationId xmlns:a16="http://schemas.microsoft.com/office/drawing/2014/main" id="{F77C885E-1F3F-397D-0E15-137A0B12D836}"/>
                </a:ext>
              </a:extLst>
            </p:cNvPr>
            <p:cNvSpPr>
              <a:spLocks/>
            </p:cNvSpPr>
            <p:nvPr/>
          </p:nvSpPr>
          <p:spPr bwMode="auto">
            <a:xfrm>
              <a:off x="-654470" y="2544968"/>
              <a:ext cx="27913" cy="24425"/>
            </a:xfrm>
            <a:custGeom>
              <a:avLst/>
              <a:gdLst>
                <a:gd name="T0" fmla="*/ 7 w 11"/>
                <a:gd name="T1" fmla="*/ 9 h 9"/>
                <a:gd name="T2" fmla="*/ 5 w 11"/>
                <a:gd name="T3" fmla="*/ 9 h 9"/>
                <a:gd name="T4" fmla="*/ 2 w 11"/>
                <a:gd name="T5" fmla="*/ 7 h 9"/>
                <a:gd name="T6" fmla="*/ 1 w 11"/>
                <a:gd name="T7" fmla="*/ 2 h 9"/>
                <a:gd name="T8" fmla="*/ 6 w 11"/>
                <a:gd name="T9" fmla="*/ 1 h 9"/>
                <a:gd name="T10" fmla="*/ 9 w 11"/>
                <a:gd name="T11" fmla="*/ 3 h 9"/>
                <a:gd name="T12" fmla="*/ 10 w 11"/>
                <a:gd name="T13" fmla="*/ 8 h 9"/>
                <a:gd name="T14" fmla="*/ 7 w 11"/>
                <a:gd name="T1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9">
                  <a:moveTo>
                    <a:pt x="7" y="9"/>
                  </a:moveTo>
                  <a:cubicBezTo>
                    <a:pt x="6" y="9"/>
                    <a:pt x="6" y="9"/>
                    <a:pt x="5" y="9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1" y="6"/>
                    <a:pt x="0" y="4"/>
                    <a:pt x="1" y="2"/>
                  </a:cubicBezTo>
                  <a:cubicBezTo>
                    <a:pt x="2" y="1"/>
                    <a:pt x="4" y="0"/>
                    <a:pt x="6" y="1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11" y="4"/>
                    <a:pt x="11" y="6"/>
                    <a:pt x="10" y="8"/>
                  </a:cubicBezTo>
                  <a:cubicBezTo>
                    <a:pt x="10" y="9"/>
                    <a:pt x="8" y="9"/>
                    <a:pt x="7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2" name="Freeform 568">
              <a:extLst>
                <a:ext uri="{FF2B5EF4-FFF2-40B4-BE49-F238E27FC236}">
                  <a16:creationId xmlns:a16="http://schemas.microsoft.com/office/drawing/2014/main" id="{7FF64EC6-E987-5695-3F67-749A0C9B9095}"/>
                </a:ext>
              </a:extLst>
            </p:cNvPr>
            <p:cNvSpPr>
              <a:spLocks/>
            </p:cNvSpPr>
            <p:nvPr/>
          </p:nvSpPr>
          <p:spPr bwMode="auto">
            <a:xfrm>
              <a:off x="-678893" y="2653131"/>
              <a:ext cx="24425" cy="17447"/>
            </a:xfrm>
            <a:custGeom>
              <a:avLst/>
              <a:gdLst>
                <a:gd name="T0" fmla="*/ 7 w 10"/>
                <a:gd name="T1" fmla="*/ 7 h 7"/>
                <a:gd name="T2" fmla="*/ 4 w 10"/>
                <a:gd name="T3" fmla="*/ 7 h 7"/>
                <a:gd name="T4" fmla="*/ 0 w 10"/>
                <a:gd name="T5" fmla="*/ 3 h 7"/>
                <a:gd name="T6" fmla="*/ 4 w 10"/>
                <a:gd name="T7" fmla="*/ 0 h 7"/>
                <a:gd name="T8" fmla="*/ 7 w 10"/>
                <a:gd name="T9" fmla="*/ 0 h 7"/>
                <a:gd name="T10" fmla="*/ 10 w 10"/>
                <a:gd name="T11" fmla="*/ 3 h 7"/>
                <a:gd name="T12" fmla="*/ 7 w 10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7">
                  <a:moveTo>
                    <a:pt x="7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9" y="0"/>
                    <a:pt x="10" y="1"/>
                    <a:pt x="10" y="3"/>
                  </a:cubicBezTo>
                  <a:cubicBezTo>
                    <a:pt x="10" y="5"/>
                    <a:pt x="9" y="7"/>
                    <a:pt x="7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3" name="Freeform 569">
              <a:extLst>
                <a:ext uri="{FF2B5EF4-FFF2-40B4-BE49-F238E27FC236}">
                  <a16:creationId xmlns:a16="http://schemas.microsoft.com/office/drawing/2014/main" id="{998EC8B6-A6BA-CDEA-1682-2E7A75DEE8EE}"/>
                </a:ext>
              </a:extLst>
            </p:cNvPr>
            <p:cNvSpPr>
              <a:spLocks/>
            </p:cNvSpPr>
            <p:nvPr/>
          </p:nvSpPr>
          <p:spPr bwMode="auto">
            <a:xfrm>
              <a:off x="-654470" y="2754318"/>
              <a:ext cx="27913" cy="24425"/>
            </a:xfrm>
            <a:custGeom>
              <a:avLst/>
              <a:gdLst>
                <a:gd name="T0" fmla="*/ 4 w 11"/>
                <a:gd name="T1" fmla="*/ 9 h 9"/>
                <a:gd name="T2" fmla="*/ 1 w 11"/>
                <a:gd name="T3" fmla="*/ 7 h 9"/>
                <a:gd name="T4" fmla="*/ 2 w 11"/>
                <a:gd name="T5" fmla="*/ 2 h 9"/>
                <a:gd name="T6" fmla="*/ 5 w 11"/>
                <a:gd name="T7" fmla="*/ 1 h 9"/>
                <a:gd name="T8" fmla="*/ 10 w 11"/>
                <a:gd name="T9" fmla="*/ 2 h 9"/>
                <a:gd name="T10" fmla="*/ 9 w 11"/>
                <a:gd name="T11" fmla="*/ 7 h 9"/>
                <a:gd name="T12" fmla="*/ 6 w 11"/>
                <a:gd name="T13" fmla="*/ 8 h 9"/>
                <a:gd name="T14" fmla="*/ 4 w 11"/>
                <a:gd name="T1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9">
                  <a:moveTo>
                    <a:pt x="4" y="9"/>
                  </a:moveTo>
                  <a:cubicBezTo>
                    <a:pt x="3" y="9"/>
                    <a:pt x="2" y="8"/>
                    <a:pt x="1" y="7"/>
                  </a:cubicBezTo>
                  <a:cubicBezTo>
                    <a:pt x="0" y="5"/>
                    <a:pt x="1" y="3"/>
                    <a:pt x="2" y="2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7" y="0"/>
                    <a:pt x="9" y="0"/>
                    <a:pt x="10" y="2"/>
                  </a:cubicBezTo>
                  <a:cubicBezTo>
                    <a:pt x="11" y="4"/>
                    <a:pt x="11" y="6"/>
                    <a:pt x="9" y="7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9"/>
                    <a:pt x="5" y="9"/>
                    <a:pt x="4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4" name="Freeform 570">
              <a:extLst>
                <a:ext uri="{FF2B5EF4-FFF2-40B4-BE49-F238E27FC236}">
                  <a16:creationId xmlns:a16="http://schemas.microsoft.com/office/drawing/2014/main" id="{4A08098F-626B-B7DA-CEC6-E09992B86A79}"/>
                </a:ext>
              </a:extLst>
            </p:cNvPr>
            <p:cNvSpPr>
              <a:spLocks/>
            </p:cNvSpPr>
            <p:nvPr/>
          </p:nvSpPr>
          <p:spPr bwMode="auto">
            <a:xfrm>
              <a:off x="-577708" y="2827590"/>
              <a:ext cx="27913" cy="24425"/>
            </a:xfrm>
            <a:custGeom>
              <a:avLst/>
              <a:gdLst>
                <a:gd name="T0" fmla="*/ 5 w 10"/>
                <a:gd name="T1" fmla="*/ 10 h 10"/>
                <a:gd name="T2" fmla="*/ 3 w 10"/>
                <a:gd name="T3" fmla="*/ 10 h 10"/>
                <a:gd name="T4" fmla="*/ 1 w 10"/>
                <a:gd name="T5" fmla="*/ 5 h 10"/>
                <a:gd name="T6" fmla="*/ 3 w 10"/>
                <a:gd name="T7" fmla="*/ 2 h 10"/>
                <a:gd name="T8" fmla="*/ 8 w 10"/>
                <a:gd name="T9" fmla="*/ 1 h 10"/>
                <a:gd name="T10" fmla="*/ 9 w 10"/>
                <a:gd name="T11" fmla="*/ 6 h 10"/>
                <a:gd name="T12" fmla="*/ 8 w 10"/>
                <a:gd name="T13" fmla="*/ 8 h 10"/>
                <a:gd name="T14" fmla="*/ 5 w 10"/>
                <a:gd name="T1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10">
                  <a:moveTo>
                    <a:pt x="5" y="10"/>
                  </a:moveTo>
                  <a:cubicBezTo>
                    <a:pt x="4" y="10"/>
                    <a:pt x="3" y="10"/>
                    <a:pt x="3" y="10"/>
                  </a:cubicBezTo>
                  <a:cubicBezTo>
                    <a:pt x="1" y="9"/>
                    <a:pt x="0" y="6"/>
                    <a:pt x="1" y="5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0"/>
                    <a:pt x="6" y="0"/>
                    <a:pt x="8" y="1"/>
                  </a:cubicBezTo>
                  <a:cubicBezTo>
                    <a:pt x="10" y="2"/>
                    <a:pt x="10" y="4"/>
                    <a:pt x="9" y="6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7" y="10"/>
                    <a:pt x="6" y="10"/>
                    <a:pt x="5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5" name="Freeform 571">
              <a:extLst>
                <a:ext uri="{FF2B5EF4-FFF2-40B4-BE49-F238E27FC236}">
                  <a16:creationId xmlns:a16="http://schemas.microsoft.com/office/drawing/2014/main" id="{0F969738-89B4-DBEF-B686-2F45E21B90FF}"/>
                </a:ext>
              </a:extLst>
            </p:cNvPr>
            <p:cNvSpPr>
              <a:spLocks/>
            </p:cNvSpPr>
            <p:nvPr/>
          </p:nvSpPr>
          <p:spPr bwMode="auto">
            <a:xfrm>
              <a:off x="-469542" y="2852015"/>
              <a:ext cx="17447" cy="31404"/>
            </a:xfrm>
            <a:custGeom>
              <a:avLst/>
              <a:gdLst>
                <a:gd name="T0" fmla="*/ 4 w 7"/>
                <a:gd name="T1" fmla="*/ 11 h 11"/>
                <a:gd name="T2" fmla="*/ 0 w 7"/>
                <a:gd name="T3" fmla="*/ 7 h 11"/>
                <a:gd name="T4" fmla="*/ 0 w 7"/>
                <a:gd name="T5" fmla="*/ 4 h 11"/>
                <a:gd name="T6" fmla="*/ 4 w 7"/>
                <a:gd name="T7" fmla="*/ 0 h 11"/>
                <a:gd name="T8" fmla="*/ 7 w 7"/>
                <a:gd name="T9" fmla="*/ 4 h 11"/>
                <a:gd name="T10" fmla="*/ 7 w 7"/>
                <a:gd name="T11" fmla="*/ 7 h 11"/>
                <a:gd name="T12" fmla="*/ 4 w 7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1">
                  <a:moveTo>
                    <a:pt x="4" y="11"/>
                  </a:moveTo>
                  <a:cubicBezTo>
                    <a:pt x="2" y="11"/>
                    <a:pt x="0" y="9"/>
                    <a:pt x="0" y="7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7" y="2"/>
                    <a:pt x="7" y="4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9"/>
                    <a:pt x="6" y="11"/>
                    <a:pt x="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6" name="Freeform 572">
              <a:extLst>
                <a:ext uri="{FF2B5EF4-FFF2-40B4-BE49-F238E27FC236}">
                  <a16:creationId xmlns:a16="http://schemas.microsoft.com/office/drawing/2014/main" id="{2FA8CF00-F881-7DBE-5AE9-585EDE9E7CA6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8357" y="2827590"/>
              <a:ext cx="24425" cy="24425"/>
            </a:xfrm>
            <a:custGeom>
              <a:avLst/>
              <a:gdLst>
                <a:gd name="T0" fmla="*/ 6 w 10"/>
                <a:gd name="T1" fmla="*/ 10 h 10"/>
                <a:gd name="T2" fmla="*/ 2 w 10"/>
                <a:gd name="T3" fmla="*/ 8 h 10"/>
                <a:gd name="T4" fmla="*/ 1 w 10"/>
                <a:gd name="T5" fmla="*/ 6 h 10"/>
                <a:gd name="T6" fmla="*/ 2 w 10"/>
                <a:gd name="T7" fmla="*/ 1 h 10"/>
                <a:gd name="T8" fmla="*/ 7 w 10"/>
                <a:gd name="T9" fmla="*/ 2 h 10"/>
                <a:gd name="T10" fmla="*/ 9 w 10"/>
                <a:gd name="T11" fmla="*/ 5 h 10"/>
                <a:gd name="T12" fmla="*/ 7 w 10"/>
                <a:gd name="T13" fmla="*/ 10 h 10"/>
                <a:gd name="T14" fmla="*/ 6 w 10"/>
                <a:gd name="T1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10">
                  <a:moveTo>
                    <a:pt x="6" y="10"/>
                  </a:moveTo>
                  <a:cubicBezTo>
                    <a:pt x="4" y="10"/>
                    <a:pt x="3" y="10"/>
                    <a:pt x="2" y="8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4"/>
                    <a:pt x="0" y="2"/>
                    <a:pt x="2" y="1"/>
                  </a:cubicBezTo>
                  <a:cubicBezTo>
                    <a:pt x="4" y="0"/>
                    <a:pt x="6" y="0"/>
                    <a:pt x="7" y="2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6"/>
                    <a:pt x="9" y="9"/>
                    <a:pt x="7" y="10"/>
                  </a:cubicBezTo>
                  <a:cubicBezTo>
                    <a:pt x="7" y="10"/>
                    <a:pt x="6" y="10"/>
                    <a:pt x="6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7" name="Freeform 573">
              <a:extLst>
                <a:ext uri="{FF2B5EF4-FFF2-40B4-BE49-F238E27FC236}">
                  <a16:creationId xmlns:a16="http://schemas.microsoft.com/office/drawing/2014/main" id="{9F346B11-2876-FAFC-9F2C-3D9D15739EF4}"/>
                </a:ext>
              </a:extLst>
            </p:cNvPr>
            <p:cNvSpPr>
              <a:spLocks/>
            </p:cNvSpPr>
            <p:nvPr/>
          </p:nvSpPr>
          <p:spPr bwMode="auto">
            <a:xfrm>
              <a:off x="-295084" y="2754318"/>
              <a:ext cx="27913" cy="24425"/>
            </a:xfrm>
            <a:custGeom>
              <a:avLst/>
              <a:gdLst>
                <a:gd name="T0" fmla="*/ 7 w 11"/>
                <a:gd name="T1" fmla="*/ 9 h 9"/>
                <a:gd name="T2" fmla="*/ 5 w 11"/>
                <a:gd name="T3" fmla="*/ 8 h 9"/>
                <a:gd name="T4" fmla="*/ 2 w 11"/>
                <a:gd name="T5" fmla="*/ 7 h 9"/>
                <a:gd name="T6" fmla="*/ 1 w 11"/>
                <a:gd name="T7" fmla="*/ 2 h 9"/>
                <a:gd name="T8" fmla="*/ 6 w 11"/>
                <a:gd name="T9" fmla="*/ 1 h 9"/>
                <a:gd name="T10" fmla="*/ 9 w 11"/>
                <a:gd name="T11" fmla="*/ 2 h 9"/>
                <a:gd name="T12" fmla="*/ 10 w 11"/>
                <a:gd name="T13" fmla="*/ 7 h 9"/>
                <a:gd name="T14" fmla="*/ 7 w 11"/>
                <a:gd name="T1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9">
                  <a:moveTo>
                    <a:pt x="7" y="9"/>
                  </a:moveTo>
                  <a:cubicBezTo>
                    <a:pt x="6" y="9"/>
                    <a:pt x="6" y="9"/>
                    <a:pt x="5" y="8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1" y="6"/>
                    <a:pt x="0" y="4"/>
                    <a:pt x="1" y="2"/>
                  </a:cubicBezTo>
                  <a:cubicBezTo>
                    <a:pt x="2" y="0"/>
                    <a:pt x="4" y="0"/>
                    <a:pt x="6" y="1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10" y="3"/>
                    <a:pt x="11" y="5"/>
                    <a:pt x="10" y="7"/>
                  </a:cubicBezTo>
                  <a:cubicBezTo>
                    <a:pt x="9" y="8"/>
                    <a:pt x="8" y="9"/>
                    <a:pt x="7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8" name="Freeform 574">
              <a:extLst>
                <a:ext uri="{FF2B5EF4-FFF2-40B4-BE49-F238E27FC236}">
                  <a16:creationId xmlns:a16="http://schemas.microsoft.com/office/drawing/2014/main" id="{2AE75911-D255-3CCE-76BB-25DC6978A194}"/>
                </a:ext>
              </a:extLst>
            </p:cNvPr>
            <p:cNvSpPr>
              <a:spLocks/>
            </p:cNvSpPr>
            <p:nvPr/>
          </p:nvSpPr>
          <p:spPr bwMode="auto">
            <a:xfrm>
              <a:off x="-267170" y="2653131"/>
              <a:ext cx="27913" cy="17447"/>
            </a:xfrm>
            <a:custGeom>
              <a:avLst/>
              <a:gdLst>
                <a:gd name="T0" fmla="*/ 7 w 10"/>
                <a:gd name="T1" fmla="*/ 7 h 7"/>
                <a:gd name="T2" fmla="*/ 3 w 10"/>
                <a:gd name="T3" fmla="*/ 7 h 7"/>
                <a:gd name="T4" fmla="*/ 0 w 10"/>
                <a:gd name="T5" fmla="*/ 3 h 7"/>
                <a:gd name="T6" fmla="*/ 3 w 10"/>
                <a:gd name="T7" fmla="*/ 0 h 7"/>
                <a:gd name="T8" fmla="*/ 7 w 10"/>
                <a:gd name="T9" fmla="*/ 0 h 7"/>
                <a:gd name="T10" fmla="*/ 10 w 10"/>
                <a:gd name="T11" fmla="*/ 3 h 7"/>
                <a:gd name="T12" fmla="*/ 7 w 10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7">
                  <a:moveTo>
                    <a:pt x="7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9" y="0"/>
                    <a:pt x="10" y="1"/>
                    <a:pt x="10" y="3"/>
                  </a:cubicBezTo>
                  <a:cubicBezTo>
                    <a:pt x="10" y="5"/>
                    <a:pt x="9" y="7"/>
                    <a:pt x="7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9" name="Freeform 575">
              <a:extLst>
                <a:ext uri="{FF2B5EF4-FFF2-40B4-BE49-F238E27FC236}">
                  <a16:creationId xmlns:a16="http://schemas.microsoft.com/office/drawing/2014/main" id="{23C27971-C8EC-2401-02D4-E36A57F3749C}"/>
                </a:ext>
              </a:extLst>
            </p:cNvPr>
            <p:cNvSpPr>
              <a:spLocks/>
            </p:cNvSpPr>
            <p:nvPr/>
          </p:nvSpPr>
          <p:spPr bwMode="auto">
            <a:xfrm>
              <a:off x="-295084" y="2544968"/>
              <a:ext cx="27913" cy="24425"/>
            </a:xfrm>
            <a:custGeom>
              <a:avLst/>
              <a:gdLst>
                <a:gd name="T0" fmla="*/ 4 w 11"/>
                <a:gd name="T1" fmla="*/ 9 h 9"/>
                <a:gd name="T2" fmla="*/ 1 w 11"/>
                <a:gd name="T3" fmla="*/ 8 h 9"/>
                <a:gd name="T4" fmla="*/ 2 w 11"/>
                <a:gd name="T5" fmla="*/ 3 h 9"/>
                <a:gd name="T6" fmla="*/ 5 w 11"/>
                <a:gd name="T7" fmla="*/ 1 h 9"/>
                <a:gd name="T8" fmla="*/ 10 w 11"/>
                <a:gd name="T9" fmla="*/ 2 h 9"/>
                <a:gd name="T10" fmla="*/ 9 w 11"/>
                <a:gd name="T11" fmla="*/ 7 h 9"/>
                <a:gd name="T12" fmla="*/ 6 w 11"/>
                <a:gd name="T13" fmla="*/ 9 h 9"/>
                <a:gd name="T14" fmla="*/ 4 w 11"/>
                <a:gd name="T1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9">
                  <a:moveTo>
                    <a:pt x="4" y="9"/>
                  </a:moveTo>
                  <a:cubicBezTo>
                    <a:pt x="3" y="9"/>
                    <a:pt x="2" y="9"/>
                    <a:pt x="1" y="8"/>
                  </a:cubicBezTo>
                  <a:cubicBezTo>
                    <a:pt x="0" y="6"/>
                    <a:pt x="1" y="4"/>
                    <a:pt x="2" y="3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7" y="0"/>
                    <a:pt x="9" y="1"/>
                    <a:pt x="10" y="2"/>
                  </a:cubicBezTo>
                  <a:cubicBezTo>
                    <a:pt x="11" y="4"/>
                    <a:pt x="10" y="6"/>
                    <a:pt x="9" y="7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5" y="9"/>
                    <a:pt x="5" y="9"/>
                    <a:pt x="4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0" name="Freeform 576">
              <a:extLst>
                <a:ext uri="{FF2B5EF4-FFF2-40B4-BE49-F238E27FC236}">
                  <a16:creationId xmlns:a16="http://schemas.microsoft.com/office/drawing/2014/main" id="{FB4689B8-B7E8-C6A8-D805-F57721203161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8357" y="2468206"/>
              <a:ext cx="24425" cy="27913"/>
            </a:xfrm>
            <a:custGeom>
              <a:avLst/>
              <a:gdLst>
                <a:gd name="T0" fmla="*/ 4 w 10"/>
                <a:gd name="T1" fmla="*/ 10 h 10"/>
                <a:gd name="T2" fmla="*/ 2 w 10"/>
                <a:gd name="T3" fmla="*/ 10 h 10"/>
                <a:gd name="T4" fmla="*/ 1 w 10"/>
                <a:gd name="T5" fmla="*/ 5 h 10"/>
                <a:gd name="T6" fmla="*/ 2 w 10"/>
                <a:gd name="T7" fmla="*/ 2 h 10"/>
                <a:gd name="T8" fmla="*/ 7 w 10"/>
                <a:gd name="T9" fmla="*/ 1 h 10"/>
                <a:gd name="T10" fmla="*/ 9 w 10"/>
                <a:gd name="T11" fmla="*/ 6 h 10"/>
                <a:gd name="T12" fmla="*/ 7 w 10"/>
                <a:gd name="T13" fmla="*/ 9 h 10"/>
                <a:gd name="T14" fmla="*/ 4 w 10"/>
                <a:gd name="T1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10">
                  <a:moveTo>
                    <a:pt x="4" y="10"/>
                  </a:moveTo>
                  <a:cubicBezTo>
                    <a:pt x="3" y="10"/>
                    <a:pt x="3" y="10"/>
                    <a:pt x="2" y="10"/>
                  </a:cubicBezTo>
                  <a:cubicBezTo>
                    <a:pt x="0" y="9"/>
                    <a:pt x="0" y="7"/>
                    <a:pt x="1" y="5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0"/>
                    <a:pt x="6" y="0"/>
                    <a:pt x="7" y="1"/>
                  </a:cubicBezTo>
                  <a:cubicBezTo>
                    <a:pt x="9" y="2"/>
                    <a:pt x="10" y="4"/>
                    <a:pt x="9" y="6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6" y="10"/>
                    <a:pt x="5" y="10"/>
                    <a:pt x="4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1" name="Freeform 577">
              <a:extLst>
                <a:ext uri="{FF2B5EF4-FFF2-40B4-BE49-F238E27FC236}">
                  <a16:creationId xmlns:a16="http://schemas.microsoft.com/office/drawing/2014/main" id="{2265A16E-84FF-0F25-01FA-2B8D9626CEE7}"/>
                </a:ext>
              </a:extLst>
            </p:cNvPr>
            <p:cNvSpPr>
              <a:spLocks/>
            </p:cNvSpPr>
            <p:nvPr/>
          </p:nvSpPr>
          <p:spPr bwMode="auto">
            <a:xfrm>
              <a:off x="-469542" y="2520543"/>
              <a:ext cx="76762" cy="181437"/>
            </a:xfrm>
            <a:custGeom>
              <a:avLst/>
              <a:gdLst>
                <a:gd name="T0" fmla="*/ 25 w 29"/>
                <a:gd name="T1" fmla="*/ 70 h 70"/>
                <a:gd name="T2" fmla="*/ 23 w 29"/>
                <a:gd name="T3" fmla="*/ 69 h 70"/>
                <a:gd name="T4" fmla="*/ 1 w 29"/>
                <a:gd name="T5" fmla="*/ 57 h 70"/>
                <a:gd name="T6" fmla="*/ 0 w 29"/>
                <a:gd name="T7" fmla="*/ 54 h 70"/>
                <a:gd name="T8" fmla="*/ 0 w 29"/>
                <a:gd name="T9" fmla="*/ 4 h 70"/>
                <a:gd name="T10" fmla="*/ 3 w 29"/>
                <a:gd name="T11" fmla="*/ 0 h 70"/>
                <a:gd name="T12" fmla="*/ 7 w 29"/>
                <a:gd name="T13" fmla="*/ 4 h 70"/>
                <a:gd name="T14" fmla="*/ 7 w 29"/>
                <a:gd name="T15" fmla="*/ 52 h 70"/>
                <a:gd name="T16" fmla="*/ 26 w 29"/>
                <a:gd name="T17" fmla="*/ 63 h 70"/>
                <a:gd name="T18" fmla="*/ 28 w 29"/>
                <a:gd name="T19" fmla="*/ 68 h 70"/>
                <a:gd name="T20" fmla="*/ 25 w 29"/>
                <a:gd name="T21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9" h="70">
                  <a:moveTo>
                    <a:pt x="25" y="70"/>
                  </a:moveTo>
                  <a:cubicBezTo>
                    <a:pt x="24" y="70"/>
                    <a:pt x="23" y="69"/>
                    <a:pt x="23" y="69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0" y="57"/>
                    <a:pt x="0" y="56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52"/>
                    <a:pt x="7" y="52"/>
                    <a:pt x="7" y="52"/>
                  </a:cubicBezTo>
                  <a:cubicBezTo>
                    <a:pt x="26" y="63"/>
                    <a:pt x="26" y="63"/>
                    <a:pt x="26" y="63"/>
                  </a:cubicBezTo>
                  <a:cubicBezTo>
                    <a:pt x="28" y="64"/>
                    <a:pt x="29" y="66"/>
                    <a:pt x="28" y="68"/>
                  </a:cubicBezTo>
                  <a:cubicBezTo>
                    <a:pt x="27" y="69"/>
                    <a:pt x="26" y="70"/>
                    <a:pt x="25" y="7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2" name="Freeform 578">
              <a:extLst>
                <a:ext uri="{FF2B5EF4-FFF2-40B4-BE49-F238E27FC236}">
                  <a16:creationId xmlns:a16="http://schemas.microsoft.com/office/drawing/2014/main" id="{4E431E9A-936A-9648-0726-DD17572CF81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17275" y="2405401"/>
              <a:ext cx="512910" cy="512909"/>
            </a:xfrm>
            <a:custGeom>
              <a:avLst/>
              <a:gdLst>
                <a:gd name="T0" fmla="*/ 98 w 195"/>
                <a:gd name="T1" fmla="*/ 195 h 195"/>
                <a:gd name="T2" fmla="*/ 0 w 195"/>
                <a:gd name="T3" fmla="*/ 97 h 195"/>
                <a:gd name="T4" fmla="*/ 98 w 195"/>
                <a:gd name="T5" fmla="*/ 0 h 195"/>
                <a:gd name="T6" fmla="*/ 195 w 195"/>
                <a:gd name="T7" fmla="*/ 97 h 195"/>
                <a:gd name="T8" fmla="*/ 98 w 195"/>
                <a:gd name="T9" fmla="*/ 195 h 195"/>
                <a:gd name="T10" fmla="*/ 98 w 195"/>
                <a:gd name="T11" fmla="*/ 7 h 195"/>
                <a:gd name="T12" fmla="*/ 7 w 195"/>
                <a:gd name="T13" fmla="*/ 97 h 195"/>
                <a:gd name="T14" fmla="*/ 98 w 195"/>
                <a:gd name="T15" fmla="*/ 188 h 195"/>
                <a:gd name="T16" fmla="*/ 188 w 195"/>
                <a:gd name="T17" fmla="*/ 97 h 195"/>
                <a:gd name="T18" fmla="*/ 98 w 195"/>
                <a:gd name="T19" fmla="*/ 7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5" h="195">
                  <a:moveTo>
                    <a:pt x="98" y="195"/>
                  </a:moveTo>
                  <a:cubicBezTo>
                    <a:pt x="44" y="195"/>
                    <a:pt x="0" y="151"/>
                    <a:pt x="0" y="97"/>
                  </a:cubicBezTo>
                  <a:cubicBezTo>
                    <a:pt x="0" y="43"/>
                    <a:pt x="44" y="0"/>
                    <a:pt x="98" y="0"/>
                  </a:cubicBezTo>
                  <a:cubicBezTo>
                    <a:pt x="151" y="0"/>
                    <a:pt x="195" y="43"/>
                    <a:pt x="195" y="97"/>
                  </a:cubicBezTo>
                  <a:cubicBezTo>
                    <a:pt x="195" y="151"/>
                    <a:pt x="151" y="195"/>
                    <a:pt x="98" y="195"/>
                  </a:cubicBezTo>
                  <a:close/>
                  <a:moveTo>
                    <a:pt x="98" y="7"/>
                  </a:moveTo>
                  <a:cubicBezTo>
                    <a:pt x="48" y="7"/>
                    <a:pt x="7" y="47"/>
                    <a:pt x="7" y="97"/>
                  </a:cubicBezTo>
                  <a:cubicBezTo>
                    <a:pt x="7" y="147"/>
                    <a:pt x="48" y="188"/>
                    <a:pt x="98" y="188"/>
                  </a:cubicBezTo>
                  <a:cubicBezTo>
                    <a:pt x="148" y="188"/>
                    <a:pt x="188" y="147"/>
                    <a:pt x="188" y="97"/>
                  </a:cubicBezTo>
                  <a:cubicBezTo>
                    <a:pt x="188" y="47"/>
                    <a:pt x="148" y="7"/>
                    <a:pt x="98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3" name="Freeform 579">
              <a:extLst>
                <a:ext uri="{FF2B5EF4-FFF2-40B4-BE49-F238E27FC236}">
                  <a16:creationId xmlns:a16="http://schemas.microsoft.com/office/drawing/2014/main" id="{DB32EA1C-5357-8998-C307-584CAA3E5F2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28859" y="2314683"/>
              <a:ext cx="132589" cy="66295"/>
            </a:xfrm>
            <a:custGeom>
              <a:avLst/>
              <a:gdLst>
                <a:gd name="T0" fmla="*/ 47 w 50"/>
                <a:gd name="T1" fmla="*/ 25 h 25"/>
                <a:gd name="T2" fmla="*/ 4 w 50"/>
                <a:gd name="T3" fmla="*/ 25 h 25"/>
                <a:gd name="T4" fmla="*/ 0 w 50"/>
                <a:gd name="T5" fmla="*/ 21 h 25"/>
                <a:gd name="T6" fmla="*/ 0 w 50"/>
                <a:gd name="T7" fmla="*/ 3 h 25"/>
                <a:gd name="T8" fmla="*/ 4 w 50"/>
                <a:gd name="T9" fmla="*/ 0 h 25"/>
                <a:gd name="T10" fmla="*/ 47 w 50"/>
                <a:gd name="T11" fmla="*/ 0 h 25"/>
                <a:gd name="T12" fmla="*/ 50 w 50"/>
                <a:gd name="T13" fmla="*/ 3 h 25"/>
                <a:gd name="T14" fmla="*/ 50 w 50"/>
                <a:gd name="T15" fmla="*/ 21 h 25"/>
                <a:gd name="T16" fmla="*/ 47 w 50"/>
                <a:gd name="T17" fmla="*/ 25 h 25"/>
                <a:gd name="T18" fmla="*/ 7 w 50"/>
                <a:gd name="T19" fmla="*/ 18 h 25"/>
                <a:gd name="T20" fmla="*/ 43 w 50"/>
                <a:gd name="T21" fmla="*/ 18 h 25"/>
                <a:gd name="T22" fmla="*/ 43 w 50"/>
                <a:gd name="T23" fmla="*/ 7 h 25"/>
                <a:gd name="T24" fmla="*/ 7 w 50"/>
                <a:gd name="T25" fmla="*/ 7 h 25"/>
                <a:gd name="T26" fmla="*/ 7 w 50"/>
                <a:gd name="T27" fmla="*/ 18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0" h="25">
                  <a:moveTo>
                    <a:pt x="47" y="25"/>
                  </a:moveTo>
                  <a:cubicBezTo>
                    <a:pt x="4" y="25"/>
                    <a:pt x="4" y="25"/>
                    <a:pt x="4" y="25"/>
                  </a:cubicBezTo>
                  <a:cubicBezTo>
                    <a:pt x="2" y="25"/>
                    <a:pt x="0" y="23"/>
                    <a:pt x="0" y="21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9" y="0"/>
                    <a:pt x="50" y="1"/>
                    <a:pt x="50" y="3"/>
                  </a:cubicBezTo>
                  <a:cubicBezTo>
                    <a:pt x="50" y="21"/>
                    <a:pt x="50" y="21"/>
                    <a:pt x="50" y="21"/>
                  </a:cubicBezTo>
                  <a:cubicBezTo>
                    <a:pt x="50" y="23"/>
                    <a:pt x="49" y="25"/>
                    <a:pt x="47" y="25"/>
                  </a:cubicBezTo>
                  <a:close/>
                  <a:moveTo>
                    <a:pt x="7" y="18"/>
                  </a:moveTo>
                  <a:cubicBezTo>
                    <a:pt x="43" y="18"/>
                    <a:pt x="43" y="18"/>
                    <a:pt x="43" y="18"/>
                  </a:cubicBezTo>
                  <a:cubicBezTo>
                    <a:pt x="43" y="7"/>
                    <a:pt x="43" y="7"/>
                    <a:pt x="43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4" name="Freeform 580">
              <a:extLst>
                <a:ext uri="{FF2B5EF4-FFF2-40B4-BE49-F238E27FC236}">
                  <a16:creationId xmlns:a16="http://schemas.microsoft.com/office/drawing/2014/main" id="{24D27EB1-7808-6FDF-9587-3C6797205E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93968" y="2363531"/>
              <a:ext cx="66295" cy="59317"/>
            </a:xfrm>
            <a:custGeom>
              <a:avLst/>
              <a:gdLst>
                <a:gd name="T0" fmla="*/ 21 w 25"/>
                <a:gd name="T1" fmla="*/ 23 h 23"/>
                <a:gd name="T2" fmla="*/ 3 w 25"/>
                <a:gd name="T3" fmla="*/ 23 h 23"/>
                <a:gd name="T4" fmla="*/ 0 w 25"/>
                <a:gd name="T5" fmla="*/ 19 h 23"/>
                <a:gd name="T6" fmla="*/ 0 w 25"/>
                <a:gd name="T7" fmla="*/ 3 h 23"/>
                <a:gd name="T8" fmla="*/ 3 w 25"/>
                <a:gd name="T9" fmla="*/ 0 h 23"/>
                <a:gd name="T10" fmla="*/ 21 w 25"/>
                <a:gd name="T11" fmla="*/ 0 h 23"/>
                <a:gd name="T12" fmla="*/ 25 w 25"/>
                <a:gd name="T13" fmla="*/ 3 h 23"/>
                <a:gd name="T14" fmla="*/ 25 w 25"/>
                <a:gd name="T15" fmla="*/ 19 h 23"/>
                <a:gd name="T16" fmla="*/ 21 w 25"/>
                <a:gd name="T17" fmla="*/ 23 h 23"/>
                <a:gd name="T18" fmla="*/ 7 w 25"/>
                <a:gd name="T19" fmla="*/ 16 h 23"/>
                <a:gd name="T20" fmla="*/ 18 w 25"/>
                <a:gd name="T21" fmla="*/ 16 h 23"/>
                <a:gd name="T22" fmla="*/ 18 w 25"/>
                <a:gd name="T23" fmla="*/ 7 h 23"/>
                <a:gd name="T24" fmla="*/ 7 w 25"/>
                <a:gd name="T25" fmla="*/ 7 h 23"/>
                <a:gd name="T26" fmla="*/ 7 w 25"/>
                <a:gd name="T27" fmla="*/ 16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" h="23">
                  <a:moveTo>
                    <a:pt x="21" y="23"/>
                  </a:moveTo>
                  <a:cubicBezTo>
                    <a:pt x="3" y="23"/>
                    <a:pt x="3" y="23"/>
                    <a:pt x="3" y="23"/>
                  </a:cubicBezTo>
                  <a:cubicBezTo>
                    <a:pt x="1" y="23"/>
                    <a:pt x="0" y="21"/>
                    <a:pt x="0" y="19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3" y="0"/>
                    <a:pt x="25" y="1"/>
                    <a:pt x="25" y="3"/>
                  </a:cubicBezTo>
                  <a:cubicBezTo>
                    <a:pt x="25" y="19"/>
                    <a:pt x="25" y="19"/>
                    <a:pt x="25" y="19"/>
                  </a:cubicBezTo>
                  <a:cubicBezTo>
                    <a:pt x="25" y="21"/>
                    <a:pt x="23" y="23"/>
                    <a:pt x="21" y="23"/>
                  </a:cubicBezTo>
                  <a:close/>
                  <a:moveTo>
                    <a:pt x="7" y="16"/>
                  </a:moveTo>
                  <a:cubicBezTo>
                    <a:pt x="18" y="16"/>
                    <a:pt x="18" y="16"/>
                    <a:pt x="18" y="16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5" name="Freeform 581">
              <a:extLst>
                <a:ext uri="{FF2B5EF4-FFF2-40B4-BE49-F238E27FC236}">
                  <a16:creationId xmlns:a16="http://schemas.microsoft.com/office/drawing/2014/main" id="{3F508793-9EDD-4C55-0393-451264F2AA6B}"/>
                </a:ext>
              </a:extLst>
            </p:cNvPr>
            <p:cNvSpPr>
              <a:spLocks/>
            </p:cNvSpPr>
            <p:nvPr/>
          </p:nvSpPr>
          <p:spPr bwMode="auto">
            <a:xfrm>
              <a:off x="-305552" y="2433314"/>
              <a:ext cx="55827" cy="55827"/>
            </a:xfrm>
            <a:custGeom>
              <a:avLst/>
              <a:gdLst>
                <a:gd name="T0" fmla="*/ 4 w 21"/>
                <a:gd name="T1" fmla="*/ 21 h 21"/>
                <a:gd name="T2" fmla="*/ 2 w 21"/>
                <a:gd name="T3" fmla="*/ 20 h 21"/>
                <a:gd name="T4" fmla="*/ 2 w 21"/>
                <a:gd name="T5" fmla="*/ 14 h 21"/>
                <a:gd name="T6" fmla="*/ 14 w 21"/>
                <a:gd name="T7" fmla="*/ 2 h 21"/>
                <a:gd name="T8" fmla="*/ 20 w 21"/>
                <a:gd name="T9" fmla="*/ 2 h 21"/>
                <a:gd name="T10" fmla="*/ 20 w 21"/>
                <a:gd name="T11" fmla="*/ 7 h 21"/>
                <a:gd name="T12" fmla="*/ 7 w 21"/>
                <a:gd name="T13" fmla="*/ 20 h 21"/>
                <a:gd name="T14" fmla="*/ 4 w 21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21">
                  <a:moveTo>
                    <a:pt x="4" y="21"/>
                  </a:moveTo>
                  <a:cubicBezTo>
                    <a:pt x="3" y="21"/>
                    <a:pt x="2" y="20"/>
                    <a:pt x="2" y="20"/>
                  </a:cubicBezTo>
                  <a:cubicBezTo>
                    <a:pt x="0" y="18"/>
                    <a:pt x="0" y="16"/>
                    <a:pt x="2" y="14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6" y="0"/>
                    <a:pt x="18" y="0"/>
                    <a:pt x="20" y="2"/>
                  </a:cubicBezTo>
                  <a:cubicBezTo>
                    <a:pt x="21" y="3"/>
                    <a:pt x="21" y="5"/>
                    <a:pt x="20" y="7"/>
                  </a:cubicBezTo>
                  <a:cubicBezTo>
                    <a:pt x="7" y="20"/>
                    <a:pt x="7" y="20"/>
                    <a:pt x="7" y="20"/>
                  </a:cubicBezTo>
                  <a:cubicBezTo>
                    <a:pt x="6" y="20"/>
                    <a:pt x="5" y="21"/>
                    <a:pt x="4" y="2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6" name="Freeform 582">
              <a:extLst>
                <a:ext uri="{FF2B5EF4-FFF2-40B4-BE49-F238E27FC236}">
                  <a16:creationId xmlns:a16="http://schemas.microsoft.com/office/drawing/2014/main" id="{3BFC2DBA-2B5D-BE17-B38B-65F35C430815}"/>
                </a:ext>
              </a:extLst>
            </p:cNvPr>
            <p:cNvSpPr>
              <a:spLocks/>
            </p:cNvSpPr>
            <p:nvPr/>
          </p:nvSpPr>
          <p:spPr bwMode="auto">
            <a:xfrm>
              <a:off x="-284617" y="2415868"/>
              <a:ext cx="55827" cy="52339"/>
            </a:xfrm>
            <a:custGeom>
              <a:avLst/>
              <a:gdLst>
                <a:gd name="T0" fmla="*/ 16 w 20"/>
                <a:gd name="T1" fmla="*/ 20 h 20"/>
                <a:gd name="T2" fmla="*/ 14 w 20"/>
                <a:gd name="T3" fmla="*/ 19 h 20"/>
                <a:gd name="T4" fmla="*/ 2 w 20"/>
                <a:gd name="T5" fmla="*/ 6 h 20"/>
                <a:gd name="T6" fmla="*/ 2 w 20"/>
                <a:gd name="T7" fmla="*/ 1 h 20"/>
                <a:gd name="T8" fmla="*/ 7 w 20"/>
                <a:gd name="T9" fmla="*/ 1 h 20"/>
                <a:gd name="T10" fmla="*/ 19 w 20"/>
                <a:gd name="T11" fmla="*/ 13 h 20"/>
                <a:gd name="T12" fmla="*/ 19 w 20"/>
                <a:gd name="T13" fmla="*/ 19 h 20"/>
                <a:gd name="T14" fmla="*/ 16 w 20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20">
                  <a:moveTo>
                    <a:pt x="16" y="20"/>
                  </a:moveTo>
                  <a:cubicBezTo>
                    <a:pt x="15" y="20"/>
                    <a:pt x="14" y="19"/>
                    <a:pt x="14" y="19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0" y="5"/>
                    <a:pt x="0" y="3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20" y="15"/>
                    <a:pt x="20" y="17"/>
                    <a:pt x="19" y="19"/>
                  </a:cubicBezTo>
                  <a:cubicBezTo>
                    <a:pt x="18" y="19"/>
                    <a:pt x="17" y="20"/>
                    <a:pt x="16" y="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1" name="Shape12_20200717_154439">
            <a:extLst>
              <a:ext uri="{FF2B5EF4-FFF2-40B4-BE49-F238E27FC236}">
                <a16:creationId xmlns:a16="http://schemas.microsoft.com/office/drawing/2014/main" id="{6F98978E-8D37-77FB-9A3F-BB469B536D5F}"/>
              </a:ext>
            </a:extLst>
          </p:cNvPr>
          <p:cNvGrpSpPr>
            <a:grpSpLocks noChangeAspect="1"/>
          </p:cNvGrpSpPr>
          <p:nvPr/>
        </p:nvGrpSpPr>
        <p:grpSpPr>
          <a:xfrm>
            <a:off x="5925029" y="3873665"/>
            <a:ext cx="341939" cy="596647"/>
            <a:chOff x="-6788435" y="3640568"/>
            <a:chExt cx="341939" cy="596647"/>
          </a:xfrm>
          <a:solidFill>
            <a:schemeClr val="accent1"/>
          </a:solidFill>
        </p:grpSpPr>
        <p:sp>
          <p:nvSpPr>
            <p:cNvPr id="145" name="Freeform 583">
              <a:extLst>
                <a:ext uri="{FF2B5EF4-FFF2-40B4-BE49-F238E27FC236}">
                  <a16:creationId xmlns:a16="http://schemas.microsoft.com/office/drawing/2014/main" id="{88565EB7-C57B-D309-46A3-984B8B10A4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788435" y="3766178"/>
              <a:ext cx="341939" cy="345429"/>
            </a:xfrm>
            <a:custGeom>
              <a:avLst/>
              <a:gdLst>
                <a:gd name="T0" fmla="*/ 105 w 131"/>
                <a:gd name="T1" fmla="*/ 131 h 131"/>
                <a:gd name="T2" fmla="*/ 26 w 131"/>
                <a:gd name="T3" fmla="*/ 131 h 131"/>
                <a:gd name="T4" fmla="*/ 0 w 131"/>
                <a:gd name="T5" fmla="*/ 105 h 131"/>
                <a:gd name="T6" fmla="*/ 0 w 131"/>
                <a:gd name="T7" fmla="*/ 26 h 131"/>
                <a:gd name="T8" fmla="*/ 26 w 131"/>
                <a:gd name="T9" fmla="*/ 0 h 131"/>
                <a:gd name="T10" fmla="*/ 105 w 131"/>
                <a:gd name="T11" fmla="*/ 0 h 131"/>
                <a:gd name="T12" fmla="*/ 131 w 131"/>
                <a:gd name="T13" fmla="*/ 26 h 131"/>
                <a:gd name="T14" fmla="*/ 131 w 131"/>
                <a:gd name="T15" fmla="*/ 105 h 131"/>
                <a:gd name="T16" fmla="*/ 105 w 131"/>
                <a:gd name="T17" fmla="*/ 131 h 131"/>
                <a:gd name="T18" fmla="*/ 26 w 131"/>
                <a:gd name="T19" fmla="*/ 7 h 131"/>
                <a:gd name="T20" fmla="*/ 7 w 131"/>
                <a:gd name="T21" fmla="*/ 26 h 131"/>
                <a:gd name="T22" fmla="*/ 7 w 131"/>
                <a:gd name="T23" fmla="*/ 105 h 131"/>
                <a:gd name="T24" fmla="*/ 26 w 131"/>
                <a:gd name="T25" fmla="*/ 123 h 131"/>
                <a:gd name="T26" fmla="*/ 105 w 131"/>
                <a:gd name="T27" fmla="*/ 123 h 131"/>
                <a:gd name="T28" fmla="*/ 123 w 131"/>
                <a:gd name="T29" fmla="*/ 105 h 131"/>
                <a:gd name="T30" fmla="*/ 123 w 131"/>
                <a:gd name="T31" fmla="*/ 26 h 131"/>
                <a:gd name="T32" fmla="*/ 105 w 131"/>
                <a:gd name="T33" fmla="*/ 7 h 131"/>
                <a:gd name="T34" fmla="*/ 26 w 131"/>
                <a:gd name="T35" fmla="*/ 7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1" h="131">
                  <a:moveTo>
                    <a:pt x="105" y="131"/>
                  </a:moveTo>
                  <a:cubicBezTo>
                    <a:pt x="26" y="131"/>
                    <a:pt x="26" y="131"/>
                    <a:pt x="26" y="131"/>
                  </a:cubicBezTo>
                  <a:cubicBezTo>
                    <a:pt x="12" y="131"/>
                    <a:pt x="0" y="119"/>
                    <a:pt x="0" y="10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2"/>
                    <a:pt x="12" y="0"/>
                    <a:pt x="26" y="0"/>
                  </a:cubicBezTo>
                  <a:cubicBezTo>
                    <a:pt x="105" y="0"/>
                    <a:pt x="105" y="0"/>
                    <a:pt x="105" y="0"/>
                  </a:cubicBezTo>
                  <a:cubicBezTo>
                    <a:pt x="119" y="0"/>
                    <a:pt x="131" y="12"/>
                    <a:pt x="131" y="26"/>
                  </a:cubicBezTo>
                  <a:cubicBezTo>
                    <a:pt x="131" y="105"/>
                    <a:pt x="131" y="105"/>
                    <a:pt x="131" y="105"/>
                  </a:cubicBezTo>
                  <a:cubicBezTo>
                    <a:pt x="131" y="119"/>
                    <a:pt x="119" y="131"/>
                    <a:pt x="105" y="131"/>
                  </a:cubicBezTo>
                  <a:close/>
                  <a:moveTo>
                    <a:pt x="26" y="7"/>
                  </a:moveTo>
                  <a:cubicBezTo>
                    <a:pt x="16" y="7"/>
                    <a:pt x="7" y="16"/>
                    <a:pt x="7" y="26"/>
                  </a:cubicBezTo>
                  <a:cubicBezTo>
                    <a:pt x="7" y="105"/>
                    <a:pt x="7" y="105"/>
                    <a:pt x="7" y="105"/>
                  </a:cubicBezTo>
                  <a:cubicBezTo>
                    <a:pt x="7" y="115"/>
                    <a:pt x="16" y="123"/>
                    <a:pt x="26" y="123"/>
                  </a:cubicBezTo>
                  <a:cubicBezTo>
                    <a:pt x="105" y="123"/>
                    <a:pt x="105" y="123"/>
                    <a:pt x="105" y="123"/>
                  </a:cubicBezTo>
                  <a:cubicBezTo>
                    <a:pt x="115" y="123"/>
                    <a:pt x="123" y="115"/>
                    <a:pt x="123" y="105"/>
                  </a:cubicBezTo>
                  <a:cubicBezTo>
                    <a:pt x="123" y="26"/>
                    <a:pt x="123" y="26"/>
                    <a:pt x="123" y="26"/>
                  </a:cubicBezTo>
                  <a:cubicBezTo>
                    <a:pt x="123" y="16"/>
                    <a:pt x="115" y="7"/>
                    <a:pt x="105" y="7"/>
                  </a:cubicBezTo>
                  <a:lnTo>
                    <a:pt x="26" y="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6" name="Freeform 584">
              <a:extLst>
                <a:ext uri="{FF2B5EF4-FFF2-40B4-BE49-F238E27FC236}">
                  <a16:creationId xmlns:a16="http://schemas.microsoft.com/office/drawing/2014/main" id="{097DEEF4-8D49-21BC-24A4-82281E1C4BC8}"/>
                </a:ext>
              </a:extLst>
            </p:cNvPr>
            <p:cNvSpPr>
              <a:spLocks/>
            </p:cNvSpPr>
            <p:nvPr/>
          </p:nvSpPr>
          <p:spPr bwMode="auto">
            <a:xfrm>
              <a:off x="-6687248" y="3842940"/>
              <a:ext cx="80252" cy="104675"/>
            </a:xfrm>
            <a:custGeom>
              <a:avLst/>
              <a:gdLst>
                <a:gd name="T0" fmla="*/ 26 w 30"/>
                <a:gd name="T1" fmla="*/ 40 h 40"/>
                <a:gd name="T2" fmla="*/ 4 w 30"/>
                <a:gd name="T3" fmla="*/ 40 h 40"/>
                <a:gd name="T4" fmla="*/ 0 w 30"/>
                <a:gd name="T5" fmla="*/ 36 h 40"/>
                <a:gd name="T6" fmla="*/ 4 w 30"/>
                <a:gd name="T7" fmla="*/ 33 h 40"/>
                <a:gd name="T8" fmla="*/ 23 w 30"/>
                <a:gd name="T9" fmla="*/ 33 h 40"/>
                <a:gd name="T10" fmla="*/ 23 w 30"/>
                <a:gd name="T11" fmla="*/ 4 h 40"/>
                <a:gd name="T12" fmla="*/ 26 w 30"/>
                <a:gd name="T13" fmla="*/ 0 h 40"/>
                <a:gd name="T14" fmla="*/ 30 w 30"/>
                <a:gd name="T15" fmla="*/ 4 h 40"/>
                <a:gd name="T16" fmla="*/ 30 w 30"/>
                <a:gd name="T17" fmla="*/ 36 h 40"/>
                <a:gd name="T18" fmla="*/ 26 w 30"/>
                <a:gd name="T19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" h="40">
                  <a:moveTo>
                    <a:pt x="26" y="40"/>
                  </a:moveTo>
                  <a:cubicBezTo>
                    <a:pt x="4" y="40"/>
                    <a:pt x="4" y="40"/>
                    <a:pt x="4" y="40"/>
                  </a:cubicBezTo>
                  <a:cubicBezTo>
                    <a:pt x="2" y="40"/>
                    <a:pt x="0" y="38"/>
                    <a:pt x="0" y="36"/>
                  </a:cubicBezTo>
                  <a:cubicBezTo>
                    <a:pt x="0" y="34"/>
                    <a:pt x="2" y="33"/>
                    <a:pt x="4" y="33"/>
                  </a:cubicBezTo>
                  <a:cubicBezTo>
                    <a:pt x="23" y="33"/>
                    <a:pt x="23" y="33"/>
                    <a:pt x="23" y="33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23" y="2"/>
                    <a:pt x="24" y="0"/>
                    <a:pt x="26" y="0"/>
                  </a:cubicBezTo>
                  <a:cubicBezTo>
                    <a:pt x="28" y="0"/>
                    <a:pt x="30" y="2"/>
                    <a:pt x="30" y="4"/>
                  </a:cubicBezTo>
                  <a:cubicBezTo>
                    <a:pt x="30" y="36"/>
                    <a:pt x="30" y="36"/>
                    <a:pt x="30" y="36"/>
                  </a:cubicBezTo>
                  <a:cubicBezTo>
                    <a:pt x="30" y="38"/>
                    <a:pt x="28" y="40"/>
                    <a:pt x="26" y="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7" name="Freeform 585">
              <a:extLst>
                <a:ext uri="{FF2B5EF4-FFF2-40B4-BE49-F238E27FC236}">
                  <a16:creationId xmlns:a16="http://schemas.microsoft.com/office/drawing/2014/main" id="{7DC8ABCA-E262-90AA-8B16-B9C8E0FF594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725630" y="3640568"/>
              <a:ext cx="216329" cy="143057"/>
            </a:xfrm>
            <a:custGeom>
              <a:avLst/>
              <a:gdLst>
                <a:gd name="T0" fmla="*/ 79 w 82"/>
                <a:gd name="T1" fmla="*/ 55 h 55"/>
                <a:gd name="T2" fmla="*/ 4 w 82"/>
                <a:gd name="T3" fmla="*/ 55 h 55"/>
                <a:gd name="T4" fmla="*/ 0 w 82"/>
                <a:gd name="T5" fmla="*/ 52 h 55"/>
                <a:gd name="T6" fmla="*/ 0 w 82"/>
                <a:gd name="T7" fmla="*/ 17 h 55"/>
                <a:gd name="T8" fmla="*/ 18 w 82"/>
                <a:gd name="T9" fmla="*/ 0 h 55"/>
                <a:gd name="T10" fmla="*/ 65 w 82"/>
                <a:gd name="T11" fmla="*/ 0 h 55"/>
                <a:gd name="T12" fmla="*/ 82 w 82"/>
                <a:gd name="T13" fmla="*/ 17 h 55"/>
                <a:gd name="T14" fmla="*/ 82 w 82"/>
                <a:gd name="T15" fmla="*/ 52 h 55"/>
                <a:gd name="T16" fmla="*/ 79 w 82"/>
                <a:gd name="T17" fmla="*/ 55 h 55"/>
                <a:gd name="T18" fmla="*/ 8 w 82"/>
                <a:gd name="T19" fmla="*/ 48 h 55"/>
                <a:gd name="T20" fmla="*/ 75 w 82"/>
                <a:gd name="T21" fmla="*/ 48 h 55"/>
                <a:gd name="T22" fmla="*/ 75 w 82"/>
                <a:gd name="T23" fmla="*/ 17 h 55"/>
                <a:gd name="T24" fmla="*/ 65 w 82"/>
                <a:gd name="T25" fmla="*/ 7 h 55"/>
                <a:gd name="T26" fmla="*/ 18 w 82"/>
                <a:gd name="T27" fmla="*/ 7 h 55"/>
                <a:gd name="T28" fmla="*/ 8 w 82"/>
                <a:gd name="T29" fmla="*/ 17 h 55"/>
                <a:gd name="T30" fmla="*/ 8 w 82"/>
                <a:gd name="T31" fmla="*/ 48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2" h="55">
                  <a:moveTo>
                    <a:pt x="79" y="55"/>
                  </a:moveTo>
                  <a:cubicBezTo>
                    <a:pt x="4" y="55"/>
                    <a:pt x="4" y="55"/>
                    <a:pt x="4" y="55"/>
                  </a:cubicBezTo>
                  <a:cubicBezTo>
                    <a:pt x="2" y="55"/>
                    <a:pt x="0" y="54"/>
                    <a:pt x="0" y="52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75" y="0"/>
                    <a:pt x="82" y="8"/>
                    <a:pt x="82" y="17"/>
                  </a:cubicBezTo>
                  <a:cubicBezTo>
                    <a:pt x="82" y="52"/>
                    <a:pt x="82" y="52"/>
                    <a:pt x="82" y="52"/>
                  </a:cubicBezTo>
                  <a:cubicBezTo>
                    <a:pt x="82" y="54"/>
                    <a:pt x="81" y="55"/>
                    <a:pt x="79" y="55"/>
                  </a:cubicBezTo>
                  <a:close/>
                  <a:moveTo>
                    <a:pt x="8" y="48"/>
                  </a:moveTo>
                  <a:cubicBezTo>
                    <a:pt x="75" y="48"/>
                    <a:pt x="75" y="48"/>
                    <a:pt x="75" y="48"/>
                  </a:cubicBezTo>
                  <a:cubicBezTo>
                    <a:pt x="75" y="17"/>
                    <a:pt x="75" y="17"/>
                    <a:pt x="75" y="17"/>
                  </a:cubicBezTo>
                  <a:cubicBezTo>
                    <a:pt x="75" y="12"/>
                    <a:pt x="71" y="7"/>
                    <a:pt x="65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2" y="7"/>
                    <a:pt x="8" y="12"/>
                    <a:pt x="8" y="17"/>
                  </a:cubicBezTo>
                  <a:lnTo>
                    <a:pt x="8" y="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8" name="Freeform 586">
              <a:extLst>
                <a:ext uri="{FF2B5EF4-FFF2-40B4-BE49-F238E27FC236}">
                  <a16:creationId xmlns:a16="http://schemas.microsoft.com/office/drawing/2014/main" id="{423D89C6-E385-04C5-3C6A-44F8048CC8A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725630" y="4090670"/>
              <a:ext cx="216329" cy="146545"/>
            </a:xfrm>
            <a:custGeom>
              <a:avLst/>
              <a:gdLst>
                <a:gd name="T0" fmla="*/ 65 w 82"/>
                <a:gd name="T1" fmla="*/ 56 h 56"/>
                <a:gd name="T2" fmla="*/ 18 w 82"/>
                <a:gd name="T3" fmla="*/ 56 h 56"/>
                <a:gd name="T4" fmla="*/ 0 w 82"/>
                <a:gd name="T5" fmla="*/ 39 h 56"/>
                <a:gd name="T6" fmla="*/ 0 w 82"/>
                <a:gd name="T7" fmla="*/ 4 h 56"/>
                <a:gd name="T8" fmla="*/ 4 w 82"/>
                <a:gd name="T9" fmla="*/ 0 h 56"/>
                <a:gd name="T10" fmla="*/ 79 w 82"/>
                <a:gd name="T11" fmla="*/ 0 h 56"/>
                <a:gd name="T12" fmla="*/ 82 w 82"/>
                <a:gd name="T13" fmla="*/ 4 h 56"/>
                <a:gd name="T14" fmla="*/ 82 w 82"/>
                <a:gd name="T15" fmla="*/ 39 h 56"/>
                <a:gd name="T16" fmla="*/ 65 w 82"/>
                <a:gd name="T17" fmla="*/ 56 h 56"/>
                <a:gd name="T18" fmla="*/ 8 w 82"/>
                <a:gd name="T19" fmla="*/ 8 h 56"/>
                <a:gd name="T20" fmla="*/ 8 w 82"/>
                <a:gd name="T21" fmla="*/ 39 h 56"/>
                <a:gd name="T22" fmla="*/ 18 w 82"/>
                <a:gd name="T23" fmla="*/ 49 h 56"/>
                <a:gd name="T24" fmla="*/ 65 w 82"/>
                <a:gd name="T25" fmla="*/ 49 h 56"/>
                <a:gd name="T26" fmla="*/ 75 w 82"/>
                <a:gd name="T27" fmla="*/ 39 h 56"/>
                <a:gd name="T28" fmla="*/ 75 w 82"/>
                <a:gd name="T29" fmla="*/ 8 h 56"/>
                <a:gd name="T30" fmla="*/ 8 w 82"/>
                <a:gd name="T31" fmla="*/ 8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2" h="56">
                  <a:moveTo>
                    <a:pt x="65" y="56"/>
                  </a:moveTo>
                  <a:cubicBezTo>
                    <a:pt x="18" y="56"/>
                    <a:pt x="18" y="56"/>
                    <a:pt x="18" y="56"/>
                  </a:cubicBezTo>
                  <a:cubicBezTo>
                    <a:pt x="8" y="56"/>
                    <a:pt x="0" y="48"/>
                    <a:pt x="0" y="39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81" y="0"/>
                    <a:pt x="82" y="2"/>
                    <a:pt x="82" y="4"/>
                  </a:cubicBezTo>
                  <a:cubicBezTo>
                    <a:pt x="82" y="39"/>
                    <a:pt x="82" y="39"/>
                    <a:pt x="82" y="39"/>
                  </a:cubicBezTo>
                  <a:cubicBezTo>
                    <a:pt x="82" y="48"/>
                    <a:pt x="75" y="56"/>
                    <a:pt x="65" y="56"/>
                  </a:cubicBezTo>
                  <a:close/>
                  <a:moveTo>
                    <a:pt x="8" y="8"/>
                  </a:moveTo>
                  <a:cubicBezTo>
                    <a:pt x="8" y="39"/>
                    <a:pt x="8" y="39"/>
                    <a:pt x="8" y="39"/>
                  </a:cubicBezTo>
                  <a:cubicBezTo>
                    <a:pt x="8" y="44"/>
                    <a:pt x="12" y="49"/>
                    <a:pt x="18" y="49"/>
                  </a:cubicBezTo>
                  <a:cubicBezTo>
                    <a:pt x="65" y="49"/>
                    <a:pt x="65" y="49"/>
                    <a:pt x="65" y="49"/>
                  </a:cubicBezTo>
                  <a:cubicBezTo>
                    <a:pt x="71" y="49"/>
                    <a:pt x="75" y="44"/>
                    <a:pt x="75" y="39"/>
                  </a:cubicBezTo>
                  <a:cubicBezTo>
                    <a:pt x="75" y="8"/>
                    <a:pt x="75" y="8"/>
                    <a:pt x="75" y="8"/>
                  </a:cubicBezTo>
                  <a:lnTo>
                    <a:pt x="8" y="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42" name="Shape13_20200717_154439">
            <a:extLst>
              <a:ext uri="{FF2B5EF4-FFF2-40B4-BE49-F238E27FC236}">
                <a16:creationId xmlns:a16="http://schemas.microsoft.com/office/drawing/2014/main" id="{7315F77A-3AE6-2550-68D0-44FFB0EA8E21}"/>
              </a:ext>
            </a:extLst>
          </p:cNvPr>
          <p:cNvSpPr>
            <a:spLocks noChangeAspect="1"/>
          </p:cNvSpPr>
          <p:nvPr/>
        </p:nvSpPr>
        <p:spPr bwMode="auto">
          <a:xfrm>
            <a:off x="2057209" y="2566747"/>
            <a:ext cx="244242" cy="240754"/>
          </a:xfrm>
          <a:custGeom>
            <a:avLst/>
            <a:gdLst>
              <a:gd name="T0" fmla="*/ 19 w 92"/>
              <a:gd name="T1" fmla="*/ 92 h 92"/>
              <a:gd name="T2" fmla="*/ 16 w 92"/>
              <a:gd name="T3" fmla="*/ 90 h 92"/>
              <a:gd name="T4" fmla="*/ 21 w 92"/>
              <a:gd name="T5" fmla="*/ 21 h 92"/>
              <a:gd name="T6" fmla="*/ 90 w 92"/>
              <a:gd name="T7" fmla="*/ 17 h 92"/>
              <a:gd name="T8" fmla="*/ 91 w 92"/>
              <a:gd name="T9" fmla="*/ 22 h 92"/>
              <a:gd name="T10" fmla="*/ 86 w 92"/>
              <a:gd name="T11" fmla="*/ 22 h 92"/>
              <a:gd name="T12" fmla="*/ 26 w 92"/>
              <a:gd name="T13" fmla="*/ 26 h 92"/>
              <a:gd name="T14" fmla="*/ 22 w 92"/>
              <a:gd name="T15" fmla="*/ 86 h 92"/>
              <a:gd name="T16" fmla="*/ 22 w 92"/>
              <a:gd name="T17" fmla="*/ 91 h 92"/>
              <a:gd name="T18" fmla="*/ 19 w 92"/>
              <a:gd name="T19" fmla="*/ 92 h 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92" h="92">
                <a:moveTo>
                  <a:pt x="19" y="92"/>
                </a:moveTo>
                <a:cubicBezTo>
                  <a:pt x="18" y="92"/>
                  <a:pt x="17" y="91"/>
                  <a:pt x="16" y="90"/>
                </a:cubicBezTo>
                <a:cubicBezTo>
                  <a:pt x="0" y="70"/>
                  <a:pt x="2" y="40"/>
                  <a:pt x="21" y="21"/>
                </a:cubicBezTo>
                <a:cubicBezTo>
                  <a:pt x="40" y="2"/>
                  <a:pt x="69" y="0"/>
                  <a:pt x="90" y="17"/>
                </a:cubicBezTo>
                <a:cubicBezTo>
                  <a:pt x="92" y="18"/>
                  <a:pt x="92" y="20"/>
                  <a:pt x="91" y="22"/>
                </a:cubicBezTo>
                <a:cubicBezTo>
                  <a:pt x="90" y="23"/>
                  <a:pt x="88" y="23"/>
                  <a:pt x="86" y="22"/>
                </a:cubicBezTo>
                <a:cubicBezTo>
                  <a:pt x="68" y="8"/>
                  <a:pt x="42" y="10"/>
                  <a:pt x="26" y="26"/>
                </a:cubicBezTo>
                <a:cubicBezTo>
                  <a:pt x="10" y="42"/>
                  <a:pt x="8" y="68"/>
                  <a:pt x="22" y="86"/>
                </a:cubicBezTo>
                <a:cubicBezTo>
                  <a:pt x="23" y="88"/>
                  <a:pt x="23" y="90"/>
                  <a:pt x="22" y="91"/>
                </a:cubicBezTo>
                <a:cubicBezTo>
                  <a:pt x="21" y="92"/>
                  <a:pt x="20" y="92"/>
                  <a:pt x="19" y="9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43" name="Shape14_20200717_154439">
            <a:extLst>
              <a:ext uri="{FF2B5EF4-FFF2-40B4-BE49-F238E27FC236}">
                <a16:creationId xmlns:a16="http://schemas.microsoft.com/office/drawing/2014/main" id="{F945D6FD-502A-4AE0-3378-893BDA0FDC75}"/>
              </a:ext>
            </a:extLst>
          </p:cNvPr>
          <p:cNvSpPr>
            <a:spLocks noChangeAspect="1"/>
          </p:cNvSpPr>
          <p:nvPr/>
        </p:nvSpPr>
        <p:spPr bwMode="auto">
          <a:xfrm>
            <a:off x="2058953" y="2566747"/>
            <a:ext cx="240754" cy="240754"/>
          </a:xfrm>
          <a:custGeom>
            <a:avLst/>
            <a:gdLst>
              <a:gd name="T0" fmla="*/ 73 w 92"/>
              <a:gd name="T1" fmla="*/ 92 h 92"/>
              <a:gd name="T2" fmla="*/ 71 w 92"/>
              <a:gd name="T3" fmla="*/ 91 h 92"/>
              <a:gd name="T4" fmla="*/ 70 w 92"/>
              <a:gd name="T5" fmla="*/ 86 h 92"/>
              <a:gd name="T6" fmla="*/ 66 w 92"/>
              <a:gd name="T7" fmla="*/ 26 h 92"/>
              <a:gd name="T8" fmla="*/ 6 w 92"/>
              <a:gd name="T9" fmla="*/ 22 h 92"/>
              <a:gd name="T10" fmla="*/ 1 w 92"/>
              <a:gd name="T11" fmla="*/ 22 h 92"/>
              <a:gd name="T12" fmla="*/ 2 w 92"/>
              <a:gd name="T13" fmla="*/ 17 h 92"/>
              <a:gd name="T14" fmla="*/ 71 w 92"/>
              <a:gd name="T15" fmla="*/ 21 h 92"/>
              <a:gd name="T16" fmla="*/ 76 w 92"/>
              <a:gd name="T17" fmla="*/ 90 h 92"/>
              <a:gd name="T18" fmla="*/ 73 w 92"/>
              <a:gd name="T19" fmla="*/ 92 h 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92" h="92">
                <a:moveTo>
                  <a:pt x="73" y="92"/>
                </a:moveTo>
                <a:cubicBezTo>
                  <a:pt x="72" y="92"/>
                  <a:pt x="71" y="92"/>
                  <a:pt x="71" y="91"/>
                </a:cubicBezTo>
                <a:cubicBezTo>
                  <a:pt x="69" y="90"/>
                  <a:pt x="69" y="88"/>
                  <a:pt x="70" y="86"/>
                </a:cubicBezTo>
                <a:cubicBezTo>
                  <a:pt x="84" y="68"/>
                  <a:pt x="82" y="42"/>
                  <a:pt x="66" y="26"/>
                </a:cubicBezTo>
                <a:cubicBezTo>
                  <a:pt x="50" y="10"/>
                  <a:pt x="24" y="8"/>
                  <a:pt x="6" y="22"/>
                </a:cubicBezTo>
                <a:cubicBezTo>
                  <a:pt x="5" y="23"/>
                  <a:pt x="2" y="23"/>
                  <a:pt x="1" y="22"/>
                </a:cubicBezTo>
                <a:cubicBezTo>
                  <a:pt x="0" y="20"/>
                  <a:pt x="0" y="18"/>
                  <a:pt x="2" y="17"/>
                </a:cubicBezTo>
                <a:cubicBezTo>
                  <a:pt x="23" y="0"/>
                  <a:pt x="53" y="2"/>
                  <a:pt x="71" y="21"/>
                </a:cubicBezTo>
                <a:cubicBezTo>
                  <a:pt x="90" y="40"/>
                  <a:pt x="92" y="69"/>
                  <a:pt x="76" y="90"/>
                </a:cubicBezTo>
                <a:cubicBezTo>
                  <a:pt x="75" y="91"/>
                  <a:pt x="74" y="92"/>
                  <a:pt x="73" y="9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grpSp>
        <p:nvGrpSpPr>
          <p:cNvPr id="44" name="Shape15_20200717_154439">
            <a:extLst>
              <a:ext uri="{FF2B5EF4-FFF2-40B4-BE49-F238E27FC236}">
                <a16:creationId xmlns:a16="http://schemas.microsoft.com/office/drawing/2014/main" id="{5931883E-A516-DE60-06F5-A8A87C3BDF60}"/>
              </a:ext>
            </a:extLst>
          </p:cNvPr>
          <p:cNvGrpSpPr>
            <a:grpSpLocks noChangeAspect="1"/>
          </p:cNvGrpSpPr>
          <p:nvPr/>
        </p:nvGrpSpPr>
        <p:grpSpPr>
          <a:xfrm>
            <a:off x="1889729" y="2594661"/>
            <a:ext cx="579203" cy="589671"/>
            <a:chOff x="-5675388" y="3651035"/>
            <a:chExt cx="579203" cy="589671"/>
          </a:xfrm>
          <a:solidFill>
            <a:schemeClr val="accent1"/>
          </a:solidFill>
        </p:grpSpPr>
        <p:sp>
          <p:nvSpPr>
            <p:cNvPr id="140" name="Freeform 587">
              <a:extLst>
                <a:ext uri="{FF2B5EF4-FFF2-40B4-BE49-F238E27FC236}">
                  <a16:creationId xmlns:a16="http://schemas.microsoft.com/office/drawing/2014/main" id="{4C977FF5-9C14-48EC-5C6A-9C4324DED5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630030" y="3699883"/>
              <a:ext cx="484996" cy="481506"/>
            </a:xfrm>
            <a:custGeom>
              <a:avLst/>
              <a:gdLst>
                <a:gd name="T0" fmla="*/ 92 w 184"/>
                <a:gd name="T1" fmla="*/ 184 h 184"/>
                <a:gd name="T2" fmla="*/ 0 w 184"/>
                <a:gd name="T3" fmla="*/ 92 h 184"/>
                <a:gd name="T4" fmla="*/ 92 w 184"/>
                <a:gd name="T5" fmla="*/ 0 h 184"/>
                <a:gd name="T6" fmla="*/ 184 w 184"/>
                <a:gd name="T7" fmla="*/ 92 h 184"/>
                <a:gd name="T8" fmla="*/ 92 w 184"/>
                <a:gd name="T9" fmla="*/ 184 h 184"/>
                <a:gd name="T10" fmla="*/ 92 w 184"/>
                <a:gd name="T11" fmla="*/ 7 h 184"/>
                <a:gd name="T12" fmla="*/ 7 w 184"/>
                <a:gd name="T13" fmla="*/ 92 h 184"/>
                <a:gd name="T14" fmla="*/ 92 w 184"/>
                <a:gd name="T15" fmla="*/ 177 h 184"/>
                <a:gd name="T16" fmla="*/ 177 w 184"/>
                <a:gd name="T17" fmla="*/ 92 h 184"/>
                <a:gd name="T18" fmla="*/ 92 w 184"/>
                <a:gd name="T19" fmla="*/ 7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4" h="184">
                  <a:moveTo>
                    <a:pt x="92" y="184"/>
                  </a:moveTo>
                  <a:cubicBezTo>
                    <a:pt x="42" y="184"/>
                    <a:pt x="0" y="143"/>
                    <a:pt x="0" y="92"/>
                  </a:cubicBezTo>
                  <a:cubicBezTo>
                    <a:pt x="0" y="41"/>
                    <a:pt x="42" y="0"/>
                    <a:pt x="92" y="0"/>
                  </a:cubicBezTo>
                  <a:cubicBezTo>
                    <a:pt x="143" y="0"/>
                    <a:pt x="184" y="41"/>
                    <a:pt x="184" y="92"/>
                  </a:cubicBezTo>
                  <a:cubicBezTo>
                    <a:pt x="184" y="143"/>
                    <a:pt x="143" y="184"/>
                    <a:pt x="92" y="184"/>
                  </a:cubicBezTo>
                  <a:close/>
                  <a:moveTo>
                    <a:pt x="92" y="7"/>
                  </a:moveTo>
                  <a:cubicBezTo>
                    <a:pt x="45" y="7"/>
                    <a:pt x="7" y="45"/>
                    <a:pt x="7" y="92"/>
                  </a:cubicBezTo>
                  <a:cubicBezTo>
                    <a:pt x="7" y="139"/>
                    <a:pt x="45" y="177"/>
                    <a:pt x="92" y="177"/>
                  </a:cubicBezTo>
                  <a:cubicBezTo>
                    <a:pt x="139" y="177"/>
                    <a:pt x="177" y="139"/>
                    <a:pt x="177" y="92"/>
                  </a:cubicBezTo>
                  <a:cubicBezTo>
                    <a:pt x="177" y="45"/>
                    <a:pt x="139" y="7"/>
                    <a:pt x="92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1" name="Freeform 588">
              <a:extLst>
                <a:ext uri="{FF2B5EF4-FFF2-40B4-BE49-F238E27FC236}">
                  <a16:creationId xmlns:a16="http://schemas.microsoft.com/office/drawing/2014/main" id="{DD7E8F6F-C03A-94AC-3BD5-5D7AF6A727C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675388" y="3651035"/>
              <a:ext cx="579203" cy="579203"/>
            </a:xfrm>
            <a:custGeom>
              <a:avLst/>
              <a:gdLst>
                <a:gd name="T0" fmla="*/ 110 w 221"/>
                <a:gd name="T1" fmla="*/ 220 h 220"/>
                <a:gd name="T2" fmla="*/ 0 w 221"/>
                <a:gd name="T3" fmla="*/ 110 h 220"/>
                <a:gd name="T4" fmla="*/ 110 w 221"/>
                <a:gd name="T5" fmla="*/ 0 h 220"/>
                <a:gd name="T6" fmla="*/ 221 w 221"/>
                <a:gd name="T7" fmla="*/ 110 h 220"/>
                <a:gd name="T8" fmla="*/ 110 w 221"/>
                <a:gd name="T9" fmla="*/ 220 h 220"/>
                <a:gd name="T10" fmla="*/ 110 w 221"/>
                <a:gd name="T11" fmla="*/ 7 h 220"/>
                <a:gd name="T12" fmla="*/ 7 w 221"/>
                <a:gd name="T13" fmla="*/ 110 h 220"/>
                <a:gd name="T14" fmla="*/ 110 w 221"/>
                <a:gd name="T15" fmla="*/ 213 h 220"/>
                <a:gd name="T16" fmla="*/ 213 w 221"/>
                <a:gd name="T17" fmla="*/ 110 h 220"/>
                <a:gd name="T18" fmla="*/ 110 w 221"/>
                <a:gd name="T19" fmla="*/ 7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1" h="220">
                  <a:moveTo>
                    <a:pt x="110" y="220"/>
                  </a:moveTo>
                  <a:cubicBezTo>
                    <a:pt x="49" y="220"/>
                    <a:pt x="0" y="171"/>
                    <a:pt x="0" y="110"/>
                  </a:cubicBezTo>
                  <a:cubicBezTo>
                    <a:pt x="0" y="49"/>
                    <a:pt x="49" y="0"/>
                    <a:pt x="110" y="0"/>
                  </a:cubicBezTo>
                  <a:cubicBezTo>
                    <a:pt x="171" y="0"/>
                    <a:pt x="221" y="49"/>
                    <a:pt x="221" y="110"/>
                  </a:cubicBezTo>
                  <a:cubicBezTo>
                    <a:pt x="221" y="171"/>
                    <a:pt x="171" y="220"/>
                    <a:pt x="110" y="220"/>
                  </a:cubicBezTo>
                  <a:close/>
                  <a:moveTo>
                    <a:pt x="110" y="7"/>
                  </a:moveTo>
                  <a:cubicBezTo>
                    <a:pt x="53" y="7"/>
                    <a:pt x="7" y="53"/>
                    <a:pt x="7" y="110"/>
                  </a:cubicBezTo>
                  <a:cubicBezTo>
                    <a:pt x="7" y="167"/>
                    <a:pt x="53" y="213"/>
                    <a:pt x="110" y="213"/>
                  </a:cubicBezTo>
                  <a:cubicBezTo>
                    <a:pt x="167" y="213"/>
                    <a:pt x="213" y="167"/>
                    <a:pt x="213" y="110"/>
                  </a:cubicBezTo>
                  <a:cubicBezTo>
                    <a:pt x="213" y="53"/>
                    <a:pt x="167" y="7"/>
                    <a:pt x="110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2" name="Freeform 589">
              <a:extLst>
                <a:ext uri="{FF2B5EF4-FFF2-40B4-BE49-F238E27FC236}">
                  <a16:creationId xmlns:a16="http://schemas.microsoft.com/office/drawing/2014/main" id="{D02FE2BE-1424-F193-235A-C6102D1B8972}"/>
                </a:ext>
              </a:extLst>
            </p:cNvPr>
            <p:cNvSpPr>
              <a:spLocks/>
            </p:cNvSpPr>
            <p:nvPr/>
          </p:nvSpPr>
          <p:spPr bwMode="auto">
            <a:xfrm>
              <a:off x="-5473016" y="3808049"/>
              <a:ext cx="216329" cy="143057"/>
            </a:xfrm>
            <a:custGeom>
              <a:avLst/>
              <a:gdLst>
                <a:gd name="T0" fmla="*/ 32 w 82"/>
                <a:gd name="T1" fmla="*/ 54 h 54"/>
                <a:gd name="T2" fmla="*/ 29 w 82"/>
                <a:gd name="T3" fmla="*/ 52 h 54"/>
                <a:gd name="T4" fmla="*/ 1 w 82"/>
                <a:gd name="T5" fmla="*/ 7 h 54"/>
                <a:gd name="T6" fmla="*/ 2 w 82"/>
                <a:gd name="T7" fmla="*/ 2 h 54"/>
                <a:gd name="T8" fmla="*/ 7 w 82"/>
                <a:gd name="T9" fmla="*/ 3 h 54"/>
                <a:gd name="T10" fmla="*/ 34 w 82"/>
                <a:gd name="T11" fmla="*/ 46 h 54"/>
                <a:gd name="T12" fmla="*/ 76 w 82"/>
                <a:gd name="T13" fmla="*/ 26 h 54"/>
                <a:gd name="T14" fmla="*/ 81 w 82"/>
                <a:gd name="T15" fmla="*/ 28 h 54"/>
                <a:gd name="T16" fmla="*/ 79 w 82"/>
                <a:gd name="T17" fmla="*/ 33 h 54"/>
                <a:gd name="T18" fmla="*/ 34 w 82"/>
                <a:gd name="T19" fmla="*/ 53 h 54"/>
                <a:gd name="T20" fmla="*/ 32 w 82"/>
                <a:gd name="T21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2" h="54">
                  <a:moveTo>
                    <a:pt x="32" y="54"/>
                  </a:moveTo>
                  <a:cubicBezTo>
                    <a:pt x="31" y="54"/>
                    <a:pt x="30" y="53"/>
                    <a:pt x="29" y="52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5"/>
                    <a:pt x="0" y="3"/>
                    <a:pt x="2" y="2"/>
                  </a:cubicBezTo>
                  <a:cubicBezTo>
                    <a:pt x="3" y="0"/>
                    <a:pt x="6" y="1"/>
                    <a:pt x="7" y="3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76" y="26"/>
                    <a:pt x="76" y="26"/>
                    <a:pt x="76" y="26"/>
                  </a:cubicBezTo>
                  <a:cubicBezTo>
                    <a:pt x="78" y="25"/>
                    <a:pt x="80" y="26"/>
                    <a:pt x="81" y="28"/>
                  </a:cubicBezTo>
                  <a:cubicBezTo>
                    <a:pt x="82" y="30"/>
                    <a:pt x="81" y="32"/>
                    <a:pt x="79" y="3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3" y="54"/>
                    <a:pt x="33" y="54"/>
                    <a:pt x="32" y="5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3" name="Freeform 592">
              <a:extLst>
                <a:ext uri="{FF2B5EF4-FFF2-40B4-BE49-F238E27FC236}">
                  <a16:creationId xmlns:a16="http://schemas.microsoft.com/office/drawing/2014/main" id="{D67418F4-E503-B727-E30B-9B1A4DC9690A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54453" y="4115096"/>
              <a:ext cx="101187" cy="125610"/>
            </a:xfrm>
            <a:custGeom>
              <a:avLst/>
              <a:gdLst>
                <a:gd name="T0" fmla="*/ 4 w 38"/>
                <a:gd name="T1" fmla="*/ 48 h 48"/>
                <a:gd name="T2" fmla="*/ 2 w 38"/>
                <a:gd name="T3" fmla="*/ 48 h 48"/>
                <a:gd name="T4" fmla="*/ 0 w 38"/>
                <a:gd name="T5" fmla="*/ 45 h 48"/>
                <a:gd name="T6" fmla="*/ 0 w 38"/>
                <a:gd name="T7" fmla="*/ 4 h 48"/>
                <a:gd name="T8" fmla="*/ 4 w 38"/>
                <a:gd name="T9" fmla="*/ 0 h 48"/>
                <a:gd name="T10" fmla="*/ 7 w 38"/>
                <a:gd name="T11" fmla="*/ 4 h 48"/>
                <a:gd name="T12" fmla="*/ 7 w 38"/>
                <a:gd name="T13" fmla="*/ 40 h 48"/>
                <a:gd name="T14" fmla="*/ 33 w 38"/>
                <a:gd name="T15" fmla="*/ 31 h 48"/>
                <a:gd name="T16" fmla="*/ 37 w 38"/>
                <a:gd name="T17" fmla="*/ 33 h 48"/>
                <a:gd name="T18" fmla="*/ 35 w 38"/>
                <a:gd name="T19" fmla="*/ 38 h 48"/>
                <a:gd name="T20" fmla="*/ 5 w 38"/>
                <a:gd name="T21" fmla="*/ 48 h 48"/>
                <a:gd name="T22" fmla="*/ 4 w 38"/>
                <a:gd name="T2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8" h="48">
                  <a:moveTo>
                    <a:pt x="4" y="48"/>
                  </a:moveTo>
                  <a:cubicBezTo>
                    <a:pt x="3" y="48"/>
                    <a:pt x="2" y="48"/>
                    <a:pt x="2" y="48"/>
                  </a:cubicBezTo>
                  <a:cubicBezTo>
                    <a:pt x="1" y="47"/>
                    <a:pt x="0" y="46"/>
                    <a:pt x="0" y="4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7" y="2"/>
                    <a:pt x="7" y="4"/>
                  </a:cubicBezTo>
                  <a:cubicBezTo>
                    <a:pt x="7" y="40"/>
                    <a:pt x="7" y="40"/>
                    <a:pt x="7" y="40"/>
                  </a:cubicBezTo>
                  <a:cubicBezTo>
                    <a:pt x="33" y="31"/>
                    <a:pt x="33" y="31"/>
                    <a:pt x="33" y="31"/>
                  </a:cubicBezTo>
                  <a:cubicBezTo>
                    <a:pt x="35" y="30"/>
                    <a:pt x="37" y="31"/>
                    <a:pt x="37" y="33"/>
                  </a:cubicBezTo>
                  <a:cubicBezTo>
                    <a:pt x="38" y="35"/>
                    <a:pt x="37" y="37"/>
                    <a:pt x="35" y="38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4" y="48"/>
                    <a:pt x="4" y="48"/>
                    <a:pt x="4" y="4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4" name="Freeform 593">
              <a:extLst>
                <a:ext uri="{FF2B5EF4-FFF2-40B4-BE49-F238E27FC236}">
                  <a16:creationId xmlns:a16="http://schemas.microsoft.com/office/drawing/2014/main" id="{88EEDC3F-244F-AE1F-1E2B-493F8359D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218308" y="4115096"/>
              <a:ext cx="97697" cy="125610"/>
            </a:xfrm>
            <a:custGeom>
              <a:avLst/>
              <a:gdLst>
                <a:gd name="T0" fmla="*/ 34 w 38"/>
                <a:gd name="T1" fmla="*/ 48 h 48"/>
                <a:gd name="T2" fmla="*/ 33 w 38"/>
                <a:gd name="T3" fmla="*/ 48 h 48"/>
                <a:gd name="T4" fmla="*/ 3 w 38"/>
                <a:gd name="T5" fmla="*/ 38 h 48"/>
                <a:gd name="T6" fmla="*/ 1 w 38"/>
                <a:gd name="T7" fmla="*/ 33 h 48"/>
                <a:gd name="T8" fmla="*/ 5 w 38"/>
                <a:gd name="T9" fmla="*/ 31 h 48"/>
                <a:gd name="T10" fmla="*/ 31 w 38"/>
                <a:gd name="T11" fmla="*/ 40 h 48"/>
                <a:gd name="T12" fmla="*/ 31 w 38"/>
                <a:gd name="T13" fmla="*/ 4 h 48"/>
                <a:gd name="T14" fmla="*/ 34 w 38"/>
                <a:gd name="T15" fmla="*/ 0 h 48"/>
                <a:gd name="T16" fmla="*/ 38 w 38"/>
                <a:gd name="T17" fmla="*/ 4 h 48"/>
                <a:gd name="T18" fmla="*/ 38 w 38"/>
                <a:gd name="T19" fmla="*/ 45 h 48"/>
                <a:gd name="T20" fmla="*/ 36 w 38"/>
                <a:gd name="T21" fmla="*/ 48 h 48"/>
                <a:gd name="T22" fmla="*/ 34 w 38"/>
                <a:gd name="T2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8" h="48">
                  <a:moveTo>
                    <a:pt x="34" y="48"/>
                  </a:moveTo>
                  <a:cubicBezTo>
                    <a:pt x="34" y="48"/>
                    <a:pt x="33" y="48"/>
                    <a:pt x="33" y="48"/>
                  </a:cubicBezTo>
                  <a:cubicBezTo>
                    <a:pt x="3" y="38"/>
                    <a:pt x="3" y="38"/>
                    <a:pt x="3" y="38"/>
                  </a:cubicBezTo>
                  <a:cubicBezTo>
                    <a:pt x="1" y="37"/>
                    <a:pt x="0" y="35"/>
                    <a:pt x="1" y="33"/>
                  </a:cubicBezTo>
                  <a:cubicBezTo>
                    <a:pt x="1" y="31"/>
                    <a:pt x="3" y="30"/>
                    <a:pt x="5" y="31"/>
                  </a:cubicBezTo>
                  <a:cubicBezTo>
                    <a:pt x="31" y="40"/>
                    <a:pt x="31" y="40"/>
                    <a:pt x="31" y="40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2"/>
                    <a:pt x="32" y="0"/>
                    <a:pt x="34" y="0"/>
                  </a:cubicBezTo>
                  <a:cubicBezTo>
                    <a:pt x="36" y="0"/>
                    <a:pt x="38" y="2"/>
                    <a:pt x="38" y="4"/>
                  </a:cubicBezTo>
                  <a:cubicBezTo>
                    <a:pt x="38" y="45"/>
                    <a:pt x="38" y="45"/>
                    <a:pt x="38" y="45"/>
                  </a:cubicBezTo>
                  <a:cubicBezTo>
                    <a:pt x="38" y="46"/>
                    <a:pt x="37" y="47"/>
                    <a:pt x="36" y="48"/>
                  </a:cubicBezTo>
                  <a:cubicBezTo>
                    <a:pt x="36" y="48"/>
                    <a:pt x="35" y="48"/>
                    <a:pt x="34" y="4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5" name="Shape16_20200717_154439">
            <a:extLst>
              <a:ext uri="{FF2B5EF4-FFF2-40B4-BE49-F238E27FC236}">
                <a16:creationId xmlns:a16="http://schemas.microsoft.com/office/drawing/2014/main" id="{0A406856-F108-565A-58B2-BDEFFD2BA29A}"/>
              </a:ext>
            </a:extLst>
          </p:cNvPr>
          <p:cNvGrpSpPr>
            <a:grpSpLocks noChangeAspect="1"/>
          </p:cNvGrpSpPr>
          <p:nvPr/>
        </p:nvGrpSpPr>
        <p:grpSpPr>
          <a:xfrm>
            <a:off x="7228841" y="1224592"/>
            <a:ext cx="345429" cy="624563"/>
            <a:chOff x="-5560247" y="2304214"/>
            <a:chExt cx="345429" cy="624563"/>
          </a:xfrm>
          <a:solidFill>
            <a:schemeClr val="accent1"/>
          </a:solidFill>
        </p:grpSpPr>
        <p:sp>
          <p:nvSpPr>
            <p:cNvPr id="136" name="Freeform 594">
              <a:extLst>
                <a:ext uri="{FF2B5EF4-FFF2-40B4-BE49-F238E27FC236}">
                  <a16:creationId xmlns:a16="http://schemas.microsoft.com/office/drawing/2014/main" id="{4CE41144-0D6A-8B91-B412-85B4B711A9FC}"/>
                </a:ext>
              </a:extLst>
            </p:cNvPr>
            <p:cNvSpPr>
              <a:spLocks/>
            </p:cNvSpPr>
            <p:nvPr/>
          </p:nvSpPr>
          <p:spPr bwMode="auto">
            <a:xfrm>
              <a:off x="-5535821" y="2346084"/>
              <a:ext cx="300069" cy="544311"/>
            </a:xfrm>
            <a:custGeom>
              <a:avLst/>
              <a:gdLst>
                <a:gd name="T0" fmla="*/ 111 w 115"/>
                <a:gd name="T1" fmla="*/ 207 h 207"/>
                <a:gd name="T2" fmla="*/ 108 w 115"/>
                <a:gd name="T3" fmla="*/ 203 h 207"/>
                <a:gd name="T4" fmla="*/ 55 w 115"/>
                <a:gd name="T5" fmla="*/ 106 h 207"/>
                <a:gd name="T6" fmla="*/ 0 w 115"/>
                <a:gd name="T7" fmla="*/ 3 h 207"/>
                <a:gd name="T8" fmla="*/ 4 w 115"/>
                <a:gd name="T9" fmla="*/ 0 h 207"/>
                <a:gd name="T10" fmla="*/ 7 w 115"/>
                <a:gd name="T11" fmla="*/ 3 h 207"/>
                <a:gd name="T12" fmla="*/ 60 w 115"/>
                <a:gd name="T13" fmla="*/ 101 h 207"/>
                <a:gd name="T14" fmla="*/ 115 w 115"/>
                <a:gd name="T15" fmla="*/ 203 h 207"/>
                <a:gd name="T16" fmla="*/ 111 w 115"/>
                <a:gd name="T17" fmla="*/ 207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5" h="207">
                  <a:moveTo>
                    <a:pt x="111" y="207"/>
                  </a:moveTo>
                  <a:cubicBezTo>
                    <a:pt x="109" y="207"/>
                    <a:pt x="108" y="205"/>
                    <a:pt x="108" y="203"/>
                  </a:cubicBezTo>
                  <a:cubicBezTo>
                    <a:pt x="108" y="155"/>
                    <a:pt x="82" y="131"/>
                    <a:pt x="55" y="106"/>
                  </a:cubicBezTo>
                  <a:cubicBezTo>
                    <a:pt x="28" y="81"/>
                    <a:pt x="0" y="5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" y="0"/>
                    <a:pt x="7" y="1"/>
                    <a:pt x="7" y="3"/>
                  </a:cubicBezTo>
                  <a:cubicBezTo>
                    <a:pt x="7" y="52"/>
                    <a:pt x="33" y="75"/>
                    <a:pt x="60" y="101"/>
                  </a:cubicBezTo>
                  <a:cubicBezTo>
                    <a:pt x="87" y="126"/>
                    <a:pt x="115" y="152"/>
                    <a:pt x="115" y="203"/>
                  </a:cubicBezTo>
                  <a:cubicBezTo>
                    <a:pt x="115" y="205"/>
                    <a:pt x="113" y="207"/>
                    <a:pt x="111" y="2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7" name="Freeform 595">
              <a:extLst>
                <a:ext uri="{FF2B5EF4-FFF2-40B4-BE49-F238E27FC236}">
                  <a16:creationId xmlns:a16="http://schemas.microsoft.com/office/drawing/2014/main" id="{EB9822BB-B4AD-FA27-1613-2E6ABF70A107}"/>
                </a:ext>
              </a:extLst>
            </p:cNvPr>
            <p:cNvSpPr>
              <a:spLocks/>
            </p:cNvSpPr>
            <p:nvPr/>
          </p:nvSpPr>
          <p:spPr bwMode="auto">
            <a:xfrm>
              <a:off x="-5535821" y="2346084"/>
              <a:ext cx="300069" cy="544311"/>
            </a:xfrm>
            <a:custGeom>
              <a:avLst/>
              <a:gdLst>
                <a:gd name="T0" fmla="*/ 4 w 115"/>
                <a:gd name="T1" fmla="*/ 207 h 207"/>
                <a:gd name="T2" fmla="*/ 0 w 115"/>
                <a:gd name="T3" fmla="*/ 203 h 207"/>
                <a:gd name="T4" fmla="*/ 55 w 115"/>
                <a:gd name="T5" fmla="*/ 101 h 207"/>
                <a:gd name="T6" fmla="*/ 108 w 115"/>
                <a:gd name="T7" fmla="*/ 3 h 207"/>
                <a:gd name="T8" fmla="*/ 111 w 115"/>
                <a:gd name="T9" fmla="*/ 0 h 207"/>
                <a:gd name="T10" fmla="*/ 115 w 115"/>
                <a:gd name="T11" fmla="*/ 3 h 207"/>
                <a:gd name="T12" fmla="*/ 60 w 115"/>
                <a:gd name="T13" fmla="*/ 106 h 207"/>
                <a:gd name="T14" fmla="*/ 7 w 115"/>
                <a:gd name="T15" fmla="*/ 203 h 207"/>
                <a:gd name="T16" fmla="*/ 4 w 115"/>
                <a:gd name="T17" fmla="*/ 207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5" h="207">
                  <a:moveTo>
                    <a:pt x="4" y="207"/>
                  </a:moveTo>
                  <a:cubicBezTo>
                    <a:pt x="2" y="207"/>
                    <a:pt x="0" y="205"/>
                    <a:pt x="0" y="203"/>
                  </a:cubicBezTo>
                  <a:cubicBezTo>
                    <a:pt x="0" y="152"/>
                    <a:pt x="28" y="126"/>
                    <a:pt x="55" y="101"/>
                  </a:cubicBezTo>
                  <a:cubicBezTo>
                    <a:pt x="82" y="75"/>
                    <a:pt x="108" y="52"/>
                    <a:pt x="108" y="3"/>
                  </a:cubicBezTo>
                  <a:cubicBezTo>
                    <a:pt x="108" y="1"/>
                    <a:pt x="109" y="0"/>
                    <a:pt x="111" y="0"/>
                  </a:cubicBezTo>
                  <a:cubicBezTo>
                    <a:pt x="113" y="0"/>
                    <a:pt x="115" y="1"/>
                    <a:pt x="115" y="3"/>
                  </a:cubicBezTo>
                  <a:cubicBezTo>
                    <a:pt x="115" y="55"/>
                    <a:pt x="87" y="81"/>
                    <a:pt x="60" y="106"/>
                  </a:cubicBezTo>
                  <a:cubicBezTo>
                    <a:pt x="33" y="131"/>
                    <a:pt x="7" y="155"/>
                    <a:pt x="7" y="203"/>
                  </a:cubicBezTo>
                  <a:cubicBezTo>
                    <a:pt x="7" y="205"/>
                    <a:pt x="6" y="207"/>
                    <a:pt x="4" y="2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8" name="Freeform 596">
              <a:extLst>
                <a:ext uri="{FF2B5EF4-FFF2-40B4-BE49-F238E27FC236}">
                  <a16:creationId xmlns:a16="http://schemas.microsoft.com/office/drawing/2014/main" id="{7A836EA7-EAC1-FDD3-E1A6-DA5400CE36C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560247" y="2304214"/>
              <a:ext cx="345429" cy="59317"/>
            </a:xfrm>
            <a:custGeom>
              <a:avLst/>
              <a:gdLst>
                <a:gd name="T0" fmla="*/ 121 w 131"/>
                <a:gd name="T1" fmla="*/ 22 h 22"/>
                <a:gd name="T2" fmla="*/ 11 w 131"/>
                <a:gd name="T3" fmla="*/ 22 h 22"/>
                <a:gd name="T4" fmla="*/ 0 w 131"/>
                <a:gd name="T5" fmla="*/ 11 h 22"/>
                <a:gd name="T6" fmla="*/ 11 w 131"/>
                <a:gd name="T7" fmla="*/ 0 h 22"/>
                <a:gd name="T8" fmla="*/ 121 w 131"/>
                <a:gd name="T9" fmla="*/ 0 h 22"/>
                <a:gd name="T10" fmla="*/ 131 w 131"/>
                <a:gd name="T11" fmla="*/ 11 h 22"/>
                <a:gd name="T12" fmla="*/ 121 w 131"/>
                <a:gd name="T13" fmla="*/ 22 h 22"/>
                <a:gd name="T14" fmla="*/ 11 w 131"/>
                <a:gd name="T15" fmla="*/ 7 h 22"/>
                <a:gd name="T16" fmla="*/ 7 w 131"/>
                <a:gd name="T17" fmla="*/ 11 h 22"/>
                <a:gd name="T18" fmla="*/ 11 w 131"/>
                <a:gd name="T19" fmla="*/ 15 h 22"/>
                <a:gd name="T20" fmla="*/ 121 w 131"/>
                <a:gd name="T21" fmla="*/ 15 h 22"/>
                <a:gd name="T22" fmla="*/ 124 w 131"/>
                <a:gd name="T23" fmla="*/ 11 h 22"/>
                <a:gd name="T24" fmla="*/ 121 w 131"/>
                <a:gd name="T25" fmla="*/ 7 h 22"/>
                <a:gd name="T26" fmla="*/ 11 w 131"/>
                <a:gd name="T27" fmla="*/ 7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1" h="22">
                  <a:moveTo>
                    <a:pt x="121" y="22"/>
                  </a:moveTo>
                  <a:cubicBezTo>
                    <a:pt x="11" y="22"/>
                    <a:pt x="11" y="22"/>
                    <a:pt x="11" y="22"/>
                  </a:cubicBezTo>
                  <a:cubicBezTo>
                    <a:pt x="5" y="22"/>
                    <a:pt x="0" y="17"/>
                    <a:pt x="0" y="11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121" y="0"/>
                    <a:pt x="121" y="0"/>
                    <a:pt x="121" y="0"/>
                  </a:cubicBezTo>
                  <a:cubicBezTo>
                    <a:pt x="127" y="0"/>
                    <a:pt x="131" y="5"/>
                    <a:pt x="131" y="11"/>
                  </a:cubicBezTo>
                  <a:cubicBezTo>
                    <a:pt x="131" y="17"/>
                    <a:pt x="127" y="22"/>
                    <a:pt x="121" y="22"/>
                  </a:cubicBezTo>
                  <a:close/>
                  <a:moveTo>
                    <a:pt x="11" y="7"/>
                  </a:moveTo>
                  <a:cubicBezTo>
                    <a:pt x="9" y="7"/>
                    <a:pt x="7" y="9"/>
                    <a:pt x="7" y="11"/>
                  </a:cubicBezTo>
                  <a:cubicBezTo>
                    <a:pt x="7" y="13"/>
                    <a:pt x="9" y="15"/>
                    <a:pt x="11" y="15"/>
                  </a:cubicBezTo>
                  <a:cubicBezTo>
                    <a:pt x="121" y="15"/>
                    <a:pt x="121" y="15"/>
                    <a:pt x="121" y="15"/>
                  </a:cubicBezTo>
                  <a:cubicBezTo>
                    <a:pt x="123" y="15"/>
                    <a:pt x="124" y="13"/>
                    <a:pt x="124" y="11"/>
                  </a:cubicBezTo>
                  <a:cubicBezTo>
                    <a:pt x="124" y="9"/>
                    <a:pt x="123" y="7"/>
                    <a:pt x="121" y="7"/>
                  </a:cubicBezTo>
                  <a:lnTo>
                    <a:pt x="11" y="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9" name="Freeform 597">
              <a:extLst>
                <a:ext uri="{FF2B5EF4-FFF2-40B4-BE49-F238E27FC236}">
                  <a16:creationId xmlns:a16="http://schemas.microsoft.com/office/drawing/2014/main" id="{E30F6853-09B1-0BD1-81E1-98135AA4DF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560247" y="2872950"/>
              <a:ext cx="345429" cy="55827"/>
            </a:xfrm>
            <a:custGeom>
              <a:avLst/>
              <a:gdLst>
                <a:gd name="T0" fmla="*/ 121 w 131"/>
                <a:gd name="T1" fmla="*/ 21 h 21"/>
                <a:gd name="T2" fmla="*/ 11 w 131"/>
                <a:gd name="T3" fmla="*/ 21 h 21"/>
                <a:gd name="T4" fmla="*/ 0 w 131"/>
                <a:gd name="T5" fmla="*/ 11 h 21"/>
                <a:gd name="T6" fmla="*/ 11 w 131"/>
                <a:gd name="T7" fmla="*/ 0 h 21"/>
                <a:gd name="T8" fmla="*/ 121 w 131"/>
                <a:gd name="T9" fmla="*/ 0 h 21"/>
                <a:gd name="T10" fmla="*/ 131 w 131"/>
                <a:gd name="T11" fmla="*/ 11 h 21"/>
                <a:gd name="T12" fmla="*/ 121 w 131"/>
                <a:gd name="T13" fmla="*/ 21 h 21"/>
                <a:gd name="T14" fmla="*/ 11 w 131"/>
                <a:gd name="T15" fmla="*/ 7 h 21"/>
                <a:gd name="T16" fmla="*/ 7 w 131"/>
                <a:gd name="T17" fmla="*/ 11 h 21"/>
                <a:gd name="T18" fmla="*/ 11 w 131"/>
                <a:gd name="T19" fmla="*/ 14 h 21"/>
                <a:gd name="T20" fmla="*/ 121 w 131"/>
                <a:gd name="T21" fmla="*/ 14 h 21"/>
                <a:gd name="T22" fmla="*/ 124 w 131"/>
                <a:gd name="T23" fmla="*/ 11 h 21"/>
                <a:gd name="T24" fmla="*/ 121 w 131"/>
                <a:gd name="T25" fmla="*/ 7 h 21"/>
                <a:gd name="T26" fmla="*/ 11 w 131"/>
                <a:gd name="T27" fmla="*/ 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1" h="21">
                  <a:moveTo>
                    <a:pt x="121" y="21"/>
                  </a:moveTo>
                  <a:cubicBezTo>
                    <a:pt x="11" y="21"/>
                    <a:pt x="11" y="21"/>
                    <a:pt x="11" y="21"/>
                  </a:cubicBezTo>
                  <a:cubicBezTo>
                    <a:pt x="5" y="21"/>
                    <a:pt x="0" y="17"/>
                    <a:pt x="0" y="11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121" y="0"/>
                    <a:pt x="121" y="0"/>
                    <a:pt x="121" y="0"/>
                  </a:cubicBezTo>
                  <a:cubicBezTo>
                    <a:pt x="127" y="0"/>
                    <a:pt x="131" y="5"/>
                    <a:pt x="131" y="11"/>
                  </a:cubicBezTo>
                  <a:cubicBezTo>
                    <a:pt x="131" y="17"/>
                    <a:pt x="127" y="21"/>
                    <a:pt x="121" y="21"/>
                  </a:cubicBezTo>
                  <a:close/>
                  <a:moveTo>
                    <a:pt x="11" y="7"/>
                  </a:moveTo>
                  <a:cubicBezTo>
                    <a:pt x="9" y="7"/>
                    <a:pt x="7" y="9"/>
                    <a:pt x="7" y="11"/>
                  </a:cubicBezTo>
                  <a:cubicBezTo>
                    <a:pt x="7" y="13"/>
                    <a:pt x="9" y="14"/>
                    <a:pt x="11" y="14"/>
                  </a:cubicBezTo>
                  <a:cubicBezTo>
                    <a:pt x="121" y="14"/>
                    <a:pt x="121" y="14"/>
                    <a:pt x="121" y="14"/>
                  </a:cubicBezTo>
                  <a:cubicBezTo>
                    <a:pt x="123" y="14"/>
                    <a:pt x="124" y="13"/>
                    <a:pt x="124" y="11"/>
                  </a:cubicBezTo>
                  <a:cubicBezTo>
                    <a:pt x="124" y="9"/>
                    <a:pt x="123" y="7"/>
                    <a:pt x="121" y="7"/>
                  </a:cubicBezTo>
                  <a:lnTo>
                    <a:pt x="11" y="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6" name="Shape17_20200717_154439">
            <a:extLst>
              <a:ext uri="{FF2B5EF4-FFF2-40B4-BE49-F238E27FC236}">
                <a16:creationId xmlns:a16="http://schemas.microsoft.com/office/drawing/2014/main" id="{B17FFD86-2891-6346-A041-C73E003049C6}"/>
              </a:ext>
            </a:extLst>
          </p:cNvPr>
          <p:cNvGrpSpPr>
            <a:grpSpLocks noChangeAspect="1"/>
          </p:cNvGrpSpPr>
          <p:nvPr/>
        </p:nvGrpSpPr>
        <p:grpSpPr>
          <a:xfrm>
            <a:off x="3122012" y="2448277"/>
            <a:ext cx="725748" cy="701325"/>
            <a:chOff x="-4516983" y="3577763"/>
            <a:chExt cx="725748" cy="701325"/>
          </a:xfrm>
          <a:solidFill>
            <a:schemeClr val="accent1"/>
          </a:solidFill>
        </p:grpSpPr>
        <p:sp>
          <p:nvSpPr>
            <p:cNvPr id="130" name="Freeform 598">
              <a:extLst>
                <a:ext uri="{FF2B5EF4-FFF2-40B4-BE49-F238E27FC236}">
                  <a16:creationId xmlns:a16="http://schemas.microsoft.com/office/drawing/2014/main" id="{3454E604-F297-F5C7-A5E4-106B0C63CE83}"/>
                </a:ext>
              </a:extLst>
            </p:cNvPr>
            <p:cNvSpPr>
              <a:spLocks/>
            </p:cNvSpPr>
            <p:nvPr/>
          </p:nvSpPr>
          <p:spPr bwMode="auto">
            <a:xfrm>
              <a:off x="-4311123" y="3839450"/>
              <a:ext cx="146545" cy="198884"/>
            </a:xfrm>
            <a:custGeom>
              <a:avLst/>
              <a:gdLst>
                <a:gd name="T0" fmla="*/ 52 w 56"/>
                <a:gd name="T1" fmla="*/ 76 h 76"/>
                <a:gd name="T2" fmla="*/ 4 w 56"/>
                <a:gd name="T3" fmla="*/ 76 h 76"/>
                <a:gd name="T4" fmla="*/ 1 w 56"/>
                <a:gd name="T5" fmla="*/ 74 h 76"/>
                <a:gd name="T6" fmla="*/ 2 w 56"/>
                <a:gd name="T7" fmla="*/ 70 h 76"/>
                <a:gd name="T8" fmla="*/ 39 w 56"/>
                <a:gd name="T9" fmla="*/ 45 h 76"/>
                <a:gd name="T10" fmla="*/ 49 w 56"/>
                <a:gd name="T11" fmla="*/ 27 h 76"/>
                <a:gd name="T12" fmla="*/ 49 w 56"/>
                <a:gd name="T13" fmla="*/ 26 h 76"/>
                <a:gd name="T14" fmla="*/ 29 w 56"/>
                <a:gd name="T15" fmla="*/ 8 h 76"/>
                <a:gd name="T16" fmla="*/ 14 w 56"/>
                <a:gd name="T17" fmla="*/ 13 h 76"/>
                <a:gd name="T18" fmla="*/ 8 w 56"/>
                <a:gd name="T19" fmla="*/ 28 h 76"/>
                <a:gd name="T20" fmla="*/ 4 w 56"/>
                <a:gd name="T21" fmla="*/ 32 h 76"/>
                <a:gd name="T22" fmla="*/ 1 w 56"/>
                <a:gd name="T23" fmla="*/ 28 h 76"/>
                <a:gd name="T24" fmla="*/ 9 w 56"/>
                <a:gd name="T25" fmla="*/ 8 h 76"/>
                <a:gd name="T26" fmla="*/ 30 w 56"/>
                <a:gd name="T27" fmla="*/ 1 h 76"/>
                <a:gd name="T28" fmla="*/ 56 w 56"/>
                <a:gd name="T29" fmla="*/ 26 h 76"/>
                <a:gd name="T30" fmla="*/ 56 w 56"/>
                <a:gd name="T31" fmla="*/ 27 h 76"/>
                <a:gd name="T32" fmla="*/ 43 w 56"/>
                <a:gd name="T33" fmla="*/ 51 h 76"/>
                <a:gd name="T34" fmla="*/ 16 w 56"/>
                <a:gd name="T35" fmla="*/ 69 h 76"/>
                <a:gd name="T36" fmla="*/ 52 w 56"/>
                <a:gd name="T37" fmla="*/ 69 h 76"/>
                <a:gd name="T38" fmla="*/ 56 w 56"/>
                <a:gd name="T39" fmla="*/ 73 h 76"/>
                <a:gd name="T40" fmla="*/ 52 w 56"/>
                <a:gd name="T41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6" h="76">
                  <a:moveTo>
                    <a:pt x="52" y="76"/>
                  </a:moveTo>
                  <a:cubicBezTo>
                    <a:pt x="4" y="76"/>
                    <a:pt x="4" y="76"/>
                    <a:pt x="4" y="76"/>
                  </a:cubicBezTo>
                  <a:cubicBezTo>
                    <a:pt x="2" y="76"/>
                    <a:pt x="1" y="75"/>
                    <a:pt x="1" y="74"/>
                  </a:cubicBezTo>
                  <a:cubicBezTo>
                    <a:pt x="0" y="72"/>
                    <a:pt x="1" y="71"/>
                    <a:pt x="2" y="70"/>
                  </a:cubicBezTo>
                  <a:cubicBezTo>
                    <a:pt x="39" y="45"/>
                    <a:pt x="39" y="45"/>
                    <a:pt x="39" y="45"/>
                  </a:cubicBezTo>
                  <a:cubicBezTo>
                    <a:pt x="45" y="41"/>
                    <a:pt x="49" y="34"/>
                    <a:pt x="49" y="27"/>
                  </a:cubicBezTo>
                  <a:cubicBezTo>
                    <a:pt x="49" y="27"/>
                    <a:pt x="49" y="27"/>
                    <a:pt x="49" y="26"/>
                  </a:cubicBezTo>
                  <a:cubicBezTo>
                    <a:pt x="48" y="16"/>
                    <a:pt x="39" y="8"/>
                    <a:pt x="29" y="8"/>
                  </a:cubicBezTo>
                  <a:cubicBezTo>
                    <a:pt x="24" y="8"/>
                    <a:pt x="18" y="9"/>
                    <a:pt x="14" y="13"/>
                  </a:cubicBezTo>
                  <a:cubicBezTo>
                    <a:pt x="10" y="17"/>
                    <a:pt x="8" y="23"/>
                    <a:pt x="8" y="28"/>
                  </a:cubicBezTo>
                  <a:cubicBezTo>
                    <a:pt x="8" y="30"/>
                    <a:pt x="6" y="32"/>
                    <a:pt x="4" y="32"/>
                  </a:cubicBezTo>
                  <a:cubicBezTo>
                    <a:pt x="2" y="32"/>
                    <a:pt x="1" y="30"/>
                    <a:pt x="1" y="28"/>
                  </a:cubicBezTo>
                  <a:cubicBezTo>
                    <a:pt x="1" y="21"/>
                    <a:pt x="4" y="13"/>
                    <a:pt x="9" y="8"/>
                  </a:cubicBezTo>
                  <a:cubicBezTo>
                    <a:pt x="15" y="3"/>
                    <a:pt x="22" y="0"/>
                    <a:pt x="30" y="1"/>
                  </a:cubicBezTo>
                  <a:cubicBezTo>
                    <a:pt x="43" y="1"/>
                    <a:pt x="55" y="12"/>
                    <a:pt x="56" y="26"/>
                  </a:cubicBezTo>
                  <a:cubicBezTo>
                    <a:pt x="56" y="26"/>
                    <a:pt x="56" y="27"/>
                    <a:pt x="56" y="27"/>
                  </a:cubicBezTo>
                  <a:cubicBezTo>
                    <a:pt x="56" y="36"/>
                    <a:pt x="52" y="46"/>
                    <a:pt x="43" y="51"/>
                  </a:cubicBezTo>
                  <a:cubicBezTo>
                    <a:pt x="16" y="69"/>
                    <a:pt x="16" y="69"/>
                    <a:pt x="16" y="69"/>
                  </a:cubicBezTo>
                  <a:cubicBezTo>
                    <a:pt x="52" y="69"/>
                    <a:pt x="52" y="69"/>
                    <a:pt x="52" y="69"/>
                  </a:cubicBezTo>
                  <a:cubicBezTo>
                    <a:pt x="54" y="69"/>
                    <a:pt x="56" y="71"/>
                    <a:pt x="56" y="73"/>
                  </a:cubicBezTo>
                  <a:cubicBezTo>
                    <a:pt x="56" y="75"/>
                    <a:pt x="54" y="76"/>
                    <a:pt x="52" y="7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1" name="Freeform 599">
              <a:extLst>
                <a:ext uri="{FF2B5EF4-FFF2-40B4-BE49-F238E27FC236}">
                  <a16:creationId xmlns:a16="http://schemas.microsoft.com/office/drawing/2014/main" id="{5951C1EF-3841-33BC-2778-3BB18A908A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129686" y="3839450"/>
              <a:ext cx="129100" cy="198884"/>
            </a:xfrm>
            <a:custGeom>
              <a:avLst/>
              <a:gdLst>
                <a:gd name="T0" fmla="*/ 38 w 50"/>
                <a:gd name="T1" fmla="*/ 76 h 76"/>
                <a:gd name="T2" fmla="*/ 35 w 50"/>
                <a:gd name="T3" fmla="*/ 73 h 76"/>
                <a:gd name="T4" fmla="*/ 35 w 50"/>
                <a:gd name="T5" fmla="*/ 52 h 76"/>
                <a:gd name="T6" fmla="*/ 4 w 50"/>
                <a:gd name="T7" fmla="*/ 52 h 76"/>
                <a:gd name="T8" fmla="*/ 0 w 50"/>
                <a:gd name="T9" fmla="*/ 50 h 76"/>
                <a:gd name="T10" fmla="*/ 1 w 50"/>
                <a:gd name="T11" fmla="*/ 46 h 76"/>
                <a:gd name="T12" fmla="*/ 36 w 50"/>
                <a:gd name="T13" fmla="*/ 2 h 76"/>
                <a:gd name="T14" fmla="*/ 40 w 50"/>
                <a:gd name="T15" fmla="*/ 1 h 76"/>
                <a:gd name="T16" fmla="*/ 42 w 50"/>
                <a:gd name="T17" fmla="*/ 4 h 76"/>
                <a:gd name="T18" fmla="*/ 42 w 50"/>
                <a:gd name="T19" fmla="*/ 45 h 76"/>
                <a:gd name="T20" fmla="*/ 47 w 50"/>
                <a:gd name="T21" fmla="*/ 45 h 76"/>
                <a:gd name="T22" fmla="*/ 50 w 50"/>
                <a:gd name="T23" fmla="*/ 49 h 76"/>
                <a:gd name="T24" fmla="*/ 47 w 50"/>
                <a:gd name="T25" fmla="*/ 52 h 76"/>
                <a:gd name="T26" fmla="*/ 42 w 50"/>
                <a:gd name="T27" fmla="*/ 52 h 76"/>
                <a:gd name="T28" fmla="*/ 42 w 50"/>
                <a:gd name="T29" fmla="*/ 73 h 76"/>
                <a:gd name="T30" fmla="*/ 38 w 50"/>
                <a:gd name="T31" fmla="*/ 76 h 76"/>
                <a:gd name="T32" fmla="*/ 11 w 50"/>
                <a:gd name="T33" fmla="*/ 45 h 76"/>
                <a:gd name="T34" fmla="*/ 35 w 50"/>
                <a:gd name="T35" fmla="*/ 45 h 76"/>
                <a:gd name="T36" fmla="*/ 35 w 50"/>
                <a:gd name="T37" fmla="*/ 15 h 76"/>
                <a:gd name="T38" fmla="*/ 11 w 50"/>
                <a:gd name="T39" fmla="*/ 45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0" h="76">
                  <a:moveTo>
                    <a:pt x="38" y="76"/>
                  </a:moveTo>
                  <a:cubicBezTo>
                    <a:pt x="36" y="76"/>
                    <a:pt x="35" y="75"/>
                    <a:pt x="35" y="73"/>
                  </a:cubicBezTo>
                  <a:cubicBezTo>
                    <a:pt x="35" y="52"/>
                    <a:pt x="35" y="52"/>
                    <a:pt x="35" y="52"/>
                  </a:cubicBezTo>
                  <a:cubicBezTo>
                    <a:pt x="4" y="52"/>
                    <a:pt x="4" y="52"/>
                    <a:pt x="4" y="52"/>
                  </a:cubicBezTo>
                  <a:cubicBezTo>
                    <a:pt x="2" y="52"/>
                    <a:pt x="1" y="51"/>
                    <a:pt x="0" y="50"/>
                  </a:cubicBezTo>
                  <a:cubicBezTo>
                    <a:pt x="0" y="49"/>
                    <a:pt x="0" y="47"/>
                    <a:pt x="1" y="46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36" y="1"/>
                    <a:pt x="38" y="0"/>
                    <a:pt x="40" y="1"/>
                  </a:cubicBezTo>
                  <a:cubicBezTo>
                    <a:pt x="41" y="1"/>
                    <a:pt x="42" y="3"/>
                    <a:pt x="42" y="4"/>
                  </a:cubicBezTo>
                  <a:cubicBezTo>
                    <a:pt x="42" y="45"/>
                    <a:pt x="42" y="45"/>
                    <a:pt x="42" y="45"/>
                  </a:cubicBezTo>
                  <a:cubicBezTo>
                    <a:pt x="47" y="45"/>
                    <a:pt x="47" y="45"/>
                    <a:pt x="47" y="45"/>
                  </a:cubicBezTo>
                  <a:cubicBezTo>
                    <a:pt x="49" y="45"/>
                    <a:pt x="50" y="47"/>
                    <a:pt x="50" y="49"/>
                  </a:cubicBezTo>
                  <a:cubicBezTo>
                    <a:pt x="50" y="51"/>
                    <a:pt x="49" y="52"/>
                    <a:pt x="47" y="52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2" y="73"/>
                    <a:pt x="42" y="73"/>
                    <a:pt x="42" y="73"/>
                  </a:cubicBezTo>
                  <a:cubicBezTo>
                    <a:pt x="42" y="75"/>
                    <a:pt x="40" y="76"/>
                    <a:pt x="38" y="76"/>
                  </a:cubicBezTo>
                  <a:close/>
                  <a:moveTo>
                    <a:pt x="11" y="45"/>
                  </a:moveTo>
                  <a:cubicBezTo>
                    <a:pt x="35" y="45"/>
                    <a:pt x="35" y="45"/>
                    <a:pt x="35" y="45"/>
                  </a:cubicBezTo>
                  <a:cubicBezTo>
                    <a:pt x="35" y="15"/>
                    <a:pt x="35" y="15"/>
                    <a:pt x="35" y="15"/>
                  </a:cubicBezTo>
                  <a:lnTo>
                    <a:pt x="11" y="4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2" name="Freeform 600">
              <a:extLst>
                <a:ext uri="{FF2B5EF4-FFF2-40B4-BE49-F238E27FC236}">
                  <a16:creationId xmlns:a16="http://schemas.microsoft.com/office/drawing/2014/main" id="{F002AF39-D7A7-CCD9-B5BB-37B83F8C24E4}"/>
                </a:ext>
              </a:extLst>
            </p:cNvPr>
            <p:cNvSpPr>
              <a:spLocks/>
            </p:cNvSpPr>
            <p:nvPr/>
          </p:nvSpPr>
          <p:spPr bwMode="auto">
            <a:xfrm>
              <a:off x="-4468134" y="3933659"/>
              <a:ext cx="593159" cy="345429"/>
            </a:xfrm>
            <a:custGeom>
              <a:avLst/>
              <a:gdLst>
                <a:gd name="T0" fmla="*/ 120 w 226"/>
                <a:gd name="T1" fmla="*/ 122 h 131"/>
                <a:gd name="T2" fmla="*/ 62 w 226"/>
                <a:gd name="T3" fmla="*/ 107 h 131"/>
                <a:gd name="T4" fmla="*/ 0 w 226"/>
                <a:gd name="T5" fmla="*/ 4 h 131"/>
                <a:gd name="T6" fmla="*/ 3 w 226"/>
                <a:gd name="T7" fmla="*/ 0 h 131"/>
                <a:gd name="T8" fmla="*/ 7 w 226"/>
                <a:gd name="T9" fmla="*/ 4 h 131"/>
                <a:gd name="T10" fmla="*/ 65 w 226"/>
                <a:gd name="T11" fmla="*/ 100 h 131"/>
                <a:gd name="T12" fmla="*/ 219 w 226"/>
                <a:gd name="T13" fmla="*/ 56 h 131"/>
                <a:gd name="T14" fmla="*/ 224 w 226"/>
                <a:gd name="T15" fmla="*/ 55 h 131"/>
                <a:gd name="T16" fmla="*/ 225 w 226"/>
                <a:gd name="T17" fmla="*/ 60 h 131"/>
                <a:gd name="T18" fmla="*/ 120 w 226"/>
                <a:gd name="T19" fmla="*/ 122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6" h="131">
                  <a:moveTo>
                    <a:pt x="120" y="122"/>
                  </a:moveTo>
                  <a:cubicBezTo>
                    <a:pt x="100" y="122"/>
                    <a:pt x="80" y="117"/>
                    <a:pt x="62" y="107"/>
                  </a:cubicBezTo>
                  <a:cubicBezTo>
                    <a:pt x="24" y="86"/>
                    <a:pt x="0" y="47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8" y="44"/>
                    <a:pt x="30" y="81"/>
                    <a:pt x="65" y="100"/>
                  </a:cubicBezTo>
                  <a:cubicBezTo>
                    <a:pt x="120" y="131"/>
                    <a:pt x="189" y="111"/>
                    <a:pt x="219" y="56"/>
                  </a:cubicBezTo>
                  <a:cubicBezTo>
                    <a:pt x="220" y="54"/>
                    <a:pt x="222" y="54"/>
                    <a:pt x="224" y="55"/>
                  </a:cubicBezTo>
                  <a:cubicBezTo>
                    <a:pt x="226" y="56"/>
                    <a:pt x="226" y="58"/>
                    <a:pt x="225" y="60"/>
                  </a:cubicBezTo>
                  <a:cubicBezTo>
                    <a:pt x="203" y="99"/>
                    <a:pt x="162" y="122"/>
                    <a:pt x="120" y="12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3" name="Freeform 601">
              <a:extLst>
                <a:ext uri="{FF2B5EF4-FFF2-40B4-BE49-F238E27FC236}">
                  <a16:creationId xmlns:a16="http://schemas.microsoft.com/office/drawing/2014/main" id="{F5CD928C-F7FA-2F98-6989-F1E17F165665}"/>
                </a:ext>
              </a:extLst>
            </p:cNvPr>
            <p:cNvSpPr>
              <a:spLocks/>
            </p:cNvSpPr>
            <p:nvPr/>
          </p:nvSpPr>
          <p:spPr bwMode="auto">
            <a:xfrm>
              <a:off x="-4516983" y="3933659"/>
              <a:ext cx="122122" cy="76762"/>
            </a:xfrm>
            <a:custGeom>
              <a:avLst/>
              <a:gdLst>
                <a:gd name="T0" fmla="*/ 4 w 46"/>
                <a:gd name="T1" fmla="*/ 28 h 28"/>
                <a:gd name="T2" fmla="*/ 1 w 46"/>
                <a:gd name="T3" fmla="*/ 27 h 28"/>
                <a:gd name="T4" fmla="*/ 1 w 46"/>
                <a:gd name="T5" fmla="*/ 22 h 28"/>
                <a:gd name="T6" fmla="*/ 18 w 46"/>
                <a:gd name="T7" fmla="*/ 1 h 28"/>
                <a:gd name="T8" fmla="*/ 24 w 46"/>
                <a:gd name="T9" fmla="*/ 1 h 28"/>
                <a:gd name="T10" fmla="*/ 45 w 46"/>
                <a:gd name="T11" fmla="*/ 19 h 28"/>
                <a:gd name="T12" fmla="*/ 45 w 46"/>
                <a:gd name="T13" fmla="*/ 24 h 28"/>
                <a:gd name="T14" fmla="*/ 40 w 46"/>
                <a:gd name="T15" fmla="*/ 24 h 28"/>
                <a:gd name="T16" fmla="*/ 22 w 46"/>
                <a:gd name="T17" fmla="*/ 9 h 28"/>
                <a:gd name="T18" fmla="*/ 6 w 46"/>
                <a:gd name="T19" fmla="*/ 27 h 28"/>
                <a:gd name="T20" fmla="*/ 4 w 46"/>
                <a:gd name="T2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6" h="28">
                  <a:moveTo>
                    <a:pt x="4" y="28"/>
                  </a:moveTo>
                  <a:cubicBezTo>
                    <a:pt x="3" y="28"/>
                    <a:pt x="2" y="28"/>
                    <a:pt x="1" y="27"/>
                  </a:cubicBezTo>
                  <a:cubicBezTo>
                    <a:pt x="0" y="26"/>
                    <a:pt x="0" y="24"/>
                    <a:pt x="1" y="22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6" y="20"/>
                    <a:pt x="46" y="22"/>
                    <a:pt x="45" y="24"/>
                  </a:cubicBezTo>
                  <a:cubicBezTo>
                    <a:pt x="44" y="25"/>
                    <a:pt x="41" y="25"/>
                    <a:pt x="40" y="24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6" y="27"/>
                    <a:pt x="6" y="27"/>
                    <a:pt x="6" y="27"/>
                  </a:cubicBezTo>
                  <a:cubicBezTo>
                    <a:pt x="6" y="28"/>
                    <a:pt x="5" y="28"/>
                    <a:pt x="4" y="2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4" name="Freeform 602">
              <a:extLst>
                <a:ext uri="{FF2B5EF4-FFF2-40B4-BE49-F238E27FC236}">
                  <a16:creationId xmlns:a16="http://schemas.microsoft.com/office/drawing/2014/main" id="{8BD72D56-71BF-AED2-E633-57BFA92A94AB}"/>
                </a:ext>
              </a:extLst>
            </p:cNvPr>
            <p:cNvSpPr>
              <a:spLocks/>
            </p:cNvSpPr>
            <p:nvPr/>
          </p:nvSpPr>
          <p:spPr bwMode="auto">
            <a:xfrm>
              <a:off x="-4433243" y="3577763"/>
              <a:ext cx="593159" cy="366364"/>
            </a:xfrm>
            <a:custGeom>
              <a:avLst/>
              <a:gdLst>
                <a:gd name="T0" fmla="*/ 223 w 226"/>
                <a:gd name="T1" fmla="*/ 139 h 139"/>
                <a:gd name="T2" fmla="*/ 219 w 226"/>
                <a:gd name="T3" fmla="*/ 135 h 139"/>
                <a:gd name="T4" fmla="*/ 161 w 226"/>
                <a:gd name="T5" fmla="*/ 38 h 139"/>
                <a:gd name="T6" fmla="*/ 7 w 226"/>
                <a:gd name="T7" fmla="*/ 83 h 139"/>
                <a:gd name="T8" fmla="*/ 2 w 226"/>
                <a:gd name="T9" fmla="*/ 84 h 139"/>
                <a:gd name="T10" fmla="*/ 1 w 226"/>
                <a:gd name="T11" fmla="*/ 79 h 139"/>
                <a:gd name="T12" fmla="*/ 164 w 226"/>
                <a:gd name="T13" fmla="*/ 32 h 139"/>
                <a:gd name="T14" fmla="*/ 226 w 226"/>
                <a:gd name="T15" fmla="*/ 135 h 139"/>
                <a:gd name="T16" fmla="*/ 223 w 226"/>
                <a:gd name="T17" fmla="*/ 139 h 139"/>
                <a:gd name="T18" fmla="*/ 223 w 226"/>
                <a:gd name="T19" fmla="*/ 139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6" h="139">
                  <a:moveTo>
                    <a:pt x="223" y="139"/>
                  </a:moveTo>
                  <a:cubicBezTo>
                    <a:pt x="221" y="139"/>
                    <a:pt x="219" y="137"/>
                    <a:pt x="219" y="135"/>
                  </a:cubicBezTo>
                  <a:cubicBezTo>
                    <a:pt x="218" y="95"/>
                    <a:pt x="196" y="58"/>
                    <a:pt x="161" y="38"/>
                  </a:cubicBezTo>
                  <a:cubicBezTo>
                    <a:pt x="106" y="8"/>
                    <a:pt x="37" y="28"/>
                    <a:pt x="7" y="83"/>
                  </a:cubicBezTo>
                  <a:cubicBezTo>
                    <a:pt x="6" y="85"/>
                    <a:pt x="4" y="85"/>
                    <a:pt x="2" y="84"/>
                  </a:cubicBezTo>
                  <a:cubicBezTo>
                    <a:pt x="0" y="83"/>
                    <a:pt x="0" y="81"/>
                    <a:pt x="1" y="79"/>
                  </a:cubicBezTo>
                  <a:cubicBezTo>
                    <a:pt x="33" y="21"/>
                    <a:pt x="106" y="0"/>
                    <a:pt x="164" y="32"/>
                  </a:cubicBezTo>
                  <a:cubicBezTo>
                    <a:pt x="201" y="53"/>
                    <a:pt x="225" y="92"/>
                    <a:pt x="226" y="135"/>
                  </a:cubicBezTo>
                  <a:cubicBezTo>
                    <a:pt x="226" y="137"/>
                    <a:pt x="225" y="139"/>
                    <a:pt x="223" y="139"/>
                  </a:cubicBezTo>
                  <a:cubicBezTo>
                    <a:pt x="223" y="139"/>
                    <a:pt x="223" y="139"/>
                    <a:pt x="223" y="13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5" name="Freeform 603">
              <a:extLst>
                <a:ext uri="{FF2B5EF4-FFF2-40B4-BE49-F238E27FC236}">
                  <a16:creationId xmlns:a16="http://schemas.microsoft.com/office/drawing/2014/main" id="{ED1E2A26-E446-FFE1-E5D5-D32D934CE04B}"/>
                </a:ext>
              </a:extLst>
            </p:cNvPr>
            <p:cNvSpPr>
              <a:spLocks/>
            </p:cNvSpPr>
            <p:nvPr/>
          </p:nvSpPr>
          <p:spPr bwMode="auto">
            <a:xfrm>
              <a:off x="-3913357" y="3867363"/>
              <a:ext cx="122122" cy="76762"/>
            </a:xfrm>
            <a:custGeom>
              <a:avLst/>
              <a:gdLst>
                <a:gd name="T0" fmla="*/ 25 w 46"/>
                <a:gd name="T1" fmla="*/ 29 h 29"/>
                <a:gd name="T2" fmla="*/ 22 w 46"/>
                <a:gd name="T3" fmla="*/ 28 h 29"/>
                <a:gd name="T4" fmla="*/ 1 w 46"/>
                <a:gd name="T5" fmla="*/ 10 h 29"/>
                <a:gd name="T6" fmla="*/ 1 w 46"/>
                <a:gd name="T7" fmla="*/ 5 h 29"/>
                <a:gd name="T8" fmla="*/ 6 w 46"/>
                <a:gd name="T9" fmla="*/ 5 h 29"/>
                <a:gd name="T10" fmla="*/ 24 w 46"/>
                <a:gd name="T11" fmla="*/ 20 h 29"/>
                <a:gd name="T12" fmla="*/ 39 w 46"/>
                <a:gd name="T13" fmla="*/ 2 h 29"/>
                <a:gd name="T14" fmla="*/ 44 w 46"/>
                <a:gd name="T15" fmla="*/ 1 h 29"/>
                <a:gd name="T16" fmla="*/ 45 w 46"/>
                <a:gd name="T17" fmla="*/ 7 h 29"/>
                <a:gd name="T18" fmla="*/ 27 w 46"/>
                <a:gd name="T19" fmla="*/ 28 h 29"/>
                <a:gd name="T20" fmla="*/ 25 w 46"/>
                <a:gd name="T21" fmla="*/ 29 h 29"/>
                <a:gd name="T22" fmla="*/ 25 w 46"/>
                <a:gd name="T23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" h="29">
                  <a:moveTo>
                    <a:pt x="25" y="29"/>
                  </a:moveTo>
                  <a:cubicBezTo>
                    <a:pt x="24" y="29"/>
                    <a:pt x="23" y="29"/>
                    <a:pt x="22" y="28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0" y="9"/>
                    <a:pt x="0" y="7"/>
                    <a:pt x="1" y="5"/>
                  </a:cubicBezTo>
                  <a:cubicBezTo>
                    <a:pt x="2" y="4"/>
                    <a:pt x="4" y="4"/>
                    <a:pt x="6" y="5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39" y="2"/>
                    <a:pt x="39" y="2"/>
                    <a:pt x="39" y="2"/>
                  </a:cubicBezTo>
                  <a:cubicBezTo>
                    <a:pt x="41" y="0"/>
                    <a:pt x="43" y="0"/>
                    <a:pt x="44" y="1"/>
                  </a:cubicBezTo>
                  <a:cubicBezTo>
                    <a:pt x="46" y="3"/>
                    <a:pt x="46" y="5"/>
                    <a:pt x="45" y="7"/>
                  </a:cubicBezTo>
                  <a:cubicBezTo>
                    <a:pt x="27" y="28"/>
                    <a:pt x="27" y="28"/>
                    <a:pt x="27" y="28"/>
                  </a:cubicBezTo>
                  <a:cubicBezTo>
                    <a:pt x="27" y="28"/>
                    <a:pt x="26" y="29"/>
                    <a:pt x="25" y="29"/>
                  </a:cubicBezTo>
                  <a:cubicBezTo>
                    <a:pt x="25" y="29"/>
                    <a:pt x="25" y="29"/>
                    <a:pt x="25" y="2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7" name="Shape18_20200717_154439">
            <a:extLst>
              <a:ext uri="{FF2B5EF4-FFF2-40B4-BE49-F238E27FC236}">
                <a16:creationId xmlns:a16="http://schemas.microsoft.com/office/drawing/2014/main" id="{F43D22EB-D1F3-6D93-93F9-08E71C634D9A}"/>
              </a:ext>
            </a:extLst>
          </p:cNvPr>
          <p:cNvGrpSpPr>
            <a:grpSpLocks noChangeAspect="1"/>
          </p:cNvGrpSpPr>
          <p:nvPr/>
        </p:nvGrpSpPr>
        <p:grpSpPr>
          <a:xfrm>
            <a:off x="1814711" y="3852115"/>
            <a:ext cx="729238" cy="645496"/>
            <a:chOff x="-825440" y="4931562"/>
            <a:chExt cx="729238" cy="645496"/>
          </a:xfrm>
          <a:solidFill>
            <a:schemeClr val="accent1"/>
          </a:solidFill>
        </p:grpSpPr>
        <p:sp>
          <p:nvSpPr>
            <p:cNvPr id="112" name="Freeform 604">
              <a:extLst>
                <a:ext uri="{FF2B5EF4-FFF2-40B4-BE49-F238E27FC236}">
                  <a16:creationId xmlns:a16="http://schemas.microsoft.com/office/drawing/2014/main" id="{D3122750-395C-CE4F-56E0-1A09F66F4FA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64936" y="5057172"/>
              <a:ext cx="411722" cy="411722"/>
            </a:xfrm>
            <a:custGeom>
              <a:avLst/>
              <a:gdLst>
                <a:gd name="T0" fmla="*/ 78 w 156"/>
                <a:gd name="T1" fmla="*/ 156 h 156"/>
                <a:gd name="T2" fmla="*/ 0 w 156"/>
                <a:gd name="T3" fmla="*/ 78 h 156"/>
                <a:gd name="T4" fmla="*/ 78 w 156"/>
                <a:gd name="T5" fmla="*/ 0 h 156"/>
                <a:gd name="T6" fmla="*/ 156 w 156"/>
                <a:gd name="T7" fmla="*/ 78 h 156"/>
                <a:gd name="T8" fmla="*/ 78 w 156"/>
                <a:gd name="T9" fmla="*/ 156 h 156"/>
                <a:gd name="T10" fmla="*/ 78 w 156"/>
                <a:gd name="T11" fmla="*/ 7 h 156"/>
                <a:gd name="T12" fmla="*/ 7 w 156"/>
                <a:gd name="T13" fmla="*/ 78 h 156"/>
                <a:gd name="T14" fmla="*/ 78 w 156"/>
                <a:gd name="T15" fmla="*/ 148 h 156"/>
                <a:gd name="T16" fmla="*/ 148 w 156"/>
                <a:gd name="T17" fmla="*/ 78 h 156"/>
                <a:gd name="T18" fmla="*/ 78 w 156"/>
                <a:gd name="T19" fmla="*/ 7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6" h="156">
                  <a:moveTo>
                    <a:pt x="78" y="156"/>
                  </a:moveTo>
                  <a:cubicBezTo>
                    <a:pt x="35" y="156"/>
                    <a:pt x="0" y="121"/>
                    <a:pt x="0" y="78"/>
                  </a:cubicBezTo>
                  <a:cubicBezTo>
                    <a:pt x="0" y="35"/>
                    <a:pt x="35" y="0"/>
                    <a:pt x="78" y="0"/>
                  </a:cubicBezTo>
                  <a:cubicBezTo>
                    <a:pt x="121" y="0"/>
                    <a:pt x="156" y="35"/>
                    <a:pt x="156" y="78"/>
                  </a:cubicBezTo>
                  <a:cubicBezTo>
                    <a:pt x="156" y="121"/>
                    <a:pt x="121" y="156"/>
                    <a:pt x="78" y="156"/>
                  </a:cubicBezTo>
                  <a:close/>
                  <a:moveTo>
                    <a:pt x="78" y="7"/>
                  </a:moveTo>
                  <a:cubicBezTo>
                    <a:pt x="39" y="7"/>
                    <a:pt x="7" y="39"/>
                    <a:pt x="7" y="78"/>
                  </a:cubicBezTo>
                  <a:cubicBezTo>
                    <a:pt x="7" y="117"/>
                    <a:pt x="39" y="148"/>
                    <a:pt x="78" y="148"/>
                  </a:cubicBezTo>
                  <a:cubicBezTo>
                    <a:pt x="117" y="148"/>
                    <a:pt x="148" y="117"/>
                    <a:pt x="148" y="78"/>
                  </a:cubicBezTo>
                  <a:cubicBezTo>
                    <a:pt x="148" y="39"/>
                    <a:pt x="117" y="7"/>
                    <a:pt x="78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3" name="Freeform 605">
              <a:extLst>
                <a:ext uri="{FF2B5EF4-FFF2-40B4-BE49-F238E27FC236}">
                  <a16:creationId xmlns:a16="http://schemas.microsoft.com/office/drawing/2014/main" id="{49088F49-412E-5000-A9B5-7EEF38B9A42C}"/>
                </a:ext>
              </a:extLst>
            </p:cNvPr>
            <p:cNvSpPr>
              <a:spLocks/>
            </p:cNvSpPr>
            <p:nvPr/>
          </p:nvSpPr>
          <p:spPr bwMode="auto">
            <a:xfrm>
              <a:off x="-469542" y="5057172"/>
              <a:ext cx="17447" cy="38382"/>
            </a:xfrm>
            <a:custGeom>
              <a:avLst/>
              <a:gdLst>
                <a:gd name="T0" fmla="*/ 4 w 7"/>
                <a:gd name="T1" fmla="*/ 15 h 15"/>
                <a:gd name="T2" fmla="*/ 0 w 7"/>
                <a:gd name="T3" fmla="*/ 12 h 15"/>
                <a:gd name="T4" fmla="*/ 0 w 7"/>
                <a:gd name="T5" fmla="*/ 3 h 15"/>
                <a:gd name="T6" fmla="*/ 4 w 7"/>
                <a:gd name="T7" fmla="*/ 0 h 15"/>
                <a:gd name="T8" fmla="*/ 7 w 7"/>
                <a:gd name="T9" fmla="*/ 3 h 15"/>
                <a:gd name="T10" fmla="*/ 7 w 7"/>
                <a:gd name="T11" fmla="*/ 12 h 15"/>
                <a:gd name="T12" fmla="*/ 4 w 7"/>
                <a:gd name="T13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5">
                  <a:moveTo>
                    <a:pt x="4" y="15"/>
                  </a:moveTo>
                  <a:cubicBezTo>
                    <a:pt x="2" y="15"/>
                    <a:pt x="0" y="14"/>
                    <a:pt x="0" y="1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" y="0"/>
                    <a:pt x="7" y="1"/>
                    <a:pt x="7" y="3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4"/>
                    <a:pt x="6" y="15"/>
                    <a:pt x="4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4" name="Freeform 606">
              <a:extLst>
                <a:ext uri="{FF2B5EF4-FFF2-40B4-BE49-F238E27FC236}">
                  <a16:creationId xmlns:a16="http://schemas.microsoft.com/office/drawing/2014/main" id="{5D964C5A-8623-2154-97BF-B7EA821C93F8}"/>
                </a:ext>
              </a:extLst>
            </p:cNvPr>
            <p:cNvSpPr>
              <a:spLocks/>
            </p:cNvSpPr>
            <p:nvPr/>
          </p:nvSpPr>
          <p:spPr bwMode="auto">
            <a:xfrm>
              <a:off x="-570730" y="5081595"/>
              <a:ext cx="34892" cy="38382"/>
            </a:xfrm>
            <a:custGeom>
              <a:avLst/>
              <a:gdLst>
                <a:gd name="T0" fmla="*/ 9 w 13"/>
                <a:gd name="T1" fmla="*/ 15 h 15"/>
                <a:gd name="T2" fmla="*/ 6 w 13"/>
                <a:gd name="T3" fmla="*/ 13 h 15"/>
                <a:gd name="T4" fmla="*/ 1 w 13"/>
                <a:gd name="T5" fmla="*/ 6 h 15"/>
                <a:gd name="T6" fmla="*/ 3 w 13"/>
                <a:gd name="T7" fmla="*/ 1 h 15"/>
                <a:gd name="T8" fmla="*/ 8 w 13"/>
                <a:gd name="T9" fmla="*/ 2 h 15"/>
                <a:gd name="T10" fmla="*/ 12 w 13"/>
                <a:gd name="T11" fmla="*/ 10 h 15"/>
                <a:gd name="T12" fmla="*/ 10 w 13"/>
                <a:gd name="T13" fmla="*/ 15 h 15"/>
                <a:gd name="T14" fmla="*/ 9 w 13"/>
                <a:gd name="T1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15">
                  <a:moveTo>
                    <a:pt x="9" y="15"/>
                  </a:moveTo>
                  <a:cubicBezTo>
                    <a:pt x="7" y="15"/>
                    <a:pt x="6" y="15"/>
                    <a:pt x="6" y="13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4"/>
                    <a:pt x="1" y="2"/>
                    <a:pt x="3" y="1"/>
                  </a:cubicBezTo>
                  <a:cubicBezTo>
                    <a:pt x="4" y="0"/>
                    <a:pt x="7" y="1"/>
                    <a:pt x="8" y="2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3" y="11"/>
                    <a:pt x="12" y="14"/>
                    <a:pt x="10" y="15"/>
                  </a:cubicBezTo>
                  <a:cubicBezTo>
                    <a:pt x="10" y="15"/>
                    <a:pt x="9" y="15"/>
                    <a:pt x="9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5" name="Freeform 608">
              <a:extLst>
                <a:ext uri="{FF2B5EF4-FFF2-40B4-BE49-F238E27FC236}">
                  <a16:creationId xmlns:a16="http://schemas.microsoft.com/office/drawing/2014/main" id="{4CB65932-9AD8-142A-C7C1-873268779AB1}"/>
                </a:ext>
              </a:extLst>
            </p:cNvPr>
            <p:cNvSpPr>
              <a:spLocks/>
            </p:cNvSpPr>
            <p:nvPr/>
          </p:nvSpPr>
          <p:spPr bwMode="auto">
            <a:xfrm>
              <a:off x="-640513" y="5151379"/>
              <a:ext cx="41870" cy="31404"/>
            </a:xfrm>
            <a:custGeom>
              <a:avLst/>
              <a:gdLst>
                <a:gd name="T0" fmla="*/ 12 w 16"/>
                <a:gd name="T1" fmla="*/ 12 h 12"/>
                <a:gd name="T2" fmla="*/ 10 w 16"/>
                <a:gd name="T3" fmla="*/ 12 h 12"/>
                <a:gd name="T4" fmla="*/ 2 w 16"/>
                <a:gd name="T5" fmla="*/ 8 h 12"/>
                <a:gd name="T6" fmla="*/ 1 w 16"/>
                <a:gd name="T7" fmla="*/ 3 h 12"/>
                <a:gd name="T8" fmla="*/ 6 w 16"/>
                <a:gd name="T9" fmla="*/ 1 h 12"/>
                <a:gd name="T10" fmla="*/ 13 w 16"/>
                <a:gd name="T11" fmla="*/ 6 h 12"/>
                <a:gd name="T12" fmla="*/ 15 w 16"/>
                <a:gd name="T13" fmla="*/ 10 h 12"/>
                <a:gd name="T14" fmla="*/ 12 w 16"/>
                <a:gd name="T1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12">
                  <a:moveTo>
                    <a:pt x="12" y="12"/>
                  </a:moveTo>
                  <a:cubicBezTo>
                    <a:pt x="11" y="12"/>
                    <a:pt x="10" y="12"/>
                    <a:pt x="10" y="12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1" y="7"/>
                    <a:pt x="0" y="4"/>
                    <a:pt x="1" y="3"/>
                  </a:cubicBezTo>
                  <a:cubicBezTo>
                    <a:pt x="2" y="1"/>
                    <a:pt x="4" y="0"/>
                    <a:pt x="6" y="1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5" y="7"/>
                    <a:pt x="16" y="9"/>
                    <a:pt x="15" y="10"/>
                  </a:cubicBezTo>
                  <a:cubicBezTo>
                    <a:pt x="14" y="12"/>
                    <a:pt x="13" y="12"/>
                    <a:pt x="12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6" name="Freeform 609">
              <a:extLst>
                <a:ext uri="{FF2B5EF4-FFF2-40B4-BE49-F238E27FC236}">
                  <a16:creationId xmlns:a16="http://schemas.microsoft.com/office/drawing/2014/main" id="{10ABA6C8-E1F0-BB46-3643-7D5A1F122CEE}"/>
                </a:ext>
              </a:extLst>
            </p:cNvPr>
            <p:cNvSpPr>
              <a:spLocks/>
            </p:cNvSpPr>
            <p:nvPr/>
          </p:nvSpPr>
          <p:spPr bwMode="auto">
            <a:xfrm>
              <a:off x="-664938" y="5252566"/>
              <a:ext cx="38382" cy="17447"/>
            </a:xfrm>
            <a:custGeom>
              <a:avLst/>
              <a:gdLst>
                <a:gd name="T0" fmla="*/ 12 w 15"/>
                <a:gd name="T1" fmla="*/ 7 h 7"/>
                <a:gd name="T2" fmla="*/ 3 w 15"/>
                <a:gd name="T3" fmla="*/ 7 h 7"/>
                <a:gd name="T4" fmla="*/ 0 w 15"/>
                <a:gd name="T5" fmla="*/ 4 h 7"/>
                <a:gd name="T6" fmla="*/ 3 w 15"/>
                <a:gd name="T7" fmla="*/ 0 h 7"/>
                <a:gd name="T8" fmla="*/ 12 w 15"/>
                <a:gd name="T9" fmla="*/ 0 h 7"/>
                <a:gd name="T10" fmla="*/ 15 w 15"/>
                <a:gd name="T11" fmla="*/ 4 h 7"/>
                <a:gd name="T12" fmla="*/ 12 w 15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7">
                  <a:moveTo>
                    <a:pt x="12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6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4" y="0"/>
                    <a:pt x="15" y="2"/>
                    <a:pt x="15" y="4"/>
                  </a:cubicBezTo>
                  <a:cubicBezTo>
                    <a:pt x="15" y="6"/>
                    <a:pt x="14" y="7"/>
                    <a:pt x="12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7" name="Freeform 610">
              <a:extLst>
                <a:ext uri="{FF2B5EF4-FFF2-40B4-BE49-F238E27FC236}">
                  <a16:creationId xmlns:a16="http://schemas.microsoft.com/office/drawing/2014/main" id="{DA659F4E-1AE4-E442-9153-166DA8F3E3CE}"/>
                </a:ext>
              </a:extLst>
            </p:cNvPr>
            <p:cNvSpPr>
              <a:spLocks/>
            </p:cNvSpPr>
            <p:nvPr/>
          </p:nvSpPr>
          <p:spPr bwMode="auto">
            <a:xfrm>
              <a:off x="-640513" y="5336306"/>
              <a:ext cx="41870" cy="31404"/>
            </a:xfrm>
            <a:custGeom>
              <a:avLst/>
              <a:gdLst>
                <a:gd name="T0" fmla="*/ 4 w 16"/>
                <a:gd name="T1" fmla="*/ 12 h 12"/>
                <a:gd name="T2" fmla="*/ 1 w 16"/>
                <a:gd name="T3" fmla="*/ 11 h 12"/>
                <a:gd name="T4" fmla="*/ 2 w 16"/>
                <a:gd name="T5" fmla="*/ 6 h 12"/>
                <a:gd name="T6" fmla="*/ 10 w 16"/>
                <a:gd name="T7" fmla="*/ 1 h 12"/>
                <a:gd name="T8" fmla="*/ 15 w 16"/>
                <a:gd name="T9" fmla="*/ 3 h 12"/>
                <a:gd name="T10" fmla="*/ 13 w 16"/>
                <a:gd name="T11" fmla="*/ 8 h 12"/>
                <a:gd name="T12" fmla="*/ 6 w 16"/>
                <a:gd name="T13" fmla="*/ 12 h 12"/>
                <a:gd name="T14" fmla="*/ 4 w 16"/>
                <a:gd name="T1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12">
                  <a:moveTo>
                    <a:pt x="4" y="12"/>
                  </a:moveTo>
                  <a:cubicBezTo>
                    <a:pt x="3" y="12"/>
                    <a:pt x="2" y="12"/>
                    <a:pt x="1" y="11"/>
                  </a:cubicBezTo>
                  <a:cubicBezTo>
                    <a:pt x="0" y="9"/>
                    <a:pt x="1" y="7"/>
                    <a:pt x="2" y="6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1" y="0"/>
                    <a:pt x="14" y="1"/>
                    <a:pt x="15" y="3"/>
                  </a:cubicBezTo>
                  <a:cubicBezTo>
                    <a:pt x="16" y="4"/>
                    <a:pt x="15" y="7"/>
                    <a:pt x="13" y="8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5" y="12"/>
                    <a:pt x="5" y="12"/>
                    <a:pt x="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8" name="Freeform 611">
              <a:extLst>
                <a:ext uri="{FF2B5EF4-FFF2-40B4-BE49-F238E27FC236}">
                  <a16:creationId xmlns:a16="http://schemas.microsoft.com/office/drawing/2014/main" id="{4840C178-BCD3-3F47-61D8-B45D475E3C24}"/>
                </a:ext>
              </a:extLst>
            </p:cNvPr>
            <p:cNvSpPr>
              <a:spLocks/>
            </p:cNvSpPr>
            <p:nvPr/>
          </p:nvSpPr>
          <p:spPr bwMode="auto">
            <a:xfrm>
              <a:off x="-570730" y="5399111"/>
              <a:ext cx="34892" cy="41870"/>
            </a:xfrm>
            <a:custGeom>
              <a:avLst/>
              <a:gdLst>
                <a:gd name="T0" fmla="*/ 4 w 13"/>
                <a:gd name="T1" fmla="*/ 16 h 16"/>
                <a:gd name="T2" fmla="*/ 3 w 13"/>
                <a:gd name="T3" fmla="*/ 15 h 16"/>
                <a:gd name="T4" fmla="*/ 1 w 13"/>
                <a:gd name="T5" fmla="*/ 10 h 16"/>
                <a:gd name="T6" fmla="*/ 6 w 13"/>
                <a:gd name="T7" fmla="*/ 3 h 16"/>
                <a:gd name="T8" fmla="*/ 10 w 13"/>
                <a:gd name="T9" fmla="*/ 1 h 16"/>
                <a:gd name="T10" fmla="*/ 12 w 13"/>
                <a:gd name="T11" fmla="*/ 6 h 16"/>
                <a:gd name="T12" fmla="*/ 8 w 13"/>
                <a:gd name="T13" fmla="*/ 14 h 16"/>
                <a:gd name="T14" fmla="*/ 4 w 13"/>
                <a:gd name="T15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16">
                  <a:moveTo>
                    <a:pt x="4" y="16"/>
                  </a:moveTo>
                  <a:cubicBezTo>
                    <a:pt x="4" y="16"/>
                    <a:pt x="3" y="15"/>
                    <a:pt x="3" y="15"/>
                  </a:cubicBezTo>
                  <a:cubicBezTo>
                    <a:pt x="1" y="14"/>
                    <a:pt x="0" y="12"/>
                    <a:pt x="1" y="1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7" y="1"/>
                    <a:pt x="9" y="0"/>
                    <a:pt x="10" y="1"/>
                  </a:cubicBezTo>
                  <a:cubicBezTo>
                    <a:pt x="12" y="2"/>
                    <a:pt x="13" y="5"/>
                    <a:pt x="12" y="6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7" y="15"/>
                    <a:pt x="6" y="16"/>
                    <a:pt x="4" y="1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9" name="Freeform 612">
              <a:extLst>
                <a:ext uri="{FF2B5EF4-FFF2-40B4-BE49-F238E27FC236}">
                  <a16:creationId xmlns:a16="http://schemas.microsoft.com/office/drawing/2014/main" id="{23B8787B-B6A5-30F2-F4A3-422DC9D0F619}"/>
                </a:ext>
              </a:extLst>
            </p:cNvPr>
            <p:cNvSpPr>
              <a:spLocks/>
            </p:cNvSpPr>
            <p:nvPr/>
          </p:nvSpPr>
          <p:spPr bwMode="auto">
            <a:xfrm>
              <a:off x="-469545" y="5423534"/>
              <a:ext cx="17447" cy="45360"/>
            </a:xfrm>
            <a:custGeom>
              <a:avLst/>
              <a:gdLst>
                <a:gd name="T0" fmla="*/ 4 w 7"/>
                <a:gd name="T1" fmla="*/ 16 h 16"/>
                <a:gd name="T2" fmla="*/ 0 w 7"/>
                <a:gd name="T3" fmla="*/ 12 h 16"/>
                <a:gd name="T4" fmla="*/ 0 w 7"/>
                <a:gd name="T5" fmla="*/ 3 h 16"/>
                <a:gd name="T6" fmla="*/ 4 w 7"/>
                <a:gd name="T7" fmla="*/ 0 h 16"/>
                <a:gd name="T8" fmla="*/ 7 w 7"/>
                <a:gd name="T9" fmla="*/ 3 h 16"/>
                <a:gd name="T10" fmla="*/ 7 w 7"/>
                <a:gd name="T11" fmla="*/ 12 h 16"/>
                <a:gd name="T12" fmla="*/ 4 w 7"/>
                <a:gd name="T13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6">
                  <a:moveTo>
                    <a:pt x="4" y="16"/>
                  </a:moveTo>
                  <a:cubicBezTo>
                    <a:pt x="2" y="16"/>
                    <a:pt x="0" y="14"/>
                    <a:pt x="0" y="1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" y="0"/>
                    <a:pt x="7" y="1"/>
                    <a:pt x="7" y="3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4"/>
                    <a:pt x="6" y="16"/>
                    <a:pt x="4" y="1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0" name="Freeform 613">
              <a:extLst>
                <a:ext uri="{FF2B5EF4-FFF2-40B4-BE49-F238E27FC236}">
                  <a16:creationId xmlns:a16="http://schemas.microsoft.com/office/drawing/2014/main" id="{8245446A-3504-7D6D-118D-B07C907BE776}"/>
                </a:ext>
              </a:extLst>
            </p:cNvPr>
            <p:cNvSpPr>
              <a:spLocks/>
            </p:cNvSpPr>
            <p:nvPr/>
          </p:nvSpPr>
          <p:spPr bwMode="auto">
            <a:xfrm>
              <a:off x="-385804" y="5399111"/>
              <a:ext cx="34892" cy="41870"/>
            </a:xfrm>
            <a:custGeom>
              <a:avLst/>
              <a:gdLst>
                <a:gd name="T0" fmla="*/ 9 w 13"/>
                <a:gd name="T1" fmla="*/ 16 h 16"/>
                <a:gd name="T2" fmla="*/ 6 w 13"/>
                <a:gd name="T3" fmla="*/ 14 h 16"/>
                <a:gd name="T4" fmla="*/ 1 w 13"/>
                <a:gd name="T5" fmla="*/ 6 h 16"/>
                <a:gd name="T6" fmla="*/ 3 w 13"/>
                <a:gd name="T7" fmla="*/ 1 h 16"/>
                <a:gd name="T8" fmla="*/ 8 w 13"/>
                <a:gd name="T9" fmla="*/ 3 h 16"/>
                <a:gd name="T10" fmla="*/ 12 w 13"/>
                <a:gd name="T11" fmla="*/ 10 h 16"/>
                <a:gd name="T12" fmla="*/ 11 w 13"/>
                <a:gd name="T13" fmla="*/ 15 h 16"/>
                <a:gd name="T14" fmla="*/ 9 w 13"/>
                <a:gd name="T15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16">
                  <a:moveTo>
                    <a:pt x="9" y="16"/>
                  </a:moveTo>
                  <a:cubicBezTo>
                    <a:pt x="7" y="16"/>
                    <a:pt x="6" y="15"/>
                    <a:pt x="6" y="14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5"/>
                    <a:pt x="1" y="2"/>
                    <a:pt x="3" y="1"/>
                  </a:cubicBezTo>
                  <a:cubicBezTo>
                    <a:pt x="4" y="0"/>
                    <a:pt x="7" y="1"/>
                    <a:pt x="8" y="3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3" y="12"/>
                    <a:pt x="12" y="14"/>
                    <a:pt x="11" y="15"/>
                  </a:cubicBezTo>
                  <a:cubicBezTo>
                    <a:pt x="10" y="15"/>
                    <a:pt x="9" y="16"/>
                    <a:pt x="9" y="1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1" name="Freeform 614">
              <a:extLst>
                <a:ext uri="{FF2B5EF4-FFF2-40B4-BE49-F238E27FC236}">
                  <a16:creationId xmlns:a16="http://schemas.microsoft.com/office/drawing/2014/main" id="{921FFCDF-87CB-0DF1-2CB8-78C0CE005380}"/>
                </a:ext>
              </a:extLst>
            </p:cNvPr>
            <p:cNvSpPr>
              <a:spLocks/>
            </p:cNvSpPr>
            <p:nvPr/>
          </p:nvSpPr>
          <p:spPr bwMode="auto">
            <a:xfrm>
              <a:off x="-322999" y="5336306"/>
              <a:ext cx="41870" cy="31404"/>
            </a:xfrm>
            <a:custGeom>
              <a:avLst/>
              <a:gdLst>
                <a:gd name="T0" fmla="*/ 12 w 16"/>
                <a:gd name="T1" fmla="*/ 12 h 12"/>
                <a:gd name="T2" fmla="*/ 10 w 16"/>
                <a:gd name="T3" fmla="*/ 12 h 12"/>
                <a:gd name="T4" fmla="*/ 3 w 16"/>
                <a:gd name="T5" fmla="*/ 8 h 12"/>
                <a:gd name="T6" fmla="*/ 1 w 16"/>
                <a:gd name="T7" fmla="*/ 3 h 12"/>
                <a:gd name="T8" fmla="*/ 6 w 16"/>
                <a:gd name="T9" fmla="*/ 1 h 12"/>
                <a:gd name="T10" fmla="*/ 14 w 16"/>
                <a:gd name="T11" fmla="*/ 6 h 12"/>
                <a:gd name="T12" fmla="*/ 15 w 16"/>
                <a:gd name="T13" fmla="*/ 11 h 12"/>
                <a:gd name="T14" fmla="*/ 12 w 16"/>
                <a:gd name="T1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12">
                  <a:moveTo>
                    <a:pt x="12" y="12"/>
                  </a:moveTo>
                  <a:cubicBezTo>
                    <a:pt x="11" y="12"/>
                    <a:pt x="11" y="12"/>
                    <a:pt x="10" y="12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1" y="7"/>
                    <a:pt x="0" y="4"/>
                    <a:pt x="1" y="3"/>
                  </a:cubicBezTo>
                  <a:cubicBezTo>
                    <a:pt x="2" y="1"/>
                    <a:pt x="5" y="0"/>
                    <a:pt x="6" y="1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5" y="7"/>
                    <a:pt x="16" y="9"/>
                    <a:pt x="15" y="11"/>
                  </a:cubicBezTo>
                  <a:cubicBezTo>
                    <a:pt x="14" y="12"/>
                    <a:pt x="13" y="12"/>
                    <a:pt x="12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2" name="Freeform 615">
              <a:extLst>
                <a:ext uri="{FF2B5EF4-FFF2-40B4-BE49-F238E27FC236}">
                  <a16:creationId xmlns:a16="http://schemas.microsoft.com/office/drawing/2014/main" id="{5464D2C0-EC2B-CBD8-D19D-13397B5E2B95}"/>
                </a:ext>
              </a:extLst>
            </p:cNvPr>
            <p:cNvSpPr>
              <a:spLocks/>
            </p:cNvSpPr>
            <p:nvPr/>
          </p:nvSpPr>
          <p:spPr bwMode="auto">
            <a:xfrm>
              <a:off x="-295086" y="5252566"/>
              <a:ext cx="41870" cy="17447"/>
            </a:xfrm>
            <a:custGeom>
              <a:avLst/>
              <a:gdLst>
                <a:gd name="T0" fmla="*/ 12 w 16"/>
                <a:gd name="T1" fmla="*/ 7 h 7"/>
                <a:gd name="T2" fmla="*/ 3 w 16"/>
                <a:gd name="T3" fmla="*/ 7 h 7"/>
                <a:gd name="T4" fmla="*/ 0 w 16"/>
                <a:gd name="T5" fmla="*/ 4 h 7"/>
                <a:gd name="T6" fmla="*/ 3 w 16"/>
                <a:gd name="T7" fmla="*/ 0 h 7"/>
                <a:gd name="T8" fmla="*/ 12 w 16"/>
                <a:gd name="T9" fmla="*/ 0 h 7"/>
                <a:gd name="T10" fmla="*/ 16 w 16"/>
                <a:gd name="T11" fmla="*/ 4 h 7"/>
                <a:gd name="T12" fmla="*/ 12 w 16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7">
                  <a:moveTo>
                    <a:pt x="12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6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4" y="0"/>
                    <a:pt x="16" y="2"/>
                    <a:pt x="16" y="4"/>
                  </a:cubicBezTo>
                  <a:cubicBezTo>
                    <a:pt x="16" y="6"/>
                    <a:pt x="14" y="7"/>
                    <a:pt x="12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3" name="Freeform 616">
              <a:extLst>
                <a:ext uri="{FF2B5EF4-FFF2-40B4-BE49-F238E27FC236}">
                  <a16:creationId xmlns:a16="http://schemas.microsoft.com/office/drawing/2014/main" id="{EBAE047E-449C-A447-FB2F-BF2ECD44F26C}"/>
                </a:ext>
              </a:extLst>
            </p:cNvPr>
            <p:cNvSpPr>
              <a:spLocks/>
            </p:cNvSpPr>
            <p:nvPr/>
          </p:nvSpPr>
          <p:spPr bwMode="auto">
            <a:xfrm>
              <a:off x="-322999" y="5151379"/>
              <a:ext cx="41870" cy="31404"/>
            </a:xfrm>
            <a:custGeom>
              <a:avLst/>
              <a:gdLst>
                <a:gd name="T0" fmla="*/ 5 w 16"/>
                <a:gd name="T1" fmla="*/ 12 h 12"/>
                <a:gd name="T2" fmla="*/ 1 w 16"/>
                <a:gd name="T3" fmla="*/ 10 h 12"/>
                <a:gd name="T4" fmla="*/ 3 w 16"/>
                <a:gd name="T5" fmla="*/ 6 h 12"/>
                <a:gd name="T6" fmla="*/ 10 w 16"/>
                <a:gd name="T7" fmla="*/ 1 h 12"/>
                <a:gd name="T8" fmla="*/ 15 w 16"/>
                <a:gd name="T9" fmla="*/ 3 h 12"/>
                <a:gd name="T10" fmla="*/ 14 w 16"/>
                <a:gd name="T11" fmla="*/ 8 h 12"/>
                <a:gd name="T12" fmla="*/ 6 w 16"/>
                <a:gd name="T13" fmla="*/ 12 h 12"/>
                <a:gd name="T14" fmla="*/ 5 w 16"/>
                <a:gd name="T1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12">
                  <a:moveTo>
                    <a:pt x="5" y="12"/>
                  </a:moveTo>
                  <a:cubicBezTo>
                    <a:pt x="3" y="12"/>
                    <a:pt x="2" y="12"/>
                    <a:pt x="1" y="10"/>
                  </a:cubicBezTo>
                  <a:cubicBezTo>
                    <a:pt x="0" y="9"/>
                    <a:pt x="1" y="7"/>
                    <a:pt x="3" y="6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2" y="0"/>
                    <a:pt x="14" y="1"/>
                    <a:pt x="15" y="3"/>
                  </a:cubicBezTo>
                  <a:cubicBezTo>
                    <a:pt x="16" y="4"/>
                    <a:pt x="15" y="7"/>
                    <a:pt x="14" y="8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6" y="12"/>
                    <a:pt x="5" y="12"/>
                    <a:pt x="5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4" name="Freeform 617">
              <a:extLst>
                <a:ext uri="{FF2B5EF4-FFF2-40B4-BE49-F238E27FC236}">
                  <a16:creationId xmlns:a16="http://schemas.microsoft.com/office/drawing/2014/main" id="{7492F3FA-687F-3E20-0303-53A3FD0824AA}"/>
                </a:ext>
              </a:extLst>
            </p:cNvPr>
            <p:cNvSpPr>
              <a:spLocks/>
            </p:cNvSpPr>
            <p:nvPr/>
          </p:nvSpPr>
          <p:spPr bwMode="auto">
            <a:xfrm>
              <a:off x="-385804" y="5081595"/>
              <a:ext cx="34892" cy="38382"/>
            </a:xfrm>
            <a:custGeom>
              <a:avLst/>
              <a:gdLst>
                <a:gd name="T0" fmla="*/ 4 w 13"/>
                <a:gd name="T1" fmla="*/ 15 h 15"/>
                <a:gd name="T2" fmla="*/ 3 w 13"/>
                <a:gd name="T3" fmla="*/ 15 h 15"/>
                <a:gd name="T4" fmla="*/ 1 w 13"/>
                <a:gd name="T5" fmla="*/ 10 h 15"/>
                <a:gd name="T6" fmla="*/ 6 w 13"/>
                <a:gd name="T7" fmla="*/ 2 h 15"/>
                <a:gd name="T8" fmla="*/ 11 w 13"/>
                <a:gd name="T9" fmla="*/ 1 h 15"/>
                <a:gd name="T10" fmla="*/ 12 w 13"/>
                <a:gd name="T11" fmla="*/ 6 h 15"/>
                <a:gd name="T12" fmla="*/ 8 w 13"/>
                <a:gd name="T13" fmla="*/ 13 h 15"/>
                <a:gd name="T14" fmla="*/ 4 w 13"/>
                <a:gd name="T1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15">
                  <a:moveTo>
                    <a:pt x="4" y="15"/>
                  </a:moveTo>
                  <a:cubicBezTo>
                    <a:pt x="4" y="15"/>
                    <a:pt x="3" y="15"/>
                    <a:pt x="3" y="15"/>
                  </a:cubicBezTo>
                  <a:cubicBezTo>
                    <a:pt x="1" y="14"/>
                    <a:pt x="0" y="11"/>
                    <a:pt x="1" y="10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7" y="1"/>
                    <a:pt x="9" y="0"/>
                    <a:pt x="11" y="1"/>
                  </a:cubicBezTo>
                  <a:cubicBezTo>
                    <a:pt x="12" y="2"/>
                    <a:pt x="13" y="4"/>
                    <a:pt x="12" y="6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7" y="15"/>
                    <a:pt x="6" y="15"/>
                    <a:pt x="4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5" name="Freeform 618">
              <a:extLst>
                <a:ext uri="{FF2B5EF4-FFF2-40B4-BE49-F238E27FC236}">
                  <a16:creationId xmlns:a16="http://schemas.microsoft.com/office/drawing/2014/main" id="{FFB6593E-3A43-7DAD-156F-D9923E529311}"/>
                </a:ext>
              </a:extLst>
            </p:cNvPr>
            <p:cNvSpPr>
              <a:spLocks/>
            </p:cNvSpPr>
            <p:nvPr/>
          </p:nvSpPr>
          <p:spPr bwMode="auto">
            <a:xfrm>
              <a:off x="-469545" y="5123466"/>
              <a:ext cx="66295" cy="177949"/>
            </a:xfrm>
            <a:custGeom>
              <a:avLst/>
              <a:gdLst>
                <a:gd name="T0" fmla="*/ 21 w 25"/>
                <a:gd name="T1" fmla="*/ 67 h 67"/>
                <a:gd name="T2" fmla="*/ 19 w 25"/>
                <a:gd name="T3" fmla="*/ 66 h 67"/>
                <a:gd name="T4" fmla="*/ 2 w 25"/>
                <a:gd name="T5" fmla="*/ 55 h 67"/>
                <a:gd name="T6" fmla="*/ 0 w 25"/>
                <a:gd name="T7" fmla="*/ 52 h 67"/>
                <a:gd name="T8" fmla="*/ 0 w 25"/>
                <a:gd name="T9" fmla="*/ 4 h 67"/>
                <a:gd name="T10" fmla="*/ 4 w 25"/>
                <a:gd name="T11" fmla="*/ 0 h 67"/>
                <a:gd name="T12" fmla="*/ 7 w 25"/>
                <a:gd name="T13" fmla="*/ 4 h 67"/>
                <a:gd name="T14" fmla="*/ 7 w 25"/>
                <a:gd name="T15" fmla="*/ 50 h 67"/>
                <a:gd name="T16" fmla="*/ 23 w 25"/>
                <a:gd name="T17" fmla="*/ 60 h 67"/>
                <a:gd name="T18" fmla="*/ 24 w 25"/>
                <a:gd name="T19" fmla="*/ 65 h 67"/>
                <a:gd name="T20" fmla="*/ 21 w 25"/>
                <a:gd name="T21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" h="67">
                  <a:moveTo>
                    <a:pt x="21" y="67"/>
                  </a:moveTo>
                  <a:cubicBezTo>
                    <a:pt x="21" y="67"/>
                    <a:pt x="20" y="67"/>
                    <a:pt x="19" y="66"/>
                  </a:cubicBezTo>
                  <a:cubicBezTo>
                    <a:pt x="2" y="55"/>
                    <a:pt x="2" y="55"/>
                    <a:pt x="2" y="55"/>
                  </a:cubicBezTo>
                  <a:cubicBezTo>
                    <a:pt x="1" y="54"/>
                    <a:pt x="0" y="53"/>
                    <a:pt x="0" y="5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7" y="2"/>
                    <a:pt x="7" y="4"/>
                  </a:cubicBezTo>
                  <a:cubicBezTo>
                    <a:pt x="7" y="50"/>
                    <a:pt x="7" y="50"/>
                    <a:pt x="7" y="50"/>
                  </a:cubicBezTo>
                  <a:cubicBezTo>
                    <a:pt x="23" y="60"/>
                    <a:pt x="23" y="60"/>
                    <a:pt x="23" y="60"/>
                  </a:cubicBezTo>
                  <a:cubicBezTo>
                    <a:pt x="25" y="61"/>
                    <a:pt x="25" y="64"/>
                    <a:pt x="24" y="65"/>
                  </a:cubicBezTo>
                  <a:cubicBezTo>
                    <a:pt x="24" y="66"/>
                    <a:pt x="22" y="67"/>
                    <a:pt x="21" y="6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6" name="Freeform 619">
              <a:extLst>
                <a:ext uri="{FF2B5EF4-FFF2-40B4-BE49-F238E27FC236}">
                  <a16:creationId xmlns:a16="http://schemas.microsoft.com/office/drawing/2014/main" id="{C20BC979-0943-54AA-E5D0-0295DFB405A3}"/>
                </a:ext>
              </a:extLst>
            </p:cNvPr>
            <p:cNvSpPr>
              <a:spLocks/>
            </p:cNvSpPr>
            <p:nvPr/>
          </p:nvSpPr>
          <p:spPr bwMode="auto">
            <a:xfrm>
              <a:off x="-776592" y="5256054"/>
              <a:ext cx="596650" cy="321004"/>
            </a:xfrm>
            <a:custGeom>
              <a:avLst/>
              <a:gdLst>
                <a:gd name="T0" fmla="*/ 120 w 227"/>
                <a:gd name="T1" fmla="*/ 122 h 122"/>
                <a:gd name="T2" fmla="*/ 62 w 227"/>
                <a:gd name="T3" fmla="*/ 107 h 122"/>
                <a:gd name="T4" fmla="*/ 0 w 227"/>
                <a:gd name="T5" fmla="*/ 4 h 122"/>
                <a:gd name="T6" fmla="*/ 4 w 227"/>
                <a:gd name="T7" fmla="*/ 0 h 122"/>
                <a:gd name="T8" fmla="*/ 7 w 227"/>
                <a:gd name="T9" fmla="*/ 4 h 122"/>
                <a:gd name="T10" fmla="*/ 66 w 227"/>
                <a:gd name="T11" fmla="*/ 101 h 122"/>
                <a:gd name="T12" fmla="*/ 152 w 227"/>
                <a:gd name="T13" fmla="*/ 110 h 122"/>
                <a:gd name="T14" fmla="*/ 220 w 227"/>
                <a:gd name="T15" fmla="*/ 56 h 122"/>
                <a:gd name="T16" fmla="*/ 224 w 227"/>
                <a:gd name="T17" fmla="*/ 55 h 122"/>
                <a:gd name="T18" fmla="*/ 226 w 227"/>
                <a:gd name="T19" fmla="*/ 60 h 122"/>
                <a:gd name="T20" fmla="*/ 154 w 227"/>
                <a:gd name="T21" fmla="*/ 117 h 122"/>
                <a:gd name="T22" fmla="*/ 120 w 227"/>
                <a:gd name="T23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7" h="122">
                  <a:moveTo>
                    <a:pt x="120" y="122"/>
                  </a:moveTo>
                  <a:cubicBezTo>
                    <a:pt x="100" y="122"/>
                    <a:pt x="80" y="117"/>
                    <a:pt x="62" y="107"/>
                  </a:cubicBezTo>
                  <a:cubicBezTo>
                    <a:pt x="25" y="86"/>
                    <a:pt x="1" y="47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7" y="2"/>
                    <a:pt x="7" y="4"/>
                  </a:cubicBezTo>
                  <a:cubicBezTo>
                    <a:pt x="8" y="44"/>
                    <a:pt x="31" y="81"/>
                    <a:pt x="66" y="101"/>
                  </a:cubicBezTo>
                  <a:cubicBezTo>
                    <a:pt x="92" y="115"/>
                    <a:pt x="123" y="119"/>
                    <a:pt x="152" y="110"/>
                  </a:cubicBezTo>
                  <a:cubicBezTo>
                    <a:pt x="181" y="102"/>
                    <a:pt x="205" y="83"/>
                    <a:pt x="220" y="56"/>
                  </a:cubicBezTo>
                  <a:cubicBezTo>
                    <a:pt x="221" y="54"/>
                    <a:pt x="223" y="54"/>
                    <a:pt x="224" y="55"/>
                  </a:cubicBezTo>
                  <a:cubicBezTo>
                    <a:pt x="226" y="56"/>
                    <a:pt x="227" y="58"/>
                    <a:pt x="226" y="60"/>
                  </a:cubicBezTo>
                  <a:cubicBezTo>
                    <a:pt x="210" y="88"/>
                    <a:pt x="185" y="108"/>
                    <a:pt x="154" y="117"/>
                  </a:cubicBezTo>
                  <a:cubicBezTo>
                    <a:pt x="143" y="120"/>
                    <a:pt x="132" y="122"/>
                    <a:pt x="120" y="12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7" name="Freeform 620">
              <a:extLst>
                <a:ext uri="{FF2B5EF4-FFF2-40B4-BE49-F238E27FC236}">
                  <a16:creationId xmlns:a16="http://schemas.microsoft.com/office/drawing/2014/main" id="{220AE70D-BC11-B059-AD37-6844DF1F3E24}"/>
                </a:ext>
              </a:extLst>
            </p:cNvPr>
            <p:cNvSpPr>
              <a:spLocks/>
            </p:cNvSpPr>
            <p:nvPr/>
          </p:nvSpPr>
          <p:spPr bwMode="auto">
            <a:xfrm>
              <a:off x="-825440" y="5256054"/>
              <a:ext cx="125610" cy="73274"/>
            </a:xfrm>
            <a:custGeom>
              <a:avLst/>
              <a:gdLst>
                <a:gd name="T0" fmla="*/ 4 w 47"/>
                <a:gd name="T1" fmla="*/ 28 h 28"/>
                <a:gd name="T2" fmla="*/ 2 w 47"/>
                <a:gd name="T3" fmla="*/ 28 h 28"/>
                <a:gd name="T4" fmla="*/ 2 w 47"/>
                <a:gd name="T5" fmla="*/ 22 h 28"/>
                <a:gd name="T6" fmla="*/ 19 w 47"/>
                <a:gd name="T7" fmla="*/ 1 h 28"/>
                <a:gd name="T8" fmla="*/ 22 w 47"/>
                <a:gd name="T9" fmla="*/ 0 h 28"/>
                <a:gd name="T10" fmla="*/ 24 w 47"/>
                <a:gd name="T11" fmla="*/ 1 h 28"/>
                <a:gd name="T12" fmla="*/ 45 w 47"/>
                <a:gd name="T13" fmla="*/ 19 h 28"/>
                <a:gd name="T14" fmla="*/ 46 w 47"/>
                <a:gd name="T15" fmla="*/ 24 h 28"/>
                <a:gd name="T16" fmla="*/ 41 w 47"/>
                <a:gd name="T17" fmla="*/ 24 h 28"/>
                <a:gd name="T18" fmla="*/ 22 w 47"/>
                <a:gd name="T19" fmla="*/ 9 h 28"/>
                <a:gd name="T20" fmla="*/ 7 w 47"/>
                <a:gd name="T21" fmla="*/ 27 h 28"/>
                <a:gd name="T22" fmla="*/ 4 w 47"/>
                <a:gd name="T23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7" h="28">
                  <a:moveTo>
                    <a:pt x="4" y="28"/>
                  </a:moveTo>
                  <a:cubicBezTo>
                    <a:pt x="3" y="28"/>
                    <a:pt x="3" y="28"/>
                    <a:pt x="2" y="28"/>
                  </a:cubicBezTo>
                  <a:cubicBezTo>
                    <a:pt x="0" y="26"/>
                    <a:pt x="0" y="24"/>
                    <a:pt x="2" y="22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20" y="1"/>
                    <a:pt x="21" y="0"/>
                    <a:pt x="22" y="0"/>
                  </a:cubicBezTo>
                  <a:cubicBezTo>
                    <a:pt x="23" y="0"/>
                    <a:pt x="23" y="0"/>
                    <a:pt x="24" y="1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7" y="20"/>
                    <a:pt x="47" y="22"/>
                    <a:pt x="46" y="24"/>
                  </a:cubicBezTo>
                  <a:cubicBezTo>
                    <a:pt x="44" y="25"/>
                    <a:pt x="42" y="25"/>
                    <a:pt x="41" y="24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7" y="27"/>
                    <a:pt x="7" y="27"/>
                    <a:pt x="7" y="27"/>
                  </a:cubicBezTo>
                  <a:cubicBezTo>
                    <a:pt x="6" y="28"/>
                    <a:pt x="5" y="28"/>
                    <a:pt x="4" y="2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8" name="Freeform 621">
              <a:extLst>
                <a:ext uri="{FF2B5EF4-FFF2-40B4-BE49-F238E27FC236}">
                  <a16:creationId xmlns:a16="http://schemas.microsoft.com/office/drawing/2014/main" id="{83997DC9-D7E9-39E9-1C32-8012F61671C5}"/>
                </a:ext>
              </a:extLst>
            </p:cNvPr>
            <p:cNvSpPr>
              <a:spLocks/>
            </p:cNvSpPr>
            <p:nvPr/>
          </p:nvSpPr>
          <p:spPr bwMode="auto">
            <a:xfrm>
              <a:off x="-741700" y="4931562"/>
              <a:ext cx="596650" cy="331473"/>
            </a:xfrm>
            <a:custGeom>
              <a:avLst/>
              <a:gdLst>
                <a:gd name="T0" fmla="*/ 223 w 227"/>
                <a:gd name="T1" fmla="*/ 126 h 126"/>
                <a:gd name="T2" fmla="*/ 220 w 227"/>
                <a:gd name="T3" fmla="*/ 122 h 126"/>
                <a:gd name="T4" fmla="*/ 161 w 227"/>
                <a:gd name="T5" fmla="*/ 26 h 126"/>
                <a:gd name="T6" fmla="*/ 75 w 227"/>
                <a:gd name="T7" fmla="*/ 16 h 126"/>
                <a:gd name="T8" fmla="*/ 8 w 227"/>
                <a:gd name="T9" fmla="*/ 70 h 126"/>
                <a:gd name="T10" fmla="*/ 3 w 227"/>
                <a:gd name="T11" fmla="*/ 71 h 126"/>
                <a:gd name="T12" fmla="*/ 1 w 227"/>
                <a:gd name="T13" fmla="*/ 66 h 126"/>
                <a:gd name="T14" fmla="*/ 73 w 227"/>
                <a:gd name="T15" fmla="*/ 9 h 126"/>
                <a:gd name="T16" fmla="*/ 165 w 227"/>
                <a:gd name="T17" fmla="*/ 19 h 126"/>
                <a:gd name="T18" fmla="*/ 227 w 227"/>
                <a:gd name="T19" fmla="*/ 122 h 126"/>
                <a:gd name="T20" fmla="*/ 223 w 227"/>
                <a:gd name="T21" fmla="*/ 126 h 126"/>
                <a:gd name="T22" fmla="*/ 223 w 227"/>
                <a:gd name="T23" fmla="*/ 12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7" h="126">
                  <a:moveTo>
                    <a:pt x="223" y="126"/>
                  </a:moveTo>
                  <a:cubicBezTo>
                    <a:pt x="221" y="126"/>
                    <a:pt x="220" y="124"/>
                    <a:pt x="220" y="122"/>
                  </a:cubicBezTo>
                  <a:cubicBezTo>
                    <a:pt x="219" y="82"/>
                    <a:pt x="196" y="45"/>
                    <a:pt x="161" y="26"/>
                  </a:cubicBezTo>
                  <a:cubicBezTo>
                    <a:pt x="135" y="11"/>
                    <a:pt x="104" y="8"/>
                    <a:pt x="75" y="16"/>
                  </a:cubicBezTo>
                  <a:cubicBezTo>
                    <a:pt x="46" y="24"/>
                    <a:pt x="22" y="43"/>
                    <a:pt x="8" y="70"/>
                  </a:cubicBezTo>
                  <a:cubicBezTo>
                    <a:pt x="7" y="72"/>
                    <a:pt x="4" y="72"/>
                    <a:pt x="3" y="71"/>
                  </a:cubicBezTo>
                  <a:cubicBezTo>
                    <a:pt x="1" y="70"/>
                    <a:pt x="0" y="68"/>
                    <a:pt x="1" y="66"/>
                  </a:cubicBezTo>
                  <a:cubicBezTo>
                    <a:pt x="17" y="38"/>
                    <a:pt x="42" y="18"/>
                    <a:pt x="73" y="9"/>
                  </a:cubicBezTo>
                  <a:cubicBezTo>
                    <a:pt x="104" y="0"/>
                    <a:pt x="137" y="4"/>
                    <a:pt x="165" y="19"/>
                  </a:cubicBezTo>
                  <a:cubicBezTo>
                    <a:pt x="202" y="40"/>
                    <a:pt x="226" y="79"/>
                    <a:pt x="227" y="122"/>
                  </a:cubicBezTo>
                  <a:cubicBezTo>
                    <a:pt x="227" y="124"/>
                    <a:pt x="225" y="126"/>
                    <a:pt x="223" y="126"/>
                  </a:cubicBezTo>
                  <a:cubicBezTo>
                    <a:pt x="223" y="126"/>
                    <a:pt x="223" y="126"/>
                    <a:pt x="223" y="12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9" name="Freeform 622">
              <a:extLst>
                <a:ext uri="{FF2B5EF4-FFF2-40B4-BE49-F238E27FC236}">
                  <a16:creationId xmlns:a16="http://schemas.microsoft.com/office/drawing/2014/main" id="{951FB852-B9C3-F2ED-145D-D346C1D0F879}"/>
                </a:ext>
              </a:extLst>
            </p:cNvPr>
            <p:cNvSpPr>
              <a:spLocks/>
            </p:cNvSpPr>
            <p:nvPr/>
          </p:nvSpPr>
          <p:spPr bwMode="auto">
            <a:xfrm>
              <a:off x="-218324" y="5189761"/>
              <a:ext cx="122122" cy="73274"/>
            </a:xfrm>
            <a:custGeom>
              <a:avLst/>
              <a:gdLst>
                <a:gd name="T0" fmla="*/ 25 w 47"/>
                <a:gd name="T1" fmla="*/ 29 h 29"/>
                <a:gd name="T2" fmla="*/ 23 w 47"/>
                <a:gd name="T3" fmla="*/ 28 h 29"/>
                <a:gd name="T4" fmla="*/ 2 w 47"/>
                <a:gd name="T5" fmla="*/ 10 h 29"/>
                <a:gd name="T6" fmla="*/ 2 w 47"/>
                <a:gd name="T7" fmla="*/ 5 h 29"/>
                <a:gd name="T8" fmla="*/ 7 w 47"/>
                <a:gd name="T9" fmla="*/ 5 h 29"/>
                <a:gd name="T10" fmla="*/ 25 w 47"/>
                <a:gd name="T11" fmla="*/ 20 h 29"/>
                <a:gd name="T12" fmla="*/ 40 w 47"/>
                <a:gd name="T13" fmla="*/ 2 h 29"/>
                <a:gd name="T14" fmla="*/ 45 w 47"/>
                <a:gd name="T15" fmla="*/ 2 h 29"/>
                <a:gd name="T16" fmla="*/ 46 w 47"/>
                <a:gd name="T17" fmla="*/ 7 h 29"/>
                <a:gd name="T18" fmla="*/ 28 w 47"/>
                <a:gd name="T19" fmla="*/ 28 h 29"/>
                <a:gd name="T20" fmla="*/ 26 w 47"/>
                <a:gd name="T21" fmla="*/ 29 h 29"/>
                <a:gd name="T22" fmla="*/ 25 w 47"/>
                <a:gd name="T23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7" h="29">
                  <a:moveTo>
                    <a:pt x="25" y="29"/>
                  </a:moveTo>
                  <a:cubicBezTo>
                    <a:pt x="24" y="29"/>
                    <a:pt x="24" y="29"/>
                    <a:pt x="23" y="28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0" y="9"/>
                    <a:pt x="0" y="7"/>
                    <a:pt x="2" y="5"/>
                  </a:cubicBezTo>
                  <a:cubicBezTo>
                    <a:pt x="3" y="4"/>
                    <a:pt x="5" y="4"/>
                    <a:pt x="7" y="5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40" y="2"/>
                    <a:pt x="40" y="2"/>
                    <a:pt x="40" y="2"/>
                  </a:cubicBezTo>
                  <a:cubicBezTo>
                    <a:pt x="41" y="1"/>
                    <a:pt x="44" y="0"/>
                    <a:pt x="45" y="2"/>
                  </a:cubicBezTo>
                  <a:cubicBezTo>
                    <a:pt x="47" y="3"/>
                    <a:pt x="47" y="5"/>
                    <a:pt x="46" y="7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7" y="28"/>
                    <a:pt x="27" y="29"/>
                    <a:pt x="26" y="29"/>
                  </a:cubicBezTo>
                  <a:cubicBezTo>
                    <a:pt x="25" y="29"/>
                    <a:pt x="25" y="29"/>
                    <a:pt x="25" y="2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8" name="Shape19_20200717_154439">
            <a:extLst>
              <a:ext uri="{FF2B5EF4-FFF2-40B4-BE49-F238E27FC236}">
                <a16:creationId xmlns:a16="http://schemas.microsoft.com/office/drawing/2014/main" id="{83A2C06F-E0C1-70C5-3E41-CD0B066D90CB}"/>
              </a:ext>
            </a:extLst>
          </p:cNvPr>
          <p:cNvGrpSpPr>
            <a:grpSpLocks noChangeAspect="1"/>
          </p:cNvGrpSpPr>
          <p:nvPr/>
        </p:nvGrpSpPr>
        <p:grpSpPr>
          <a:xfrm>
            <a:off x="7145100" y="2507592"/>
            <a:ext cx="512910" cy="603627"/>
            <a:chOff x="-717275" y="3637078"/>
            <a:chExt cx="512910" cy="603627"/>
          </a:xfrm>
          <a:solidFill>
            <a:schemeClr val="accent1"/>
          </a:solidFill>
        </p:grpSpPr>
        <p:sp>
          <p:nvSpPr>
            <p:cNvPr id="102" name="Freeform 623">
              <a:extLst>
                <a:ext uri="{FF2B5EF4-FFF2-40B4-BE49-F238E27FC236}">
                  <a16:creationId xmlns:a16="http://schemas.microsoft.com/office/drawing/2014/main" id="{6471A871-1920-4393-7DBD-AB0DE3C40921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4686" y="3902255"/>
              <a:ext cx="115144" cy="160502"/>
            </a:xfrm>
            <a:custGeom>
              <a:avLst/>
              <a:gdLst>
                <a:gd name="T0" fmla="*/ 41 w 44"/>
                <a:gd name="T1" fmla="*/ 60 h 60"/>
                <a:gd name="T2" fmla="*/ 4 w 44"/>
                <a:gd name="T3" fmla="*/ 60 h 60"/>
                <a:gd name="T4" fmla="*/ 0 w 44"/>
                <a:gd name="T5" fmla="*/ 58 h 60"/>
                <a:gd name="T6" fmla="*/ 2 w 44"/>
                <a:gd name="T7" fmla="*/ 54 h 60"/>
                <a:gd name="T8" fmla="*/ 30 w 44"/>
                <a:gd name="T9" fmla="*/ 35 h 60"/>
                <a:gd name="T10" fmla="*/ 37 w 44"/>
                <a:gd name="T11" fmla="*/ 22 h 60"/>
                <a:gd name="T12" fmla="*/ 37 w 44"/>
                <a:gd name="T13" fmla="*/ 21 h 60"/>
                <a:gd name="T14" fmla="*/ 23 w 44"/>
                <a:gd name="T15" fmla="*/ 8 h 60"/>
                <a:gd name="T16" fmla="*/ 12 w 44"/>
                <a:gd name="T17" fmla="*/ 12 h 60"/>
                <a:gd name="T18" fmla="*/ 7 w 44"/>
                <a:gd name="T19" fmla="*/ 23 h 60"/>
                <a:gd name="T20" fmla="*/ 4 w 44"/>
                <a:gd name="T21" fmla="*/ 26 h 60"/>
                <a:gd name="T22" fmla="*/ 0 w 44"/>
                <a:gd name="T23" fmla="*/ 23 h 60"/>
                <a:gd name="T24" fmla="*/ 7 w 44"/>
                <a:gd name="T25" fmla="*/ 7 h 60"/>
                <a:gd name="T26" fmla="*/ 23 w 44"/>
                <a:gd name="T27" fmla="*/ 1 h 60"/>
                <a:gd name="T28" fmla="*/ 44 w 44"/>
                <a:gd name="T29" fmla="*/ 21 h 60"/>
                <a:gd name="T30" fmla="*/ 44 w 44"/>
                <a:gd name="T31" fmla="*/ 22 h 60"/>
                <a:gd name="T32" fmla="*/ 34 w 44"/>
                <a:gd name="T33" fmla="*/ 41 h 60"/>
                <a:gd name="T34" fmla="*/ 15 w 44"/>
                <a:gd name="T35" fmla="*/ 53 h 60"/>
                <a:gd name="T36" fmla="*/ 41 w 44"/>
                <a:gd name="T37" fmla="*/ 53 h 60"/>
                <a:gd name="T38" fmla="*/ 44 w 44"/>
                <a:gd name="T39" fmla="*/ 57 h 60"/>
                <a:gd name="T40" fmla="*/ 41 w 44"/>
                <a:gd name="T41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4" h="60">
                  <a:moveTo>
                    <a:pt x="41" y="60"/>
                  </a:moveTo>
                  <a:cubicBezTo>
                    <a:pt x="4" y="60"/>
                    <a:pt x="4" y="60"/>
                    <a:pt x="4" y="60"/>
                  </a:cubicBezTo>
                  <a:cubicBezTo>
                    <a:pt x="2" y="60"/>
                    <a:pt x="1" y="59"/>
                    <a:pt x="0" y="58"/>
                  </a:cubicBezTo>
                  <a:cubicBezTo>
                    <a:pt x="0" y="56"/>
                    <a:pt x="0" y="55"/>
                    <a:pt x="2" y="54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35" y="32"/>
                    <a:pt x="37" y="27"/>
                    <a:pt x="37" y="22"/>
                  </a:cubicBezTo>
                  <a:cubicBezTo>
                    <a:pt x="37" y="22"/>
                    <a:pt x="37" y="22"/>
                    <a:pt x="37" y="21"/>
                  </a:cubicBezTo>
                  <a:cubicBezTo>
                    <a:pt x="36" y="14"/>
                    <a:pt x="30" y="8"/>
                    <a:pt x="23" y="8"/>
                  </a:cubicBezTo>
                  <a:cubicBezTo>
                    <a:pt x="19" y="8"/>
                    <a:pt x="15" y="9"/>
                    <a:pt x="12" y="12"/>
                  </a:cubicBezTo>
                  <a:cubicBezTo>
                    <a:pt x="9" y="15"/>
                    <a:pt x="7" y="19"/>
                    <a:pt x="7" y="23"/>
                  </a:cubicBezTo>
                  <a:cubicBezTo>
                    <a:pt x="7" y="25"/>
                    <a:pt x="6" y="26"/>
                    <a:pt x="4" y="26"/>
                  </a:cubicBezTo>
                  <a:cubicBezTo>
                    <a:pt x="2" y="26"/>
                    <a:pt x="0" y="25"/>
                    <a:pt x="0" y="23"/>
                  </a:cubicBezTo>
                  <a:cubicBezTo>
                    <a:pt x="0" y="17"/>
                    <a:pt x="3" y="11"/>
                    <a:pt x="7" y="7"/>
                  </a:cubicBezTo>
                  <a:cubicBezTo>
                    <a:pt x="11" y="3"/>
                    <a:pt x="17" y="0"/>
                    <a:pt x="23" y="1"/>
                  </a:cubicBezTo>
                  <a:cubicBezTo>
                    <a:pt x="34" y="1"/>
                    <a:pt x="43" y="10"/>
                    <a:pt x="44" y="21"/>
                  </a:cubicBezTo>
                  <a:cubicBezTo>
                    <a:pt x="44" y="21"/>
                    <a:pt x="44" y="21"/>
                    <a:pt x="44" y="22"/>
                  </a:cubicBezTo>
                  <a:cubicBezTo>
                    <a:pt x="44" y="29"/>
                    <a:pt x="41" y="37"/>
                    <a:pt x="34" y="41"/>
                  </a:cubicBezTo>
                  <a:cubicBezTo>
                    <a:pt x="15" y="53"/>
                    <a:pt x="15" y="53"/>
                    <a:pt x="15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3" y="53"/>
                    <a:pt x="44" y="55"/>
                    <a:pt x="44" y="57"/>
                  </a:cubicBezTo>
                  <a:cubicBezTo>
                    <a:pt x="44" y="59"/>
                    <a:pt x="43" y="60"/>
                    <a:pt x="41" y="6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3" name="Freeform 624">
              <a:extLst>
                <a:ext uri="{FF2B5EF4-FFF2-40B4-BE49-F238E27FC236}">
                  <a16:creationId xmlns:a16="http://schemas.microsoft.com/office/drawing/2014/main" id="{0DB01495-F212-5626-87EC-5FFC12040BC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48610" y="3902255"/>
              <a:ext cx="111654" cy="160502"/>
            </a:xfrm>
            <a:custGeom>
              <a:avLst/>
              <a:gdLst>
                <a:gd name="T0" fmla="*/ 31 w 43"/>
                <a:gd name="T1" fmla="*/ 60 h 60"/>
                <a:gd name="T2" fmla="*/ 27 w 43"/>
                <a:gd name="T3" fmla="*/ 57 h 60"/>
                <a:gd name="T4" fmla="*/ 27 w 43"/>
                <a:gd name="T5" fmla="*/ 42 h 60"/>
                <a:gd name="T6" fmla="*/ 4 w 43"/>
                <a:gd name="T7" fmla="*/ 42 h 60"/>
                <a:gd name="T8" fmla="*/ 1 w 43"/>
                <a:gd name="T9" fmla="*/ 40 h 60"/>
                <a:gd name="T10" fmla="*/ 1 w 43"/>
                <a:gd name="T11" fmla="*/ 36 h 60"/>
                <a:gd name="T12" fmla="*/ 28 w 43"/>
                <a:gd name="T13" fmla="*/ 2 h 60"/>
                <a:gd name="T14" fmla="*/ 32 w 43"/>
                <a:gd name="T15" fmla="*/ 1 h 60"/>
                <a:gd name="T16" fmla="*/ 34 w 43"/>
                <a:gd name="T17" fmla="*/ 4 h 60"/>
                <a:gd name="T18" fmla="*/ 34 w 43"/>
                <a:gd name="T19" fmla="*/ 35 h 60"/>
                <a:gd name="T20" fmla="*/ 40 w 43"/>
                <a:gd name="T21" fmla="*/ 35 h 60"/>
                <a:gd name="T22" fmla="*/ 43 w 43"/>
                <a:gd name="T23" fmla="*/ 38 h 60"/>
                <a:gd name="T24" fmla="*/ 40 w 43"/>
                <a:gd name="T25" fmla="*/ 42 h 60"/>
                <a:gd name="T26" fmla="*/ 34 w 43"/>
                <a:gd name="T27" fmla="*/ 42 h 60"/>
                <a:gd name="T28" fmla="*/ 34 w 43"/>
                <a:gd name="T29" fmla="*/ 57 h 60"/>
                <a:gd name="T30" fmla="*/ 31 w 43"/>
                <a:gd name="T31" fmla="*/ 60 h 60"/>
                <a:gd name="T32" fmla="*/ 11 w 43"/>
                <a:gd name="T33" fmla="*/ 35 h 60"/>
                <a:gd name="T34" fmla="*/ 27 w 43"/>
                <a:gd name="T35" fmla="*/ 35 h 60"/>
                <a:gd name="T36" fmla="*/ 27 w 43"/>
                <a:gd name="T37" fmla="*/ 15 h 60"/>
                <a:gd name="T38" fmla="*/ 11 w 43"/>
                <a:gd name="T39" fmla="*/ 35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3" h="60">
                  <a:moveTo>
                    <a:pt x="31" y="60"/>
                  </a:moveTo>
                  <a:cubicBezTo>
                    <a:pt x="29" y="60"/>
                    <a:pt x="27" y="59"/>
                    <a:pt x="27" y="57"/>
                  </a:cubicBezTo>
                  <a:cubicBezTo>
                    <a:pt x="27" y="42"/>
                    <a:pt x="27" y="42"/>
                    <a:pt x="27" y="42"/>
                  </a:cubicBezTo>
                  <a:cubicBezTo>
                    <a:pt x="4" y="42"/>
                    <a:pt x="4" y="42"/>
                    <a:pt x="4" y="42"/>
                  </a:cubicBezTo>
                  <a:cubicBezTo>
                    <a:pt x="3" y="42"/>
                    <a:pt x="1" y="41"/>
                    <a:pt x="1" y="40"/>
                  </a:cubicBezTo>
                  <a:cubicBezTo>
                    <a:pt x="0" y="39"/>
                    <a:pt x="0" y="37"/>
                    <a:pt x="1" y="36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9" y="1"/>
                    <a:pt x="30" y="0"/>
                    <a:pt x="32" y="1"/>
                  </a:cubicBezTo>
                  <a:cubicBezTo>
                    <a:pt x="33" y="1"/>
                    <a:pt x="34" y="3"/>
                    <a:pt x="34" y="4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40" y="35"/>
                    <a:pt x="40" y="35"/>
                    <a:pt x="40" y="35"/>
                  </a:cubicBezTo>
                  <a:cubicBezTo>
                    <a:pt x="42" y="35"/>
                    <a:pt x="43" y="36"/>
                    <a:pt x="43" y="38"/>
                  </a:cubicBezTo>
                  <a:cubicBezTo>
                    <a:pt x="43" y="40"/>
                    <a:pt x="42" y="42"/>
                    <a:pt x="40" y="42"/>
                  </a:cubicBezTo>
                  <a:cubicBezTo>
                    <a:pt x="34" y="42"/>
                    <a:pt x="34" y="42"/>
                    <a:pt x="34" y="42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59"/>
                    <a:pt x="33" y="60"/>
                    <a:pt x="31" y="60"/>
                  </a:cubicBezTo>
                  <a:close/>
                  <a:moveTo>
                    <a:pt x="11" y="35"/>
                  </a:moveTo>
                  <a:cubicBezTo>
                    <a:pt x="27" y="35"/>
                    <a:pt x="27" y="35"/>
                    <a:pt x="27" y="35"/>
                  </a:cubicBezTo>
                  <a:cubicBezTo>
                    <a:pt x="27" y="15"/>
                    <a:pt x="27" y="15"/>
                    <a:pt x="27" y="15"/>
                  </a:cubicBezTo>
                  <a:lnTo>
                    <a:pt x="11" y="3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4" name="Freeform 625">
              <a:extLst>
                <a:ext uri="{FF2B5EF4-FFF2-40B4-BE49-F238E27FC236}">
                  <a16:creationId xmlns:a16="http://schemas.microsoft.com/office/drawing/2014/main" id="{CF2EE0AF-C42A-B12A-13CF-33DB8936EC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71917" y="3773157"/>
              <a:ext cx="422191" cy="422191"/>
            </a:xfrm>
            <a:custGeom>
              <a:avLst/>
              <a:gdLst>
                <a:gd name="T0" fmla="*/ 81 w 161"/>
                <a:gd name="T1" fmla="*/ 161 h 161"/>
                <a:gd name="T2" fmla="*/ 0 w 161"/>
                <a:gd name="T3" fmla="*/ 80 h 161"/>
                <a:gd name="T4" fmla="*/ 81 w 161"/>
                <a:gd name="T5" fmla="*/ 0 h 161"/>
                <a:gd name="T6" fmla="*/ 161 w 161"/>
                <a:gd name="T7" fmla="*/ 80 h 161"/>
                <a:gd name="T8" fmla="*/ 81 w 161"/>
                <a:gd name="T9" fmla="*/ 161 h 161"/>
                <a:gd name="T10" fmla="*/ 81 w 161"/>
                <a:gd name="T11" fmla="*/ 7 h 161"/>
                <a:gd name="T12" fmla="*/ 7 w 161"/>
                <a:gd name="T13" fmla="*/ 80 h 161"/>
                <a:gd name="T14" fmla="*/ 81 w 161"/>
                <a:gd name="T15" fmla="*/ 154 h 161"/>
                <a:gd name="T16" fmla="*/ 154 w 161"/>
                <a:gd name="T17" fmla="*/ 80 h 161"/>
                <a:gd name="T18" fmla="*/ 81 w 161"/>
                <a:gd name="T19" fmla="*/ 7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1" h="161">
                  <a:moveTo>
                    <a:pt x="81" y="161"/>
                  </a:moveTo>
                  <a:cubicBezTo>
                    <a:pt x="36" y="161"/>
                    <a:pt x="0" y="125"/>
                    <a:pt x="0" y="80"/>
                  </a:cubicBezTo>
                  <a:cubicBezTo>
                    <a:pt x="0" y="36"/>
                    <a:pt x="36" y="0"/>
                    <a:pt x="81" y="0"/>
                  </a:cubicBezTo>
                  <a:cubicBezTo>
                    <a:pt x="125" y="0"/>
                    <a:pt x="161" y="36"/>
                    <a:pt x="161" y="80"/>
                  </a:cubicBezTo>
                  <a:cubicBezTo>
                    <a:pt x="161" y="125"/>
                    <a:pt x="125" y="161"/>
                    <a:pt x="81" y="161"/>
                  </a:cubicBezTo>
                  <a:close/>
                  <a:moveTo>
                    <a:pt x="81" y="7"/>
                  </a:moveTo>
                  <a:cubicBezTo>
                    <a:pt x="40" y="7"/>
                    <a:pt x="7" y="40"/>
                    <a:pt x="7" y="80"/>
                  </a:cubicBezTo>
                  <a:cubicBezTo>
                    <a:pt x="7" y="121"/>
                    <a:pt x="40" y="154"/>
                    <a:pt x="81" y="154"/>
                  </a:cubicBezTo>
                  <a:cubicBezTo>
                    <a:pt x="121" y="154"/>
                    <a:pt x="154" y="121"/>
                    <a:pt x="154" y="80"/>
                  </a:cubicBezTo>
                  <a:cubicBezTo>
                    <a:pt x="154" y="40"/>
                    <a:pt x="121" y="7"/>
                    <a:pt x="81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5" name="Freeform 626">
              <a:extLst>
                <a:ext uri="{FF2B5EF4-FFF2-40B4-BE49-F238E27FC236}">
                  <a16:creationId xmlns:a16="http://schemas.microsoft.com/office/drawing/2014/main" id="{238477BE-8B24-E746-B0A0-BD24A53268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17275" y="3727796"/>
              <a:ext cx="512910" cy="512909"/>
            </a:xfrm>
            <a:custGeom>
              <a:avLst/>
              <a:gdLst>
                <a:gd name="T0" fmla="*/ 98 w 195"/>
                <a:gd name="T1" fmla="*/ 195 h 195"/>
                <a:gd name="T2" fmla="*/ 0 w 195"/>
                <a:gd name="T3" fmla="*/ 97 h 195"/>
                <a:gd name="T4" fmla="*/ 98 w 195"/>
                <a:gd name="T5" fmla="*/ 0 h 195"/>
                <a:gd name="T6" fmla="*/ 195 w 195"/>
                <a:gd name="T7" fmla="*/ 97 h 195"/>
                <a:gd name="T8" fmla="*/ 98 w 195"/>
                <a:gd name="T9" fmla="*/ 195 h 195"/>
                <a:gd name="T10" fmla="*/ 98 w 195"/>
                <a:gd name="T11" fmla="*/ 7 h 195"/>
                <a:gd name="T12" fmla="*/ 7 w 195"/>
                <a:gd name="T13" fmla="*/ 97 h 195"/>
                <a:gd name="T14" fmla="*/ 98 w 195"/>
                <a:gd name="T15" fmla="*/ 188 h 195"/>
                <a:gd name="T16" fmla="*/ 188 w 195"/>
                <a:gd name="T17" fmla="*/ 97 h 195"/>
                <a:gd name="T18" fmla="*/ 98 w 195"/>
                <a:gd name="T19" fmla="*/ 7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5" h="195">
                  <a:moveTo>
                    <a:pt x="98" y="195"/>
                  </a:moveTo>
                  <a:cubicBezTo>
                    <a:pt x="44" y="195"/>
                    <a:pt x="0" y="151"/>
                    <a:pt x="0" y="97"/>
                  </a:cubicBezTo>
                  <a:cubicBezTo>
                    <a:pt x="0" y="44"/>
                    <a:pt x="44" y="0"/>
                    <a:pt x="98" y="0"/>
                  </a:cubicBezTo>
                  <a:cubicBezTo>
                    <a:pt x="151" y="0"/>
                    <a:pt x="195" y="44"/>
                    <a:pt x="195" y="97"/>
                  </a:cubicBezTo>
                  <a:cubicBezTo>
                    <a:pt x="195" y="151"/>
                    <a:pt x="151" y="195"/>
                    <a:pt x="98" y="195"/>
                  </a:cubicBezTo>
                  <a:close/>
                  <a:moveTo>
                    <a:pt x="98" y="7"/>
                  </a:moveTo>
                  <a:cubicBezTo>
                    <a:pt x="48" y="7"/>
                    <a:pt x="7" y="47"/>
                    <a:pt x="7" y="97"/>
                  </a:cubicBezTo>
                  <a:cubicBezTo>
                    <a:pt x="7" y="147"/>
                    <a:pt x="48" y="188"/>
                    <a:pt x="98" y="188"/>
                  </a:cubicBezTo>
                  <a:cubicBezTo>
                    <a:pt x="148" y="188"/>
                    <a:pt x="188" y="147"/>
                    <a:pt x="188" y="97"/>
                  </a:cubicBezTo>
                  <a:cubicBezTo>
                    <a:pt x="188" y="47"/>
                    <a:pt x="148" y="7"/>
                    <a:pt x="98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6" name="Freeform 627">
              <a:extLst>
                <a:ext uri="{FF2B5EF4-FFF2-40B4-BE49-F238E27FC236}">
                  <a16:creationId xmlns:a16="http://schemas.microsoft.com/office/drawing/2014/main" id="{55A1C921-1BA3-0DCE-2A37-52D99C388E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28859" y="3637078"/>
              <a:ext cx="136079" cy="66295"/>
            </a:xfrm>
            <a:custGeom>
              <a:avLst/>
              <a:gdLst>
                <a:gd name="T0" fmla="*/ 47 w 51"/>
                <a:gd name="T1" fmla="*/ 25 h 25"/>
                <a:gd name="T2" fmla="*/ 4 w 51"/>
                <a:gd name="T3" fmla="*/ 25 h 25"/>
                <a:gd name="T4" fmla="*/ 0 w 51"/>
                <a:gd name="T5" fmla="*/ 21 h 25"/>
                <a:gd name="T6" fmla="*/ 0 w 51"/>
                <a:gd name="T7" fmla="*/ 3 h 25"/>
                <a:gd name="T8" fmla="*/ 4 w 51"/>
                <a:gd name="T9" fmla="*/ 0 h 25"/>
                <a:gd name="T10" fmla="*/ 47 w 51"/>
                <a:gd name="T11" fmla="*/ 0 h 25"/>
                <a:gd name="T12" fmla="*/ 51 w 51"/>
                <a:gd name="T13" fmla="*/ 3 h 25"/>
                <a:gd name="T14" fmla="*/ 51 w 51"/>
                <a:gd name="T15" fmla="*/ 21 h 25"/>
                <a:gd name="T16" fmla="*/ 47 w 51"/>
                <a:gd name="T17" fmla="*/ 25 h 25"/>
                <a:gd name="T18" fmla="*/ 8 w 51"/>
                <a:gd name="T19" fmla="*/ 18 h 25"/>
                <a:gd name="T20" fmla="*/ 43 w 51"/>
                <a:gd name="T21" fmla="*/ 18 h 25"/>
                <a:gd name="T22" fmla="*/ 43 w 51"/>
                <a:gd name="T23" fmla="*/ 7 h 25"/>
                <a:gd name="T24" fmla="*/ 8 w 51"/>
                <a:gd name="T25" fmla="*/ 7 h 25"/>
                <a:gd name="T26" fmla="*/ 8 w 51"/>
                <a:gd name="T27" fmla="*/ 18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1" h="25">
                  <a:moveTo>
                    <a:pt x="47" y="25"/>
                  </a:moveTo>
                  <a:cubicBezTo>
                    <a:pt x="4" y="25"/>
                    <a:pt x="4" y="25"/>
                    <a:pt x="4" y="25"/>
                  </a:cubicBezTo>
                  <a:cubicBezTo>
                    <a:pt x="2" y="25"/>
                    <a:pt x="0" y="23"/>
                    <a:pt x="0" y="21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9" y="0"/>
                    <a:pt x="51" y="1"/>
                    <a:pt x="51" y="3"/>
                  </a:cubicBezTo>
                  <a:cubicBezTo>
                    <a:pt x="51" y="21"/>
                    <a:pt x="51" y="21"/>
                    <a:pt x="51" y="21"/>
                  </a:cubicBezTo>
                  <a:cubicBezTo>
                    <a:pt x="51" y="23"/>
                    <a:pt x="49" y="25"/>
                    <a:pt x="47" y="25"/>
                  </a:cubicBezTo>
                  <a:close/>
                  <a:moveTo>
                    <a:pt x="8" y="18"/>
                  </a:moveTo>
                  <a:cubicBezTo>
                    <a:pt x="43" y="18"/>
                    <a:pt x="43" y="18"/>
                    <a:pt x="43" y="18"/>
                  </a:cubicBezTo>
                  <a:cubicBezTo>
                    <a:pt x="43" y="7"/>
                    <a:pt x="43" y="7"/>
                    <a:pt x="43" y="7"/>
                  </a:cubicBezTo>
                  <a:cubicBezTo>
                    <a:pt x="8" y="7"/>
                    <a:pt x="8" y="7"/>
                    <a:pt x="8" y="7"/>
                  </a:cubicBezTo>
                  <a:lnTo>
                    <a:pt x="8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7" name="Freeform 628">
              <a:extLst>
                <a:ext uri="{FF2B5EF4-FFF2-40B4-BE49-F238E27FC236}">
                  <a16:creationId xmlns:a16="http://schemas.microsoft.com/office/drawing/2014/main" id="{FEEBBCCE-2F1D-A780-7248-7D27299D02C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93968" y="3685926"/>
              <a:ext cx="66295" cy="59317"/>
            </a:xfrm>
            <a:custGeom>
              <a:avLst/>
              <a:gdLst>
                <a:gd name="T0" fmla="*/ 22 w 25"/>
                <a:gd name="T1" fmla="*/ 23 h 23"/>
                <a:gd name="T2" fmla="*/ 3 w 25"/>
                <a:gd name="T3" fmla="*/ 23 h 23"/>
                <a:gd name="T4" fmla="*/ 0 w 25"/>
                <a:gd name="T5" fmla="*/ 19 h 23"/>
                <a:gd name="T6" fmla="*/ 0 w 25"/>
                <a:gd name="T7" fmla="*/ 3 h 23"/>
                <a:gd name="T8" fmla="*/ 3 w 25"/>
                <a:gd name="T9" fmla="*/ 0 h 23"/>
                <a:gd name="T10" fmla="*/ 22 w 25"/>
                <a:gd name="T11" fmla="*/ 0 h 23"/>
                <a:gd name="T12" fmla="*/ 25 w 25"/>
                <a:gd name="T13" fmla="*/ 3 h 23"/>
                <a:gd name="T14" fmla="*/ 25 w 25"/>
                <a:gd name="T15" fmla="*/ 19 h 23"/>
                <a:gd name="T16" fmla="*/ 22 w 25"/>
                <a:gd name="T17" fmla="*/ 23 h 23"/>
                <a:gd name="T18" fmla="*/ 7 w 25"/>
                <a:gd name="T19" fmla="*/ 16 h 23"/>
                <a:gd name="T20" fmla="*/ 18 w 25"/>
                <a:gd name="T21" fmla="*/ 16 h 23"/>
                <a:gd name="T22" fmla="*/ 18 w 25"/>
                <a:gd name="T23" fmla="*/ 7 h 23"/>
                <a:gd name="T24" fmla="*/ 7 w 25"/>
                <a:gd name="T25" fmla="*/ 7 h 23"/>
                <a:gd name="T26" fmla="*/ 7 w 25"/>
                <a:gd name="T27" fmla="*/ 16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" h="23">
                  <a:moveTo>
                    <a:pt x="22" y="23"/>
                  </a:moveTo>
                  <a:cubicBezTo>
                    <a:pt x="3" y="23"/>
                    <a:pt x="3" y="23"/>
                    <a:pt x="3" y="23"/>
                  </a:cubicBezTo>
                  <a:cubicBezTo>
                    <a:pt x="2" y="23"/>
                    <a:pt x="0" y="21"/>
                    <a:pt x="0" y="19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4" y="0"/>
                    <a:pt x="25" y="1"/>
                    <a:pt x="25" y="3"/>
                  </a:cubicBezTo>
                  <a:cubicBezTo>
                    <a:pt x="25" y="19"/>
                    <a:pt x="25" y="19"/>
                    <a:pt x="25" y="19"/>
                  </a:cubicBezTo>
                  <a:cubicBezTo>
                    <a:pt x="25" y="21"/>
                    <a:pt x="24" y="23"/>
                    <a:pt x="22" y="23"/>
                  </a:cubicBezTo>
                  <a:close/>
                  <a:moveTo>
                    <a:pt x="7" y="16"/>
                  </a:moveTo>
                  <a:cubicBezTo>
                    <a:pt x="18" y="16"/>
                    <a:pt x="18" y="16"/>
                    <a:pt x="18" y="16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8" name="Freeform 629">
              <a:extLst>
                <a:ext uri="{FF2B5EF4-FFF2-40B4-BE49-F238E27FC236}">
                  <a16:creationId xmlns:a16="http://schemas.microsoft.com/office/drawing/2014/main" id="{CB21331C-B359-CD57-CEC8-A52546A9BDCA}"/>
                </a:ext>
              </a:extLst>
            </p:cNvPr>
            <p:cNvSpPr>
              <a:spLocks/>
            </p:cNvSpPr>
            <p:nvPr/>
          </p:nvSpPr>
          <p:spPr bwMode="auto">
            <a:xfrm>
              <a:off x="-689361" y="3762688"/>
              <a:ext cx="62805" cy="59317"/>
            </a:xfrm>
            <a:custGeom>
              <a:avLst/>
              <a:gdLst>
                <a:gd name="T0" fmla="*/ 19 w 23"/>
                <a:gd name="T1" fmla="*/ 22 h 22"/>
                <a:gd name="T2" fmla="*/ 16 w 23"/>
                <a:gd name="T3" fmla="*/ 21 h 22"/>
                <a:gd name="T4" fmla="*/ 2 w 23"/>
                <a:gd name="T5" fmla="*/ 6 h 22"/>
                <a:gd name="T6" fmla="*/ 2 w 23"/>
                <a:gd name="T7" fmla="*/ 1 h 22"/>
                <a:gd name="T8" fmla="*/ 7 w 23"/>
                <a:gd name="T9" fmla="*/ 1 h 22"/>
                <a:gd name="T10" fmla="*/ 21 w 23"/>
                <a:gd name="T11" fmla="*/ 16 h 22"/>
                <a:gd name="T12" fmla="*/ 21 w 23"/>
                <a:gd name="T13" fmla="*/ 21 h 22"/>
                <a:gd name="T14" fmla="*/ 19 w 23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22">
                  <a:moveTo>
                    <a:pt x="19" y="22"/>
                  </a:moveTo>
                  <a:cubicBezTo>
                    <a:pt x="18" y="22"/>
                    <a:pt x="17" y="21"/>
                    <a:pt x="16" y="21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0" y="5"/>
                    <a:pt x="0" y="3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ubicBezTo>
                    <a:pt x="21" y="16"/>
                    <a:pt x="21" y="16"/>
                    <a:pt x="21" y="16"/>
                  </a:cubicBezTo>
                  <a:cubicBezTo>
                    <a:pt x="23" y="17"/>
                    <a:pt x="23" y="19"/>
                    <a:pt x="21" y="21"/>
                  </a:cubicBezTo>
                  <a:cubicBezTo>
                    <a:pt x="21" y="21"/>
                    <a:pt x="20" y="22"/>
                    <a:pt x="19" y="2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9" name="Freeform 630">
              <a:extLst>
                <a:ext uri="{FF2B5EF4-FFF2-40B4-BE49-F238E27FC236}">
                  <a16:creationId xmlns:a16="http://schemas.microsoft.com/office/drawing/2014/main" id="{DF2F85AE-2C03-3F58-C16A-A1C3D753EC22}"/>
                </a:ext>
              </a:extLst>
            </p:cNvPr>
            <p:cNvSpPr>
              <a:spLocks/>
            </p:cNvSpPr>
            <p:nvPr/>
          </p:nvSpPr>
          <p:spPr bwMode="auto">
            <a:xfrm>
              <a:off x="-706808" y="3745243"/>
              <a:ext cx="59317" cy="59317"/>
            </a:xfrm>
            <a:custGeom>
              <a:avLst/>
              <a:gdLst>
                <a:gd name="T0" fmla="*/ 4 w 22"/>
                <a:gd name="T1" fmla="*/ 22 h 22"/>
                <a:gd name="T2" fmla="*/ 2 w 22"/>
                <a:gd name="T3" fmla="*/ 20 h 22"/>
                <a:gd name="T4" fmla="*/ 2 w 22"/>
                <a:gd name="T5" fmla="*/ 15 h 22"/>
                <a:gd name="T6" fmla="*/ 16 w 22"/>
                <a:gd name="T7" fmla="*/ 1 h 22"/>
                <a:gd name="T8" fmla="*/ 21 w 22"/>
                <a:gd name="T9" fmla="*/ 1 h 22"/>
                <a:gd name="T10" fmla="*/ 21 w 22"/>
                <a:gd name="T11" fmla="*/ 6 h 22"/>
                <a:gd name="T12" fmla="*/ 7 w 22"/>
                <a:gd name="T13" fmla="*/ 20 h 22"/>
                <a:gd name="T14" fmla="*/ 4 w 22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2">
                  <a:moveTo>
                    <a:pt x="4" y="22"/>
                  </a:moveTo>
                  <a:cubicBezTo>
                    <a:pt x="3" y="22"/>
                    <a:pt x="2" y="21"/>
                    <a:pt x="2" y="20"/>
                  </a:cubicBezTo>
                  <a:cubicBezTo>
                    <a:pt x="0" y="19"/>
                    <a:pt x="0" y="17"/>
                    <a:pt x="2" y="15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7" y="0"/>
                    <a:pt x="20" y="0"/>
                    <a:pt x="21" y="1"/>
                  </a:cubicBezTo>
                  <a:cubicBezTo>
                    <a:pt x="22" y="2"/>
                    <a:pt x="22" y="5"/>
                    <a:pt x="21" y="6"/>
                  </a:cubicBezTo>
                  <a:cubicBezTo>
                    <a:pt x="7" y="20"/>
                    <a:pt x="7" y="20"/>
                    <a:pt x="7" y="20"/>
                  </a:cubicBezTo>
                  <a:cubicBezTo>
                    <a:pt x="6" y="21"/>
                    <a:pt x="5" y="22"/>
                    <a:pt x="4" y="2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0" name="Freeform 631">
              <a:extLst>
                <a:ext uri="{FF2B5EF4-FFF2-40B4-BE49-F238E27FC236}">
                  <a16:creationId xmlns:a16="http://schemas.microsoft.com/office/drawing/2014/main" id="{A39A4131-49A9-C762-586D-856D7281B0EB}"/>
                </a:ext>
              </a:extLst>
            </p:cNvPr>
            <p:cNvSpPr>
              <a:spLocks/>
            </p:cNvSpPr>
            <p:nvPr/>
          </p:nvSpPr>
          <p:spPr bwMode="auto">
            <a:xfrm>
              <a:off x="-291596" y="3762688"/>
              <a:ext cx="59317" cy="59317"/>
            </a:xfrm>
            <a:custGeom>
              <a:avLst/>
              <a:gdLst>
                <a:gd name="T0" fmla="*/ 4 w 22"/>
                <a:gd name="T1" fmla="*/ 22 h 22"/>
                <a:gd name="T2" fmla="*/ 1 w 22"/>
                <a:gd name="T3" fmla="*/ 21 h 22"/>
                <a:gd name="T4" fmla="*/ 1 w 22"/>
                <a:gd name="T5" fmla="*/ 16 h 22"/>
                <a:gd name="T6" fmla="*/ 15 w 22"/>
                <a:gd name="T7" fmla="*/ 1 h 22"/>
                <a:gd name="T8" fmla="*/ 20 w 22"/>
                <a:gd name="T9" fmla="*/ 1 h 22"/>
                <a:gd name="T10" fmla="*/ 20 w 22"/>
                <a:gd name="T11" fmla="*/ 6 h 22"/>
                <a:gd name="T12" fmla="*/ 6 w 22"/>
                <a:gd name="T13" fmla="*/ 21 h 22"/>
                <a:gd name="T14" fmla="*/ 4 w 22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2">
                  <a:moveTo>
                    <a:pt x="4" y="22"/>
                  </a:moveTo>
                  <a:cubicBezTo>
                    <a:pt x="3" y="22"/>
                    <a:pt x="2" y="21"/>
                    <a:pt x="1" y="21"/>
                  </a:cubicBezTo>
                  <a:cubicBezTo>
                    <a:pt x="0" y="19"/>
                    <a:pt x="0" y="17"/>
                    <a:pt x="1" y="16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2" y="3"/>
                    <a:pt x="22" y="5"/>
                    <a:pt x="20" y="6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5" y="21"/>
                    <a:pt x="4" y="22"/>
                    <a:pt x="4" y="2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1" name="Freeform 632">
              <a:extLst>
                <a:ext uri="{FF2B5EF4-FFF2-40B4-BE49-F238E27FC236}">
                  <a16:creationId xmlns:a16="http://schemas.microsoft.com/office/drawing/2014/main" id="{068A890A-C737-11C6-06A3-DA1DB6FCB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-274151" y="3745243"/>
              <a:ext cx="59317" cy="59317"/>
            </a:xfrm>
            <a:custGeom>
              <a:avLst/>
              <a:gdLst>
                <a:gd name="T0" fmla="*/ 18 w 22"/>
                <a:gd name="T1" fmla="*/ 22 h 22"/>
                <a:gd name="T2" fmla="*/ 16 w 22"/>
                <a:gd name="T3" fmla="*/ 20 h 22"/>
                <a:gd name="T4" fmla="*/ 1 w 22"/>
                <a:gd name="T5" fmla="*/ 6 h 22"/>
                <a:gd name="T6" fmla="*/ 1 w 22"/>
                <a:gd name="T7" fmla="*/ 1 h 22"/>
                <a:gd name="T8" fmla="*/ 6 w 22"/>
                <a:gd name="T9" fmla="*/ 1 h 22"/>
                <a:gd name="T10" fmla="*/ 21 w 22"/>
                <a:gd name="T11" fmla="*/ 15 h 22"/>
                <a:gd name="T12" fmla="*/ 21 w 22"/>
                <a:gd name="T13" fmla="*/ 20 h 22"/>
                <a:gd name="T14" fmla="*/ 18 w 22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2">
                  <a:moveTo>
                    <a:pt x="18" y="22"/>
                  </a:moveTo>
                  <a:cubicBezTo>
                    <a:pt x="17" y="22"/>
                    <a:pt x="16" y="21"/>
                    <a:pt x="16" y="20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5"/>
                    <a:pt x="0" y="2"/>
                    <a:pt x="1" y="1"/>
                  </a:cubicBezTo>
                  <a:cubicBezTo>
                    <a:pt x="3" y="0"/>
                    <a:pt x="5" y="0"/>
                    <a:pt x="6" y="1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2" y="17"/>
                    <a:pt x="22" y="19"/>
                    <a:pt x="21" y="20"/>
                  </a:cubicBezTo>
                  <a:cubicBezTo>
                    <a:pt x="20" y="21"/>
                    <a:pt x="19" y="22"/>
                    <a:pt x="18" y="2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9" name="Shape20_20200717_154439">
            <a:extLst>
              <a:ext uri="{FF2B5EF4-FFF2-40B4-BE49-F238E27FC236}">
                <a16:creationId xmlns:a16="http://schemas.microsoft.com/office/drawing/2014/main" id="{BBB26720-B32E-E498-B687-F40071C6E917}"/>
              </a:ext>
            </a:extLst>
          </p:cNvPr>
          <p:cNvGrpSpPr>
            <a:grpSpLocks noChangeAspect="1"/>
          </p:cNvGrpSpPr>
          <p:nvPr/>
        </p:nvGrpSpPr>
        <p:grpSpPr>
          <a:xfrm>
            <a:off x="4532243" y="2507592"/>
            <a:ext cx="516398" cy="603627"/>
            <a:chOff x="-3180631" y="3637078"/>
            <a:chExt cx="516398" cy="603627"/>
          </a:xfrm>
          <a:solidFill>
            <a:schemeClr val="accent1"/>
          </a:solidFill>
        </p:grpSpPr>
        <p:sp>
          <p:nvSpPr>
            <p:cNvPr id="94" name="Freeform 633">
              <a:extLst>
                <a:ext uri="{FF2B5EF4-FFF2-40B4-BE49-F238E27FC236}">
                  <a16:creationId xmlns:a16="http://schemas.microsoft.com/office/drawing/2014/main" id="{5B518CAF-1126-0CE3-9084-CA28D01EA7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135273" y="3773157"/>
              <a:ext cx="425679" cy="422191"/>
            </a:xfrm>
            <a:custGeom>
              <a:avLst/>
              <a:gdLst>
                <a:gd name="T0" fmla="*/ 81 w 162"/>
                <a:gd name="T1" fmla="*/ 161 h 161"/>
                <a:gd name="T2" fmla="*/ 0 w 162"/>
                <a:gd name="T3" fmla="*/ 80 h 161"/>
                <a:gd name="T4" fmla="*/ 81 w 162"/>
                <a:gd name="T5" fmla="*/ 0 h 161"/>
                <a:gd name="T6" fmla="*/ 162 w 162"/>
                <a:gd name="T7" fmla="*/ 80 h 161"/>
                <a:gd name="T8" fmla="*/ 81 w 162"/>
                <a:gd name="T9" fmla="*/ 161 h 161"/>
                <a:gd name="T10" fmla="*/ 81 w 162"/>
                <a:gd name="T11" fmla="*/ 7 h 161"/>
                <a:gd name="T12" fmla="*/ 7 w 162"/>
                <a:gd name="T13" fmla="*/ 80 h 161"/>
                <a:gd name="T14" fmla="*/ 81 w 162"/>
                <a:gd name="T15" fmla="*/ 154 h 161"/>
                <a:gd name="T16" fmla="*/ 155 w 162"/>
                <a:gd name="T17" fmla="*/ 80 h 161"/>
                <a:gd name="T18" fmla="*/ 81 w 162"/>
                <a:gd name="T19" fmla="*/ 7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2" h="161">
                  <a:moveTo>
                    <a:pt x="81" y="161"/>
                  </a:moveTo>
                  <a:cubicBezTo>
                    <a:pt x="37" y="161"/>
                    <a:pt x="0" y="125"/>
                    <a:pt x="0" y="80"/>
                  </a:cubicBezTo>
                  <a:cubicBezTo>
                    <a:pt x="0" y="36"/>
                    <a:pt x="37" y="0"/>
                    <a:pt x="81" y="0"/>
                  </a:cubicBezTo>
                  <a:cubicBezTo>
                    <a:pt x="126" y="0"/>
                    <a:pt x="162" y="36"/>
                    <a:pt x="162" y="80"/>
                  </a:cubicBezTo>
                  <a:cubicBezTo>
                    <a:pt x="162" y="125"/>
                    <a:pt x="126" y="161"/>
                    <a:pt x="81" y="161"/>
                  </a:cubicBezTo>
                  <a:close/>
                  <a:moveTo>
                    <a:pt x="81" y="7"/>
                  </a:moveTo>
                  <a:cubicBezTo>
                    <a:pt x="40" y="7"/>
                    <a:pt x="7" y="40"/>
                    <a:pt x="7" y="80"/>
                  </a:cubicBezTo>
                  <a:cubicBezTo>
                    <a:pt x="7" y="121"/>
                    <a:pt x="40" y="154"/>
                    <a:pt x="81" y="154"/>
                  </a:cubicBezTo>
                  <a:cubicBezTo>
                    <a:pt x="122" y="154"/>
                    <a:pt x="155" y="121"/>
                    <a:pt x="155" y="80"/>
                  </a:cubicBezTo>
                  <a:cubicBezTo>
                    <a:pt x="155" y="40"/>
                    <a:pt x="122" y="7"/>
                    <a:pt x="81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5" name="Freeform 634">
              <a:extLst>
                <a:ext uri="{FF2B5EF4-FFF2-40B4-BE49-F238E27FC236}">
                  <a16:creationId xmlns:a16="http://schemas.microsoft.com/office/drawing/2014/main" id="{D288EC41-D551-5735-9A65-E08936AEF0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180631" y="3727796"/>
              <a:ext cx="516398" cy="512909"/>
            </a:xfrm>
            <a:custGeom>
              <a:avLst/>
              <a:gdLst>
                <a:gd name="T0" fmla="*/ 98 w 196"/>
                <a:gd name="T1" fmla="*/ 195 h 195"/>
                <a:gd name="T2" fmla="*/ 0 w 196"/>
                <a:gd name="T3" fmla="*/ 97 h 195"/>
                <a:gd name="T4" fmla="*/ 98 w 196"/>
                <a:gd name="T5" fmla="*/ 0 h 195"/>
                <a:gd name="T6" fmla="*/ 196 w 196"/>
                <a:gd name="T7" fmla="*/ 97 h 195"/>
                <a:gd name="T8" fmla="*/ 98 w 196"/>
                <a:gd name="T9" fmla="*/ 195 h 195"/>
                <a:gd name="T10" fmla="*/ 98 w 196"/>
                <a:gd name="T11" fmla="*/ 7 h 195"/>
                <a:gd name="T12" fmla="*/ 8 w 196"/>
                <a:gd name="T13" fmla="*/ 97 h 195"/>
                <a:gd name="T14" fmla="*/ 98 w 196"/>
                <a:gd name="T15" fmla="*/ 188 h 195"/>
                <a:gd name="T16" fmla="*/ 189 w 196"/>
                <a:gd name="T17" fmla="*/ 97 h 195"/>
                <a:gd name="T18" fmla="*/ 98 w 196"/>
                <a:gd name="T19" fmla="*/ 7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6" h="195">
                  <a:moveTo>
                    <a:pt x="98" y="195"/>
                  </a:moveTo>
                  <a:cubicBezTo>
                    <a:pt x="44" y="195"/>
                    <a:pt x="0" y="151"/>
                    <a:pt x="0" y="97"/>
                  </a:cubicBezTo>
                  <a:cubicBezTo>
                    <a:pt x="0" y="44"/>
                    <a:pt x="44" y="0"/>
                    <a:pt x="98" y="0"/>
                  </a:cubicBezTo>
                  <a:cubicBezTo>
                    <a:pt x="152" y="0"/>
                    <a:pt x="196" y="44"/>
                    <a:pt x="196" y="97"/>
                  </a:cubicBezTo>
                  <a:cubicBezTo>
                    <a:pt x="196" y="151"/>
                    <a:pt x="152" y="195"/>
                    <a:pt x="98" y="195"/>
                  </a:cubicBezTo>
                  <a:close/>
                  <a:moveTo>
                    <a:pt x="98" y="7"/>
                  </a:moveTo>
                  <a:cubicBezTo>
                    <a:pt x="48" y="7"/>
                    <a:pt x="8" y="47"/>
                    <a:pt x="8" y="97"/>
                  </a:cubicBezTo>
                  <a:cubicBezTo>
                    <a:pt x="8" y="147"/>
                    <a:pt x="48" y="188"/>
                    <a:pt x="98" y="188"/>
                  </a:cubicBezTo>
                  <a:cubicBezTo>
                    <a:pt x="148" y="188"/>
                    <a:pt x="189" y="147"/>
                    <a:pt x="189" y="97"/>
                  </a:cubicBezTo>
                  <a:cubicBezTo>
                    <a:pt x="189" y="47"/>
                    <a:pt x="148" y="7"/>
                    <a:pt x="98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6" name="Freeform 635">
              <a:extLst>
                <a:ext uri="{FF2B5EF4-FFF2-40B4-BE49-F238E27FC236}">
                  <a16:creationId xmlns:a16="http://schemas.microsoft.com/office/drawing/2014/main" id="{99280578-12F3-2F54-EB25-0491E8336D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988727" y="3637078"/>
              <a:ext cx="132589" cy="66295"/>
            </a:xfrm>
            <a:custGeom>
              <a:avLst/>
              <a:gdLst>
                <a:gd name="T0" fmla="*/ 47 w 50"/>
                <a:gd name="T1" fmla="*/ 25 h 25"/>
                <a:gd name="T2" fmla="*/ 4 w 50"/>
                <a:gd name="T3" fmla="*/ 25 h 25"/>
                <a:gd name="T4" fmla="*/ 0 w 50"/>
                <a:gd name="T5" fmla="*/ 21 h 25"/>
                <a:gd name="T6" fmla="*/ 0 w 50"/>
                <a:gd name="T7" fmla="*/ 3 h 25"/>
                <a:gd name="T8" fmla="*/ 4 w 50"/>
                <a:gd name="T9" fmla="*/ 0 h 25"/>
                <a:gd name="T10" fmla="*/ 47 w 50"/>
                <a:gd name="T11" fmla="*/ 0 h 25"/>
                <a:gd name="T12" fmla="*/ 50 w 50"/>
                <a:gd name="T13" fmla="*/ 3 h 25"/>
                <a:gd name="T14" fmla="*/ 50 w 50"/>
                <a:gd name="T15" fmla="*/ 21 h 25"/>
                <a:gd name="T16" fmla="*/ 47 w 50"/>
                <a:gd name="T17" fmla="*/ 25 h 25"/>
                <a:gd name="T18" fmla="*/ 7 w 50"/>
                <a:gd name="T19" fmla="*/ 18 h 25"/>
                <a:gd name="T20" fmla="*/ 43 w 50"/>
                <a:gd name="T21" fmla="*/ 18 h 25"/>
                <a:gd name="T22" fmla="*/ 43 w 50"/>
                <a:gd name="T23" fmla="*/ 7 h 25"/>
                <a:gd name="T24" fmla="*/ 7 w 50"/>
                <a:gd name="T25" fmla="*/ 7 h 25"/>
                <a:gd name="T26" fmla="*/ 7 w 50"/>
                <a:gd name="T27" fmla="*/ 18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0" h="25">
                  <a:moveTo>
                    <a:pt x="47" y="25"/>
                  </a:moveTo>
                  <a:cubicBezTo>
                    <a:pt x="4" y="25"/>
                    <a:pt x="4" y="25"/>
                    <a:pt x="4" y="25"/>
                  </a:cubicBezTo>
                  <a:cubicBezTo>
                    <a:pt x="2" y="25"/>
                    <a:pt x="0" y="23"/>
                    <a:pt x="0" y="21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9" y="0"/>
                    <a:pt x="50" y="1"/>
                    <a:pt x="50" y="3"/>
                  </a:cubicBezTo>
                  <a:cubicBezTo>
                    <a:pt x="50" y="21"/>
                    <a:pt x="50" y="21"/>
                    <a:pt x="50" y="21"/>
                  </a:cubicBezTo>
                  <a:cubicBezTo>
                    <a:pt x="50" y="23"/>
                    <a:pt x="49" y="25"/>
                    <a:pt x="47" y="25"/>
                  </a:cubicBezTo>
                  <a:close/>
                  <a:moveTo>
                    <a:pt x="7" y="18"/>
                  </a:moveTo>
                  <a:cubicBezTo>
                    <a:pt x="43" y="18"/>
                    <a:pt x="43" y="18"/>
                    <a:pt x="43" y="18"/>
                  </a:cubicBezTo>
                  <a:cubicBezTo>
                    <a:pt x="43" y="7"/>
                    <a:pt x="43" y="7"/>
                    <a:pt x="43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7" name="Freeform 636">
              <a:extLst>
                <a:ext uri="{FF2B5EF4-FFF2-40B4-BE49-F238E27FC236}">
                  <a16:creationId xmlns:a16="http://schemas.microsoft.com/office/drawing/2014/main" id="{50BA4AA8-E54D-80BC-3AAC-62F92700539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957324" y="3685926"/>
              <a:ext cx="69783" cy="59317"/>
            </a:xfrm>
            <a:custGeom>
              <a:avLst/>
              <a:gdLst>
                <a:gd name="T0" fmla="*/ 22 w 26"/>
                <a:gd name="T1" fmla="*/ 23 h 23"/>
                <a:gd name="T2" fmla="*/ 4 w 26"/>
                <a:gd name="T3" fmla="*/ 23 h 23"/>
                <a:gd name="T4" fmla="*/ 0 w 26"/>
                <a:gd name="T5" fmla="*/ 19 h 23"/>
                <a:gd name="T6" fmla="*/ 0 w 26"/>
                <a:gd name="T7" fmla="*/ 3 h 23"/>
                <a:gd name="T8" fmla="*/ 4 w 26"/>
                <a:gd name="T9" fmla="*/ 0 h 23"/>
                <a:gd name="T10" fmla="*/ 22 w 26"/>
                <a:gd name="T11" fmla="*/ 0 h 23"/>
                <a:gd name="T12" fmla="*/ 26 w 26"/>
                <a:gd name="T13" fmla="*/ 3 h 23"/>
                <a:gd name="T14" fmla="*/ 26 w 26"/>
                <a:gd name="T15" fmla="*/ 19 h 23"/>
                <a:gd name="T16" fmla="*/ 22 w 26"/>
                <a:gd name="T17" fmla="*/ 23 h 23"/>
                <a:gd name="T18" fmla="*/ 8 w 26"/>
                <a:gd name="T19" fmla="*/ 16 h 23"/>
                <a:gd name="T20" fmla="*/ 19 w 26"/>
                <a:gd name="T21" fmla="*/ 16 h 23"/>
                <a:gd name="T22" fmla="*/ 19 w 26"/>
                <a:gd name="T23" fmla="*/ 7 h 23"/>
                <a:gd name="T24" fmla="*/ 8 w 26"/>
                <a:gd name="T25" fmla="*/ 7 h 23"/>
                <a:gd name="T26" fmla="*/ 8 w 26"/>
                <a:gd name="T27" fmla="*/ 16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" h="23">
                  <a:moveTo>
                    <a:pt x="22" y="23"/>
                  </a:moveTo>
                  <a:cubicBezTo>
                    <a:pt x="4" y="23"/>
                    <a:pt x="4" y="23"/>
                    <a:pt x="4" y="23"/>
                  </a:cubicBezTo>
                  <a:cubicBezTo>
                    <a:pt x="2" y="23"/>
                    <a:pt x="0" y="21"/>
                    <a:pt x="0" y="19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4" y="0"/>
                    <a:pt x="26" y="1"/>
                    <a:pt x="26" y="3"/>
                  </a:cubicBezTo>
                  <a:cubicBezTo>
                    <a:pt x="26" y="19"/>
                    <a:pt x="26" y="19"/>
                    <a:pt x="26" y="19"/>
                  </a:cubicBezTo>
                  <a:cubicBezTo>
                    <a:pt x="26" y="21"/>
                    <a:pt x="24" y="23"/>
                    <a:pt x="22" y="23"/>
                  </a:cubicBezTo>
                  <a:close/>
                  <a:moveTo>
                    <a:pt x="8" y="16"/>
                  </a:moveTo>
                  <a:cubicBezTo>
                    <a:pt x="19" y="16"/>
                    <a:pt x="19" y="16"/>
                    <a:pt x="19" y="16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8" y="7"/>
                    <a:pt x="8" y="7"/>
                    <a:pt x="8" y="7"/>
                  </a:cubicBezTo>
                  <a:lnTo>
                    <a:pt x="8" y="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8" name="Freeform 637">
              <a:extLst>
                <a:ext uri="{FF2B5EF4-FFF2-40B4-BE49-F238E27FC236}">
                  <a16:creationId xmlns:a16="http://schemas.microsoft.com/office/drawing/2014/main" id="{0F718F28-92F0-2D90-042D-66C7CA99B19A}"/>
                </a:ext>
              </a:extLst>
            </p:cNvPr>
            <p:cNvSpPr>
              <a:spLocks/>
            </p:cNvSpPr>
            <p:nvPr/>
          </p:nvSpPr>
          <p:spPr bwMode="auto">
            <a:xfrm>
              <a:off x="-3149229" y="3762688"/>
              <a:ext cx="55827" cy="59317"/>
            </a:xfrm>
            <a:custGeom>
              <a:avLst/>
              <a:gdLst>
                <a:gd name="T0" fmla="*/ 18 w 22"/>
                <a:gd name="T1" fmla="*/ 22 h 22"/>
                <a:gd name="T2" fmla="*/ 16 w 22"/>
                <a:gd name="T3" fmla="*/ 21 h 22"/>
                <a:gd name="T4" fmla="*/ 1 w 22"/>
                <a:gd name="T5" fmla="*/ 6 h 22"/>
                <a:gd name="T6" fmla="*/ 1 w 22"/>
                <a:gd name="T7" fmla="*/ 1 h 22"/>
                <a:gd name="T8" fmla="*/ 6 w 22"/>
                <a:gd name="T9" fmla="*/ 1 h 22"/>
                <a:gd name="T10" fmla="*/ 21 w 22"/>
                <a:gd name="T11" fmla="*/ 16 h 22"/>
                <a:gd name="T12" fmla="*/ 21 w 22"/>
                <a:gd name="T13" fmla="*/ 21 h 22"/>
                <a:gd name="T14" fmla="*/ 18 w 22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2">
                  <a:moveTo>
                    <a:pt x="18" y="22"/>
                  </a:moveTo>
                  <a:cubicBezTo>
                    <a:pt x="17" y="22"/>
                    <a:pt x="16" y="21"/>
                    <a:pt x="16" y="21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5"/>
                    <a:pt x="0" y="3"/>
                    <a:pt x="1" y="1"/>
                  </a:cubicBezTo>
                  <a:cubicBezTo>
                    <a:pt x="3" y="0"/>
                    <a:pt x="5" y="0"/>
                    <a:pt x="6" y="1"/>
                  </a:cubicBezTo>
                  <a:cubicBezTo>
                    <a:pt x="21" y="16"/>
                    <a:pt x="21" y="16"/>
                    <a:pt x="21" y="16"/>
                  </a:cubicBezTo>
                  <a:cubicBezTo>
                    <a:pt x="22" y="17"/>
                    <a:pt x="22" y="19"/>
                    <a:pt x="21" y="21"/>
                  </a:cubicBezTo>
                  <a:cubicBezTo>
                    <a:pt x="20" y="21"/>
                    <a:pt x="19" y="22"/>
                    <a:pt x="18" y="2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9" name="Freeform 638">
              <a:extLst>
                <a:ext uri="{FF2B5EF4-FFF2-40B4-BE49-F238E27FC236}">
                  <a16:creationId xmlns:a16="http://schemas.microsoft.com/office/drawing/2014/main" id="{03CB173A-0848-C977-00FF-DEA2F2A4A7F1}"/>
                </a:ext>
              </a:extLst>
            </p:cNvPr>
            <p:cNvSpPr>
              <a:spLocks/>
            </p:cNvSpPr>
            <p:nvPr/>
          </p:nvSpPr>
          <p:spPr bwMode="auto">
            <a:xfrm>
              <a:off x="-3166674" y="3745243"/>
              <a:ext cx="55827" cy="59317"/>
            </a:xfrm>
            <a:custGeom>
              <a:avLst/>
              <a:gdLst>
                <a:gd name="T0" fmla="*/ 4 w 22"/>
                <a:gd name="T1" fmla="*/ 22 h 22"/>
                <a:gd name="T2" fmla="*/ 1 w 22"/>
                <a:gd name="T3" fmla="*/ 20 h 22"/>
                <a:gd name="T4" fmla="*/ 1 w 22"/>
                <a:gd name="T5" fmla="*/ 15 h 22"/>
                <a:gd name="T6" fmla="*/ 16 w 22"/>
                <a:gd name="T7" fmla="*/ 1 h 22"/>
                <a:gd name="T8" fmla="*/ 21 w 22"/>
                <a:gd name="T9" fmla="*/ 1 h 22"/>
                <a:gd name="T10" fmla="*/ 21 w 22"/>
                <a:gd name="T11" fmla="*/ 6 h 22"/>
                <a:gd name="T12" fmla="*/ 6 w 22"/>
                <a:gd name="T13" fmla="*/ 20 h 22"/>
                <a:gd name="T14" fmla="*/ 4 w 22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2">
                  <a:moveTo>
                    <a:pt x="4" y="22"/>
                  </a:moveTo>
                  <a:cubicBezTo>
                    <a:pt x="3" y="22"/>
                    <a:pt x="2" y="21"/>
                    <a:pt x="1" y="20"/>
                  </a:cubicBezTo>
                  <a:cubicBezTo>
                    <a:pt x="0" y="19"/>
                    <a:pt x="0" y="17"/>
                    <a:pt x="1" y="15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7" y="0"/>
                    <a:pt x="19" y="0"/>
                    <a:pt x="21" y="1"/>
                  </a:cubicBezTo>
                  <a:cubicBezTo>
                    <a:pt x="22" y="2"/>
                    <a:pt x="22" y="5"/>
                    <a:pt x="21" y="6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1"/>
                    <a:pt x="5" y="22"/>
                    <a:pt x="4" y="2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0" name="Freeform 639">
              <a:extLst>
                <a:ext uri="{FF2B5EF4-FFF2-40B4-BE49-F238E27FC236}">
                  <a16:creationId xmlns:a16="http://schemas.microsoft.com/office/drawing/2014/main" id="{48BBE862-75FD-C1A5-5031-EFB37A9EC9D0}"/>
                </a:ext>
              </a:extLst>
            </p:cNvPr>
            <p:cNvSpPr>
              <a:spLocks/>
            </p:cNvSpPr>
            <p:nvPr/>
          </p:nvSpPr>
          <p:spPr bwMode="auto">
            <a:xfrm>
              <a:off x="-2754952" y="3762688"/>
              <a:ext cx="59317" cy="59317"/>
            </a:xfrm>
            <a:custGeom>
              <a:avLst/>
              <a:gdLst>
                <a:gd name="T0" fmla="*/ 4 w 22"/>
                <a:gd name="T1" fmla="*/ 22 h 22"/>
                <a:gd name="T2" fmla="*/ 2 w 22"/>
                <a:gd name="T3" fmla="*/ 21 h 22"/>
                <a:gd name="T4" fmla="*/ 2 w 22"/>
                <a:gd name="T5" fmla="*/ 16 h 22"/>
                <a:gd name="T6" fmla="*/ 16 w 22"/>
                <a:gd name="T7" fmla="*/ 1 h 22"/>
                <a:gd name="T8" fmla="*/ 21 w 22"/>
                <a:gd name="T9" fmla="*/ 1 h 22"/>
                <a:gd name="T10" fmla="*/ 21 w 22"/>
                <a:gd name="T11" fmla="*/ 6 h 22"/>
                <a:gd name="T12" fmla="*/ 7 w 22"/>
                <a:gd name="T13" fmla="*/ 21 h 22"/>
                <a:gd name="T14" fmla="*/ 4 w 22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2">
                  <a:moveTo>
                    <a:pt x="4" y="22"/>
                  </a:moveTo>
                  <a:cubicBezTo>
                    <a:pt x="3" y="22"/>
                    <a:pt x="2" y="21"/>
                    <a:pt x="2" y="21"/>
                  </a:cubicBezTo>
                  <a:cubicBezTo>
                    <a:pt x="0" y="19"/>
                    <a:pt x="0" y="17"/>
                    <a:pt x="2" y="16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7" y="0"/>
                    <a:pt x="20" y="0"/>
                    <a:pt x="21" y="1"/>
                  </a:cubicBezTo>
                  <a:cubicBezTo>
                    <a:pt x="22" y="3"/>
                    <a:pt x="22" y="5"/>
                    <a:pt x="21" y="6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1"/>
                    <a:pt x="5" y="22"/>
                    <a:pt x="4" y="2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1" name="Freeform 640">
              <a:extLst>
                <a:ext uri="{FF2B5EF4-FFF2-40B4-BE49-F238E27FC236}">
                  <a16:creationId xmlns:a16="http://schemas.microsoft.com/office/drawing/2014/main" id="{1B4AF69C-6CE2-6C64-BA60-04E126740270}"/>
                </a:ext>
              </a:extLst>
            </p:cNvPr>
            <p:cNvSpPr>
              <a:spLocks/>
            </p:cNvSpPr>
            <p:nvPr/>
          </p:nvSpPr>
          <p:spPr bwMode="auto">
            <a:xfrm>
              <a:off x="-2737507" y="3745243"/>
              <a:ext cx="62805" cy="59317"/>
            </a:xfrm>
            <a:custGeom>
              <a:avLst/>
              <a:gdLst>
                <a:gd name="T0" fmla="*/ 19 w 23"/>
                <a:gd name="T1" fmla="*/ 22 h 22"/>
                <a:gd name="T2" fmla="*/ 16 w 23"/>
                <a:gd name="T3" fmla="*/ 20 h 22"/>
                <a:gd name="T4" fmla="*/ 2 w 23"/>
                <a:gd name="T5" fmla="*/ 6 h 22"/>
                <a:gd name="T6" fmla="*/ 2 w 23"/>
                <a:gd name="T7" fmla="*/ 1 h 22"/>
                <a:gd name="T8" fmla="*/ 7 w 23"/>
                <a:gd name="T9" fmla="*/ 1 h 22"/>
                <a:gd name="T10" fmla="*/ 21 w 23"/>
                <a:gd name="T11" fmla="*/ 15 h 22"/>
                <a:gd name="T12" fmla="*/ 21 w 23"/>
                <a:gd name="T13" fmla="*/ 20 h 22"/>
                <a:gd name="T14" fmla="*/ 19 w 23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22">
                  <a:moveTo>
                    <a:pt x="19" y="22"/>
                  </a:moveTo>
                  <a:cubicBezTo>
                    <a:pt x="18" y="22"/>
                    <a:pt x="17" y="21"/>
                    <a:pt x="16" y="20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0" y="5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3" y="17"/>
                    <a:pt x="23" y="19"/>
                    <a:pt x="21" y="20"/>
                  </a:cubicBezTo>
                  <a:cubicBezTo>
                    <a:pt x="21" y="21"/>
                    <a:pt x="20" y="22"/>
                    <a:pt x="19" y="2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50" name="Shape21_20200717_154439">
            <a:extLst>
              <a:ext uri="{FF2B5EF4-FFF2-40B4-BE49-F238E27FC236}">
                <a16:creationId xmlns:a16="http://schemas.microsoft.com/office/drawing/2014/main" id="{3223F762-05EF-4657-4B49-2D5DBD7EF979}"/>
              </a:ext>
            </a:extLst>
          </p:cNvPr>
          <p:cNvGrpSpPr>
            <a:grpSpLocks noChangeAspect="1"/>
          </p:cNvGrpSpPr>
          <p:nvPr/>
        </p:nvGrpSpPr>
        <p:grpSpPr>
          <a:xfrm>
            <a:off x="5781971" y="2493635"/>
            <a:ext cx="628054" cy="631542"/>
            <a:chOff x="-2004781" y="3623121"/>
            <a:chExt cx="628054" cy="631542"/>
          </a:xfrm>
          <a:solidFill>
            <a:schemeClr val="accent1"/>
          </a:solidFill>
        </p:grpSpPr>
        <p:sp>
          <p:nvSpPr>
            <p:cNvPr id="76" name="Freeform 641">
              <a:extLst>
                <a:ext uri="{FF2B5EF4-FFF2-40B4-BE49-F238E27FC236}">
                  <a16:creationId xmlns:a16="http://schemas.microsoft.com/office/drawing/2014/main" id="{6A06751B-D69D-D337-689D-78A11C1FE118}"/>
                </a:ext>
              </a:extLst>
            </p:cNvPr>
            <p:cNvSpPr>
              <a:spLocks/>
            </p:cNvSpPr>
            <p:nvPr/>
          </p:nvSpPr>
          <p:spPr bwMode="auto">
            <a:xfrm>
              <a:off x="-1701221" y="3623121"/>
              <a:ext cx="17447" cy="76762"/>
            </a:xfrm>
            <a:custGeom>
              <a:avLst/>
              <a:gdLst>
                <a:gd name="T0" fmla="*/ 3 w 7"/>
                <a:gd name="T1" fmla="*/ 28 h 28"/>
                <a:gd name="T2" fmla="*/ 0 w 7"/>
                <a:gd name="T3" fmla="*/ 24 h 28"/>
                <a:gd name="T4" fmla="*/ 0 w 7"/>
                <a:gd name="T5" fmla="*/ 3 h 28"/>
                <a:gd name="T6" fmla="*/ 3 w 7"/>
                <a:gd name="T7" fmla="*/ 0 h 28"/>
                <a:gd name="T8" fmla="*/ 7 w 7"/>
                <a:gd name="T9" fmla="*/ 3 h 28"/>
                <a:gd name="T10" fmla="*/ 7 w 7"/>
                <a:gd name="T11" fmla="*/ 24 h 28"/>
                <a:gd name="T12" fmla="*/ 3 w 7"/>
                <a:gd name="T13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28">
                  <a:moveTo>
                    <a:pt x="3" y="28"/>
                  </a:moveTo>
                  <a:cubicBezTo>
                    <a:pt x="1" y="28"/>
                    <a:pt x="0" y="26"/>
                    <a:pt x="0" y="2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5" y="0"/>
                    <a:pt x="7" y="1"/>
                    <a:pt x="7" y="3"/>
                  </a:cubicBezTo>
                  <a:cubicBezTo>
                    <a:pt x="7" y="24"/>
                    <a:pt x="7" y="24"/>
                    <a:pt x="7" y="24"/>
                  </a:cubicBezTo>
                  <a:cubicBezTo>
                    <a:pt x="7" y="26"/>
                    <a:pt x="5" y="28"/>
                    <a:pt x="3" y="2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7" name="Freeform 642">
              <a:extLst>
                <a:ext uri="{FF2B5EF4-FFF2-40B4-BE49-F238E27FC236}">
                  <a16:creationId xmlns:a16="http://schemas.microsoft.com/office/drawing/2014/main" id="{6B0C1E83-6B9A-748C-7C57-F28ABD25A319}"/>
                </a:ext>
              </a:extLst>
            </p:cNvPr>
            <p:cNvSpPr>
              <a:spLocks/>
            </p:cNvSpPr>
            <p:nvPr/>
          </p:nvSpPr>
          <p:spPr bwMode="auto">
            <a:xfrm>
              <a:off x="-1701221" y="3633590"/>
              <a:ext cx="17447" cy="34892"/>
            </a:xfrm>
            <a:custGeom>
              <a:avLst/>
              <a:gdLst>
                <a:gd name="T0" fmla="*/ 3 w 7"/>
                <a:gd name="T1" fmla="*/ 14 h 14"/>
                <a:gd name="T2" fmla="*/ 0 w 7"/>
                <a:gd name="T3" fmla="*/ 10 h 14"/>
                <a:gd name="T4" fmla="*/ 0 w 7"/>
                <a:gd name="T5" fmla="*/ 4 h 14"/>
                <a:gd name="T6" fmla="*/ 3 w 7"/>
                <a:gd name="T7" fmla="*/ 0 h 14"/>
                <a:gd name="T8" fmla="*/ 7 w 7"/>
                <a:gd name="T9" fmla="*/ 4 h 14"/>
                <a:gd name="T10" fmla="*/ 7 w 7"/>
                <a:gd name="T11" fmla="*/ 10 h 14"/>
                <a:gd name="T12" fmla="*/ 3 w 7"/>
                <a:gd name="T13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4">
                  <a:moveTo>
                    <a:pt x="3" y="14"/>
                  </a:moveTo>
                  <a:cubicBezTo>
                    <a:pt x="1" y="14"/>
                    <a:pt x="0" y="12"/>
                    <a:pt x="0" y="1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2"/>
                    <a:pt x="5" y="14"/>
                    <a:pt x="3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8" name="Freeform 643">
              <a:extLst>
                <a:ext uri="{FF2B5EF4-FFF2-40B4-BE49-F238E27FC236}">
                  <a16:creationId xmlns:a16="http://schemas.microsoft.com/office/drawing/2014/main" id="{3EFF90C5-6F6E-242F-FEE3-DBA92F0E216E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51257" y="3671970"/>
              <a:ext cx="31404" cy="34892"/>
            </a:xfrm>
            <a:custGeom>
              <a:avLst/>
              <a:gdLst>
                <a:gd name="T0" fmla="*/ 7 w 11"/>
                <a:gd name="T1" fmla="*/ 13 h 13"/>
                <a:gd name="T2" fmla="*/ 4 w 11"/>
                <a:gd name="T3" fmla="*/ 11 h 13"/>
                <a:gd name="T4" fmla="*/ 1 w 11"/>
                <a:gd name="T5" fmla="*/ 6 h 13"/>
                <a:gd name="T6" fmla="*/ 2 w 11"/>
                <a:gd name="T7" fmla="*/ 1 h 13"/>
                <a:gd name="T8" fmla="*/ 7 w 11"/>
                <a:gd name="T9" fmla="*/ 2 h 13"/>
                <a:gd name="T10" fmla="*/ 10 w 11"/>
                <a:gd name="T11" fmla="*/ 8 h 13"/>
                <a:gd name="T12" fmla="*/ 9 w 11"/>
                <a:gd name="T13" fmla="*/ 13 h 13"/>
                <a:gd name="T14" fmla="*/ 7 w 11"/>
                <a:gd name="T15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13">
                  <a:moveTo>
                    <a:pt x="7" y="13"/>
                  </a:moveTo>
                  <a:cubicBezTo>
                    <a:pt x="6" y="13"/>
                    <a:pt x="5" y="13"/>
                    <a:pt x="4" y="11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4"/>
                    <a:pt x="1" y="2"/>
                    <a:pt x="2" y="1"/>
                  </a:cubicBezTo>
                  <a:cubicBezTo>
                    <a:pt x="4" y="0"/>
                    <a:pt x="6" y="0"/>
                    <a:pt x="7" y="2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10"/>
                    <a:pt x="11" y="12"/>
                    <a:pt x="9" y="13"/>
                  </a:cubicBezTo>
                  <a:cubicBezTo>
                    <a:pt x="9" y="13"/>
                    <a:pt x="8" y="13"/>
                    <a:pt x="7" y="1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9" name="Freeform 644">
              <a:extLst>
                <a:ext uri="{FF2B5EF4-FFF2-40B4-BE49-F238E27FC236}">
                  <a16:creationId xmlns:a16="http://schemas.microsoft.com/office/drawing/2014/main" id="{7375BBB9-0532-5C98-A0FC-547463439968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59420" y="3780135"/>
              <a:ext cx="38382" cy="27913"/>
            </a:xfrm>
            <a:custGeom>
              <a:avLst/>
              <a:gdLst>
                <a:gd name="T0" fmla="*/ 10 w 14"/>
                <a:gd name="T1" fmla="*/ 11 h 11"/>
                <a:gd name="T2" fmla="*/ 8 w 14"/>
                <a:gd name="T3" fmla="*/ 11 h 11"/>
                <a:gd name="T4" fmla="*/ 2 w 14"/>
                <a:gd name="T5" fmla="*/ 7 h 11"/>
                <a:gd name="T6" fmla="*/ 1 w 14"/>
                <a:gd name="T7" fmla="*/ 2 h 11"/>
                <a:gd name="T8" fmla="*/ 6 w 14"/>
                <a:gd name="T9" fmla="*/ 1 h 11"/>
                <a:gd name="T10" fmla="*/ 11 w 14"/>
                <a:gd name="T11" fmla="*/ 4 h 11"/>
                <a:gd name="T12" fmla="*/ 13 w 14"/>
                <a:gd name="T13" fmla="*/ 9 h 11"/>
                <a:gd name="T14" fmla="*/ 10 w 14"/>
                <a:gd name="T1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11">
                  <a:moveTo>
                    <a:pt x="10" y="11"/>
                  </a:moveTo>
                  <a:cubicBezTo>
                    <a:pt x="9" y="11"/>
                    <a:pt x="8" y="11"/>
                    <a:pt x="8" y="11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0" y="6"/>
                    <a:pt x="0" y="4"/>
                    <a:pt x="1" y="2"/>
                  </a:cubicBezTo>
                  <a:cubicBezTo>
                    <a:pt x="2" y="1"/>
                    <a:pt x="4" y="0"/>
                    <a:pt x="6" y="1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3" y="5"/>
                    <a:pt x="14" y="7"/>
                    <a:pt x="13" y="9"/>
                  </a:cubicBezTo>
                  <a:cubicBezTo>
                    <a:pt x="12" y="10"/>
                    <a:pt x="11" y="11"/>
                    <a:pt x="10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0" name="Freeform 645">
              <a:extLst>
                <a:ext uri="{FF2B5EF4-FFF2-40B4-BE49-F238E27FC236}">
                  <a16:creationId xmlns:a16="http://schemas.microsoft.com/office/drawing/2014/main" id="{99A4AEB0-2254-D336-0B32-443A804B609E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97802" y="3930168"/>
              <a:ext cx="38382" cy="17447"/>
            </a:xfrm>
            <a:custGeom>
              <a:avLst/>
              <a:gdLst>
                <a:gd name="T0" fmla="*/ 10 w 14"/>
                <a:gd name="T1" fmla="*/ 7 h 7"/>
                <a:gd name="T2" fmla="*/ 4 w 14"/>
                <a:gd name="T3" fmla="*/ 7 h 7"/>
                <a:gd name="T4" fmla="*/ 0 w 14"/>
                <a:gd name="T5" fmla="*/ 3 h 7"/>
                <a:gd name="T6" fmla="*/ 4 w 14"/>
                <a:gd name="T7" fmla="*/ 0 h 7"/>
                <a:gd name="T8" fmla="*/ 10 w 14"/>
                <a:gd name="T9" fmla="*/ 0 h 7"/>
                <a:gd name="T10" fmla="*/ 14 w 14"/>
                <a:gd name="T11" fmla="*/ 3 h 7"/>
                <a:gd name="T12" fmla="*/ 10 w 14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7">
                  <a:moveTo>
                    <a:pt x="10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2" y="0"/>
                    <a:pt x="14" y="1"/>
                    <a:pt x="14" y="3"/>
                  </a:cubicBezTo>
                  <a:cubicBezTo>
                    <a:pt x="14" y="5"/>
                    <a:pt x="12" y="7"/>
                    <a:pt x="10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1" name="Freeform 646">
              <a:extLst>
                <a:ext uri="{FF2B5EF4-FFF2-40B4-BE49-F238E27FC236}">
                  <a16:creationId xmlns:a16="http://schemas.microsoft.com/office/drawing/2014/main" id="{BF33B9F8-EF0B-6A53-0DDC-B8DE4CBD58AA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59420" y="4066247"/>
              <a:ext cx="38382" cy="27913"/>
            </a:xfrm>
            <a:custGeom>
              <a:avLst/>
              <a:gdLst>
                <a:gd name="T0" fmla="*/ 4 w 14"/>
                <a:gd name="T1" fmla="*/ 11 h 11"/>
                <a:gd name="T2" fmla="*/ 1 w 14"/>
                <a:gd name="T3" fmla="*/ 10 h 11"/>
                <a:gd name="T4" fmla="*/ 2 w 14"/>
                <a:gd name="T5" fmla="*/ 5 h 11"/>
                <a:gd name="T6" fmla="*/ 8 w 14"/>
                <a:gd name="T7" fmla="*/ 1 h 11"/>
                <a:gd name="T8" fmla="*/ 13 w 14"/>
                <a:gd name="T9" fmla="*/ 3 h 11"/>
                <a:gd name="T10" fmla="*/ 11 w 14"/>
                <a:gd name="T11" fmla="*/ 8 h 11"/>
                <a:gd name="T12" fmla="*/ 6 w 14"/>
                <a:gd name="T13" fmla="*/ 11 h 11"/>
                <a:gd name="T14" fmla="*/ 4 w 14"/>
                <a:gd name="T1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11">
                  <a:moveTo>
                    <a:pt x="4" y="11"/>
                  </a:moveTo>
                  <a:cubicBezTo>
                    <a:pt x="3" y="11"/>
                    <a:pt x="1" y="11"/>
                    <a:pt x="1" y="10"/>
                  </a:cubicBezTo>
                  <a:cubicBezTo>
                    <a:pt x="0" y="8"/>
                    <a:pt x="0" y="6"/>
                    <a:pt x="2" y="5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9" y="0"/>
                    <a:pt x="12" y="1"/>
                    <a:pt x="13" y="3"/>
                  </a:cubicBezTo>
                  <a:cubicBezTo>
                    <a:pt x="14" y="4"/>
                    <a:pt x="13" y="7"/>
                    <a:pt x="11" y="8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5" y="11"/>
                    <a:pt x="4" y="11"/>
                    <a:pt x="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2" name="Freeform 647">
              <a:extLst>
                <a:ext uri="{FF2B5EF4-FFF2-40B4-BE49-F238E27FC236}">
                  <a16:creationId xmlns:a16="http://schemas.microsoft.com/office/drawing/2014/main" id="{C14BEF89-604E-AF4D-7411-9488B0028F7F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51257" y="4170922"/>
              <a:ext cx="31404" cy="34892"/>
            </a:xfrm>
            <a:custGeom>
              <a:avLst/>
              <a:gdLst>
                <a:gd name="T0" fmla="*/ 4 w 11"/>
                <a:gd name="T1" fmla="*/ 14 h 14"/>
                <a:gd name="T2" fmla="*/ 2 w 11"/>
                <a:gd name="T3" fmla="*/ 13 h 14"/>
                <a:gd name="T4" fmla="*/ 1 w 11"/>
                <a:gd name="T5" fmla="*/ 8 h 14"/>
                <a:gd name="T6" fmla="*/ 4 w 11"/>
                <a:gd name="T7" fmla="*/ 2 h 14"/>
                <a:gd name="T8" fmla="*/ 9 w 11"/>
                <a:gd name="T9" fmla="*/ 1 h 14"/>
                <a:gd name="T10" fmla="*/ 10 w 11"/>
                <a:gd name="T11" fmla="*/ 6 h 14"/>
                <a:gd name="T12" fmla="*/ 7 w 11"/>
                <a:gd name="T13" fmla="*/ 12 h 14"/>
                <a:gd name="T14" fmla="*/ 4 w 11"/>
                <a:gd name="T1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14">
                  <a:moveTo>
                    <a:pt x="4" y="14"/>
                  </a:moveTo>
                  <a:cubicBezTo>
                    <a:pt x="3" y="14"/>
                    <a:pt x="3" y="13"/>
                    <a:pt x="2" y="13"/>
                  </a:cubicBezTo>
                  <a:cubicBezTo>
                    <a:pt x="1" y="12"/>
                    <a:pt x="0" y="10"/>
                    <a:pt x="1" y="8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5" y="1"/>
                    <a:pt x="7" y="0"/>
                    <a:pt x="9" y="1"/>
                  </a:cubicBezTo>
                  <a:cubicBezTo>
                    <a:pt x="11" y="2"/>
                    <a:pt x="11" y="4"/>
                    <a:pt x="10" y="6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6" y="13"/>
                    <a:pt x="5" y="14"/>
                    <a:pt x="4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3" name="Freeform 648">
              <a:extLst>
                <a:ext uri="{FF2B5EF4-FFF2-40B4-BE49-F238E27FC236}">
                  <a16:creationId xmlns:a16="http://schemas.microsoft.com/office/drawing/2014/main" id="{4FE4C920-32D1-6E46-FD5A-96D9A88621F4}"/>
                </a:ext>
              </a:extLst>
            </p:cNvPr>
            <p:cNvSpPr>
              <a:spLocks/>
            </p:cNvSpPr>
            <p:nvPr/>
          </p:nvSpPr>
          <p:spPr bwMode="auto">
            <a:xfrm>
              <a:off x="-1701221" y="4209302"/>
              <a:ext cx="17447" cy="34892"/>
            </a:xfrm>
            <a:custGeom>
              <a:avLst/>
              <a:gdLst>
                <a:gd name="T0" fmla="*/ 3 w 7"/>
                <a:gd name="T1" fmla="*/ 14 h 14"/>
                <a:gd name="T2" fmla="*/ 0 w 7"/>
                <a:gd name="T3" fmla="*/ 10 h 14"/>
                <a:gd name="T4" fmla="*/ 0 w 7"/>
                <a:gd name="T5" fmla="*/ 3 h 14"/>
                <a:gd name="T6" fmla="*/ 3 w 7"/>
                <a:gd name="T7" fmla="*/ 0 h 14"/>
                <a:gd name="T8" fmla="*/ 7 w 7"/>
                <a:gd name="T9" fmla="*/ 3 h 14"/>
                <a:gd name="T10" fmla="*/ 7 w 7"/>
                <a:gd name="T11" fmla="*/ 10 h 14"/>
                <a:gd name="T12" fmla="*/ 3 w 7"/>
                <a:gd name="T13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4">
                  <a:moveTo>
                    <a:pt x="3" y="14"/>
                  </a:moveTo>
                  <a:cubicBezTo>
                    <a:pt x="1" y="14"/>
                    <a:pt x="0" y="12"/>
                    <a:pt x="0" y="1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5" y="0"/>
                    <a:pt x="7" y="1"/>
                    <a:pt x="7" y="3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2"/>
                    <a:pt x="5" y="14"/>
                    <a:pt x="3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4" name="Freeform 649">
              <a:extLst>
                <a:ext uri="{FF2B5EF4-FFF2-40B4-BE49-F238E27FC236}">
                  <a16:creationId xmlns:a16="http://schemas.microsoft.com/office/drawing/2014/main" id="{981A4AF0-763B-1DF8-3B6D-C2A589BCB899}"/>
                </a:ext>
              </a:extLst>
            </p:cNvPr>
            <p:cNvSpPr>
              <a:spLocks/>
            </p:cNvSpPr>
            <p:nvPr/>
          </p:nvSpPr>
          <p:spPr bwMode="auto">
            <a:xfrm>
              <a:off x="-1565145" y="4170922"/>
              <a:ext cx="31404" cy="34892"/>
            </a:xfrm>
            <a:custGeom>
              <a:avLst/>
              <a:gdLst>
                <a:gd name="T0" fmla="*/ 8 w 12"/>
                <a:gd name="T1" fmla="*/ 14 h 14"/>
                <a:gd name="T2" fmla="*/ 5 w 12"/>
                <a:gd name="T3" fmla="*/ 12 h 14"/>
                <a:gd name="T4" fmla="*/ 1 w 12"/>
                <a:gd name="T5" fmla="*/ 6 h 14"/>
                <a:gd name="T6" fmla="*/ 3 w 12"/>
                <a:gd name="T7" fmla="*/ 1 h 14"/>
                <a:gd name="T8" fmla="*/ 7 w 12"/>
                <a:gd name="T9" fmla="*/ 2 h 14"/>
                <a:gd name="T10" fmla="*/ 11 w 12"/>
                <a:gd name="T11" fmla="*/ 8 h 14"/>
                <a:gd name="T12" fmla="*/ 9 w 12"/>
                <a:gd name="T13" fmla="*/ 13 h 14"/>
                <a:gd name="T14" fmla="*/ 8 w 12"/>
                <a:gd name="T1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14">
                  <a:moveTo>
                    <a:pt x="8" y="14"/>
                  </a:moveTo>
                  <a:cubicBezTo>
                    <a:pt x="6" y="14"/>
                    <a:pt x="5" y="13"/>
                    <a:pt x="5" y="12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4"/>
                    <a:pt x="1" y="2"/>
                    <a:pt x="3" y="1"/>
                  </a:cubicBezTo>
                  <a:cubicBezTo>
                    <a:pt x="4" y="0"/>
                    <a:pt x="6" y="1"/>
                    <a:pt x="7" y="2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2" y="10"/>
                    <a:pt x="11" y="12"/>
                    <a:pt x="9" y="13"/>
                  </a:cubicBezTo>
                  <a:cubicBezTo>
                    <a:pt x="9" y="13"/>
                    <a:pt x="8" y="14"/>
                    <a:pt x="8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5" name="Freeform 650">
              <a:extLst>
                <a:ext uri="{FF2B5EF4-FFF2-40B4-BE49-F238E27FC236}">
                  <a16:creationId xmlns:a16="http://schemas.microsoft.com/office/drawing/2014/main" id="{D9C6794F-AE70-E3EE-E027-C6495C1224D1}"/>
                </a:ext>
              </a:extLst>
            </p:cNvPr>
            <p:cNvSpPr>
              <a:spLocks/>
            </p:cNvSpPr>
            <p:nvPr/>
          </p:nvSpPr>
          <p:spPr bwMode="auto">
            <a:xfrm>
              <a:off x="-1460470" y="4066247"/>
              <a:ext cx="34892" cy="27913"/>
            </a:xfrm>
            <a:custGeom>
              <a:avLst/>
              <a:gdLst>
                <a:gd name="T0" fmla="*/ 10 w 14"/>
                <a:gd name="T1" fmla="*/ 11 h 11"/>
                <a:gd name="T2" fmla="*/ 8 w 14"/>
                <a:gd name="T3" fmla="*/ 11 h 11"/>
                <a:gd name="T4" fmla="*/ 2 w 14"/>
                <a:gd name="T5" fmla="*/ 8 h 11"/>
                <a:gd name="T6" fmla="*/ 1 w 14"/>
                <a:gd name="T7" fmla="*/ 3 h 11"/>
                <a:gd name="T8" fmla="*/ 6 w 14"/>
                <a:gd name="T9" fmla="*/ 1 h 11"/>
                <a:gd name="T10" fmla="*/ 12 w 14"/>
                <a:gd name="T11" fmla="*/ 5 h 11"/>
                <a:gd name="T12" fmla="*/ 13 w 14"/>
                <a:gd name="T13" fmla="*/ 10 h 11"/>
                <a:gd name="T14" fmla="*/ 10 w 14"/>
                <a:gd name="T1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11">
                  <a:moveTo>
                    <a:pt x="10" y="11"/>
                  </a:moveTo>
                  <a:cubicBezTo>
                    <a:pt x="9" y="11"/>
                    <a:pt x="9" y="11"/>
                    <a:pt x="8" y="11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1" y="7"/>
                    <a:pt x="0" y="4"/>
                    <a:pt x="1" y="3"/>
                  </a:cubicBezTo>
                  <a:cubicBezTo>
                    <a:pt x="2" y="1"/>
                    <a:pt x="4" y="0"/>
                    <a:pt x="6" y="1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3" y="6"/>
                    <a:pt x="14" y="8"/>
                    <a:pt x="13" y="10"/>
                  </a:cubicBezTo>
                  <a:cubicBezTo>
                    <a:pt x="12" y="11"/>
                    <a:pt x="11" y="11"/>
                    <a:pt x="10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6" name="Freeform 651">
              <a:extLst>
                <a:ext uri="{FF2B5EF4-FFF2-40B4-BE49-F238E27FC236}">
                  <a16:creationId xmlns:a16="http://schemas.microsoft.com/office/drawing/2014/main" id="{97EE3FE0-721C-2403-DBA6-2CB9B5658D55}"/>
                </a:ext>
              </a:extLst>
            </p:cNvPr>
            <p:cNvSpPr>
              <a:spLocks/>
            </p:cNvSpPr>
            <p:nvPr/>
          </p:nvSpPr>
          <p:spPr bwMode="auto">
            <a:xfrm>
              <a:off x="-1422088" y="3930168"/>
              <a:ext cx="38382" cy="17447"/>
            </a:xfrm>
            <a:custGeom>
              <a:avLst/>
              <a:gdLst>
                <a:gd name="T0" fmla="*/ 10 w 14"/>
                <a:gd name="T1" fmla="*/ 7 h 7"/>
                <a:gd name="T2" fmla="*/ 3 w 14"/>
                <a:gd name="T3" fmla="*/ 7 h 7"/>
                <a:gd name="T4" fmla="*/ 0 w 14"/>
                <a:gd name="T5" fmla="*/ 3 h 7"/>
                <a:gd name="T6" fmla="*/ 3 w 14"/>
                <a:gd name="T7" fmla="*/ 0 h 7"/>
                <a:gd name="T8" fmla="*/ 10 w 14"/>
                <a:gd name="T9" fmla="*/ 0 h 7"/>
                <a:gd name="T10" fmla="*/ 14 w 14"/>
                <a:gd name="T11" fmla="*/ 3 h 7"/>
                <a:gd name="T12" fmla="*/ 10 w 14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7">
                  <a:moveTo>
                    <a:pt x="10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2" y="0"/>
                    <a:pt x="14" y="1"/>
                    <a:pt x="14" y="3"/>
                  </a:cubicBezTo>
                  <a:cubicBezTo>
                    <a:pt x="14" y="5"/>
                    <a:pt x="12" y="7"/>
                    <a:pt x="10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7" name="Freeform 652">
              <a:extLst>
                <a:ext uri="{FF2B5EF4-FFF2-40B4-BE49-F238E27FC236}">
                  <a16:creationId xmlns:a16="http://schemas.microsoft.com/office/drawing/2014/main" id="{E2BA3F37-58A4-E7BA-711A-33E5EC9DE72F}"/>
                </a:ext>
              </a:extLst>
            </p:cNvPr>
            <p:cNvSpPr>
              <a:spLocks/>
            </p:cNvSpPr>
            <p:nvPr/>
          </p:nvSpPr>
          <p:spPr bwMode="auto">
            <a:xfrm>
              <a:off x="-1460470" y="3780135"/>
              <a:ext cx="34892" cy="27913"/>
            </a:xfrm>
            <a:custGeom>
              <a:avLst/>
              <a:gdLst>
                <a:gd name="T0" fmla="*/ 4 w 14"/>
                <a:gd name="T1" fmla="*/ 11 h 11"/>
                <a:gd name="T2" fmla="*/ 1 w 14"/>
                <a:gd name="T3" fmla="*/ 9 h 11"/>
                <a:gd name="T4" fmla="*/ 2 w 14"/>
                <a:gd name="T5" fmla="*/ 4 h 11"/>
                <a:gd name="T6" fmla="*/ 8 w 14"/>
                <a:gd name="T7" fmla="*/ 1 h 11"/>
                <a:gd name="T8" fmla="*/ 13 w 14"/>
                <a:gd name="T9" fmla="*/ 2 h 11"/>
                <a:gd name="T10" fmla="*/ 12 w 14"/>
                <a:gd name="T11" fmla="*/ 7 h 11"/>
                <a:gd name="T12" fmla="*/ 6 w 14"/>
                <a:gd name="T13" fmla="*/ 11 h 11"/>
                <a:gd name="T14" fmla="*/ 4 w 14"/>
                <a:gd name="T1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11">
                  <a:moveTo>
                    <a:pt x="4" y="11"/>
                  </a:moveTo>
                  <a:cubicBezTo>
                    <a:pt x="3" y="11"/>
                    <a:pt x="2" y="10"/>
                    <a:pt x="1" y="9"/>
                  </a:cubicBezTo>
                  <a:cubicBezTo>
                    <a:pt x="0" y="7"/>
                    <a:pt x="1" y="5"/>
                    <a:pt x="2" y="4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10" y="0"/>
                    <a:pt x="12" y="1"/>
                    <a:pt x="13" y="2"/>
                  </a:cubicBezTo>
                  <a:cubicBezTo>
                    <a:pt x="14" y="4"/>
                    <a:pt x="13" y="6"/>
                    <a:pt x="12" y="7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5" y="11"/>
                    <a:pt x="5" y="11"/>
                    <a:pt x="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8" name="Freeform 653">
              <a:extLst>
                <a:ext uri="{FF2B5EF4-FFF2-40B4-BE49-F238E27FC236}">
                  <a16:creationId xmlns:a16="http://schemas.microsoft.com/office/drawing/2014/main" id="{8F2696C1-CF79-C9E4-88B8-1ED55D1E4391}"/>
                </a:ext>
              </a:extLst>
            </p:cNvPr>
            <p:cNvSpPr>
              <a:spLocks/>
            </p:cNvSpPr>
            <p:nvPr/>
          </p:nvSpPr>
          <p:spPr bwMode="auto">
            <a:xfrm>
              <a:off x="-1565145" y="3671970"/>
              <a:ext cx="31404" cy="34892"/>
            </a:xfrm>
            <a:custGeom>
              <a:avLst/>
              <a:gdLst>
                <a:gd name="T0" fmla="*/ 4 w 12"/>
                <a:gd name="T1" fmla="*/ 13 h 13"/>
                <a:gd name="T2" fmla="*/ 3 w 12"/>
                <a:gd name="T3" fmla="*/ 13 h 13"/>
                <a:gd name="T4" fmla="*/ 1 w 12"/>
                <a:gd name="T5" fmla="*/ 8 h 13"/>
                <a:gd name="T6" fmla="*/ 5 w 12"/>
                <a:gd name="T7" fmla="*/ 2 h 13"/>
                <a:gd name="T8" fmla="*/ 9 w 12"/>
                <a:gd name="T9" fmla="*/ 1 h 13"/>
                <a:gd name="T10" fmla="*/ 11 w 12"/>
                <a:gd name="T11" fmla="*/ 6 h 13"/>
                <a:gd name="T12" fmla="*/ 7 w 12"/>
                <a:gd name="T13" fmla="*/ 11 h 13"/>
                <a:gd name="T14" fmla="*/ 4 w 12"/>
                <a:gd name="T15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13">
                  <a:moveTo>
                    <a:pt x="4" y="13"/>
                  </a:moveTo>
                  <a:cubicBezTo>
                    <a:pt x="4" y="13"/>
                    <a:pt x="3" y="13"/>
                    <a:pt x="3" y="13"/>
                  </a:cubicBezTo>
                  <a:cubicBezTo>
                    <a:pt x="1" y="12"/>
                    <a:pt x="0" y="10"/>
                    <a:pt x="1" y="8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6" y="0"/>
                    <a:pt x="8" y="0"/>
                    <a:pt x="9" y="1"/>
                  </a:cubicBezTo>
                  <a:cubicBezTo>
                    <a:pt x="11" y="2"/>
                    <a:pt x="12" y="4"/>
                    <a:pt x="11" y="6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3"/>
                    <a:pt x="6" y="13"/>
                    <a:pt x="4" y="1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9" name="Freeform 654">
              <a:extLst>
                <a:ext uri="{FF2B5EF4-FFF2-40B4-BE49-F238E27FC236}">
                  <a16:creationId xmlns:a16="http://schemas.microsoft.com/office/drawing/2014/main" id="{9DA4F307-F440-56C9-68F1-1BA2268960C9}"/>
                </a:ext>
              </a:extLst>
            </p:cNvPr>
            <p:cNvSpPr>
              <a:spLocks/>
            </p:cNvSpPr>
            <p:nvPr/>
          </p:nvSpPr>
          <p:spPr bwMode="auto">
            <a:xfrm>
              <a:off x="-1701221" y="3633590"/>
              <a:ext cx="17447" cy="34892"/>
            </a:xfrm>
            <a:custGeom>
              <a:avLst/>
              <a:gdLst>
                <a:gd name="T0" fmla="*/ 3 w 7"/>
                <a:gd name="T1" fmla="*/ 14 h 14"/>
                <a:gd name="T2" fmla="*/ 0 w 7"/>
                <a:gd name="T3" fmla="*/ 10 h 14"/>
                <a:gd name="T4" fmla="*/ 0 w 7"/>
                <a:gd name="T5" fmla="*/ 4 h 14"/>
                <a:gd name="T6" fmla="*/ 3 w 7"/>
                <a:gd name="T7" fmla="*/ 0 h 14"/>
                <a:gd name="T8" fmla="*/ 7 w 7"/>
                <a:gd name="T9" fmla="*/ 4 h 14"/>
                <a:gd name="T10" fmla="*/ 7 w 7"/>
                <a:gd name="T11" fmla="*/ 10 h 14"/>
                <a:gd name="T12" fmla="*/ 3 w 7"/>
                <a:gd name="T13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4">
                  <a:moveTo>
                    <a:pt x="3" y="14"/>
                  </a:moveTo>
                  <a:cubicBezTo>
                    <a:pt x="1" y="14"/>
                    <a:pt x="0" y="12"/>
                    <a:pt x="0" y="1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2"/>
                    <a:pt x="5" y="14"/>
                    <a:pt x="3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0" name="Freeform 655">
              <a:extLst>
                <a:ext uri="{FF2B5EF4-FFF2-40B4-BE49-F238E27FC236}">
                  <a16:creationId xmlns:a16="http://schemas.microsoft.com/office/drawing/2014/main" id="{50427DEB-FFF4-6768-C054-29174FCD82BC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04781" y="3930168"/>
              <a:ext cx="73274" cy="17447"/>
            </a:xfrm>
            <a:custGeom>
              <a:avLst/>
              <a:gdLst>
                <a:gd name="T0" fmla="*/ 24 w 28"/>
                <a:gd name="T1" fmla="*/ 7 h 7"/>
                <a:gd name="T2" fmla="*/ 3 w 28"/>
                <a:gd name="T3" fmla="*/ 7 h 7"/>
                <a:gd name="T4" fmla="*/ 0 w 28"/>
                <a:gd name="T5" fmla="*/ 3 h 7"/>
                <a:gd name="T6" fmla="*/ 3 w 28"/>
                <a:gd name="T7" fmla="*/ 0 h 7"/>
                <a:gd name="T8" fmla="*/ 24 w 28"/>
                <a:gd name="T9" fmla="*/ 0 h 7"/>
                <a:gd name="T10" fmla="*/ 28 w 28"/>
                <a:gd name="T11" fmla="*/ 3 h 7"/>
                <a:gd name="T12" fmla="*/ 24 w 28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7">
                  <a:moveTo>
                    <a:pt x="24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6" y="0"/>
                    <a:pt x="28" y="1"/>
                    <a:pt x="28" y="3"/>
                  </a:cubicBezTo>
                  <a:cubicBezTo>
                    <a:pt x="28" y="5"/>
                    <a:pt x="26" y="7"/>
                    <a:pt x="24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1" name="Freeform 656">
              <a:extLst>
                <a:ext uri="{FF2B5EF4-FFF2-40B4-BE49-F238E27FC236}">
                  <a16:creationId xmlns:a16="http://schemas.microsoft.com/office/drawing/2014/main" id="{6FD52EEB-CE17-10AA-2CFF-876B64492A56}"/>
                </a:ext>
              </a:extLst>
            </p:cNvPr>
            <p:cNvSpPr>
              <a:spLocks/>
            </p:cNvSpPr>
            <p:nvPr/>
          </p:nvSpPr>
          <p:spPr bwMode="auto">
            <a:xfrm>
              <a:off x="-1701221" y="4181389"/>
              <a:ext cx="17447" cy="73274"/>
            </a:xfrm>
            <a:custGeom>
              <a:avLst/>
              <a:gdLst>
                <a:gd name="T0" fmla="*/ 3 w 7"/>
                <a:gd name="T1" fmla="*/ 28 h 28"/>
                <a:gd name="T2" fmla="*/ 0 w 7"/>
                <a:gd name="T3" fmla="*/ 24 h 28"/>
                <a:gd name="T4" fmla="*/ 0 w 7"/>
                <a:gd name="T5" fmla="*/ 4 h 28"/>
                <a:gd name="T6" fmla="*/ 3 w 7"/>
                <a:gd name="T7" fmla="*/ 0 h 28"/>
                <a:gd name="T8" fmla="*/ 7 w 7"/>
                <a:gd name="T9" fmla="*/ 4 h 28"/>
                <a:gd name="T10" fmla="*/ 7 w 7"/>
                <a:gd name="T11" fmla="*/ 24 h 28"/>
                <a:gd name="T12" fmla="*/ 3 w 7"/>
                <a:gd name="T13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28">
                  <a:moveTo>
                    <a:pt x="3" y="28"/>
                  </a:moveTo>
                  <a:cubicBezTo>
                    <a:pt x="1" y="28"/>
                    <a:pt x="0" y="26"/>
                    <a:pt x="0" y="2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24"/>
                    <a:pt x="7" y="24"/>
                    <a:pt x="7" y="24"/>
                  </a:cubicBezTo>
                  <a:cubicBezTo>
                    <a:pt x="7" y="26"/>
                    <a:pt x="5" y="28"/>
                    <a:pt x="3" y="2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2" name="Freeform 657">
              <a:extLst>
                <a:ext uri="{FF2B5EF4-FFF2-40B4-BE49-F238E27FC236}">
                  <a16:creationId xmlns:a16="http://schemas.microsoft.com/office/drawing/2014/main" id="{0EBAF376-5182-9919-90E5-340E8CBBD1A7}"/>
                </a:ext>
              </a:extLst>
            </p:cNvPr>
            <p:cNvSpPr>
              <a:spLocks/>
            </p:cNvSpPr>
            <p:nvPr/>
          </p:nvSpPr>
          <p:spPr bwMode="auto">
            <a:xfrm>
              <a:off x="-1450001" y="3930168"/>
              <a:ext cx="73274" cy="17447"/>
            </a:xfrm>
            <a:custGeom>
              <a:avLst/>
              <a:gdLst>
                <a:gd name="T0" fmla="*/ 24 w 28"/>
                <a:gd name="T1" fmla="*/ 7 h 7"/>
                <a:gd name="T2" fmla="*/ 3 w 28"/>
                <a:gd name="T3" fmla="*/ 7 h 7"/>
                <a:gd name="T4" fmla="*/ 0 w 28"/>
                <a:gd name="T5" fmla="*/ 3 h 7"/>
                <a:gd name="T6" fmla="*/ 3 w 28"/>
                <a:gd name="T7" fmla="*/ 0 h 7"/>
                <a:gd name="T8" fmla="*/ 24 w 28"/>
                <a:gd name="T9" fmla="*/ 0 h 7"/>
                <a:gd name="T10" fmla="*/ 28 w 28"/>
                <a:gd name="T11" fmla="*/ 3 h 7"/>
                <a:gd name="T12" fmla="*/ 24 w 28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7">
                  <a:moveTo>
                    <a:pt x="24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6" y="0"/>
                    <a:pt x="28" y="1"/>
                    <a:pt x="28" y="3"/>
                  </a:cubicBezTo>
                  <a:cubicBezTo>
                    <a:pt x="28" y="5"/>
                    <a:pt x="26" y="7"/>
                    <a:pt x="24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3" name="Freeform 658">
              <a:extLst>
                <a:ext uri="{FF2B5EF4-FFF2-40B4-BE49-F238E27FC236}">
                  <a16:creationId xmlns:a16="http://schemas.microsoft.com/office/drawing/2014/main" id="{B0F3CAA9-0E28-00B9-B071-D74926E156C1}"/>
                </a:ext>
              </a:extLst>
            </p:cNvPr>
            <p:cNvSpPr>
              <a:spLocks/>
            </p:cNvSpPr>
            <p:nvPr/>
          </p:nvSpPr>
          <p:spPr bwMode="auto">
            <a:xfrm>
              <a:off x="-1784962" y="3783623"/>
              <a:ext cx="101187" cy="163992"/>
            </a:xfrm>
            <a:custGeom>
              <a:avLst/>
              <a:gdLst>
                <a:gd name="T0" fmla="*/ 35 w 39"/>
                <a:gd name="T1" fmla="*/ 63 h 63"/>
                <a:gd name="T2" fmla="*/ 34 w 39"/>
                <a:gd name="T3" fmla="*/ 63 h 63"/>
                <a:gd name="T4" fmla="*/ 2 w 39"/>
                <a:gd name="T5" fmla="*/ 45 h 63"/>
                <a:gd name="T6" fmla="*/ 1 w 39"/>
                <a:gd name="T7" fmla="*/ 40 h 63"/>
                <a:gd name="T8" fmla="*/ 6 w 39"/>
                <a:gd name="T9" fmla="*/ 38 h 63"/>
                <a:gd name="T10" fmla="*/ 32 w 39"/>
                <a:gd name="T11" fmla="*/ 53 h 63"/>
                <a:gd name="T12" fmla="*/ 32 w 39"/>
                <a:gd name="T13" fmla="*/ 3 h 63"/>
                <a:gd name="T14" fmla="*/ 35 w 39"/>
                <a:gd name="T15" fmla="*/ 0 h 63"/>
                <a:gd name="T16" fmla="*/ 39 w 39"/>
                <a:gd name="T17" fmla="*/ 3 h 63"/>
                <a:gd name="T18" fmla="*/ 39 w 39"/>
                <a:gd name="T19" fmla="*/ 59 h 63"/>
                <a:gd name="T20" fmla="*/ 37 w 39"/>
                <a:gd name="T21" fmla="*/ 63 h 63"/>
                <a:gd name="T22" fmla="*/ 35 w 39"/>
                <a:gd name="T23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9" h="63">
                  <a:moveTo>
                    <a:pt x="35" y="63"/>
                  </a:moveTo>
                  <a:cubicBezTo>
                    <a:pt x="35" y="63"/>
                    <a:pt x="34" y="63"/>
                    <a:pt x="34" y="63"/>
                  </a:cubicBezTo>
                  <a:cubicBezTo>
                    <a:pt x="2" y="45"/>
                    <a:pt x="2" y="45"/>
                    <a:pt x="2" y="45"/>
                  </a:cubicBezTo>
                  <a:cubicBezTo>
                    <a:pt x="0" y="44"/>
                    <a:pt x="0" y="41"/>
                    <a:pt x="1" y="40"/>
                  </a:cubicBezTo>
                  <a:cubicBezTo>
                    <a:pt x="2" y="38"/>
                    <a:pt x="4" y="37"/>
                    <a:pt x="6" y="38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32" y="3"/>
                    <a:pt x="32" y="3"/>
                    <a:pt x="32" y="3"/>
                  </a:cubicBezTo>
                  <a:cubicBezTo>
                    <a:pt x="32" y="1"/>
                    <a:pt x="33" y="0"/>
                    <a:pt x="35" y="0"/>
                  </a:cubicBezTo>
                  <a:cubicBezTo>
                    <a:pt x="37" y="0"/>
                    <a:pt x="39" y="1"/>
                    <a:pt x="39" y="3"/>
                  </a:cubicBezTo>
                  <a:cubicBezTo>
                    <a:pt x="39" y="59"/>
                    <a:pt x="39" y="59"/>
                    <a:pt x="39" y="59"/>
                  </a:cubicBezTo>
                  <a:cubicBezTo>
                    <a:pt x="39" y="61"/>
                    <a:pt x="38" y="62"/>
                    <a:pt x="37" y="63"/>
                  </a:cubicBezTo>
                  <a:cubicBezTo>
                    <a:pt x="37" y="63"/>
                    <a:pt x="36" y="63"/>
                    <a:pt x="35" y="6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51" name="Shape22_20200717_154439">
            <a:extLst>
              <a:ext uri="{FF2B5EF4-FFF2-40B4-BE49-F238E27FC236}">
                <a16:creationId xmlns:a16="http://schemas.microsoft.com/office/drawing/2014/main" id="{A82F70A2-5998-85B5-E84C-5047B6D22A42}"/>
              </a:ext>
            </a:extLst>
          </p:cNvPr>
          <p:cNvGrpSpPr>
            <a:grpSpLocks noChangeAspect="1"/>
          </p:cNvGrpSpPr>
          <p:nvPr/>
        </p:nvGrpSpPr>
        <p:grpSpPr>
          <a:xfrm>
            <a:off x="8393086" y="2570397"/>
            <a:ext cx="628051" cy="628051"/>
            <a:chOff x="-5699814" y="4945519"/>
            <a:chExt cx="628051" cy="628051"/>
          </a:xfrm>
          <a:solidFill>
            <a:schemeClr val="accent1"/>
          </a:solidFill>
        </p:grpSpPr>
        <p:sp>
          <p:nvSpPr>
            <p:cNvPr id="70" name="Freeform 659">
              <a:extLst>
                <a:ext uri="{FF2B5EF4-FFF2-40B4-BE49-F238E27FC236}">
                  <a16:creationId xmlns:a16="http://schemas.microsoft.com/office/drawing/2014/main" id="{E19C8CF6-FA7C-BCB4-7BD8-931327D7E6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699814" y="4945519"/>
              <a:ext cx="628051" cy="628051"/>
            </a:xfrm>
            <a:custGeom>
              <a:avLst/>
              <a:gdLst>
                <a:gd name="T0" fmla="*/ 120 w 239"/>
                <a:gd name="T1" fmla="*/ 239 h 239"/>
                <a:gd name="T2" fmla="*/ 0 w 239"/>
                <a:gd name="T3" fmla="*/ 120 h 239"/>
                <a:gd name="T4" fmla="*/ 120 w 239"/>
                <a:gd name="T5" fmla="*/ 0 h 239"/>
                <a:gd name="T6" fmla="*/ 239 w 239"/>
                <a:gd name="T7" fmla="*/ 120 h 239"/>
                <a:gd name="T8" fmla="*/ 120 w 239"/>
                <a:gd name="T9" fmla="*/ 239 h 239"/>
                <a:gd name="T10" fmla="*/ 120 w 239"/>
                <a:gd name="T11" fmla="*/ 7 h 239"/>
                <a:gd name="T12" fmla="*/ 7 w 239"/>
                <a:gd name="T13" fmla="*/ 120 h 239"/>
                <a:gd name="T14" fmla="*/ 120 w 239"/>
                <a:gd name="T15" fmla="*/ 232 h 239"/>
                <a:gd name="T16" fmla="*/ 232 w 239"/>
                <a:gd name="T17" fmla="*/ 120 h 239"/>
                <a:gd name="T18" fmla="*/ 120 w 239"/>
                <a:gd name="T19" fmla="*/ 7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9" h="239">
                  <a:moveTo>
                    <a:pt x="120" y="239"/>
                  </a:moveTo>
                  <a:cubicBezTo>
                    <a:pt x="54" y="239"/>
                    <a:pt x="0" y="186"/>
                    <a:pt x="0" y="120"/>
                  </a:cubicBezTo>
                  <a:cubicBezTo>
                    <a:pt x="0" y="54"/>
                    <a:pt x="54" y="0"/>
                    <a:pt x="120" y="0"/>
                  </a:cubicBezTo>
                  <a:cubicBezTo>
                    <a:pt x="186" y="0"/>
                    <a:pt x="239" y="54"/>
                    <a:pt x="239" y="120"/>
                  </a:cubicBezTo>
                  <a:cubicBezTo>
                    <a:pt x="239" y="186"/>
                    <a:pt x="186" y="239"/>
                    <a:pt x="120" y="239"/>
                  </a:cubicBezTo>
                  <a:close/>
                  <a:moveTo>
                    <a:pt x="120" y="7"/>
                  </a:moveTo>
                  <a:cubicBezTo>
                    <a:pt x="58" y="7"/>
                    <a:pt x="7" y="58"/>
                    <a:pt x="7" y="120"/>
                  </a:cubicBezTo>
                  <a:cubicBezTo>
                    <a:pt x="7" y="182"/>
                    <a:pt x="58" y="232"/>
                    <a:pt x="120" y="232"/>
                  </a:cubicBezTo>
                  <a:cubicBezTo>
                    <a:pt x="182" y="232"/>
                    <a:pt x="232" y="182"/>
                    <a:pt x="232" y="120"/>
                  </a:cubicBezTo>
                  <a:cubicBezTo>
                    <a:pt x="232" y="58"/>
                    <a:pt x="182" y="7"/>
                    <a:pt x="120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1" name="Freeform 660">
              <a:extLst>
                <a:ext uri="{FF2B5EF4-FFF2-40B4-BE49-F238E27FC236}">
                  <a16:creationId xmlns:a16="http://schemas.microsoft.com/office/drawing/2014/main" id="{8C790C02-5F50-189F-2E0A-5803EB3C6704}"/>
                </a:ext>
              </a:extLst>
            </p:cNvPr>
            <p:cNvSpPr>
              <a:spLocks/>
            </p:cNvSpPr>
            <p:nvPr/>
          </p:nvSpPr>
          <p:spPr bwMode="auto">
            <a:xfrm>
              <a:off x="-5396257" y="4987389"/>
              <a:ext cx="17447" cy="62805"/>
            </a:xfrm>
            <a:custGeom>
              <a:avLst/>
              <a:gdLst>
                <a:gd name="T0" fmla="*/ 4 w 7"/>
                <a:gd name="T1" fmla="*/ 23 h 23"/>
                <a:gd name="T2" fmla="*/ 0 w 7"/>
                <a:gd name="T3" fmla="*/ 19 h 23"/>
                <a:gd name="T4" fmla="*/ 0 w 7"/>
                <a:gd name="T5" fmla="*/ 4 h 23"/>
                <a:gd name="T6" fmla="*/ 4 w 7"/>
                <a:gd name="T7" fmla="*/ 0 h 23"/>
                <a:gd name="T8" fmla="*/ 7 w 7"/>
                <a:gd name="T9" fmla="*/ 4 h 23"/>
                <a:gd name="T10" fmla="*/ 7 w 7"/>
                <a:gd name="T11" fmla="*/ 19 h 23"/>
                <a:gd name="T12" fmla="*/ 4 w 7"/>
                <a:gd name="T13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23">
                  <a:moveTo>
                    <a:pt x="4" y="23"/>
                  </a:moveTo>
                  <a:cubicBezTo>
                    <a:pt x="2" y="23"/>
                    <a:pt x="0" y="21"/>
                    <a:pt x="0" y="19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7" y="2"/>
                    <a:pt x="7" y="4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7" y="21"/>
                    <a:pt x="6" y="23"/>
                    <a:pt x="4" y="2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2" name="Freeform 661">
              <a:extLst>
                <a:ext uri="{FF2B5EF4-FFF2-40B4-BE49-F238E27FC236}">
                  <a16:creationId xmlns:a16="http://schemas.microsoft.com/office/drawing/2014/main" id="{C4F20AB5-F9E0-9976-2EC8-B8024E3C93B6}"/>
                </a:ext>
              </a:extLst>
            </p:cNvPr>
            <p:cNvSpPr>
              <a:spLocks/>
            </p:cNvSpPr>
            <p:nvPr/>
          </p:nvSpPr>
          <p:spPr bwMode="auto">
            <a:xfrm>
              <a:off x="-5396257" y="5472383"/>
              <a:ext cx="17447" cy="59317"/>
            </a:xfrm>
            <a:custGeom>
              <a:avLst/>
              <a:gdLst>
                <a:gd name="T0" fmla="*/ 4 w 7"/>
                <a:gd name="T1" fmla="*/ 23 h 23"/>
                <a:gd name="T2" fmla="*/ 0 w 7"/>
                <a:gd name="T3" fmla="*/ 19 h 23"/>
                <a:gd name="T4" fmla="*/ 0 w 7"/>
                <a:gd name="T5" fmla="*/ 4 h 23"/>
                <a:gd name="T6" fmla="*/ 4 w 7"/>
                <a:gd name="T7" fmla="*/ 0 h 23"/>
                <a:gd name="T8" fmla="*/ 7 w 7"/>
                <a:gd name="T9" fmla="*/ 4 h 23"/>
                <a:gd name="T10" fmla="*/ 7 w 7"/>
                <a:gd name="T11" fmla="*/ 19 h 23"/>
                <a:gd name="T12" fmla="*/ 4 w 7"/>
                <a:gd name="T13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23">
                  <a:moveTo>
                    <a:pt x="4" y="23"/>
                  </a:moveTo>
                  <a:cubicBezTo>
                    <a:pt x="2" y="23"/>
                    <a:pt x="0" y="21"/>
                    <a:pt x="0" y="19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7" y="2"/>
                    <a:pt x="7" y="4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7" y="21"/>
                    <a:pt x="6" y="23"/>
                    <a:pt x="4" y="2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3" name="Freeform 662">
              <a:extLst>
                <a:ext uri="{FF2B5EF4-FFF2-40B4-BE49-F238E27FC236}">
                  <a16:creationId xmlns:a16="http://schemas.microsoft.com/office/drawing/2014/main" id="{22F11556-5843-BD85-F530-7C804211F09A}"/>
                </a:ext>
              </a:extLst>
            </p:cNvPr>
            <p:cNvSpPr>
              <a:spLocks/>
            </p:cNvSpPr>
            <p:nvPr/>
          </p:nvSpPr>
          <p:spPr bwMode="auto">
            <a:xfrm>
              <a:off x="-5172950" y="5252566"/>
              <a:ext cx="59317" cy="17447"/>
            </a:xfrm>
            <a:custGeom>
              <a:avLst/>
              <a:gdLst>
                <a:gd name="T0" fmla="*/ 19 w 23"/>
                <a:gd name="T1" fmla="*/ 7 h 7"/>
                <a:gd name="T2" fmla="*/ 4 w 23"/>
                <a:gd name="T3" fmla="*/ 7 h 7"/>
                <a:gd name="T4" fmla="*/ 0 w 23"/>
                <a:gd name="T5" fmla="*/ 4 h 7"/>
                <a:gd name="T6" fmla="*/ 4 w 23"/>
                <a:gd name="T7" fmla="*/ 0 h 7"/>
                <a:gd name="T8" fmla="*/ 19 w 23"/>
                <a:gd name="T9" fmla="*/ 0 h 7"/>
                <a:gd name="T10" fmla="*/ 23 w 23"/>
                <a:gd name="T11" fmla="*/ 4 h 7"/>
                <a:gd name="T12" fmla="*/ 19 w 23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" h="7">
                  <a:moveTo>
                    <a:pt x="19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1" y="0"/>
                    <a:pt x="23" y="2"/>
                    <a:pt x="23" y="4"/>
                  </a:cubicBezTo>
                  <a:cubicBezTo>
                    <a:pt x="23" y="6"/>
                    <a:pt x="21" y="7"/>
                    <a:pt x="19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4" name="Freeform 663">
              <a:extLst>
                <a:ext uri="{FF2B5EF4-FFF2-40B4-BE49-F238E27FC236}">
                  <a16:creationId xmlns:a16="http://schemas.microsoft.com/office/drawing/2014/main" id="{E1697F26-9A4A-CF30-F6F0-B5C87811B018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57943" y="5252566"/>
              <a:ext cx="59317" cy="17447"/>
            </a:xfrm>
            <a:custGeom>
              <a:avLst/>
              <a:gdLst>
                <a:gd name="T0" fmla="*/ 19 w 23"/>
                <a:gd name="T1" fmla="*/ 7 h 7"/>
                <a:gd name="T2" fmla="*/ 4 w 23"/>
                <a:gd name="T3" fmla="*/ 7 h 7"/>
                <a:gd name="T4" fmla="*/ 0 w 23"/>
                <a:gd name="T5" fmla="*/ 4 h 7"/>
                <a:gd name="T6" fmla="*/ 4 w 23"/>
                <a:gd name="T7" fmla="*/ 0 h 7"/>
                <a:gd name="T8" fmla="*/ 19 w 23"/>
                <a:gd name="T9" fmla="*/ 0 h 7"/>
                <a:gd name="T10" fmla="*/ 23 w 23"/>
                <a:gd name="T11" fmla="*/ 4 h 7"/>
                <a:gd name="T12" fmla="*/ 19 w 23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" h="7">
                  <a:moveTo>
                    <a:pt x="19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1" y="0"/>
                    <a:pt x="23" y="2"/>
                    <a:pt x="23" y="4"/>
                  </a:cubicBezTo>
                  <a:cubicBezTo>
                    <a:pt x="23" y="6"/>
                    <a:pt x="21" y="7"/>
                    <a:pt x="19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5" name="Freeform 664">
              <a:extLst>
                <a:ext uri="{FF2B5EF4-FFF2-40B4-BE49-F238E27FC236}">
                  <a16:creationId xmlns:a16="http://schemas.microsoft.com/office/drawing/2014/main" id="{4D08CB25-CF6D-BD9F-313A-E3605676B36E}"/>
                </a:ext>
              </a:extLst>
            </p:cNvPr>
            <p:cNvSpPr>
              <a:spLocks/>
            </p:cNvSpPr>
            <p:nvPr/>
          </p:nvSpPr>
          <p:spPr bwMode="auto">
            <a:xfrm>
              <a:off x="-5473018" y="5126956"/>
              <a:ext cx="184927" cy="143057"/>
            </a:xfrm>
            <a:custGeom>
              <a:avLst/>
              <a:gdLst>
                <a:gd name="T0" fmla="*/ 34 w 71"/>
                <a:gd name="T1" fmla="*/ 54 h 54"/>
                <a:gd name="T2" fmla="*/ 31 w 71"/>
                <a:gd name="T3" fmla="*/ 52 h 54"/>
                <a:gd name="T4" fmla="*/ 2 w 71"/>
                <a:gd name="T5" fmla="*/ 6 h 54"/>
                <a:gd name="T6" fmla="*/ 3 w 71"/>
                <a:gd name="T7" fmla="*/ 1 h 54"/>
                <a:gd name="T8" fmla="*/ 8 w 71"/>
                <a:gd name="T9" fmla="*/ 2 h 54"/>
                <a:gd name="T10" fmla="*/ 35 w 71"/>
                <a:gd name="T11" fmla="*/ 46 h 54"/>
                <a:gd name="T12" fmla="*/ 65 w 71"/>
                <a:gd name="T13" fmla="*/ 31 h 54"/>
                <a:gd name="T14" fmla="*/ 70 w 71"/>
                <a:gd name="T15" fmla="*/ 33 h 54"/>
                <a:gd name="T16" fmla="*/ 68 w 71"/>
                <a:gd name="T17" fmla="*/ 38 h 54"/>
                <a:gd name="T18" fmla="*/ 35 w 71"/>
                <a:gd name="T19" fmla="*/ 54 h 54"/>
                <a:gd name="T20" fmla="*/ 34 w 71"/>
                <a:gd name="T21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1" h="54">
                  <a:moveTo>
                    <a:pt x="34" y="54"/>
                  </a:moveTo>
                  <a:cubicBezTo>
                    <a:pt x="32" y="54"/>
                    <a:pt x="31" y="54"/>
                    <a:pt x="31" y="52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0" y="5"/>
                    <a:pt x="1" y="2"/>
                    <a:pt x="3" y="1"/>
                  </a:cubicBezTo>
                  <a:cubicBezTo>
                    <a:pt x="4" y="0"/>
                    <a:pt x="7" y="1"/>
                    <a:pt x="8" y="2"/>
                  </a:cubicBezTo>
                  <a:cubicBezTo>
                    <a:pt x="35" y="46"/>
                    <a:pt x="35" y="46"/>
                    <a:pt x="35" y="46"/>
                  </a:cubicBezTo>
                  <a:cubicBezTo>
                    <a:pt x="65" y="31"/>
                    <a:pt x="65" y="31"/>
                    <a:pt x="65" y="31"/>
                  </a:cubicBezTo>
                  <a:cubicBezTo>
                    <a:pt x="67" y="30"/>
                    <a:pt x="69" y="31"/>
                    <a:pt x="70" y="33"/>
                  </a:cubicBezTo>
                  <a:cubicBezTo>
                    <a:pt x="71" y="35"/>
                    <a:pt x="70" y="37"/>
                    <a:pt x="68" y="38"/>
                  </a:cubicBezTo>
                  <a:cubicBezTo>
                    <a:pt x="35" y="54"/>
                    <a:pt x="35" y="54"/>
                    <a:pt x="35" y="54"/>
                  </a:cubicBezTo>
                  <a:cubicBezTo>
                    <a:pt x="35" y="54"/>
                    <a:pt x="34" y="54"/>
                    <a:pt x="34" y="5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52" name="Shape23_20200717_154439">
            <a:extLst>
              <a:ext uri="{FF2B5EF4-FFF2-40B4-BE49-F238E27FC236}">
                <a16:creationId xmlns:a16="http://schemas.microsoft.com/office/drawing/2014/main" id="{5E788273-99AF-3DB8-5F96-A958E1F2B110}"/>
              </a:ext>
            </a:extLst>
          </p:cNvPr>
          <p:cNvGrpSpPr>
            <a:grpSpLocks noChangeAspect="1"/>
          </p:cNvGrpSpPr>
          <p:nvPr/>
        </p:nvGrpSpPr>
        <p:grpSpPr>
          <a:xfrm>
            <a:off x="11005944" y="2573885"/>
            <a:ext cx="624563" cy="624563"/>
            <a:chOff x="-3236458" y="4949007"/>
            <a:chExt cx="624563" cy="624563"/>
          </a:xfrm>
          <a:solidFill>
            <a:schemeClr val="accent1"/>
          </a:solidFill>
        </p:grpSpPr>
        <p:sp>
          <p:nvSpPr>
            <p:cNvPr id="67" name="Freeform 665">
              <a:extLst>
                <a:ext uri="{FF2B5EF4-FFF2-40B4-BE49-F238E27FC236}">
                  <a16:creationId xmlns:a16="http://schemas.microsoft.com/office/drawing/2014/main" id="{F377F5FB-C8BD-56B4-277F-802427CDDFB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191099" y="4994367"/>
              <a:ext cx="537333" cy="533845"/>
            </a:xfrm>
            <a:custGeom>
              <a:avLst/>
              <a:gdLst>
                <a:gd name="T0" fmla="*/ 102 w 204"/>
                <a:gd name="T1" fmla="*/ 203 h 203"/>
                <a:gd name="T2" fmla="*/ 0 w 204"/>
                <a:gd name="T3" fmla="*/ 102 h 203"/>
                <a:gd name="T4" fmla="*/ 102 w 204"/>
                <a:gd name="T5" fmla="*/ 0 h 203"/>
                <a:gd name="T6" fmla="*/ 204 w 204"/>
                <a:gd name="T7" fmla="*/ 102 h 203"/>
                <a:gd name="T8" fmla="*/ 102 w 204"/>
                <a:gd name="T9" fmla="*/ 203 h 203"/>
                <a:gd name="T10" fmla="*/ 102 w 204"/>
                <a:gd name="T11" fmla="*/ 7 h 203"/>
                <a:gd name="T12" fmla="*/ 8 w 204"/>
                <a:gd name="T13" fmla="*/ 102 h 203"/>
                <a:gd name="T14" fmla="*/ 102 w 204"/>
                <a:gd name="T15" fmla="*/ 196 h 203"/>
                <a:gd name="T16" fmla="*/ 197 w 204"/>
                <a:gd name="T17" fmla="*/ 102 h 203"/>
                <a:gd name="T18" fmla="*/ 102 w 204"/>
                <a:gd name="T19" fmla="*/ 7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4" h="203">
                  <a:moveTo>
                    <a:pt x="102" y="203"/>
                  </a:moveTo>
                  <a:cubicBezTo>
                    <a:pt x="46" y="203"/>
                    <a:pt x="0" y="158"/>
                    <a:pt x="0" y="102"/>
                  </a:cubicBezTo>
                  <a:cubicBezTo>
                    <a:pt x="0" y="45"/>
                    <a:pt x="46" y="0"/>
                    <a:pt x="102" y="0"/>
                  </a:cubicBezTo>
                  <a:cubicBezTo>
                    <a:pt x="158" y="0"/>
                    <a:pt x="204" y="45"/>
                    <a:pt x="204" y="102"/>
                  </a:cubicBezTo>
                  <a:cubicBezTo>
                    <a:pt x="204" y="158"/>
                    <a:pt x="158" y="203"/>
                    <a:pt x="102" y="203"/>
                  </a:cubicBezTo>
                  <a:close/>
                  <a:moveTo>
                    <a:pt x="102" y="7"/>
                  </a:moveTo>
                  <a:cubicBezTo>
                    <a:pt x="50" y="7"/>
                    <a:pt x="8" y="49"/>
                    <a:pt x="8" y="102"/>
                  </a:cubicBezTo>
                  <a:cubicBezTo>
                    <a:pt x="8" y="154"/>
                    <a:pt x="50" y="196"/>
                    <a:pt x="102" y="196"/>
                  </a:cubicBezTo>
                  <a:cubicBezTo>
                    <a:pt x="154" y="196"/>
                    <a:pt x="197" y="154"/>
                    <a:pt x="197" y="102"/>
                  </a:cubicBezTo>
                  <a:cubicBezTo>
                    <a:pt x="197" y="49"/>
                    <a:pt x="154" y="7"/>
                    <a:pt x="102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8" name="Freeform 666">
              <a:extLst>
                <a:ext uri="{FF2B5EF4-FFF2-40B4-BE49-F238E27FC236}">
                  <a16:creationId xmlns:a16="http://schemas.microsoft.com/office/drawing/2014/main" id="{7D881BD7-32A2-C55B-B09F-731A966A8C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36458" y="4949007"/>
              <a:ext cx="624563" cy="624563"/>
            </a:xfrm>
            <a:custGeom>
              <a:avLst/>
              <a:gdLst>
                <a:gd name="T0" fmla="*/ 119 w 238"/>
                <a:gd name="T1" fmla="*/ 237 h 237"/>
                <a:gd name="T2" fmla="*/ 0 w 238"/>
                <a:gd name="T3" fmla="*/ 119 h 237"/>
                <a:gd name="T4" fmla="*/ 119 w 238"/>
                <a:gd name="T5" fmla="*/ 0 h 237"/>
                <a:gd name="T6" fmla="*/ 238 w 238"/>
                <a:gd name="T7" fmla="*/ 119 h 237"/>
                <a:gd name="T8" fmla="*/ 119 w 238"/>
                <a:gd name="T9" fmla="*/ 237 h 237"/>
                <a:gd name="T10" fmla="*/ 119 w 238"/>
                <a:gd name="T11" fmla="*/ 7 h 237"/>
                <a:gd name="T12" fmla="*/ 7 w 238"/>
                <a:gd name="T13" fmla="*/ 119 h 237"/>
                <a:gd name="T14" fmla="*/ 119 w 238"/>
                <a:gd name="T15" fmla="*/ 230 h 237"/>
                <a:gd name="T16" fmla="*/ 231 w 238"/>
                <a:gd name="T17" fmla="*/ 119 h 237"/>
                <a:gd name="T18" fmla="*/ 119 w 238"/>
                <a:gd name="T19" fmla="*/ 7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8" h="237">
                  <a:moveTo>
                    <a:pt x="119" y="237"/>
                  </a:moveTo>
                  <a:cubicBezTo>
                    <a:pt x="54" y="237"/>
                    <a:pt x="0" y="184"/>
                    <a:pt x="0" y="119"/>
                  </a:cubicBezTo>
                  <a:cubicBezTo>
                    <a:pt x="0" y="53"/>
                    <a:pt x="54" y="0"/>
                    <a:pt x="119" y="0"/>
                  </a:cubicBezTo>
                  <a:cubicBezTo>
                    <a:pt x="185" y="0"/>
                    <a:pt x="238" y="53"/>
                    <a:pt x="238" y="119"/>
                  </a:cubicBezTo>
                  <a:cubicBezTo>
                    <a:pt x="238" y="184"/>
                    <a:pt x="185" y="237"/>
                    <a:pt x="119" y="237"/>
                  </a:cubicBezTo>
                  <a:close/>
                  <a:moveTo>
                    <a:pt x="119" y="7"/>
                  </a:moveTo>
                  <a:cubicBezTo>
                    <a:pt x="58" y="7"/>
                    <a:pt x="7" y="57"/>
                    <a:pt x="7" y="119"/>
                  </a:cubicBezTo>
                  <a:cubicBezTo>
                    <a:pt x="7" y="180"/>
                    <a:pt x="58" y="230"/>
                    <a:pt x="119" y="230"/>
                  </a:cubicBezTo>
                  <a:cubicBezTo>
                    <a:pt x="181" y="230"/>
                    <a:pt x="231" y="180"/>
                    <a:pt x="231" y="119"/>
                  </a:cubicBezTo>
                  <a:cubicBezTo>
                    <a:pt x="231" y="57"/>
                    <a:pt x="181" y="7"/>
                    <a:pt x="119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9" name="Freeform 667">
              <a:extLst>
                <a:ext uri="{FF2B5EF4-FFF2-40B4-BE49-F238E27FC236}">
                  <a16:creationId xmlns:a16="http://schemas.microsoft.com/office/drawing/2014/main" id="{8A14D0CD-75D6-92F7-C285-3D3CF38536C7}"/>
                </a:ext>
              </a:extLst>
            </p:cNvPr>
            <p:cNvSpPr>
              <a:spLocks/>
            </p:cNvSpPr>
            <p:nvPr/>
          </p:nvSpPr>
          <p:spPr bwMode="auto">
            <a:xfrm>
              <a:off x="-3027107" y="5099042"/>
              <a:ext cx="212841" cy="170971"/>
            </a:xfrm>
            <a:custGeom>
              <a:avLst/>
              <a:gdLst>
                <a:gd name="T0" fmla="*/ 40 w 81"/>
                <a:gd name="T1" fmla="*/ 65 h 65"/>
                <a:gd name="T2" fmla="*/ 37 w 81"/>
                <a:gd name="T3" fmla="*/ 63 h 65"/>
                <a:gd name="T4" fmla="*/ 1 w 81"/>
                <a:gd name="T5" fmla="*/ 6 h 65"/>
                <a:gd name="T6" fmla="*/ 2 w 81"/>
                <a:gd name="T7" fmla="*/ 1 h 65"/>
                <a:gd name="T8" fmla="*/ 7 w 81"/>
                <a:gd name="T9" fmla="*/ 2 h 65"/>
                <a:gd name="T10" fmla="*/ 41 w 81"/>
                <a:gd name="T11" fmla="*/ 57 h 65"/>
                <a:gd name="T12" fmla="*/ 75 w 81"/>
                <a:gd name="T13" fmla="*/ 41 h 65"/>
                <a:gd name="T14" fmla="*/ 80 w 81"/>
                <a:gd name="T15" fmla="*/ 42 h 65"/>
                <a:gd name="T16" fmla="*/ 78 w 81"/>
                <a:gd name="T17" fmla="*/ 47 h 65"/>
                <a:gd name="T18" fmla="*/ 42 w 81"/>
                <a:gd name="T19" fmla="*/ 65 h 65"/>
                <a:gd name="T20" fmla="*/ 40 w 81"/>
                <a:gd name="T21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1" h="65">
                  <a:moveTo>
                    <a:pt x="40" y="65"/>
                  </a:moveTo>
                  <a:cubicBezTo>
                    <a:pt x="39" y="65"/>
                    <a:pt x="38" y="65"/>
                    <a:pt x="37" y="63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4"/>
                    <a:pt x="0" y="2"/>
                    <a:pt x="2" y="1"/>
                  </a:cubicBezTo>
                  <a:cubicBezTo>
                    <a:pt x="3" y="0"/>
                    <a:pt x="6" y="0"/>
                    <a:pt x="7" y="2"/>
                  </a:cubicBezTo>
                  <a:cubicBezTo>
                    <a:pt x="41" y="57"/>
                    <a:pt x="41" y="57"/>
                    <a:pt x="41" y="57"/>
                  </a:cubicBezTo>
                  <a:cubicBezTo>
                    <a:pt x="75" y="41"/>
                    <a:pt x="75" y="41"/>
                    <a:pt x="75" y="41"/>
                  </a:cubicBezTo>
                  <a:cubicBezTo>
                    <a:pt x="77" y="40"/>
                    <a:pt x="79" y="41"/>
                    <a:pt x="80" y="42"/>
                  </a:cubicBezTo>
                  <a:cubicBezTo>
                    <a:pt x="81" y="44"/>
                    <a:pt x="80" y="46"/>
                    <a:pt x="78" y="47"/>
                  </a:cubicBezTo>
                  <a:cubicBezTo>
                    <a:pt x="42" y="65"/>
                    <a:pt x="42" y="65"/>
                    <a:pt x="42" y="65"/>
                  </a:cubicBezTo>
                  <a:cubicBezTo>
                    <a:pt x="41" y="65"/>
                    <a:pt x="41" y="65"/>
                    <a:pt x="40" y="6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53" name="Shape24_20200717_154439">
            <a:extLst>
              <a:ext uri="{FF2B5EF4-FFF2-40B4-BE49-F238E27FC236}">
                <a16:creationId xmlns:a16="http://schemas.microsoft.com/office/drawing/2014/main" id="{9E37139E-2794-CDFF-55ED-0CBDC4821EBA}"/>
              </a:ext>
            </a:extLst>
          </p:cNvPr>
          <p:cNvGrpSpPr>
            <a:grpSpLocks noChangeAspect="1"/>
          </p:cNvGrpSpPr>
          <p:nvPr/>
        </p:nvGrpSpPr>
        <p:grpSpPr>
          <a:xfrm>
            <a:off x="9754470" y="2584354"/>
            <a:ext cx="516398" cy="603627"/>
            <a:chOff x="-4412310" y="4959476"/>
            <a:chExt cx="516398" cy="603627"/>
          </a:xfrm>
          <a:solidFill>
            <a:schemeClr val="accent1"/>
          </a:solidFill>
        </p:grpSpPr>
        <p:sp>
          <p:nvSpPr>
            <p:cNvPr id="58" name="Freeform 668">
              <a:extLst>
                <a:ext uri="{FF2B5EF4-FFF2-40B4-BE49-F238E27FC236}">
                  <a16:creationId xmlns:a16="http://schemas.microsoft.com/office/drawing/2014/main" id="{15CECC2D-C355-9213-580C-A5FCD5797B9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366950" y="5092064"/>
              <a:ext cx="425679" cy="425679"/>
            </a:xfrm>
            <a:custGeom>
              <a:avLst/>
              <a:gdLst>
                <a:gd name="T0" fmla="*/ 81 w 162"/>
                <a:gd name="T1" fmla="*/ 161 h 161"/>
                <a:gd name="T2" fmla="*/ 0 w 162"/>
                <a:gd name="T3" fmla="*/ 81 h 161"/>
                <a:gd name="T4" fmla="*/ 81 w 162"/>
                <a:gd name="T5" fmla="*/ 0 h 161"/>
                <a:gd name="T6" fmla="*/ 162 w 162"/>
                <a:gd name="T7" fmla="*/ 81 h 161"/>
                <a:gd name="T8" fmla="*/ 81 w 162"/>
                <a:gd name="T9" fmla="*/ 161 h 161"/>
                <a:gd name="T10" fmla="*/ 81 w 162"/>
                <a:gd name="T11" fmla="*/ 7 h 161"/>
                <a:gd name="T12" fmla="*/ 7 w 162"/>
                <a:gd name="T13" fmla="*/ 81 h 161"/>
                <a:gd name="T14" fmla="*/ 81 w 162"/>
                <a:gd name="T15" fmla="*/ 154 h 161"/>
                <a:gd name="T16" fmla="*/ 155 w 162"/>
                <a:gd name="T17" fmla="*/ 81 h 161"/>
                <a:gd name="T18" fmla="*/ 81 w 162"/>
                <a:gd name="T19" fmla="*/ 7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2" h="161">
                  <a:moveTo>
                    <a:pt x="81" y="161"/>
                  </a:moveTo>
                  <a:cubicBezTo>
                    <a:pt x="36" y="161"/>
                    <a:pt x="0" y="125"/>
                    <a:pt x="0" y="81"/>
                  </a:cubicBezTo>
                  <a:cubicBezTo>
                    <a:pt x="0" y="36"/>
                    <a:pt x="36" y="0"/>
                    <a:pt x="81" y="0"/>
                  </a:cubicBezTo>
                  <a:cubicBezTo>
                    <a:pt x="125" y="0"/>
                    <a:pt x="162" y="36"/>
                    <a:pt x="162" y="81"/>
                  </a:cubicBezTo>
                  <a:cubicBezTo>
                    <a:pt x="162" y="125"/>
                    <a:pt x="125" y="161"/>
                    <a:pt x="81" y="161"/>
                  </a:cubicBezTo>
                  <a:close/>
                  <a:moveTo>
                    <a:pt x="81" y="7"/>
                  </a:moveTo>
                  <a:cubicBezTo>
                    <a:pt x="40" y="7"/>
                    <a:pt x="7" y="40"/>
                    <a:pt x="7" y="81"/>
                  </a:cubicBezTo>
                  <a:cubicBezTo>
                    <a:pt x="7" y="121"/>
                    <a:pt x="40" y="154"/>
                    <a:pt x="81" y="154"/>
                  </a:cubicBezTo>
                  <a:cubicBezTo>
                    <a:pt x="122" y="154"/>
                    <a:pt x="155" y="121"/>
                    <a:pt x="155" y="81"/>
                  </a:cubicBezTo>
                  <a:cubicBezTo>
                    <a:pt x="155" y="40"/>
                    <a:pt x="122" y="7"/>
                    <a:pt x="81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9" name="Freeform 669">
              <a:extLst>
                <a:ext uri="{FF2B5EF4-FFF2-40B4-BE49-F238E27FC236}">
                  <a16:creationId xmlns:a16="http://schemas.microsoft.com/office/drawing/2014/main" id="{E6C5C137-092B-BF96-56A8-5E00D7A86A4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412310" y="5050194"/>
              <a:ext cx="516398" cy="512909"/>
            </a:xfrm>
            <a:custGeom>
              <a:avLst/>
              <a:gdLst>
                <a:gd name="T0" fmla="*/ 98 w 196"/>
                <a:gd name="T1" fmla="*/ 195 h 195"/>
                <a:gd name="T2" fmla="*/ 0 w 196"/>
                <a:gd name="T3" fmla="*/ 98 h 195"/>
                <a:gd name="T4" fmla="*/ 98 w 196"/>
                <a:gd name="T5" fmla="*/ 0 h 195"/>
                <a:gd name="T6" fmla="*/ 196 w 196"/>
                <a:gd name="T7" fmla="*/ 98 h 195"/>
                <a:gd name="T8" fmla="*/ 98 w 196"/>
                <a:gd name="T9" fmla="*/ 195 h 195"/>
                <a:gd name="T10" fmla="*/ 98 w 196"/>
                <a:gd name="T11" fmla="*/ 7 h 195"/>
                <a:gd name="T12" fmla="*/ 7 w 196"/>
                <a:gd name="T13" fmla="*/ 98 h 195"/>
                <a:gd name="T14" fmla="*/ 98 w 196"/>
                <a:gd name="T15" fmla="*/ 188 h 195"/>
                <a:gd name="T16" fmla="*/ 188 w 196"/>
                <a:gd name="T17" fmla="*/ 98 h 195"/>
                <a:gd name="T18" fmla="*/ 98 w 196"/>
                <a:gd name="T19" fmla="*/ 7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6" h="195">
                  <a:moveTo>
                    <a:pt x="98" y="195"/>
                  </a:moveTo>
                  <a:cubicBezTo>
                    <a:pt x="44" y="195"/>
                    <a:pt x="0" y="151"/>
                    <a:pt x="0" y="98"/>
                  </a:cubicBezTo>
                  <a:cubicBezTo>
                    <a:pt x="0" y="44"/>
                    <a:pt x="44" y="0"/>
                    <a:pt x="98" y="0"/>
                  </a:cubicBezTo>
                  <a:cubicBezTo>
                    <a:pt x="152" y="0"/>
                    <a:pt x="196" y="44"/>
                    <a:pt x="196" y="98"/>
                  </a:cubicBezTo>
                  <a:cubicBezTo>
                    <a:pt x="196" y="151"/>
                    <a:pt x="152" y="195"/>
                    <a:pt x="98" y="195"/>
                  </a:cubicBezTo>
                  <a:close/>
                  <a:moveTo>
                    <a:pt x="98" y="7"/>
                  </a:moveTo>
                  <a:cubicBezTo>
                    <a:pt x="48" y="7"/>
                    <a:pt x="7" y="48"/>
                    <a:pt x="7" y="98"/>
                  </a:cubicBezTo>
                  <a:cubicBezTo>
                    <a:pt x="7" y="147"/>
                    <a:pt x="48" y="188"/>
                    <a:pt x="98" y="188"/>
                  </a:cubicBezTo>
                  <a:cubicBezTo>
                    <a:pt x="148" y="188"/>
                    <a:pt x="188" y="147"/>
                    <a:pt x="188" y="98"/>
                  </a:cubicBezTo>
                  <a:cubicBezTo>
                    <a:pt x="188" y="48"/>
                    <a:pt x="148" y="7"/>
                    <a:pt x="98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0" name="Freeform 670">
              <a:extLst>
                <a:ext uri="{FF2B5EF4-FFF2-40B4-BE49-F238E27FC236}">
                  <a16:creationId xmlns:a16="http://schemas.microsoft.com/office/drawing/2014/main" id="{25778875-B07D-EF77-FB87-0C5CC95BF6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220404" y="4959476"/>
              <a:ext cx="132589" cy="66295"/>
            </a:xfrm>
            <a:custGeom>
              <a:avLst/>
              <a:gdLst>
                <a:gd name="T0" fmla="*/ 46 w 50"/>
                <a:gd name="T1" fmla="*/ 25 h 25"/>
                <a:gd name="T2" fmla="*/ 3 w 50"/>
                <a:gd name="T3" fmla="*/ 25 h 25"/>
                <a:gd name="T4" fmla="*/ 0 w 50"/>
                <a:gd name="T5" fmla="*/ 21 h 25"/>
                <a:gd name="T6" fmla="*/ 0 w 50"/>
                <a:gd name="T7" fmla="*/ 3 h 25"/>
                <a:gd name="T8" fmla="*/ 3 w 50"/>
                <a:gd name="T9" fmla="*/ 0 h 25"/>
                <a:gd name="T10" fmla="*/ 46 w 50"/>
                <a:gd name="T11" fmla="*/ 0 h 25"/>
                <a:gd name="T12" fmla="*/ 50 w 50"/>
                <a:gd name="T13" fmla="*/ 3 h 25"/>
                <a:gd name="T14" fmla="*/ 50 w 50"/>
                <a:gd name="T15" fmla="*/ 21 h 25"/>
                <a:gd name="T16" fmla="*/ 46 w 50"/>
                <a:gd name="T17" fmla="*/ 25 h 25"/>
                <a:gd name="T18" fmla="*/ 7 w 50"/>
                <a:gd name="T19" fmla="*/ 18 h 25"/>
                <a:gd name="T20" fmla="*/ 43 w 50"/>
                <a:gd name="T21" fmla="*/ 18 h 25"/>
                <a:gd name="T22" fmla="*/ 43 w 50"/>
                <a:gd name="T23" fmla="*/ 7 h 25"/>
                <a:gd name="T24" fmla="*/ 7 w 50"/>
                <a:gd name="T25" fmla="*/ 7 h 25"/>
                <a:gd name="T26" fmla="*/ 7 w 50"/>
                <a:gd name="T27" fmla="*/ 18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0" h="25">
                  <a:moveTo>
                    <a:pt x="46" y="25"/>
                  </a:moveTo>
                  <a:cubicBezTo>
                    <a:pt x="3" y="25"/>
                    <a:pt x="3" y="25"/>
                    <a:pt x="3" y="25"/>
                  </a:cubicBezTo>
                  <a:cubicBezTo>
                    <a:pt x="1" y="25"/>
                    <a:pt x="0" y="23"/>
                    <a:pt x="0" y="21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8" y="0"/>
                    <a:pt x="50" y="1"/>
                    <a:pt x="50" y="3"/>
                  </a:cubicBezTo>
                  <a:cubicBezTo>
                    <a:pt x="50" y="21"/>
                    <a:pt x="50" y="21"/>
                    <a:pt x="50" y="21"/>
                  </a:cubicBezTo>
                  <a:cubicBezTo>
                    <a:pt x="50" y="23"/>
                    <a:pt x="48" y="25"/>
                    <a:pt x="46" y="25"/>
                  </a:cubicBezTo>
                  <a:close/>
                  <a:moveTo>
                    <a:pt x="7" y="18"/>
                  </a:moveTo>
                  <a:cubicBezTo>
                    <a:pt x="43" y="18"/>
                    <a:pt x="43" y="18"/>
                    <a:pt x="43" y="18"/>
                  </a:cubicBezTo>
                  <a:cubicBezTo>
                    <a:pt x="43" y="7"/>
                    <a:pt x="43" y="7"/>
                    <a:pt x="43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1" name="Freeform 671">
              <a:extLst>
                <a:ext uri="{FF2B5EF4-FFF2-40B4-BE49-F238E27FC236}">
                  <a16:creationId xmlns:a16="http://schemas.microsoft.com/office/drawing/2014/main" id="{1AC9BF72-4E2C-84BF-F3AE-6925B92EC6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189003" y="5008324"/>
              <a:ext cx="69783" cy="59317"/>
            </a:xfrm>
            <a:custGeom>
              <a:avLst/>
              <a:gdLst>
                <a:gd name="T0" fmla="*/ 22 w 26"/>
                <a:gd name="T1" fmla="*/ 23 h 23"/>
                <a:gd name="T2" fmla="*/ 4 w 26"/>
                <a:gd name="T3" fmla="*/ 23 h 23"/>
                <a:gd name="T4" fmla="*/ 0 w 26"/>
                <a:gd name="T5" fmla="*/ 19 h 23"/>
                <a:gd name="T6" fmla="*/ 0 w 26"/>
                <a:gd name="T7" fmla="*/ 3 h 23"/>
                <a:gd name="T8" fmla="*/ 4 w 26"/>
                <a:gd name="T9" fmla="*/ 0 h 23"/>
                <a:gd name="T10" fmla="*/ 22 w 26"/>
                <a:gd name="T11" fmla="*/ 0 h 23"/>
                <a:gd name="T12" fmla="*/ 26 w 26"/>
                <a:gd name="T13" fmla="*/ 3 h 23"/>
                <a:gd name="T14" fmla="*/ 26 w 26"/>
                <a:gd name="T15" fmla="*/ 19 h 23"/>
                <a:gd name="T16" fmla="*/ 22 w 26"/>
                <a:gd name="T17" fmla="*/ 23 h 23"/>
                <a:gd name="T18" fmla="*/ 7 w 26"/>
                <a:gd name="T19" fmla="*/ 16 h 23"/>
                <a:gd name="T20" fmla="*/ 18 w 26"/>
                <a:gd name="T21" fmla="*/ 16 h 23"/>
                <a:gd name="T22" fmla="*/ 18 w 26"/>
                <a:gd name="T23" fmla="*/ 7 h 23"/>
                <a:gd name="T24" fmla="*/ 7 w 26"/>
                <a:gd name="T25" fmla="*/ 7 h 23"/>
                <a:gd name="T26" fmla="*/ 7 w 26"/>
                <a:gd name="T27" fmla="*/ 16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" h="23">
                  <a:moveTo>
                    <a:pt x="22" y="23"/>
                  </a:moveTo>
                  <a:cubicBezTo>
                    <a:pt x="4" y="23"/>
                    <a:pt x="4" y="23"/>
                    <a:pt x="4" y="23"/>
                  </a:cubicBezTo>
                  <a:cubicBezTo>
                    <a:pt x="2" y="23"/>
                    <a:pt x="0" y="21"/>
                    <a:pt x="0" y="19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4" y="0"/>
                    <a:pt x="26" y="1"/>
                    <a:pt x="26" y="3"/>
                  </a:cubicBezTo>
                  <a:cubicBezTo>
                    <a:pt x="26" y="19"/>
                    <a:pt x="26" y="19"/>
                    <a:pt x="26" y="19"/>
                  </a:cubicBezTo>
                  <a:cubicBezTo>
                    <a:pt x="26" y="21"/>
                    <a:pt x="24" y="23"/>
                    <a:pt x="22" y="23"/>
                  </a:cubicBezTo>
                  <a:close/>
                  <a:moveTo>
                    <a:pt x="7" y="16"/>
                  </a:moveTo>
                  <a:cubicBezTo>
                    <a:pt x="18" y="16"/>
                    <a:pt x="18" y="16"/>
                    <a:pt x="18" y="16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2" name="Freeform 672">
              <a:extLst>
                <a:ext uri="{FF2B5EF4-FFF2-40B4-BE49-F238E27FC236}">
                  <a16:creationId xmlns:a16="http://schemas.microsoft.com/office/drawing/2014/main" id="{BBF7FDC6-2653-2298-6929-1185F6FFBB4A}"/>
                </a:ext>
              </a:extLst>
            </p:cNvPr>
            <p:cNvSpPr>
              <a:spLocks/>
            </p:cNvSpPr>
            <p:nvPr/>
          </p:nvSpPr>
          <p:spPr bwMode="auto">
            <a:xfrm>
              <a:off x="-4380906" y="5085086"/>
              <a:ext cx="59317" cy="59317"/>
            </a:xfrm>
            <a:custGeom>
              <a:avLst/>
              <a:gdLst>
                <a:gd name="T0" fmla="*/ 18 w 22"/>
                <a:gd name="T1" fmla="*/ 22 h 22"/>
                <a:gd name="T2" fmla="*/ 16 w 22"/>
                <a:gd name="T3" fmla="*/ 21 h 22"/>
                <a:gd name="T4" fmla="*/ 1 w 22"/>
                <a:gd name="T5" fmla="*/ 6 h 22"/>
                <a:gd name="T6" fmla="*/ 1 w 22"/>
                <a:gd name="T7" fmla="*/ 1 h 22"/>
                <a:gd name="T8" fmla="*/ 6 w 22"/>
                <a:gd name="T9" fmla="*/ 1 h 22"/>
                <a:gd name="T10" fmla="*/ 21 w 22"/>
                <a:gd name="T11" fmla="*/ 16 h 22"/>
                <a:gd name="T12" fmla="*/ 21 w 22"/>
                <a:gd name="T13" fmla="*/ 21 h 22"/>
                <a:gd name="T14" fmla="*/ 18 w 22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2">
                  <a:moveTo>
                    <a:pt x="18" y="22"/>
                  </a:moveTo>
                  <a:cubicBezTo>
                    <a:pt x="17" y="22"/>
                    <a:pt x="16" y="21"/>
                    <a:pt x="16" y="21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5"/>
                    <a:pt x="0" y="3"/>
                    <a:pt x="1" y="1"/>
                  </a:cubicBezTo>
                  <a:cubicBezTo>
                    <a:pt x="2" y="0"/>
                    <a:pt x="5" y="0"/>
                    <a:pt x="6" y="1"/>
                  </a:cubicBezTo>
                  <a:cubicBezTo>
                    <a:pt x="21" y="16"/>
                    <a:pt x="21" y="16"/>
                    <a:pt x="21" y="16"/>
                  </a:cubicBezTo>
                  <a:cubicBezTo>
                    <a:pt x="22" y="17"/>
                    <a:pt x="22" y="19"/>
                    <a:pt x="21" y="21"/>
                  </a:cubicBezTo>
                  <a:cubicBezTo>
                    <a:pt x="20" y="21"/>
                    <a:pt x="19" y="22"/>
                    <a:pt x="18" y="2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3" name="Freeform 673">
              <a:extLst>
                <a:ext uri="{FF2B5EF4-FFF2-40B4-BE49-F238E27FC236}">
                  <a16:creationId xmlns:a16="http://schemas.microsoft.com/office/drawing/2014/main" id="{A33CA09C-18E7-2A87-D564-9A30D93D250B}"/>
                </a:ext>
              </a:extLst>
            </p:cNvPr>
            <p:cNvSpPr>
              <a:spLocks/>
            </p:cNvSpPr>
            <p:nvPr/>
          </p:nvSpPr>
          <p:spPr bwMode="auto">
            <a:xfrm>
              <a:off x="-4401841" y="5067639"/>
              <a:ext cx="59317" cy="55827"/>
            </a:xfrm>
            <a:custGeom>
              <a:avLst/>
              <a:gdLst>
                <a:gd name="T0" fmla="*/ 4 w 23"/>
                <a:gd name="T1" fmla="*/ 22 h 22"/>
                <a:gd name="T2" fmla="*/ 2 w 23"/>
                <a:gd name="T3" fmla="*/ 21 h 22"/>
                <a:gd name="T4" fmla="*/ 2 w 23"/>
                <a:gd name="T5" fmla="*/ 16 h 22"/>
                <a:gd name="T6" fmla="*/ 16 w 23"/>
                <a:gd name="T7" fmla="*/ 1 h 22"/>
                <a:gd name="T8" fmla="*/ 21 w 23"/>
                <a:gd name="T9" fmla="*/ 1 h 22"/>
                <a:gd name="T10" fmla="*/ 21 w 23"/>
                <a:gd name="T11" fmla="*/ 6 h 22"/>
                <a:gd name="T12" fmla="*/ 7 w 23"/>
                <a:gd name="T13" fmla="*/ 21 h 22"/>
                <a:gd name="T14" fmla="*/ 4 w 23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22">
                  <a:moveTo>
                    <a:pt x="4" y="22"/>
                  </a:moveTo>
                  <a:cubicBezTo>
                    <a:pt x="4" y="22"/>
                    <a:pt x="3" y="21"/>
                    <a:pt x="2" y="21"/>
                  </a:cubicBezTo>
                  <a:cubicBezTo>
                    <a:pt x="0" y="19"/>
                    <a:pt x="0" y="17"/>
                    <a:pt x="2" y="16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3" y="2"/>
                    <a:pt x="23" y="5"/>
                    <a:pt x="21" y="6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1"/>
                    <a:pt x="5" y="22"/>
                    <a:pt x="4" y="2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4" name="Freeform 674">
              <a:extLst>
                <a:ext uri="{FF2B5EF4-FFF2-40B4-BE49-F238E27FC236}">
                  <a16:creationId xmlns:a16="http://schemas.microsoft.com/office/drawing/2014/main" id="{9E469EA5-87A3-D152-893A-DDB839413A1D}"/>
                </a:ext>
              </a:extLst>
            </p:cNvPr>
            <p:cNvSpPr>
              <a:spLocks/>
            </p:cNvSpPr>
            <p:nvPr/>
          </p:nvSpPr>
          <p:spPr bwMode="auto">
            <a:xfrm>
              <a:off x="-3986631" y="5085086"/>
              <a:ext cx="59317" cy="59317"/>
            </a:xfrm>
            <a:custGeom>
              <a:avLst/>
              <a:gdLst>
                <a:gd name="T0" fmla="*/ 4 w 22"/>
                <a:gd name="T1" fmla="*/ 22 h 22"/>
                <a:gd name="T2" fmla="*/ 1 w 22"/>
                <a:gd name="T3" fmla="*/ 21 h 22"/>
                <a:gd name="T4" fmla="*/ 1 w 22"/>
                <a:gd name="T5" fmla="*/ 16 h 22"/>
                <a:gd name="T6" fmla="*/ 16 w 22"/>
                <a:gd name="T7" fmla="*/ 1 h 22"/>
                <a:gd name="T8" fmla="*/ 21 w 22"/>
                <a:gd name="T9" fmla="*/ 1 h 22"/>
                <a:gd name="T10" fmla="*/ 21 w 22"/>
                <a:gd name="T11" fmla="*/ 6 h 22"/>
                <a:gd name="T12" fmla="*/ 6 w 22"/>
                <a:gd name="T13" fmla="*/ 21 h 22"/>
                <a:gd name="T14" fmla="*/ 4 w 22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2">
                  <a:moveTo>
                    <a:pt x="4" y="22"/>
                  </a:moveTo>
                  <a:cubicBezTo>
                    <a:pt x="3" y="22"/>
                    <a:pt x="2" y="21"/>
                    <a:pt x="1" y="21"/>
                  </a:cubicBezTo>
                  <a:cubicBezTo>
                    <a:pt x="0" y="19"/>
                    <a:pt x="0" y="17"/>
                    <a:pt x="1" y="16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7" y="0"/>
                    <a:pt x="19" y="0"/>
                    <a:pt x="21" y="1"/>
                  </a:cubicBezTo>
                  <a:cubicBezTo>
                    <a:pt x="22" y="3"/>
                    <a:pt x="22" y="5"/>
                    <a:pt x="21" y="6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6" y="21"/>
                    <a:pt x="5" y="22"/>
                    <a:pt x="4" y="2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5" name="Freeform 675">
              <a:extLst>
                <a:ext uri="{FF2B5EF4-FFF2-40B4-BE49-F238E27FC236}">
                  <a16:creationId xmlns:a16="http://schemas.microsoft.com/office/drawing/2014/main" id="{2010BEC4-3FE4-66A0-E61E-A043568B1A1E}"/>
                </a:ext>
              </a:extLst>
            </p:cNvPr>
            <p:cNvSpPr>
              <a:spLocks/>
            </p:cNvSpPr>
            <p:nvPr/>
          </p:nvSpPr>
          <p:spPr bwMode="auto">
            <a:xfrm>
              <a:off x="-3969184" y="5067639"/>
              <a:ext cx="59317" cy="55827"/>
            </a:xfrm>
            <a:custGeom>
              <a:avLst/>
              <a:gdLst>
                <a:gd name="T0" fmla="*/ 18 w 22"/>
                <a:gd name="T1" fmla="*/ 22 h 22"/>
                <a:gd name="T2" fmla="*/ 16 w 22"/>
                <a:gd name="T3" fmla="*/ 21 h 22"/>
                <a:gd name="T4" fmla="*/ 1 w 22"/>
                <a:gd name="T5" fmla="*/ 6 h 22"/>
                <a:gd name="T6" fmla="*/ 1 w 22"/>
                <a:gd name="T7" fmla="*/ 1 h 22"/>
                <a:gd name="T8" fmla="*/ 7 w 22"/>
                <a:gd name="T9" fmla="*/ 1 h 22"/>
                <a:gd name="T10" fmla="*/ 21 w 22"/>
                <a:gd name="T11" fmla="*/ 16 h 22"/>
                <a:gd name="T12" fmla="*/ 21 w 22"/>
                <a:gd name="T13" fmla="*/ 21 h 22"/>
                <a:gd name="T14" fmla="*/ 18 w 22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2">
                  <a:moveTo>
                    <a:pt x="18" y="22"/>
                  </a:moveTo>
                  <a:cubicBezTo>
                    <a:pt x="18" y="22"/>
                    <a:pt x="17" y="21"/>
                    <a:pt x="16" y="21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5"/>
                    <a:pt x="0" y="2"/>
                    <a:pt x="1" y="1"/>
                  </a:cubicBezTo>
                  <a:cubicBezTo>
                    <a:pt x="3" y="0"/>
                    <a:pt x="5" y="0"/>
                    <a:pt x="7" y="1"/>
                  </a:cubicBezTo>
                  <a:cubicBezTo>
                    <a:pt x="21" y="16"/>
                    <a:pt x="21" y="16"/>
                    <a:pt x="21" y="16"/>
                  </a:cubicBezTo>
                  <a:cubicBezTo>
                    <a:pt x="22" y="17"/>
                    <a:pt x="22" y="19"/>
                    <a:pt x="21" y="21"/>
                  </a:cubicBezTo>
                  <a:cubicBezTo>
                    <a:pt x="20" y="21"/>
                    <a:pt x="19" y="22"/>
                    <a:pt x="18" y="2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6" name="Freeform 676">
              <a:extLst>
                <a:ext uri="{FF2B5EF4-FFF2-40B4-BE49-F238E27FC236}">
                  <a16:creationId xmlns:a16="http://schemas.microsoft.com/office/drawing/2014/main" id="{20F059F9-A9FE-8E05-280D-97CBC0E3224A}"/>
                </a:ext>
              </a:extLst>
            </p:cNvPr>
            <p:cNvSpPr>
              <a:spLocks/>
            </p:cNvSpPr>
            <p:nvPr/>
          </p:nvSpPr>
          <p:spPr bwMode="auto">
            <a:xfrm>
              <a:off x="-4223895" y="5179292"/>
              <a:ext cx="136079" cy="136079"/>
            </a:xfrm>
            <a:custGeom>
              <a:avLst/>
              <a:gdLst>
                <a:gd name="T0" fmla="*/ 26 w 51"/>
                <a:gd name="T1" fmla="*/ 51 h 51"/>
                <a:gd name="T2" fmla="*/ 25 w 51"/>
                <a:gd name="T3" fmla="*/ 51 h 51"/>
                <a:gd name="T4" fmla="*/ 23 w 51"/>
                <a:gd name="T5" fmla="*/ 49 h 51"/>
                <a:gd name="T6" fmla="*/ 1 w 51"/>
                <a:gd name="T7" fmla="*/ 6 h 51"/>
                <a:gd name="T8" fmla="*/ 3 w 51"/>
                <a:gd name="T9" fmla="*/ 1 h 51"/>
                <a:gd name="T10" fmla="*/ 8 w 51"/>
                <a:gd name="T11" fmla="*/ 3 h 51"/>
                <a:gd name="T12" fmla="*/ 27 w 51"/>
                <a:gd name="T13" fmla="*/ 42 h 51"/>
                <a:gd name="T14" fmla="*/ 45 w 51"/>
                <a:gd name="T15" fmla="*/ 26 h 51"/>
                <a:gd name="T16" fmla="*/ 50 w 51"/>
                <a:gd name="T17" fmla="*/ 27 h 51"/>
                <a:gd name="T18" fmla="*/ 50 w 51"/>
                <a:gd name="T19" fmla="*/ 32 h 51"/>
                <a:gd name="T20" fmla="*/ 28 w 51"/>
                <a:gd name="T21" fmla="*/ 50 h 51"/>
                <a:gd name="T22" fmla="*/ 26 w 51"/>
                <a:gd name="T23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1" h="51">
                  <a:moveTo>
                    <a:pt x="26" y="51"/>
                  </a:moveTo>
                  <a:cubicBezTo>
                    <a:pt x="26" y="51"/>
                    <a:pt x="25" y="51"/>
                    <a:pt x="25" y="51"/>
                  </a:cubicBezTo>
                  <a:cubicBezTo>
                    <a:pt x="24" y="51"/>
                    <a:pt x="23" y="50"/>
                    <a:pt x="23" y="49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4"/>
                    <a:pt x="1" y="2"/>
                    <a:pt x="3" y="1"/>
                  </a:cubicBezTo>
                  <a:cubicBezTo>
                    <a:pt x="5" y="0"/>
                    <a:pt x="7" y="1"/>
                    <a:pt x="8" y="3"/>
                  </a:cubicBezTo>
                  <a:cubicBezTo>
                    <a:pt x="27" y="42"/>
                    <a:pt x="27" y="42"/>
                    <a:pt x="27" y="42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7" y="25"/>
                    <a:pt x="49" y="25"/>
                    <a:pt x="50" y="27"/>
                  </a:cubicBezTo>
                  <a:cubicBezTo>
                    <a:pt x="51" y="28"/>
                    <a:pt x="51" y="30"/>
                    <a:pt x="50" y="32"/>
                  </a:cubicBezTo>
                  <a:cubicBezTo>
                    <a:pt x="28" y="50"/>
                    <a:pt x="28" y="50"/>
                    <a:pt x="28" y="50"/>
                  </a:cubicBezTo>
                  <a:cubicBezTo>
                    <a:pt x="28" y="51"/>
                    <a:pt x="27" y="51"/>
                    <a:pt x="26" y="5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54" name="Shape25_20200717_154439">
            <a:extLst>
              <a:ext uri="{FF2B5EF4-FFF2-40B4-BE49-F238E27FC236}">
                <a16:creationId xmlns:a16="http://schemas.microsoft.com/office/drawing/2014/main" id="{24F4787F-3808-F91B-40F9-1E8A6882B904}"/>
              </a:ext>
            </a:extLst>
          </p:cNvPr>
          <p:cNvGrpSpPr>
            <a:grpSpLocks noChangeAspect="1"/>
          </p:cNvGrpSpPr>
          <p:nvPr/>
        </p:nvGrpSpPr>
        <p:grpSpPr>
          <a:xfrm>
            <a:off x="598130" y="3904452"/>
            <a:ext cx="551289" cy="551289"/>
            <a:chOff x="-1966399" y="4983899"/>
            <a:chExt cx="551289" cy="551289"/>
          </a:xfrm>
          <a:solidFill>
            <a:schemeClr val="accent1"/>
          </a:solidFill>
        </p:grpSpPr>
        <p:sp>
          <p:nvSpPr>
            <p:cNvPr id="55" name="Freeform 677">
              <a:extLst>
                <a:ext uri="{FF2B5EF4-FFF2-40B4-BE49-F238E27FC236}">
                  <a16:creationId xmlns:a16="http://schemas.microsoft.com/office/drawing/2014/main" id="{68F97611-C100-A9E5-6C8F-447F357C3B8C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66399" y="4983899"/>
              <a:ext cx="551289" cy="551289"/>
            </a:xfrm>
            <a:custGeom>
              <a:avLst/>
              <a:gdLst>
                <a:gd name="T0" fmla="*/ 104 w 209"/>
                <a:gd name="T1" fmla="*/ 209 h 209"/>
                <a:gd name="T2" fmla="*/ 0 w 209"/>
                <a:gd name="T3" fmla="*/ 105 h 209"/>
                <a:gd name="T4" fmla="*/ 104 w 209"/>
                <a:gd name="T5" fmla="*/ 0 h 209"/>
                <a:gd name="T6" fmla="*/ 108 w 209"/>
                <a:gd name="T7" fmla="*/ 4 h 209"/>
                <a:gd name="T8" fmla="*/ 104 w 209"/>
                <a:gd name="T9" fmla="*/ 7 h 209"/>
                <a:gd name="T10" fmla="*/ 7 w 209"/>
                <a:gd name="T11" fmla="*/ 105 h 209"/>
                <a:gd name="T12" fmla="*/ 104 w 209"/>
                <a:gd name="T13" fmla="*/ 202 h 209"/>
                <a:gd name="T14" fmla="*/ 201 w 209"/>
                <a:gd name="T15" fmla="*/ 105 h 209"/>
                <a:gd name="T16" fmla="*/ 205 w 209"/>
                <a:gd name="T17" fmla="*/ 101 h 209"/>
                <a:gd name="T18" fmla="*/ 209 w 209"/>
                <a:gd name="T19" fmla="*/ 105 h 209"/>
                <a:gd name="T20" fmla="*/ 104 w 209"/>
                <a:gd name="T21" fmla="*/ 209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9" h="209">
                  <a:moveTo>
                    <a:pt x="104" y="209"/>
                  </a:moveTo>
                  <a:cubicBezTo>
                    <a:pt x="47" y="209"/>
                    <a:pt x="0" y="162"/>
                    <a:pt x="0" y="105"/>
                  </a:cubicBezTo>
                  <a:cubicBezTo>
                    <a:pt x="0" y="47"/>
                    <a:pt x="47" y="0"/>
                    <a:pt x="104" y="0"/>
                  </a:cubicBezTo>
                  <a:cubicBezTo>
                    <a:pt x="106" y="0"/>
                    <a:pt x="108" y="2"/>
                    <a:pt x="108" y="4"/>
                  </a:cubicBezTo>
                  <a:cubicBezTo>
                    <a:pt x="108" y="6"/>
                    <a:pt x="106" y="7"/>
                    <a:pt x="104" y="7"/>
                  </a:cubicBezTo>
                  <a:cubicBezTo>
                    <a:pt x="51" y="7"/>
                    <a:pt x="7" y="51"/>
                    <a:pt x="7" y="105"/>
                  </a:cubicBezTo>
                  <a:cubicBezTo>
                    <a:pt x="7" y="158"/>
                    <a:pt x="51" y="202"/>
                    <a:pt x="104" y="202"/>
                  </a:cubicBezTo>
                  <a:cubicBezTo>
                    <a:pt x="158" y="202"/>
                    <a:pt x="201" y="158"/>
                    <a:pt x="201" y="105"/>
                  </a:cubicBezTo>
                  <a:cubicBezTo>
                    <a:pt x="201" y="103"/>
                    <a:pt x="203" y="101"/>
                    <a:pt x="205" y="101"/>
                  </a:cubicBezTo>
                  <a:cubicBezTo>
                    <a:pt x="207" y="101"/>
                    <a:pt x="209" y="103"/>
                    <a:pt x="209" y="105"/>
                  </a:cubicBezTo>
                  <a:cubicBezTo>
                    <a:pt x="209" y="162"/>
                    <a:pt x="162" y="209"/>
                    <a:pt x="104" y="20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6" name="Freeform 678">
              <a:extLst>
                <a:ext uri="{FF2B5EF4-FFF2-40B4-BE49-F238E27FC236}">
                  <a16:creationId xmlns:a16="http://schemas.microsoft.com/office/drawing/2014/main" id="{34457F32-A845-D7B0-4773-62FB7818FA4A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17550" y="5036237"/>
              <a:ext cx="450104" cy="450104"/>
            </a:xfrm>
            <a:custGeom>
              <a:avLst/>
              <a:gdLst>
                <a:gd name="T0" fmla="*/ 85 w 171"/>
                <a:gd name="T1" fmla="*/ 171 h 171"/>
                <a:gd name="T2" fmla="*/ 82 w 171"/>
                <a:gd name="T3" fmla="*/ 168 h 171"/>
                <a:gd name="T4" fmla="*/ 85 w 171"/>
                <a:gd name="T5" fmla="*/ 164 h 171"/>
                <a:gd name="T6" fmla="*/ 164 w 171"/>
                <a:gd name="T7" fmla="*/ 86 h 171"/>
                <a:gd name="T8" fmla="*/ 85 w 171"/>
                <a:gd name="T9" fmla="*/ 7 h 171"/>
                <a:gd name="T10" fmla="*/ 7 w 171"/>
                <a:gd name="T11" fmla="*/ 86 h 171"/>
                <a:gd name="T12" fmla="*/ 3 w 171"/>
                <a:gd name="T13" fmla="*/ 89 h 171"/>
                <a:gd name="T14" fmla="*/ 0 w 171"/>
                <a:gd name="T15" fmla="*/ 86 h 171"/>
                <a:gd name="T16" fmla="*/ 85 w 171"/>
                <a:gd name="T17" fmla="*/ 0 h 171"/>
                <a:gd name="T18" fmla="*/ 171 w 171"/>
                <a:gd name="T19" fmla="*/ 86 h 171"/>
                <a:gd name="T20" fmla="*/ 85 w 171"/>
                <a:gd name="T21" fmla="*/ 171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1" h="171">
                  <a:moveTo>
                    <a:pt x="85" y="171"/>
                  </a:moveTo>
                  <a:cubicBezTo>
                    <a:pt x="83" y="171"/>
                    <a:pt x="82" y="170"/>
                    <a:pt x="82" y="168"/>
                  </a:cubicBezTo>
                  <a:cubicBezTo>
                    <a:pt x="82" y="166"/>
                    <a:pt x="83" y="164"/>
                    <a:pt x="85" y="164"/>
                  </a:cubicBezTo>
                  <a:cubicBezTo>
                    <a:pt x="129" y="164"/>
                    <a:pt x="164" y="129"/>
                    <a:pt x="164" y="86"/>
                  </a:cubicBezTo>
                  <a:cubicBezTo>
                    <a:pt x="164" y="42"/>
                    <a:pt x="129" y="7"/>
                    <a:pt x="85" y="7"/>
                  </a:cubicBezTo>
                  <a:cubicBezTo>
                    <a:pt x="42" y="7"/>
                    <a:pt x="7" y="42"/>
                    <a:pt x="7" y="86"/>
                  </a:cubicBezTo>
                  <a:cubicBezTo>
                    <a:pt x="7" y="88"/>
                    <a:pt x="5" y="89"/>
                    <a:pt x="3" y="89"/>
                  </a:cubicBezTo>
                  <a:cubicBezTo>
                    <a:pt x="1" y="89"/>
                    <a:pt x="0" y="88"/>
                    <a:pt x="0" y="86"/>
                  </a:cubicBezTo>
                  <a:cubicBezTo>
                    <a:pt x="0" y="38"/>
                    <a:pt x="38" y="0"/>
                    <a:pt x="85" y="0"/>
                  </a:cubicBezTo>
                  <a:cubicBezTo>
                    <a:pt x="133" y="0"/>
                    <a:pt x="171" y="38"/>
                    <a:pt x="171" y="86"/>
                  </a:cubicBezTo>
                  <a:cubicBezTo>
                    <a:pt x="171" y="133"/>
                    <a:pt x="133" y="171"/>
                    <a:pt x="85" y="17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7" name="Freeform 679">
              <a:extLst>
                <a:ext uri="{FF2B5EF4-FFF2-40B4-BE49-F238E27FC236}">
                  <a16:creationId xmlns:a16="http://schemas.microsoft.com/office/drawing/2014/main" id="{C70C7C0F-487D-2310-7CEB-7BFAC1688608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02409" y="5078107"/>
              <a:ext cx="118632" cy="191906"/>
            </a:xfrm>
            <a:custGeom>
              <a:avLst/>
              <a:gdLst>
                <a:gd name="T0" fmla="*/ 42 w 46"/>
                <a:gd name="T1" fmla="*/ 73 h 73"/>
                <a:gd name="T2" fmla="*/ 41 w 46"/>
                <a:gd name="T3" fmla="*/ 73 h 73"/>
                <a:gd name="T4" fmla="*/ 2 w 46"/>
                <a:gd name="T5" fmla="*/ 53 h 73"/>
                <a:gd name="T6" fmla="*/ 1 w 46"/>
                <a:gd name="T7" fmla="*/ 49 h 73"/>
                <a:gd name="T8" fmla="*/ 6 w 46"/>
                <a:gd name="T9" fmla="*/ 47 h 73"/>
                <a:gd name="T10" fmla="*/ 39 w 46"/>
                <a:gd name="T11" fmla="*/ 64 h 73"/>
                <a:gd name="T12" fmla="*/ 39 w 46"/>
                <a:gd name="T13" fmla="*/ 4 h 73"/>
                <a:gd name="T14" fmla="*/ 42 w 46"/>
                <a:gd name="T15" fmla="*/ 0 h 73"/>
                <a:gd name="T16" fmla="*/ 46 w 46"/>
                <a:gd name="T17" fmla="*/ 4 h 73"/>
                <a:gd name="T18" fmla="*/ 46 w 46"/>
                <a:gd name="T19" fmla="*/ 70 h 73"/>
                <a:gd name="T20" fmla="*/ 44 w 46"/>
                <a:gd name="T21" fmla="*/ 73 h 73"/>
                <a:gd name="T22" fmla="*/ 42 w 46"/>
                <a:gd name="T23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" h="73">
                  <a:moveTo>
                    <a:pt x="42" y="73"/>
                  </a:moveTo>
                  <a:cubicBezTo>
                    <a:pt x="42" y="73"/>
                    <a:pt x="41" y="73"/>
                    <a:pt x="41" y="73"/>
                  </a:cubicBezTo>
                  <a:cubicBezTo>
                    <a:pt x="2" y="53"/>
                    <a:pt x="2" y="53"/>
                    <a:pt x="2" y="53"/>
                  </a:cubicBezTo>
                  <a:cubicBezTo>
                    <a:pt x="1" y="52"/>
                    <a:pt x="0" y="50"/>
                    <a:pt x="1" y="49"/>
                  </a:cubicBezTo>
                  <a:cubicBezTo>
                    <a:pt x="2" y="47"/>
                    <a:pt x="4" y="46"/>
                    <a:pt x="6" y="47"/>
                  </a:cubicBezTo>
                  <a:cubicBezTo>
                    <a:pt x="39" y="64"/>
                    <a:pt x="39" y="64"/>
                    <a:pt x="39" y="64"/>
                  </a:cubicBezTo>
                  <a:cubicBezTo>
                    <a:pt x="39" y="4"/>
                    <a:pt x="39" y="4"/>
                    <a:pt x="39" y="4"/>
                  </a:cubicBezTo>
                  <a:cubicBezTo>
                    <a:pt x="39" y="2"/>
                    <a:pt x="40" y="0"/>
                    <a:pt x="42" y="0"/>
                  </a:cubicBezTo>
                  <a:cubicBezTo>
                    <a:pt x="44" y="0"/>
                    <a:pt x="46" y="2"/>
                    <a:pt x="46" y="4"/>
                  </a:cubicBezTo>
                  <a:cubicBezTo>
                    <a:pt x="46" y="70"/>
                    <a:pt x="46" y="70"/>
                    <a:pt x="46" y="70"/>
                  </a:cubicBezTo>
                  <a:cubicBezTo>
                    <a:pt x="46" y="71"/>
                    <a:pt x="45" y="72"/>
                    <a:pt x="44" y="73"/>
                  </a:cubicBezTo>
                  <a:cubicBezTo>
                    <a:pt x="44" y="73"/>
                    <a:pt x="43" y="73"/>
                    <a:pt x="42" y="7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569440918"/>
      </p:ext>
    </p:extLst>
  </p:cSld>
  <p:clrMapOvr>
    <a:masterClrMapping/>
  </p:clrMapOvr>
</p:sld>
</file>

<file path=ppt/slides/slide2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298164-49E7-3D4C-78A7-A616B448B0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5E3481A-906C-FEFC-EE89-CB2075EDB7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E3481A-906C-FEFC-EE89-CB2075EDB7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A1FFBA2-0FFA-4FCA-693D-0CA2A40390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211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0AB6092-B12D-0E13-5423-BB0B54DE6C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Icons </a:t>
            </a:r>
          </a:p>
        </p:txBody>
      </p:sp>
      <p:grpSp>
        <p:nvGrpSpPr>
          <p:cNvPr id="28" name="Shape1_20200717_142329">
            <a:extLst>
              <a:ext uri="{FF2B5EF4-FFF2-40B4-BE49-F238E27FC236}">
                <a16:creationId xmlns:a16="http://schemas.microsoft.com/office/drawing/2014/main" id="{6EAA207C-6859-6D05-C8CF-07CD0F46B475}"/>
              </a:ext>
            </a:extLst>
          </p:cNvPr>
          <p:cNvGrpSpPr>
            <a:grpSpLocks noChangeAspect="1"/>
          </p:cNvGrpSpPr>
          <p:nvPr/>
        </p:nvGrpSpPr>
        <p:grpSpPr>
          <a:xfrm>
            <a:off x="8378467" y="2592677"/>
            <a:ext cx="657290" cy="472848"/>
            <a:chOff x="-5822950" y="3629026"/>
            <a:chExt cx="311150" cy="223838"/>
          </a:xfrm>
          <a:solidFill>
            <a:schemeClr val="accent1"/>
          </a:solidFill>
        </p:grpSpPr>
        <p:sp>
          <p:nvSpPr>
            <p:cNvPr id="189" name="Freeform 680">
              <a:extLst>
                <a:ext uri="{FF2B5EF4-FFF2-40B4-BE49-F238E27FC236}">
                  <a16:creationId xmlns:a16="http://schemas.microsoft.com/office/drawing/2014/main" id="{096D5670-D583-5B46-AAC3-8EA3887F7D9D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27688" y="3667126"/>
              <a:ext cx="68263" cy="73025"/>
            </a:xfrm>
            <a:custGeom>
              <a:avLst/>
              <a:gdLst>
                <a:gd name="T0" fmla="*/ 4 w 58"/>
                <a:gd name="T1" fmla="*/ 61 h 61"/>
                <a:gd name="T2" fmla="*/ 2 w 58"/>
                <a:gd name="T3" fmla="*/ 60 h 61"/>
                <a:gd name="T4" fmla="*/ 2 w 58"/>
                <a:gd name="T5" fmla="*/ 55 h 61"/>
                <a:gd name="T6" fmla="*/ 51 w 58"/>
                <a:gd name="T7" fmla="*/ 1 h 61"/>
                <a:gd name="T8" fmla="*/ 56 w 58"/>
                <a:gd name="T9" fmla="*/ 1 h 61"/>
                <a:gd name="T10" fmla="*/ 56 w 58"/>
                <a:gd name="T11" fmla="*/ 6 h 61"/>
                <a:gd name="T12" fmla="*/ 7 w 58"/>
                <a:gd name="T13" fmla="*/ 60 h 61"/>
                <a:gd name="T14" fmla="*/ 4 w 58"/>
                <a:gd name="T15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8" h="61">
                  <a:moveTo>
                    <a:pt x="4" y="61"/>
                  </a:moveTo>
                  <a:cubicBezTo>
                    <a:pt x="3" y="61"/>
                    <a:pt x="2" y="61"/>
                    <a:pt x="2" y="60"/>
                  </a:cubicBezTo>
                  <a:cubicBezTo>
                    <a:pt x="0" y="59"/>
                    <a:pt x="0" y="57"/>
                    <a:pt x="2" y="55"/>
                  </a:cubicBezTo>
                  <a:cubicBezTo>
                    <a:pt x="51" y="1"/>
                    <a:pt x="51" y="1"/>
                    <a:pt x="51" y="1"/>
                  </a:cubicBezTo>
                  <a:cubicBezTo>
                    <a:pt x="53" y="0"/>
                    <a:pt x="55" y="0"/>
                    <a:pt x="56" y="1"/>
                  </a:cubicBezTo>
                  <a:cubicBezTo>
                    <a:pt x="58" y="2"/>
                    <a:pt x="58" y="5"/>
                    <a:pt x="56" y="6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6" y="61"/>
                    <a:pt x="5" y="61"/>
                    <a:pt x="4" y="6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0" name="Freeform 681">
              <a:extLst>
                <a:ext uri="{FF2B5EF4-FFF2-40B4-BE49-F238E27FC236}">
                  <a16:creationId xmlns:a16="http://schemas.microsoft.com/office/drawing/2014/main" id="{FC1EA19C-041C-6793-0B0C-66A5C88BE101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99125" y="3713163"/>
              <a:ext cx="52388" cy="33338"/>
            </a:xfrm>
            <a:custGeom>
              <a:avLst/>
              <a:gdLst>
                <a:gd name="T0" fmla="*/ 38 w 43"/>
                <a:gd name="T1" fmla="*/ 27 h 27"/>
                <a:gd name="T2" fmla="*/ 37 w 43"/>
                <a:gd name="T3" fmla="*/ 27 h 27"/>
                <a:gd name="T4" fmla="*/ 2 w 43"/>
                <a:gd name="T5" fmla="*/ 7 h 27"/>
                <a:gd name="T6" fmla="*/ 1 w 43"/>
                <a:gd name="T7" fmla="*/ 2 h 27"/>
                <a:gd name="T8" fmla="*/ 5 w 43"/>
                <a:gd name="T9" fmla="*/ 1 h 27"/>
                <a:gd name="T10" fmla="*/ 40 w 43"/>
                <a:gd name="T11" fmla="*/ 21 h 27"/>
                <a:gd name="T12" fmla="*/ 42 w 43"/>
                <a:gd name="T13" fmla="*/ 26 h 27"/>
                <a:gd name="T14" fmla="*/ 38 w 43"/>
                <a:gd name="T15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3" h="27">
                  <a:moveTo>
                    <a:pt x="38" y="27"/>
                  </a:moveTo>
                  <a:cubicBezTo>
                    <a:pt x="38" y="27"/>
                    <a:pt x="37" y="27"/>
                    <a:pt x="37" y="2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0" y="6"/>
                    <a:pt x="0" y="4"/>
                    <a:pt x="1" y="2"/>
                  </a:cubicBezTo>
                  <a:cubicBezTo>
                    <a:pt x="1" y="0"/>
                    <a:pt x="4" y="0"/>
                    <a:pt x="5" y="1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2" y="22"/>
                    <a:pt x="43" y="24"/>
                    <a:pt x="42" y="26"/>
                  </a:cubicBezTo>
                  <a:cubicBezTo>
                    <a:pt x="41" y="27"/>
                    <a:pt x="40" y="27"/>
                    <a:pt x="38" y="2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1" name="Freeform 682">
              <a:extLst>
                <a:ext uri="{FF2B5EF4-FFF2-40B4-BE49-F238E27FC236}">
                  <a16:creationId xmlns:a16="http://schemas.microsoft.com/office/drawing/2014/main" id="{24B15D80-9255-2415-FDFF-5E11E75C9095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00725" y="3716338"/>
              <a:ext cx="80963" cy="76200"/>
            </a:xfrm>
            <a:custGeom>
              <a:avLst/>
              <a:gdLst>
                <a:gd name="T0" fmla="*/ 4 w 67"/>
                <a:gd name="T1" fmla="*/ 63 h 63"/>
                <a:gd name="T2" fmla="*/ 1 w 67"/>
                <a:gd name="T3" fmla="*/ 62 h 63"/>
                <a:gd name="T4" fmla="*/ 1 w 67"/>
                <a:gd name="T5" fmla="*/ 57 h 63"/>
                <a:gd name="T6" fmla="*/ 60 w 67"/>
                <a:gd name="T7" fmla="*/ 1 h 63"/>
                <a:gd name="T8" fmla="*/ 65 w 67"/>
                <a:gd name="T9" fmla="*/ 1 h 63"/>
                <a:gd name="T10" fmla="*/ 65 w 67"/>
                <a:gd name="T11" fmla="*/ 6 h 63"/>
                <a:gd name="T12" fmla="*/ 6 w 67"/>
                <a:gd name="T13" fmla="*/ 62 h 63"/>
                <a:gd name="T14" fmla="*/ 4 w 67"/>
                <a:gd name="T15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7" h="63">
                  <a:moveTo>
                    <a:pt x="4" y="63"/>
                  </a:moveTo>
                  <a:cubicBezTo>
                    <a:pt x="3" y="63"/>
                    <a:pt x="2" y="63"/>
                    <a:pt x="1" y="62"/>
                  </a:cubicBezTo>
                  <a:cubicBezTo>
                    <a:pt x="0" y="61"/>
                    <a:pt x="0" y="59"/>
                    <a:pt x="1" y="57"/>
                  </a:cubicBezTo>
                  <a:cubicBezTo>
                    <a:pt x="60" y="1"/>
                    <a:pt x="60" y="1"/>
                    <a:pt x="60" y="1"/>
                  </a:cubicBezTo>
                  <a:cubicBezTo>
                    <a:pt x="62" y="0"/>
                    <a:pt x="64" y="0"/>
                    <a:pt x="65" y="1"/>
                  </a:cubicBezTo>
                  <a:cubicBezTo>
                    <a:pt x="67" y="3"/>
                    <a:pt x="67" y="5"/>
                    <a:pt x="65" y="6"/>
                  </a:cubicBezTo>
                  <a:cubicBezTo>
                    <a:pt x="6" y="62"/>
                    <a:pt x="6" y="62"/>
                    <a:pt x="6" y="62"/>
                  </a:cubicBezTo>
                  <a:cubicBezTo>
                    <a:pt x="6" y="63"/>
                    <a:pt x="5" y="63"/>
                    <a:pt x="4" y="6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2" name="Freeform 683">
              <a:extLst>
                <a:ext uri="{FF2B5EF4-FFF2-40B4-BE49-F238E27FC236}">
                  <a16:creationId xmlns:a16="http://schemas.microsoft.com/office/drawing/2014/main" id="{9A83FB63-6453-89D6-160A-967D78241D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734050" y="3686176"/>
              <a:ext cx="44450" cy="44450"/>
            </a:xfrm>
            <a:custGeom>
              <a:avLst/>
              <a:gdLst>
                <a:gd name="T0" fmla="*/ 19 w 37"/>
                <a:gd name="T1" fmla="*/ 37 h 37"/>
                <a:gd name="T2" fmla="*/ 0 w 37"/>
                <a:gd name="T3" fmla="*/ 19 h 37"/>
                <a:gd name="T4" fmla="*/ 19 w 37"/>
                <a:gd name="T5" fmla="*/ 0 h 37"/>
                <a:gd name="T6" fmla="*/ 37 w 37"/>
                <a:gd name="T7" fmla="*/ 19 h 37"/>
                <a:gd name="T8" fmla="*/ 19 w 37"/>
                <a:gd name="T9" fmla="*/ 37 h 37"/>
                <a:gd name="T10" fmla="*/ 19 w 37"/>
                <a:gd name="T11" fmla="*/ 7 h 37"/>
                <a:gd name="T12" fmla="*/ 7 w 37"/>
                <a:gd name="T13" fmla="*/ 19 h 37"/>
                <a:gd name="T14" fmla="*/ 19 w 37"/>
                <a:gd name="T15" fmla="*/ 30 h 37"/>
                <a:gd name="T16" fmla="*/ 30 w 37"/>
                <a:gd name="T17" fmla="*/ 19 h 37"/>
                <a:gd name="T18" fmla="*/ 19 w 37"/>
                <a:gd name="T19" fmla="*/ 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" h="37">
                  <a:moveTo>
                    <a:pt x="19" y="37"/>
                  </a:moveTo>
                  <a:cubicBezTo>
                    <a:pt x="8" y="37"/>
                    <a:pt x="0" y="29"/>
                    <a:pt x="0" y="19"/>
                  </a:cubicBezTo>
                  <a:cubicBezTo>
                    <a:pt x="0" y="8"/>
                    <a:pt x="8" y="0"/>
                    <a:pt x="19" y="0"/>
                  </a:cubicBezTo>
                  <a:cubicBezTo>
                    <a:pt x="29" y="0"/>
                    <a:pt x="37" y="8"/>
                    <a:pt x="37" y="19"/>
                  </a:cubicBezTo>
                  <a:cubicBezTo>
                    <a:pt x="37" y="29"/>
                    <a:pt x="29" y="37"/>
                    <a:pt x="19" y="37"/>
                  </a:cubicBezTo>
                  <a:close/>
                  <a:moveTo>
                    <a:pt x="19" y="7"/>
                  </a:moveTo>
                  <a:cubicBezTo>
                    <a:pt x="12" y="7"/>
                    <a:pt x="7" y="12"/>
                    <a:pt x="7" y="19"/>
                  </a:cubicBezTo>
                  <a:cubicBezTo>
                    <a:pt x="7" y="25"/>
                    <a:pt x="12" y="30"/>
                    <a:pt x="19" y="30"/>
                  </a:cubicBezTo>
                  <a:cubicBezTo>
                    <a:pt x="25" y="30"/>
                    <a:pt x="30" y="25"/>
                    <a:pt x="30" y="19"/>
                  </a:cubicBezTo>
                  <a:cubicBezTo>
                    <a:pt x="30" y="12"/>
                    <a:pt x="25" y="7"/>
                    <a:pt x="19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3" name="Freeform 684">
              <a:extLst>
                <a:ext uri="{FF2B5EF4-FFF2-40B4-BE49-F238E27FC236}">
                  <a16:creationId xmlns:a16="http://schemas.microsoft.com/office/drawing/2014/main" id="{C1B9AF59-4E7A-4014-02C0-09F2DA254D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659438" y="3729038"/>
              <a:ext cx="46038" cy="44450"/>
            </a:xfrm>
            <a:custGeom>
              <a:avLst/>
              <a:gdLst>
                <a:gd name="T0" fmla="*/ 19 w 38"/>
                <a:gd name="T1" fmla="*/ 37 h 37"/>
                <a:gd name="T2" fmla="*/ 0 w 38"/>
                <a:gd name="T3" fmla="*/ 19 h 37"/>
                <a:gd name="T4" fmla="*/ 19 w 38"/>
                <a:gd name="T5" fmla="*/ 0 h 37"/>
                <a:gd name="T6" fmla="*/ 38 w 38"/>
                <a:gd name="T7" fmla="*/ 19 h 37"/>
                <a:gd name="T8" fmla="*/ 19 w 38"/>
                <a:gd name="T9" fmla="*/ 37 h 37"/>
                <a:gd name="T10" fmla="*/ 19 w 38"/>
                <a:gd name="T11" fmla="*/ 7 h 37"/>
                <a:gd name="T12" fmla="*/ 8 w 38"/>
                <a:gd name="T13" fmla="*/ 19 h 37"/>
                <a:gd name="T14" fmla="*/ 19 w 38"/>
                <a:gd name="T15" fmla="*/ 30 h 37"/>
                <a:gd name="T16" fmla="*/ 31 w 38"/>
                <a:gd name="T17" fmla="*/ 19 h 37"/>
                <a:gd name="T18" fmla="*/ 19 w 38"/>
                <a:gd name="T19" fmla="*/ 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" h="37">
                  <a:moveTo>
                    <a:pt x="19" y="37"/>
                  </a:moveTo>
                  <a:cubicBezTo>
                    <a:pt x="9" y="37"/>
                    <a:pt x="0" y="29"/>
                    <a:pt x="0" y="19"/>
                  </a:cubicBezTo>
                  <a:cubicBezTo>
                    <a:pt x="0" y="8"/>
                    <a:pt x="9" y="0"/>
                    <a:pt x="19" y="0"/>
                  </a:cubicBezTo>
                  <a:cubicBezTo>
                    <a:pt x="29" y="0"/>
                    <a:pt x="38" y="8"/>
                    <a:pt x="38" y="19"/>
                  </a:cubicBezTo>
                  <a:cubicBezTo>
                    <a:pt x="38" y="29"/>
                    <a:pt x="29" y="37"/>
                    <a:pt x="19" y="37"/>
                  </a:cubicBezTo>
                  <a:close/>
                  <a:moveTo>
                    <a:pt x="19" y="7"/>
                  </a:moveTo>
                  <a:cubicBezTo>
                    <a:pt x="13" y="7"/>
                    <a:pt x="8" y="12"/>
                    <a:pt x="8" y="19"/>
                  </a:cubicBezTo>
                  <a:cubicBezTo>
                    <a:pt x="8" y="25"/>
                    <a:pt x="13" y="30"/>
                    <a:pt x="19" y="30"/>
                  </a:cubicBezTo>
                  <a:cubicBezTo>
                    <a:pt x="25" y="30"/>
                    <a:pt x="31" y="25"/>
                    <a:pt x="31" y="19"/>
                  </a:cubicBezTo>
                  <a:cubicBezTo>
                    <a:pt x="31" y="12"/>
                    <a:pt x="25" y="7"/>
                    <a:pt x="19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4" name="Freeform 685">
              <a:extLst>
                <a:ext uri="{FF2B5EF4-FFF2-40B4-BE49-F238E27FC236}">
                  <a16:creationId xmlns:a16="http://schemas.microsoft.com/office/drawing/2014/main" id="{1655E643-CA2D-8830-D8CB-064710B916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573713" y="3635376"/>
              <a:ext cx="46038" cy="44450"/>
            </a:xfrm>
            <a:custGeom>
              <a:avLst/>
              <a:gdLst>
                <a:gd name="T0" fmla="*/ 19 w 38"/>
                <a:gd name="T1" fmla="*/ 37 h 37"/>
                <a:gd name="T2" fmla="*/ 0 w 38"/>
                <a:gd name="T3" fmla="*/ 19 h 37"/>
                <a:gd name="T4" fmla="*/ 19 w 38"/>
                <a:gd name="T5" fmla="*/ 0 h 37"/>
                <a:gd name="T6" fmla="*/ 38 w 38"/>
                <a:gd name="T7" fmla="*/ 19 h 37"/>
                <a:gd name="T8" fmla="*/ 19 w 38"/>
                <a:gd name="T9" fmla="*/ 37 h 37"/>
                <a:gd name="T10" fmla="*/ 19 w 38"/>
                <a:gd name="T11" fmla="*/ 7 h 37"/>
                <a:gd name="T12" fmla="*/ 7 w 38"/>
                <a:gd name="T13" fmla="*/ 19 h 37"/>
                <a:gd name="T14" fmla="*/ 19 w 38"/>
                <a:gd name="T15" fmla="*/ 30 h 37"/>
                <a:gd name="T16" fmla="*/ 30 w 38"/>
                <a:gd name="T17" fmla="*/ 19 h 37"/>
                <a:gd name="T18" fmla="*/ 19 w 38"/>
                <a:gd name="T19" fmla="*/ 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" h="37">
                  <a:moveTo>
                    <a:pt x="19" y="37"/>
                  </a:moveTo>
                  <a:cubicBezTo>
                    <a:pt x="9" y="37"/>
                    <a:pt x="0" y="29"/>
                    <a:pt x="0" y="19"/>
                  </a:cubicBezTo>
                  <a:cubicBezTo>
                    <a:pt x="0" y="8"/>
                    <a:pt x="9" y="0"/>
                    <a:pt x="19" y="0"/>
                  </a:cubicBezTo>
                  <a:cubicBezTo>
                    <a:pt x="29" y="0"/>
                    <a:pt x="38" y="8"/>
                    <a:pt x="38" y="19"/>
                  </a:cubicBezTo>
                  <a:cubicBezTo>
                    <a:pt x="38" y="29"/>
                    <a:pt x="29" y="37"/>
                    <a:pt x="19" y="37"/>
                  </a:cubicBezTo>
                  <a:close/>
                  <a:moveTo>
                    <a:pt x="19" y="7"/>
                  </a:moveTo>
                  <a:cubicBezTo>
                    <a:pt x="13" y="7"/>
                    <a:pt x="7" y="12"/>
                    <a:pt x="7" y="19"/>
                  </a:cubicBezTo>
                  <a:cubicBezTo>
                    <a:pt x="7" y="25"/>
                    <a:pt x="13" y="30"/>
                    <a:pt x="19" y="30"/>
                  </a:cubicBezTo>
                  <a:cubicBezTo>
                    <a:pt x="25" y="30"/>
                    <a:pt x="30" y="25"/>
                    <a:pt x="30" y="19"/>
                  </a:cubicBezTo>
                  <a:cubicBezTo>
                    <a:pt x="30" y="12"/>
                    <a:pt x="25" y="7"/>
                    <a:pt x="19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5" name="Freeform 686">
              <a:extLst>
                <a:ext uri="{FF2B5EF4-FFF2-40B4-BE49-F238E27FC236}">
                  <a16:creationId xmlns:a16="http://schemas.microsoft.com/office/drawing/2014/main" id="{D8E70700-B13A-661B-AAA8-B3E1D438FF53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02313" y="3629026"/>
              <a:ext cx="290513" cy="204788"/>
            </a:xfrm>
            <a:custGeom>
              <a:avLst/>
              <a:gdLst>
                <a:gd name="T0" fmla="*/ 240 w 243"/>
                <a:gd name="T1" fmla="*/ 171 h 171"/>
                <a:gd name="T2" fmla="*/ 3 w 243"/>
                <a:gd name="T3" fmla="*/ 171 h 171"/>
                <a:gd name="T4" fmla="*/ 0 w 243"/>
                <a:gd name="T5" fmla="*/ 167 h 171"/>
                <a:gd name="T6" fmla="*/ 0 w 243"/>
                <a:gd name="T7" fmla="*/ 4 h 171"/>
                <a:gd name="T8" fmla="*/ 3 w 243"/>
                <a:gd name="T9" fmla="*/ 0 h 171"/>
                <a:gd name="T10" fmla="*/ 7 w 243"/>
                <a:gd name="T11" fmla="*/ 4 h 171"/>
                <a:gd name="T12" fmla="*/ 7 w 243"/>
                <a:gd name="T13" fmla="*/ 164 h 171"/>
                <a:gd name="T14" fmla="*/ 240 w 243"/>
                <a:gd name="T15" fmla="*/ 164 h 171"/>
                <a:gd name="T16" fmla="*/ 243 w 243"/>
                <a:gd name="T17" fmla="*/ 167 h 171"/>
                <a:gd name="T18" fmla="*/ 240 w 243"/>
                <a:gd name="T19" fmla="*/ 171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3" h="171">
                  <a:moveTo>
                    <a:pt x="240" y="171"/>
                  </a:moveTo>
                  <a:cubicBezTo>
                    <a:pt x="3" y="171"/>
                    <a:pt x="3" y="171"/>
                    <a:pt x="3" y="171"/>
                  </a:cubicBezTo>
                  <a:cubicBezTo>
                    <a:pt x="1" y="171"/>
                    <a:pt x="0" y="169"/>
                    <a:pt x="0" y="167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164"/>
                    <a:pt x="7" y="164"/>
                    <a:pt x="7" y="164"/>
                  </a:cubicBezTo>
                  <a:cubicBezTo>
                    <a:pt x="240" y="164"/>
                    <a:pt x="240" y="164"/>
                    <a:pt x="240" y="164"/>
                  </a:cubicBezTo>
                  <a:cubicBezTo>
                    <a:pt x="242" y="164"/>
                    <a:pt x="243" y="165"/>
                    <a:pt x="243" y="167"/>
                  </a:cubicBezTo>
                  <a:cubicBezTo>
                    <a:pt x="243" y="169"/>
                    <a:pt x="242" y="171"/>
                    <a:pt x="240" y="17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6" name="Freeform 687">
              <a:extLst>
                <a:ext uri="{FF2B5EF4-FFF2-40B4-BE49-F238E27FC236}">
                  <a16:creationId xmlns:a16="http://schemas.microsoft.com/office/drawing/2014/main" id="{66A26401-84F3-19C6-3C87-182662744A55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22950" y="3629026"/>
              <a:ext cx="47625" cy="28575"/>
            </a:xfrm>
            <a:custGeom>
              <a:avLst/>
              <a:gdLst>
                <a:gd name="T0" fmla="*/ 36 w 40"/>
                <a:gd name="T1" fmla="*/ 23 h 24"/>
                <a:gd name="T2" fmla="*/ 34 w 40"/>
                <a:gd name="T3" fmla="*/ 22 h 24"/>
                <a:gd name="T4" fmla="*/ 20 w 40"/>
                <a:gd name="T5" fmla="*/ 9 h 24"/>
                <a:gd name="T6" fmla="*/ 7 w 40"/>
                <a:gd name="T7" fmla="*/ 22 h 24"/>
                <a:gd name="T8" fmla="*/ 2 w 40"/>
                <a:gd name="T9" fmla="*/ 22 h 24"/>
                <a:gd name="T10" fmla="*/ 2 w 40"/>
                <a:gd name="T11" fmla="*/ 17 h 24"/>
                <a:gd name="T12" fmla="*/ 18 w 40"/>
                <a:gd name="T13" fmla="*/ 1 h 24"/>
                <a:gd name="T14" fmla="*/ 23 w 40"/>
                <a:gd name="T15" fmla="*/ 1 h 24"/>
                <a:gd name="T16" fmla="*/ 39 w 40"/>
                <a:gd name="T17" fmla="*/ 17 h 24"/>
                <a:gd name="T18" fmla="*/ 39 w 40"/>
                <a:gd name="T19" fmla="*/ 22 h 24"/>
                <a:gd name="T20" fmla="*/ 36 w 40"/>
                <a:gd name="T21" fmla="*/ 2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0" h="24">
                  <a:moveTo>
                    <a:pt x="36" y="23"/>
                  </a:moveTo>
                  <a:cubicBezTo>
                    <a:pt x="35" y="23"/>
                    <a:pt x="34" y="23"/>
                    <a:pt x="34" y="22"/>
                  </a:cubicBezTo>
                  <a:cubicBezTo>
                    <a:pt x="20" y="9"/>
                    <a:pt x="20" y="9"/>
                    <a:pt x="20" y="9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6" y="24"/>
                    <a:pt x="3" y="24"/>
                    <a:pt x="2" y="22"/>
                  </a:cubicBezTo>
                  <a:cubicBezTo>
                    <a:pt x="0" y="21"/>
                    <a:pt x="0" y="18"/>
                    <a:pt x="2" y="17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9" y="0"/>
                    <a:pt x="22" y="0"/>
                    <a:pt x="23" y="1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40" y="18"/>
                    <a:pt x="40" y="21"/>
                    <a:pt x="39" y="22"/>
                  </a:cubicBezTo>
                  <a:cubicBezTo>
                    <a:pt x="38" y="23"/>
                    <a:pt x="37" y="23"/>
                    <a:pt x="36" y="2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7" name="Freeform 688">
              <a:extLst>
                <a:ext uri="{FF2B5EF4-FFF2-40B4-BE49-F238E27FC236}">
                  <a16:creationId xmlns:a16="http://schemas.microsoft.com/office/drawing/2014/main" id="{BB630C14-D154-4A65-C360-FECE09A7E79A}"/>
                </a:ext>
              </a:extLst>
            </p:cNvPr>
            <p:cNvSpPr>
              <a:spLocks/>
            </p:cNvSpPr>
            <p:nvPr/>
          </p:nvSpPr>
          <p:spPr bwMode="auto">
            <a:xfrm>
              <a:off x="-5540375" y="3803651"/>
              <a:ext cx="28575" cy="49213"/>
            </a:xfrm>
            <a:custGeom>
              <a:avLst/>
              <a:gdLst>
                <a:gd name="T0" fmla="*/ 4 w 23"/>
                <a:gd name="T1" fmla="*/ 40 h 40"/>
                <a:gd name="T2" fmla="*/ 1 w 23"/>
                <a:gd name="T3" fmla="*/ 39 h 40"/>
                <a:gd name="T4" fmla="*/ 1 w 23"/>
                <a:gd name="T5" fmla="*/ 34 h 40"/>
                <a:gd name="T6" fmla="*/ 15 w 23"/>
                <a:gd name="T7" fmla="*/ 20 h 40"/>
                <a:gd name="T8" fmla="*/ 1 w 23"/>
                <a:gd name="T9" fmla="*/ 7 h 40"/>
                <a:gd name="T10" fmla="*/ 1 w 23"/>
                <a:gd name="T11" fmla="*/ 2 h 40"/>
                <a:gd name="T12" fmla="*/ 6 w 23"/>
                <a:gd name="T13" fmla="*/ 2 h 40"/>
                <a:gd name="T14" fmla="*/ 22 w 23"/>
                <a:gd name="T15" fmla="*/ 18 h 40"/>
                <a:gd name="T16" fmla="*/ 23 w 23"/>
                <a:gd name="T17" fmla="*/ 20 h 40"/>
                <a:gd name="T18" fmla="*/ 22 w 23"/>
                <a:gd name="T19" fmla="*/ 23 h 40"/>
                <a:gd name="T20" fmla="*/ 6 w 23"/>
                <a:gd name="T21" fmla="*/ 39 h 40"/>
                <a:gd name="T22" fmla="*/ 4 w 23"/>
                <a:gd name="T2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40">
                  <a:moveTo>
                    <a:pt x="4" y="40"/>
                  </a:moveTo>
                  <a:cubicBezTo>
                    <a:pt x="3" y="40"/>
                    <a:pt x="2" y="39"/>
                    <a:pt x="1" y="39"/>
                  </a:cubicBezTo>
                  <a:cubicBezTo>
                    <a:pt x="0" y="37"/>
                    <a:pt x="0" y="35"/>
                    <a:pt x="1" y="34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5"/>
                    <a:pt x="0" y="3"/>
                    <a:pt x="1" y="2"/>
                  </a:cubicBezTo>
                  <a:cubicBezTo>
                    <a:pt x="3" y="0"/>
                    <a:pt x="5" y="0"/>
                    <a:pt x="6" y="2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3" y="18"/>
                    <a:pt x="23" y="19"/>
                    <a:pt x="23" y="20"/>
                  </a:cubicBezTo>
                  <a:cubicBezTo>
                    <a:pt x="23" y="21"/>
                    <a:pt x="23" y="22"/>
                    <a:pt x="22" y="23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6" y="39"/>
                    <a:pt x="5" y="40"/>
                    <a:pt x="4" y="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29" name="Shape2_20200717_142329">
            <a:extLst>
              <a:ext uri="{FF2B5EF4-FFF2-40B4-BE49-F238E27FC236}">
                <a16:creationId xmlns:a16="http://schemas.microsoft.com/office/drawing/2014/main" id="{23D748DA-90DF-EA6B-E093-12E5A5BD09E9}"/>
              </a:ext>
            </a:extLst>
          </p:cNvPr>
          <p:cNvGrpSpPr>
            <a:grpSpLocks noChangeAspect="1"/>
          </p:cNvGrpSpPr>
          <p:nvPr/>
        </p:nvGrpSpPr>
        <p:grpSpPr>
          <a:xfrm>
            <a:off x="8430446" y="1245203"/>
            <a:ext cx="553332" cy="556686"/>
            <a:chOff x="-7478713" y="2998788"/>
            <a:chExt cx="261938" cy="263525"/>
          </a:xfrm>
          <a:solidFill>
            <a:schemeClr val="accent1"/>
          </a:solidFill>
        </p:grpSpPr>
        <p:sp>
          <p:nvSpPr>
            <p:cNvPr id="187" name="Freeform 689">
              <a:extLst>
                <a:ext uri="{FF2B5EF4-FFF2-40B4-BE49-F238E27FC236}">
                  <a16:creationId xmlns:a16="http://schemas.microsoft.com/office/drawing/2014/main" id="{1780545C-0F87-33ED-3273-10B3E192B2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416800" y="3062288"/>
              <a:ext cx="138113" cy="138113"/>
            </a:xfrm>
            <a:custGeom>
              <a:avLst/>
              <a:gdLst>
                <a:gd name="T0" fmla="*/ 58 w 116"/>
                <a:gd name="T1" fmla="*/ 116 h 116"/>
                <a:gd name="T2" fmla="*/ 0 w 116"/>
                <a:gd name="T3" fmla="*/ 58 h 116"/>
                <a:gd name="T4" fmla="*/ 58 w 116"/>
                <a:gd name="T5" fmla="*/ 0 h 116"/>
                <a:gd name="T6" fmla="*/ 116 w 116"/>
                <a:gd name="T7" fmla="*/ 58 h 116"/>
                <a:gd name="T8" fmla="*/ 58 w 116"/>
                <a:gd name="T9" fmla="*/ 116 h 116"/>
                <a:gd name="T10" fmla="*/ 58 w 116"/>
                <a:gd name="T11" fmla="*/ 7 h 116"/>
                <a:gd name="T12" fmla="*/ 7 w 116"/>
                <a:gd name="T13" fmla="*/ 58 h 116"/>
                <a:gd name="T14" fmla="*/ 58 w 116"/>
                <a:gd name="T15" fmla="*/ 109 h 116"/>
                <a:gd name="T16" fmla="*/ 109 w 116"/>
                <a:gd name="T17" fmla="*/ 58 h 116"/>
                <a:gd name="T18" fmla="*/ 58 w 116"/>
                <a:gd name="T19" fmla="*/ 7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" h="116">
                  <a:moveTo>
                    <a:pt x="58" y="116"/>
                  </a:moveTo>
                  <a:cubicBezTo>
                    <a:pt x="26" y="116"/>
                    <a:pt x="0" y="90"/>
                    <a:pt x="0" y="58"/>
                  </a:cubicBezTo>
                  <a:cubicBezTo>
                    <a:pt x="0" y="26"/>
                    <a:pt x="26" y="0"/>
                    <a:pt x="58" y="0"/>
                  </a:cubicBezTo>
                  <a:cubicBezTo>
                    <a:pt x="90" y="0"/>
                    <a:pt x="116" y="26"/>
                    <a:pt x="116" y="58"/>
                  </a:cubicBezTo>
                  <a:cubicBezTo>
                    <a:pt x="116" y="90"/>
                    <a:pt x="90" y="116"/>
                    <a:pt x="58" y="116"/>
                  </a:cubicBezTo>
                  <a:close/>
                  <a:moveTo>
                    <a:pt x="58" y="7"/>
                  </a:moveTo>
                  <a:cubicBezTo>
                    <a:pt x="30" y="7"/>
                    <a:pt x="7" y="30"/>
                    <a:pt x="7" y="58"/>
                  </a:cubicBezTo>
                  <a:cubicBezTo>
                    <a:pt x="7" y="86"/>
                    <a:pt x="30" y="109"/>
                    <a:pt x="58" y="109"/>
                  </a:cubicBezTo>
                  <a:cubicBezTo>
                    <a:pt x="86" y="109"/>
                    <a:pt x="109" y="86"/>
                    <a:pt x="109" y="58"/>
                  </a:cubicBezTo>
                  <a:cubicBezTo>
                    <a:pt x="109" y="30"/>
                    <a:pt x="86" y="7"/>
                    <a:pt x="58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8" name="Freeform 690">
              <a:extLst>
                <a:ext uri="{FF2B5EF4-FFF2-40B4-BE49-F238E27FC236}">
                  <a16:creationId xmlns:a16="http://schemas.microsoft.com/office/drawing/2014/main" id="{41F444ED-087D-9A14-52CC-C523C5132D6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478713" y="2998788"/>
              <a:ext cx="261938" cy="263525"/>
            </a:xfrm>
            <a:custGeom>
              <a:avLst/>
              <a:gdLst>
                <a:gd name="T0" fmla="*/ 103 w 220"/>
                <a:gd name="T1" fmla="*/ 220 h 220"/>
                <a:gd name="T2" fmla="*/ 87 w 220"/>
                <a:gd name="T3" fmla="*/ 193 h 220"/>
                <a:gd name="T4" fmla="*/ 60 w 220"/>
                <a:gd name="T5" fmla="*/ 192 h 220"/>
                <a:gd name="T6" fmla="*/ 36 w 220"/>
                <a:gd name="T7" fmla="*/ 192 h 220"/>
                <a:gd name="T8" fmla="*/ 28 w 220"/>
                <a:gd name="T9" fmla="*/ 160 h 220"/>
                <a:gd name="T10" fmla="*/ 27 w 220"/>
                <a:gd name="T11" fmla="*/ 133 h 220"/>
                <a:gd name="T12" fmla="*/ 0 w 220"/>
                <a:gd name="T13" fmla="*/ 116 h 220"/>
                <a:gd name="T14" fmla="*/ 16 w 220"/>
                <a:gd name="T15" fmla="*/ 87 h 220"/>
                <a:gd name="T16" fmla="*/ 35 w 220"/>
                <a:gd name="T17" fmla="*/ 67 h 220"/>
                <a:gd name="T18" fmla="*/ 28 w 220"/>
                <a:gd name="T19" fmla="*/ 37 h 220"/>
                <a:gd name="T20" fmla="*/ 60 w 220"/>
                <a:gd name="T21" fmla="*/ 28 h 220"/>
                <a:gd name="T22" fmla="*/ 87 w 220"/>
                <a:gd name="T23" fmla="*/ 27 h 220"/>
                <a:gd name="T24" fmla="*/ 103 w 220"/>
                <a:gd name="T25" fmla="*/ 0 h 220"/>
                <a:gd name="T26" fmla="*/ 132 w 220"/>
                <a:gd name="T27" fmla="*/ 16 h 220"/>
                <a:gd name="T28" fmla="*/ 152 w 220"/>
                <a:gd name="T29" fmla="*/ 35 h 220"/>
                <a:gd name="T30" fmla="*/ 183 w 220"/>
                <a:gd name="T31" fmla="*/ 28 h 220"/>
                <a:gd name="T32" fmla="*/ 197 w 220"/>
                <a:gd name="T33" fmla="*/ 48 h 220"/>
                <a:gd name="T34" fmla="*/ 184 w 220"/>
                <a:gd name="T35" fmla="*/ 67 h 220"/>
                <a:gd name="T36" fmla="*/ 203 w 220"/>
                <a:gd name="T37" fmla="*/ 87 h 220"/>
                <a:gd name="T38" fmla="*/ 220 w 220"/>
                <a:gd name="T39" fmla="*/ 116 h 220"/>
                <a:gd name="T40" fmla="*/ 192 w 220"/>
                <a:gd name="T41" fmla="*/ 133 h 220"/>
                <a:gd name="T42" fmla="*/ 192 w 220"/>
                <a:gd name="T43" fmla="*/ 160 h 220"/>
                <a:gd name="T44" fmla="*/ 192 w 220"/>
                <a:gd name="T45" fmla="*/ 183 h 220"/>
                <a:gd name="T46" fmla="*/ 171 w 220"/>
                <a:gd name="T47" fmla="*/ 197 h 220"/>
                <a:gd name="T48" fmla="*/ 152 w 220"/>
                <a:gd name="T49" fmla="*/ 184 h 220"/>
                <a:gd name="T50" fmla="*/ 132 w 220"/>
                <a:gd name="T51" fmla="*/ 203 h 220"/>
                <a:gd name="T52" fmla="*/ 69 w 220"/>
                <a:gd name="T53" fmla="*/ 177 h 220"/>
                <a:gd name="T54" fmla="*/ 94 w 220"/>
                <a:gd name="T55" fmla="*/ 190 h 220"/>
                <a:gd name="T56" fmla="*/ 103 w 220"/>
                <a:gd name="T57" fmla="*/ 213 h 220"/>
                <a:gd name="T58" fmla="*/ 125 w 220"/>
                <a:gd name="T59" fmla="*/ 203 h 220"/>
                <a:gd name="T60" fmla="*/ 128 w 220"/>
                <a:gd name="T61" fmla="*/ 186 h 220"/>
                <a:gd name="T62" fmla="*/ 156 w 220"/>
                <a:gd name="T63" fmla="*/ 178 h 220"/>
                <a:gd name="T64" fmla="*/ 178 w 220"/>
                <a:gd name="T65" fmla="*/ 187 h 220"/>
                <a:gd name="T66" fmla="*/ 189 w 220"/>
                <a:gd name="T67" fmla="*/ 172 h 220"/>
                <a:gd name="T68" fmla="*/ 177 w 220"/>
                <a:gd name="T69" fmla="*/ 156 h 220"/>
                <a:gd name="T70" fmla="*/ 177 w 220"/>
                <a:gd name="T71" fmla="*/ 151 h 220"/>
                <a:gd name="T72" fmla="*/ 190 w 220"/>
                <a:gd name="T73" fmla="*/ 125 h 220"/>
                <a:gd name="T74" fmla="*/ 212 w 220"/>
                <a:gd name="T75" fmla="*/ 116 h 220"/>
                <a:gd name="T76" fmla="*/ 203 w 220"/>
                <a:gd name="T77" fmla="*/ 94 h 220"/>
                <a:gd name="T78" fmla="*/ 186 w 220"/>
                <a:gd name="T79" fmla="*/ 92 h 220"/>
                <a:gd name="T80" fmla="*/ 177 w 220"/>
                <a:gd name="T81" fmla="*/ 64 h 220"/>
                <a:gd name="T82" fmla="*/ 189 w 220"/>
                <a:gd name="T83" fmla="*/ 48 h 220"/>
                <a:gd name="T84" fmla="*/ 178 w 220"/>
                <a:gd name="T85" fmla="*/ 33 h 220"/>
                <a:gd name="T86" fmla="*/ 155 w 220"/>
                <a:gd name="T87" fmla="*/ 42 h 220"/>
                <a:gd name="T88" fmla="*/ 128 w 220"/>
                <a:gd name="T89" fmla="*/ 33 h 220"/>
                <a:gd name="T90" fmla="*/ 125 w 220"/>
                <a:gd name="T91" fmla="*/ 16 h 220"/>
                <a:gd name="T92" fmla="*/ 103 w 220"/>
                <a:gd name="T93" fmla="*/ 7 h 220"/>
                <a:gd name="T94" fmla="*/ 94 w 220"/>
                <a:gd name="T95" fmla="*/ 30 h 220"/>
                <a:gd name="T96" fmla="*/ 69 w 220"/>
                <a:gd name="T97" fmla="*/ 43 h 220"/>
                <a:gd name="T98" fmla="*/ 55 w 220"/>
                <a:gd name="T99" fmla="*/ 33 h 220"/>
                <a:gd name="T100" fmla="*/ 33 w 220"/>
                <a:gd name="T101" fmla="*/ 42 h 220"/>
                <a:gd name="T102" fmla="*/ 42 w 220"/>
                <a:gd name="T103" fmla="*/ 64 h 220"/>
                <a:gd name="T104" fmla="*/ 33 w 220"/>
                <a:gd name="T105" fmla="*/ 92 h 220"/>
                <a:gd name="T106" fmla="*/ 16 w 220"/>
                <a:gd name="T107" fmla="*/ 94 h 220"/>
                <a:gd name="T108" fmla="*/ 7 w 220"/>
                <a:gd name="T109" fmla="*/ 116 h 220"/>
                <a:gd name="T110" fmla="*/ 30 w 220"/>
                <a:gd name="T111" fmla="*/ 125 h 220"/>
                <a:gd name="T112" fmla="*/ 43 w 220"/>
                <a:gd name="T113" fmla="*/ 151 h 220"/>
                <a:gd name="T114" fmla="*/ 33 w 220"/>
                <a:gd name="T115" fmla="*/ 165 h 220"/>
                <a:gd name="T116" fmla="*/ 42 w 220"/>
                <a:gd name="T117" fmla="*/ 187 h 220"/>
                <a:gd name="T118" fmla="*/ 64 w 220"/>
                <a:gd name="T119" fmla="*/ 178 h 220"/>
                <a:gd name="T120" fmla="*/ 69 w 220"/>
                <a:gd name="T121" fmla="*/ 177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20" h="220">
                  <a:moveTo>
                    <a:pt x="116" y="220"/>
                  </a:moveTo>
                  <a:cubicBezTo>
                    <a:pt x="103" y="220"/>
                    <a:pt x="103" y="220"/>
                    <a:pt x="103" y="220"/>
                  </a:cubicBezTo>
                  <a:cubicBezTo>
                    <a:pt x="94" y="220"/>
                    <a:pt x="87" y="212"/>
                    <a:pt x="87" y="203"/>
                  </a:cubicBezTo>
                  <a:cubicBezTo>
                    <a:pt x="87" y="193"/>
                    <a:pt x="87" y="193"/>
                    <a:pt x="87" y="193"/>
                  </a:cubicBezTo>
                  <a:cubicBezTo>
                    <a:pt x="80" y="191"/>
                    <a:pt x="73" y="188"/>
                    <a:pt x="67" y="184"/>
                  </a:cubicBezTo>
                  <a:cubicBezTo>
                    <a:pt x="60" y="192"/>
                    <a:pt x="60" y="192"/>
                    <a:pt x="60" y="192"/>
                  </a:cubicBezTo>
                  <a:cubicBezTo>
                    <a:pt x="57" y="195"/>
                    <a:pt x="52" y="197"/>
                    <a:pt x="48" y="197"/>
                  </a:cubicBezTo>
                  <a:cubicBezTo>
                    <a:pt x="44" y="197"/>
                    <a:pt x="40" y="195"/>
                    <a:pt x="36" y="192"/>
                  </a:cubicBezTo>
                  <a:cubicBezTo>
                    <a:pt x="28" y="183"/>
                    <a:pt x="28" y="183"/>
                    <a:pt x="28" y="183"/>
                  </a:cubicBezTo>
                  <a:cubicBezTo>
                    <a:pt x="21" y="177"/>
                    <a:pt x="21" y="166"/>
                    <a:pt x="28" y="160"/>
                  </a:cubicBezTo>
                  <a:cubicBezTo>
                    <a:pt x="35" y="152"/>
                    <a:pt x="35" y="152"/>
                    <a:pt x="35" y="152"/>
                  </a:cubicBezTo>
                  <a:cubicBezTo>
                    <a:pt x="32" y="146"/>
                    <a:pt x="29" y="140"/>
                    <a:pt x="27" y="133"/>
                  </a:cubicBezTo>
                  <a:cubicBezTo>
                    <a:pt x="16" y="133"/>
                    <a:pt x="16" y="133"/>
                    <a:pt x="16" y="133"/>
                  </a:cubicBezTo>
                  <a:cubicBezTo>
                    <a:pt x="7" y="133"/>
                    <a:pt x="0" y="125"/>
                    <a:pt x="0" y="116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95"/>
                    <a:pt x="7" y="87"/>
                    <a:pt x="16" y="87"/>
                  </a:cubicBezTo>
                  <a:cubicBezTo>
                    <a:pt x="27" y="87"/>
                    <a:pt x="27" y="87"/>
                    <a:pt x="27" y="87"/>
                  </a:cubicBezTo>
                  <a:cubicBezTo>
                    <a:pt x="29" y="80"/>
                    <a:pt x="32" y="74"/>
                    <a:pt x="35" y="67"/>
                  </a:cubicBezTo>
                  <a:cubicBezTo>
                    <a:pt x="28" y="60"/>
                    <a:pt x="28" y="60"/>
                    <a:pt x="28" y="60"/>
                  </a:cubicBezTo>
                  <a:cubicBezTo>
                    <a:pt x="21" y="53"/>
                    <a:pt x="21" y="43"/>
                    <a:pt x="28" y="37"/>
                  </a:cubicBezTo>
                  <a:cubicBezTo>
                    <a:pt x="36" y="28"/>
                    <a:pt x="36" y="28"/>
                    <a:pt x="36" y="28"/>
                  </a:cubicBezTo>
                  <a:cubicBezTo>
                    <a:pt x="43" y="21"/>
                    <a:pt x="53" y="21"/>
                    <a:pt x="60" y="28"/>
                  </a:cubicBezTo>
                  <a:cubicBezTo>
                    <a:pt x="67" y="35"/>
                    <a:pt x="67" y="35"/>
                    <a:pt x="67" y="35"/>
                  </a:cubicBezTo>
                  <a:cubicBezTo>
                    <a:pt x="73" y="32"/>
                    <a:pt x="80" y="29"/>
                    <a:pt x="87" y="27"/>
                  </a:cubicBezTo>
                  <a:cubicBezTo>
                    <a:pt x="87" y="16"/>
                    <a:pt x="87" y="16"/>
                    <a:pt x="87" y="16"/>
                  </a:cubicBezTo>
                  <a:cubicBezTo>
                    <a:pt x="87" y="7"/>
                    <a:pt x="94" y="0"/>
                    <a:pt x="103" y="0"/>
                  </a:cubicBezTo>
                  <a:cubicBezTo>
                    <a:pt x="116" y="0"/>
                    <a:pt x="116" y="0"/>
                    <a:pt x="116" y="0"/>
                  </a:cubicBezTo>
                  <a:cubicBezTo>
                    <a:pt x="125" y="0"/>
                    <a:pt x="132" y="7"/>
                    <a:pt x="132" y="16"/>
                  </a:cubicBezTo>
                  <a:cubicBezTo>
                    <a:pt x="132" y="27"/>
                    <a:pt x="132" y="27"/>
                    <a:pt x="132" y="27"/>
                  </a:cubicBezTo>
                  <a:cubicBezTo>
                    <a:pt x="139" y="29"/>
                    <a:pt x="146" y="32"/>
                    <a:pt x="152" y="35"/>
                  </a:cubicBezTo>
                  <a:cubicBezTo>
                    <a:pt x="160" y="28"/>
                    <a:pt x="160" y="28"/>
                    <a:pt x="160" y="28"/>
                  </a:cubicBezTo>
                  <a:cubicBezTo>
                    <a:pt x="166" y="21"/>
                    <a:pt x="177" y="21"/>
                    <a:pt x="183" y="28"/>
                  </a:cubicBezTo>
                  <a:cubicBezTo>
                    <a:pt x="192" y="37"/>
                    <a:pt x="192" y="37"/>
                    <a:pt x="192" y="37"/>
                  </a:cubicBezTo>
                  <a:cubicBezTo>
                    <a:pt x="195" y="40"/>
                    <a:pt x="197" y="44"/>
                    <a:pt x="197" y="48"/>
                  </a:cubicBezTo>
                  <a:cubicBezTo>
                    <a:pt x="197" y="53"/>
                    <a:pt x="195" y="57"/>
                    <a:pt x="192" y="60"/>
                  </a:cubicBezTo>
                  <a:cubicBezTo>
                    <a:pt x="184" y="67"/>
                    <a:pt x="184" y="67"/>
                    <a:pt x="184" y="67"/>
                  </a:cubicBezTo>
                  <a:cubicBezTo>
                    <a:pt x="188" y="74"/>
                    <a:pt x="191" y="80"/>
                    <a:pt x="192" y="87"/>
                  </a:cubicBezTo>
                  <a:cubicBezTo>
                    <a:pt x="203" y="87"/>
                    <a:pt x="203" y="87"/>
                    <a:pt x="203" y="87"/>
                  </a:cubicBezTo>
                  <a:cubicBezTo>
                    <a:pt x="212" y="87"/>
                    <a:pt x="220" y="95"/>
                    <a:pt x="220" y="104"/>
                  </a:cubicBezTo>
                  <a:cubicBezTo>
                    <a:pt x="220" y="116"/>
                    <a:pt x="220" y="116"/>
                    <a:pt x="220" y="116"/>
                  </a:cubicBezTo>
                  <a:cubicBezTo>
                    <a:pt x="220" y="125"/>
                    <a:pt x="212" y="133"/>
                    <a:pt x="203" y="133"/>
                  </a:cubicBezTo>
                  <a:cubicBezTo>
                    <a:pt x="192" y="133"/>
                    <a:pt x="192" y="133"/>
                    <a:pt x="192" y="133"/>
                  </a:cubicBezTo>
                  <a:cubicBezTo>
                    <a:pt x="191" y="140"/>
                    <a:pt x="188" y="146"/>
                    <a:pt x="184" y="152"/>
                  </a:cubicBezTo>
                  <a:cubicBezTo>
                    <a:pt x="192" y="160"/>
                    <a:pt x="192" y="160"/>
                    <a:pt x="192" y="160"/>
                  </a:cubicBezTo>
                  <a:cubicBezTo>
                    <a:pt x="195" y="163"/>
                    <a:pt x="197" y="167"/>
                    <a:pt x="197" y="172"/>
                  </a:cubicBezTo>
                  <a:cubicBezTo>
                    <a:pt x="197" y="176"/>
                    <a:pt x="195" y="180"/>
                    <a:pt x="192" y="183"/>
                  </a:cubicBezTo>
                  <a:cubicBezTo>
                    <a:pt x="183" y="192"/>
                    <a:pt x="183" y="192"/>
                    <a:pt x="183" y="192"/>
                  </a:cubicBezTo>
                  <a:cubicBezTo>
                    <a:pt x="180" y="195"/>
                    <a:pt x="176" y="197"/>
                    <a:pt x="171" y="197"/>
                  </a:cubicBezTo>
                  <a:cubicBezTo>
                    <a:pt x="167" y="197"/>
                    <a:pt x="163" y="195"/>
                    <a:pt x="160" y="192"/>
                  </a:cubicBezTo>
                  <a:cubicBezTo>
                    <a:pt x="152" y="184"/>
                    <a:pt x="152" y="184"/>
                    <a:pt x="152" y="184"/>
                  </a:cubicBezTo>
                  <a:cubicBezTo>
                    <a:pt x="146" y="188"/>
                    <a:pt x="139" y="191"/>
                    <a:pt x="132" y="193"/>
                  </a:cubicBezTo>
                  <a:cubicBezTo>
                    <a:pt x="132" y="203"/>
                    <a:pt x="132" y="203"/>
                    <a:pt x="132" y="203"/>
                  </a:cubicBezTo>
                  <a:cubicBezTo>
                    <a:pt x="132" y="212"/>
                    <a:pt x="125" y="220"/>
                    <a:pt x="116" y="220"/>
                  </a:cubicBezTo>
                  <a:close/>
                  <a:moveTo>
                    <a:pt x="69" y="177"/>
                  </a:moveTo>
                  <a:cubicBezTo>
                    <a:pt x="76" y="181"/>
                    <a:pt x="83" y="184"/>
                    <a:pt x="92" y="186"/>
                  </a:cubicBezTo>
                  <a:cubicBezTo>
                    <a:pt x="93" y="187"/>
                    <a:pt x="94" y="188"/>
                    <a:pt x="94" y="190"/>
                  </a:cubicBezTo>
                  <a:cubicBezTo>
                    <a:pt x="94" y="203"/>
                    <a:pt x="94" y="203"/>
                    <a:pt x="94" y="203"/>
                  </a:cubicBezTo>
                  <a:cubicBezTo>
                    <a:pt x="94" y="208"/>
                    <a:pt x="98" y="213"/>
                    <a:pt x="103" y="213"/>
                  </a:cubicBezTo>
                  <a:cubicBezTo>
                    <a:pt x="116" y="213"/>
                    <a:pt x="116" y="213"/>
                    <a:pt x="116" y="213"/>
                  </a:cubicBezTo>
                  <a:cubicBezTo>
                    <a:pt x="121" y="213"/>
                    <a:pt x="125" y="208"/>
                    <a:pt x="125" y="203"/>
                  </a:cubicBezTo>
                  <a:cubicBezTo>
                    <a:pt x="125" y="190"/>
                    <a:pt x="125" y="190"/>
                    <a:pt x="125" y="190"/>
                  </a:cubicBezTo>
                  <a:cubicBezTo>
                    <a:pt x="125" y="188"/>
                    <a:pt x="126" y="187"/>
                    <a:pt x="128" y="186"/>
                  </a:cubicBezTo>
                  <a:cubicBezTo>
                    <a:pt x="136" y="184"/>
                    <a:pt x="144" y="181"/>
                    <a:pt x="151" y="177"/>
                  </a:cubicBezTo>
                  <a:cubicBezTo>
                    <a:pt x="152" y="176"/>
                    <a:pt x="154" y="176"/>
                    <a:pt x="156" y="178"/>
                  </a:cubicBezTo>
                  <a:cubicBezTo>
                    <a:pt x="165" y="187"/>
                    <a:pt x="165" y="187"/>
                    <a:pt x="165" y="187"/>
                  </a:cubicBezTo>
                  <a:cubicBezTo>
                    <a:pt x="168" y="190"/>
                    <a:pt x="174" y="190"/>
                    <a:pt x="178" y="187"/>
                  </a:cubicBezTo>
                  <a:cubicBezTo>
                    <a:pt x="187" y="178"/>
                    <a:pt x="187" y="178"/>
                    <a:pt x="187" y="178"/>
                  </a:cubicBezTo>
                  <a:cubicBezTo>
                    <a:pt x="189" y="176"/>
                    <a:pt x="189" y="174"/>
                    <a:pt x="189" y="172"/>
                  </a:cubicBezTo>
                  <a:cubicBezTo>
                    <a:pt x="189" y="169"/>
                    <a:pt x="189" y="167"/>
                    <a:pt x="187" y="165"/>
                  </a:cubicBezTo>
                  <a:cubicBezTo>
                    <a:pt x="177" y="156"/>
                    <a:pt x="177" y="156"/>
                    <a:pt x="177" y="156"/>
                  </a:cubicBezTo>
                  <a:cubicBezTo>
                    <a:pt x="176" y="155"/>
                    <a:pt x="176" y="153"/>
                    <a:pt x="177" y="151"/>
                  </a:cubicBezTo>
                  <a:cubicBezTo>
                    <a:pt x="177" y="151"/>
                    <a:pt x="177" y="151"/>
                    <a:pt x="177" y="151"/>
                  </a:cubicBezTo>
                  <a:cubicBezTo>
                    <a:pt x="181" y="144"/>
                    <a:pt x="184" y="136"/>
                    <a:pt x="186" y="128"/>
                  </a:cubicBezTo>
                  <a:cubicBezTo>
                    <a:pt x="187" y="127"/>
                    <a:pt x="188" y="125"/>
                    <a:pt x="190" y="125"/>
                  </a:cubicBezTo>
                  <a:cubicBezTo>
                    <a:pt x="203" y="125"/>
                    <a:pt x="203" y="125"/>
                    <a:pt x="203" y="125"/>
                  </a:cubicBezTo>
                  <a:cubicBezTo>
                    <a:pt x="208" y="125"/>
                    <a:pt x="212" y="121"/>
                    <a:pt x="212" y="116"/>
                  </a:cubicBezTo>
                  <a:cubicBezTo>
                    <a:pt x="212" y="104"/>
                    <a:pt x="212" y="104"/>
                    <a:pt x="212" y="104"/>
                  </a:cubicBezTo>
                  <a:cubicBezTo>
                    <a:pt x="212" y="99"/>
                    <a:pt x="208" y="94"/>
                    <a:pt x="203" y="94"/>
                  </a:cubicBezTo>
                  <a:cubicBezTo>
                    <a:pt x="190" y="94"/>
                    <a:pt x="190" y="94"/>
                    <a:pt x="190" y="94"/>
                  </a:cubicBezTo>
                  <a:cubicBezTo>
                    <a:pt x="188" y="94"/>
                    <a:pt x="187" y="93"/>
                    <a:pt x="186" y="92"/>
                  </a:cubicBezTo>
                  <a:cubicBezTo>
                    <a:pt x="184" y="84"/>
                    <a:pt x="181" y="76"/>
                    <a:pt x="177" y="69"/>
                  </a:cubicBezTo>
                  <a:cubicBezTo>
                    <a:pt x="176" y="67"/>
                    <a:pt x="176" y="65"/>
                    <a:pt x="177" y="64"/>
                  </a:cubicBezTo>
                  <a:cubicBezTo>
                    <a:pt x="187" y="55"/>
                    <a:pt x="187" y="55"/>
                    <a:pt x="187" y="55"/>
                  </a:cubicBezTo>
                  <a:cubicBezTo>
                    <a:pt x="189" y="53"/>
                    <a:pt x="189" y="51"/>
                    <a:pt x="189" y="48"/>
                  </a:cubicBezTo>
                  <a:cubicBezTo>
                    <a:pt x="189" y="46"/>
                    <a:pt x="189" y="43"/>
                    <a:pt x="187" y="42"/>
                  </a:cubicBezTo>
                  <a:cubicBezTo>
                    <a:pt x="178" y="33"/>
                    <a:pt x="178" y="33"/>
                    <a:pt x="178" y="33"/>
                  </a:cubicBezTo>
                  <a:cubicBezTo>
                    <a:pt x="174" y="29"/>
                    <a:pt x="169" y="29"/>
                    <a:pt x="165" y="33"/>
                  </a:cubicBezTo>
                  <a:cubicBezTo>
                    <a:pt x="155" y="42"/>
                    <a:pt x="155" y="42"/>
                    <a:pt x="155" y="42"/>
                  </a:cubicBezTo>
                  <a:cubicBezTo>
                    <a:pt x="154" y="44"/>
                    <a:pt x="152" y="44"/>
                    <a:pt x="151" y="43"/>
                  </a:cubicBezTo>
                  <a:cubicBezTo>
                    <a:pt x="144" y="39"/>
                    <a:pt x="136" y="35"/>
                    <a:pt x="128" y="33"/>
                  </a:cubicBezTo>
                  <a:cubicBezTo>
                    <a:pt x="126" y="33"/>
                    <a:pt x="125" y="32"/>
                    <a:pt x="125" y="30"/>
                  </a:cubicBezTo>
                  <a:cubicBezTo>
                    <a:pt x="125" y="16"/>
                    <a:pt x="125" y="16"/>
                    <a:pt x="125" y="16"/>
                  </a:cubicBezTo>
                  <a:cubicBezTo>
                    <a:pt x="125" y="11"/>
                    <a:pt x="121" y="7"/>
                    <a:pt x="116" y="7"/>
                  </a:cubicBezTo>
                  <a:cubicBezTo>
                    <a:pt x="103" y="7"/>
                    <a:pt x="103" y="7"/>
                    <a:pt x="103" y="7"/>
                  </a:cubicBezTo>
                  <a:cubicBezTo>
                    <a:pt x="98" y="7"/>
                    <a:pt x="94" y="11"/>
                    <a:pt x="94" y="16"/>
                  </a:cubicBezTo>
                  <a:cubicBezTo>
                    <a:pt x="94" y="30"/>
                    <a:pt x="94" y="30"/>
                    <a:pt x="94" y="30"/>
                  </a:cubicBezTo>
                  <a:cubicBezTo>
                    <a:pt x="94" y="32"/>
                    <a:pt x="93" y="33"/>
                    <a:pt x="92" y="33"/>
                  </a:cubicBezTo>
                  <a:cubicBezTo>
                    <a:pt x="83" y="35"/>
                    <a:pt x="76" y="39"/>
                    <a:pt x="69" y="43"/>
                  </a:cubicBezTo>
                  <a:cubicBezTo>
                    <a:pt x="67" y="44"/>
                    <a:pt x="65" y="44"/>
                    <a:pt x="64" y="42"/>
                  </a:cubicBezTo>
                  <a:cubicBezTo>
                    <a:pt x="55" y="33"/>
                    <a:pt x="55" y="33"/>
                    <a:pt x="55" y="33"/>
                  </a:cubicBezTo>
                  <a:cubicBezTo>
                    <a:pt x="51" y="29"/>
                    <a:pt x="45" y="29"/>
                    <a:pt x="42" y="33"/>
                  </a:cubicBezTo>
                  <a:cubicBezTo>
                    <a:pt x="33" y="42"/>
                    <a:pt x="33" y="42"/>
                    <a:pt x="33" y="42"/>
                  </a:cubicBezTo>
                  <a:cubicBezTo>
                    <a:pt x="29" y="45"/>
                    <a:pt x="29" y="51"/>
                    <a:pt x="33" y="55"/>
                  </a:cubicBezTo>
                  <a:cubicBezTo>
                    <a:pt x="42" y="64"/>
                    <a:pt x="42" y="64"/>
                    <a:pt x="42" y="64"/>
                  </a:cubicBezTo>
                  <a:cubicBezTo>
                    <a:pt x="43" y="65"/>
                    <a:pt x="44" y="67"/>
                    <a:pt x="43" y="69"/>
                  </a:cubicBezTo>
                  <a:cubicBezTo>
                    <a:pt x="38" y="76"/>
                    <a:pt x="35" y="84"/>
                    <a:pt x="33" y="92"/>
                  </a:cubicBezTo>
                  <a:cubicBezTo>
                    <a:pt x="33" y="93"/>
                    <a:pt x="31" y="94"/>
                    <a:pt x="30" y="94"/>
                  </a:cubicBezTo>
                  <a:cubicBezTo>
                    <a:pt x="16" y="94"/>
                    <a:pt x="16" y="94"/>
                    <a:pt x="16" y="94"/>
                  </a:cubicBezTo>
                  <a:cubicBezTo>
                    <a:pt x="11" y="94"/>
                    <a:pt x="7" y="99"/>
                    <a:pt x="7" y="104"/>
                  </a:cubicBezTo>
                  <a:cubicBezTo>
                    <a:pt x="7" y="116"/>
                    <a:pt x="7" y="116"/>
                    <a:pt x="7" y="116"/>
                  </a:cubicBezTo>
                  <a:cubicBezTo>
                    <a:pt x="7" y="121"/>
                    <a:pt x="11" y="125"/>
                    <a:pt x="16" y="125"/>
                  </a:cubicBezTo>
                  <a:cubicBezTo>
                    <a:pt x="30" y="125"/>
                    <a:pt x="30" y="125"/>
                    <a:pt x="30" y="125"/>
                  </a:cubicBezTo>
                  <a:cubicBezTo>
                    <a:pt x="31" y="125"/>
                    <a:pt x="33" y="127"/>
                    <a:pt x="33" y="128"/>
                  </a:cubicBezTo>
                  <a:cubicBezTo>
                    <a:pt x="35" y="136"/>
                    <a:pt x="38" y="144"/>
                    <a:pt x="43" y="151"/>
                  </a:cubicBezTo>
                  <a:cubicBezTo>
                    <a:pt x="44" y="153"/>
                    <a:pt x="43" y="155"/>
                    <a:pt x="42" y="156"/>
                  </a:cubicBezTo>
                  <a:cubicBezTo>
                    <a:pt x="33" y="165"/>
                    <a:pt x="33" y="165"/>
                    <a:pt x="33" y="165"/>
                  </a:cubicBezTo>
                  <a:cubicBezTo>
                    <a:pt x="29" y="169"/>
                    <a:pt x="29" y="175"/>
                    <a:pt x="33" y="178"/>
                  </a:cubicBezTo>
                  <a:cubicBezTo>
                    <a:pt x="42" y="187"/>
                    <a:pt x="42" y="187"/>
                    <a:pt x="42" y="187"/>
                  </a:cubicBezTo>
                  <a:cubicBezTo>
                    <a:pt x="45" y="190"/>
                    <a:pt x="51" y="190"/>
                    <a:pt x="55" y="187"/>
                  </a:cubicBezTo>
                  <a:cubicBezTo>
                    <a:pt x="64" y="178"/>
                    <a:pt x="64" y="178"/>
                    <a:pt x="64" y="178"/>
                  </a:cubicBezTo>
                  <a:cubicBezTo>
                    <a:pt x="65" y="176"/>
                    <a:pt x="67" y="176"/>
                    <a:pt x="68" y="177"/>
                  </a:cubicBezTo>
                  <a:cubicBezTo>
                    <a:pt x="68" y="177"/>
                    <a:pt x="68" y="177"/>
                    <a:pt x="69" y="17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0" name="Shape3_20200717_142329">
            <a:extLst>
              <a:ext uri="{FF2B5EF4-FFF2-40B4-BE49-F238E27FC236}">
                <a16:creationId xmlns:a16="http://schemas.microsoft.com/office/drawing/2014/main" id="{1908545B-5D84-07BE-4E1D-C3C0A37B76CE}"/>
              </a:ext>
            </a:extLst>
          </p:cNvPr>
          <p:cNvGrpSpPr>
            <a:grpSpLocks noChangeAspect="1"/>
          </p:cNvGrpSpPr>
          <p:nvPr/>
        </p:nvGrpSpPr>
        <p:grpSpPr>
          <a:xfrm>
            <a:off x="3194806" y="1277061"/>
            <a:ext cx="580160" cy="492970"/>
            <a:chOff x="-6364288" y="2405063"/>
            <a:chExt cx="274638" cy="233363"/>
          </a:xfrm>
          <a:solidFill>
            <a:schemeClr val="accent1"/>
          </a:solidFill>
        </p:grpSpPr>
        <p:sp>
          <p:nvSpPr>
            <p:cNvPr id="175" name="Freeform 691">
              <a:extLst>
                <a:ext uri="{FF2B5EF4-FFF2-40B4-BE49-F238E27FC236}">
                  <a16:creationId xmlns:a16="http://schemas.microsoft.com/office/drawing/2014/main" id="{D5F2BB7C-EE79-CC47-EE1C-28EA2A91F73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351588" y="2570163"/>
              <a:ext cx="46038" cy="68263"/>
            </a:xfrm>
            <a:custGeom>
              <a:avLst/>
              <a:gdLst>
                <a:gd name="T0" fmla="*/ 35 w 39"/>
                <a:gd name="T1" fmla="*/ 57 h 57"/>
                <a:gd name="T2" fmla="*/ 4 w 39"/>
                <a:gd name="T3" fmla="*/ 57 h 57"/>
                <a:gd name="T4" fmla="*/ 0 w 39"/>
                <a:gd name="T5" fmla="*/ 53 h 57"/>
                <a:gd name="T6" fmla="*/ 0 w 39"/>
                <a:gd name="T7" fmla="*/ 4 h 57"/>
                <a:gd name="T8" fmla="*/ 4 w 39"/>
                <a:gd name="T9" fmla="*/ 0 h 57"/>
                <a:gd name="T10" fmla="*/ 35 w 39"/>
                <a:gd name="T11" fmla="*/ 0 h 57"/>
                <a:gd name="T12" fmla="*/ 39 w 39"/>
                <a:gd name="T13" fmla="*/ 4 h 57"/>
                <a:gd name="T14" fmla="*/ 39 w 39"/>
                <a:gd name="T15" fmla="*/ 53 h 57"/>
                <a:gd name="T16" fmla="*/ 35 w 39"/>
                <a:gd name="T17" fmla="*/ 57 h 57"/>
                <a:gd name="T18" fmla="*/ 7 w 39"/>
                <a:gd name="T19" fmla="*/ 50 h 57"/>
                <a:gd name="T20" fmla="*/ 32 w 39"/>
                <a:gd name="T21" fmla="*/ 50 h 57"/>
                <a:gd name="T22" fmla="*/ 32 w 39"/>
                <a:gd name="T23" fmla="*/ 7 h 57"/>
                <a:gd name="T24" fmla="*/ 7 w 39"/>
                <a:gd name="T25" fmla="*/ 7 h 57"/>
                <a:gd name="T26" fmla="*/ 7 w 39"/>
                <a:gd name="T27" fmla="*/ 5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" h="57">
                  <a:moveTo>
                    <a:pt x="35" y="57"/>
                  </a:moveTo>
                  <a:cubicBezTo>
                    <a:pt x="4" y="57"/>
                    <a:pt x="4" y="57"/>
                    <a:pt x="4" y="57"/>
                  </a:cubicBezTo>
                  <a:cubicBezTo>
                    <a:pt x="2" y="57"/>
                    <a:pt x="0" y="55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7" y="0"/>
                    <a:pt x="39" y="2"/>
                    <a:pt x="39" y="4"/>
                  </a:cubicBezTo>
                  <a:cubicBezTo>
                    <a:pt x="39" y="53"/>
                    <a:pt x="39" y="53"/>
                    <a:pt x="39" y="53"/>
                  </a:cubicBezTo>
                  <a:cubicBezTo>
                    <a:pt x="39" y="55"/>
                    <a:pt x="37" y="57"/>
                    <a:pt x="35" y="57"/>
                  </a:cubicBezTo>
                  <a:close/>
                  <a:moveTo>
                    <a:pt x="7" y="50"/>
                  </a:moveTo>
                  <a:cubicBezTo>
                    <a:pt x="32" y="50"/>
                    <a:pt x="32" y="50"/>
                    <a:pt x="32" y="50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5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6" name="Freeform 692">
              <a:extLst>
                <a:ext uri="{FF2B5EF4-FFF2-40B4-BE49-F238E27FC236}">
                  <a16:creationId xmlns:a16="http://schemas.microsoft.com/office/drawing/2014/main" id="{ADE34DA6-4EB6-9227-A938-1E5CC49811B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283325" y="2536826"/>
              <a:ext cx="44450" cy="101600"/>
            </a:xfrm>
            <a:custGeom>
              <a:avLst/>
              <a:gdLst>
                <a:gd name="T0" fmla="*/ 35 w 38"/>
                <a:gd name="T1" fmla="*/ 85 h 85"/>
                <a:gd name="T2" fmla="*/ 3 w 38"/>
                <a:gd name="T3" fmla="*/ 85 h 85"/>
                <a:gd name="T4" fmla="*/ 0 w 38"/>
                <a:gd name="T5" fmla="*/ 81 h 85"/>
                <a:gd name="T6" fmla="*/ 0 w 38"/>
                <a:gd name="T7" fmla="*/ 3 h 85"/>
                <a:gd name="T8" fmla="*/ 3 w 38"/>
                <a:gd name="T9" fmla="*/ 0 h 85"/>
                <a:gd name="T10" fmla="*/ 35 w 38"/>
                <a:gd name="T11" fmla="*/ 0 h 85"/>
                <a:gd name="T12" fmla="*/ 38 w 38"/>
                <a:gd name="T13" fmla="*/ 3 h 85"/>
                <a:gd name="T14" fmla="*/ 38 w 38"/>
                <a:gd name="T15" fmla="*/ 81 h 85"/>
                <a:gd name="T16" fmla="*/ 35 w 38"/>
                <a:gd name="T17" fmla="*/ 85 h 85"/>
                <a:gd name="T18" fmla="*/ 7 w 38"/>
                <a:gd name="T19" fmla="*/ 78 h 85"/>
                <a:gd name="T20" fmla="*/ 31 w 38"/>
                <a:gd name="T21" fmla="*/ 78 h 85"/>
                <a:gd name="T22" fmla="*/ 31 w 38"/>
                <a:gd name="T23" fmla="*/ 7 h 85"/>
                <a:gd name="T24" fmla="*/ 7 w 38"/>
                <a:gd name="T25" fmla="*/ 7 h 85"/>
                <a:gd name="T26" fmla="*/ 7 w 38"/>
                <a:gd name="T27" fmla="*/ 78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8" h="85">
                  <a:moveTo>
                    <a:pt x="35" y="85"/>
                  </a:moveTo>
                  <a:cubicBezTo>
                    <a:pt x="3" y="85"/>
                    <a:pt x="3" y="85"/>
                    <a:pt x="3" y="85"/>
                  </a:cubicBezTo>
                  <a:cubicBezTo>
                    <a:pt x="1" y="85"/>
                    <a:pt x="0" y="83"/>
                    <a:pt x="0" y="81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7" y="0"/>
                    <a:pt x="38" y="1"/>
                    <a:pt x="38" y="3"/>
                  </a:cubicBezTo>
                  <a:cubicBezTo>
                    <a:pt x="38" y="81"/>
                    <a:pt x="38" y="81"/>
                    <a:pt x="38" y="81"/>
                  </a:cubicBezTo>
                  <a:cubicBezTo>
                    <a:pt x="38" y="83"/>
                    <a:pt x="37" y="85"/>
                    <a:pt x="35" y="85"/>
                  </a:cubicBezTo>
                  <a:close/>
                  <a:moveTo>
                    <a:pt x="7" y="78"/>
                  </a:moveTo>
                  <a:cubicBezTo>
                    <a:pt x="31" y="78"/>
                    <a:pt x="31" y="78"/>
                    <a:pt x="31" y="78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7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7" name="Freeform 693">
              <a:extLst>
                <a:ext uri="{FF2B5EF4-FFF2-40B4-BE49-F238E27FC236}">
                  <a16:creationId xmlns:a16="http://schemas.microsoft.com/office/drawing/2014/main" id="{C76198E5-F272-6D04-C4E7-0225184678A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216650" y="2570163"/>
              <a:ext cx="46038" cy="68263"/>
            </a:xfrm>
            <a:custGeom>
              <a:avLst/>
              <a:gdLst>
                <a:gd name="T0" fmla="*/ 35 w 39"/>
                <a:gd name="T1" fmla="*/ 57 h 57"/>
                <a:gd name="T2" fmla="*/ 4 w 39"/>
                <a:gd name="T3" fmla="*/ 57 h 57"/>
                <a:gd name="T4" fmla="*/ 0 w 39"/>
                <a:gd name="T5" fmla="*/ 53 h 57"/>
                <a:gd name="T6" fmla="*/ 0 w 39"/>
                <a:gd name="T7" fmla="*/ 4 h 57"/>
                <a:gd name="T8" fmla="*/ 4 w 39"/>
                <a:gd name="T9" fmla="*/ 0 h 57"/>
                <a:gd name="T10" fmla="*/ 35 w 39"/>
                <a:gd name="T11" fmla="*/ 0 h 57"/>
                <a:gd name="T12" fmla="*/ 39 w 39"/>
                <a:gd name="T13" fmla="*/ 4 h 57"/>
                <a:gd name="T14" fmla="*/ 39 w 39"/>
                <a:gd name="T15" fmla="*/ 53 h 57"/>
                <a:gd name="T16" fmla="*/ 35 w 39"/>
                <a:gd name="T17" fmla="*/ 57 h 57"/>
                <a:gd name="T18" fmla="*/ 7 w 39"/>
                <a:gd name="T19" fmla="*/ 50 h 57"/>
                <a:gd name="T20" fmla="*/ 32 w 39"/>
                <a:gd name="T21" fmla="*/ 50 h 57"/>
                <a:gd name="T22" fmla="*/ 32 w 39"/>
                <a:gd name="T23" fmla="*/ 7 h 57"/>
                <a:gd name="T24" fmla="*/ 7 w 39"/>
                <a:gd name="T25" fmla="*/ 7 h 57"/>
                <a:gd name="T26" fmla="*/ 7 w 39"/>
                <a:gd name="T27" fmla="*/ 5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" h="57">
                  <a:moveTo>
                    <a:pt x="35" y="57"/>
                  </a:moveTo>
                  <a:cubicBezTo>
                    <a:pt x="4" y="57"/>
                    <a:pt x="4" y="57"/>
                    <a:pt x="4" y="57"/>
                  </a:cubicBezTo>
                  <a:cubicBezTo>
                    <a:pt x="2" y="57"/>
                    <a:pt x="0" y="55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7" y="0"/>
                    <a:pt x="39" y="2"/>
                    <a:pt x="39" y="4"/>
                  </a:cubicBezTo>
                  <a:cubicBezTo>
                    <a:pt x="39" y="53"/>
                    <a:pt x="39" y="53"/>
                    <a:pt x="39" y="53"/>
                  </a:cubicBezTo>
                  <a:cubicBezTo>
                    <a:pt x="39" y="55"/>
                    <a:pt x="37" y="57"/>
                    <a:pt x="35" y="57"/>
                  </a:cubicBezTo>
                  <a:close/>
                  <a:moveTo>
                    <a:pt x="7" y="50"/>
                  </a:moveTo>
                  <a:cubicBezTo>
                    <a:pt x="32" y="50"/>
                    <a:pt x="32" y="50"/>
                    <a:pt x="32" y="50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5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8" name="Freeform 694">
              <a:extLst>
                <a:ext uri="{FF2B5EF4-FFF2-40B4-BE49-F238E27FC236}">
                  <a16:creationId xmlns:a16="http://schemas.microsoft.com/office/drawing/2014/main" id="{571CECAB-59A2-FD7D-B9C8-85EA6D96895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148388" y="2501901"/>
              <a:ext cx="46038" cy="136525"/>
            </a:xfrm>
            <a:custGeom>
              <a:avLst/>
              <a:gdLst>
                <a:gd name="T0" fmla="*/ 35 w 39"/>
                <a:gd name="T1" fmla="*/ 114 h 114"/>
                <a:gd name="T2" fmla="*/ 3 w 39"/>
                <a:gd name="T3" fmla="*/ 114 h 114"/>
                <a:gd name="T4" fmla="*/ 0 w 39"/>
                <a:gd name="T5" fmla="*/ 110 h 114"/>
                <a:gd name="T6" fmla="*/ 0 w 39"/>
                <a:gd name="T7" fmla="*/ 4 h 114"/>
                <a:gd name="T8" fmla="*/ 3 w 39"/>
                <a:gd name="T9" fmla="*/ 0 h 114"/>
                <a:gd name="T10" fmla="*/ 35 w 39"/>
                <a:gd name="T11" fmla="*/ 0 h 114"/>
                <a:gd name="T12" fmla="*/ 39 w 39"/>
                <a:gd name="T13" fmla="*/ 4 h 114"/>
                <a:gd name="T14" fmla="*/ 39 w 39"/>
                <a:gd name="T15" fmla="*/ 110 h 114"/>
                <a:gd name="T16" fmla="*/ 35 w 39"/>
                <a:gd name="T17" fmla="*/ 114 h 114"/>
                <a:gd name="T18" fmla="*/ 7 w 39"/>
                <a:gd name="T19" fmla="*/ 107 h 114"/>
                <a:gd name="T20" fmla="*/ 32 w 39"/>
                <a:gd name="T21" fmla="*/ 107 h 114"/>
                <a:gd name="T22" fmla="*/ 32 w 39"/>
                <a:gd name="T23" fmla="*/ 8 h 114"/>
                <a:gd name="T24" fmla="*/ 7 w 39"/>
                <a:gd name="T25" fmla="*/ 8 h 114"/>
                <a:gd name="T26" fmla="*/ 7 w 39"/>
                <a:gd name="T27" fmla="*/ 107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" h="114">
                  <a:moveTo>
                    <a:pt x="35" y="114"/>
                  </a:moveTo>
                  <a:cubicBezTo>
                    <a:pt x="3" y="114"/>
                    <a:pt x="3" y="114"/>
                    <a:pt x="3" y="114"/>
                  </a:cubicBezTo>
                  <a:cubicBezTo>
                    <a:pt x="2" y="114"/>
                    <a:pt x="0" y="112"/>
                    <a:pt x="0" y="11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3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7" y="0"/>
                    <a:pt x="39" y="2"/>
                    <a:pt x="39" y="4"/>
                  </a:cubicBezTo>
                  <a:cubicBezTo>
                    <a:pt x="39" y="110"/>
                    <a:pt x="39" y="110"/>
                    <a:pt x="39" y="110"/>
                  </a:cubicBezTo>
                  <a:cubicBezTo>
                    <a:pt x="39" y="112"/>
                    <a:pt x="37" y="114"/>
                    <a:pt x="35" y="114"/>
                  </a:cubicBezTo>
                  <a:close/>
                  <a:moveTo>
                    <a:pt x="7" y="107"/>
                  </a:moveTo>
                  <a:cubicBezTo>
                    <a:pt x="32" y="107"/>
                    <a:pt x="32" y="107"/>
                    <a:pt x="32" y="107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7" y="8"/>
                    <a:pt x="7" y="8"/>
                    <a:pt x="7" y="8"/>
                  </a:cubicBezTo>
                  <a:lnTo>
                    <a:pt x="7" y="10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9" name="Freeform 695">
              <a:extLst>
                <a:ext uri="{FF2B5EF4-FFF2-40B4-BE49-F238E27FC236}">
                  <a16:creationId xmlns:a16="http://schemas.microsoft.com/office/drawing/2014/main" id="{C953D10A-2B8F-6C38-1E3A-02923D1FD81D}"/>
                </a:ext>
              </a:extLst>
            </p:cNvPr>
            <p:cNvSpPr>
              <a:spLocks/>
            </p:cNvSpPr>
            <p:nvPr/>
          </p:nvSpPr>
          <p:spPr bwMode="auto">
            <a:xfrm>
              <a:off x="-6191250" y="2405063"/>
              <a:ext cx="79375" cy="122238"/>
            </a:xfrm>
            <a:custGeom>
              <a:avLst/>
              <a:gdLst>
                <a:gd name="T0" fmla="*/ 4 w 66"/>
                <a:gd name="T1" fmla="*/ 103 h 103"/>
                <a:gd name="T2" fmla="*/ 2 w 66"/>
                <a:gd name="T3" fmla="*/ 102 h 103"/>
                <a:gd name="T4" fmla="*/ 1 w 66"/>
                <a:gd name="T5" fmla="*/ 97 h 103"/>
                <a:gd name="T6" fmla="*/ 59 w 66"/>
                <a:gd name="T7" fmla="*/ 2 h 103"/>
                <a:gd name="T8" fmla="*/ 63 w 66"/>
                <a:gd name="T9" fmla="*/ 1 h 103"/>
                <a:gd name="T10" fmla="*/ 65 w 66"/>
                <a:gd name="T11" fmla="*/ 6 h 103"/>
                <a:gd name="T12" fmla="*/ 7 w 66"/>
                <a:gd name="T13" fmla="*/ 101 h 103"/>
                <a:gd name="T14" fmla="*/ 4 w 66"/>
                <a:gd name="T1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6" h="103">
                  <a:moveTo>
                    <a:pt x="4" y="103"/>
                  </a:moveTo>
                  <a:cubicBezTo>
                    <a:pt x="4" y="103"/>
                    <a:pt x="3" y="103"/>
                    <a:pt x="2" y="102"/>
                  </a:cubicBezTo>
                  <a:cubicBezTo>
                    <a:pt x="1" y="101"/>
                    <a:pt x="0" y="99"/>
                    <a:pt x="1" y="97"/>
                  </a:cubicBezTo>
                  <a:cubicBezTo>
                    <a:pt x="59" y="2"/>
                    <a:pt x="59" y="2"/>
                    <a:pt x="59" y="2"/>
                  </a:cubicBezTo>
                  <a:cubicBezTo>
                    <a:pt x="60" y="1"/>
                    <a:pt x="62" y="0"/>
                    <a:pt x="63" y="1"/>
                  </a:cubicBezTo>
                  <a:cubicBezTo>
                    <a:pt x="65" y="2"/>
                    <a:pt x="66" y="4"/>
                    <a:pt x="65" y="6"/>
                  </a:cubicBezTo>
                  <a:cubicBezTo>
                    <a:pt x="7" y="101"/>
                    <a:pt x="7" y="101"/>
                    <a:pt x="7" y="101"/>
                  </a:cubicBezTo>
                  <a:cubicBezTo>
                    <a:pt x="7" y="102"/>
                    <a:pt x="5" y="103"/>
                    <a:pt x="4" y="10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0" name="Freeform 696">
              <a:extLst>
                <a:ext uri="{FF2B5EF4-FFF2-40B4-BE49-F238E27FC236}">
                  <a16:creationId xmlns:a16="http://schemas.microsoft.com/office/drawing/2014/main" id="{865BCC59-1DC9-63F3-4EC0-FAD965BA98F5}"/>
                </a:ext>
              </a:extLst>
            </p:cNvPr>
            <p:cNvSpPr>
              <a:spLocks/>
            </p:cNvSpPr>
            <p:nvPr/>
          </p:nvSpPr>
          <p:spPr bwMode="auto">
            <a:xfrm>
              <a:off x="-6254750" y="2492376"/>
              <a:ext cx="55563" cy="41275"/>
            </a:xfrm>
            <a:custGeom>
              <a:avLst/>
              <a:gdLst>
                <a:gd name="T0" fmla="*/ 42 w 46"/>
                <a:gd name="T1" fmla="*/ 34 h 34"/>
                <a:gd name="T2" fmla="*/ 40 w 46"/>
                <a:gd name="T3" fmla="*/ 33 h 34"/>
                <a:gd name="T4" fmla="*/ 2 w 46"/>
                <a:gd name="T5" fmla="*/ 7 h 34"/>
                <a:gd name="T6" fmla="*/ 1 w 46"/>
                <a:gd name="T7" fmla="*/ 2 h 34"/>
                <a:gd name="T8" fmla="*/ 6 w 46"/>
                <a:gd name="T9" fmla="*/ 1 h 34"/>
                <a:gd name="T10" fmla="*/ 44 w 46"/>
                <a:gd name="T11" fmla="*/ 27 h 34"/>
                <a:gd name="T12" fmla="*/ 45 w 46"/>
                <a:gd name="T13" fmla="*/ 32 h 34"/>
                <a:gd name="T14" fmla="*/ 42 w 46"/>
                <a:gd name="T15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6" h="34">
                  <a:moveTo>
                    <a:pt x="42" y="34"/>
                  </a:moveTo>
                  <a:cubicBezTo>
                    <a:pt x="41" y="34"/>
                    <a:pt x="40" y="33"/>
                    <a:pt x="40" y="33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0" y="6"/>
                    <a:pt x="0" y="4"/>
                    <a:pt x="1" y="2"/>
                  </a:cubicBezTo>
                  <a:cubicBezTo>
                    <a:pt x="2" y="1"/>
                    <a:pt x="4" y="0"/>
                    <a:pt x="6" y="1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5" y="28"/>
                    <a:pt x="46" y="30"/>
                    <a:pt x="45" y="32"/>
                  </a:cubicBezTo>
                  <a:cubicBezTo>
                    <a:pt x="44" y="33"/>
                    <a:pt x="43" y="34"/>
                    <a:pt x="42" y="3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1" name="Freeform 697">
              <a:extLst>
                <a:ext uri="{FF2B5EF4-FFF2-40B4-BE49-F238E27FC236}">
                  <a16:creationId xmlns:a16="http://schemas.microsoft.com/office/drawing/2014/main" id="{93CEE929-C982-E633-1C6D-7CC28E67F9BB}"/>
                </a:ext>
              </a:extLst>
            </p:cNvPr>
            <p:cNvSpPr>
              <a:spLocks/>
            </p:cNvSpPr>
            <p:nvPr/>
          </p:nvSpPr>
          <p:spPr bwMode="auto">
            <a:xfrm>
              <a:off x="-6321425" y="2492376"/>
              <a:ext cx="53975" cy="44450"/>
            </a:xfrm>
            <a:custGeom>
              <a:avLst/>
              <a:gdLst>
                <a:gd name="T0" fmla="*/ 4 w 45"/>
                <a:gd name="T1" fmla="*/ 38 h 38"/>
                <a:gd name="T2" fmla="*/ 1 w 45"/>
                <a:gd name="T3" fmla="*/ 37 h 38"/>
                <a:gd name="T4" fmla="*/ 1 w 45"/>
                <a:gd name="T5" fmla="*/ 32 h 38"/>
                <a:gd name="T6" fmla="*/ 38 w 45"/>
                <a:gd name="T7" fmla="*/ 2 h 38"/>
                <a:gd name="T8" fmla="*/ 44 w 45"/>
                <a:gd name="T9" fmla="*/ 2 h 38"/>
                <a:gd name="T10" fmla="*/ 43 w 45"/>
                <a:gd name="T11" fmla="*/ 7 h 38"/>
                <a:gd name="T12" fmla="*/ 6 w 45"/>
                <a:gd name="T13" fmla="*/ 38 h 38"/>
                <a:gd name="T14" fmla="*/ 4 w 45"/>
                <a:gd name="T15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8">
                  <a:moveTo>
                    <a:pt x="4" y="38"/>
                  </a:moveTo>
                  <a:cubicBezTo>
                    <a:pt x="3" y="38"/>
                    <a:pt x="2" y="38"/>
                    <a:pt x="1" y="37"/>
                  </a:cubicBezTo>
                  <a:cubicBezTo>
                    <a:pt x="0" y="36"/>
                    <a:pt x="0" y="33"/>
                    <a:pt x="1" y="32"/>
                  </a:cubicBezTo>
                  <a:cubicBezTo>
                    <a:pt x="38" y="2"/>
                    <a:pt x="38" y="2"/>
                    <a:pt x="38" y="2"/>
                  </a:cubicBezTo>
                  <a:cubicBezTo>
                    <a:pt x="40" y="0"/>
                    <a:pt x="42" y="1"/>
                    <a:pt x="44" y="2"/>
                  </a:cubicBezTo>
                  <a:cubicBezTo>
                    <a:pt x="45" y="4"/>
                    <a:pt x="45" y="6"/>
                    <a:pt x="43" y="7"/>
                  </a:cubicBezTo>
                  <a:cubicBezTo>
                    <a:pt x="6" y="38"/>
                    <a:pt x="6" y="38"/>
                    <a:pt x="6" y="38"/>
                  </a:cubicBezTo>
                  <a:cubicBezTo>
                    <a:pt x="5" y="38"/>
                    <a:pt x="4" y="38"/>
                    <a:pt x="4" y="3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2" name="Freeform 698">
              <a:extLst>
                <a:ext uri="{FF2B5EF4-FFF2-40B4-BE49-F238E27FC236}">
                  <a16:creationId xmlns:a16="http://schemas.microsoft.com/office/drawing/2014/main" id="{77638420-AD95-7DA6-840A-43892BA4500E}"/>
                </a:ext>
              </a:extLst>
            </p:cNvPr>
            <p:cNvSpPr>
              <a:spLocks/>
            </p:cNvSpPr>
            <p:nvPr/>
          </p:nvSpPr>
          <p:spPr bwMode="auto">
            <a:xfrm>
              <a:off x="-6148388" y="2405063"/>
              <a:ext cx="44450" cy="36513"/>
            </a:xfrm>
            <a:custGeom>
              <a:avLst/>
              <a:gdLst>
                <a:gd name="T0" fmla="*/ 33 w 37"/>
                <a:gd name="T1" fmla="*/ 31 h 31"/>
                <a:gd name="T2" fmla="*/ 29 w 37"/>
                <a:gd name="T3" fmla="*/ 28 h 31"/>
                <a:gd name="T4" fmla="*/ 24 w 37"/>
                <a:gd name="T5" fmla="*/ 9 h 31"/>
                <a:gd name="T6" fmla="*/ 5 w 37"/>
                <a:gd name="T7" fmla="*/ 14 h 31"/>
                <a:gd name="T8" fmla="*/ 0 w 37"/>
                <a:gd name="T9" fmla="*/ 11 h 31"/>
                <a:gd name="T10" fmla="*/ 3 w 37"/>
                <a:gd name="T11" fmla="*/ 7 h 31"/>
                <a:gd name="T12" fmla="*/ 26 w 37"/>
                <a:gd name="T13" fmla="*/ 1 h 31"/>
                <a:gd name="T14" fmla="*/ 30 w 37"/>
                <a:gd name="T15" fmla="*/ 3 h 31"/>
                <a:gd name="T16" fmla="*/ 36 w 37"/>
                <a:gd name="T17" fmla="*/ 26 h 31"/>
                <a:gd name="T18" fmla="*/ 34 w 37"/>
                <a:gd name="T19" fmla="*/ 30 h 31"/>
                <a:gd name="T20" fmla="*/ 33 w 37"/>
                <a:gd name="T2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7" h="31">
                  <a:moveTo>
                    <a:pt x="33" y="31"/>
                  </a:moveTo>
                  <a:cubicBezTo>
                    <a:pt x="31" y="31"/>
                    <a:pt x="30" y="29"/>
                    <a:pt x="29" y="28"/>
                  </a:cubicBezTo>
                  <a:cubicBezTo>
                    <a:pt x="24" y="9"/>
                    <a:pt x="24" y="9"/>
                    <a:pt x="24" y="9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3" y="14"/>
                    <a:pt x="1" y="13"/>
                    <a:pt x="0" y="11"/>
                  </a:cubicBezTo>
                  <a:cubicBezTo>
                    <a:pt x="0" y="9"/>
                    <a:pt x="1" y="7"/>
                    <a:pt x="3" y="7"/>
                  </a:cubicBezTo>
                  <a:cubicBezTo>
                    <a:pt x="26" y="1"/>
                    <a:pt x="26" y="1"/>
                    <a:pt x="26" y="1"/>
                  </a:cubicBezTo>
                  <a:cubicBezTo>
                    <a:pt x="28" y="0"/>
                    <a:pt x="30" y="1"/>
                    <a:pt x="30" y="3"/>
                  </a:cubicBezTo>
                  <a:cubicBezTo>
                    <a:pt x="36" y="26"/>
                    <a:pt x="36" y="26"/>
                    <a:pt x="36" y="26"/>
                  </a:cubicBezTo>
                  <a:cubicBezTo>
                    <a:pt x="37" y="28"/>
                    <a:pt x="36" y="30"/>
                    <a:pt x="34" y="30"/>
                  </a:cubicBezTo>
                  <a:cubicBezTo>
                    <a:pt x="33" y="30"/>
                    <a:pt x="33" y="31"/>
                    <a:pt x="33" y="3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3" name="Freeform 699">
              <a:extLst>
                <a:ext uri="{FF2B5EF4-FFF2-40B4-BE49-F238E27FC236}">
                  <a16:creationId xmlns:a16="http://schemas.microsoft.com/office/drawing/2014/main" id="{1D53A577-E52E-9B57-FADF-BAED0BB68D57}"/>
                </a:ext>
              </a:extLst>
            </p:cNvPr>
            <p:cNvSpPr>
              <a:spLocks/>
            </p:cNvSpPr>
            <p:nvPr/>
          </p:nvSpPr>
          <p:spPr bwMode="auto">
            <a:xfrm>
              <a:off x="-6364288" y="2630488"/>
              <a:ext cx="274638" cy="7938"/>
            </a:xfrm>
            <a:custGeom>
              <a:avLst/>
              <a:gdLst>
                <a:gd name="T0" fmla="*/ 226 w 229"/>
                <a:gd name="T1" fmla="*/ 7 h 7"/>
                <a:gd name="T2" fmla="*/ 3 w 229"/>
                <a:gd name="T3" fmla="*/ 7 h 7"/>
                <a:gd name="T4" fmla="*/ 0 w 229"/>
                <a:gd name="T5" fmla="*/ 4 h 7"/>
                <a:gd name="T6" fmla="*/ 3 w 229"/>
                <a:gd name="T7" fmla="*/ 0 h 7"/>
                <a:gd name="T8" fmla="*/ 226 w 229"/>
                <a:gd name="T9" fmla="*/ 0 h 7"/>
                <a:gd name="T10" fmla="*/ 229 w 229"/>
                <a:gd name="T11" fmla="*/ 4 h 7"/>
                <a:gd name="T12" fmla="*/ 226 w 229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9" h="7">
                  <a:moveTo>
                    <a:pt x="226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6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226" y="0"/>
                    <a:pt x="226" y="0"/>
                    <a:pt x="226" y="0"/>
                  </a:cubicBezTo>
                  <a:cubicBezTo>
                    <a:pt x="228" y="0"/>
                    <a:pt x="229" y="2"/>
                    <a:pt x="229" y="4"/>
                  </a:cubicBezTo>
                  <a:cubicBezTo>
                    <a:pt x="229" y="6"/>
                    <a:pt x="228" y="7"/>
                    <a:pt x="226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4" name="Freeform 700">
              <a:extLst>
                <a:ext uri="{FF2B5EF4-FFF2-40B4-BE49-F238E27FC236}">
                  <a16:creationId xmlns:a16="http://schemas.microsoft.com/office/drawing/2014/main" id="{D5A2CF8C-D77B-7E27-1855-6D724F1C79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346825" y="2524126"/>
              <a:ext cx="34925" cy="34925"/>
            </a:xfrm>
            <a:custGeom>
              <a:avLst/>
              <a:gdLst>
                <a:gd name="T0" fmla="*/ 14 w 29"/>
                <a:gd name="T1" fmla="*/ 29 h 29"/>
                <a:gd name="T2" fmla="*/ 0 w 29"/>
                <a:gd name="T3" fmla="*/ 14 h 29"/>
                <a:gd name="T4" fmla="*/ 14 w 29"/>
                <a:gd name="T5" fmla="*/ 0 h 29"/>
                <a:gd name="T6" fmla="*/ 29 w 29"/>
                <a:gd name="T7" fmla="*/ 14 h 29"/>
                <a:gd name="T8" fmla="*/ 14 w 29"/>
                <a:gd name="T9" fmla="*/ 29 h 29"/>
                <a:gd name="T10" fmla="*/ 14 w 29"/>
                <a:gd name="T11" fmla="*/ 7 h 29"/>
                <a:gd name="T12" fmla="*/ 7 w 29"/>
                <a:gd name="T13" fmla="*/ 14 h 29"/>
                <a:gd name="T14" fmla="*/ 14 w 29"/>
                <a:gd name="T15" fmla="*/ 22 h 29"/>
                <a:gd name="T16" fmla="*/ 22 w 29"/>
                <a:gd name="T17" fmla="*/ 14 h 29"/>
                <a:gd name="T18" fmla="*/ 14 w 29"/>
                <a:gd name="T19" fmla="*/ 7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29">
                  <a:moveTo>
                    <a:pt x="14" y="29"/>
                  </a:moveTo>
                  <a:cubicBezTo>
                    <a:pt x="6" y="29"/>
                    <a:pt x="0" y="22"/>
                    <a:pt x="0" y="14"/>
                  </a:cubicBezTo>
                  <a:cubicBezTo>
                    <a:pt x="0" y="6"/>
                    <a:pt x="6" y="0"/>
                    <a:pt x="14" y="0"/>
                  </a:cubicBezTo>
                  <a:cubicBezTo>
                    <a:pt x="22" y="0"/>
                    <a:pt x="29" y="6"/>
                    <a:pt x="29" y="14"/>
                  </a:cubicBezTo>
                  <a:cubicBezTo>
                    <a:pt x="29" y="22"/>
                    <a:pt x="22" y="29"/>
                    <a:pt x="14" y="29"/>
                  </a:cubicBezTo>
                  <a:close/>
                  <a:moveTo>
                    <a:pt x="14" y="7"/>
                  </a:moveTo>
                  <a:cubicBezTo>
                    <a:pt x="10" y="7"/>
                    <a:pt x="7" y="10"/>
                    <a:pt x="7" y="14"/>
                  </a:cubicBezTo>
                  <a:cubicBezTo>
                    <a:pt x="7" y="18"/>
                    <a:pt x="10" y="22"/>
                    <a:pt x="14" y="22"/>
                  </a:cubicBezTo>
                  <a:cubicBezTo>
                    <a:pt x="18" y="22"/>
                    <a:pt x="22" y="18"/>
                    <a:pt x="22" y="14"/>
                  </a:cubicBezTo>
                  <a:cubicBezTo>
                    <a:pt x="22" y="10"/>
                    <a:pt x="18" y="7"/>
                    <a:pt x="14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5" name="Freeform 701">
              <a:extLst>
                <a:ext uri="{FF2B5EF4-FFF2-40B4-BE49-F238E27FC236}">
                  <a16:creationId xmlns:a16="http://schemas.microsoft.com/office/drawing/2014/main" id="{3C4B2634-6EAD-68CC-62BC-43008E4B3F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278563" y="2473326"/>
              <a:ext cx="34925" cy="33338"/>
            </a:xfrm>
            <a:custGeom>
              <a:avLst/>
              <a:gdLst>
                <a:gd name="T0" fmla="*/ 15 w 30"/>
                <a:gd name="T1" fmla="*/ 29 h 29"/>
                <a:gd name="T2" fmla="*/ 0 w 30"/>
                <a:gd name="T3" fmla="*/ 15 h 29"/>
                <a:gd name="T4" fmla="*/ 15 w 30"/>
                <a:gd name="T5" fmla="*/ 0 h 29"/>
                <a:gd name="T6" fmla="*/ 30 w 30"/>
                <a:gd name="T7" fmla="*/ 15 h 29"/>
                <a:gd name="T8" fmla="*/ 15 w 30"/>
                <a:gd name="T9" fmla="*/ 29 h 29"/>
                <a:gd name="T10" fmla="*/ 15 w 30"/>
                <a:gd name="T11" fmla="*/ 7 h 29"/>
                <a:gd name="T12" fmla="*/ 8 w 30"/>
                <a:gd name="T13" fmla="*/ 15 h 29"/>
                <a:gd name="T14" fmla="*/ 15 w 30"/>
                <a:gd name="T15" fmla="*/ 22 h 29"/>
                <a:gd name="T16" fmla="*/ 22 w 30"/>
                <a:gd name="T17" fmla="*/ 15 h 29"/>
                <a:gd name="T18" fmla="*/ 15 w 30"/>
                <a:gd name="T19" fmla="*/ 7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" h="29">
                  <a:moveTo>
                    <a:pt x="15" y="29"/>
                  </a:moveTo>
                  <a:cubicBezTo>
                    <a:pt x="7" y="29"/>
                    <a:pt x="0" y="23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23" y="0"/>
                    <a:pt x="30" y="7"/>
                    <a:pt x="30" y="15"/>
                  </a:cubicBezTo>
                  <a:cubicBezTo>
                    <a:pt x="30" y="23"/>
                    <a:pt x="23" y="29"/>
                    <a:pt x="15" y="29"/>
                  </a:cubicBezTo>
                  <a:close/>
                  <a:moveTo>
                    <a:pt x="15" y="7"/>
                  </a:moveTo>
                  <a:cubicBezTo>
                    <a:pt x="11" y="7"/>
                    <a:pt x="8" y="11"/>
                    <a:pt x="8" y="15"/>
                  </a:cubicBezTo>
                  <a:cubicBezTo>
                    <a:pt x="8" y="19"/>
                    <a:pt x="11" y="22"/>
                    <a:pt x="15" y="22"/>
                  </a:cubicBezTo>
                  <a:cubicBezTo>
                    <a:pt x="19" y="22"/>
                    <a:pt x="22" y="19"/>
                    <a:pt x="22" y="15"/>
                  </a:cubicBezTo>
                  <a:cubicBezTo>
                    <a:pt x="22" y="11"/>
                    <a:pt x="19" y="7"/>
                    <a:pt x="15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6" name="Freeform 702">
              <a:extLst>
                <a:ext uri="{FF2B5EF4-FFF2-40B4-BE49-F238E27FC236}">
                  <a16:creationId xmlns:a16="http://schemas.microsoft.com/office/drawing/2014/main" id="{121A7F93-E4E2-B338-689F-255A7B3570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210300" y="2519363"/>
              <a:ext cx="33338" cy="34925"/>
            </a:xfrm>
            <a:custGeom>
              <a:avLst/>
              <a:gdLst>
                <a:gd name="T0" fmla="*/ 15 w 29"/>
                <a:gd name="T1" fmla="*/ 29 h 29"/>
                <a:gd name="T2" fmla="*/ 0 w 29"/>
                <a:gd name="T3" fmla="*/ 14 h 29"/>
                <a:gd name="T4" fmla="*/ 15 w 29"/>
                <a:gd name="T5" fmla="*/ 0 h 29"/>
                <a:gd name="T6" fmla="*/ 29 w 29"/>
                <a:gd name="T7" fmla="*/ 14 h 29"/>
                <a:gd name="T8" fmla="*/ 15 w 29"/>
                <a:gd name="T9" fmla="*/ 29 h 29"/>
                <a:gd name="T10" fmla="*/ 15 w 29"/>
                <a:gd name="T11" fmla="*/ 7 h 29"/>
                <a:gd name="T12" fmla="*/ 7 w 29"/>
                <a:gd name="T13" fmla="*/ 14 h 29"/>
                <a:gd name="T14" fmla="*/ 15 w 29"/>
                <a:gd name="T15" fmla="*/ 22 h 29"/>
                <a:gd name="T16" fmla="*/ 22 w 29"/>
                <a:gd name="T17" fmla="*/ 14 h 29"/>
                <a:gd name="T18" fmla="*/ 15 w 29"/>
                <a:gd name="T19" fmla="*/ 7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29">
                  <a:moveTo>
                    <a:pt x="15" y="29"/>
                  </a:moveTo>
                  <a:cubicBezTo>
                    <a:pt x="7" y="29"/>
                    <a:pt x="0" y="22"/>
                    <a:pt x="0" y="14"/>
                  </a:cubicBezTo>
                  <a:cubicBezTo>
                    <a:pt x="0" y="6"/>
                    <a:pt x="7" y="0"/>
                    <a:pt x="15" y="0"/>
                  </a:cubicBezTo>
                  <a:cubicBezTo>
                    <a:pt x="23" y="0"/>
                    <a:pt x="29" y="6"/>
                    <a:pt x="29" y="14"/>
                  </a:cubicBezTo>
                  <a:cubicBezTo>
                    <a:pt x="29" y="22"/>
                    <a:pt x="23" y="29"/>
                    <a:pt x="15" y="29"/>
                  </a:cubicBezTo>
                  <a:close/>
                  <a:moveTo>
                    <a:pt x="15" y="7"/>
                  </a:moveTo>
                  <a:cubicBezTo>
                    <a:pt x="11" y="7"/>
                    <a:pt x="7" y="10"/>
                    <a:pt x="7" y="14"/>
                  </a:cubicBezTo>
                  <a:cubicBezTo>
                    <a:pt x="7" y="18"/>
                    <a:pt x="11" y="22"/>
                    <a:pt x="15" y="22"/>
                  </a:cubicBezTo>
                  <a:cubicBezTo>
                    <a:pt x="19" y="22"/>
                    <a:pt x="22" y="18"/>
                    <a:pt x="22" y="14"/>
                  </a:cubicBezTo>
                  <a:cubicBezTo>
                    <a:pt x="22" y="10"/>
                    <a:pt x="19" y="7"/>
                    <a:pt x="15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1" name="Shape5_20200717_142329">
            <a:extLst>
              <a:ext uri="{FF2B5EF4-FFF2-40B4-BE49-F238E27FC236}">
                <a16:creationId xmlns:a16="http://schemas.microsoft.com/office/drawing/2014/main" id="{08416EE4-1126-5E38-AA98-02BE3B3557F8}"/>
              </a:ext>
            </a:extLst>
          </p:cNvPr>
          <p:cNvGrpSpPr>
            <a:grpSpLocks noChangeAspect="1"/>
          </p:cNvGrpSpPr>
          <p:nvPr/>
        </p:nvGrpSpPr>
        <p:grpSpPr>
          <a:xfrm>
            <a:off x="4522159" y="2649688"/>
            <a:ext cx="536566" cy="358828"/>
            <a:chOff x="-7475538" y="3654426"/>
            <a:chExt cx="254001" cy="169863"/>
          </a:xfrm>
          <a:solidFill>
            <a:schemeClr val="accent1"/>
          </a:solidFill>
        </p:grpSpPr>
        <p:sp>
          <p:nvSpPr>
            <p:cNvPr id="172" name="Freeform 714">
              <a:extLst>
                <a:ext uri="{FF2B5EF4-FFF2-40B4-BE49-F238E27FC236}">
                  <a16:creationId xmlns:a16="http://schemas.microsoft.com/office/drawing/2014/main" id="{A241A19B-5F00-5E8A-8E2E-53AF8D6E81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473950" y="3654426"/>
              <a:ext cx="252413" cy="169863"/>
            </a:xfrm>
            <a:custGeom>
              <a:avLst/>
              <a:gdLst>
                <a:gd name="T0" fmla="*/ 208 w 212"/>
                <a:gd name="T1" fmla="*/ 142 h 142"/>
                <a:gd name="T2" fmla="*/ 3 w 212"/>
                <a:gd name="T3" fmla="*/ 142 h 142"/>
                <a:gd name="T4" fmla="*/ 0 w 212"/>
                <a:gd name="T5" fmla="*/ 139 h 142"/>
                <a:gd name="T6" fmla="*/ 0 w 212"/>
                <a:gd name="T7" fmla="*/ 4 h 142"/>
                <a:gd name="T8" fmla="*/ 3 w 212"/>
                <a:gd name="T9" fmla="*/ 0 h 142"/>
                <a:gd name="T10" fmla="*/ 208 w 212"/>
                <a:gd name="T11" fmla="*/ 0 h 142"/>
                <a:gd name="T12" fmla="*/ 212 w 212"/>
                <a:gd name="T13" fmla="*/ 4 h 142"/>
                <a:gd name="T14" fmla="*/ 212 w 212"/>
                <a:gd name="T15" fmla="*/ 139 h 142"/>
                <a:gd name="T16" fmla="*/ 208 w 212"/>
                <a:gd name="T17" fmla="*/ 142 h 142"/>
                <a:gd name="T18" fmla="*/ 7 w 212"/>
                <a:gd name="T19" fmla="*/ 135 h 142"/>
                <a:gd name="T20" fmla="*/ 205 w 212"/>
                <a:gd name="T21" fmla="*/ 135 h 142"/>
                <a:gd name="T22" fmla="*/ 205 w 212"/>
                <a:gd name="T23" fmla="*/ 7 h 142"/>
                <a:gd name="T24" fmla="*/ 7 w 212"/>
                <a:gd name="T25" fmla="*/ 7 h 142"/>
                <a:gd name="T26" fmla="*/ 7 w 212"/>
                <a:gd name="T27" fmla="*/ 13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2" h="142">
                  <a:moveTo>
                    <a:pt x="208" y="142"/>
                  </a:moveTo>
                  <a:cubicBezTo>
                    <a:pt x="3" y="142"/>
                    <a:pt x="3" y="142"/>
                    <a:pt x="3" y="142"/>
                  </a:cubicBezTo>
                  <a:cubicBezTo>
                    <a:pt x="1" y="142"/>
                    <a:pt x="0" y="141"/>
                    <a:pt x="0" y="139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208" y="0"/>
                    <a:pt x="208" y="0"/>
                    <a:pt x="208" y="0"/>
                  </a:cubicBezTo>
                  <a:cubicBezTo>
                    <a:pt x="210" y="0"/>
                    <a:pt x="212" y="2"/>
                    <a:pt x="212" y="4"/>
                  </a:cubicBezTo>
                  <a:cubicBezTo>
                    <a:pt x="212" y="139"/>
                    <a:pt x="212" y="139"/>
                    <a:pt x="212" y="139"/>
                  </a:cubicBezTo>
                  <a:cubicBezTo>
                    <a:pt x="212" y="141"/>
                    <a:pt x="210" y="142"/>
                    <a:pt x="208" y="142"/>
                  </a:cubicBezTo>
                  <a:close/>
                  <a:moveTo>
                    <a:pt x="7" y="135"/>
                  </a:moveTo>
                  <a:cubicBezTo>
                    <a:pt x="205" y="135"/>
                    <a:pt x="205" y="135"/>
                    <a:pt x="205" y="135"/>
                  </a:cubicBezTo>
                  <a:cubicBezTo>
                    <a:pt x="205" y="7"/>
                    <a:pt x="205" y="7"/>
                    <a:pt x="205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13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3" name="Freeform 715">
              <a:extLst>
                <a:ext uri="{FF2B5EF4-FFF2-40B4-BE49-F238E27FC236}">
                  <a16:creationId xmlns:a16="http://schemas.microsoft.com/office/drawing/2014/main" id="{5D9F13C0-E1B8-4F7A-7895-7ADF36CB433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475538" y="3654426"/>
              <a:ext cx="254000" cy="120650"/>
            </a:xfrm>
            <a:custGeom>
              <a:avLst/>
              <a:gdLst>
                <a:gd name="T0" fmla="*/ 107 w 213"/>
                <a:gd name="T1" fmla="*/ 101 h 101"/>
                <a:gd name="T2" fmla="*/ 104 w 213"/>
                <a:gd name="T3" fmla="*/ 100 h 101"/>
                <a:gd name="T4" fmla="*/ 2 w 213"/>
                <a:gd name="T5" fmla="*/ 7 h 101"/>
                <a:gd name="T6" fmla="*/ 1 w 213"/>
                <a:gd name="T7" fmla="*/ 3 h 101"/>
                <a:gd name="T8" fmla="*/ 4 w 213"/>
                <a:gd name="T9" fmla="*/ 0 h 101"/>
                <a:gd name="T10" fmla="*/ 209 w 213"/>
                <a:gd name="T11" fmla="*/ 0 h 101"/>
                <a:gd name="T12" fmla="*/ 213 w 213"/>
                <a:gd name="T13" fmla="*/ 3 h 101"/>
                <a:gd name="T14" fmla="*/ 212 w 213"/>
                <a:gd name="T15" fmla="*/ 7 h 101"/>
                <a:gd name="T16" fmla="*/ 109 w 213"/>
                <a:gd name="T17" fmla="*/ 100 h 101"/>
                <a:gd name="T18" fmla="*/ 107 w 213"/>
                <a:gd name="T19" fmla="*/ 101 h 101"/>
                <a:gd name="T20" fmla="*/ 13 w 213"/>
                <a:gd name="T21" fmla="*/ 7 h 101"/>
                <a:gd name="T22" fmla="*/ 107 w 213"/>
                <a:gd name="T23" fmla="*/ 92 h 101"/>
                <a:gd name="T24" fmla="*/ 200 w 213"/>
                <a:gd name="T25" fmla="*/ 7 h 101"/>
                <a:gd name="T26" fmla="*/ 13 w 213"/>
                <a:gd name="T27" fmla="*/ 7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3" h="101">
                  <a:moveTo>
                    <a:pt x="107" y="101"/>
                  </a:moveTo>
                  <a:cubicBezTo>
                    <a:pt x="106" y="101"/>
                    <a:pt x="105" y="101"/>
                    <a:pt x="104" y="100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1" y="6"/>
                    <a:pt x="0" y="4"/>
                    <a:pt x="1" y="3"/>
                  </a:cubicBezTo>
                  <a:cubicBezTo>
                    <a:pt x="1" y="1"/>
                    <a:pt x="3" y="0"/>
                    <a:pt x="4" y="0"/>
                  </a:cubicBezTo>
                  <a:cubicBezTo>
                    <a:pt x="209" y="0"/>
                    <a:pt x="209" y="0"/>
                    <a:pt x="209" y="0"/>
                  </a:cubicBezTo>
                  <a:cubicBezTo>
                    <a:pt x="211" y="0"/>
                    <a:pt x="212" y="1"/>
                    <a:pt x="213" y="3"/>
                  </a:cubicBezTo>
                  <a:cubicBezTo>
                    <a:pt x="213" y="4"/>
                    <a:pt x="213" y="6"/>
                    <a:pt x="212" y="7"/>
                  </a:cubicBezTo>
                  <a:cubicBezTo>
                    <a:pt x="109" y="100"/>
                    <a:pt x="109" y="100"/>
                    <a:pt x="109" y="100"/>
                  </a:cubicBezTo>
                  <a:cubicBezTo>
                    <a:pt x="108" y="101"/>
                    <a:pt x="108" y="101"/>
                    <a:pt x="107" y="101"/>
                  </a:cubicBezTo>
                  <a:close/>
                  <a:moveTo>
                    <a:pt x="13" y="7"/>
                  </a:moveTo>
                  <a:cubicBezTo>
                    <a:pt x="107" y="92"/>
                    <a:pt x="107" y="92"/>
                    <a:pt x="107" y="92"/>
                  </a:cubicBezTo>
                  <a:cubicBezTo>
                    <a:pt x="200" y="7"/>
                    <a:pt x="200" y="7"/>
                    <a:pt x="200" y="7"/>
                  </a:cubicBezTo>
                  <a:lnTo>
                    <a:pt x="13" y="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4" name="Freeform 716">
              <a:extLst>
                <a:ext uri="{FF2B5EF4-FFF2-40B4-BE49-F238E27FC236}">
                  <a16:creationId xmlns:a16="http://schemas.microsoft.com/office/drawing/2014/main" id="{82BD0F7C-564F-CB0E-8D2C-181CE901BB5B}"/>
                </a:ext>
              </a:extLst>
            </p:cNvPr>
            <p:cNvSpPr>
              <a:spLocks/>
            </p:cNvSpPr>
            <p:nvPr/>
          </p:nvSpPr>
          <p:spPr bwMode="auto">
            <a:xfrm>
              <a:off x="-7475538" y="3743326"/>
              <a:ext cx="254000" cy="80963"/>
            </a:xfrm>
            <a:custGeom>
              <a:avLst/>
              <a:gdLst>
                <a:gd name="T0" fmla="*/ 209 w 213"/>
                <a:gd name="T1" fmla="*/ 68 h 68"/>
                <a:gd name="T2" fmla="*/ 4 w 213"/>
                <a:gd name="T3" fmla="*/ 68 h 68"/>
                <a:gd name="T4" fmla="*/ 1 w 213"/>
                <a:gd name="T5" fmla="*/ 66 h 68"/>
                <a:gd name="T6" fmla="*/ 2 w 213"/>
                <a:gd name="T7" fmla="*/ 62 h 68"/>
                <a:gd name="T8" fmla="*/ 83 w 213"/>
                <a:gd name="T9" fmla="*/ 1 h 68"/>
                <a:gd name="T10" fmla="*/ 88 w 213"/>
                <a:gd name="T11" fmla="*/ 2 h 68"/>
                <a:gd name="T12" fmla="*/ 88 w 213"/>
                <a:gd name="T13" fmla="*/ 7 h 68"/>
                <a:gd name="T14" fmla="*/ 15 w 213"/>
                <a:gd name="T15" fmla="*/ 61 h 68"/>
                <a:gd name="T16" fmla="*/ 199 w 213"/>
                <a:gd name="T17" fmla="*/ 61 h 68"/>
                <a:gd name="T18" fmla="*/ 127 w 213"/>
                <a:gd name="T19" fmla="*/ 7 h 68"/>
                <a:gd name="T20" fmla="*/ 126 w 213"/>
                <a:gd name="T21" fmla="*/ 2 h 68"/>
                <a:gd name="T22" fmla="*/ 131 w 213"/>
                <a:gd name="T23" fmla="*/ 2 h 68"/>
                <a:gd name="T24" fmla="*/ 211 w 213"/>
                <a:gd name="T25" fmla="*/ 62 h 68"/>
                <a:gd name="T26" fmla="*/ 213 w 213"/>
                <a:gd name="T27" fmla="*/ 66 h 68"/>
                <a:gd name="T28" fmla="*/ 209 w 213"/>
                <a:gd name="T29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3" h="68">
                  <a:moveTo>
                    <a:pt x="209" y="68"/>
                  </a:moveTo>
                  <a:cubicBezTo>
                    <a:pt x="4" y="68"/>
                    <a:pt x="4" y="68"/>
                    <a:pt x="4" y="68"/>
                  </a:cubicBezTo>
                  <a:cubicBezTo>
                    <a:pt x="3" y="68"/>
                    <a:pt x="1" y="67"/>
                    <a:pt x="1" y="66"/>
                  </a:cubicBezTo>
                  <a:cubicBezTo>
                    <a:pt x="0" y="65"/>
                    <a:pt x="1" y="63"/>
                    <a:pt x="2" y="62"/>
                  </a:cubicBezTo>
                  <a:cubicBezTo>
                    <a:pt x="83" y="1"/>
                    <a:pt x="83" y="1"/>
                    <a:pt x="83" y="1"/>
                  </a:cubicBezTo>
                  <a:cubicBezTo>
                    <a:pt x="85" y="0"/>
                    <a:pt x="87" y="0"/>
                    <a:pt x="88" y="2"/>
                  </a:cubicBezTo>
                  <a:cubicBezTo>
                    <a:pt x="90" y="3"/>
                    <a:pt x="89" y="6"/>
                    <a:pt x="88" y="7"/>
                  </a:cubicBezTo>
                  <a:cubicBezTo>
                    <a:pt x="15" y="61"/>
                    <a:pt x="15" y="61"/>
                    <a:pt x="15" y="61"/>
                  </a:cubicBezTo>
                  <a:cubicBezTo>
                    <a:pt x="199" y="61"/>
                    <a:pt x="199" y="61"/>
                    <a:pt x="199" y="61"/>
                  </a:cubicBezTo>
                  <a:cubicBezTo>
                    <a:pt x="127" y="7"/>
                    <a:pt x="127" y="7"/>
                    <a:pt x="127" y="7"/>
                  </a:cubicBezTo>
                  <a:cubicBezTo>
                    <a:pt x="125" y="6"/>
                    <a:pt x="125" y="4"/>
                    <a:pt x="126" y="2"/>
                  </a:cubicBezTo>
                  <a:cubicBezTo>
                    <a:pt x="127" y="1"/>
                    <a:pt x="130" y="1"/>
                    <a:pt x="131" y="2"/>
                  </a:cubicBezTo>
                  <a:cubicBezTo>
                    <a:pt x="211" y="62"/>
                    <a:pt x="211" y="62"/>
                    <a:pt x="211" y="62"/>
                  </a:cubicBezTo>
                  <a:cubicBezTo>
                    <a:pt x="213" y="63"/>
                    <a:pt x="213" y="65"/>
                    <a:pt x="213" y="66"/>
                  </a:cubicBezTo>
                  <a:cubicBezTo>
                    <a:pt x="212" y="67"/>
                    <a:pt x="211" y="68"/>
                    <a:pt x="209" y="6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2" name="Shape0_20200717_142329">
            <a:extLst>
              <a:ext uri="{FF2B5EF4-FFF2-40B4-BE49-F238E27FC236}">
                <a16:creationId xmlns:a16="http://schemas.microsoft.com/office/drawing/2014/main" id="{C842F491-2BDA-28A5-1B20-AE5D8380244F}"/>
              </a:ext>
            </a:extLst>
          </p:cNvPr>
          <p:cNvGrpSpPr>
            <a:grpSpLocks noChangeAspect="1"/>
          </p:cNvGrpSpPr>
          <p:nvPr/>
        </p:nvGrpSpPr>
        <p:grpSpPr>
          <a:xfrm>
            <a:off x="11103600" y="2550759"/>
            <a:ext cx="429250" cy="556686"/>
            <a:chOff x="-4648200" y="3608388"/>
            <a:chExt cx="203200" cy="263525"/>
          </a:xfrm>
          <a:solidFill>
            <a:schemeClr val="accent1"/>
          </a:solidFill>
        </p:grpSpPr>
        <p:sp>
          <p:nvSpPr>
            <p:cNvPr id="164" name="Freeform 717">
              <a:extLst>
                <a:ext uri="{FF2B5EF4-FFF2-40B4-BE49-F238E27FC236}">
                  <a16:creationId xmlns:a16="http://schemas.microsoft.com/office/drawing/2014/main" id="{5E3AE733-4E39-A045-49D5-E6C940CB79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648200" y="3608388"/>
              <a:ext cx="203200" cy="263525"/>
            </a:xfrm>
            <a:custGeom>
              <a:avLst/>
              <a:gdLst>
                <a:gd name="T0" fmla="*/ 153 w 170"/>
                <a:gd name="T1" fmla="*/ 220 h 220"/>
                <a:gd name="T2" fmla="*/ 18 w 170"/>
                <a:gd name="T3" fmla="*/ 220 h 220"/>
                <a:gd name="T4" fmla="*/ 0 w 170"/>
                <a:gd name="T5" fmla="*/ 203 h 220"/>
                <a:gd name="T6" fmla="*/ 0 w 170"/>
                <a:gd name="T7" fmla="*/ 18 h 220"/>
                <a:gd name="T8" fmla="*/ 18 w 170"/>
                <a:gd name="T9" fmla="*/ 0 h 220"/>
                <a:gd name="T10" fmla="*/ 153 w 170"/>
                <a:gd name="T11" fmla="*/ 0 h 220"/>
                <a:gd name="T12" fmla="*/ 170 w 170"/>
                <a:gd name="T13" fmla="*/ 18 h 220"/>
                <a:gd name="T14" fmla="*/ 170 w 170"/>
                <a:gd name="T15" fmla="*/ 203 h 220"/>
                <a:gd name="T16" fmla="*/ 153 w 170"/>
                <a:gd name="T17" fmla="*/ 220 h 220"/>
                <a:gd name="T18" fmla="*/ 18 w 170"/>
                <a:gd name="T19" fmla="*/ 7 h 220"/>
                <a:gd name="T20" fmla="*/ 7 w 170"/>
                <a:gd name="T21" fmla="*/ 18 h 220"/>
                <a:gd name="T22" fmla="*/ 7 w 170"/>
                <a:gd name="T23" fmla="*/ 203 h 220"/>
                <a:gd name="T24" fmla="*/ 18 w 170"/>
                <a:gd name="T25" fmla="*/ 213 h 220"/>
                <a:gd name="T26" fmla="*/ 153 w 170"/>
                <a:gd name="T27" fmla="*/ 213 h 220"/>
                <a:gd name="T28" fmla="*/ 163 w 170"/>
                <a:gd name="T29" fmla="*/ 203 h 220"/>
                <a:gd name="T30" fmla="*/ 163 w 170"/>
                <a:gd name="T31" fmla="*/ 18 h 220"/>
                <a:gd name="T32" fmla="*/ 153 w 170"/>
                <a:gd name="T33" fmla="*/ 7 h 220"/>
                <a:gd name="T34" fmla="*/ 18 w 170"/>
                <a:gd name="T35" fmla="*/ 7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0" h="220">
                  <a:moveTo>
                    <a:pt x="153" y="220"/>
                  </a:moveTo>
                  <a:cubicBezTo>
                    <a:pt x="18" y="220"/>
                    <a:pt x="18" y="220"/>
                    <a:pt x="18" y="220"/>
                  </a:cubicBezTo>
                  <a:cubicBezTo>
                    <a:pt x="8" y="220"/>
                    <a:pt x="0" y="213"/>
                    <a:pt x="0" y="203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63" y="0"/>
                    <a:pt x="170" y="8"/>
                    <a:pt x="170" y="18"/>
                  </a:cubicBezTo>
                  <a:cubicBezTo>
                    <a:pt x="170" y="203"/>
                    <a:pt x="170" y="203"/>
                    <a:pt x="170" y="203"/>
                  </a:cubicBezTo>
                  <a:cubicBezTo>
                    <a:pt x="170" y="213"/>
                    <a:pt x="163" y="220"/>
                    <a:pt x="153" y="220"/>
                  </a:cubicBezTo>
                  <a:close/>
                  <a:moveTo>
                    <a:pt x="18" y="7"/>
                  </a:moveTo>
                  <a:cubicBezTo>
                    <a:pt x="12" y="7"/>
                    <a:pt x="7" y="12"/>
                    <a:pt x="7" y="18"/>
                  </a:cubicBezTo>
                  <a:cubicBezTo>
                    <a:pt x="7" y="203"/>
                    <a:pt x="7" y="203"/>
                    <a:pt x="7" y="203"/>
                  </a:cubicBezTo>
                  <a:cubicBezTo>
                    <a:pt x="7" y="209"/>
                    <a:pt x="12" y="213"/>
                    <a:pt x="18" y="213"/>
                  </a:cubicBezTo>
                  <a:cubicBezTo>
                    <a:pt x="153" y="213"/>
                    <a:pt x="153" y="213"/>
                    <a:pt x="153" y="213"/>
                  </a:cubicBezTo>
                  <a:cubicBezTo>
                    <a:pt x="159" y="213"/>
                    <a:pt x="163" y="209"/>
                    <a:pt x="163" y="203"/>
                  </a:cubicBezTo>
                  <a:cubicBezTo>
                    <a:pt x="163" y="18"/>
                    <a:pt x="163" y="18"/>
                    <a:pt x="163" y="18"/>
                  </a:cubicBezTo>
                  <a:cubicBezTo>
                    <a:pt x="163" y="12"/>
                    <a:pt x="159" y="7"/>
                    <a:pt x="153" y="7"/>
                  </a:cubicBezTo>
                  <a:lnTo>
                    <a:pt x="18" y="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5" name="Freeform 718">
              <a:extLst>
                <a:ext uri="{FF2B5EF4-FFF2-40B4-BE49-F238E27FC236}">
                  <a16:creationId xmlns:a16="http://schemas.microsoft.com/office/drawing/2014/main" id="{FCBC91B6-DC17-ACD3-592D-DE359D5BE4C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621213" y="3608388"/>
              <a:ext cx="149225" cy="34925"/>
            </a:xfrm>
            <a:custGeom>
              <a:avLst/>
              <a:gdLst>
                <a:gd name="T0" fmla="*/ 121 w 124"/>
                <a:gd name="T1" fmla="*/ 29 h 29"/>
                <a:gd name="T2" fmla="*/ 4 w 124"/>
                <a:gd name="T3" fmla="*/ 29 h 29"/>
                <a:gd name="T4" fmla="*/ 0 w 124"/>
                <a:gd name="T5" fmla="*/ 25 h 29"/>
                <a:gd name="T6" fmla="*/ 0 w 124"/>
                <a:gd name="T7" fmla="*/ 4 h 29"/>
                <a:gd name="T8" fmla="*/ 4 w 124"/>
                <a:gd name="T9" fmla="*/ 0 h 29"/>
                <a:gd name="T10" fmla="*/ 121 w 124"/>
                <a:gd name="T11" fmla="*/ 0 h 29"/>
                <a:gd name="T12" fmla="*/ 124 w 124"/>
                <a:gd name="T13" fmla="*/ 4 h 29"/>
                <a:gd name="T14" fmla="*/ 124 w 124"/>
                <a:gd name="T15" fmla="*/ 25 h 29"/>
                <a:gd name="T16" fmla="*/ 121 w 124"/>
                <a:gd name="T17" fmla="*/ 29 h 29"/>
                <a:gd name="T18" fmla="*/ 7 w 124"/>
                <a:gd name="T19" fmla="*/ 22 h 29"/>
                <a:gd name="T20" fmla="*/ 117 w 124"/>
                <a:gd name="T21" fmla="*/ 22 h 29"/>
                <a:gd name="T22" fmla="*/ 117 w 124"/>
                <a:gd name="T23" fmla="*/ 7 h 29"/>
                <a:gd name="T24" fmla="*/ 7 w 124"/>
                <a:gd name="T25" fmla="*/ 7 h 29"/>
                <a:gd name="T26" fmla="*/ 7 w 124"/>
                <a:gd name="T27" fmla="*/ 22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4" h="29">
                  <a:moveTo>
                    <a:pt x="121" y="29"/>
                  </a:moveTo>
                  <a:cubicBezTo>
                    <a:pt x="4" y="29"/>
                    <a:pt x="4" y="29"/>
                    <a:pt x="4" y="29"/>
                  </a:cubicBezTo>
                  <a:cubicBezTo>
                    <a:pt x="2" y="29"/>
                    <a:pt x="0" y="27"/>
                    <a:pt x="0" y="2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21" y="0"/>
                    <a:pt x="121" y="0"/>
                    <a:pt x="121" y="0"/>
                  </a:cubicBezTo>
                  <a:cubicBezTo>
                    <a:pt x="123" y="0"/>
                    <a:pt x="124" y="2"/>
                    <a:pt x="124" y="4"/>
                  </a:cubicBezTo>
                  <a:cubicBezTo>
                    <a:pt x="124" y="25"/>
                    <a:pt x="124" y="25"/>
                    <a:pt x="124" y="25"/>
                  </a:cubicBezTo>
                  <a:cubicBezTo>
                    <a:pt x="124" y="27"/>
                    <a:pt x="123" y="29"/>
                    <a:pt x="121" y="29"/>
                  </a:cubicBezTo>
                  <a:close/>
                  <a:moveTo>
                    <a:pt x="7" y="22"/>
                  </a:moveTo>
                  <a:cubicBezTo>
                    <a:pt x="117" y="22"/>
                    <a:pt x="117" y="22"/>
                    <a:pt x="117" y="22"/>
                  </a:cubicBezTo>
                  <a:cubicBezTo>
                    <a:pt x="117" y="7"/>
                    <a:pt x="117" y="7"/>
                    <a:pt x="117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2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6" name="Freeform 719">
              <a:extLst>
                <a:ext uri="{FF2B5EF4-FFF2-40B4-BE49-F238E27FC236}">
                  <a16:creationId xmlns:a16="http://schemas.microsoft.com/office/drawing/2014/main" id="{99E53C05-0914-999B-C5B6-DB697CA238C1}"/>
                </a:ext>
              </a:extLst>
            </p:cNvPr>
            <p:cNvSpPr>
              <a:spLocks/>
            </p:cNvSpPr>
            <p:nvPr/>
          </p:nvSpPr>
          <p:spPr bwMode="auto">
            <a:xfrm>
              <a:off x="-4610100" y="3681413"/>
              <a:ext cx="41275" cy="30163"/>
            </a:xfrm>
            <a:custGeom>
              <a:avLst/>
              <a:gdLst>
                <a:gd name="T0" fmla="*/ 13 w 35"/>
                <a:gd name="T1" fmla="*/ 26 h 26"/>
                <a:gd name="T2" fmla="*/ 13 w 35"/>
                <a:gd name="T3" fmla="*/ 26 h 26"/>
                <a:gd name="T4" fmla="*/ 11 w 35"/>
                <a:gd name="T5" fmla="*/ 25 h 26"/>
                <a:gd name="T6" fmla="*/ 2 w 35"/>
                <a:gd name="T7" fmla="*/ 16 h 26"/>
                <a:gd name="T8" fmla="*/ 2 w 35"/>
                <a:gd name="T9" fmla="*/ 11 h 26"/>
                <a:gd name="T10" fmla="*/ 7 w 35"/>
                <a:gd name="T11" fmla="*/ 11 h 26"/>
                <a:gd name="T12" fmla="*/ 13 w 35"/>
                <a:gd name="T13" fmla="*/ 17 h 26"/>
                <a:gd name="T14" fmla="*/ 29 w 35"/>
                <a:gd name="T15" fmla="*/ 2 h 26"/>
                <a:gd name="T16" fmla="*/ 34 w 35"/>
                <a:gd name="T17" fmla="*/ 2 h 26"/>
                <a:gd name="T18" fmla="*/ 34 w 35"/>
                <a:gd name="T19" fmla="*/ 7 h 26"/>
                <a:gd name="T20" fmla="*/ 16 w 35"/>
                <a:gd name="T21" fmla="*/ 25 h 26"/>
                <a:gd name="T22" fmla="*/ 13 w 35"/>
                <a:gd name="T23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26">
                  <a:moveTo>
                    <a:pt x="13" y="26"/>
                  </a:moveTo>
                  <a:cubicBezTo>
                    <a:pt x="13" y="26"/>
                    <a:pt x="13" y="26"/>
                    <a:pt x="13" y="26"/>
                  </a:cubicBezTo>
                  <a:cubicBezTo>
                    <a:pt x="12" y="26"/>
                    <a:pt x="11" y="26"/>
                    <a:pt x="11" y="25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0" y="14"/>
                    <a:pt x="0" y="12"/>
                    <a:pt x="2" y="11"/>
                  </a:cubicBezTo>
                  <a:cubicBezTo>
                    <a:pt x="3" y="9"/>
                    <a:pt x="5" y="9"/>
                    <a:pt x="7" y="11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0" y="0"/>
                    <a:pt x="32" y="0"/>
                    <a:pt x="34" y="2"/>
                  </a:cubicBezTo>
                  <a:cubicBezTo>
                    <a:pt x="35" y="3"/>
                    <a:pt x="35" y="6"/>
                    <a:pt x="34" y="7"/>
                  </a:cubicBezTo>
                  <a:cubicBezTo>
                    <a:pt x="16" y="25"/>
                    <a:pt x="16" y="25"/>
                    <a:pt x="16" y="25"/>
                  </a:cubicBezTo>
                  <a:cubicBezTo>
                    <a:pt x="15" y="26"/>
                    <a:pt x="14" y="26"/>
                    <a:pt x="13" y="2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7" name="Freeform 720">
              <a:extLst>
                <a:ext uri="{FF2B5EF4-FFF2-40B4-BE49-F238E27FC236}">
                  <a16:creationId xmlns:a16="http://schemas.microsoft.com/office/drawing/2014/main" id="{7AC0067F-8D52-F0BD-94C7-F2257F47163A}"/>
                </a:ext>
              </a:extLst>
            </p:cNvPr>
            <p:cNvSpPr>
              <a:spLocks/>
            </p:cNvSpPr>
            <p:nvPr/>
          </p:nvSpPr>
          <p:spPr bwMode="auto">
            <a:xfrm>
              <a:off x="-4610100" y="3735388"/>
              <a:ext cx="41275" cy="30163"/>
            </a:xfrm>
            <a:custGeom>
              <a:avLst/>
              <a:gdLst>
                <a:gd name="T0" fmla="*/ 13 w 35"/>
                <a:gd name="T1" fmla="*/ 26 h 26"/>
                <a:gd name="T2" fmla="*/ 13 w 35"/>
                <a:gd name="T3" fmla="*/ 26 h 26"/>
                <a:gd name="T4" fmla="*/ 11 w 35"/>
                <a:gd name="T5" fmla="*/ 25 h 26"/>
                <a:gd name="T6" fmla="*/ 2 w 35"/>
                <a:gd name="T7" fmla="*/ 16 h 26"/>
                <a:gd name="T8" fmla="*/ 2 w 35"/>
                <a:gd name="T9" fmla="*/ 11 h 26"/>
                <a:gd name="T10" fmla="*/ 7 w 35"/>
                <a:gd name="T11" fmla="*/ 11 h 26"/>
                <a:gd name="T12" fmla="*/ 13 w 35"/>
                <a:gd name="T13" fmla="*/ 17 h 26"/>
                <a:gd name="T14" fmla="*/ 29 w 35"/>
                <a:gd name="T15" fmla="*/ 2 h 26"/>
                <a:gd name="T16" fmla="*/ 34 w 35"/>
                <a:gd name="T17" fmla="*/ 2 h 26"/>
                <a:gd name="T18" fmla="*/ 34 w 35"/>
                <a:gd name="T19" fmla="*/ 7 h 26"/>
                <a:gd name="T20" fmla="*/ 16 w 35"/>
                <a:gd name="T21" fmla="*/ 25 h 26"/>
                <a:gd name="T22" fmla="*/ 13 w 35"/>
                <a:gd name="T23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26">
                  <a:moveTo>
                    <a:pt x="13" y="26"/>
                  </a:moveTo>
                  <a:cubicBezTo>
                    <a:pt x="13" y="26"/>
                    <a:pt x="13" y="26"/>
                    <a:pt x="13" y="26"/>
                  </a:cubicBezTo>
                  <a:cubicBezTo>
                    <a:pt x="12" y="26"/>
                    <a:pt x="11" y="25"/>
                    <a:pt x="11" y="25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0" y="14"/>
                    <a:pt x="0" y="12"/>
                    <a:pt x="2" y="11"/>
                  </a:cubicBezTo>
                  <a:cubicBezTo>
                    <a:pt x="3" y="9"/>
                    <a:pt x="5" y="9"/>
                    <a:pt x="7" y="11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0" y="0"/>
                    <a:pt x="32" y="0"/>
                    <a:pt x="34" y="2"/>
                  </a:cubicBezTo>
                  <a:cubicBezTo>
                    <a:pt x="35" y="3"/>
                    <a:pt x="35" y="5"/>
                    <a:pt x="34" y="7"/>
                  </a:cubicBezTo>
                  <a:cubicBezTo>
                    <a:pt x="16" y="25"/>
                    <a:pt x="16" y="25"/>
                    <a:pt x="16" y="25"/>
                  </a:cubicBezTo>
                  <a:cubicBezTo>
                    <a:pt x="15" y="25"/>
                    <a:pt x="14" y="26"/>
                    <a:pt x="13" y="2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8" name="Freeform 721">
              <a:extLst>
                <a:ext uri="{FF2B5EF4-FFF2-40B4-BE49-F238E27FC236}">
                  <a16:creationId xmlns:a16="http://schemas.microsoft.com/office/drawing/2014/main" id="{97DAD21D-1655-6473-E68A-26C3ECF6F2EB}"/>
                </a:ext>
              </a:extLst>
            </p:cNvPr>
            <p:cNvSpPr>
              <a:spLocks/>
            </p:cNvSpPr>
            <p:nvPr/>
          </p:nvSpPr>
          <p:spPr bwMode="auto">
            <a:xfrm>
              <a:off x="-4610100" y="3789363"/>
              <a:ext cx="41275" cy="30163"/>
            </a:xfrm>
            <a:custGeom>
              <a:avLst/>
              <a:gdLst>
                <a:gd name="T0" fmla="*/ 13 w 35"/>
                <a:gd name="T1" fmla="*/ 26 h 26"/>
                <a:gd name="T2" fmla="*/ 13 w 35"/>
                <a:gd name="T3" fmla="*/ 26 h 26"/>
                <a:gd name="T4" fmla="*/ 11 w 35"/>
                <a:gd name="T5" fmla="*/ 25 h 26"/>
                <a:gd name="T6" fmla="*/ 2 w 35"/>
                <a:gd name="T7" fmla="*/ 16 h 26"/>
                <a:gd name="T8" fmla="*/ 2 w 35"/>
                <a:gd name="T9" fmla="*/ 11 h 26"/>
                <a:gd name="T10" fmla="*/ 7 w 35"/>
                <a:gd name="T11" fmla="*/ 11 h 26"/>
                <a:gd name="T12" fmla="*/ 13 w 35"/>
                <a:gd name="T13" fmla="*/ 17 h 26"/>
                <a:gd name="T14" fmla="*/ 29 w 35"/>
                <a:gd name="T15" fmla="*/ 2 h 26"/>
                <a:gd name="T16" fmla="*/ 34 w 35"/>
                <a:gd name="T17" fmla="*/ 2 h 26"/>
                <a:gd name="T18" fmla="*/ 34 w 35"/>
                <a:gd name="T19" fmla="*/ 7 h 26"/>
                <a:gd name="T20" fmla="*/ 16 w 35"/>
                <a:gd name="T21" fmla="*/ 25 h 26"/>
                <a:gd name="T22" fmla="*/ 13 w 35"/>
                <a:gd name="T23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26">
                  <a:moveTo>
                    <a:pt x="13" y="26"/>
                  </a:moveTo>
                  <a:cubicBezTo>
                    <a:pt x="13" y="26"/>
                    <a:pt x="13" y="26"/>
                    <a:pt x="13" y="26"/>
                  </a:cubicBezTo>
                  <a:cubicBezTo>
                    <a:pt x="12" y="26"/>
                    <a:pt x="11" y="25"/>
                    <a:pt x="11" y="25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0" y="14"/>
                    <a:pt x="0" y="12"/>
                    <a:pt x="2" y="11"/>
                  </a:cubicBezTo>
                  <a:cubicBezTo>
                    <a:pt x="3" y="9"/>
                    <a:pt x="5" y="9"/>
                    <a:pt x="7" y="11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0" y="0"/>
                    <a:pt x="32" y="0"/>
                    <a:pt x="34" y="2"/>
                  </a:cubicBezTo>
                  <a:cubicBezTo>
                    <a:pt x="35" y="3"/>
                    <a:pt x="35" y="5"/>
                    <a:pt x="34" y="7"/>
                  </a:cubicBezTo>
                  <a:cubicBezTo>
                    <a:pt x="16" y="25"/>
                    <a:pt x="16" y="25"/>
                    <a:pt x="16" y="25"/>
                  </a:cubicBezTo>
                  <a:cubicBezTo>
                    <a:pt x="15" y="25"/>
                    <a:pt x="14" y="26"/>
                    <a:pt x="13" y="2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9" name="Freeform 722">
              <a:extLst>
                <a:ext uri="{FF2B5EF4-FFF2-40B4-BE49-F238E27FC236}">
                  <a16:creationId xmlns:a16="http://schemas.microsoft.com/office/drawing/2014/main" id="{4D4E39DE-AE78-6FB4-197C-338E818F5E29}"/>
                </a:ext>
              </a:extLst>
            </p:cNvPr>
            <p:cNvSpPr>
              <a:spLocks/>
            </p:cNvSpPr>
            <p:nvPr/>
          </p:nvSpPr>
          <p:spPr bwMode="auto">
            <a:xfrm>
              <a:off x="-4552950" y="3703638"/>
              <a:ext cx="69850" cy="7938"/>
            </a:xfrm>
            <a:custGeom>
              <a:avLst/>
              <a:gdLst>
                <a:gd name="T0" fmla="*/ 54 w 58"/>
                <a:gd name="T1" fmla="*/ 7 h 7"/>
                <a:gd name="T2" fmla="*/ 3 w 58"/>
                <a:gd name="T3" fmla="*/ 7 h 7"/>
                <a:gd name="T4" fmla="*/ 0 w 58"/>
                <a:gd name="T5" fmla="*/ 3 h 7"/>
                <a:gd name="T6" fmla="*/ 3 w 58"/>
                <a:gd name="T7" fmla="*/ 0 h 7"/>
                <a:gd name="T8" fmla="*/ 54 w 58"/>
                <a:gd name="T9" fmla="*/ 0 h 7"/>
                <a:gd name="T10" fmla="*/ 58 w 58"/>
                <a:gd name="T11" fmla="*/ 3 h 7"/>
                <a:gd name="T12" fmla="*/ 54 w 58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8" h="7">
                  <a:moveTo>
                    <a:pt x="54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6" y="0"/>
                    <a:pt x="58" y="1"/>
                    <a:pt x="58" y="3"/>
                  </a:cubicBezTo>
                  <a:cubicBezTo>
                    <a:pt x="58" y="5"/>
                    <a:pt x="56" y="7"/>
                    <a:pt x="54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0" name="Freeform 723">
              <a:extLst>
                <a:ext uri="{FF2B5EF4-FFF2-40B4-BE49-F238E27FC236}">
                  <a16:creationId xmlns:a16="http://schemas.microsoft.com/office/drawing/2014/main" id="{A2EC2500-FF80-9C72-F730-AA8A936ABC9E}"/>
                </a:ext>
              </a:extLst>
            </p:cNvPr>
            <p:cNvSpPr>
              <a:spLocks/>
            </p:cNvSpPr>
            <p:nvPr/>
          </p:nvSpPr>
          <p:spPr bwMode="auto">
            <a:xfrm>
              <a:off x="-4552950" y="3757613"/>
              <a:ext cx="69850" cy="7938"/>
            </a:xfrm>
            <a:custGeom>
              <a:avLst/>
              <a:gdLst>
                <a:gd name="T0" fmla="*/ 54 w 58"/>
                <a:gd name="T1" fmla="*/ 7 h 7"/>
                <a:gd name="T2" fmla="*/ 3 w 58"/>
                <a:gd name="T3" fmla="*/ 7 h 7"/>
                <a:gd name="T4" fmla="*/ 0 w 58"/>
                <a:gd name="T5" fmla="*/ 3 h 7"/>
                <a:gd name="T6" fmla="*/ 3 w 58"/>
                <a:gd name="T7" fmla="*/ 0 h 7"/>
                <a:gd name="T8" fmla="*/ 54 w 58"/>
                <a:gd name="T9" fmla="*/ 0 h 7"/>
                <a:gd name="T10" fmla="*/ 58 w 58"/>
                <a:gd name="T11" fmla="*/ 3 h 7"/>
                <a:gd name="T12" fmla="*/ 54 w 58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8" h="7">
                  <a:moveTo>
                    <a:pt x="54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6" y="0"/>
                    <a:pt x="58" y="1"/>
                    <a:pt x="58" y="3"/>
                  </a:cubicBezTo>
                  <a:cubicBezTo>
                    <a:pt x="58" y="5"/>
                    <a:pt x="56" y="7"/>
                    <a:pt x="54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1" name="Freeform 724">
              <a:extLst>
                <a:ext uri="{FF2B5EF4-FFF2-40B4-BE49-F238E27FC236}">
                  <a16:creationId xmlns:a16="http://schemas.microsoft.com/office/drawing/2014/main" id="{EBE36A86-0BFF-2796-DA41-703F40F75C03}"/>
                </a:ext>
              </a:extLst>
            </p:cNvPr>
            <p:cNvSpPr>
              <a:spLocks/>
            </p:cNvSpPr>
            <p:nvPr/>
          </p:nvSpPr>
          <p:spPr bwMode="auto">
            <a:xfrm>
              <a:off x="-4552950" y="3810001"/>
              <a:ext cx="69850" cy="9525"/>
            </a:xfrm>
            <a:custGeom>
              <a:avLst/>
              <a:gdLst>
                <a:gd name="T0" fmla="*/ 54 w 58"/>
                <a:gd name="T1" fmla="*/ 8 h 8"/>
                <a:gd name="T2" fmla="*/ 3 w 58"/>
                <a:gd name="T3" fmla="*/ 8 h 8"/>
                <a:gd name="T4" fmla="*/ 0 w 58"/>
                <a:gd name="T5" fmla="*/ 4 h 8"/>
                <a:gd name="T6" fmla="*/ 3 w 58"/>
                <a:gd name="T7" fmla="*/ 0 h 8"/>
                <a:gd name="T8" fmla="*/ 54 w 58"/>
                <a:gd name="T9" fmla="*/ 0 h 8"/>
                <a:gd name="T10" fmla="*/ 58 w 58"/>
                <a:gd name="T11" fmla="*/ 4 h 8"/>
                <a:gd name="T12" fmla="*/ 54 w 58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8" h="8">
                  <a:moveTo>
                    <a:pt x="54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1" y="8"/>
                    <a:pt x="0" y="6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6" y="0"/>
                    <a:pt x="58" y="2"/>
                    <a:pt x="58" y="4"/>
                  </a:cubicBezTo>
                  <a:cubicBezTo>
                    <a:pt x="58" y="6"/>
                    <a:pt x="56" y="8"/>
                    <a:pt x="54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3" name="Shape6_20200717_142329">
            <a:extLst>
              <a:ext uri="{FF2B5EF4-FFF2-40B4-BE49-F238E27FC236}">
                <a16:creationId xmlns:a16="http://schemas.microsoft.com/office/drawing/2014/main" id="{34160691-338C-E3DA-0734-D871B1D1DCB1}"/>
              </a:ext>
            </a:extLst>
          </p:cNvPr>
          <p:cNvGrpSpPr>
            <a:grpSpLocks noChangeAspect="1"/>
          </p:cNvGrpSpPr>
          <p:nvPr/>
        </p:nvGrpSpPr>
        <p:grpSpPr>
          <a:xfrm>
            <a:off x="9850023" y="1267001"/>
            <a:ext cx="325292" cy="513088"/>
            <a:chOff x="-6864350" y="3009901"/>
            <a:chExt cx="153988" cy="242888"/>
          </a:xfrm>
          <a:solidFill>
            <a:schemeClr val="accent1"/>
          </a:solidFill>
        </p:grpSpPr>
        <p:sp>
          <p:nvSpPr>
            <p:cNvPr id="160" name="Freeform 725">
              <a:extLst>
                <a:ext uri="{FF2B5EF4-FFF2-40B4-BE49-F238E27FC236}">
                  <a16:creationId xmlns:a16="http://schemas.microsoft.com/office/drawing/2014/main" id="{5D5DEBD0-DC93-11D6-2100-83621E813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864350" y="3009901"/>
              <a:ext cx="153988" cy="242888"/>
            </a:xfrm>
            <a:custGeom>
              <a:avLst/>
              <a:gdLst>
                <a:gd name="T0" fmla="*/ 108 w 128"/>
                <a:gd name="T1" fmla="*/ 204 h 204"/>
                <a:gd name="T2" fmla="*/ 20 w 128"/>
                <a:gd name="T3" fmla="*/ 204 h 204"/>
                <a:gd name="T4" fmla="*/ 0 w 128"/>
                <a:gd name="T5" fmla="*/ 185 h 204"/>
                <a:gd name="T6" fmla="*/ 0 w 128"/>
                <a:gd name="T7" fmla="*/ 19 h 204"/>
                <a:gd name="T8" fmla="*/ 20 w 128"/>
                <a:gd name="T9" fmla="*/ 0 h 204"/>
                <a:gd name="T10" fmla="*/ 108 w 128"/>
                <a:gd name="T11" fmla="*/ 0 h 204"/>
                <a:gd name="T12" fmla="*/ 128 w 128"/>
                <a:gd name="T13" fmla="*/ 19 h 204"/>
                <a:gd name="T14" fmla="*/ 128 w 128"/>
                <a:gd name="T15" fmla="*/ 185 h 204"/>
                <a:gd name="T16" fmla="*/ 108 w 128"/>
                <a:gd name="T17" fmla="*/ 204 h 204"/>
                <a:gd name="T18" fmla="*/ 20 w 128"/>
                <a:gd name="T19" fmla="*/ 7 h 204"/>
                <a:gd name="T20" fmla="*/ 8 w 128"/>
                <a:gd name="T21" fmla="*/ 19 h 204"/>
                <a:gd name="T22" fmla="*/ 8 w 128"/>
                <a:gd name="T23" fmla="*/ 185 h 204"/>
                <a:gd name="T24" fmla="*/ 20 w 128"/>
                <a:gd name="T25" fmla="*/ 197 h 204"/>
                <a:gd name="T26" fmla="*/ 108 w 128"/>
                <a:gd name="T27" fmla="*/ 197 h 204"/>
                <a:gd name="T28" fmla="*/ 120 w 128"/>
                <a:gd name="T29" fmla="*/ 185 h 204"/>
                <a:gd name="T30" fmla="*/ 120 w 128"/>
                <a:gd name="T31" fmla="*/ 19 h 204"/>
                <a:gd name="T32" fmla="*/ 108 w 128"/>
                <a:gd name="T33" fmla="*/ 7 h 204"/>
                <a:gd name="T34" fmla="*/ 20 w 128"/>
                <a:gd name="T35" fmla="*/ 7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8" h="204">
                  <a:moveTo>
                    <a:pt x="108" y="204"/>
                  </a:moveTo>
                  <a:cubicBezTo>
                    <a:pt x="20" y="204"/>
                    <a:pt x="20" y="204"/>
                    <a:pt x="20" y="204"/>
                  </a:cubicBezTo>
                  <a:cubicBezTo>
                    <a:pt x="9" y="204"/>
                    <a:pt x="0" y="195"/>
                    <a:pt x="0" y="185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19" y="0"/>
                    <a:pt x="128" y="9"/>
                    <a:pt x="128" y="19"/>
                  </a:cubicBezTo>
                  <a:cubicBezTo>
                    <a:pt x="128" y="185"/>
                    <a:pt x="128" y="185"/>
                    <a:pt x="128" y="185"/>
                  </a:cubicBezTo>
                  <a:cubicBezTo>
                    <a:pt x="128" y="195"/>
                    <a:pt x="119" y="204"/>
                    <a:pt x="108" y="204"/>
                  </a:cubicBezTo>
                  <a:close/>
                  <a:moveTo>
                    <a:pt x="20" y="7"/>
                  </a:moveTo>
                  <a:cubicBezTo>
                    <a:pt x="13" y="7"/>
                    <a:pt x="8" y="13"/>
                    <a:pt x="8" y="19"/>
                  </a:cubicBezTo>
                  <a:cubicBezTo>
                    <a:pt x="8" y="185"/>
                    <a:pt x="8" y="185"/>
                    <a:pt x="8" y="185"/>
                  </a:cubicBezTo>
                  <a:cubicBezTo>
                    <a:pt x="8" y="191"/>
                    <a:pt x="13" y="197"/>
                    <a:pt x="20" y="197"/>
                  </a:cubicBezTo>
                  <a:cubicBezTo>
                    <a:pt x="108" y="197"/>
                    <a:pt x="108" y="197"/>
                    <a:pt x="108" y="197"/>
                  </a:cubicBezTo>
                  <a:cubicBezTo>
                    <a:pt x="115" y="197"/>
                    <a:pt x="120" y="191"/>
                    <a:pt x="120" y="185"/>
                  </a:cubicBezTo>
                  <a:cubicBezTo>
                    <a:pt x="120" y="19"/>
                    <a:pt x="120" y="19"/>
                    <a:pt x="120" y="19"/>
                  </a:cubicBezTo>
                  <a:cubicBezTo>
                    <a:pt x="120" y="13"/>
                    <a:pt x="115" y="7"/>
                    <a:pt x="108" y="7"/>
                  </a:cubicBezTo>
                  <a:lnTo>
                    <a:pt x="20" y="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1" name="Freeform 726">
              <a:extLst>
                <a:ext uri="{FF2B5EF4-FFF2-40B4-BE49-F238E27FC236}">
                  <a16:creationId xmlns:a16="http://schemas.microsoft.com/office/drawing/2014/main" id="{765AFFA9-3159-CB02-B766-6875CCAC35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864350" y="3043238"/>
              <a:ext cx="153988" cy="171450"/>
            </a:xfrm>
            <a:custGeom>
              <a:avLst/>
              <a:gdLst>
                <a:gd name="T0" fmla="*/ 124 w 128"/>
                <a:gd name="T1" fmla="*/ 144 h 144"/>
                <a:gd name="T2" fmla="*/ 4 w 128"/>
                <a:gd name="T3" fmla="*/ 144 h 144"/>
                <a:gd name="T4" fmla="*/ 0 w 128"/>
                <a:gd name="T5" fmla="*/ 140 h 144"/>
                <a:gd name="T6" fmla="*/ 0 w 128"/>
                <a:gd name="T7" fmla="*/ 4 h 144"/>
                <a:gd name="T8" fmla="*/ 4 w 128"/>
                <a:gd name="T9" fmla="*/ 0 h 144"/>
                <a:gd name="T10" fmla="*/ 124 w 128"/>
                <a:gd name="T11" fmla="*/ 0 h 144"/>
                <a:gd name="T12" fmla="*/ 128 w 128"/>
                <a:gd name="T13" fmla="*/ 4 h 144"/>
                <a:gd name="T14" fmla="*/ 128 w 128"/>
                <a:gd name="T15" fmla="*/ 140 h 144"/>
                <a:gd name="T16" fmla="*/ 124 w 128"/>
                <a:gd name="T17" fmla="*/ 144 h 144"/>
                <a:gd name="T18" fmla="*/ 8 w 128"/>
                <a:gd name="T19" fmla="*/ 136 h 144"/>
                <a:gd name="T20" fmla="*/ 120 w 128"/>
                <a:gd name="T21" fmla="*/ 136 h 144"/>
                <a:gd name="T22" fmla="*/ 120 w 128"/>
                <a:gd name="T23" fmla="*/ 7 h 144"/>
                <a:gd name="T24" fmla="*/ 8 w 128"/>
                <a:gd name="T25" fmla="*/ 7 h 144"/>
                <a:gd name="T26" fmla="*/ 8 w 128"/>
                <a:gd name="T27" fmla="*/ 136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8" h="144">
                  <a:moveTo>
                    <a:pt x="124" y="144"/>
                  </a:moveTo>
                  <a:cubicBezTo>
                    <a:pt x="4" y="144"/>
                    <a:pt x="4" y="144"/>
                    <a:pt x="4" y="144"/>
                  </a:cubicBezTo>
                  <a:cubicBezTo>
                    <a:pt x="2" y="144"/>
                    <a:pt x="0" y="142"/>
                    <a:pt x="0" y="14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26" y="0"/>
                    <a:pt x="128" y="2"/>
                    <a:pt x="128" y="4"/>
                  </a:cubicBezTo>
                  <a:cubicBezTo>
                    <a:pt x="128" y="140"/>
                    <a:pt x="128" y="140"/>
                    <a:pt x="128" y="140"/>
                  </a:cubicBezTo>
                  <a:cubicBezTo>
                    <a:pt x="128" y="142"/>
                    <a:pt x="126" y="144"/>
                    <a:pt x="124" y="144"/>
                  </a:cubicBezTo>
                  <a:close/>
                  <a:moveTo>
                    <a:pt x="8" y="136"/>
                  </a:moveTo>
                  <a:cubicBezTo>
                    <a:pt x="120" y="136"/>
                    <a:pt x="120" y="136"/>
                    <a:pt x="120" y="136"/>
                  </a:cubicBezTo>
                  <a:cubicBezTo>
                    <a:pt x="120" y="7"/>
                    <a:pt x="120" y="7"/>
                    <a:pt x="120" y="7"/>
                  </a:cubicBezTo>
                  <a:cubicBezTo>
                    <a:pt x="8" y="7"/>
                    <a:pt x="8" y="7"/>
                    <a:pt x="8" y="7"/>
                  </a:cubicBezTo>
                  <a:lnTo>
                    <a:pt x="8" y="13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2" name="Freeform 727">
              <a:extLst>
                <a:ext uri="{FF2B5EF4-FFF2-40B4-BE49-F238E27FC236}">
                  <a16:creationId xmlns:a16="http://schemas.microsoft.com/office/drawing/2014/main" id="{2749E49D-C7BE-E76E-B5DF-6E2D882E344A}"/>
                </a:ext>
              </a:extLst>
            </p:cNvPr>
            <p:cNvSpPr>
              <a:spLocks/>
            </p:cNvSpPr>
            <p:nvPr/>
          </p:nvSpPr>
          <p:spPr bwMode="auto">
            <a:xfrm>
              <a:off x="-6805613" y="3025776"/>
              <a:ext cx="36513" cy="7938"/>
            </a:xfrm>
            <a:custGeom>
              <a:avLst/>
              <a:gdLst>
                <a:gd name="T0" fmla="*/ 26 w 30"/>
                <a:gd name="T1" fmla="*/ 7 h 7"/>
                <a:gd name="T2" fmla="*/ 4 w 30"/>
                <a:gd name="T3" fmla="*/ 7 h 7"/>
                <a:gd name="T4" fmla="*/ 0 w 30"/>
                <a:gd name="T5" fmla="*/ 4 h 7"/>
                <a:gd name="T6" fmla="*/ 4 w 30"/>
                <a:gd name="T7" fmla="*/ 0 h 7"/>
                <a:gd name="T8" fmla="*/ 26 w 30"/>
                <a:gd name="T9" fmla="*/ 0 h 7"/>
                <a:gd name="T10" fmla="*/ 30 w 30"/>
                <a:gd name="T11" fmla="*/ 4 h 7"/>
                <a:gd name="T12" fmla="*/ 26 w 30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7">
                  <a:moveTo>
                    <a:pt x="26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8" y="0"/>
                    <a:pt x="30" y="2"/>
                    <a:pt x="30" y="4"/>
                  </a:cubicBezTo>
                  <a:cubicBezTo>
                    <a:pt x="30" y="6"/>
                    <a:pt x="28" y="7"/>
                    <a:pt x="26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3" name="Freeform 728">
              <a:extLst>
                <a:ext uri="{FF2B5EF4-FFF2-40B4-BE49-F238E27FC236}">
                  <a16:creationId xmlns:a16="http://schemas.microsoft.com/office/drawing/2014/main" id="{1A674EF9-6ABC-C3E5-0EC8-B946984B7FB3}"/>
                </a:ext>
              </a:extLst>
            </p:cNvPr>
            <p:cNvSpPr>
              <a:spLocks/>
            </p:cNvSpPr>
            <p:nvPr/>
          </p:nvSpPr>
          <p:spPr bwMode="auto">
            <a:xfrm>
              <a:off x="-6792913" y="3225801"/>
              <a:ext cx="11113" cy="7938"/>
            </a:xfrm>
            <a:custGeom>
              <a:avLst/>
              <a:gdLst>
                <a:gd name="T0" fmla="*/ 7 w 10"/>
                <a:gd name="T1" fmla="*/ 7 h 7"/>
                <a:gd name="T2" fmla="*/ 3 w 10"/>
                <a:gd name="T3" fmla="*/ 7 h 7"/>
                <a:gd name="T4" fmla="*/ 0 w 10"/>
                <a:gd name="T5" fmla="*/ 4 h 7"/>
                <a:gd name="T6" fmla="*/ 3 w 10"/>
                <a:gd name="T7" fmla="*/ 0 h 7"/>
                <a:gd name="T8" fmla="*/ 7 w 10"/>
                <a:gd name="T9" fmla="*/ 0 h 7"/>
                <a:gd name="T10" fmla="*/ 10 w 10"/>
                <a:gd name="T11" fmla="*/ 4 h 7"/>
                <a:gd name="T12" fmla="*/ 7 w 10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7">
                  <a:moveTo>
                    <a:pt x="7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6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9" y="0"/>
                    <a:pt x="10" y="2"/>
                    <a:pt x="10" y="4"/>
                  </a:cubicBezTo>
                  <a:cubicBezTo>
                    <a:pt x="10" y="6"/>
                    <a:pt x="9" y="7"/>
                    <a:pt x="7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4" name="Shape7_20200717_142329">
            <a:extLst>
              <a:ext uri="{FF2B5EF4-FFF2-40B4-BE49-F238E27FC236}">
                <a16:creationId xmlns:a16="http://schemas.microsoft.com/office/drawing/2014/main" id="{61CF0815-D017-D1B1-56C4-5CFEC66F4AC6}"/>
              </a:ext>
            </a:extLst>
          </p:cNvPr>
          <p:cNvGrpSpPr>
            <a:grpSpLocks noChangeAspect="1"/>
          </p:cNvGrpSpPr>
          <p:nvPr/>
        </p:nvGrpSpPr>
        <p:grpSpPr>
          <a:xfrm>
            <a:off x="5790827" y="3888173"/>
            <a:ext cx="610342" cy="492970"/>
            <a:chOff x="-5251450" y="4229101"/>
            <a:chExt cx="288925" cy="233363"/>
          </a:xfrm>
          <a:solidFill>
            <a:schemeClr val="accent1"/>
          </a:solidFill>
        </p:grpSpPr>
        <p:sp>
          <p:nvSpPr>
            <p:cNvPr id="151" name="Freeform 729">
              <a:extLst>
                <a:ext uri="{FF2B5EF4-FFF2-40B4-BE49-F238E27FC236}">
                  <a16:creationId xmlns:a16="http://schemas.microsoft.com/office/drawing/2014/main" id="{5790C6A9-BEF4-4A29-D82C-5A6E91E219A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251450" y="4229101"/>
              <a:ext cx="288925" cy="233363"/>
            </a:xfrm>
            <a:custGeom>
              <a:avLst/>
              <a:gdLst>
                <a:gd name="T0" fmla="*/ 226 w 241"/>
                <a:gd name="T1" fmla="*/ 195 h 195"/>
                <a:gd name="T2" fmla="*/ 16 w 241"/>
                <a:gd name="T3" fmla="*/ 195 h 195"/>
                <a:gd name="T4" fmla="*/ 0 w 241"/>
                <a:gd name="T5" fmla="*/ 180 h 195"/>
                <a:gd name="T6" fmla="*/ 0 w 241"/>
                <a:gd name="T7" fmla="*/ 16 h 195"/>
                <a:gd name="T8" fmla="*/ 16 w 241"/>
                <a:gd name="T9" fmla="*/ 0 h 195"/>
                <a:gd name="T10" fmla="*/ 226 w 241"/>
                <a:gd name="T11" fmla="*/ 0 h 195"/>
                <a:gd name="T12" fmla="*/ 241 w 241"/>
                <a:gd name="T13" fmla="*/ 16 h 195"/>
                <a:gd name="T14" fmla="*/ 241 w 241"/>
                <a:gd name="T15" fmla="*/ 180 h 195"/>
                <a:gd name="T16" fmla="*/ 226 w 241"/>
                <a:gd name="T17" fmla="*/ 195 h 195"/>
                <a:gd name="T18" fmla="*/ 16 w 241"/>
                <a:gd name="T19" fmla="*/ 7 h 195"/>
                <a:gd name="T20" fmla="*/ 8 w 241"/>
                <a:gd name="T21" fmla="*/ 16 h 195"/>
                <a:gd name="T22" fmla="*/ 8 w 241"/>
                <a:gd name="T23" fmla="*/ 180 h 195"/>
                <a:gd name="T24" fmla="*/ 16 w 241"/>
                <a:gd name="T25" fmla="*/ 188 h 195"/>
                <a:gd name="T26" fmla="*/ 226 w 241"/>
                <a:gd name="T27" fmla="*/ 188 h 195"/>
                <a:gd name="T28" fmla="*/ 234 w 241"/>
                <a:gd name="T29" fmla="*/ 180 h 195"/>
                <a:gd name="T30" fmla="*/ 234 w 241"/>
                <a:gd name="T31" fmla="*/ 16 h 195"/>
                <a:gd name="T32" fmla="*/ 226 w 241"/>
                <a:gd name="T33" fmla="*/ 7 h 195"/>
                <a:gd name="T34" fmla="*/ 16 w 241"/>
                <a:gd name="T35" fmla="*/ 7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195">
                  <a:moveTo>
                    <a:pt x="226" y="195"/>
                  </a:moveTo>
                  <a:cubicBezTo>
                    <a:pt x="16" y="195"/>
                    <a:pt x="16" y="195"/>
                    <a:pt x="16" y="195"/>
                  </a:cubicBezTo>
                  <a:cubicBezTo>
                    <a:pt x="7" y="195"/>
                    <a:pt x="0" y="188"/>
                    <a:pt x="0" y="180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226" y="0"/>
                    <a:pt x="226" y="0"/>
                    <a:pt x="226" y="0"/>
                  </a:cubicBezTo>
                  <a:cubicBezTo>
                    <a:pt x="234" y="0"/>
                    <a:pt x="241" y="7"/>
                    <a:pt x="241" y="16"/>
                  </a:cubicBezTo>
                  <a:cubicBezTo>
                    <a:pt x="241" y="180"/>
                    <a:pt x="241" y="180"/>
                    <a:pt x="241" y="180"/>
                  </a:cubicBezTo>
                  <a:cubicBezTo>
                    <a:pt x="241" y="188"/>
                    <a:pt x="234" y="195"/>
                    <a:pt x="226" y="195"/>
                  </a:cubicBezTo>
                  <a:close/>
                  <a:moveTo>
                    <a:pt x="16" y="7"/>
                  </a:moveTo>
                  <a:cubicBezTo>
                    <a:pt x="11" y="7"/>
                    <a:pt x="8" y="11"/>
                    <a:pt x="8" y="16"/>
                  </a:cubicBezTo>
                  <a:cubicBezTo>
                    <a:pt x="8" y="180"/>
                    <a:pt x="8" y="180"/>
                    <a:pt x="8" y="180"/>
                  </a:cubicBezTo>
                  <a:cubicBezTo>
                    <a:pt x="8" y="184"/>
                    <a:pt x="11" y="188"/>
                    <a:pt x="16" y="188"/>
                  </a:cubicBezTo>
                  <a:cubicBezTo>
                    <a:pt x="226" y="188"/>
                    <a:pt x="226" y="188"/>
                    <a:pt x="226" y="188"/>
                  </a:cubicBezTo>
                  <a:cubicBezTo>
                    <a:pt x="230" y="188"/>
                    <a:pt x="234" y="184"/>
                    <a:pt x="234" y="180"/>
                  </a:cubicBezTo>
                  <a:cubicBezTo>
                    <a:pt x="234" y="16"/>
                    <a:pt x="234" y="16"/>
                    <a:pt x="234" y="16"/>
                  </a:cubicBezTo>
                  <a:cubicBezTo>
                    <a:pt x="234" y="11"/>
                    <a:pt x="230" y="7"/>
                    <a:pt x="226" y="7"/>
                  </a:cubicBezTo>
                  <a:lnTo>
                    <a:pt x="16" y="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2" name="Freeform 730">
              <a:extLst>
                <a:ext uri="{FF2B5EF4-FFF2-40B4-BE49-F238E27FC236}">
                  <a16:creationId xmlns:a16="http://schemas.microsoft.com/office/drawing/2014/main" id="{15866C06-475B-BCFE-4A43-8749EFAB546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251450" y="4229101"/>
              <a:ext cx="288925" cy="52388"/>
            </a:xfrm>
            <a:custGeom>
              <a:avLst/>
              <a:gdLst>
                <a:gd name="T0" fmla="*/ 238 w 241"/>
                <a:gd name="T1" fmla="*/ 44 h 44"/>
                <a:gd name="T2" fmla="*/ 4 w 241"/>
                <a:gd name="T3" fmla="*/ 44 h 44"/>
                <a:gd name="T4" fmla="*/ 0 w 241"/>
                <a:gd name="T5" fmla="*/ 40 h 44"/>
                <a:gd name="T6" fmla="*/ 0 w 241"/>
                <a:gd name="T7" fmla="*/ 16 h 44"/>
                <a:gd name="T8" fmla="*/ 16 w 241"/>
                <a:gd name="T9" fmla="*/ 0 h 44"/>
                <a:gd name="T10" fmla="*/ 226 w 241"/>
                <a:gd name="T11" fmla="*/ 0 h 44"/>
                <a:gd name="T12" fmla="*/ 241 w 241"/>
                <a:gd name="T13" fmla="*/ 16 h 44"/>
                <a:gd name="T14" fmla="*/ 241 w 241"/>
                <a:gd name="T15" fmla="*/ 40 h 44"/>
                <a:gd name="T16" fmla="*/ 238 w 241"/>
                <a:gd name="T17" fmla="*/ 44 h 44"/>
                <a:gd name="T18" fmla="*/ 8 w 241"/>
                <a:gd name="T19" fmla="*/ 36 h 44"/>
                <a:gd name="T20" fmla="*/ 234 w 241"/>
                <a:gd name="T21" fmla="*/ 36 h 44"/>
                <a:gd name="T22" fmla="*/ 234 w 241"/>
                <a:gd name="T23" fmla="*/ 16 h 44"/>
                <a:gd name="T24" fmla="*/ 226 w 241"/>
                <a:gd name="T25" fmla="*/ 7 h 44"/>
                <a:gd name="T26" fmla="*/ 16 w 241"/>
                <a:gd name="T27" fmla="*/ 7 h 44"/>
                <a:gd name="T28" fmla="*/ 8 w 241"/>
                <a:gd name="T29" fmla="*/ 16 h 44"/>
                <a:gd name="T30" fmla="*/ 8 w 241"/>
                <a:gd name="T31" fmla="*/ 3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41" h="44">
                  <a:moveTo>
                    <a:pt x="238" y="44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" y="44"/>
                    <a:pt x="0" y="42"/>
                    <a:pt x="0" y="40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226" y="0"/>
                    <a:pt x="226" y="0"/>
                    <a:pt x="226" y="0"/>
                  </a:cubicBezTo>
                  <a:cubicBezTo>
                    <a:pt x="234" y="0"/>
                    <a:pt x="241" y="7"/>
                    <a:pt x="241" y="16"/>
                  </a:cubicBezTo>
                  <a:cubicBezTo>
                    <a:pt x="241" y="40"/>
                    <a:pt x="241" y="40"/>
                    <a:pt x="241" y="40"/>
                  </a:cubicBezTo>
                  <a:cubicBezTo>
                    <a:pt x="241" y="42"/>
                    <a:pt x="240" y="44"/>
                    <a:pt x="238" y="44"/>
                  </a:cubicBezTo>
                  <a:close/>
                  <a:moveTo>
                    <a:pt x="8" y="36"/>
                  </a:moveTo>
                  <a:cubicBezTo>
                    <a:pt x="234" y="36"/>
                    <a:pt x="234" y="36"/>
                    <a:pt x="234" y="36"/>
                  </a:cubicBezTo>
                  <a:cubicBezTo>
                    <a:pt x="234" y="16"/>
                    <a:pt x="234" y="16"/>
                    <a:pt x="234" y="16"/>
                  </a:cubicBezTo>
                  <a:cubicBezTo>
                    <a:pt x="234" y="11"/>
                    <a:pt x="230" y="7"/>
                    <a:pt x="22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1" y="7"/>
                    <a:pt x="8" y="11"/>
                    <a:pt x="8" y="16"/>
                  </a:cubicBezTo>
                  <a:lnTo>
                    <a:pt x="8" y="3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3" name="Freeform 731">
              <a:extLst>
                <a:ext uri="{FF2B5EF4-FFF2-40B4-BE49-F238E27FC236}">
                  <a16:creationId xmlns:a16="http://schemas.microsoft.com/office/drawing/2014/main" id="{A62A3F8E-72D4-804E-BE8B-3F1BB928A277}"/>
                </a:ext>
              </a:extLst>
            </p:cNvPr>
            <p:cNvSpPr>
              <a:spLocks/>
            </p:cNvSpPr>
            <p:nvPr/>
          </p:nvSpPr>
          <p:spPr bwMode="auto">
            <a:xfrm>
              <a:off x="-5229225" y="4251326"/>
              <a:ext cx="9525" cy="9525"/>
            </a:xfrm>
            <a:custGeom>
              <a:avLst/>
              <a:gdLst>
                <a:gd name="T0" fmla="*/ 3 w 7"/>
                <a:gd name="T1" fmla="*/ 8 h 8"/>
                <a:gd name="T2" fmla="*/ 2 w 7"/>
                <a:gd name="T3" fmla="*/ 7 h 8"/>
                <a:gd name="T4" fmla="*/ 2 w 7"/>
                <a:gd name="T5" fmla="*/ 7 h 8"/>
                <a:gd name="T6" fmla="*/ 1 w 7"/>
                <a:gd name="T7" fmla="*/ 7 h 8"/>
                <a:gd name="T8" fmla="*/ 1 w 7"/>
                <a:gd name="T9" fmla="*/ 6 h 8"/>
                <a:gd name="T10" fmla="*/ 0 w 7"/>
                <a:gd name="T11" fmla="*/ 6 h 8"/>
                <a:gd name="T12" fmla="*/ 0 w 7"/>
                <a:gd name="T13" fmla="*/ 5 h 8"/>
                <a:gd name="T14" fmla="*/ 0 w 7"/>
                <a:gd name="T15" fmla="*/ 5 h 8"/>
                <a:gd name="T16" fmla="*/ 0 w 7"/>
                <a:gd name="T17" fmla="*/ 4 h 8"/>
                <a:gd name="T18" fmla="*/ 0 w 7"/>
                <a:gd name="T19" fmla="*/ 3 h 8"/>
                <a:gd name="T20" fmla="*/ 0 w 7"/>
                <a:gd name="T21" fmla="*/ 3 h 8"/>
                <a:gd name="T22" fmla="*/ 0 w 7"/>
                <a:gd name="T23" fmla="*/ 2 h 8"/>
                <a:gd name="T24" fmla="*/ 1 w 7"/>
                <a:gd name="T25" fmla="*/ 1 h 8"/>
                <a:gd name="T26" fmla="*/ 1 w 7"/>
                <a:gd name="T27" fmla="*/ 1 h 8"/>
                <a:gd name="T28" fmla="*/ 2 w 7"/>
                <a:gd name="T29" fmla="*/ 1 h 8"/>
                <a:gd name="T30" fmla="*/ 2 w 7"/>
                <a:gd name="T31" fmla="*/ 0 h 8"/>
                <a:gd name="T32" fmla="*/ 4 w 7"/>
                <a:gd name="T33" fmla="*/ 0 h 8"/>
                <a:gd name="T34" fmla="*/ 5 w 7"/>
                <a:gd name="T35" fmla="*/ 1 h 8"/>
                <a:gd name="T36" fmla="*/ 5 w 7"/>
                <a:gd name="T37" fmla="*/ 1 h 8"/>
                <a:gd name="T38" fmla="*/ 6 w 7"/>
                <a:gd name="T39" fmla="*/ 1 h 8"/>
                <a:gd name="T40" fmla="*/ 6 w 7"/>
                <a:gd name="T41" fmla="*/ 2 h 8"/>
                <a:gd name="T42" fmla="*/ 6 w 7"/>
                <a:gd name="T43" fmla="*/ 3 h 8"/>
                <a:gd name="T44" fmla="*/ 7 w 7"/>
                <a:gd name="T45" fmla="*/ 3 h 8"/>
                <a:gd name="T46" fmla="*/ 7 w 7"/>
                <a:gd name="T47" fmla="*/ 4 h 8"/>
                <a:gd name="T48" fmla="*/ 6 w 7"/>
                <a:gd name="T49" fmla="*/ 6 h 8"/>
                <a:gd name="T50" fmla="*/ 5 w 7"/>
                <a:gd name="T51" fmla="*/ 7 h 8"/>
                <a:gd name="T52" fmla="*/ 5 w 7"/>
                <a:gd name="T53" fmla="*/ 7 h 8"/>
                <a:gd name="T54" fmla="*/ 4 w 7"/>
                <a:gd name="T55" fmla="*/ 7 h 8"/>
                <a:gd name="T56" fmla="*/ 3 w 7"/>
                <a:gd name="T57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" h="8">
                  <a:moveTo>
                    <a:pt x="3" y="8"/>
                  </a:moveTo>
                  <a:cubicBezTo>
                    <a:pt x="3" y="8"/>
                    <a:pt x="3" y="7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7"/>
                    <a:pt x="1" y="7"/>
                    <a:pt x="1" y="7"/>
                  </a:cubicBezTo>
                  <a:cubicBezTo>
                    <a:pt x="1" y="7"/>
                    <a:pt x="1" y="7"/>
                    <a:pt x="1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2" y="1"/>
                    <a:pt x="2" y="1"/>
                  </a:cubicBezTo>
                  <a:cubicBezTo>
                    <a:pt x="2" y="1"/>
                    <a:pt x="2" y="0"/>
                    <a:pt x="2" y="0"/>
                  </a:cubicBezTo>
                  <a:cubicBezTo>
                    <a:pt x="3" y="0"/>
                    <a:pt x="3" y="0"/>
                    <a:pt x="4" y="0"/>
                  </a:cubicBezTo>
                  <a:cubicBezTo>
                    <a:pt x="4" y="0"/>
                    <a:pt x="4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6" y="1"/>
                    <a:pt x="6" y="1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2"/>
                    <a:pt x="6" y="2"/>
                    <a:pt x="6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4"/>
                    <a:pt x="7" y="4"/>
                  </a:cubicBezTo>
                  <a:cubicBezTo>
                    <a:pt x="7" y="5"/>
                    <a:pt x="6" y="6"/>
                    <a:pt x="6" y="6"/>
                  </a:cubicBezTo>
                  <a:cubicBezTo>
                    <a:pt x="6" y="7"/>
                    <a:pt x="5" y="7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7"/>
                    <a:pt x="3" y="8"/>
                    <a:pt x="3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4" name="Freeform 732">
              <a:extLst>
                <a:ext uri="{FF2B5EF4-FFF2-40B4-BE49-F238E27FC236}">
                  <a16:creationId xmlns:a16="http://schemas.microsoft.com/office/drawing/2014/main" id="{0B844904-6B3C-33CA-8545-16FD7A95732D}"/>
                </a:ext>
              </a:extLst>
            </p:cNvPr>
            <p:cNvSpPr>
              <a:spLocks/>
            </p:cNvSpPr>
            <p:nvPr/>
          </p:nvSpPr>
          <p:spPr bwMode="auto">
            <a:xfrm>
              <a:off x="-5195888" y="4251326"/>
              <a:ext cx="9525" cy="9525"/>
            </a:xfrm>
            <a:custGeom>
              <a:avLst/>
              <a:gdLst>
                <a:gd name="T0" fmla="*/ 4 w 8"/>
                <a:gd name="T1" fmla="*/ 8 h 8"/>
                <a:gd name="T2" fmla="*/ 3 w 8"/>
                <a:gd name="T3" fmla="*/ 7 h 8"/>
                <a:gd name="T4" fmla="*/ 3 w 8"/>
                <a:gd name="T5" fmla="*/ 7 h 8"/>
                <a:gd name="T6" fmla="*/ 2 w 8"/>
                <a:gd name="T7" fmla="*/ 7 h 8"/>
                <a:gd name="T8" fmla="*/ 1 w 8"/>
                <a:gd name="T9" fmla="*/ 6 h 8"/>
                <a:gd name="T10" fmla="*/ 1 w 8"/>
                <a:gd name="T11" fmla="*/ 6 h 8"/>
                <a:gd name="T12" fmla="*/ 1 w 8"/>
                <a:gd name="T13" fmla="*/ 5 h 8"/>
                <a:gd name="T14" fmla="*/ 0 w 8"/>
                <a:gd name="T15" fmla="*/ 5 h 8"/>
                <a:gd name="T16" fmla="*/ 0 w 8"/>
                <a:gd name="T17" fmla="*/ 4 h 8"/>
                <a:gd name="T18" fmla="*/ 0 w 8"/>
                <a:gd name="T19" fmla="*/ 3 h 8"/>
                <a:gd name="T20" fmla="*/ 1 w 8"/>
                <a:gd name="T21" fmla="*/ 3 h 8"/>
                <a:gd name="T22" fmla="*/ 1 w 8"/>
                <a:gd name="T23" fmla="*/ 2 h 8"/>
                <a:gd name="T24" fmla="*/ 1 w 8"/>
                <a:gd name="T25" fmla="*/ 1 h 8"/>
                <a:gd name="T26" fmla="*/ 2 w 8"/>
                <a:gd name="T27" fmla="*/ 1 h 8"/>
                <a:gd name="T28" fmla="*/ 3 w 8"/>
                <a:gd name="T29" fmla="*/ 1 h 8"/>
                <a:gd name="T30" fmla="*/ 3 w 8"/>
                <a:gd name="T31" fmla="*/ 0 h 8"/>
                <a:gd name="T32" fmla="*/ 7 w 8"/>
                <a:gd name="T33" fmla="*/ 1 h 8"/>
                <a:gd name="T34" fmla="*/ 7 w 8"/>
                <a:gd name="T35" fmla="*/ 2 h 8"/>
                <a:gd name="T36" fmla="*/ 7 w 8"/>
                <a:gd name="T37" fmla="*/ 3 h 8"/>
                <a:gd name="T38" fmla="*/ 8 w 8"/>
                <a:gd name="T39" fmla="*/ 3 h 8"/>
                <a:gd name="T40" fmla="*/ 8 w 8"/>
                <a:gd name="T41" fmla="*/ 4 h 8"/>
                <a:gd name="T42" fmla="*/ 8 w 8"/>
                <a:gd name="T43" fmla="*/ 5 h 8"/>
                <a:gd name="T44" fmla="*/ 7 w 8"/>
                <a:gd name="T45" fmla="*/ 5 h 8"/>
                <a:gd name="T46" fmla="*/ 7 w 8"/>
                <a:gd name="T47" fmla="*/ 6 h 8"/>
                <a:gd name="T48" fmla="*/ 7 w 8"/>
                <a:gd name="T49" fmla="*/ 6 h 8"/>
                <a:gd name="T50" fmla="*/ 4 w 8"/>
                <a:gd name="T51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8" h="8">
                  <a:moveTo>
                    <a:pt x="4" y="8"/>
                  </a:moveTo>
                  <a:cubicBezTo>
                    <a:pt x="4" y="8"/>
                    <a:pt x="4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7"/>
                    <a:pt x="2" y="7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5"/>
                  </a:cubicBezTo>
                  <a:cubicBezTo>
                    <a:pt x="1" y="5"/>
                    <a:pt x="1" y="5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3" y="1"/>
                    <a:pt x="3" y="0"/>
                    <a:pt x="3" y="0"/>
                  </a:cubicBezTo>
                  <a:cubicBezTo>
                    <a:pt x="4" y="0"/>
                    <a:pt x="6" y="1"/>
                    <a:pt x="7" y="1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3"/>
                  </a:cubicBezTo>
                  <a:cubicBezTo>
                    <a:pt x="7" y="3"/>
                    <a:pt x="8" y="3"/>
                    <a:pt x="8" y="3"/>
                  </a:cubicBezTo>
                  <a:cubicBezTo>
                    <a:pt x="8" y="3"/>
                    <a:pt x="8" y="4"/>
                    <a:pt x="8" y="4"/>
                  </a:cubicBezTo>
                  <a:cubicBezTo>
                    <a:pt x="8" y="4"/>
                    <a:pt x="8" y="4"/>
                    <a:pt x="8" y="5"/>
                  </a:cubicBezTo>
                  <a:cubicBezTo>
                    <a:pt x="8" y="5"/>
                    <a:pt x="7" y="5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6" y="7"/>
                    <a:pt x="5" y="8"/>
                    <a:pt x="4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5" name="Freeform 733">
              <a:extLst>
                <a:ext uri="{FF2B5EF4-FFF2-40B4-BE49-F238E27FC236}">
                  <a16:creationId xmlns:a16="http://schemas.microsoft.com/office/drawing/2014/main" id="{4E9AFB1F-B6B3-C706-33A5-CD8D8FBBAC2C}"/>
                </a:ext>
              </a:extLst>
            </p:cNvPr>
            <p:cNvSpPr>
              <a:spLocks/>
            </p:cNvSpPr>
            <p:nvPr/>
          </p:nvSpPr>
          <p:spPr bwMode="auto">
            <a:xfrm>
              <a:off x="-5211763" y="4251326"/>
              <a:ext cx="7938" cy="9525"/>
            </a:xfrm>
            <a:custGeom>
              <a:avLst/>
              <a:gdLst>
                <a:gd name="T0" fmla="*/ 4 w 7"/>
                <a:gd name="T1" fmla="*/ 8 h 8"/>
                <a:gd name="T2" fmla="*/ 3 w 7"/>
                <a:gd name="T3" fmla="*/ 7 h 8"/>
                <a:gd name="T4" fmla="*/ 2 w 7"/>
                <a:gd name="T5" fmla="*/ 7 h 8"/>
                <a:gd name="T6" fmla="*/ 2 w 7"/>
                <a:gd name="T7" fmla="*/ 7 h 8"/>
                <a:gd name="T8" fmla="*/ 1 w 7"/>
                <a:gd name="T9" fmla="*/ 6 h 8"/>
                <a:gd name="T10" fmla="*/ 1 w 7"/>
                <a:gd name="T11" fmla="*/ 6 h 8"/>
                <a:gd name="T12" fmla="*/ 0 w 7"/>
                <a:gd name="T13" fmla="*/ 5 h 8"/>
                <a:gd name="T14" fmla="*/ 0 w 7"/>
                <a:gd name="T15" fmla="*/ 5 h 8"/>
                <a:gd name="T16" fmla="*/ 0 w 7"/>
                <a:gd name="T17" fmla="*/ 4 h 8"/>
                <a:gd name="T18" fmla="*/ 0 w 7"/>
                <a:gd name="T19" fmla="*/ 3 h 8"/>
                <a:gd name="T20" fmla="*/ 0 w 7"/>
                <a:gd name="T21" fmla="*/ 3 h 8"/>
                <a:gd name="T22" fmla="*/ 1 w 7"/>
                <a:gd name="T23" fmla="*/ 2 h 8"/>
                <a:gd name="T24" fmla="*/ 1 w 7"/>
                <a:gd name="T25" fmla="*/ 1 h 8"/>
                <a:gd name="T26" fmla="*/ 2 w 7"/>
                <a:gd name="T27" fmla="*/ 1 h 8"/>
                <a:gd name="T28" fmla="*/ 2 w 7"/>
                <a:gd name="T29" fmla="*/ 1 h 8"/>
                <a:gd name="T30" fmla="*/ 3 w 7"/>
                <a:gd name="T31" fmla="*/ 0 h 8"/>
                <a:gd name="T32" fmla="*/ 4 w 7"/>
                <a:gd name="T33" fmla="*/ 0 h 8"/>
                <a:gd name="T34" fmla="*/ 5 w 7"/>
                <a:gd name="T35" fmla="*/ 1 h 8"/>
                <a:gd name="T36" fmla="*/ 6 w 7"/>
                <a:gd name="T37" fmla="*/ 1 h 8"/>
                <a:gd name="T38" fmla="*/ 6 w 7"/>
                <a:gd name="T39" fmla="*/ 1 h 8"/>
                <a:gd name="T40" fmla="*/ 7 w 7"/>
                <a:gd name="T41" fmla="*/ 2 h 8"/>
                <a:gd name="T42" fmla="*/ 7 w 7"/>
                <a:gd name="T43" fmla="*/ 3 h 8"/>
                <a:gd name="T44" fmla="*/ 7 w 7"/>
                <a:gd name="T45" fmla="*/ 3 h 8"/>
                <a:gd name="T46" fmla="*/ 7 w 7"/>
                <a:gd name="T47" fmla="*/ 4 h 8"/>
                <a:gd name="T48" fmla="*/ 6 w 7"/>
                <a:gd name="T49" fmla="*/ 6 h 8"/>
                <a:gd name="T50" fmla="*/ 6 w 7"/>
                <a:gd name="T51" fmla="*/ 7 h 8"/>
                <a:gd name="T52" fmla="*/ 5 w 7"/>
                <a:gd name="T53" fmla="*/ 7 h 8"/>
                <a:gd name="T54" fmla="*/ 4 w 7"/>
                <a:gd name="T55" fmla="*/ 7 h 8"/>
                <a:gd name="T56" fmla="*/ 4 w 7"/>
                <a:gd name="T57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" h="8">
                  <a:moveTo>
                    <a:pt x="4" y="8"/>
                  </a:moveTo>
                  <a:cubicBezTo>
                    <a:pt x="3" y="8"/>
                    <a:pt x="3" y="7"/>
                    <a:pt x="3" y="7"/>
                  </a:cubicBezTo>
                  <a:cubicBezTo>
                    <a:pt x="3" y="7"/>
                    <a:pt x="2" y="7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1" y="7"/>
                    <a:pt x="1" y="7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6"/>
                    <a:pt x="0" y="6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2"/>
                    <a:pt x="1" y="2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1" y="1"/>
                    <a:pt x="1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3" y="0"/>
                    <a:pt x="3" y="0"/>
                  </a:cubicBezTo>
                  <a:cubicBezTo>
                    <a:pt x="3" y="0"/>
                    <a:pt x="4" y="0"/>
                    <a:pt x="4" y="0"/>
                  </a:cubicBezTo>
                  <a:cubicBezTo>
                    <a:pt x="5" y="0"/>
                    <a:pt x="5" y="1"/>
                    <a:pt x="5" y="1"/>
                  </a:cubicBezTo>
                  <a:cubicBezTo>
                    <a:pt x="5" y="1"/>
                    <a:pt x="5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2"/>
                    <a:pt x="6" y="2"/>
                    <a:pt x="7" y="2"/>
                  </a:cubicBezTo>
                  <a:cubicBezTo>
                    <a:pt x="7" y="2"/>
                    <a:pt x="7" y="2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4"/>
                    <a:pt x="7" y="4"/>
                  </a:cubicBezTo>
                  <a:cubicBezTo>
                    <a:pt x="7" y="5"/>
                    <a:pt x="7" y="6"/>
                    <a:pt x="6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7"/>
                    <a:pt x="5" y="7"/>
                    <a:pt x="4" y="7"/>
                  </a:cubicBezTo>
                  <a:cubicBezTo>
                    <a:pt x="4" y="7"/>
                    <a:pt x="4" y="8"/>
                    <a:pt x="4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6" name="Freeform 734">
              <a:extLst>
                <a:ext uri="{FF2B5EF4-FFF2-40B4-BE49-F238E27FC236}">
                  <a16:creationId xmlns:a16="http://schemas.microsoft.com/office/drawing/2014/main" id="{2D565247-7E02-F6B2-F0A6-FE632C38B3BC}"/>
                </a:ext>
              </a:extLst>
            </p:cNvPr>
            <p:cNvSpPr>
              <a:spLocks/>
            </p:cNvSpPr>
            <p:nvPr/>
          </p:nvSpPr>
          <p:spPr bwMode="auto">
            <a:xfrm>
              <a:off x="-5216525" y="4310063"/>
              <a:ext cx="119063" cy="7938"/>
            </a:xfrm>
            <a:custGeom>
              <a:avLst/>
              <a:gdLst>
                <a:gd name="T0" fmla="*/ 96 w 100"/>
                <a:gd name="T1" fmla="*/ 7 h 7"/>
                <a:gd name="T2" fmla="*/ 4 w 100"/>
                <a:gd name="T3" fmla="*/ 7 h 7"/>
                <a:gd name="T4" fmla="*/ 0 w 100"/>
                <a:gd name="T5" fmla="*/ 3 h 7"/>
                <a:gd name="T6" fmla="*/ 4 w 100"/>
                <a:gd name="T7" fmla="*/ 0 h 7"/>
                <a:gd name="T8" fmla="*/ 96 w 100"/>
                <a:gd name="T9" fmla="*/ 0 h 7"/>
                <a:gd name="T10" fmla="*/ 100 w 100"/>
                <a:gd name="T11" fmla="*/ 3 h 7"/>
                <a:gd name="T12" fmla="*/ 96 w 100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0" h="7">
                  <a:moveTo>
                    <a:pt x="96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8" y="0"/>
                    <a:pt x="100" y="1"/>
                    <a:pt x="100" y="3"/>
                  </a:cubicBezTo>
                  <a:cubicBezTo>
                    <a:pt x="100" y="5"/>
                    <a:pt x="98" y="7"/>
                    <a:pt x="96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7" name="Freeform 735">
              <a:extLst>
                <a:ext uri="{FF2B5EF4-FFF2-40B4-BE49-F238E27FC236}">
                  <a16:creationId xmlns:a16="http://schemas.microsoft.com/office/drawing/2014/main" id="{50644BCF-0900-2263-1EA7-91D8F9F98C76}"/>
                </a:ext>
              </a:extLst>
            </p:cNvPr>
            <p:cNvSpPr>
              <a:spLocks/>
            </p:cNvSpPr>
            <p:nvPr/>
          </p:nvSpPr>
          <p:spPr bwMode="auto">
            <a:xfrm>
              <a:off x="-5216525" y="4344988"/>
              <a:ext cx="215900" cy="7938"/>
            </a:xfrm>
            <a:custGeom>
              <a:avLst/>
              <a:gdLst>
                <a:gd name="T0" fmla="*/ 177 w 181"/>
                <a:gd name="T1" fmla="*/ 7 h 7"/>
                <a:gd name="T2" fmla="*/ 4 w 181"/>
                <a:gd name="T3" fmla="*/ 7 h 7"/>
                <a:gd name="T4" fmla="*/ 0 w 181"/>
                <a:gd name="T5" fmla="*/ 3 h 7"/>
                <a:gd name="T6" fmla="*/ 4 w 181"/>
                <a:gd name="T7" fmla="*/ 0 h 7"/>
                <a:gd name="T8" fmla="*/ 177 w 181"/>
                <a:gd name="T9" fmla="*/ 0 h 7"/>
                <a:gd name="T10" fmla="*/ 181 w 181"/>
                <a:gd name="T11" fmla="*/ 3 h 7"/>
                <a:gd name="T12" fmla="*/ 177 w 181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1" h="7">
                  <a:moveTo>
                    <a:pt x="177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77" y="0"/>
                    <a:pt x="177" y="0"/>
                    <a:pt x="177" y="0"/>
                  </a:cubicBezTo>
                  <a:cubicBezTo>
                    <a:pt x="179" y="0"/>
                    <a:pt x="181" y="1"/>
                    <a:pt x="181" y="3"/>
                  </a:cubicBezTo>
                  <a:cubicBezTo>
                    <a:pt x="181" y="5"/>
                    <a:pt x="179" y="7"/>
                    <a:pt x="177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8" name="Freeform 736">
              <a:extLst>
                <a:ext uri="{FF2B5EF4-FFF2-40B4-BE49-F238E27FC236}">
                  <a16:creationId xmlns:a16="http://schemas.microsoft.com/office/drawing/2014/main" id="{B80114BB-2340-89F2-FEC1-71701E9AC94E}"/>
                </a:ext>
              </a:extLst>
            </p:cNvPr>
            <p:cNvSpPr>
              <a:spLocks/>
            </p:cNvSpPr>
            <p:nvPr/>
          </p:nvSpPr>
          <p:spPr bwMode="auto">
            <a:xfrm>
              <a:off x="-5216525" y="4378326"/>
              <a:ext cx="215900" cy="9525"/>
            </a:xfrm>
            <a:custGeom>
              <a:avLst/>
              <a:gdLst>
                <a:gd name="T0" fmla="*/ 177 w 181"/>
                <a:gd name="T1" fmla="*/ 8 h 8"/>
                <a:gd name="T2" fmla="*/ 4 w 181"/>
                <a:gd name="T3" fmla="*/ 8 h 8"/>
                <a:gd name="T4" fmla="*/ 0 w 181"/>
                <a:gd name="T5" fmla="*/ 4 h 8"/>
                <a:gd name="T6" fmla="*/ 4 w 181"/>
                <a:gd name="T7" fmla="*/ 0 h 8"/>
                <a:gd name="T8" fmla="*/ 177 w 181"/>
                <a:gd name="T9" fmla="*/ 0 h 8"/>
                <a:gd name="T10" fmla="*/ 181 w 181"/>
                <a:gd name="T11" fmla="*/ 4 h 8"/>
                <a:gd name="T12" fmla="*/ 177 w 181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1" h="8">
                  <a:moveTo>
                    <a:pt x="177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77" y="0"/>
                    <a:pt x="177" y="0"/>
                    <a:pt x="177" y="0"/>
                  </a:cubicBezTo>
                  <a:cubicBezTo>
                    <a:pt x="179" y="0"/>
                    <a:pt x="181" y="2"/>
                    <a:pt x="181" y="4"/>
                  </a:cubicBezTo>
                  <a:cubicBezTo>
                    <a:pt x="181" y="6"/>
                    <a:pt x="179" y="8"/>
                    <a:pt x="177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9" name="Freeform 737">
              <a:extLst>
                <a:ext uri="{FF2B5EF4-FFF2-40B4-BE49-F238E27FC236}">
                  <a16:creationId xmlns:a16="http://schemas.microsoft.com/office/drawing/2014/main" id="{AD5AC8C9-2FE9-C7EB-D815-86398ECFE89E}"/>
                </a:ext>
              </a:extLst>
            </p:cNvPr>
            <p:cNvSpPr>
              <a:spLocks/>
            </p:cNvSpPr>
            <p:nvPr/>
          </p:nvSpPr>
          <p:spPr bwMode="auto">
            <a:xfrm>
              <a:off x="-5146675" y="4413251"/>
              <a:ext cx="146050" cy="9525"/>
            </a:xfrm>
            <a:custGeom>
              <a:avLst/>
              <a:gdLst>
                <a:gd name="T0" fmla="*/ 119 w 123"/>
                <a:gd name="T1" fmla="*/ 8 h 8"/>
                <a:gd name="T2" fmla="*/ 4 w 123"/>
                <a:gd name="T3" fmla="*/ 8 h 8"/>
                <a:gd name="T4" fmla="*/ 0 w 123"/>
                <a:gd name="T5" fmla="*/ 4 h 8"/>
                <a:gd name="T6" fmla="*/ 4 w 123"/>
                <a:gd name="T7" fmla="*/ 0 h 8"/>
                <a:gd name="T8" fmla="*/ 119 w 123"/>
                <a:gd name="T9" fmla="*/ 0 h 8"/>
                <a:gd name="T10" fmla="*/ 123 w 123"/>
                <a:gd name="T11" fmla="*/ 4 h 8"/>
                <a:gd name="T12" fmla="*/ 119 w 123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3" h="8">
                  <a:moveTo>
                    <a:pt x="119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21" y="0"/>
                    <a:pt x="123" y="2"/>
                    <a:pt x="123" y="4"/>
                  </a:cubicBezTo>
                  <a:cubicBezTo>
                    <a:pt x="123" y="6"/>
                    <a:pt x="121" y="8"/>
                    <a:pt x="11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35" name="Shape8_20200717_142329">
            <a:extLst>
              <a:ext uri="{FF2B5EF4-FFF2-40B4-BE49-F238E27FC236}">
                <a16:creationId xmlns:a16="http://schemas.microsoft.com/office/drawing/2014/main" id="{79E5A397-D40A-C9AC-CA3A-3024255FB794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530543" y="3876436"/>
            <a:ext cx="519798" cy="516444"/>
          </a:xfrm>
          <a:custGeom>
            <a:avLst/>
            <a:gdLst>
              <a:gd name="T0" fmla="*/ 142 w 206"/>
              <a:gd name="T1" fmla="*/ 204 h 205"/>
              <a:gd name="T2" fmla="*/ 90 w 206"/>
              <a:gd name="T3" fmla="*/ 181 h 205"/>
              <a:gd name="T4" fmla="*/ 30 w 206"/>
              <a:gd name="T5" fmla="*/ 123 h 205"/>
              <a:gd name="T6" fmla="*/ 5 w 206"/>
              <a:gd name="T7" fmla="*/ 77 h 205"/>
              <a:gd name="T8" fmla="*/ 0 w 206"/>
              <a:gd name="T9" fmla="*/ 49 h 205"/>
              <a:gd name="T10" fmla="*/ 0 w 206"/>
              <a:gd name="T11" fmla="*/ 45 h 205"/>
              <a:gd name="T12" fmla="*/ 7 w 206"/>
              <a:gd name="T13" fmla="*/ 32 h 205"/>
              <a:gd name="T14" fmla="*/ 44 w 206"/>
              <a:gd name="T15" fmla="*/ 0 h 205"/>
              <a:gd name="T16" fmla="*/ 55 w 206"/>
              <a:gd name="T17" fmla="*/ 7 h 205"/>
              <a:gd name="T18" fmla="*/ 78 w 206"/>
              <a:gd name="T19" fmla="*/ 50 h 205"/>
              <a:gd name="T20" fmla="*/ 75 w 206"/>
              <a:gd name="T21" fmla="*/ 68 h 205"/>
              <a:gd name="T22" fmla="*/ 65 w 206"/>
              <a:gd name="T23" fmla="*/ 79 h 205"/>
              <a:gd name="T24" fmla="*/ 68 w 206"/>
              <a:gd name="T25" fmla="*/ 87 h 205"/>
              <a:gd name="T26" fmla="*/ 90 w 206"/>
              <a:gd name="T27" fmla="*/ 115 h 205"/>
              <a:gd name="T28" fmla="*/ 118 w 206"/>
              <a:gd name="T29" fmla="*/ 138 h 205"/>
              <a:gd name="T30" fmla="*/ 127 w 206"/>
              <a:gd name="T31" fmla="*/ 141 h 205"/>
              <a:gd name="T32" fmla="*/ 127 w 206"/>
              <a:gd name="T33" fmla="*/ 141 h 205"/>
              <a:gd name="T34" fmla="*/ 139 w 206"/>
              <a:gd name="T35" fmla="*/ 128 h 205"/>
              <a:gd name="T36" fmla="*/ 157 w 206"/>
              <a:gd name="T37" fmla="*/ 126 h 205"/>
              <a:gd name="T38" fmla="*/ 198 w 206"/>
              <a:gd name="T39" fmla="*/ 150 h 205"/>
              <a:gd name="T40" fmla="*/ 205 w 206"/>
              <a:gd name="T41" fmla="*/ 159 h 205"/>
              <a:gd name="T42" fmla="*/ 173 w 206"/>
              <a:gd name="T43" fmla="*/ 199 h 205"/>
              <a:gd name="T44" fmla="*/ 160 w 206"/>
              <a:gd name="T45" fmla="*/ 205 h 205"/>
              <a:gd name="T46" fmla="*/ 159 w 206"/>
              <a:gd name="T47" fmla="*/ 205 h 205"/>
              <a:gd name="T48" fmla="*/ 7 w 206"/>
              <a:gd name="T49" fmla="*/ 46 h 205"/>
              <a:gd name="T50" fmla="*/ 8 w 206"/>
              <a:gd name="T51" fmla="*/ 59 h 205"/>
              <a:gd name="T52" fmla="*/ 20 w 206"/>
              <a:gd name="T53" fmla="*/ 94 h 205"/>
              <a:gd name="T54" fmla="*/ 60 w 206"/>
              <a:gd name="T55" fmla="*/ 146 h 205"/>
              <a:gd name="T56" fmla="*/ 123 w 206"/>
              <a:gd name="T57" fmla="*/ 190 h 205"/>
              <a:gd name="T58" fmla="*/ 156 w 206"/>
              <a:gd name="T59" fmla="*/ 198 h 205"/>
              <a:gd name="T60" fmla="*/ 159 w 206"/>
              <a:gd name="T61" fmla="*/ 198 h 205"/>
              <a:gd name="T62" fmla="*/ 168 w 206"/>
              <a:gd name="T63" fmla="*/ 194 h 205"/>
              <a:gd name="T64" fmla="*/ 198 w 206"/>
              <a:gd name="T65" fmla="*/ 161 h 205"/>
              <a:gd name="T66" fmla="*/ 155 w 206"/>
              <a:gd name="T67" fmla="*/ 132 h 205"/>
              <a:gd name="T68" fmla="*/ 150 w 206"/>
              <a:gd name="T69" fmla="*/ 131 h 205"/>
              <a:gd name="T70" fmla="*/ 132 w 206"/>
              <a:gd name="T71" fmla="*/ 146 h 205"/>
              <a:gd name="T72" fmla="*/ 126 w 206"/>
              <a:gd name="T73" fmla="*/ 148 h 205"/>
              <a:gd name="T74" fmla="*/ 115 w 206"/>
              <a:gd name="T75" fmla="*/ 144 h 205"/>
              <a:gd name="T76" fmla="*/ 85 w 206"/>
              <a:gd name="T77" fmla="*/ 120 h 205"/>
              <a:gd name="T78" fmla="*/ 61 w 206"/>
              <a:gd name="T79" fmla="*/ 91 h 205"/>
              <a:gd name="T80" fmla="*/ 57 w 206"/>
              <a:gd name="T81" fmla="*/ 79 h 205"/>
              <a:gd name="T82" fmla="*/ 59 w 206"/>
              <a:gd name="T83" fmla="*/ 73 h 205"/>
              <a:gd name="T84" fmla="*/ 72 w 206"/>
              <a:gd name="T85" fmla="*/ 58 h 205"/>
              <a:gd name="T86" fmla="*/ 49 w 206"/>
              <a:gd name="T87" fmla="*/ 11 h 205"/>
              <a:gd name="T88" fmla="*/ 44 w 206"/>
              <a:gd name="T89" fmla="*/ 7 h 205"/>
              <a:gd name="T90" fmla="*/ 12 w 206"/>
              <a:gd name="T91" fmla="*/ 37 h 205"/>
              <a:gd name="T92" fmla="*/ 7 w 206"/>
              <a:gd name="T93" fmla="*/ 46 h 205"/>
              <a:gd name="T94" fmla="*/ 127 w 206"/>
              <a:gd name="T95" fmla="*/ 141 h 205"/>
              <a:gd name="T96" fmla="*/ 65 w 206"/>
              <a:gd name="T97" fmla="*/ 78 h 2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206" h="205">
                <a:moveTo>
                  <a:pt x="156" y="205"/>
                </a:moveTo>
                <a:cubicBezTo>
                  <a:pt x="153" y="205"/>
                  <a:pt x="149" y="205"/>
                  <a:pt x="142" y="204"/>
                </a:cubicBezTo>
                <a:cubicBezTo>
                  <a:pt x="136" y="203"/>
                  <a:pt x="129" y="201"/>
                  <a:pt x="120" y="197"/>
                </a:cubicBezTo>
                <a:cubicBezTo>
                  <a:pt x="111" y="193"/>
                  <a:pt x="101" y="188"/>
                  <a:pt x="90" y="181"/>
                </a:cubicBezTo>
                <a:cubicBezTo>
                  <a:pt x="79" y="173"/>
                  <a:pt x="67" y="163"/>
                  <a:pt x="55" y="151"/>
                </a:cubicBezTo>
                <a:cubicBezTo>
                  <a:pt x="45" y="141"/>
                  <a:pt x="36" y="132"/>
                  <a:pt x="30" y="123"/>
                </a:cubicBezTo>
                <a:cubicBezTo>
                  <a:pt x="23" y="114"/>
                  <a:pt x="18" y="105"/>
                  <a:pt x="14" y="98"/>
                </a:cubicBezTo>
                <a:cubicBezTo>
                  <a:pt x="10" y="90"/>
                  <a:pt x="7" y="83"/>
                  <a:pt x="5" y="77"/>
                </a:cubicBezTo>
                <a:cubicBezTo>
                  <a:pt x="3" y="71"/>
                  <a:pt x="2" y="65"/>
                  <a:pt x="1" y="61"/>
                </a:cubicBezTo>
                <a:cubicBezTo>
                  <a:pt x="0" y="56"/>
                  <a:pt x="0" y="52"/>
                  <a:pt x="0" y="49"/>
                </a:cubicBezTo>
                <a:cubicBezTo>
                  <a:pt x="0" y="47"/>
                  <a:pt x="0" y="46"/>
                  <a:pt x="0" y="45"/>
                </a:cubicBezTo>
                <a:cubicBezTo>
                  <a:pt x="0" y="45"/>
                  <a:pt x="0" y="45"/>
                  <a:pt x="0" y="45"/>
                </a:cubicBezTo>
                <a:cubicBezTo>
                  <a:pt x="1" y="43"/>
                  <a:pt x="1" y="40"/>
                  <a:pt x="2" y="38"/>
                </a:cubicBezTo>
                <a:cubicBezTo>
                  <a:pt x="4" y="35"/>
                  <a:pt x="5" y="33"/>
                  <a:pt x="7" y="32"/>
                </a:cubicBezTo>
                <a:cubicBezTo>
                  <a:pt x="35" y="4"/>
                  <a:pt x="35" y="4"/>
                  <a:pt x="35" y="4"/>
                </a:cubicBezTo>
                <a:cubicBezTo>
                  <a:pt x="37" y="1"/>
                  <a:pt x="40" y="0"/>
                  <a:pt x="44" y="0"/>
                </a:cubicBezTo>
                <a:cubicBezTo>
                  <a:pt x="46" y="0"/>
                  <a:pt x="49" y="1"/>
                  <a:pt x="51" y="2"/>
                </a:cubicBezTo>
                <a:cubicBezTo>
                  <a:pt x="53" y="4"/>
                  <a:pt x="54" y="5"/>
                  <a:pt x="55" y="7"/>
                </a:cubicBezTo>
                <a:cubicBezTo>
                  <a:pt x="55" y="7"/>
                  <a:pt x="55" y="7"/>
                  <a:pt x="55" y="7"/>
                </a:cubicBezTo>
                <a:cubicBezTo>
                  <a:pt x="78" y="50"/>
                  <a:pt x="78" y="50"/>
                  <a:pt x="78" y="50"/>
                </a:cubicBezTo>
                <a:cubicBezTo>
                  <a:pt x="80" y="53"/>
                  <a:pt x="80" y="56"/>
                  <a:pt x="79" y="60"/>
                </a:cubicBezTo>
                <a:cubicBezTo>
                  <a:pt x="79" y="63"/>
                  <a:pt x="77" y="66"/>
                  <a:pt x="75" y="68"/>
                </a:cubicBezTo>
                <a:cubicBezTo>
                  <a:pt x="65" y="78"/>
                  <a:pt x="65" y="78"/>
                  <a:pt x="65" y="78"/>
                </a:cubicBezTo>
                <a:cubicBezTo>
                  <a:pt x="65" y="78"/>
                  <a:pt x="65" y="78"/>
                  <a:pt x="65" y="79"/>
                </a:cubicBezTo>
                <a:cubicBezTo>
                  <a:pt x="65" y="79"/>
                  <a:pt x="65" y="79"/>
                  <a:pt x="65" y="79"/>
                </a:cubicBezTo>
                <a:cubicBezTo>
                  <a:pt x="65" y="81"/>
                  <a:pt x="66" y="84"/>
                  <a:pt x="68" y="87"/>
                </a:cubicBezTo>
                <a:cubicBezTo>
                  <a:pt x="69" y="91"/>
                  <a:pt x="72" y="95"/>
                  <a:pt x="75" y="99"/>
                </a:cubicBezTo>
                <a:cubicBezTo>
                  <a:pt x="79" y="104"/>
                  <a:pt x="84" y="109"/>
                  <a:pt x="90" y="115"/>
                </a:cubicBezTo>
                <a:cubicBezTo>
                  <a:pt x="96" y="122"/>
                  <a:pt x="101" y="127"/>
                  <a:pt x="106" y="130"/>
                </a:cubicBezTo>
                <a:cubicBezTo>
                  <a:pt x="111" y="134"/>
                  <a:pt x="115" y="136"/>
                  <a:pt x="118" y="138"/>
                </a:cubicBezTo>
                <a:cubicBezTo>
                  <a:pt x="122" y="140"/>
                  <a:pt x="124" y="140"/>
                  <a:pt x="125" y="140"/>
                </a:cubicBezTo>
                <a:cubicBezTo>
                  <a:pt x="127" y="141"/>
                  <a:pt x="127" y="141"/>
                  <a:pt x="127" y="141"/>
                </a:cubicBezTo>
                <a:cubicBezTo>
                  <a:pt x="127" y="141"/>
                  <a:pt x="127" y="141"/>
                  <a:pt x="127" y="141"/>
                </a:cubicBezTo>
                <a:cubicBezTo>
                  <a:pt x="127" y="141"/>
                  <a:pt x="127" y="141"/>
                  <a:pt x="127" y="141"/>
                </a:cubicBezTo>
                <a:cubicBezTo>
                  <a:pt x="139" y="129"/>
                  <a:pt x="139" y="129"/>
                  <a:pt x="139" y="129"/>
                </a:cubicBezTo>
                <a:cubicBezTo>
                  <a:pt x="139" y="129"/>
                  <a:pt x="139" y="129"/>
                  <a:pt x="139" y="128"/>
                </a:cubicBezTo>
                <a:cubicBezTo>
                  <a:pt x="142" y="126"/>
                  <a:pt x="146" y="124"/>
                  <a:pt x="150" y="124"/>
                </a:cubicBezTo>
                <a:cubicBezTo>
                  <a:pt x="153" y="124"/>
                  <a:pt x="155" y="125"/>
                  <a:pt x="157" y="126"/>
                </a:cubicBezTo>
                <a:cubicBezTo>
                  <a:pt x="157" y="126"/>
                  <a:pt x="157" y="126"/>
                  <a:pt x="158" y="126"/>
                </a:cubicBezTo>
                <a:cubicBezTo>
                  <a:pt x="198" y="150"/>
                  <a:pt x="198" y="150"/>
                  <a:pt x="198" y="150"/>
                </a:cubicBezTo>
                <a:cubicBezTo>
                  <a:pt x="202" y="152"/>
                  <a:pt x="204" y="155"/>
                  <a:pt x="205" y="159"/>
                </a:cubicBezTo>
                <a:cubicBezTo>
                  <a:pt x="205" y="159"/>
                  <a:pt x="205" y="159"/>
                  <a:pt x="205" y="159"/>
                </a:cubicBezTo>
                <a:cubicBezTo>
                  <a:pt x="206" y="164"/>
                  <a:pt x="204" y="168"/>
                  <a:pt x="201" y="171"/>
                </a:cubicBezTo>
                <a:cubicBezTo>
                  <a:pt x="173" y="199"/>
                  <a:pt x="173" y="199"/>
                  <a:pt x="173" y="199"/>
                </a:cubicBezTo>
                <a:cubicBezTo>
                  <a:pt x="172" y="200"/>
                  <a:pt x="170" y="202"/>
                  <a:pt x="167" y="203"/>
                </a:cubicBezTo>
                <a:cubicBezTo>
                  <a:pt x="165" y="204"/>
                  <a:pt x="163" y="205"/>
                  <a:pt x="160" y="205"/>
                </a:cubicBezTo>
                <a:cubicBezTo>
                  <a:pt x="160" y="205"/>
                  <a:pt x="160" y="205"/>
                  <a:pt x="160" y="205"/>
                </a:cubicBezTo>
                <a:cubicBezTo>
                  <a:pt x="160" y="205"/>
                  <a:pt x="159" y="205"/>
                  <a:pt x="159" y="205"/>
                </a:cubicBezTo>
                <a:cubicBezTo>
                  <a:pt x="158" y="205"/>
                  <a:pt x="157" y="205"/>
                  <a:pt x="156" y="205"/>
                </a:cubicBezTo>
                <a:close/>
                <a:moveTo>
                  <a:pt x="7" y="46"/>
                </a:moveTo>
                <a:cubicBezTo>
                  <a:pt x="7" y="46"/>
                  <a:pt x="7" y="48"/>
                  <a:pt x="7" y="50"/>
                </a:cubicBezTo>
                <a:cubicBezTo>
                  <a:pt x="7" y="52"/>
                  <a:pt x="7" y="55"/>
                  <a:pt x="8" y="59"/>
                </a:cubicBezTo>
                <a:cubicBezTo>
                  <a:pt x="9" y="64"/>
                  <a:pt x="10" y="69"/>
                  <a:pt x="12" y="75"/>
                </a:cubicBezTo>
                <a:cubicBezTo>
                  <a:pt x="14" y="80"/>
                  <a:pt x="17" y="87"/>
                  <a:pt x="20" y="94"/>
                </a:cubicBezTo>
                <a:cubicBezTo>
                  <a:pt x="24" y="102"/>
                  <a:pt x="29" y="110"/>
                  <a:pt x="36" y="118"/>
                </a:cubicBezTo>
                <a:cubicBezTo>
                  <a:pt x="42" y="127"/>
                  <a:pt x="50" y="136"/>
                  <a:pt x="60" y="146"/>
                </a:cubicBezTo>
                <a:cubicBezTo>
                  <a:pt x="72" y="158"/>
                  <a:pt x="83" y="168"/>
                  <a:pt x="94" y="175"/>
                </a:cubicBezTo>
                <a:cubicBezTo>
                  <a:pt x="105" y="182"/>
                  <a:pt x="114" y="187"/>
                  <a:pt x="123" y="190"/>
                </a:cubicBezTo>
                <a:cubicBezTo>
                  <a:pt x="131" y="194"/>
                  <a:pt x="138" y="196"/>
                  <a:pt x="144" y="197"/>
                </a:cubicBezTo>
                <a:cubicBezTo>
                  <a:pt x="149" y="198"/>
                  <a:pt x="153" y="198"/>
                  <a:pt x="156" y="198"/>
                </a:cubicBezTo>
                <a:cubicBezTo>
                  <a:pt x="157" y="198"/>
                  <a:pt x="158" y="198"/>
                  <a:pt x="158" y="198"/>
                </a:cubicBezTo>
                <a:cubicBezTo>
                  <a:pt x="159" y="198"/>
                  <a:pt x="159" y="198"/>
                  <a:pt x="159" y="198"/>
                </a:cubicBezTo>
                <a:cubicBezTo>
                  <a:pt x="161" y="198"/>
                  <a:pt x="163" y="197"/>
                  <a:pt x="164" y="196"/>
                </a:cubicBezTo>
                <a:cubicBezTo>
                  <a:pt x="166" y="196"/>
                  <a:pt x="167" y="195"/>
                  <a:pt x="168" y="194"/>
                </a:cubicBezTo>
                <a:cubicBezTo>
                  <a:pt x="196" y="166"/>
                  <a:pt x="196" y="166"/>
                  <a:pt x="196" y="166"/>
                </a:cubicBezTo>
                <a:cubicBezTo>
                  <a:pt x="198" y="164"/>
                  <a:pt x="198" y="163"/>
                  <a:pt x="198" y="161"/>
                </a:cubicBezTo>
                <a:cubicBezTo>
                  <a:pt x="198" y="159"/>
                  <a:pt x="197" y="157"/>
                  <a:pt x="194" y="156"/>
                </a:cubicBezTo>
                <a:cubicBezTo>
                  <a:pt x="155" y="132"/>
                  <a:pt x="155" y="132"/>
                  <a:pt x="155" y="132"/>
                </a:cubicBezTo>
                <a:cubicBezTo>
                  <a:pt x="154" y="132"/>
                  <a:pt x="154" y="132"/>
                  <a:pt x="154" y="132"/>
                </a:cubicBezTo>
                <a:cubicBezTo>
                  <a:pt x="153" y="132"/>
                  <a:pt x="152" y="131"/>
                  <a:pt x="150" y="131"/>
                </a:cubicBezTo>
                <a:cubicBezTo>
                  <a:pt x="148" y="131"/>
                  <a:pt x="146" y="132"/>
                  <a:pt x="144" y="134"/>
                </a:cubicBezTo>
                <a:cubicBezTo>
                  <a:pt x="132" y="146"/>
                  <a:pt x="132" y="146"/>
                  <a:pt x="132" y="146"/>
                </a:cubicBezTo>
                <a:cubicBezTo>
                  <a:pt x="131" y="147"/>
                  <a:pt x="130" y="147"/>
                  <a:pt x="129" y="148"/>
                </a:cubicBezTo>
                <a:cubicBezTo>
                  <a:pt x="128" y="148"/>
                  <a:pt x="127" y="148"/>
                  <a:pt x="126" y="148"/>
                </a:cubicBezTo>
                <a:cubicBezTo>
                  <a:pt x="123" y="147"/>
                  <a:pt x="123" y="147"/>
                  <a:pt x="123" y="147"/>
                </a:cubicBezTo>
                <a:cubicBezTo>
                  <a:pt x="121" y="147"/>
                  <a:pt x="118" y="146"/>
                  <a:pt x="115" y="144"/>
                </a:cubicBezTo>
                <a:cubicBezTo>
                  <a:pt x="111" y="142"/>
                  <a:pt x="107" y="140"/>
                  <a:pt x="102" y="136"/>
                </a:cubicBezTo>
                <a:cubicBezTo>
                  <a:pt x="97" y="132"/>
                  <a:pt x="91" y="127"/>
                  <a:pt x="85" y="120"/>
                </a:cubicBezTo>
                <a:cubicBezTo>
                  <a:pt x="78" y="114"/>
                  <a:pt x="73" y="108"/>
                  <a:pt x="69" y="103"/>
                </a:cubicBezTo>
                <a:cubicBezTo>
                  <a:pt x="66" y="98"/>
                  <a:pt x="63" y="94"/>
                  <a:pt x="61" y="91"/>
                </a:cubicBezTo>
                <a:cubicBezTo>
                  <a:pt x="59" y="87"/>
                  <a:pt x="58" y="83"/>
                  <a:pt x="57" y="80"/>
                </a:cubicBezTo>
                <a:cubicBezTo>
                  <a:pt x="57" y="79"/>
                  <a:pt x="57" y="79"/>
                  <a:pt x="57" y="79"/>
                </a:cubicBezTo>
                <a:cubicBezTo>
                  <a:pt x="57" y="78"/>
                  <a:pt x="57" y="77"/>
                  <a:pt x="58" y="76"/>
                </a:cubicBezTo>
                <a:cubicBezTo>
                  <a:pt x="58" y="75"/>
                  <a:pt x="59" y="74"/>
                  <a:pt x="59" y="73"/>
                </a:cubicBezTo>
                <a:cubicBezTo>
                  <a:pt x="70" y="63"/>
                  <a:pt x="70" y="63"/>
                  <a:pt x="70" y="63"/>
                </a:cubicBezTo>
                <a:cubicBezTo>
                  <a:pt x="71" y="62"/>
                  <a:pt x="72" y="60"/>
                  <a:pt x="72" y="58"/>
                </a:cubicBezTo>
                <a:cubicBezTo>
                  <a:pt x="73" y="56"/>
                  <a:pt x="72" y="55"/>
                  <a:pt x="72" y="53"/>
                </a:cubicBezTo>
                <a:cubicBezTo>
                  <a:pt x="49" y="11"/>
                  <a:pt x="49" y="11"/>
                  <a:pt x="49" y="11"/>
                </a:cubicBezTo>
                <a:cubicBezTo>
                  <a:pt x="48" y="10"/>
                  <a:pt x="48" y="9"/>
                  <a:pt x="47" y="8"/>
                </a:cubicBezTo>
                <a:cubicBezTo>
                  <a:pt x="46" y="8"/>
                  <a:pt x="45" y="7"/>
                  <a:pt x="44" y="7"/>
                </a:cubicBezTo>
                <a:cubicBezTo>
                  <a:pt x="42" y="7"/>
                  <a:pt x="41" y="8"/>
                  <a:pt x="40" y="9"/>
                </a:cubicBezTo>
                <a:cubicBezTo>
                  <a:pt x="12" y="37"/>
                  <a:pt x="12" y="37"/>
                  <a:pt x="12" y="37"/>
                </a:cubicBezTo>
                <a:cubicBezTo>
                  <a:pt x="11" y="38"/>
                  <a:pt x="10" y="39"/>
                  <a:pt x="9" y="41"/>
                </a:cubicBezTo>
                <a:cubicBezTo>
                  <a:pt x="8" y="43"/>
                  <a:pt x="8" y="44"/>
                  <a:pt x="7" y="46"/>
                </a:cubicBezTo>
                <a:close/>
                <a:moveTo>
                  <a:pt x="127" y="141"/>
                </a:moveTo>
                <a:cubicBezTo>
                  <a:pt x="127" y="141"/>
                  <a:pt x="127" y="141"/>
                  <a:pt x="127" y="141"/>
                </a:cubicBezTo>
                <a:close/>
                <a:moveTo>
                  <a:pt x="65" y="78"/>
                </a:moveTo>
                <a:cubicBezTo>
                  <a:pt x="65" y="78"/>
                  <a:pt x="65" y="78"/>
                  <a:pt x="65" y="7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grpSp>
        <p:nvGrpSpPr>
          <p:cNvPr id="36" name="Shape9_20200717_142329">
            <a:extLst>
              <a:ext uri="{FF2B5EF4-FFF2-40B4-BE49-F238E27FC236}">
                <a16:creationId xmlns:a16="http://schemas.microsoft.com/office/drawing/2014/main" id="{7375EE5D-3673-1838-A03F-C7ADC09289B9}"/>
              </a:ext>
            </a:extLst>
          </p:cNvPr>
          <p:cNvGrpSpPr>
            <a:grpSpLocks noChangeAspect="1"/>
          </p:cNvGrpSpPr>
          <p:nvPr/>
        </p:nvGrpSpPr>
        <p:grpSpPr>
          <a:xfrm>
            <a:off x="3213251" y="3863022"/>
            <a:ext cx="543272" cy="543272"/>
            <a:chOff x="-6356350" y="4217988"/>
            <a:chExt cx="257175" cy="257175"/>
          </a:xfrm>
          <a:solidFill>
            <a:schemeClr val="accent1"/>
          </a:solidFill>
        </p:grpSpPr>
        <p:sp>
          <p:nvSpPr>
            <p:cNvPr id="145" name="Freeform 739">
              <a:extLst>
                <a:ext uri="{FF2B5EF4-FFF2-40B4-BE49-F238E27FC236}">
                  <a16:creationId xmlns:a16="http://schemas.microsoft.com/office/drawing/2014/main" id="{998E73E6-EDF9-E468-9960-91AA493B5C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356350" y="4217988"/>
              <a:ext cx="257175" cy="257175"/>
            </a:xfrm>
            <a:custGeom>
              <a:avLst/>
              <a:gdLst>
                <a:gd name="T0" fmla="*/ 107 w 215"/>
                <a:gd name="T1" fmla="*/ 215 h 215"/>
                <a:gd name="T2" fmla="*/ 0 w 215"/>
                <a:gd name="T3" fmla="*/ 108 h 215"/>
                <a:gd name="T4" fmla="*/ 107 w 215"/>
                <a:gd name="T5" fmla="*/ 0 h 215"/>
                <a:gd name="T6" fmla="*/ 215 w 215"/>
                <a:gd name="T7" fmla="*/ 108 h 215"/>
                <a:gd name="T8" fmla="*/ 107 w 215"/>
                <a:gd name="T9" fmla="*/ 215 h 215"/>
                <a:gd name="T10" fmla="*/ 107 w 215"/>
                <a:gd name="T11" fmla="*/ 7 h 215"/>
                <a:gd name="T12" fmla="*/ 7 w 215"/>
                <a:gd name="T13" fmla="*/ 108 h 215"/>
                <a:gd name="T14" fmla="*/ 107 w 215"/>
                <a:gd name="T15" fmla="*/ 208 h 215"/>
                <a:gd name="T16" fmla="*/ 208 w 215"/>
                <a:gd name="T17" fmla="*/ 108 h 215"/>
                <a:gd name="T18" fmla="*/ 107 w 215"/>
                <a:gd name="T19" fmla="*/ 7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5" h="215">
                  <a:moveTo>
                    <a:pt x="107" y="215"/>
                  </a:moveTo>
                  <a:cubicBezTo>
                    <a:pt x="48" y="215"/>
                    <a:pt x="0" y="167"/>
                    <a:pt x="0" y="108"/>
                  </a:cubicBezTo>
                  <a:cubicBezTo>
                    <a:pt x="0" y="48"/>
                    <a:pt x="48" y="0"/>
                    <a:pt x="107" y="0"/>
                  </a:cubicBezTo>
                  <a:cubicBezTo>
                    <a:pt x="167" y="0"/>
                    <a:pt x="215" y="48"/>
                    <a:pt x="215" y="108"/>
                  </a:cubicBezTo>
                  <a:cubicBezTo>
                    <a:pt x="215" y="167"/>
                    <a:pt x="167" y="215"/>
                    <a:pt x="107" y="215"/>
                  </a:cubicBezTo>
                  <a:close/>
                  <a:moveTo>
                    <a:pt x="107" y="7"/>
                  </a:moveTo>
                  <a:cubicBezTo>
                    <a:pt x="52" y="7"/>
                    <a:pt x="7" y="52"/>
                    <a:pt x="7" y="108"/>
                  </a:cubicBezTo>
                  <a:cubicBezTo>
                    <a:pt x="7" y="163"/>
                    <a:pt x="52" y="208"/>
                    <a:pt x="107" y="208"/>
                  </a:cubicBezTo>
                  <a:cubicBezTo>
                    <a:pt x="163" y="208"/>
                    <a:pt x="208" y="163"/>
                    <a:pt x="208" y="108"/>
                  </a:cubicBezTo>
                  <a:cubicBezTo>
                    <a:pt x="208" y="52"/>
                    <a:pt x="163" y="7"/>
                    <a:pt x="107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6" name="Freeform 740">
              <a:extLst>
                <a:ext uri="{FF2B5EF4-FFF2-40B4-BE49-F238E27FC236}">
                  <a16:creationId xmlns:a16="http://schemas.microsoft.com/office/drawing/2014/main" id="{E6EFAAA2-4AD6-8B97-517A-C8E19ACC513B}"/>
                </a:ext>
              </a:extLst>
            </p:cNvPr>
            <p:cNvSpPr>
              <a:spLocks/>
            </p:cNvSpPr>
            <p:nvPr/>
          </p:nvSpPr>
          <p:spPr bwMode="auto">
            <a:xfrm>
              <a:off x="-6316663" y="4252913"/>
              <a:ext cx="179388" cy="42863"/>
            </a:xfrm>
            <a:custGeom>
              <a:avLst/>
              <a:gdLst>
                <a:gd name="T0" fmla="*/ 75 w 151"/>
                <a:gd name="T1" fmla="*/ 36 h 36"/>
                <a:gd name="T2" fmla="*/ 2 w 151"/>
                <a:gd name="T3" fmla="*/ 7 h 36"/>
                <a:gd name="T4" fmla="*/ 2 w 151"/>
                <a:gd name="T5" fmla="*/ 2 h 36"/>
                <a:gd name="T6" fmla="*/ 7 w 151"/>
                <a:gd name="T7" fmla="*/ 1 h 36"/>
                <a:gd name="T8" fmla="*/ 75 w 151"/>
                <a:gd name="T9" fmla="*/ 29 h 36"/>
                <a:gd name="T10" fmla="*/ 144 w 151"/>
                <a:gd name="T11" fmla="*/ 1 h 36"/>
                <a:gd name="T12" fmla="*/ 150 w 151"/>
                <a:gd name="T13" fmla="*/ 1 h 36"/>
                <a:gd name="T14" fmla="*/ 149 w 151"/>
                <a:gd name="T15" fmla="*/ 6 h 36"/>
                <a:gd name="T16" fmla="*/ 75 w 151"/>
                <a:gd name="T1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1" h="36">
                  <a:moveTo>
                    <a:pt x="75" y="36"/>
                  </a:moveTo>
                  <a:cubicBezTo>
                    <a:pt x="48" y="36"/>
                    <a:pt x="22" y="25"/>
                    <a:pt x="2" y="7"/>
                  </a:cubicBezTo>
                  <a:cubicBezTo>
                    <a:pt x="0" y="5"/>
                    <a:pt x="0" y="3"/>
                    <a:pt x="2" y="2"/>
                  </a:cubicBezTo>
                  <a:cubicBezTo>
                    <a:pt x="3" y="0"/>
                    <a:pt x="5" y="0"/>
                    <a:pt x="7" y="1"/>
                  </a:cubicBezTo>
                  <a:cubicBezTo>
                    <a:pt x="25" y="19"/>
                    <a:pt x="50" y="29"/>
                    <a:pt x="75" y="29"/>
                  </a:cubicBezTo>
                  <a:cubicBezTo>
                    <a:pt x="101" y="29"/>
                    <a:pt x="126" y="19"/>
                    <a:pt x="144" y="1"/>
                  </a:cubicBezTo>
                  <a:cubicBezTo>
                    <a:pt x="146" y="0"/>
                    <a:pt x="148" y="0"/>
                    <a:pt x="150" y="1"/>
                  </a:cubicBezTo>
                  <a:cubicBezTo>
                    <a:pt x="151" y="2"/>
                    <a:pt x="151" y="5"/>
                    <a:pt x="149" y="6"/>
                  </a:cubicBezTo>
                  <a:cubicBezTo>
                    <a:pt x="129" y="25"/>
                    <a:pt x="103" y="36"/>
                    <a:pt x="75" y="3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7" name="Freeform 741">
              <a:extLst>
                <a:ext uri="{FF2B5EF4-FFF2-40B4-BE49-F238E27FC236}">
                  <a16:creationId xmlns:a16="http://schemas.microsoft.com/office/drawing/2014/main" id="{376D72E1-8735-AF80-83AB-A0F34D83EB7A}"/>
                </a:ext>
              </a:extLst>
            </p:cNvPr>
            <p:cNvSpPr>
              <a:spLocks/>
            </p:cNvSpPr>
            <p:nvPr/>
          </p:nvSpPr>
          <p:spPr bwMode="auto">
            <a:xfrm>
              <a:off x="-6316663" y="4398963"/>
              <a:ext cx="179388" cy="41275"/>
            </a:xfrm>
            <a:custGeom>
              <a:avLst/>
              <a:gdLst>
                <a:gd name="T0" fmla="*/ 4 w 149"/>
                <a:gd name="T1" fmla="*/ 35 h 35"/>
                <a:gd name="T2" fmla="*/ 1 w 149"/>
                <a:gd name="T3" fmla="*/ 33 h 35"/>
                <a:gd name="T4" fmla="*/ 1 w 149"/>
                <a:gd name="T5" fmla="*/ 28 h 35"/>
                <a:gd name="T6" fmla="*/ 74 w 149"/>
                <a:gd name="T7" fmla="*/ 0 h 35"/>
                <a:gd name="T8" fmla="*/ 147 w 149"/>
                <a:gd name="T9" fmla="*/ 28 h 35"/>
                <a:gd name="T10" fmla="*/ 147 w 149"/>
                <a:gd name="T11" fmla="*/ 33 h 35"/>
                <a:gd name="T12" fmla="*/ 142 w 149"/>
                <a:gd name="T13" fmla="*/ 33 h 35"/>
                <a:gd name="T14" fmla="*/ 74 w 149"/>
                <a:gd name="T15" fmla="*/ 7 h 35"/>
                <a:gd name="T16" fmla="*/ 6 w 149"/>
                <a:gd name="T17" fmla="*/ 34 h 35"/>
                <a:gd name="T18" fmla="*/ 4 w 149"/>
                <a:gd name="T19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9" h="35">
                  <a:moveTo>
                    <a:pt x="4" y="35"/>
                  </a:moveTo>
                  <a:cubicBezTo>
                    <a:pt x="3" y="35"/>
                    <a:pt x="2" y="34"/>
                    <a:pt x="1" y="33"/>
                  </a:cubicBezTo>
                  <a:cubicBezTo>
                    <a:pt x="0" y="32"/>
                    <a:pt x="0" y="30"/>
                    <a:pt x="1" y="28"/>
                  </a:cubicBezTo>
                  <a:cubicBezTo>
                    <a:pt x="21" y="10"/>
                    <a:pt x="47" y="0"/>
                    <a:pt x="74" y="0"/>
                  </a:cubicBezTo>
                  <a:cubicBezTo>
                    <a:pt x="101" y="0"/>
                    <a:pt x="127" y="10"/>
                    <a:pt x="147" y="28"/>
                  </a:cubicBezTo>
                  <a:cubicBezTo>
                    <a:pt x="148" y="29"/>
                    <a:pt x="149" y="31"/>
                    <a:pt x="147" y="33"/>
                  </a:cubicBezTo>
                  <a:cubicBezTo>
                    <a:pt x="146" y="34"/>
                    <a:pt x="144" y="34"/>
                    <a:pt x="142" y="33"/>
                  </a:cubicBezTo>
                  <a:cubicBezTo>
                    <a:pt x="124" y="16"/>
                    <a:pt x="100" y="7"/>
                    <a:pt x="74" y="7"/>
                  </a:cubicBezTo>
                  <a:cubicBezTo>
                    <a:pt x="49" y="7"/>
                    <a:pt x="25" y="16"/>
                    <a:pt x="6" y="34"/>
                  </a:cubicBezTo>
                  <a:cubicBezTo>
                    <a:pt x="5" y="34"/>
                    <a:pt x="4" y="35"/>
                    <a:pt x="4" y="3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8" name="Freeform 742">
              <a:extLst>
                <a:ext uri="{FF2B5EF4-FFF2-40B4-BE49-F238E27FC236}">
                  <a16:creationId xmlns:a16="http://schemas.microsoft.com/office/drawing/2014/main" id="{247E4BE9-22F8-232F-FFFD-ED7BC4FF5D4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297613" y="4217988"/>
              <a:ext cx="139700" cy="257175"/>
            </a:xfrm>
            <a:custGeom>
              <a:avLst/>
              <a:gdLst>
                <a:gd name="T0" fmla="*/ 58 w 116"/>
                <a:gd name="T1" fmla="*/ 215 h 215"/>
                <a:gd name="T2" fmla="*/ 0 w 116"/>
                <a:gd name="T3" fmla="*/ 108 h 215"/>
                <a:gd name="T4" fmla="*/ 58 w 116"/>
                <a:gd name="T5" fmla="*/ 0 h 215"/>
                <a:gd name="T6" fmla="*/ 116 w 116"/>
                <a:gd name="T7" fmla="*/ 108 h 215"/>
                <a:gd name="T8" fmla="*/ 58 w 116"/>
                <a:gd name="T9" fmla="*/ 215 h 215"/>
                <a:gd name="T10" fmla="*/ 58 w 116"/>
                <a:gd name="T11" fmla="*/ 7 h 215"/>
                <a:gd name="T12" fmla="*/ 7 w 116"/>
                <a:gd name="T13" fmla="*/ 108 h 215"/>
                <a:gd name="T14" fmla="*/ 58 w 116"/>
                <a:gd name="T15" fmla="*/ 208 h 215"/>
                <a:gd name="T16" fmla="*/ 109 w 116"/>
                <a:gd name="T17" fmla="*/ 108 h 215"/>
                <a:gd name="T18" fmla="*/ 58 w 116"/>
                <a:gd name="T19" fmla="*/ 7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" h="215">
                  <a:moveTo>
                    <a:pt x="58" y="215"/>
                  </a:moveTo>
                  <a:cubicBezTo>
                    <a:pt x="26" y="215"/>
                    <a:pt x="0" y="168"/>
                    <a:pt x="0" y="108"/>
                  </a:cubicBezTo>
                  <a:cubicBezTo>
                    <a:pt x="0" y="47"/>
                    <a:pt x="26" y="0"/>
                    <a:pt x="58" y="0"/>
                  </a:cubicBezTo>
                  <a:cubicBezTo>
                    <a:pt x="91" y="0"/>
                    <a:pt x="116" y="47"/>
                    <a:pt x="116" y="108"/>
                  </a:cubicBezTo>
                  <a:cubicBezTo>
                    <a:pt x="116" y="168"/>
                    <a:pt x="91" y="215"/>
                    <a:pt x="58" y="215"/>
                  </a:cubicBezTo>
                  <a:close/>
                  <a:moveTo>
                    <a:pt x="58" y="7"/>
                  </a:moveTo>
                  <a:cubicBezTo>
                    <a:pt x="30" y="7"/>
                    <a:pt x="7" y="52"/>
                    <a:pt x="7" y="108"/>
                  </a:cubicBezTo>
                  <a:cubicBezTo>
                    <a:pt x="7" y="163"/>
                    <a:pt x="30" y="208"/>
                    <a:pt x="58" y="208"/>
                  </a:cubicBezTo>
                  <a:cubicBezTo>
                    <a:pt x="86" y="208"/>
                    <a:pt x="109" y="163"/>
                    <a:pt x="109" y="108"/>
                  </a:cubicBezTo>
                  <a:cubicBezTo>
                    <a:pt x="109" y="52"/>
                    <a:pt x="86" y="7"/>
                    <a:pt x="58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9" name="Freeform 743">
              <a:extLst>
                <a:ext uri="{FF2B5EF4-FFF2-40B4-BE49-F238E27FC236}">
                  <a16:creationId xmlns:a16="http://schemas.microsoft.com/office/drawing/2014/main" id="{2141BFA2-EA5C-AE4D-626E-DD2CE6E2349F}"/>
                </a:ext>
              </a:extLst>
            </p:cNvPr>
            <p:cNvSpPr>
              <a:spLocks/>
            </p:cNvSpPr>
            <p:nvPr/>
          </p:nvSpPr>
          <p:spPr bwMode="auto">
            <a:xfrm>
              <a:off x="-6356350" y="4341813"/>
              <a:ext cx="257175" cy="7938"/>
            </a:xfrm>
            <a:custGeom>
              <a:avLst/>
              <a:gdLst>
                <a:gd name="T0" fmla="*/ 211 w 215"/>
                <a:gd name="T1" fmla="*/ 7 h 7"/>
                <a:gd name="T2" fmla="*/ 4 w 215"/>
                <a:gd name="T3" fmla="*/ 7 h 7"/>
                <a:gd name="T4" fmla="*/ 0 w 215"/>
                <a:gd name="T5" fmla="*/ 4 h 7"/>
                <a:gd name="T6" fmla="*/ 4 w 215"/>
                <a:gd name="T7" fmla="*/ 0 h 7"/>
                <a:gd name="T8" fmla="*/ 211 w 215"/>
                <a:gd name="T9" fmla="*/ 0 h 7"/>
                <a:gd name="T10" fmla="*/ 215 w 215"/>
                <a:gd name="T11" fmla="*/ 4 h 7"/>
                <a:gd name="T12" fmla="*/ 211 w 215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5" h="7">
                  <a:moveTo>
                    <a:pt x="211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11" y="0"/>
                    <a:pt x="211" y="0"/>
                    <a:pt x="211" y="0"/>
                  </a:cubicBezTo>
                  <a:cubicBezTo>
                    <a:pt x="213" y="0"/>
                    <a:pt x="215" y="2"/>
                    <a:pt x="215" y="4"/>
                  </a:cubicBezTo>
                  <a:cubicBezTo>
                    <a:pt x="215" y="6"/>
                    <a:pt x="213" y="7"/>
                    <a:pt x="211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0" name="Freeform 744">
              <a:extLst>
                <a:ext uri="{FF2B5EF4-FFF2-40B4-BE49-F238E27FC236}">
                  <a16:creationId xmlns:a16="http://schemas.microsoft.com/office/drawing/2014/main" id="{FFF6D60B-8C75-033E-B17E-1624EFCF726D}"/>
                </a:ext>
              </a:extLst>
            </p:cNvPr>
            <p:cNvSpPr>
              <a:spLocks/>
            </p:cNvSpPr>
            <p:nvPr/>
          </p:nvSpPr>
          <p:spPr bwMode="auto">
            <a:xfrm>
              <a:off x="-6230938" y="4217988"/>
              <a:ext cx="7938" cy="257175"/>
            </a:xfrm>
            <a:custGeom>
              <a:avLst/>
              <a:gdLst>
                <a:gd name="T0" fmla="*/ 3 w 7"/>
                <a:gd name="T1" fmla="*/ 215 h 215"/>
                <a:gd name="T2" fmla="*/ 0 w 7"/>
                <a:gd name="T3" fmla="*/ 211 h 215"/>
                <a:gd name="T4" fmla="*/ 0 w 7"/>
                <a:gd name="T5" fmla="*/ 4 h 215"/>
                <a:gd name="T6" fmla="*/ 3 w 7"/>
                <a:gd name="T7" fmla="*/ 0 h 215"/>
                <a:gd name="T8" fmla="*/ 7 w 7"/>
                <a:gd name="T9" fmla="*/ 4 h 215"/>
                <a:gd name="T10" fmla="*/ 7 w 7"/>
                <a:gd name="T11" fmla="*/ 211 h 215"/>
                <a:gd name="T12" fmla="*/ 3 w 7"/>
                <a:gd name="T13" fmla="*/ 215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215">
                  <a:moveTo>
                    <a:pt x="3" y="215"/>
                  </a:moveTo>
                  <a:cubicBezTo>
                    <a:pt x="1" y="215"/>
                    <a:pt x="0" y="213"/>
                    <a:pt x="0" y="21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211"/>
                    <a:pt x="7" y="211"/>
                    <a:pt x="7" y="211"/>
                  </a:cubicBezTo>
                  <a:cubicBezTo>
                    <a:pt x="7" y="213"/>
                    <a:pt x="5" y="215"/>
                    <a:pt x="3" y="2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7" name="Shape10_20200717_142329">
            <a:extLst>
              <a:ext uri="{FF2B5EF4-FFF2-40B4-BE49-F238E27FC236}">
                <a16:creationId xmlns:a16="http://schemas.microsoft.com/office/drawing/2014/main" id="{6BF936CF-0737-7F8D-B13A-33B080AD8233}"/>
              </a:ext>
            </a:extLst>
          </p:cNvPr>
          <p:cNvGrpSpPr>
            <a:grpSpLocks noChangeAspect="1"/>
          </p:cNvGrpSpPr>
          <p:nvPr/>
        </p:nvGrpSpPr>
        <p:grpSpPr>
          <a:xfrm>
            <a:off x="7145010" y="3857991"/>
            <a:ext cx="513090" cy="553332"/>
            <a:chOff x="-4667250" y="4214813"/>
            <a:chExt cx="242888" cy="261938"/>
          </a:xfrm>
          <a:solidFill>
            <a:schemeClr val="accent1"/>
          </a:solidFill>
        </p:grpSpPr>
        <p:sp>
          <p:nvSpPr>
            <p:cNvPr id="136" name="Freeform 745">
              <a:extLst>
                <a:ext uri="{FF2B5EF4-FFF2-40B4-BE49-F238E27FC236}">
                  <a16:creationId xmlns:a16="http://schemas.microsoft.com/office/drawing/2014/main" id="{342AA333-0C1E-8ADD-3604-F218A4B539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611688" y="4273551"/>
              <a:ext cx="128588" cy="203200"/>
            </a:xfrm>
            <a:custGeom>
              <a:avLst/>
              <a:gdLst>
                <a:gd name="T0" fmla="*/ 53 w 107"/>
                <a:gd name="T1" fmla="*/ 170 h 170"/>
                <a:gd name="T2" fmla="*/ 31 w 107"/>
                <a:gd name="T3" fmla="*/ 148 h 170"/>
                <a:gd name="T4" fmla="*/ 31 w 107"/>
                <a:gd name="T5" fmla="*/ 145 h 170"/>
                <a:gd name="T6" fmla="*/ 10 w 107"/>
                <a:gd name="T7" fmla="*/ 83 h 170"/>
                <a:gd name="T8" fmla="*/ 2 w 107"/>
                <a:gd name="T9" fmla="*/ 48 h 170"/>
                <a:gd name="T10" fmla="*/ 48 w 107"/>
                <a:gd name="T11" fmla="*/ 1 h 170"/>
                <a:gd name="T12" fmla="*/ 90 w 107"/>
                <a:gd name="T13" fmla="*/ 15 h 170"/>
                <a:gd name="T14" fmla="*/ 107 w 107"/>
                <a:gd name="T15" fmla="*/ 54 h 170"/>
                <a:gd name="T16" fmla="*/ 98 w 107"/>
                <a:gd name="T17" fmla="*/ 84 h 170"/>
                <a:gd name="T18" fmla="*/ 76 w 107"/>
                <a:gd name="T19" fmla="*/ 148 h 170"/>
                <a:gd name="T20" fmla="*/ 53 w 107"/>
                <a:gd name="T21" fmla="*/ 170 h 170"/>
                <a:gd name="T22" fmla="*/ 54 w 107"/>
                <a:gd name="T23" fmla="*/ 8 h 170"/>
                <a:gd name="T24" fmla="*/ 49 w 107"/>
                <a:gd name="T25" fmla="*/ 9 h 170"/>
                <a:gd name="T26" fmla="*/ 9 w 107"/>
                <a:gd name="T27" fmla="*/ 49 h 170"/>
                <a:gd name="T28" fmla="*/ 16 w 107"/>
                <a:gd name="T29" fmla="*/ 79 h 170"/>
                <a:gd name="T30" fmla="*/ 38 w 107"/>
                <a:gd name="T31" fmla="*/ 145 h 170"/>
                <a:gd name="T32" fmla="*/ 38 w 107"/>
                <a:gd name="T33" fmla="*/ 148 h 170"/>
                <a:gd name="T34" fmla="*/ 53 w 107"/>
                <a:gd name="T35" fmla="*/ 163 h 170"/>
                <a:gd name="T36" fmla="*/ 69 w 107"/>
                <a:gd name="T37" fmla="*/ 148 h 170"/>
                <a:gd name="T38" fmla="*/ 92 w 107"/>
                <a:gd name="T39" fmla="*/ 80 h 170"/>
                <a:gd name="T40" fmla="*/ 100 w 107"/>
                <a:gd name="T41" fmla="*/ 54 h 170"/>
                <a:gd name="T42" fmla="*/ 85 w 107"/>
                <a:gd name="T43" fmla="*/ 20 h 170"/>
                <a:gd name="T44" fmla="*/ 54 w 107"/>
                <a:gd name="T45" fmla="*/ 8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7" h="170">
                  <a:moveTo>
                    <a:pt x="53" y="170"/>
                  </a:moveTo>
                  <a:cubicBezTo>
                    <a:pt x="41" y="170"/>
                    <a:pt x="31" y="160"/>
                    <a:pt x="31" y="148"/>
                  </a:cubicBezTo>
                  <a:cubicBezTo>
                    <a:pt x="31" y="145"/>
                    <a:pt x="31" y="145"/>
                    <a:pt x="31" y="145"/>
                  </a:cubicBezTo>
                  <a:cubicBezTo>
                    <a:pt x="30" y="124"/>
                    <a:pt x="23" y="102"/>
                    <a:pt x="10" y="83"/>
                  </a:cubicBezTo>
                  <a:cubicBezTo>
                    <a:pt x="3" y="73"/>
                    <a:pt x="0" y="61"/>
                    <a:pt x="2" y="48"/>
                  </a:cubicBezTo>
                  <a:cubicBezTo>
                    <a:pt x="4" y="24"/>
                    <a:pt x="24" y="4"/>
                    <a:pt x="48" y="1"/>
                  </a:cubicBezTo>
                  <a:cubicBezTo>
                    <a:pt x="63" y="0"/>
                    <a:pt x="78" y="4"/>
                    <a:pt x="90" y="15"/>
                  </a:cubicBezTo>
                  <a:cubicBezTo>
                    <a:pt x="101" y="25"/>
                    <a:pt x="107" y="39"/>
                    <a:pt x="107" y="54"/>
                  </a:cubicBezTo>
                  <a:cubicBezTo>
                    <a:pt x="107" y="65"/>
                    <a:pt x="104" y="75"/>
                    <a:pt x="98" y="84"/>
                  </a:cubicBezTo>
                  <a:cubicBezTo>
                    <a:pt x="84" y="103"/>
                    <a:pt x="77" y="125"/>
                    <a:pt x="76" y="148"/>
                  </a:cubicBezTo>
                  <a:cubicBezTo>
                    <a:pt x="76" y="160"/>
                    <a:pt x="66" y="170"/>
                    <a:pt x="53" y="170"/>
                  </a:cubicBezTo>
                  <a:close/>
                  <a:moveTo>
                    <a:pt x="54" y="8"/>
                  </a:moveTo>
                  <a:cubicBezTo>
                    <a:pt x="53" y="8"/>
                    <a:pt x="51" y="8"/>
                    <a:pt x="49" y="9"/>
                  </a:cubicBezTo>
                  <a:cubicBezTo>
                    <a:pt x="28" y="11"/>
                    <a:pt x="11" y="28"/>
                    <a:pt x="9" y="49"/>
                  </a:cubicBezTo>
                  <a:cubicBezTo>
                    <a:pt x="8" y="60"/>
                    <a:pt x="10" y="70"/>
                    <a:pt x="16" y="79"/>
                  </a:cubicBezTo>
                  <a:cubicBezTo>
                    <a:pt x="29" y="99"/>
                    <a:pt x="37" y="122"/>
                    <a:pt x="38" y="145"/>
                  </a:cubicBezTo>
                  <a:cubicBezTo>
                    <a:pt x="38" y="148"/>
                    <a:pt x="38" y="148"/>
                    <a:pt x="38" y="148"/>
                  </a:cubicBezTo>
                  <a:cubicBezTo>
                    <a:pt x="38" y="156"/>
                    <a:pt x="45" y="163"/>
                    <a:pt x="53" y="163"/>
                  </a:cubicBezTo>
                  <a:cubicBezTo>
                    <a:pt x="62" y="163"/>
                    <a:pt x="69" y="156"/>
                    <a:pt x="69" y="148"/>
                  </a:cubicBezTo>
                  <a:cubicBezTo>
                    <a:pt x="70" y="124"/>
                    <a:pt x="78" y="100"/>
                    <a:pt x="92" y="80"/>
                  </a:cubicBezTo>
                  <a:cubicBezTo>
                    <a:pt x="97" y="72"/>
                    <a:pt x="100" y="63"/>
                    <a:pt x="100" y="54"/>
                  </a:cubicBezTo>
                  <a:cubicBezTo>
                    <a:pt x="100" y="41"/>
                    <a:pt x="94" y="29"/>
                    <a:pt x="85" y="20"/>
                  </a:cubicBezTo>
                  <a:cubicBezTo>
                    <a:pt x="76" y="12"/>
                    <a:pt x="66" y="8"/>
                    <a:pt x="54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7" name="Freeform 746">
              <a:extLst>
                <a:ext uri="{FF2B5EF4-FFF2-40B4-BE49-F238E27FC236}">
                  <a16:creationId xmlns:a16="http://schemas.microsoft.com/office/drawing/2014/main" id="{1F3C98AD-7FF8-D340-99A3-28E3D9AC45D9}"/>
                </a:ext>
              </a:extLst>
            </p:cNvPr>
            <p:cNvSpPr>
              <a:spLocks/>
            </p:cNvSpPr>
            <p:nvPr/>
          </p:nvSpPr>
          <p:spPr bwMode="auto">
            <a:xfrm>
              <a:off x="-4576763" y="4416426"/>
              <a:ext cx="58738" cy="15875"/>
            </a:xfrm>
            <a:custGeom>
              <a:avLst/>
              <a:gdLst>
                <a:gd name="T0" fmla="*/ 24 w 49"/>
                <a:gd name="T1" fmla="*/ 13 h 13"/>
                <a:gd name="T2" fmla="*/ 2 w 49"/>
                <a:gd name="T3" fmla="*/ 7 h 13"/>
                <a:gd name="T4" fmla="*/ 1 w 49"/>
                <a:gd name="T5" fmla="*/ 3 h 13"/>
                <a:gd name="T6" fmla="*/ 6 w 49"/>
                <a:gd name="T7" fmla="*/ 1 h 13"/>
                <a:gd name="T8" fmla="*/ 44 w 49"/>
                <a:gd name="T9" fmla="*/ 1 h 13"/>
                <a:gd name="T10" fmla="*/ 49 w 49"/>
                <a:gd name="T11" fmla="*/ 3 h 13"/>
                <a:gd name="T12" fmla="*/ 47 w 49"/>
                <a:gd name="T13" fmla="*/ 8 h 13"/>
                <a:gd name="T14" fmla="*/ 24 w 49"/>
                <a:gd name="T15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" h="13">
                  <a:moveTo>
                    <a:pt x="24" y="13"/>
                  </a:moveTo>
                  <a:cubicBezTo>
                    <a:pt x="12" y="13"/>
                    <a:pt x="3" y="8"/>
                    <a:pt x="2" y="7"/>
                  </a:cubicBezTo>
                  <a:cubicBezTo>
                    <a:pt x="1" y="6"/>
                    <a:pt x="0" y="4"/>
                    <a:pt x="1" y="3"/>
                  </a:cubicBezTo>
                  <a:cubicBezTo>
                    <a:pt x="2" y="1"/>
                    <a:pt x="4" y="0"/>
                    <a:pt x="6" y="1"/>
                  </a:cubicBezTo>
                  <a:cubicBezTo>
                    <a:pt x="7" y="2"/>
                    <a:pt x="23" y="11"/>
                    <a:pt x="44" y="1"/>
                  </a:cubicBezTo>
                  <a:cubicBezTo>
                    <a:pt x="46" y="0"/>
                    <a:pt x="48" y="1"/>
                    <a:pt x="49" y="3"/>
                  </a:cubicBezTo>
                  <a:cubicBezTo>
                    <a:pt x="49" y="5"/>
                    <a:pt x="49" y="7"/>
                    <a:pt x="47" y="8"/>
                  </a:cubicBezTo>
                  <a:cubicBezTo>
                    <a:pt x="39" y="11"/>
                    <a:pt x="31" y="13"/>
                    <a:pt x="24" y="1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8" name="Freeform 747">
              <a:extLst>
                <a:ext uri="{FF2B5EF4-FFF2-40B4-BE49-F238E27FC236}">
                  <a16:creationId xmlns:a16="http://schemas.microsoft.com/office/drawing/2014/main" id="{DC089124-C5FD-C8AD-BC32-5F099D77BE49}"/>
                </a:ext>
              </a:extLst>
            </p:cNvPr>
            <p:cNvSpPr>
              <a:spLocks/>
            </p:cNvSpPr>
            <p:nvPr/>
          </p:nvSpPr>
          <p:spPr bwMode="auto">
            <a:xfrm>
              <a:off x="-4549775" y="4214813"/>
              <a:ext cx="7938" cy="42863"/>
            </a:xfrm>
            <a:custGeom>
              <a:avLst/>
              <a:gdLst>
                <a:gd name="T0" fmla="*/ 3 w 7"/>
                <a:gd name="T1" fmla="*/ 36 h 36"/>
                <a:gd name="T2" fmla="*/ 0 w 7"/>
                <a:gd name="T3" fmla="*/ 32 h 36"/>
                <a:gd name="T4" fmla="*/ 0 w 7"/>
                <a:gd name="T5" fmla="*/ 4 h 36"/>
                <a:gd name="T6" fmla="*/ 3 w 7"/>
                <a:gd name="T7" fmla="*/ 0 h 36"/>
                <a:gd name="T8" fmla="*/ 7 w 7"/>
                <a:gd name="T9" fmla="*/ 4 h 36"/>
                <a:gd name="T10" fmla="*/ 7 w 7"/>
                <a:gd name="T11" fmla="*/ 32 h 36"/>
                <a:gd name="T12" fmla="*/ 3 w 7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36">
                  <a:moveTo>
                    <a:pt x="3" y="36"/>
                  </a:moveTo>
                  <a:cubicBezTo>
                    <a:pt x="1" y="36"/>
                    <a:pt x="0" y="34"/>
                    <a:pt x="0" y="3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7" y="34"/>
                    <a:pt x="5" y="36"/>
                    <a:pt x="3" y="3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9" name="Freeform 748">
              <a:extLst>
                <a:ext uri="{FF2B5EF4-FFF2-40B4-BE49-F238E27FC236}">
                  <a16:creationId xmlns:a16="http://schemas.microsoft.com/office/drawing/2014/main" id="{A91DF275-8CD0-A2F9-B941-5E20CBCAA84F}"/>
                </a:ext>
              </a:extLst>
            </p:cNvPr>
            <p:cNvSpPr>
              <a:spLocks/>
            </p:cNvSpPr>
            <p:nvPr/>
          </p:nvSpPr>
          <p:spPr bwMode="auto">
            <a:xfrm>
              <a:off x="-4627563" y="4243388"/>
              <a:ext cx="31750" cy="34925"/>
            </a:xfrm>
            <a:custGeom>
              <a:avLst/>
              <a:gdLst>
                <a:gd name="T0" fmla="*/ 23 w 27"/>
                <a:gd name="T1" fmla="*/ 30 h 30"/>
                <a:gd name="T2" fmla="*/ 20 w 27"/>
                <a:gd name="T3" fmla="*/ 28 h 30"/>
                <a:gd name="T4" fmla="*/ 2 w 27"/>
                <a:gd name="T5" fmla="*/ 6 h 30"/>
                <a:gd name="T6" fmla="*/ 2 w 27"/>
                <a:gd name="T7" fmla="*/ 1 h 30"/>
                <a:gd name="T8" fmla="*/ 7 w 27"/>
                <a:gd name="T9" fmla="*/ 2 h 30"/>
                <a:gd name="T10" fmla="*/ 26 w 27"/>
                <a:gd name="T11" fmla="*/ 24 h 30"/>
                <a:gd name="T12" fmla="*/ 25 w 27"/>
                <a:gd name="T13" fmla="*/ 29 h 30"/>
                <a:gd name="T14" fmla="*/ 23 w 27"/>
                <a:gd name="T15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" h="30">
                  <a:moveTo>
                    <a:pt x="23" y="30"/>
                  </a:moveTo>
                  <a:cubicBezTo>
                    <a:pt x="22" y="30"/>
                    <a:pt x="21" y="29"/>
                    <a:pt x="20" y="28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0" y="5"/>
                    <a:pt x="1" y="3"/>
                    <a:pt x="2" y="1"/>
                  </a:cubicBezTo>
                  <a:cubicBezTo>
                    <a:pt x="4" y="0"/>
                    <a:pt x="6" y="0"/>
                    <a:pt x="7" y="2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7" y="25"/>
                    <a:pt x="27" y="27"/>
                    <a:pt x="25" y="29"/>
                  </a:cubicBezTo>
                  <a:cubicBezTo>
                    <a:pt x="25" y="29"/>
                    <a:pt x="24" y="30"/>
                    <a:pt x="23" y="3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0" name="Freeform 749">
              <a:extLst>
                <a:ext uri="{FF2B5EF4-FFF2-40B4-BE49-F238E27FC236}">
                  <a16:creationId xmlns:a16="http://schemas.microsoft.com/office/drawing/2014/main" id="{6AD4217B-5B90-88B7-5664-0AEDE775B6F1}"/>
                </a:ext>
              </a:extLst>
            </p:cNvPr>
            <p:cNvSpPr>
              <a:spLocks/>
            </p:cNvSpPr>
            <p:nvPr/>
          </p:nvSpPr>
          <p:spPr bwMode="auto">
            <a:xfrm>
              <a:off x="-4667250" y="4313238"/>
              <a:ext cx="42863" cy="14288"/>
            </a:xfrm>
            <a:custGeom>
              <a:avLst/>
              <a:gdLst>
                <a:gd name="T0" fmla="*/ 32 w 36"/>
                <a:gd name="T1" fmla="*/ 12 h 12"/>
                <a:gd name="T2" fmla="*/ 31 w 36"/>
                <a:gd name="T3" fmla="*/ 12 h 12"/>
                <a:gd name="T4" fmla="*/ 3 w 36"/>
                <a:gd name="T5" fmla="*/ 7 h 12"/>
                <a:gd name="T6" fmla="*/ 0 w 36"/>
                <a:gd name="T7" fmla="*/ 3 h 12"/>
                <a:gd name="T8" fmla="*/ 4 w 36"/>
                <a:gd name="T9" fmla="*/ 0 h 12"/>
                <a:gd name="T10" fmla="*/ 32 w 36"/>
                <a:gd name="T11" fmla="*/ 5 h 12"/>
                <a:gd name="T12" fmla="*/ 35 w 36"/>
                <a:gd name="T13" fmla="*/ 9 h 12"/>
                <a:gd name="T14" fmla="*/ 32 w 36"/>
                <a:gd name="T1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" h="12">
                  <a:moveTo>
                    <a:pt x="32" y="12"/>
                  </a:moveTo>
                  <a:cubicBezTo>
                    <a:pt x="32" y="12"/>
                    <a:pt x="31" y="12"/>
                    <a:pt x="31" y="12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32" y="5"/>
                    <a:pt x="32" y="5"/>
                    <a:pt x="32" y="5"/>
                  </a:cubicBezTo>
                  <a:cubicBezTo>
                    <a:pt x="34" y="6"/>
                    <a:pt x="36" y="7"/>
                    <a:pt x="35" y="9"/>
                  </a:cubicBezTo>
                  <a:cubicBezTo>
                    <a:pt x="35" y="11"/>
                    <a:pt x="33" y="12"/>
                    <a:pt x="32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1" name="Freeform 750">
              <a:extLst>
                <a:ext uri="{FF2B5EF4-FFF2-40B4-BE49-F238E27FC236}">
                  <a16:creationId xmlns:a16="http://schemas.microsoft.com/office/drawing/2014/main" id="{546A5E07-76E3-8C92-10CF-317D5064EC75}"/>
                </a:ext>
              </a:extLst>
            </p:cNvPr>
            <p:cNvSpPr>
              <a:spLocks/>
            </p:cNvSpPr>
            <p:nvPr/>
          </p:nvSpPr>
          <p:spPr bwMode="auto">
            <a:xfrm>
              <a:off x="-4654550" y="4375151"/>
              <a:ext cx="39688" cy="26988"/>
            </a:xfrm>
            <a:custGeom>
              <a:avLst/>
              <a:gdLst>
                <a:gd name="T0" fmla="*/ 4 w 33"/>
                <a:gd name="T1" fmla="*/ 22 h 22"/>
                <a:gd name="T2" fmla="*/ 1 w 33"/>
                <a:gd name="T3" fmla="*/ 20 h 22"/>
                <a:gd name="T4" fmla="*/ 3 w 33"/>
                <a:gd name="T5" fmla="*/ 15 h 22"/>
                <a:gd name="T6" fmla="*/ 27 w 33"/>
                <a:gd name="T7" fmla="*/ 1 h 22"/>
                <a:gd name="T8" fmla="*/ 32 w 33"/>
                <a:gd name="T9" fmla="*/ 2 h 22"/>
                <a:gd name="T10" fmla="*/ 31 w 33"/>
                <a:gd name="T11" fmla="*/ 7 h 22"/>
                <a:gd name="T12" fmla="*/ 6 w 33"/>
                <a:gd name="T13" fmla="*/ 22 h 22"/>
                <a:gd name="T14" fmla="*/ 4 w 33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22">
                  <a:moveTo>
                    <a:pt x="4" y="22"/>
                  </a:moveTo>
                  <a:cubicBezTo>
                    <a:pt x="3" y="22"/>
                    <a:pt x="2" y="21"/>
                    <a:pt x="1" y="20"/>
                  </a:cubicBezTo>
                  <a:cubicBezTo>
                    <a:pt x="0" y="19"/>
                    <a:pt x="1" y="16"/>
                    <a:pt x="3" y="15"/>
                  </a:cubicBezTo>
                  <a:cubicBezTo>
                    <a:pt x="27" y="1"/>
                    <a:pt x="27" y="1"/>
                    <a:pt x="27" y="1"/>
                  </a:cubicBezTo>
                  <a:cubicBezTo>
                    <a:pt x="29" y="0"/>
                    <a:pt x="31" y="1"/>
                    <a:pt x="32" y="2"/>
                  </a:cubicBezTo>
                  <a:cubicBezTo>
                    <a:pt x="33" y="4"/>
                    <a:pt x="33" y="6"/>
                    <a:pt x="31" y="7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2"/>
                    <a:pt x="5" y="22"/>
                    <a:pt x="4" y="2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2" name="Freeform 751">
              <a:extLst>
                <a:ext uri="{FF2B5EF4-FFF2-40B4-BE49-F238E27FC236}">
                  <a16:creationId xmlns:a16="http://schemas.microsoft.com/office/drawing/2014/main" id="{16E30F36-0FF6-F6B8-37BF-5DB676A791C7}"/>
                </a:ext>
              </a:extLst>
            </p:cNvPr>
            <p:cNvSpPr>
              <a:spLocks/>
            </p:cNvSpPr>
            <p:nvPr/>
          </p:nvSpPr>
          <p:spPr bwMode="auto">
            <a:xfrm>
              <a:off x="-4478338" y="4375151"/>
              <a:ext cx="39688" cy="26988"/>
            </a:xfrm>
            <a:custGeom>
              <a:avLst/>
              <a:gdLst>
                <a:gd name="T0" fmla="*/ 29 w 33"/>
                <a:gd name="T1" fmla="*/ 22 h 22"/>
                <a:gd name="T2" fmla="*/ 27 w 33"/>
                <a:gd name="T3" fmla="*/ 22 h 22"/>
                <a:gd name="T4" fmla="*/ 3 w 33"/>
                <a:gd name="T5" fmla="*/ 7 h 22"/>
                <a:gd name="T6" fmla="*/ 1 w 33"/>
                <a:gd name="T7" fmla="*/ 2 h 22"/>
                <a:gd name="T8" fmla="*/ 6 w 33"/>
                <a:gd name="T9" fmla="*/ 1 h 22"/>
                <a:gd name="T10" fmla="*/ 31 w 33"/>
                <a:gd name="T11" fmla="*/ 15 h 22"/>
                <a:gd name="T12" fmla="*/ 32 w 33"/>
                <a:gd name="T13" fmla="*/ 20 h 22"/>
                <a:gd name="T14" fmla="*/ 29 w 33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22">
                  <a:moveTo>
                    <a:pt x="29" y="22"/>
                  </a:moveTo>
                  <a:cubicBezTo>
                    <a:pt x="28" y="22"/>
                    <a:pt x="28" y="22"/>
                    <a:pt x="27" y="22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" y="6"/>
                    <a:pt x="0" y="4"/>
                    <a:pt x="1" y="2"/>
                  </a:cubicBezTo>
                  <a:cubicBezTo>
                    <a:pt x="2" y="1"/>
                    <a:pt x="4" y="0"/>
                    <a:pt x="6" y="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3" y="16"/>
                    <a:pt x="33" y="19"/>
                    <a:pt x="32" y="20"/>
                  </a:cubicBezTo>
                  <a:cubicBezTo>
                    <a:pt x="32" y="21"/>
                    <a:pt x="30" y="22"/>
                    <a:pt x="29" y="2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3" name="Freeform 752">
              <a:extLst>
                <a:ext uri="{FF2B5EF4-FFF2-40B4-BE49-F238E27FC236}">
                  <a16:creationId xmlns:a16="http://schemas.microsoft.com/office/drawing/2014/main" id="{1DFBD99C-4AA9-0E6F-CFF3-04B143B3CD9C}"/>
                </a:ext>
              </a:extLst>
            </p:cNvPr>
            <p:cNvSpPr>
              <a:spLocks/>
            </p:cNvSpPr>
            <p:nvPr/>
          </p:nvSpPr>
          <p:spPr bwMode="auto">
            <a:xfrm>
              <a:off x="-4467225" y="4313238"/>
              <a:ext cx="42863" cy="14288"/>
            </a:xfrm>
            <a:custGeom>
              <a:avLst/>
              <a:gdLst>
                <a:gd name="T0" fmla="*/ 4 w 36"/>
                <a:gd name="T1" fmla="*/ 12 h 12"/>
                <a:gd name="T2" fmla="*/ 0 w 36"/>
                <a:gd name="T3" fmla="*/ 9 h 12"/>
                <a:gd name="T4" fmla="*/ 3 w 36"/>
                <a:gd name="T5" fmla="*/ 5 h 12"/>
                <a:gd name="T6" fmla="*/ 31 w 36"/>
                <a:gd name="T7" fmla="*/ 0 h 12"/>
                <a:gd name="T8" fmla="*/ 35 w 36"/>
                <a:gd name="T9" fmla="*/ 3 h 12"/>
                <a:gd name="T10" fmla="*/ 32 w 36"/>
                <a:gd name="T11" fmla="*/ 7 h 12"/>
                <a:gd name="T12" fmla="*/ 4 w 36"/>
                <a:gd name="T13" fmla="*/ 12 h 12"/>
                <a:gd name="T14" fmla="*/ 4 w 36"/>
                <a:gd name="T1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" h="12">
                  <a:moveTo>
                    <a:pt x="4" y="12"/>
                  </a:moveTo>
                  <a:cubicBezTo>
                    <a:pt x="2" y="12"/>
                    <a:pt x="0" y="11"/>
                    <a:pt x="0" y="9"/>
                  </a:cubicBezTo>
                  <a:cubicBezTo>
                    <a:pt x="0" y="7"/>
                    <a:pt x="1" y="6"/>
                    <a:pt x="3" y="5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3" y="0"/>
                    <a:pt x="35" y="1"/>
                    <a:pt x="35" y="3"/>
                  </a:cubicBezTo>
                  <a:cubicBezTo>
                    <a:pt x="36" y="5"/>
                    <a:pt x="34" y="7"/>
                    <a:pt x="32" y="7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4" name="Freeform 753">
              <a:extLst>
                <a:ext uri="{FF2B5EF4-FFF2-40B4-BE49-F238E27FC236}">
                  <a16:creationId xmlns:a16="http://schemas.microsoft.com/office/drawing/2014/main" id="{EC65C7E6-7DEF-77D8-223B-E2F2564B1C30}"/>
                </a:ext>
              </a:extLst>
            </p:cNvPr>
            <p:cNvSpPr>
              <a:spLocks/>
            </p:cNvSpPr>
            <p:nvPr/>
          </p:nvSpPr>
          <p:spPr bwMode="auto">
            <a:xfrm>
              <a:off x="-4495800" y="4243388"/>
              <a:ext cx="30163" cy="34925"/>
            </a:xfrm>
            <a:custGeom>
              <a:avLst/>
              <a:gdLst>
                <a:gd name="T0" fmla="*/ 4 w 26"/>
                <a:gd name="T1" fmla="*/ 30 h 30"/>
                <a:gd name="T2" fmla="*/ 1 w 26"/>
                <a:gd name="T3" fmla="*/ 29 h 30"/>
                <a:gd name="T4" fmla="*/ 1 w 26"/>
                <a:gd name="T5" fmla="*/ 24 h 30"/>
                <a:gd name="T6" fmla="*/ 19 w 26"/>
                <a:gd name="T7" fmla="*/ 2 h 30"/>
                <a:gd name="T8" fmla="*/ 24 w 26"/>
                <a:gd name="T9" fmla="*/ 1 h 30"/>
                <a:gd name="T10" fmla="*/ 25 w 26"/>
                <a:gd name="T11" fmla="*/ 6 h 30"/>
                <a:gd name="T12" fmla="*/ 6 w 26"/>
                <a:gd name="T13" fmla="*/ 28 h 30"/>
                <a:gd name="T14" fmla="*/ 4 w 26"/>
                <a:gd name="T15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30">
                  <a:moveTo>
                    <a:pt x="4" y="30"/>
                  </a:moveTo>
                  <a:cubicBezTo>
                    <a:pt x="3" y="30"/>
                    <a:pt x="2" y="29"/>
                    <a:pt x="1" y="29"/>
                  </a:cubicBezTo>
                  <a:cubicBezTo>
                    <a:pt x="0" y="27"/>
                    <a:pt x="0" y="25"/>
                    <a:pt x="1" y="24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20" y="0"/>
                    <a:pt x="23" y="0"/>
                    <a:pt x="24" y="1"/>
                  </a:cubicBezTo>
                  <a:cubicBezTo>
                    <a:pt x="26" y="3"/>
                    <a:pt x="26" y="5"/>
                    <a:pt x="25" y="6"/>
                  </a:cubicBezTo>
                  <a:cubicBezTo>
                    <a:pt x="6" y="28"/>
                    <a:pt x="6" y="28"/>
                    <a:pt x="6" y="28"/>
                  </a:cubicBezTo>
                  <a:cubicBezTo>
                    <a:pt x="6" y="29"/>
                    <a:pt x="5" y="30"/>
                    <a:pt x="4" y="3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8" name="Shape11_20200717_142329">
            <a:extLst>
              <a:ext uri="{FF2B5EF4-FFF2-40B4-BE49-F238E27FC236}">
                <a16:creationId xmlns:a16="http://schemas.microsoft.com/office/drawing/2014/main" id="{54F5EE97-8063-E09B-32B4-6427ACED86E8}"/>
              </a:ext>
            </a:extLst>
          </p:cNvPr>
          <p:cNvGrpSpPr>
            <a:grpSpLocks noChangeAspect="1"/>
          </p:cNvGrpSpPr>
          <p:nvPr/>
        </p:nvGrpSpPr>
        <p:grpSpPr>
          <a:xfrm>
            <a:off x="7139980" y="2565850"/>
            <a:ext cx="523152" cy="526502"/>
            <a:chOff x="-6351588" y="3614738"/>
            <a:chExt cx="247651" cy="249238"/>
          </a:xfrm>
          <a:solidFill>
            <a:schemeClr val="accent1"/>
          </a:solidFill>
        </p:grpSpPr>
        <p:sp>
          <p:nvSpPr>
            <p:cNvPr id="128" name="Freeform 754">
              <a:extLst>
                <a:ext uri="{FF2B5EF4-FFF2-40B4-BE49-F238E27FC236}">
                  <a16:creationId xmlns:a16="http://schemas.microsoft.com/office/drawing/2014/main" id="{6CD9A0D9-9F2C-33C9-726F-43CA0455D8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311900" y="3692526"/>
              <a:ext cx="131763" cy="131763"/>
            </a:xfrm>
            <a:custGeom>
              <a:avLst/>
              <a:gdLst>
                <a:gd name="T0" fmla="*/ 56 w 111"/>
                <a:gd name="T1" fmla="*/ 110 h 110"/>
                <a:gd name="T2" fmla="*/ 0 w 111"/>
                <a:gd name="T3" fmla="*/ 55 h 110"/>
                <a:gd name="T4" fmla="*/ 56 w 111"/>
                <a:gd name="T5" fmla="*/ 0 h 110"/>
                <a:gd name="T6" fmla="*/ 111 w 111"/>
                <a:gd name="T7" fmla="*/ 55 h 110"/>
                <a:gd name="T8" fmla="*/ 56 w 111"/>
                <a:gd name="T9" fmla="*/ 110 h 110"/>
                <a:gd name="T10" fmla="*/ 56 w 111"/>
                <a:gd name="T11" fmla="*/ 7 h 110"/>
                <a:gd name="T12" fmla="*/ 7 w 111"/>
                <a:gd name="T13" fmla="*/ 55 h 110"/>
                <a:gd name="T14" fmla="*/ 56 w 111"/>
                <a:gd name="T15" fmla="*/ 103 h 110"/>
                <a:gd name="T16" fmla="*/ 104 w 111"/>
                <a:gd name="T17" fmla="*/ 55 h 110"/>
                <a:gd name="T18" fmla="*/ 56 w 111"/>
                <a:gd name="T19" fmla="*/ 7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1" h="110">
                  <a:moveTo>
                    <a:pt x="56" y="110"/>
                  </a:moveTo>
                  <a:cubicBezTo>
                    <a:pt x="25" y="110"/>
                    <a:pt x="0" y="86"/>
                    <a:pt x="0" y="55"/>
                  </a:cubicBezTo>
                  <a:cubicBezTo>
                    <a:pt x="0" y="25"/>
                    <a:pt x="25" y="0"/>
                    <a:pt x="56" y="0"/>
                  </a:cubicBezTo>
                  <a:cubicBezTo>
                    <a:pt x="86" y="0"/>
                    <a:pt x="111" y="25"/>
                    <a:pt x="111" y="55"/>
                  </a:cubicBezTo>
                  <a:cubicBezTo>
                    <a:pt x="111" y="86"/>
                    <a:pt x="86" y="110"/>
                    <a:pt x="56" y="110"/>
                  </a:cubicBezTo>
                  <a:close/>
                  <a:moveTo>
                    <a:pt x="56" y="7"/>
                  </a:moveTo>
                  <a:cubicBezTo>
                    <a:pt x="29" y="7"/>
                    <a:pt x="7" y="28"/>
                    <a:pt x="7" y="55"/>
                  </a:cubicBezTo>
                  <a:cubicBezTo>
                    <a:pt x="7" y="82"/>
                    <a:pt x="29" y="103"/>
                    <a:pt x="56" y="103"/>
                  </a:cubicBezTo>
                  <a:cubicBezTo>
                    <a:pt x="82" y="103"/>
                    <a:pt x="104" y="82"/>
                    <a:pt x="104" y="55"/>
                  </a:cubicBezTo>
                  <a:cubicBezTo>
                    <a:pt x="104" y="28"/>
                    <a:pt x="82" y="7"/>
                    <a:pt x="56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9" name="Freeform 755">
              <a:extLst>
                <a:ext uri="{FF2B5EF4-FFF2-40B4-BE49-F238E27FC236}">
                  <a16:creationId xmlns:a16="http://schemas.microsoft.com/office/drawing/2014/main" id="{D0FD94B9-E1FA-B906-85BF-BDD0AB6182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273800" y="3732213"/>
              <a:ext cx="53975" cy="52388"/>
            </a:xfrm>
            <a:custGeom>
              <a:avLst/>
              <a:gdLst>
                <a:gd name="T0" fmla="*/ 23 w 45"/>
                <a:gd name="T1" fmla="*/ 44 h 44"/>
                <a:gd name="T2" fmla="*/ 0 w 45"/>
                <a:gd name="T3" fmla="*/ 22 h 44"/>
                <a:gd name="T4" fmla="*/ 23 w 45"/>
                <a:gd name="T5" fmla="*/ 0 h 44"/>
                <a:gd name="T6" fmla="*/ 45 w 45"/>
                <a:gd name="T7" fmla="*/ 22 h 44"/>
                <a:gd name="T8" fmla="*/ 23 w 45"/>
                <a:gd name="T9" fmla="*/ 44 h 44"/>
                <a:gd name="T10" fmla="*/ 23 w 45"/>
                <a:gd name="T11" fmla="*/ 7 h 44"/>
                <a:gd name="T12" fmla="*/ 8 w 45"/>
                <a:gd name="T13" fmla="*/ 22 h 44"/>
                <a:gd name="T14" fmla="*/ 23 w 45"/>
                <a:gd name="T15" fmla="*/ 37 h 44"/>
                <a:gd name="T16" fmla="*/ 38 w 45"/>
                <a:gd name="T17" fmla="*/ 22 h 44"/>
                <a:gd name="T18" fmla="*/ 23 w 45"/>
                <a:gd name="T19" fmla="*/ 7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5" h="44">
                  <a:moveTo>
                    <a:pt x="23" y="44"/>
                  </a:moveTo>
                  <a:cubicBezTo>
                    <a:pt x="10" y="44"/>
                    <a:pt x="0" y="34"/>
                    <a:pt x="0" y="22"/>
                  </a:cubicBezTo>
                  <a:cubicBezTo>
                    <a:pt x="0" y="10"/>
                    <a:pt x="10" y="0"/>
                    <a:pt x="23" y="0"/>
                  </a:cubicBezTo>
                  <a:cubicBezTo>
                    <a:pt x="35" y="0"/>
                    <a:pt x="45" y="10"/>
                    <a:pt x="45" y="22"/>
                  </a:cubicBezTo>
                  <a:cubicBezTo>
                    <a:pt x="45" y="34"/>
                    <a:pt x="35" y="44"/>
                    <a:pt x="23" y="44"/>
                  </a:cubicBezTo>
                  <a:close/>
                  <a:moveTo>
                    <a:pt x="23" y="7"/>
                  </a:moveTo>
                  <a:cubicBezTo>
                    <a:pt x="14" y="7"/>
                    <a:pt x="8" y="14"/>
                    <a:pt x="8" y="22"/>
                  </a:cubicBezTo>
                  <a:cubicBezTo>
                    <a:pt x="8" y="30"/>
                    <a:pt x="14" y="37"/>
                    <a:pt x="23" y="37"/>
                  </a:cubicBezTo>
                  <a:cubicBezTo>
                    <a:pt x="31" y="37"/>
                    <a:pt x="38" y="30"/>
                    <a:pt x="38" y="22"/>
                  </a:cubicBezTo>
                  <a:cubicBezTo>
                    <a:pt x="38" y="14"/>
                    <a:pt x="31" y="7"/>
                    <a:pt x="23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0" name="Freeform 756">
              <a:extLst>
                <a:ext uri="{FF2B5EF4-FFF2-40B4-BE49-F238E27FC236}">
                  <a16:creationId xmlns:a16="http://schemas.microsoft.com/office/drawing/2014/main" id="{2BA3AB65-5436-6A62-AF16-2F4B4DD5DCB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351588" y="3652838"/>
              <a:ext cx="211138" cy="211138"/>
            </a:xfrm>
            <a:custGeom>
              <a:avLst/>
              <a:gdLst>
                <a:gd name="T0" fmla="*/ 89 w 177"/>
                <a:gd name="T1" fmla="*/ 176 h 176"/>
                <a:gd name="T2" fmla="*/ 0 w 177"/>
                <a:gd name="T3" fmla="*/ 88 h 176"/>
                <a:gd name="T4" fmla="*/ 89 w 177"/>
                <a:gd name="T5" fmla="*/ 0 h 176"/>
                <a:gd name="T6" fmla="*/ 177 w 177"/>
                <a:gd name="T7" fmla="*/ 88 h 176"/>
                <a:gd name="T8" fmla="*/ 89 w 177"/>
                <a:gd name="T9" fmla="*/ 176 h 176"/>
                <a:gd name="T10" fmla="*/ 89 w 177"/>
                <a:gd name="T11" fmla="*/ 7 h 176"/>
                <a:gd name="T12" fmla="*/ 7 w 177"/>
                <a:gd name="T13" fmla="*/ 88 h 176"/>
                <a:gd name="T14" fmla="*/ 89 w 177"/>
                <a:gd name="T15" fmla="*/ 169 h 176"/>
                <a:gd name="T16" fmla="*/ 170 w 177"/>
                <a:gd name="T17" fmla="*/ 88 h 176"/>
                <a:gd name="T18" fmla="*/ 89 w 177"/>
                <a:gd name="T19" fmla="*/ 7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7" h="176">
                  <a:moveTo>
                    <a:pt x="89" y="176"/>
                  </a:moveTo>
                  <a:cubicBezTo>
                    <a:pt x="40" y="176"/>
                    <a:pt x="0" y="137"/>
                    <a:pt x="0" y="88"/>
                  </a:cubicBezTo>
                  <a:cubicBezTo>
                    <a:pt x="0" y="39"/>
                    <a:pt x="40" y="0"/>
                    <a:pt x="89" y="0"/>
                  </a:cubicBezTo>
                  <a:cubicBezTo>
                    <a:pt x="137" y="0"/>
                    <a:pt x="177" y="39"/>
                    <a:pt x="177" y="88"/>
                  </a:cubicBezTo>
                  <a:cubicBezTo>
                    <a:pt x="177" y="137"/>
                    <a:pt x="137" y="176"/>
                    <a:pt x="89" y="176"/>
                  </a:cubicBezTo>
                  <a:close/>
                  <a:moveTo>
                    <a:pt x="89" y="7"/>
                  </a:moveTo>
                  <a:cubicBezTo>
                    <a:pt x="44" y="7"/>
                    <a:pt x="7" y="43"/>
                    <a:pt x="7" y="88"/>
                  </a:cubicBezTo>
                  <a:cubicBezTo>
                    <a:pt x="7" y="133"/>
                    <a:pt x="44" y="169"/>
                    <a:pt x="89" y="169"/>
                  </a:cubicBezTo>
                  <a:cubicBezTo>
                    <a:pt x="133" y="169"/>
                    <a:pt x="170" y="133"/>
                    <a:pt x="170" y="88"/>
                  </a:cubicBezTo>
                  <a:cubicBezTo>
                    <a:pt x="170" y="43"/>
                    <a:pt x="133" y="7"/>
                    <a:pt x="89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1" name="Freeform 757">
              <a:extLst>
                <a:ext uri="{FF2B5EF4-FFF2-40B4-BE49-F238E27FC236}">
                  <a16:creationId xmlns:a16="http://schemas.microsoft.com/office/drawing/2014/main" id="{3C62E11C-3D96-FF3D-DCA4-EED52B2DB7AB}"/>
                </a:ext>
              </a:extLst>
            </p:cNvPr>
            <p:cNvSpPr>
              <a:spLocks/>
            </p:cNvSpPr>
            <p:nvPr/>
          </p:nvSpPr>
          <p:spPr bwMode="auto">
            <a:xfrm>
              <a:off x="-6249988" y="3636963"/>
              <a:ext cx="127000" cy="127000"/>
            </a:xfrm>
            <a:custGeom>
              <a:avLst/>
              <a:gdLst>
                <a:gd name="T0" fmla="*/ 4 w 106"/>
                <a:gd name="T1" fmla="*/ 106 h 106"/>
                <a:gd name="T2" fmla="*/ 1 w 106"/>
                <a:gd name="T3" fmla="*/ 105 h 106"/>
                <a:gd name="T4" fmla="*/ 1 w 106"/>
                <a:gd name="T5" fmla="*/ 99 h 106"/>
                <a:gd name="T6" fmla="*/ 99 w 106"/>
                <a:gd name="T7" fmla="*/ 1 h 106"/>
                <a:gd name="T8" fmla="*/ 105 w 106"/>
                <a:gd name="T9" fmla="*/ 1 h 106"/>
                <a:gd name="T10" fmla="*/ 105 w 106"/>
                <a:gd name="T11" fmla="*/ 6 h 106"/>
                <a:gd name="T12" fmla="*/ 6 w 106"/>
                <a:gd name="T13" fmla="*/ 105 h 106"/>
                <a:gd name="T14" fmla="*/ 4 w 106"/>
                <a:gd name="T15" fmla="*/ 106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6" h="106">
                  <a:moveTo>
                    <a:pt x="4" y="106"/>
                  </a:moveTo>
                  <a:cubicBezTo>
                    <a:pt x="3" y="106"/>
                    <a:pt x="2" y="105"/>
                    <a:pt x="1" y="105"/>
                  </a:cubicBezTo>
                  <a:cubicBezTo>
                    <a:pt x="0" y="103"/>
                    <a:pt x="0" y="101"/>
                    <a:pt x="1" y="99"/>
                  </a:cubicBezTo>
                  <a:cubicBezTo>
                    <a:pt x="99" y="1"/>
                    <a:pt x="99" y="1"/>
                    <a:pt x="99" y="1"/>
                  </a:cubicBezTo>
                  <a:cubicBezTo>
                    <a:pt x="101" y="0"/>
                    <a:pt x="103" y="0"/>
                    <a:pt x="105" y="1"/>
                  </a:cubicBezTo>
                  <a:cubicBezTo>
                    <a:pt x="106" y="3"/>
                    <a:pt x="106" y="5"/>
                    <a:pt x="105" y="6"/>
                  </a:cubicBezTo>
                  <a:cubicBezTo>
                    <a:pt x="6" y="105"/>
                    <a:pt x="6" y="105"/>
                    <a:pt x="6" y="105"/>
                  </a:cubicBezTo>
                  <a:cubicBezTo>
                    <a:pt x="6" y="105"/>
                    <a:pt x="5" y="106"/>
                    <a:pt x="4" y="10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2" name="Freeform 758">
              <a:extLst>
                <a:ext uri="{FF2B5EF4-FFF2-40B4-BE49-F238E27FC236}">
                  <a16:creationId xmlns:a16="http://schemas.microsoft.com/office/drawing/2014/main" id="{B61A332F-E0B3-FB77-2CCA-8E26ED7CDD29}"/>
                </a:ext>
              </a:extLst>
            </p:cNvPr>
            <p:cNvSpPr>
              <a:spLocks/>
            </p:cNvSpPr>
            <p:nvPr/>
          </p:nvSpPr>
          <p:spPr bwMode="auto">
            <a:xfrm>
              <a:off x="-6164263" y="3633788"/>
              <a:ext cx="7938" cy="44450"/>
            </a:xfrm>
            <a:custGeom>
              <a:avLst/>
              <a:gdLst>
                <a:gd name="T0" fmla="*/ 4 w 7"/>
                <a:gd name="T1" fmla="*/ 36 h 36"/>
                <a:gd name="T2" fmla="*/ 0 w 7"/>
                <a:gd name="T3" fmla="*/ 32 h 36"/>
                <a:gd name="T4" fmla="*/ 0 w 7"/>
                <a:gd name="T5" fmla="*/ 3 h 36"/>
                <a:gd name="T6" fmla="*/ 4 w 7"/>
                <a:gd name="T7" fmla="*/ 0 h 36"/>
                <a:gd name="T8" fmla="*/ 7 w 7"/>
                <a:gd name="T9" fmla="*/ 3 h 36"/>
                <a:gd name="T10" fmla="*/ 7 w 7"/>
                <a:gd name="T11" fmla="*/ 32 h 36"/>
                <a:gd name="T12" fmla="*/ 4 w 7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36">
                  <a:moveTo>
                    <a:pt x="4" y="36"/>
                  </a:moveTo>
                  <a:cubicBezTo>
                    <a:pt x="2" y="36"/>
                    <a:pt x="0" y="34"/>
                    <a:pt x="0" y="3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" y="0"/>
                    <a:pt x="7" y="1"/>
                    <a:pt x="7" y="3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7" y="34"/>
                    <a:pt x="6" y="36"/>
                    <a:pt x="4" y="3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3" name="Freeform 759">
              <a:extLst>
                <a:ext uri="{FF2B5EF4-FFF2-40B4-BE49-F238E27FC236}">
                  <a16:creationId xmlns:a16="http://schemas.microsoft.com/office/drawing/2014/main" id="{1D8C918F-5AF6-DA57-B2FC-710AD7E5A215}"/>
                </a:ext>
              </a:extLst>
            </p:cNvPr>
            <p:cNvSpPr>
              <a:spLocks/>
            </p:cNvSpPr>
            <p:nvPr/>
          </p:nvSpPr>
          <p:spPr bwMode="auto">
            <a:xfrm>
              <a:off x="-6146800" y="3614738"/>
              <a:ext cx="9525" cy="44450"/>
            </a:xfrm>
            <a:custGeom>
              <a:avLst/>
              <a:gdLst>
                <a:gd name="T0" fmla="*/ 4 w 7"/>
                <a:gd name="T1" fmla="*/ 37 h 37"/>
                <a:gd name="T2" fmla="*/ 0 w 7"/>
                <a:gd name="T3" fmla="*/ 33 h 37"/>
                <a:gd name="T4" fmla="*/ 0 w 7"/>
                <a:gd name="T5" fmla="*/ 4 h 37"/>
                <a:gd name="T6" fmla="*/ 4 w 7"/>
                <a:gd name="T7" fmla="*/ 0 h 37"/>
                <a:gd name="T8" fmla="*/ 7 w 7"/>
                <a:gd name="T9" fmla="*/ 4 h 37"/>
                <a:gd name="T10" fmla="*/ 7 w 7"/>
                <a:gd name="T11" fmla="*/ 33 h 37"/>
                <a:gd name="T12" fmla="*/ 4 w 7"/>
                <a:gd name="T13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37">
                  <a:moveTo>
                    <a:pt x="4" y="37"/>
                  </a:moveTo>
                  <a:cubicBezTo>
                    <a:pt x="2" y="37"/>
                    <a:pt x="0" y="35"/>
                    <a:pt x="0" y="3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7" y="2"/>
                    <a:pt x="7" y="4"/>
                  </a:cubicBezTo>
                  <a:cubicBezTo>
                    <a:pt x="7" y="33"/>
                    <a:pt x="7" y="33"/>
                    <a:pt x="7" y="33"/>
                  </a:cubicBezTo>
                  <a:cubicBezTo>
                    <a:pt x="7" y="35"/>
                    <a:pt x="6" y="37"/>
                    <a:pt x="4" y="3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4" name="Freeform 760">
              <a:extLst>
                <a:ext uri="{FF2B5EF4-FFF2-40B4-BE49-F238E27FC236}">
                  <a16:creationId xmlns:a16="http://schemas.microsoft.com/office/drawing/2014/main" id="{9064BA7A-443A-0679-6A60-372EA1684FE8}"/>
                </a:ext>
              </a:extLst>
            </p:cNvPr>
            <p:cNvSpPr>
              <a:spLocks/>
            </p:cNvSpPr>
            <p:nvPr/>
          </p:nvSpPr>
          <p:spPr bwMode="auto">
            <a:xfrm>
              <a:off x="-6164263" y="3668713"/>
              <a:ext cx="42863" cy="9525"/>
            </a:xfrm>
            <a:custGeom>
              <a:avLst/>
              <a:gdLst>
                <a:gd name="T0" fmla="*/ 33 w 36"/>
                <a:gd name="T1" fmla="*/ 7 h 7"/>
                <a:gd name="T2" fmla="*/ 4 w 36"/>
                <a:gd name="T3" fmla="*/ 7 h 7"/>
                <a:gd name="T4" fmla="*/ 0 w 36"/>
                <a:gd name="T5" fmla="*/ 3 h 7"/>
                <a:gd name="T6" fmla="*/ 4 w 36"/>
                <a:gd name="T7" fmla="*/ 0 h 7"/>
                <a:gd name="T8" fmla="*/ 33 w 36"/>
                <a:gd name="T9" fmla="*/ 0 h 7"/>
                <a:gd name="T10" fmla="*/ 36 w 36"/>
                <a:gd name="T11" fmla="*/ 3 h 7"/>
                <a:gd name="T12" fmla="*/ 33 w 36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7">
                  <a:moveTo>
                    <a:pt x="33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5" y="0"/>
                    <a:pt x="36" y="1"/>
                    <a:pt x="36" y="3"/>
                  </a:cubicBezTo>
                  <a:cubicBezTo>
                    <a:pt x="36" y="5"/>
                    <a:pt x="35" y="7"/>
                    <a:pt x="33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5" name="Freeform 761">
              <a:extLst>
                <a:ext uri="{FF2B5EF4-FFF2-40B4-BE49-F238E27FC236}">
                  <a16:creationId xmlns:a16="http://schemas.microsoft.com/office/drawing/2014/main" id="{69F3C53E-69D0-1B76-0CDA-9F91AD14A790}"/>
                </a:ext>
              </a:extLst>
            </p:cNvPr>
            <p:cNvSpPr>
              <a:spLocks/>
            </p:cNvSpPr>
            <p:nvPr/>
          </p:nvSpPr>
          <p:spPr bwMode="auto">
            <a:xfrm>
              <a:off x="-6146800" y="3649663"/>
              <a:ext cx="42863" cy="9525"/>
            </a:xfrm>
            <a:custGeom>
              <a:avLst/>
              <a:gdLst>
                <a:gd name="T0" fmla="*/ 33 w 36"/>
                <a:gd name="T1" fmla="*/ 8 h 8"/>
                <a:gd name="T2" fmla="*/ 4 w 36"/>
                <a:gd name="T3" fmla="*/ 8 h 8"/>
                <a:gd name="T4" fmla="*/ 0 w 36"/>
                <a:gd name="T5" fmla="*/ 4 h 8"/>
                <a:gd name="T6" fmla="*/ 4 w 36"/>
                <a:gd name="T7" fmla="*/ 0 h 8"/>
                <a:gd name="T8" fmla="*/ 33 w 36"/>
                <a:gd name="T9" fmla="*/ 0 h 8"/>
                <a:gd name="T10" fmla="*/ 36 w 36"/>
                <a:gd name="T11" fmla="*/ 4 h 8"/>
                <a:gd name="T12" fmla="*/ 33 w 36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8">
                  <a:moveTo>
                    <a:pt x="33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5" y="0"/>
                    <a:pt x="36" y="2"/>
                    <a:pt x="36" y="4"/>
                  </a:cubicBezTo>
                  <a:cubicBezTo>
                    <a:pt x="36" y="6"/>
                    <a:pt x="35" y="8"/>
                    <a:pt x="33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9" name="Shape12_20200717_142329">
            <a:extLst>
              <a:ext uri="{FF2B5EF4-FFF2-40B4-BE49-F238E27FC236}">
                <a16:creationId xmlns:a16="http://schemas.microsoft.com/office/drawing/2014/main" id="{409E4260-F8DF-9541-BF57-EC3FA19B6F3F}"/>
              </a:ext>
            </a:extLst>
          </p:cNvPr>
          <p:cNvGrpSpPr>
            <a:grpSpLocks noChangeAspect="1"/>
          </p:cNvGrpSpPr>
          <p:nvPr/>
        </p:nvGrpSpPr>
        <p:grpSpPr>
          <a:xfrm>
            <a:off x="1914401" y="3874759"/>
            <a:ext cx="529858" cy="519798"/>
            <a:chOff x="-6913563" y="4224338"/>
            <a:chExt cx="250826" cy="246063"/>
          </a:xfrm>
          <a:solidFill>
            <a:schemeClr val="accent1"/>
          </a:solidFill>
        </p:grpSpPr>
        <p:sp>
          <p:nvSpPr>
            <p:cNvPr id="119" name="Freeform 762">
              <a:extLst>
                <a:ext uri="{FF2B5EF4-FFF2-40B4-BE49-F238E27FC236}">
                  <a16:creationId xmlns:a16="http://schemas.microsoft.com/office/drawing/2014/main" id="{771B554A-18B9-D015-C4C7-3B8CB3DBBEE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810375" y="4224338"/>
              <a:ext cx="46038" cy="44450"/>
            </a:xfrm>
            <a:custGeom>
              <a:avLst/>
              <a:gdLst>
                <a:gd name="T0" fmla="*/ 19 w 38"/>
                <a:gd name="T1" fmla="*/ 38 h 38"/>
                <a:gd name="T2" fmla="*/ 0 w 38"/>
                <a:gd name="T3" fmla="*/ 19 h 38"/>
                <a:gd name="T4" fmla="*/ 19 w 38"/>
                <a:gd name="T5" fmla="*/ 0 h 38"/>
                <a:gd name="T6" fmla="*/ 38 w 38"/>
                <a:gd name="T7" fmla="*/ 19 h 38"/>
                <a:gd name="T8" fmla="*/ 19 w 38"/>
                <a:gd name="T9" fmla="*/ 38 h 38"/>
                <a:gd name="T10" fmla="*/ 19 w 38"/>
                <a:gd name="T11" fmla="*/ 7 h 38"/>
                <a:gd name="T12" fmla="*/ 7 w 38"/>
                <a:gd name="T13" fmla="*/ 19 h 38"/>
                <a:gd name="T14" fmla="*/ 19 w 38"/>
                <a:gd name="T15" fmla="*/ 31 h 38"/>
                <a:gd name="T16" fmla="*/ 31 w 38"/>
                <a:gd name="T17" fmla="*/ 19 h 38"/>
                <a:gd name="T18" fmla="*/ 19 w 38"/>
                <a:gd name="T19" fmla="*/ 7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" h="38">
                  <a:moveTo>
                    <a:pt x="19" y="38"/>
                  </a:moveTo>
                  <a:cubicBezTo>
                    <a:pt x="8" y="38"/>
                    <a:pt x="0" y="30"/>
                    <a:pt x="0" y="19"/>
                  </a:cubicBezTo>
                  <a:cubicBezTo>
                    <a:pt x="0" y="8"/>
                    <a:pt x="8" y="0"/>
                    <a:pt x="19" y="0"/>
                  </a:cubicBezTo>
                  <a:cubicBezTo>
                    <a:pt x="30" y="0"/>
                    <a:pt x="38" y="8"/>
                    <a:pt x="38" y="19"/>
                  </a:cubicBezTo>
                  <a:cubicBezTo>
                    <a:pt x="38" y="30"/>
                    <a:pt x="30" y="38"/>
                    <a:pt x="19" y="38"/>
                  </a:cubicBezTo>
                  <a:close/>
                  <a:moveTo>
                    <a:pt x="19" y="7"/>
                  </a:moveTo>
                  <a:cubicBezTo>
                    <a:pt x="12" y="7"/>
                    <a:pt x="7" y="12"/>
                    <a:pt x="7" y="19"/>
                  </a:cubicBezTo>
                  <a:cubicBezTo>
                    <a:pt x="7" y="26"/>
                    <a:pt x="12" y="31"/>
                    <a:pt x="19" y="31"/>
                  </a:cubicBezTo>
                  <a:cubicBezTo>
                    <a:pt x="26" y="31"/>
                    <a:pt x="31" y="26"/>
                    <a:pt x="31" y="19"/>
                  </a:cubicBezTo>
                  <a:cubicBezTo>
                    <a:pt x="31" y="12"/>
                    <a:pt x="26" y="7"/>
                    <a:pt x="19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0" name="Freeform 763">
              <a:extLst>
                <a:ext uri="{FF2B5EF4-FFF2-40B4-BE49-F238E27FC236}">
                  <a16:creationId xmlns:a16="http://schemas.microsoft.com/office/drawing/2014/main" id="{07FC5FFD-0986-7F68-8C09-0243D0EC73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913563" y="4291013"/>
              <a:ext cx="80963" cy="179388"/>
            </a:xfrm>
            <a:custGeom>
              <a:avLst/>
              <a:gdLst>
                <a:gd name="T0" fmla="*/ 54 w 68"/>
                <a:gd name="T1" fmla="*/ 150 h 150"/>
                <a:gd name="T2" fmla="*/ 43 w 68"/>
                <a:gd name="T3" fmla="*/ 145 h 150"/>
                <a:gd name="T4" fmla="*/ 32 w 68"/>
                <a:gd name="T5" fmla="*/ 150 h 150"/>
                <a:gd name="T6" fmla="*/ 18 w 68"/>
                <a:gd name="T7" fmla="*/ 135 h 150"/>
                <a:gd name="T8" fmla="*/ 18 w 68"/>
                <a:gd name="T9" fmla="*/ 77 h 150"/>
                <a:gd name="T10" fmla="*/ 14 w 68"/>
                <a:gd name="T11" fmla="*/ 79 h 150"/>
                <a:gd name="T12" fmla="*/ 4 w 68"/>
                <a:gd name="T13" fmla="*/ 75 h 150"/>
                <a:gd name="T14" fmla="*/ 0 w 68"/>
                <a:gd name="T15" fmla="*/ 66 h 150"/>
                <a:gd name="T16" fmla="*/ 0 w 68"/>
                <a:gd name="T17" fmla="*/ 21 h 150"/>
                <a:gd name="T18" fmla="*/ 21 w 68"/>
                <a:gd name="T19" fmla="*/ 0 h 150"/>
                <a:gd name="T20" fmla="*/ 64 w 68"/>
                <a:gd name="T21" fmla="*/ 0 h 150"/>
                <a:gd name="T22" fmla="*/ 67 w 68"/>
                <a:gd name="T23" fmla="*/ 2 h 150"/>
                <a:gd name="T24" fmla="*/ 67 w 68"/>
                <a:gd name="T25" fmla="*/ 5 h 150"/>
                <a:gd name="T26" fmla="*/ 66 w 68"/>
                <a:gd name="T27" fmla="*/ 10 h 150"/>
                <a:gd name="T28" fmla="*/ 66 w 68"/>
                <a:gd name="T29" fmla="*/ 59 h 150"/>
                <a:gd name="T30" fmla="*/ 67 w 68"/>
                <a:gd name="T31" fmla="*/ 62 h 150"/>
                <a:gd name="T32" fmla="*/ 68 w 68"/>
                <a:gd name="T33" fmla="*/ 64 h 150"/>
                <a:gd name="T34" fmla="*/ 68 w 68"/>
                <a:gd name="T35" fmla="*/ 66 h 150"/>
                <a:gd name="T36" fmla="*/ 68 w 68"/>
                <a:gd name="T37" fmla="*/ 66 h 150"/>
                <a:gd name="T38" fmla="*/ 68 w 68"/>
                <a:gd name="T39" fmla="*/ 66 h 150"/>
                <a:gd name="T40" fmla="*/ 68 w 68"/>
                <a:gd name="T41" fmla="*/ 135 h 150"/>
                <a:gd name="T42" fmla="*/ 54 w 68"/>
                <a:gd name="T43" fmla="*/ 150 h 150"/>
                <a:gd name="T44" fmla="*/ 46 w 68"/>
                <a:gd name="T45" fmla="*/ 135 h 150"/>
                <a:gd name="T46" fmla="*/ 54 w 68"/>
                <a:gd name="T47" fmla="*/ 143 h 150"/>
                <a:gd name="T48" fmla="*/ 61 w 68"/>
                <a:gd name="T49" fmla="*/ 135 h 150"/>
                <a:gd name="T50" fmla="*/ 61 w 68"/>
                <a:gd name="T51" fmla="*/ 66 h 150"/>
                <a:gd name="T52" fmla="*/ 61 w 68"/>
                <a:gd name="T53" fmla="*/ 66 h 150"/>
                <a:gd name="T54" fmla="*/ 61 w 68"/>
                <a:gd name="T55" fmla="*/ 65 h 150"/>
                <a:gd name="T56" fmla="*/ 59 w 68"/>
                <a:gd name="T57" fmla="*/ 59 h 150"/>
                <a:gd name="T58" fmla="*/ 59 w 68"/>
                <a:gd name="T59" fmla="*/ 10 h 150"/>
                <a:gd name="T60" fmla="*/ 59 w 68"/>
                <a:gd name="T61" fmla="*/ 7 h 150"/>
                <a:gd name="T62" fmla="*/ 21 w 68"/>
                <a:gd name="T63" fmla="*/ 7 h 150"/>
                <a:gd name="T64" fmla="*/ 8 w 68"/>
                <a:gd name="T65" fmla="*/ 21 h 150"/>
                <a:gd name="T66" fmla="*/ 8 w 68"/>
                <a:gd name="T67" fmla="*/ 66 h 150"/>
                <a:gd name="T68" fmla="*/ 9 w 68"/>
                <a:gd name="T69" fmla="*/ 70 h 150"/>
                <a:gd name="T70" fmla="*/ 13 w 68"/>
                <a:gd name="T71" fmla="*/ 71 h 150"/>
                <a:gd name="T72" fmla="*/ 18 w 68"/>
                <a:gd name="T73" fmla="*/ 66 h 150"/>
                <a:gd name="T74" fmla="*/ 18 w 68"/>
                <a:gd name="T75" fmla="*/ 35 h 150"/>
                <a:gd name="T76" fmla="*/ 21 w 68"/>
                <a:gd name="T77" fmla="*/ 31 h 150"/>
                <a:gd name="T78" fmla="*/ 25 w 68"/>
                <a:gd name="T79" fmla="*/ 35 h 150"/>
                <a:gd name="T80" fmla="*/ 25 w 68"/>
                <a:gd name="T81" fmla="*/ 135 h 150"/>
                <a:gd name="T82" fmla="*/ 32 w 68"/>
                <a:gd name="T83" fmla="*/ 143 h 150"/>
                <a:gd name="T84" fmla="*/ 39 w 68"/>
                <a:gd name="T85" fmla="*/ 135 h 150"/>
                <a:gd name="T86" fmla="*/ 39 w 68"/>
                <a:gd name="T87" fmla="*/ 83 h 150"/>
                <a:gd name="T88" fmla="*/ 43 w 68"/>
                <a:gd name="T89" fmla="*/ 79 h 150"/>
                <a:gd name="T90" fmla="*/ 46 w 68"/>
                <a:gd name="T91" fmla="*/ 83 h 150"/>
                <a:gd name="T92" fmla="*/ 46 w 68"/>
                <a:gd name="T93" fmla="*/ 13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8" h="150">
                  <a:moveTo>
                    <a:pt x="54" y="150"/>
                  </a:moveTo>
                  <a:cubicBezTo>
                    <a:pt x="49" y="150"/>
                    <a:pt x="45" y="148"/>
                    <a:pt x="43" y="145"/>
                  </a:cubicBezTo>
                  <a:cubicBezTo>
                    <a:pt x="40" y="148"/>
                    <a:pt x="36" y="150"/>
                    <a:pt x="32" y="150"/>
                  </a:cubicBezTo>
                  <a:cubicBezTo>
                    <a:pt x="24" y="150"/>
                    <a:pt x="18" y="143"/>
                    <a:pt x="18" y="135"/>
                  </a:cubicBezTo>
                  <a:cubicBezTo>
                    <a:pt x="18" y="77"/>
                    <a:pt x="18" y="77"/>
                    <a:pt x="18" y="77"/>
                  </a:cubicBezTo>
                  <a:cubicBezTo>
                    <a:pt x="16" y="78"/>
                    <a:pt x="15" y="78"/>
                    <a:pt x="14" y="79"/>
                  </a:cubicBezTo>
                  <a:cubicBezTo>
                    <a:pt x="10" y="79"/>
                    <a:pt x="7" y="78"/>
                    <a:pt x="4" y="75"/>
                  </a:cubicBezTo>
                  <a:cubicBezTo>
                    <a:pt x="2" y="73"/>
                    <a:pt x="0" y="70"/>
                    <a:pt x="0" y="66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10"/>
                    <a:pt x="10" y="0"/>
                    <a:pt x="21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5" y="0"/>
                    <a:pt x="66" y="1"/>
                    <a:pt x="67" y="2"/>
                  </a:cubicBezTo>
                  <a:cubicBezTo>
                    <a:pt x="68" y="3"/>
                    <a:pt x="68" y="4"/>
                    <a:pt x="67" y="5"/>
                  </a:cubicBezTo>
                  <a:cubicBezTo>
                    <a:pt x="67" y="7"/>
                    <a:pt x="66" y="8"/>
                    <a:pt x="66" y="10"/>
                  </a:cubicBezTo>
                  <a:cubicBezTo>
                    <a:pt x="66" y="59"/>
                    <a:pt x="66" y="59"/>
                    <a:pt x="66" y="59"/>
                  </a:cubicBezTo>
                  <a:cubicBezTo>
                    <a:pt x="66" y="60"/>
                    <a:pt x="67" y="61"/>
                    <a:pt x="67" y="62"/>
                  </a:cubicBezTo>
                  <a:cubicBezTo>
                    <a:pt x="68" y="63"/>
                    <a:pt x="68" y="64"/>
                    <a:pt x="68" y="64"/>
                  </a:cubicBezTo>
                  <a:cubicBezTo>
                    <a:pt x="68" y="66"/>
                    <a:pt x="68" y="66"/>
                    <a:pt x="68" y="66"/>
                  </a:cubicBezTo>
                  <a:cubicBezTo>
                    <a:pt x="68" y="66"/>
                    <a:pt x="68" y="66"/>
                    <a:pt x="68" y="66"/>
                  </a:cubicBezTo>
                  <a:cubicBezTo>
                    <a:pt x="68" y="66"/>
                    <a:pt x="68" y="66"/>
                    <a:pt x="68" y="66"/>
                  </a:cubicBezTo>
                  <a:cubicBezTo>
                    <a:pt x="68" y="135"/>
                    <a:pt x="68" y="135"/>
                    <a:pt x="68" y="135"/>
                  </a:cubicBezTo>
                  <a:cubicBezTo>
                    <a:pt x="68" y="143"/>
                    <a:pt x="62" y="150"/>
                    <a:pt x="54" y="150"/>
                  </a:cubicBezTo>
                  <a:close/>
                  <a:moveTo>
                    <a:pt x="46" y="135"/>
                  </a:moveTo>
                  <a:cubicBezTo>
                    <a:pt x="46" y="139"/>
                    <a:pt x="50" y="143"/>
                    <a:pt x="54" y="143"/>
                  </a:cubicBezTo>
                  <a:cubicBezTo>
                    <a:pt x="58" y="143"/>
                    <a:pt x="61" y="139"/>
                    <a:pt x="61" y="135"/>
                  </a:cubicBezTo>
                  <a:cubicBezTo>
                    <a:pt x="61" y="66"/>
                    <a:pt x="61" y="66"/>
                    <a:pt x="61" y="66"/>
                  </a:cubicBezTo>
                  <a:cubicBezTo>
                    <a:pt x="61" y="66"/>
                    <a:pt x="61" y="66"/>
                    <a:pt x="61" y="66"/>
                  </a:cubicBezTo>
                  <a:cubicBezTo>
                    <a:pt x="61" y="66"/>
                    <a:pt x="61" y="66"/>
                    <a:pt x="61" y="65"/>
                  </a:cubicBezTo>
                  <a:cubicBezTo>
                    <a:pt x="60" y="63"/>
                    <a:pt x="59" y="61"/>
                    <a:pt x="59" y="59"/>
                  </a:cubicBezTo>
                  <a:cubicBezTo>
                    <a:pt x="59" y="10"/>
                    <a:pt x="59" y="10"/>
                    <a:pt x="59" y="10"/>
                  </a:cubicBezTo>
                  <a:cubicBezTo>
                    <a:pt x="59" y="9"/>
                    <a:pt x="59" y="8"/>
                    <a:pt x="59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14" y="7"/>
                    <a:pt x="8" y="14"/>
                    <a:pt x="8" y="21"/>
                  </a:cubicBezTo>
                  <a:cubicBezTo>
                    <a:pt x="8" y="66"/>
                    <a:pt x="8" y="66"/>
                    <a:pt x="8" y="66"/>
                  </a:cubicBezTo>
                  <a:cubicBezTo>
                    <a:pt x="8" y="68"/>
                    <a:pt x="8" y="69"/>
                    <a:pt x="9" y="70"/>
                  </a:cubicBezTo>
                  <a:cubicBezTo>
                    <a:pt x="10" y="71"/>
                    <a:pt x="12" y="71"/>
                    <a:pt x="13" y="71"/>
                  </a:cubicBezTo>
                  <a:cubicBezTo>
                    <a:pt x="16" y="71"/>
                    <a:pt x="18" y="69"/>
                    <a:pt x="18" y="66"/>
                  </a:cubicBezTo>
                  <a:cubicBezTo>
                    <a:pt x="18" y="35"/>
                    <a:pt x="18" y="35"/>
                    <a:pt x="18" y="35"/>
                  </a:cubicBezTo>
                  <a:cubicBezTo>
                    <a:pt x="18" y="33"/>
                    <a:pt x="19" y="31"/>
                    <a:pt x="21" y="31"/>
                  </a:cubicBezTo>
                  <a:cubicBezTo>
                    <a:pt x="23" y="31"/>
                    <a:pt x="25" y="33"/>
                    <a:pt x="25" y="35"/>
                  </a:cubicBezTo>
                  <a:cubicBezTo>
                    <a:pt x="25" y="135"/>
                    <a:pt x="25" y="135"/>
                    <a:pt x="25" y="135"/>
                  </a:cubicBezTo>
                  <a:cubicBezTo>
                    <a:pt x="25" y="139"/>
                    <a:pt x="28" y="143"/>
                    <a:pt x="32" y="143"/>
                  </a:cubicBezTo>
                  <a:cubicBezTo>
                    <a:pt x="36" y="143"/>
                    <a:pt x="39" y="139"/>
                    <a:pt x="39" y="135"/>
                  </a:cubicBezTo>
                  <a:cubicBezTo>
                    <a:pt x="39" y="83"/>
                    <a:pt x="39" y="83"/>
                    <a:pt x="39" y="83"/>
                  </a:cubicBezTo>
                  <a:cubicBezTo>
                    <a:pt x="39" y="81"/>
                    <a:pt x="41" y="79"/>
                    <a:pt x="43" y="79"/>
                  </a:cubicBezTo>
                  <a:cubicBezTo>
                    <a:pt x="45" y="79"/>
                    <a:pt x="46" y="81"/>
                    <a:pt x="46" y="83"/>
                  </a:cubicBezTo>
                  <a:lnTo>
                    <a:pt x="46" y="13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1" name="Freeform 764">
              <a:extLst>
                <a:ext uri="{FF2B5EF4-FFF2-40B4-BE49-F238E27FC236}">
                  <a16:creationId xmlns:a16="http://schemas.microsoft.com/office/drawing/2014/main" id="{338D44ED-79FF-CF8E-C551-3AE9240B7DF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883400" y="4243388"/>
              <a:ext cx="42863" cy="42863"/>
            </a:xfrm>
            <a:custGeom>
              <a:avLst/>
              <a:gdLst>
                <a:gd name="T0" fmla="*/ 18 w 36"/>
                <a:gd name="T1" fmla="*/ 36 h 36"/>
                <a:gd name="T2" fmla="*/ 0 w 36"/>
                <a:gd name="T3" fmla="*/ 18 h 36"/>
                <a:gd name="T4" fmla="*/ 18 w 36"/>
                <a:gd name="T5" fmla="*/ 0 h 36"/>
                <a:gd name="T6" fmla="*/ 36 w 36"/>
                <a:gd name="T7" fmla="*/ 18 h 36"/>
                <a:gd name="T8" fmla="*/ 18 w 36"/>
                <a:gd name="T9" fmla="*/ 36 h 36"/>
                <a:gd name="T10" fmla="*/ 18 w 36"/>
                <a:gd name="T11" fmla="*/ 7 h 36"/>
                <a:gd name="T12" fmla="*/ 7 w 36"/>
                <a:gd name="T13" fmla="*/ 18 h 36"/>
                <a:gd name="T14" fmla="*/ 18 w 36"/>
                <a:gd name="T15" fmla="*/ 29 h 36"/>
                <a:gd name="T16" fmla="*/ 29 w 36"/>
                <a:gd name="T17" fmla="*/ 18 h 36"/>
                <a:gd name="T18" fmla="*/ 18 w 36"/>
                <a:gd name="T19" fmla="*/ 7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36">
                  <a:moveTo>
                    <a:pt x="18" y="36"/>
                  </a:moveTo>
                  <a:cubicBezTo>
                    <a:pt x="8" y="36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8"/>
                    <a:pt x="36" y="18"/>
                  </a:cubicBezTo>
                  <a:cubicBezTo>
                    <a:pt x="36" y="28"/>
                    <a:pt x="28" y="36"/>
                    <a:pt x="18" y="36"/>
                  </a:cubicBezTo>
                  <a:close/>
                  <a:moveTo>
                    <a:pt x="18" y="7"/>
                  </a:moveTo>
                  <a:cubicBezTo>
                    <a:pt x="12" y="7"/>
                    <a:pt x="7" y="12"/>
                    <a:pt x="7" y="18"/>
                  </a:cubicBezTo>
                  <a:cubicBezTo>
                    <a:pt x="7" y="24"/>
                    <a:pt x="12" y="29"/>
                    <a:pt x="18" y="29"/>
                  </a:cubicBezTo>
                  <a:cubicBezTo>
                    <a:pt x="24" y="29"/>
                    <a:pt x="29" y="24"/>
                    <a:pt x="29" y="18"/>
                  </a:cubicBezTo>
                  <a:cubicBezTo>
                    <a:pt x="29" y="12"/>
                    <a:pt x="24" y="7"/>
                    <a:pt x="18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2" name="Freeform 765">
              <a:extLst>
                <a:ext uri="{FF2B5EF4-FFF2-40B4-BE49-F238E27FC236}">
                  <a16:creationId xmlns:a16="http://schemas.microsoft.com/office/drawing/2014/main" id="{A784F9B6-C847-C9E4-B349-83144660DF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743700" y="4291013"/>
              <a:ext cx="80963" cy="179388"/>
            </a:xfrm>
            <a:custGeom>
              <a:avLst/>
              <a:gdLst>
                <a:gd name="T0" fmla="*/ 36 w 68"/>
                <a:gd name="T1" fmla="*/ 150 h 150"/>
                <a:gd name="T2" fmla="*/ 25 w 68"/>
                <a:gd name="T3" fmla="*/ 145 h 150"/>
                <a:gd name="T4" fmla="*/ 15 w 68"/>
                <a:gd name="T5" fmla="*/ 150 h 150"/>
                <a:gd name="T6" fmla="*/ 0 w 68"/>
                <a:gd name="T7" fmla="*/ 135 h 150"/>
                <a:gd name="T8" fmla="*/ 0 w 68"/>
                <a:gd name="T9" fmla="*/ 66 h 150"/>
                <a:gd name="T10" fmla="*/ 0 w 68"/>
                <a:gd name="T11" fmla="*/ 65 h 150"/>
                <a:gd name="T12" fmla="*/ 2 w 68"/>
                <a:gd name="T13" fmla="*/ 59 h 150"/>
                <a:gd name="T14" fmla="*/ 2 w 68"/>
                <a:gd name="T15" fmla="*/ 10 h 150"/>
                <a:gd name="T16" fmla="*/ 1 w 68"/>
                <a:gd name="T17" fmla="*/ 5 h 150"/>
                <a:gd name="T18" fmla="*/ 1 w 68"/>
                <a:gd name="T19" fmla="*/ 2 h 150"/>
                <a:gd name="T20" fmla="*/ 4 w 68"/>
                <a:gd name="T21" fmla="*/ 0 h 150"/>
                <a:gd name="T22" fmla="*/ 47 w 68"/>
                <a:gd name="T23" fmla="*/ 0 h 150"/>
                <a:gd name="T24" fmla="*/ 68 w 68"/>
                <a:gd name="T25" fmla="*/ 21 h 150"/>
                <a:gd name="T26" fmla="*/ 68 w 68"/>
                <a:gd name="T27" fmla="*/ 66 h 150"/>
                <a:gd name="T28" fmla="*/ 64 w 68"/>
                <a:gd name="T29" fmla="*/ 75 h 150"/>
                <a:gd name="T30" fmla="*/ 54 w 68"/>
                <a:gd name="T31" fmla="*/ 79 h 150"/>
                <a:gd name="T32" fmla="*/ 51 w 68"/>
                <a:gd name="T33" fmla="*/ 77 h 150"/>
                <a:gd name="T34" fmla="*/ 51 w 68"/>
                <a:gd name="T35" fmla="*/ 135 h 150"/>
                <a:gd name="T36" fmla="*/ 36 w 68"/>
                <a:gd name="T37" fmla="*/ 150 h 150"/>
                <a:gd name="T38" fmla="*/ 29 w 68"/>
                <a:gd name="T39" fmla="*/ 135 h 150"/>
                <a:gd name="T40" fmla="*/ 36 w 68"/>
                <a:gd name="T41" fmla="*/ 143 h 150"/>
                <a:gd name="T42" fmla="*/ 43 w 68"/>
                <a:gd name="T43" fmla="*/ 135 h 150"/>
                <a:gd name="T44" fmla="*/ 43 w 68"/>
                <a:gd name="T45" fmla="*/ 66 h 150"/>
                <a:gd name="T46" fmla="*/ 43 w 68"/>
                <a:gd name="T47" fmla="*/ 66 h 150"/>
                <a:gd name="T48" fmla="*/ 43 w 68"/>
                <a:gd name="T49" fmla="*/ 35 h 150"/>
                <a:gd name="T50" fmla="*/ 47 w 68"/>
                <a:gd name="T51" fmla="*/ 31 h 150"/>
                <a:gd name="T52" fmla="*/ 51 w 68"/>
                <a:gd name="T53" fmla="*/ 35 h 150"/>
                <a:gd name="T54" fmla="*/ 51 w 68"/>
                <a:gd name="T55" fmla="*/ 66 h 150"/>
                <a:gd name="T56" fmla="*/ 51 w 68"/>
                <a:gd name="T57" fmla="*/ 66 h 150"/>
                <a:gd name="T58" fmla="*/ 55 w 68"/>
                <a:gd name="T59" fmla="*/ 71 h 150"/>
                <a:gd name="T60" fmla="*/ 59 w 68"/>
                <a:gd name="T61" fmla="*/ 70 h 150"/>
                <a:gd name="T62" fmla="*/ 61 w 68"/>
                <a:gd name="T63" fmla="*/ 66 h 150"/>
                <a:gd name="T64" fmla="*/ 61 w 68"/>
                <a:gd name="T65" fmla="*/ 21 h 150"/>
                <a:gd name="T66" fmla="*/ 47 w 68"/>
                <a:gd name="T67" fmla="*/ 7 h 150"/>
                <a:gd name="T68" fmla="*/ 9 w 68"/>
                <a:gd name="T69" fmla="*/ 7 h 150"/>
                <a:gd name="T70" fmla="*/ 9 w 68"/>
                <a:gd name="T71" fmla="*/ 10 h 150"/>
                <a:gd name="T72" fmla="*/ 9 w 68"/>
                <a:gd name="T73" fmla="*/ 59 h 150"/>
                <a:gd name="T74" fmla="*/ 7 w 68"/>
                <a:gd name="T75" fmla="*/ 67 h 150"/>
                <a:gd name="T76" fmla="*/ 7 w 68"/>
                <a:gd name="T77" fmla="*/ 135 h 150"/>
                <a:gd name="T78" fmla="*/ 15 w 68"/>
                <a:gd name="T79" fmla="*/ 143 h 150"/>
                <a:gd name="T80" fmla="*/ 22 w 68"/>
                <a:gd name="T81" fmla="*/ 135 h 150"/>
                <a:gd name="T82" fmla="*/ 22 w 68"/>
                <a:gd name="T83" fmla="*/ 83 h 150"/>
                <a:gd name="T84" fmla="*/ 25 w 68"/>
                <a:gd name="T85" fmla="*/ 79 h 150"/>
                <a:gd name="T86" fmla="*/ 29 w 68"/>
                <a:gd name="T87" fmla="*/ 83 h 150"/>
                <a:gd name="T88" fmla="*/ 29 w 68"/>
                <a:gd name="T89" fmla="*/ 13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8" h="150">
                  <a:moveTo>
                    <a:pt x="36" y="150"/>
                  </a:moveTo>
                  <a:cubicBezTo>
                    <a:pt x="32" y="150"/>
                    <a:pt x="28" y="148"/>
                    <a:pt x="25" y="145"/>
                  </a:cubicBezTo>
                  <a:cubicBezTo>
                    <a:pt x="23" y="148"/>
                    <a:pt x="19" y="150"/>
                    <a:pt x="15" y="150"/>
                  </a:cubicBezTo>
                  <a:cubicBezTo>
                    <a:pt x="7" y="150"/>
                    <a:pt x="0" y="143"/>
                    <a:pt x="0" y="135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66"/>
                    <a:pt x="0" y="65"/>
                    <a:pt x="0" y="65"/>
                  </a:cubicBezTo>
                  <a:cubicBezTo>
                    <a:pt x="1" y="63"/>
                    <a:pt x="2" y="60"/>
                    <a:pt x="2" y="5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8"/>
                    <a:pt x="1" y="7"/>
                    <a:pt x="1" y="5"/>
                  </a:cubicBezTo>
                  <a:cubicBezTo>
                    <a:pt x="0" y="4"/>
                    <a:pt x="0" y="3"/>
                    <a:pt x="1" y="2"/>
                  </a:cubicBezTo>
                  <a:cubicBezTo>
                    <a:pt x="2" y="1"/>
                    <a:pt x="3" y="0"/>
                    <a:pt x="4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58" y="0"/>
                    <a:pt x="68" y="10"/>
                    <a:pt x="68" y="21"/>
                  </a:cubicBezTo>
                  <a:cubicBezTo>
                    <a:pt x="68" y="66"/>
                    <a:pt x="68" y="66"/>
                    <a:pt x="68" y="66"/>
                  </a:cubicBezTo>
                  <a:cubicBezTo>
                    <a:pt x="68" y="70"/>
                    <a:pt x="66" y="73"/>
                    <a:pt x="64" y="75"/>
                  </a:cubicBezTo>
                  <a:cubicBezTo>
                    <a:pt x="61" y="78"/>
                    <a:pt x="58" y="79"/>
                    <a:pt x="54" y="79"/>
                  </a:cubicBezTo>
                  <a:cubicBezTo>
                    <a:pt x="53" y="78"/>
                    <a:pt x="52" y="78"/>
                    <a:pt x="51" y="77"/>
                  </a:cubicBezTo>
                  <a:cubicBezTo>
                    <a:pt x="51" y="135"/>
                    <a:pt x="51" y="135"/>
                    <a:pt x="51" y="135"/>
                  </a:cubicBezTo>
                  <a:cubicBezTo>
                    <a:pt x="51" y="143"/>
                    <a:pt x="44" y="150"/>
                    <a:pt x="36" y="150"/>
                  </a:cubicBezTo>
                  <a:close/>
                  <a:moveTo>
                    <a:pt x="29" y="135"/>
                  </a:moveTo>
                  <a:cubicBezTo>
                    <a:pt x="29" y="139"/>
                    <a:pt x="32" y="143"/>
                    <a:pt x="36" y="143"/>
                  </a:cubicBezTo>
                  <a:cubicBezTo>
                    <a:pt x="40" y="143"/>
                    <a:pt x="43" y="139"/>
                    <a:pt x="43" y="135"/>
                  </a:cubicBezTo>
                  <a:cubicBezTo>
                    <a:pt x="43" y="66"/>
                    <a:pt x="43" y="66"/>
                    <a:pt x="43" y="66"/>
                  </a:cubicBezTo>
                  <a:cubicBezTo>
                    <a:pt x="43" y="66"/>
                    <a:pt x="43" y="66"/>
                    <a:pt x="43" y="66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3"/>
                    <a:pt x="45" y="31"/>
                    <a:pt x="47" y="31"/>
                  </a:cubicBezTo>
                  <a:cubicBezTo>
                    <a:pt x="49" y="31"/>
                    <a:pt x="51" y="33"/>
                    <a:pt x="51" y="35"/>
                  </a:cubicBezTo>
                  <a:cubicBezTo>
                    <a:pt x="51" y="66"/>
                    <a:pt x="51" y="66"/>
                    <a:pt x="51" y="66"/>
                  </a:cubicBezTo>
                  <a:cubicBezTo>
                    <a:pt x="51" y="66"/>
                    <a:pt x="51" y="66"/>
                    <a:pt x="51" y="66"/>
                  </a:cubicBezTo>
                  <a:cubicBezTo>
                    <a:pt x="51" y="69"/>
                    <a:pt x="53" y="71"/>
                    <a:pt x="55" y="71"/>
                  </a:cubicBezTo>
                  <a:cubicBezTo>
                    <a:pt x="56" y="71"/>
                    <a:pt x="58" y="71"/>
                    <a:pt x="59" y="70"/>
                  </a:cubicBezTo>
                  <a:cubicBezTo>
                    <a:pt x="60" y="69"/>
                    <a:pt x="61" y="68"/>
                    <a:pt x="61" y="66"/>
                  </a:cubicBezTo>
                  <a:cubicBezTo>
                    <a:pt x="61" y="21"/>
                    <a:pt x="61" y="21"/>
                    <a:pt x="61" y="21"/>
                  </a:cubicBezTo>
                  <a:cubicBezTo>
                    <a:pt x="61" y="14"/>
                    <a:pt x="54" y="7"/>
                    <a:pt x="47" y="7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59"/>
                    <a:pt x="9" y="59"/>
                    <a:pt x="9" y="59"/>
                  </a:cubicBezTo>
                  <a:cubicBezTo>
                    <a:pt x="9" y="61"/>
                    <a:pt x="8" y="65"/>
                    <a:pt x="7" y="67"/>
                  </a:cubicBezTo>
                  <a:cubicBezTo>
                    <a:pt x="7" y="135"/>
                    <a:pt x="7" y="135"/>
                    <a:pt x="7" y="135"/>
                  </a:cubicBezTo>
                  <a:cubicBezTo>
                    <a:pt x="7" y="139"/>
                    <a:pt x="11" y="143"/>
                    <a:pt x="15" y="143"/>
                  </a:cubicBezTo>
                  <a:cubicBezTo>
                    <a:pt x="18" y="143"/>
                    <a:pt x="22" y="139"/>
                    <a:pt x="22" y="135"/>
                  </a:cubicBezTo>
                  <a:cubicBezTo>
                    <a:pt x="22" y="83"/>
                    <a:pt x="22" y="83"/>
                    <a:pt x="22" y="83"/>
                  </a:cubicBezTo>
                  <a:cubicBezTo>
                    <a:pt x="22" y="81"/>
                    <a:pt x="23" y="79"/>
                    <a:pt x="25" y="79"/>
                  </a:cubicBezTo>
                  <a:cubicBezTo>
                    <a:pt x="27" y="79"/>
                    <a:pt x="29" y="81"/>
                    <a:pt x="29" y="83"/>
                  </a:cubicBezTo>
                  <a:lnTo>
                    <a:pt x="29" y="13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3" name="Freeform 766">
              <a:extLst>
                <a:ext uri="{FF2B5EF4-FFF2-40B4-BE49-F238E27FC236}">
                  <a16:creationId xmlns:a16="http://schemas.microsoft.com/office/drawing/2014/main" id="{164FAB1C-80E8-3058-7759-6F7C1AA852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842125" y="4276726"/>
              <a:ext cx="109538" cy="193675"/>
            </a:xfrm>
            <a:custGeom>
              <a:avLst/>
              <a:gdLst>
                <a:gd name="T0" fmla="*/ 58 w 92"/>
                <a:gd name="T1" fmla="*/ 162 h 162"/>
                <a:gd name="T2" fmla="*/ 46 w 92"/>
                <a:gd name="T3" fmla="*/ 156 h 162"/>
                <a:gd name="T4" fmla="*/ 34 w 92"/>
                <a:gd name="T5" fmla="*/ 162 h 162"/>
                <a:gd name="T6" fmla="*/ 19 w 92"/>
                <a:gd name="T7" fmla="*/ 146 h 162"/>
                <a:gd name="T8" fmla="*/ 19 w 92"/>
                <a:gd name="T9" fmla="*/ 83 h 162"/>
                <a:gd name="T10" fmla="*/ 14 w 92"/>
                <a:gd name="T11" fmla="*/ 84 h 162"/>
                <a:gd name="T12" fmla="*/ 2 w 92"/>
                <a:gd name="T13" fmla="*/ 78 h 162"/>
                <a:gd name="T14" fmla="*/ 0 w 92"/>
                <a:gd name="T15" fmla="*/ 71 h 162"/>
                <a:gd name="T16" fmla="*/ 0 w 92"/>
                <a:gd name="T17" fmla="*/ 22 h 162"/>
                <a:gd name="T18" fmla="*/ 2 w 92"/>
                <a:gd name="T19" fmla="*/ 15 h 162"/>
                <a:gd name="T20" fmla="*/ 23 w 92"/>
                <a:gd name="T21" fmla="*/ 0 h 162"/>
                <a:gd name="T22" fmla="*/ 70 w 92"/>
                <a:gd name="T23" fmla="*/ 0 h 162"/>
                <a:gd name="T24" fmla="*/ 90 w 92"/>
                <a:gd name="T25" fmla="*/ 15 h 162"/>
                <a:gd name="T26" fmla="*/ 90 w 92"/>
                <a:gd name="T27" fmla="*/ 15 h 162"/>
                <a:gd name="T28" fmla="*/ 92 w 92"/>
                <a:gd name="T29" fmla="*/ 22 h 162"/>
                <a:gd name="T30" fmla="*/ 92 w 92"/>
                <a:gd name="T31" fmla="*/ 71 h 162"/>
                <a:gd name="T32" fmla="*/ 90 w 92"/>
                <a:gd name="T33" fmla="*/ 78 h 162"/>
                <a:gd name="T34" fmla="*/ 78 w 92"/>
                <a:gd name="T35" fmla="*/ 84 h 162"/>
                <a:gd name="T36" fmla="*/ 73 w 92"/>
                <a:gd name="T37" fmla="*/ 83 h 162"/>
                <a:gd name="T38" fmla="*/ 73 w 92"/>
                <a:gd name="T39" fmla="*/ 146 h 162"/>
                <a:gd name="T40" fmla="*/ 58 w 92"/>
                <a:gd name="T41" fmla="*/ 162 h 162"/>
                <a:gd name="T42" fmla="*/ 46 w 92"/>
                <a:gd name="T43" fmla="*/ 143 h 162"/>
                <a:gd name="T44" fmla="*/ 50 w 92"/>
                <a:gd name="T45" fmla="*/ 146 h 162"/>
                <a:gd name="T46" fmla="*/ 58 w 92"/>
                <a:gd name="T47" fmla="*/ 154 h 162"/>
                <a:gd name="T48" fmla="*/ 66 w 92"/>
                <a:gd name="T49" fmla="*/ 146 h 162"/>
                <a:gd name="T50" fmla="*/ 66 w 92"/>
                <a:gd name="T51" fmla="*/ 71 h 162"/>
                <a:gd name="T52" fmla="*/ 70 w 92"/>
                <a:gd name="T53" fmla="*/ 67 h 162"/>
                <a:gd name="T54" fmla="*/ 70 w 92"/>
                <a:gd name="T55" fmla="*/ 67 h 162"/>
                <a:gd name="T56" fmla="*/ 73 w 92"/>
                <a:gd name="T57" fmla="*/ 71 h 162"/>
                <a:gd name="T58" fmla="*/ 78 w 92"/>
                <a:gd name="T59" fmla="*/ 77 h 162"/>
                <a:gd name="T60" fmla="*/ 84 w 92"/>
                <a:gd name="T61" fmla="*/ 74 h 162"/>
                <a:gd name="T62" fmla="*/ 85 w 92"/>
                <a:gd name="T63" fmla="*/ 71 h 162"/>
                <a:gd name="T64" fmla="*/ 85 w 92"/>
                <a:gd name="T65" fmla="*/ 22 h 162"/>
                <a:gd name="T66" fmla="*/ 84 w 92"/>
                <a:gd name="T67" fmla="*/ 17 h 162"/>
                <a:gd name="T68" fmla="*/ 84 w 92"/>
                <a:gd name="T69" fmla="*/ 17 h 162"/>
                <a:gd name="T70" fmla="*/ 70 w 92"/>
                <a:gd name="T71" fmla="*/ 7 h 162"/>
                <a:gd name="T72" fmla="*/ 23 w 92"/>
                <a:gd name="T73" fmla="*/ 7 h 162"/>
                <a:gd name="T74" fmla="*/ 8 w 92"/>
                <a:gd name="T75" fmla="*/ 17 h 162"/>
                <a:gd name="T76" fmla="*/ 7 w 92"/>
                <a:gd name="T77" fmla="*/ 22 h 162"/>
                <a:gd name="T78" fmla="*/ 7 w 92"/>
                <a:gd name="T79" fmla="*/ 71 h 162"/>
                <a:gd name="T80" fmla="*/ 8 w 92"/>
                <a:gd name="T81" fmla="*/ 74 h 162"/>
                <a:gd name="T82" fmla="*/ 14 w 92"/>
                <a:gd name="T83" fmla="*/ 77 h 162"/>
                <a:gd name="T84" fmla="*/ 19 w 92"/>
                <a:gd name="T85" fmla="*/ 71 h 162"/>
                <a:gd name="T86" fmla="*/ 23 w 92"/>
                <a:gd name="T87" fmla="*/ 67 h 162"/>
                <a:gd name="T88" fmla="*/ 26 w 92"/>
                <a:gd name="T89" fmla="*/ 71 h 162"/>
                <a:gd name="T90" fmla="*/ 26 w 92"/>
                <a:gd name="T91" fmla="*/ 146 h 162"/>
                <a:gd name="T92" fmla="*/ 34 w 92"/>
                <a:gd name="T93" fmla="*/ 154 h 162"/>
                <a:gd name="T94" fmla="*/ 42 w 92"/>
                <a:gd name="T95" fmla="*/ 146 h 162"/>
                <a:gd name="T96" fmla="*/ 46 w 92"/>
                <a:gd name="T97" fmla="*/ 143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92" h="162">
                  <a:moveTo>
                    <a:pt x="58" y="162"/>
                  </a:moveTo>
                  <a:cubicBezTo>
                    <a:pt x="53" y="162"/>
                    <a:pt x="49" y="159"/>
                    <a:pt x="46" y="156"/>
                  </a:cubicBezTo>
                  <a:cubicBezTo>
                    <a:pt x="43" y="159"/>
                    <a:pt x="39" y="162"/>
                    <a:pt x="34" y="162"/>
                  </a:cubicBezTo>
                  <a:cubicBezTo>
                    <a:pt x="26" y="162"/>
                    <a:pt x="19" y="155"/>
                    <a:pt x="19" y="146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8" y="84"/>
                    <a:pt x="16" y="84"/>
                    <a:pt x="14" y="84"/>
                  </a:cubicBezTo>
                  <a:cubicBezTo>
                    <a:pt x="10" y="85"/>
                    <a:pt x="5" y="82"/>
                    <a:pt x="2" y="78"/>
                  </a:cubicBezTo>
                  <a:cubicBezTo>
                    <a:pt x="1" y="76"/>
                    <a:pt x="0" y="74"/>
                    <a:pt x="0" y="7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0"/>
                    <a:pt x="1" y="17"/>
                    <a:pt x="2" y="15"/>
                  </a:cubicBezTo>
                  <a:cubicBezTo>
                    <a:pt x="5" y="6"/>
                    <a:pt x="13" y="0"/>
                    <a:pt x="23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9" y="0"/>
                    <a:pt x="87" y="6"/>
                    <a:pt x="90" y="15"/>
                  </a:cubicBezTo>
                  <a:cubicBezTo>
                    <a:pt x="90" y="15"/>
                    <a:pt x="90" y="15"/>
                    <a:pt x="90" y="15"/>
                  </a:cubicBezTo>
                  <a:cubicBezTo>
                    <a:pt x="91" y="17"/>
                    <a:pt x="92" y="20"/>
                    <a:pt x="92" y="22"/>
                  </a:cubicBezTo>
                  <a:cubicBezTo>
                    <a:pt x="92" y="71"/>
                    <a:pt x="92" y="71"/>
                    <a:pt x="92" y="71"/>
                  </a:cubicBezTo>
                  <a:cubicBezTo>
                    <a:pt x="92" y="74"/>
                    <a:pt x="91" y="76"/>
                    <a:pt x="90" y="78"/>
                  </a:cubicBezTo>
                  <a:cubicBezTo>
                    <a:pt x="87" y="82"/>
                    <a:pt x="82" y="85"/>
                    <a:pt x="78" y="84"/>
                  </a:cubicBezTo>
                  <a:cubicBezTo>
                    <a:pt x="76" y="84"/>
                    <a:pt x="74" y="84"/>
                    <a:pt x="73" y="83"/>
                  </a:cubicBezTo>
                  <a:cubicBezTo>
                    <a:pt x="73" y="146"/>
                    <a:pt x="73" y="146"/>
                    <a:pt x="73" y="146"/>
                  </a:cubicBezTo>
                  <a:cubicBezTo>
                    <a:pt x="73" y="155"/>
                    <a:pt x="66" y="162"/>
                    <a:pt x="58" y="162"/>
                  </a:cubicBezTo>
                  <a:close/>
                  <a:moveTo>
                    <a:pt x="46" y="143"/>
                  </a:moveTo>
                  <a:cubicBezTo>
                    <a:pt x="48" y="143"/>
                    <a:pt x="50" y="144"/>
                    <a:pt x="50" y="146"/>
                  </a:cubicBezTo>
                  <a:cubicBezTo>
                    <a:pt x="50" y="151"/>
                    <a:pt x="53" y="154"/>
                    <a:pt x="58" y="154"/>
                  </a:cubicBezTo>
                  <a:cubicBezTo>
                    <a:pt x="62" y="154"/>
                    <a:pt x="66" y="151"/>
                    <a:pt x="66" y="146"/>
                  </a:cubicBezTo>
                  <a:cubicBezTo>
                    <a:pt x="66" y="71"/>
                    <a:pt x="66" y="71"/>
                    <a:pt x="66" y="71"/>
                  </a:cubicBezTo>
                  <a:cubicBezTo>
                    <a:pt x="66" y="69"/>
                    <a:pt x="68" y="67"/>
                    <a:pt x="70" y="67"/>
                  </a:cubicBezTo>
                  <a:cubicBezTo>
                    <a:pt x="70" y="67"/>
                    <a:pt x="70" y="67"/>
                    <a:pt x="70" y="67"/>
                  </a:cubicBezTo>
                  <a:cubicBezTo>
                    <a:pt x="72" y="67"/>
                    <a:pt x="73" y="69"/>
                    <a:pt x="73" y="71"/>
                  </a:cubicBezTo>
                  <a:cubicBezTo>
                    <a:pt x="73" y="74"/>
                    <a:pt x="75" y="77"/>
                    <a:pt x="78" y="77"/>
                  </a:cubicBezTo>
                  <a:cubicBezTo>
                    <a:pt x="80" y="77"/>
                    <a:pt x="82" y="76"/>
                    <a:pt x="84" y="74"/>
                  </a:cubicBezTo>
                  <a:cubicBezTo>
                    <a:pt x="84" y="73"/>
                    <a:pt x="85" y="72"/>
                    <a:pt x="85" y="71"/>
                  </a:cubicBezTo>
                  <a:cubicBezTo>
                    <a:pt x="85" y="22"/>
                    <a:pt x="85" y="22"/>
                    <a:pt x="85" y="22"/>
                  </a:cubicBezTo>
                  <a:cubicBezTo>
                    <a:pt x="85" y="20"/>
                    <a:pt x="84" y="19"/>
                    <a:pt x="84" y="17"/>
                  </a:cubicBezTo>
                  <a:cubicBezTo>
                    <a:pt x="84" y="17"/>
                    <a:pt x="84" y="17"/>
                    <a:pt x="84" y="17"/>
                  </a:cubicBezTo>
                  <a:cubicBezTo>
                    <a:pt x="82" y="11"/>
                    <a:pt x="76" y="7"/>
                    <a:pt x="70" y="7"/>
                  </a:cubicBezTo>
                  <a:cubicBezTo>
                    <a:pt x="23" y="7"/>
                    <a:pt x="23" y="7"/>
                    <a:pt x="23" y="7"/>
                  </a:cubicBezTo>
                  <a:cubicBezTo>
                    <a:pt x="16" y="7"/>
                    <a:pt x="11" y="11"/>
                    <a:pt x="8" y="17"/>
                  </a:cubicBezTo>
                  <a:cubicBezTo>
                    <a:pt x="8" y="19"/>
                    <a:pt x="7" y="20"/>
                    <a:pt x="7" y="22"/>
                  </a:cubicBezTo>
                  <a:cubicBezTo>
                    <a:pt x="7" y="71"/>
                    <a:pt x="7" y="71"/>
                    <a:pt x="7" y="71"/>
                  </a:cubicBezTo>
                  <a:cubicBezTo>
                    <a:pt x="7" y="72"/>
                    <a:pt x="8" y="73"/>
                    <a:pt x="8" y="74"/>
                  </a:cubicBezTo>
                  <a:cubicBezTo>
                    <a:pt x="10" y="76"/>
                    <a:pt x="12" y="77"/>
                    <a:pt x="14" y="77"/>
                  </a:cubicBezTo>
                  <a:cubicBezTo>
                    <a:pt x="17" y="77"/>
                    <a:pt x="19" y="74"/>
                    <a:pt x="19" y="71"/>
                  </a:cubicBezTo>
                  <a:cubicBezTo>
                    <a:pt x="19" y="69"/>
                    <a:pt x="21" y="67"/>
                    <a:pt x="23" y="67"/>
                  </a:cubicBezTo>
                  <a:cubicBezTo>
                    <a:pt x="25" y="67"/>
                    <a:pt x="26" y="69"/>
                    <a:pt x="26" y="71"/>
                  </a:cubicBezTo>
                  <a:cubicBezTo>
                    <a:pt x="26" y="146"/>
                    <a:pt x="26" y="146"/>
                    <a:pt x="26" y="146"/>
                  </a:cubicBezTo>
                  <a:cubicBezTo>
                    <a:pt x="26" y="151"/>
                    <a:pt x="30" y="154"/>
                    <a:pt x="34" y="154"/>
                  </a:cubicBezTo>
                  <a:cubicBezTo>
                    <a:pt x="39" y="154"/>
                    <a:pt x="42" y="151"/>
                    <a:pt x="42" y="146"/>
                  </a:cubicBezTo>
                  <a:cubicBezTo>
                    <a:pt x="42" y="144"/>
                    <a:pt x="44" y="143"/>
                    <a:pt x="46" y="14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4" name="Freeform 767">
              <a:extLst>
                <a:ext uri="{FF2B5EF4-FFF2-40B4-BE49-F238E27FC236}">
                  <a16:creationId xmlns:a16="http://schemas.microsoft.com/office/drawing/2014/main" id="{434A9250-1B06-8ED0-32AD-DAACFF91C6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735763" y="4243388"/>
              <a:ext cx="44450" cy="42863"/>
            </a:xfrm>
            <a:custGeom>
              <a:avLst/>
              <a:gdLst>
                <a:gd name="T0" fmla="*/ 18 w 36"/>
                <a:gd name="T1" fmla="*/ 36 h 36"/>
                <a:gd name="T2" fmla="*/ 0 w 36"/>
                <a:gd name="T3" fmla="*/ 18 h 36"/>
                <a:gd name="T4" fmla="*/ 18 w 36"/>
                <a:gd name="T5" fmla="*/ 0 h 36"/>
                <a:gd name="T6" fmla="*/ 36 w 36"/>
                <a:gd name="T7" fmla="*/ 18 h 36"/>
                <a:gd name="T8" fmla="*/ 18 w 36"/>
                <a:gd name="T9" fmla="*/ 36 h 36"/>
                <a:gd name="T10" fmla="*/ 18 w 36"/>
                <a:gd name="T11" fmla="*/ 7 h 36"/>
                <a:gd name="T12" fmla="*/ 7 w 36"/>
                <a:gd name="T13" fmla="*/ 18 h 36"/>
                <a:gd name="T14" fmla="*/ 18 w 36"/>
                <a:gd name="T15" fmla="*/ 29 h 36"/>
                <a:gd name="T16" fmla="*/ 29 w 36"/>
                <a:gd name="T17" fmla="*/ 18 h 36"/>
                <a:gd name="T18" fmla="*/ 18 w 36"/>
                <a:gd name="T19" fmla="*/ 7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36">
                  <a:moveTo>
                    <a:pt x="18" y="36"/>
                  </a:moveTo>
                  <a:cubicBezTo>
                    <a:pt x="8" y="36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8"/>
                    <a:pt x="36" y="18"/>
                  </a:cubicBezTo>
                  <a:cubicBezTo>
                    <a:pt x="36" y="28"/>
                    <a:pt x="28" y="36"/>
                    <a:pt x="18" y="36"/>
                  </a:cubicBezTo>
                  <a:close/>
                  <a:moveTo>
                    <a:pt x="18" y="7"/>
                  </a:moveTo>
                  <a:cubicBezTo>
                    <a:pt x="12" y="7"/>
                    <a:pt x="7" y="12"/>
                    <a:pt x="7" y="18"/>
                  </a:cubicBezTo>
                  <a:cubicBezTo>
                    <a:pt x="7" y="24"/>
                    <a:pt x="12" y="29"/>
                    <a:pt x="18" y="29"/>
                  </a:cubicBezTo>
                  <a:cubicBezTo>
                    <a:pt x="24" y="29"/>
                    <a:pt x="29" y="24"/>
                    <a:pt x="29" y="18"/>
                  </a:cubicBezTo>
                  <a:cubicBezTo>
                    <a:pt x="29" y="12"/>
                    <a:pt x="24" y="7"/>
                    <a:pt x="18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5" name="Freeform 768">
              <a:extLst>
                <a:ext uri="{FF2B5EF4-FFF2-40B4-BE49-F238E27FC236}">
                  <a16:creationId xmlns:a16="http://schemas.microsoft.com/office/drawing/2014/main" id="{14FFD711-DCBD-14A1-56F6-23234BA73440}"/>
                </a:ext>
              </a:extLst>
            </p:cNvPr>
            <p:cNvSpPr>
              <a:spLocks/>
            </p:cNvSpPr>
            <p:nvPr/>
          </p:nvSpPr>
          <p:spPr bwMode="auto">
            <a:xfrm>
              <a:off x="-6792913" y="4379913"/>
              <a:ext cx="9525" cy="76200"/>
            </a:xfrm>
            <a:custGeom>
              <a:avLst/>
              <a:gdLst>
                <a:gd name="T0" fmla="*/ 4 w 8"/>
                <a:gd name="T1" fmla="*/ 64 h 64"/>
                <a:gd name="T2" fmla="*/ 0 w 8"/>
                <a:gd name="T3" fmla="*/ 60 h 64"/>
                <a:gd name="T4" fmla="*/ 0 w 8"/>
                <a:gd name="T5" fmla="*/ 4 h 64"/>
                <a:gd name="T6" fmla="*/ 4 w 8"/>
                <a:gd name="T7" fmla="*/ 0 h 64"/>
                <a:gd name="T8" fmla="*/ 8 w 8"/>
                <a:gd name="T9" fmla="*/ 4 h 64"/>
                <a:gd name="T10" fmla="*/ 8 w 8"/>
                <a:gd name="T11" fmla="*/ 60 h 64"/>
                <a:gd name="T12" fmla="*/ 4 w 8"/>
                <a:gd name="T13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64">
                  <a:moveTo>
                    <a:pt x="4" y="64"/>
                  </a:moveTo>
                  <a:cubicBezTo>
                    <a:pt x="2" y="64"/>
                    <a:pt x="0" y="62"/>
                    <a:pt x="0" y="6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60"/>
                    <a:pt x="8" y="60"/>
                    <a:pt x="8" y="60"/>
                  </a:cubicBezTo>
                  <a:cubicBezTo>
                    <a:pt x="8" y="62"/>
                    <a:pt x="6" y="64"/>
                    <a:pt x="4" y="6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6" name="Freeform 769">
              <a:extLst>
                <a:ext uri="{FF2B5EF4-FFF2-40B4-BE49-F238E27FC236}">
                  <a16:creationId xmlns:a16="http://schemas.microsoft.com/office/drawing/2014/main" id="{9A571640-9106-2F31-644C-5DA9CFCC3E4E}"/>
                </a:ext>
              </a:extLst>
            </p:cNvPr>
            <p:cNvSpPr>
              <a:spLocks/>
            </p:cNvSpPr>
            <p:nvPr/>
          </p:nvSpPr>
          <p:spPr bwMode="auto">
            <a:xfrm>
              <a:off x="-6819900" y="4311651"/>
              <a:ext cx="7938" cy="53975"/>
            </a:xfrm>
            <a:custGeom>
              <a:avLst/>
              <a:gdLst>
                <a:gd name="T0" fmla="*/ 4 w 7"/>
                <a:gd name="T1" fmla="*/ 46 h 46"/>
                <a:gd name="T2" fmla="*/ 0 w 7"/>
                <a:gd name="T3" fmla="*/ 42 h 46"/>
                <a:gd name="T4" fmla="*/ 0 w 7"/>
                <a:gd name="T5" fmla="*/ 4 h 46"/>
                <a:gd name="T6" fmla="*/ 4 w 7"/>
                <a:gd name="T7" fmla="*/ 0 h 46"/>
                <a:gd name="T8" fmla="*/ 7 w 7"/>
                <a:gd name="T9" fmla="*/ 4 h 46"/>
                <a:gd name="T10" fmla="*/ 7 w 7"/>
                <a:gd name="T11" fmla="*/ 42 h 46"/>
                <a:gd name="T12" fmla="*/ 4 w 7"/>
                <a:gd name="T13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46">
                  <a:moveTo>
                    <a:pt x="4" y="46"/>
                  </a:moveTo>
                  <a:cubicBezTo>
                    <a:pt x="2" y="46"/>
                    <a:pt x="0" y="44"/>
                    <a:pt x="0" y="4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7" y="2"/>
                    <a:pt x="7" y="4"/>
                  </a:cubicBezTo>
                  <a:cubicBezTo>
                    <a:pt x="7" y="42"/>
                    <a:pt x="7" y="42"/>
                    <a:pt x="7" y="42"/>
                  </a:cubicBezTo>
                  <a:cubicBezTo>
                    <a:pt x="7" y="44"/>
                    <a:pt x="6" y="46"/>
                    <a:pt x="4" y="4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7" name="Freeform 770">
              <a:extLst>
                <a:ext uri="{FF2B5EF4-FFF2-40B4-BE49-F238E27FC236}">
                  <a16:creationId xmlns:a16="http://schemas.microsoft.com/office/drawing/2014/main" id="{BD148951-8A0C-334B-F8EF-FB446530A095}"/>
                </a:ext>
              </a:extLst>
            </p:cNvPr>
            <p:cNvSpPr>
              <a:spLocks/>
            </p:cNvSpPr>
            <p:nvPr/>
          </p:nvSpPr>
          <p:spPr bwMode="auto">
            <a:xfrm>
              <a:off x="-6764338" y="4311651"/>
              <a:ext cx="9525" cy="53975"/>
            </a:xfrm>
            <a:custGeom>
              <a:avLst/>
              <a:gdLst>
                <a:gd name="T0" fmla="*/ 4 w 7"/>
                <a:gd name="T1" fmla="*/ 46 h 46"/>
                <a:gd name="T2" fmla="*/ 0 w 7"/>
                <a:gd name="T3" fmla="*/ 42 h 46"/>
                <a:gd name="T4" fmla="*/ 0 w 7"/>
                <a:gd name="T5" fmla="*/ 4 h 46"/>
                <a:gd name="T6" fmla="*/ 4 w 7"/>
                <a:gd name="T7" fmla="*/ 0 h 46"/>
                <a:gd name="T8" fmla="*/ 7 w 7"/>
                <a:gd name="T9" fmla="*/ 4 h 46"/>
                <a:gd name="T10" fmla="*/ 7 w 7"/>
                <a:gd name="T11" fmla="*/ 42 h 46"/>
                <a:gd name="T12" fmla="*/ 4 w 7"/>
                <a:gd name="T13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46">
                  <a:moveTo>
                    <a:pt x="4" y="46"/>
                  </a:moveTo>
                  <a:cubicBezTo>
                    <a:pt x="2" y="46"/>
                    <a:pt x="0" y="44"/>
                    <a:pt x="0" y="4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7" y="2"/>
                    <a:pt x="7" y="4"/>
                  </a:cubicBezTo>
                  <a:cubicBezTo>
                    <a:pt x="7" y="42"/>
                    <a:pt x="7" y="42"/>
                    <a:pt x="7" y="42"/>
                  </a:cubicBezTo>
                  <a:cubicBezTo>
                    <a:pt x="7" y="44"/>
                    <a:pt x="6" y="46"/>
                    <a:pt x="4" y="4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0" name="Shape13_20200717_142329">
            <a:extLst>
              <a:ext uri="{FF2B5EF4-FFF2-40B4-BE49-F238E27FC236}">
                <a16:creationId xmlns:a16="http://schemas.microsoft.com/office/drawing/2014/main" id="{8441DFFA-2137-5673-F613-987D0006E579}"/>
              </a:ext>
            </a:extLst>
          </p:cNvPr>
          <p:cNvGrpSpPr>
            <a:grpSpLocks noChangeAspect="1"/>
          </p:cNvGrpSpPr>
          <p:nvPr/>
        </p:nvGrpSpPr>
        <p:grpSpPr>
          <a:xfrm>
            <a:off x="3221634" y="2565850"/>
            <a:ext cx="526504" cy="526504"/>
            <a:chOff x="-4672013" y="3006726"/>
            <a:chExt cx="249238" cy="249237"/>
          </a:xfrm>
          <a:solidFill>
            <a:schemeClr val="accent1"/>
          </a:solidFill>
        </p:grpSpPr>
        <p:sp>
          <p:nvSpPr>
            <p:cNvPr id="112" name="Freeform 771">
              <a:extLst>
                <a:ext uri="{FF2B5EF4-FFF2-40B4-BE49-F238E27FC236}">
                  <a16:creationId xmlns:a16="http://schemas.microsoft.com/office/drawing/2014/main" id="{D1F6817D-703B-E6F1-53A9-5CF1571A14A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624388" y="3006726"/>
              <a:ext cx="201613" cy="201613"/>
            </a:xfrm>
            <a:custGeom>
              <a:avLst/>
              <a:gdLst>
                <a:gd name="T0" fmla="*/ 85 w 169"/>
                <a:gd name="T1" fmla="*/ 168 h 168"/>
                <a:gd name="T2" fmla="*/ 0 w 169"/>
                <a:gd name="T3" fmla="*/ 84 h 168"/>
                <a:gd name="T4" fmla="*/ 85 w 169"/>
                <a:gd name="T5" fmla="*/ 0 h 168"/>
                <a:gd name="T6" fmla="*/ 169 w 169"/>
                <a:gd name="T7" fmla="*/ 84 h 168"/>
                <a:gd name="T8" fmla="*/ 85 w 169"/>
                <a:gd name="T9" fmla="*/ 168 h 168"/>
                <a:gd name="T10" fmla="*/ 85 w 169"/>
                <a:gd name="T11" fmla="*/ 7 h 168"/>
                <a:gd name="T12" fmla="*/ 8 w 169"/>
                <a:gd name="T13" fmla="*/ 84 h 168"/>
                <a:gd name="T14" fmla="*/ 85 w 169"/>
                <a:gd name="T15" fmla="*/ 161 h 168"/>
                <a:gd name="T16" fmla="*/ 162 w 169"/>
                <a:gd name="T17" fmla="*/ 84 h 168"/>
                <a:gd name="T18" fmla="*/ 85 w 169"/>
                <a:gd name="T19" fmla="*/ 7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9" h="168">
                  <a:moveTo>
                    <a:pt x="85" y="168"/>
                  </a:moveTo>
                  <a:cubicBezTo>
                    <a:pt x="38" y="168"/>
                    <a:pt x="0" y="131"/>
                    <a:pt x="0" y="84"/>
                  </a:cubicBezTo>
                  <a:cubicBezTo>
                    <a:pt x="0" y="38"/>
                    <a:pt x="38" y="0"/>
                    <a:pt x="85" y="0"/>
                  </a:cubicBezTo>
                  <a:cubicBezTo>
                    <a:pt x="131" y="0"/>
                    <a:pt x="169" y="38"/>
                    <a:pt x="169" y="84"/>
                  </a:cubicBezTo>
                  <a:cubicBezTo>
                    <a:pt x="169" y="131"/>
                    <a:pt x="131" y="168"/>
                    <a:pt x="85" y="168"/>
                  </a:cubicBezTo>
                  <a:close/>
                  <a:moveTo>
                    <a:pt x="85" y="7"/>
                  </a:moveTo>
                  <a:cubicBezTo>
                    <a:pt x="42" y="7"/>
                    <a:pt x="8" y="42"/>
                    <a:pt x="8" y="84"/>
                  </a:cubicBezTo>
                  <a:cubicBezTo>
                    <a:pt x="8" y="127"/>
                    <a:pt x="42" y="161"/>
                    <a:pt x="85" y="161"/>
                  </a:cubicBezTo>
                  <a:cubicBezTo>
                    <a:pt x="127" y="161"/>
                    <a:pt x="162" y="127"/>
                    <a:pt x="162" y="84"/>
                  </a:cubicBezTo>
                  <a:cubicBezTo>
                    <a:pt x="162" y="42"/>
                    <a:pt x="127" y="7"/>
                    <a:pt x="85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3" name="Freeform 772">
              <a:extLst>
                <a:ext uri="{FF2B5EF4-FFF2-40B4-BE49-F238E27FC236}">
                  <a16:creationId xmlns:a16="http://schemas.microsoft.com/office/drawing/2014/main" id="{01788EAE-6B43-F596-947B-8527D7A98B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672013" y="3157538"/>
              <a:ext cx="100013" cy="98425"/>
            </a:xfrm>
            <a:custGeom>
              <a:avLst/>
              <a:gdLst>
                <a:gd name="T0" fmla="*/ 21 w 84"/>
                <a:gd name="T1" fmla="*/ 82 h 82"/>
                <a:gd name="T2" fmla="*/ 21 w 84"/>
                <a:gd name="T3" fmla="*/ 82 h 82"/>
                <a:gd name="T4" fmla="*/ 7 w 84"/>
                <a:gd name="T5" fmla="*/ 76 h 82"/>
                <a:gd name="T6" fmla="*/ 8 w 84"/>
                <a:gd name="T7" fmla="*/ 48 h 82"/>
                <a:gd name="T8" fmla="*/ 55 w 84"/>
                <a:gd name="T9" fmla="*/ 1 h 82"/>
                <a:gd name="T10" fmla="*/ 58 w 84"/>
                <a:gd name="T11" fmla="*/ 0 h 82"/>
                <a:gd name="T12" fmla="*/ 61 w 84"/>
                <a:gd name="T13" fmla="*/ 1 h 82"/>
                <a:gd name="T14" fmla="*/ 82 w 84"/>
                <a:gd name="T15" fmla="*/ 23 h 82"/>
                <a:gd name="T16" fmla="*/ 84 w 84"/>
                <a:gd name="T17" fmla="*/ 25 h 82"/>
                <a:gd name="T18" fmla="*/ 83 w 84"/>
                <a:gd name="T19" fmla="*/ 28 h 82"/>
                <a:gd name="T20" fmla="*/ 35 w 84"/>
                <a:gd name="T21" fmla="*/ 76 h 82"/>
                <a:gd name="T22" fmla="*/ 21 w 84"/>
                <a:gd name="T23" fmla="*/ 82 h 82"/>
                <a:gd name="T24" fmla="*/ 57 w 84"/>
                <a:gd name="T25" fmla="*/ 9 h 82"/>
                <a:gd name="T26" fmla="*/ 13 w 84"/>
                <a:gd name="T27" fmla="*/ 53 h 82"/>
                <a:gd name="T28" fmla="*/ 12 w 84"/>
                <a:gd name="T29" fmla="*/ 71 h 82"/>
                <a:gd name="T30" fmla="*/ 21 w 84"/>
                <a:gd name="T31" fmla="*/ 75 h 82"/>
                <a:gd name="T32" fmla="*/ 21 w 84"/>
                <a:gd name="T33" fmla="*/ 75 h 82"/>
                <a:gd name="T34" fmla="*/ 30 w 84"/>
                <a:gd name="T35" fmla="*/ 71 h 82"/>
                <a:gd name="T36" fmla="*/ 75 w 84"/>
                <a:gd name="T37" fmla="*/ 26 h 82"/>
                <a:gd name="T38" fmla="*/ 57 w 84"/>
                <a:gd name="T39" fmla="*/ 9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4" h="82">
                  <a:moveTo>
                    <a:pt x="21" y="82"/>
                  </a:moveTo>
                  <a:cubicBezTo>
                    <a:pt x="21" y="82"/>
                    <a:pt x="21" y="82"/>
                    <a:pt x="21" y="82"/>
                  </a:cubicBezTo>
                  <a:cubicBezTo>
                    <a:pt x="15" y="82"/>
                    <a:pt x="11" y="80"/>
                    <a:pt x="7" y="76"/>
                  </a:cubicBezTo>
                  <a:cubicBezTo>
                    <a:pt x="0" y="68"/>
                    <a:pt x="0" y="56"/>
                    <a:pt x="8" y="48"/>
                  </a:cubicBezTo>
                  <a:cubicBezTo>
                    <a:pt x="55" y="1"/>
                    <a:pt x="55" y="1"/>
                    <a:pt x="55" y="1"/>
                  </a:cubicBezTo>
                  <a:cubicBezTo>
                    <a:pt x="56" y="0"/>
                    <a:pt x="57" y="0"/>
                    <a:pt x="58" y="0"/>
                  </a:cubicBezTo>
                  <a:cubicBezTo>
                    <a:pt x="59" y="0"/>
                    <a:pt x="60" y="0"/>
                    <a:pt x="61" y="1"/>
                  </a:cubicBezTo>
                  <a:cubicBezTo>
                    <a:pt x="67" y="10"/>
                    <a:pt x="74" y="17"/>
                    <a:pt x="82" y="23"/>
                  </a:cubicBezTo>
                  <a:cubicBezTo>
                    <a:pt x="83" y="23"/>
                    <a:pt x="84" y="24"/>
                    <a:pt x="84" y="25"/>
                  </a:cubicBezTo>
                  <a:cubicBezTo>
                    <a:pt x="84" y="27"/>
                    <a:pt x="83" y="28"/>
                    <a:pt x="83" y="28"/>
                  </a:cubicBezTo>
                  <a:cubicBezTo>
                    <a:pt x="35" y="76"/>
                    <a:pt x="35" y="76"/>
                    <a:pt x="35" y="76"/>
                  </a:cubicBezTo>
                  <a:cubicBezTo>
                    <a:pt x="31" y="80"/>
                    <a:pt x="26" y="82"/>
                    <a:pt x="21" y="82"/>
                  </a:cubicBezTo>
                  <a:close/>
                  <a:moveTo>
                    <a:pt x="57" y="9"/>
                  </a:moveTo>
                  <a:cubicBezTo>
                    <a:pt x="13" y="53"/>
                    <a:pt x="13" y="53"/>
                    <a:pt x="13" y="53"/>
                  </a:cubicBezTo>
                  <a:cubicBezTo>
                    <a:pt x="8" y="58"/>
                    <a:pt x="8" y="66"/>
                    <a:pt x="12" y="71"/>
                  </a:cubicBezTo>
                  <a:cubicBezTo>
                    <a:pt x="14" y="73"/>
                    <a:pt x="18" y="75"/>
                    <a:pt x="21" y="75"/>
                  </a:cubicBezTo>
                  <a:cubicBezTo>
                    <a:pt x="21" y="75"/>
                    <a:pt x="21" y="75"/>
                    <a:pt x="21" y="75"/>
                  </a:cubicBezTo>
                  <a:cubicBezTo>
                    <a:pt x="24" y="75"/>
                    <a:pt x="27" y="73"/>
                    <a:pt x="30" y="71"/>
                  </a:cubicBezTo>
                  <a:cubicBezTo>
                    <a:pt x="75" y="26"/>
                    <a:pt x="75" y="26"/>
                    <a:pt x="75" y="26"/>
                  </a:cubicBezTo>
                  <a:cubicBezTo>
                    <a:pt x="68" y="21"/>
                    <a:pt x="62" y="15"/>
                    <a:pt x="57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4" name="Freeform 773">
              <a:extLst>
                <a:ext uri="{FF2B5EF4-FFF2-40B4-BE49-F238E27FC236}">
                  <a16:creationId xmlns:a16="http://schemas.microsoft.com/office/drawing/2014/main" id="{2DE0F461-6AFB-91E1-BCFC-E35B0A19A7A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573588" y="3094038"/>
              <a:ext cx="101600" cy="69850"/>
            </a:xfrm>
            <a:custGeom>
              <a:avLst/>
              <a:gdLst>
                <a:gd name="T0" fmla="*/ 55 w 85"/>
                <a:gd name="T1" fmla="*/ 58 h 58"/>
                <a:gd name="T2" fmla="*/ 30 w 85"/>
                <a:gd name="T3" fmla="*/ 58 h 58"/>
                <a:gd name="T4" fmla="*/ 21 w 85"/>
                <a:gd name="T5" fmla="*/ 54 h 58"/>
                <a:gd name="T6" fmla="*/ 14 w 85"/>
                <a:gd name="T7" fmla="*/ 57 h 58"/>
                <a:gd name="T8" fmla="*/ 4 w 85"/>
                <a:gd name="T9" fmla="*/ 54 h 58"/>
                <a:gd name="T10" fmla="*/ 0 w 85"/>
                <a:gd name="T11" fmla="*/ 45 h 58"/>
                <a:gd name="T12" fmla="*/ 0 w 85"/>
                <a:gd name="T13" fmla="*/ 20 h 58"/>
                <a:gd name="T14" fmla="*/ 21 w 85"/>
                <a:gd name="T15" fmla="*/ 0 h 58"/>
                <a:gd name="T16" fmla="*/ 64 w 85"/>
                <a:gd name="T17" fmla="*/ 0 h 58"/>
                <a:gd name="T18" fmla="*/ 85 w 85"/>
                <a:gd name="T19" fmla="*/ 20 h 58"/>
                <a:gd name="T20" fmla="*/ 85 w 85"/>
                <a:gd name="T21" fmla="*/ 45 h 58"/>
                <a:gd name="T22" fmla="*/ 81 w 85"/>
                <a:gd name="T23" fmla="*/ 54 h 58"/>
                <a:gd name="T24" fmla="*/ 71 w 85"/>
                <a:gd name="T25" fmla="*/ 57 h 58"/>
                <a:gd name="T26" fmla="*/ 64 w 85"/>
                <a:gd name="T27" fmla="*/ 54 h 58"/>
                <a:gd name="T28" fmla="*/ 55 w 85"/>
                <a:gd name="T29" fmla="*/ 58 h 58"/>
                <a:gd name="T30" fmla="*/ 21 w 85"/>
                <a:gd name="T31" fmla="*/ 41 h 58"/>
                <a:gd name="T32" fmla="*/ 25 w 85"/>
                <a:gd name="T33" fmla="*/ 45 h 58"/>
                <a:gd name="T34" fmla="*/ 30 w 85"/>
                <a:gd name="T35" fmla="*/ 51 h 58"/>
                <a:gd name="T36" fmla="*/ 55 w 85"/>
                <a:gd name="T37" fmla="*/ 51 h 58"/>
                <a:gd name="T38" fmla="*/ 60 w 85"/>
                <a:gd name="T39" fmla="*/ 45 h 58"/>
                <a:gd name="T40" fmla="*/ 64 w 85"/>
                <a:gd name="T41" fmla="*/ 41 h 58"/>
                <a:gd name="T42" fmla="*/ 64 w 85"/>
                <a:gd name="T43" fmla="*/ 41 h 58"/>
                <a:gd name="T44" fmla="*/ 68 w 85"/>
                <a:gd name="T45" fmla="*/ 45 h 58"/>
                <a:gd name="T46" fmla="*/ 72 w 85"/>
                <a:gd name="T47" fmla="*/ 50 h 58"/>
                <a:gd name="T48" fmla="*/ 76 w 85"/>
                <a:gd name="T49" fmla="*/ 49 h 58"/>
                <a:gd name="T50" fmla="*/ 77 w 85"/>
                <a:gd name="T51" fmla="*/ 45 h 58"/>
                <a:gd name="T52" fmla="*/ 77 w 85"/>
                <a:gd name="T53" fmla="*/ 20 h 58"/>
                <a:gd name="T54" fmla="*/ 64 w 85"/>
                <a:gd name="T55" fmla="*/ 7 h 58"/>
                <a:gd name="T56" fmla="*/ 21 w 85"/>
                <a:gd name="T57" fmla="*/ 7 h 58"/>
                <a:gd name="T58" fmla="*/ 8 w 85"/>
                <a:gd name="T59" fmla="*/ 20 h 58"/>
                <a:gd name="T60" fmla="*/ 8 w 85"/>
                <a:gd name="T61" fmla="*/ 45 h 58"/>
                <a:gd name="T62" fmla="*/ 9 w 85"/>
                <a:gd name="T63" fmla="*/ 49 h 58"/>
                <a:gd name="T64" fmla="*/ 13 w 85"/>
                <a:gd name="T65" fmla="*/ 50 h 58"/>
                <a:gd name="T66" fmla="*/ 13 w 85"/>
                <a:gd name="T67" fmla="*/ 50 h 58"/>
                <a:gd name="T68" fmla="*/ 18 w 85"/>
                <a:gd name="T69" fmla="*/ 45 h 58"/>
                <a:gd name="T70" fmla="*/ 21 w 85"/>
                <a:gd name="T71" fmla="*/ 41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85" h="58">
                  <a:moveTo>
                    <a:pt x="55" y="58"/>
                  </a:moveTo>
                  <a:cubicBezTo>
                    <a:pt x="30" y="58"/>
                    <a:pt x="30" y="58"/>
                    <a:pt x="30" y="58"/>
                  </a:cubicBezTo>
                  <a:cubicBezTo>
                    <a:pt x="27" y="58"/>
                    <a:pt x="23" y="56"/>
                    <a:pt x="21" y="54"/>
                  </a:cubicBezTo>
                  <a:cubicBezTo>
                    <a:pt x="19" y="56"/>
                    <a:pt x="17" y="57"/>
                    <a:pt x="14" y="57"/>
                  </a:cubicBezTo>
                  <a:cubicBezTo>
                    <a:pt x="10" y="58"/>
                    <a:pt x="7" y="56"/>
                    <a:pt x="4" y="54"/>
                  </a:cubicBezTo>
                  <a:cubicBezTo>
                    <a:pt x="2" y="52"/>
                    <a:pt x="0" y="49"/>
                    <a:pt x="0" y="45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10" y="0"/>
                    <a:pt x="21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75" y="0"/>
                    <a:pt x="85" y="9"/>
                    <a:pt x="85" y="20"/>
                  </a:cubicBezTo>
                  <a:cubicBezTo>
                    <a:pt x="85" y="45"/>
                    <a:pt x="85" y="45"/>
                    <a:pt x="85" y="45"/>
                  </a:cubicBezTo>
                  <a:cubicBezTo>
                    <a:pt x="85" y="49"/>
                    <a:pt x="83" y="52"/>
                    <a:pt x="81" y="54"/>
                  </a:cubicBezTo>
                  <a:cubicBezTo>
                    <a:pt x="78" y="56"/>
                    <a:pt x="75" y="58"/>
                    <a:pt x="71" y="57"/>
                  </a:cubicBezTo>
                  <a:cubicBezTo>
                    <a:pt x="68" y="57"/>
                    <a:pt x="66" y="56"/>
                    <a:pt x="64" y="54"/>
                  </a:cubicBezTo>
                  <a:cubicBezTo>
                    <a:pt x="62" y="56"/>
                    <a:pt x="58" y="58"/>
                    <a:pt x="55" y="58"/>
                  </a:cubicBezTo>
                  <a:close/>
                  <a:moveTo>
                    <a:pt x="21" y="41"/>
                  </a:moveTo>
                  <a:cubicBezTo>
                    <a:pt x="23" y="41"/>
                    <a:pt x="25" y="43"/>
                    <a:pt x="25" y="45"/>
                  </a:cubicBezTo>
                  <a:cubicBezTo>
                    <a:pt x="25" y="48"/>
                    <a:pt x="27" y="51"/>
                    <a:pt x="30" y="51"/>
                  </a:cubicBezTo>
                  <a:cubicBezTo>
                    <a:pt x="55" y="51"/>
                    <a:pt x="55" y="51"/>
                    <a:pt x="55" y="51"/>
                  </a:cubicBezTo>
                  <a:cubicBezTo>
                    <a:pt x="58" y="51"/>
                    <a:pt x="60" y="48"/>
                    <a:pt x="60" y="45"/>
                  </a:cubicBezTo>
                  <a:cubicBezTo>
                    <a:pt x="60" y="43"/>
                    <a:pt x="62" y="41"/>
                    <a:pt x="64" y="41"/>
                  </a:cubicBezTo>
                  <a:cubicBezTo>
                    <a:pt x="64" y="41"/>
                    <a:pt x="64" y="41"/>
                    <a:pt x="64" y="41"/>
                  </a:cubicBezTo>
                  <a:cubicBezTo>
                    <a:pt x="66" y="41"/>
                    <a:pt x="68" y="43"/>
                    <a:pt x="68" y="45"/>
                  </a:cubicBezTo>
                  <a:cubicBezTo>
                    <a:pt x="68" y="48"/>
                    <a:pt x="70" y="50"/>
                    <a:pt x="72" y="50"/>
                  </a:cubicBezTo>
                  <a:cubicBezTo>
                    <a:pt x="73" y="50"/>
                    <a:pt x="75" y="50"/>
                    <a:pt x="76" y="49"/>
                  </a:cubicBezTo>
                  <a:cubicBezTo>
                    <a:pt x="77" y="48"/>
                    <a:pt x="77" y="47"/>
                    <a:pt x="77" y="45"/>
                  </a:cubicBezTo>
                  <a:cubicBezTo>
                    <a:pt x="77" y="20"/>
                    <a:pt x="77" y="20"/>
                    <a:pt x="77" y="20"/>
                  </a:cubicBezTo>
                  <a:cubicBezTo>
                    <a:pt x="77" y="13"/>
                    <a:pt x="71" y="7"/>
                    <a:pt x="64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14" y="7"/>
                    <a:pt x="8" y="13"/>
                    <a:pt x="8" y="20"/>
                  </a:cubicBezTo>
                  <a:cubicBezTo>
                    <a:pt x="8" y="45"/>
                    <a:pt x="8" y="45"/>
                    <a:pt x="8" y="45"/>
                  </a:cubicBezTo>
                  <a:cubicBezTo>
                    <a:pt x="8" y="47"/>
                    <a:pt x="8" y="48"/>
                    <a:pt x="9" y="49"/>
                  </a:cubicBezTo>
                  <a:cubicBezTo>
                    <a:pt x="10" y="50"/>
                    <a:pt x="12" y="50"/>
                    <a:pt x="13" y="50"/>
                  </a:cubicBezTo>
                  <a:cubicBezTo>
                    <a:pt x="13" y="50"/>
                    <a:pt x="13" y="50"/>
                    <a:pt x="13" y="50"/>
                  </a:cubicBezTo>
                  <a:cubicBezTo>
                    <a:pt x="16" y="50"/>
                    <a:pt x="18" y="48"/>
                    <a:pt x="18" y="45"/>
                  </a:cubicBezTo>
                  <a:cubicBezTo>
                    <a:pt x="18" y="43"/>
                    <a:pt x="19" y="41"/>
                    <a:pt x="21" y="4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5" name="Freeform 774">
              <a:extLst>
                <a:ext uri="{FF2B5EF4-FFF2-40B4-BE49-F238E27FC236}">
                  <a16:creationId xmlns:a16="http://schemas.microsoft.com/office/drawing/2014/main" id="{41AB9435-AED1-3335-31AA-71C6C9D2E9F5}"/>
                </a:ext>
              </a:extLst>
            </p:cNvPr>
            <p:cNvSpPr>
              <a:spLocks/>
            </p:cNvSpPr>
            <p:nvPr/>
          </p:nvSpPr>
          <p:spPr bwMode="auto">
            <a:xfrm>
              <a:off x="-4552950" y="3094038"/>
              <a:ext cx="60325" cy="7938"/>
            </a:xfrm>
            <a:custGeom>
              <a:avLst/>
              <a:gdLst>
                <a:gd name="T0" fmla="*/ 46 w 50"/>
                <a:gd name="T1" fmla="*/ 7 h 7"/>
                <a:gd name="T2" fmla="*/ 3 w 50"/>
                <a:gd name="T3" fmla="*/ 7 h 7"/>
                <a:gd name="T4" fmla="*/ 0 w 50"/>
                <a:gd name="T5" fmla="*/ 3 h 7"/>
                <a:gd name="T6" fmla="*/ 3 w 50"/>
                <a:gd name="T7" fmla="*/ 0 h 7"/>
                <a:gd name="T8" fmla="*/ 46 w 50"/>
                <a:gd name="T9" fmla="*/ 0 h 7"/>
                <a:gd name="T10" fmla="*/ 50 w 50"/>
                <a:gd name="T11" fmla="*/ 3 h 7"/>
                <a:gd name="T12" fmla="*/ 46 w 50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0" h="7">
                  <a:moveTo>
                    <a:pt x="46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8" y="0"/>
                    <a:pt x="50" y="1"/>
                    <a:pt x="50" y="3"/>
                  </a:cubicBezTo>
                  <a:cubicBezTo>
                    <a:pt x="50" y="5"/>
                    <a:pt x="48" y="7"/>
                    <a:pt x="46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6" name="Freeform 775">
              <a:extLst>
                <a:ext uri="{FF2B5EF4-FFF2-40B4-BE49-F238E27FC236}">
                  <a16:creationId xmlns:a16="http://schemas.microsoft.com/office/drawing/2014/main" id="{19D51ABF-3E3B-1140-D555-A1C330914E11}"/>
                </a:ext>
              </a:extLst>
            </p:cNvPr>
            <p:cNvSpPr>
              <a:spLocks/>
            </p:cNvSpPr>
            <p:nvPr/>
          </p:nvSpPr>
          <p:spPr bwMode="auto">
            <a:xfrm>
              <a:off x="-4552950" y="3130551"/>
              <a:ext cx="7938" cy="20638"/>
            </a:xfrm>
            <a:custGeom>
              <a:avLst/>
              <a:gdLst>
                <a:gd name="T0" fmla="*/ 3 w 7"/>
                <a:gd name="T1" fmla="*/ 18 h 18"/>
                <a:gd name="T2" fmla="*/ 0 w 7"/>
                <a:gd name="T3" fmla="*/ 15 h 18"/>
                <a:gd name="T4" fmla="*/ 0 w 7"/>
                <a:gd name="T5" fmla="*/ 4 h 18"/>
                <a:gd name="T6" fmla="*/ 3 w 7"/>
                <a:gd name="T7" fmla="*/ 0 h 18"/>
                <a:gd name="T8" fmla="*/ 7 w 7"/>
                <a:gd name="T9" fmla="*/ 4 h 18"/>
                <a:gd name="T10" fmla="*/ 7 w 7"/>
                <a:gd name="T11" fmla="*/ 15 h 18"/>
                <a:gd name="T12" fmla="*/ 3 w 7"/>
                <a:gd name="T1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8">
                  <a:moveTo>
                    <a:pt x="3" y="18"/>
                  </a:moveTo>
                  <a:cubicBezTo>
                    <a:pt x="1" y="18"/>
                    <a:pt x="0" y="17"/>
                    <a:pt x="0" y="1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7"/>
                    <a:pt x="5" y="18"/>
                    <a:pt x="3" y="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7" name="Freeform 776">
              <a:extLst>
                <a:ext uri="{FF2B5EF4-FFF2-40B4-BE49-F238E27FC236}">
                  <a16:creationId xmlns:a16="http://schemas.microsoft.com/office/drawing/2014/main" id="{649DF119-661C-CC2E-2501-DF80967808F4}"/>
                </a:ext>
              </a:extLst>
            </p:cNvPr>
            <p:cNvSpPr>
              <a:spLocks/>
            </p:cNvSpPr>
            <p:nvPr/>
          </p:nvSpPr>
          <p:spPr bwMode="auto">
            <a:xfrm>
              <a:off x="-4502150" y="3130551"/>
              <a:ext cx="9525" cy="20638"/>
            </a:xfrm>
            <a:custGeom>
              <a:avLst/>
              <a:gdLst>
                <a:gd name="T0" fmla="*/ 4 w 8"/>
                <a:gd name="T1" fmla="*/ 18 h 18"/>
                <a:gd name="T2" fmla="*/ 0 w 8"/>
                <a:gd name="T3" fmla="*/ 15 h 18"/>
                <a:gd name="T4" fmla="*/ 0 w 8"/>
                <a:gd name="T5" fmla="*/ 4 h 18"/>
                <a:gd name="T6" fmla="*/ 4 w 8"/>
                <a:gd name="T7" fmla="*/ 0 h 18"/>
                <a:gd name="T8" fmla="*/ 8 w 8"/>
                <a:gd name="T9" fmla="*/ 4 h 18"/>
                <a:gd name="T10" fmla="*/ 8 w 8"/>
                <a:gd name="T11" fmla="*/ 15 h 18"/>
                <a:gd name="T12" fmla="*/ 4 w 8"/>
                <a:gd name="T1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18">
                  <a:moveTo>
                    <a:pt x="4" y="18"/>
                  </a:moveTo>
                  <a:cubicBezTo>
                    <a:pt x="2" y="18"/>
                    <a:pt x="0" y="17"/>
                    <a:pt x="0" y="1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8" y="17"/>
                    <a:pt x="6" y="18"/>
                    <a:pt x="4" y="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8" name="Freeform 777">
              <a:extLst>
                <a:ext uri="{FF2B5EF4-FFF2-40B4-BE49-F238E27FC236}">
                  <a16:creationId xmlns:a16="http://schemas.microsoft.com/office/drawing/2014/main" id="{C5A79891-17BD-A8AB-752C-CF072491AAB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545013" y="3044826"/>
              <a:ext cx="44450" cy="42863"/>
            </a:xfrm>
            <a:custGeom>
              <a:avLst/>
              <a:gdLst>
                <a:gd name="T0" fmla="*/ 18 w 36"/>
                <a:gd name="T1" fmla="*/ 36 h 36"/>
                <a:gd name="T2" fmla="*/ 0 w 36"/>
                <a:gd name="T3" fmla="*/ 18 h 36"/>
                <a:gd name="T4" fmla="*/ 18 w 36"/>
                <a:gd name="T5" fmla="*/ 0 h 36"/>
                <a:gd name="T6" fmla="*/ 36 w 36"/>
                <a:gd name="T7" fmla="*/ 18 h 36"/>
                <a:gd name="T8" fmla="*/ 18 w 36"/>
                <a:gd name="T9" fmla="*/ 36 h 36"/>
                <a:gd name="T10" fmla="*/ 18 w 36"/>
                <a:gd name="T11" fmla="*/ 7 h 36"/>
                <a:gd name="T12" fmla="*/ 7 w 36"/>
                <a:gd name="T13" fmla="*/ 18 h 36"/>
                <a:gd name="T14" fmla="*/ 18 w 36"/>
                <a:gd name="T15" fmla="*/ 29 h 36"/>
                <a:gd name="T16" fmla="*/ 28 w 36"/>
                <a:gd name="T17" fmla="*/ 18 h 36"/>
                <a:gd name="T18" fmla="*/ 18 w 36"/>
                <a:gd name="T19" fmla="*/ 7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36">
                  <a:moveTo>
                    <a:pt x="18" y="36"/>
                  </a:moveTo>
                  <a:cubicBezTo>
                    <a:pt x="8" y="36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7" y="0"/>
                    <a:pt x="36" y="8"/>
                    <a:pt x="36" y="18"/>
                  </a:cubicBezTo>
                  <a:cubicBezTo>
                    <a:pt x="36" y="28"/>
                    <a:pt x="27" y="36"/>
                    <a:pt x="18" y="36"/>
                  </a:cubicBezTo>
                  <a:close/>
                  <a:moveTo>
                    <a:pt x="18" y="7"/>
                  </a:moveTo>
                  <a:cubicBezTo>
                    <a:pt x="12" y="7"/>
                    <a:pt x="7" y="12"/>
                    <a:pt x="7" y="18"/>
                  </a:cubicBezTo>
                  <a:cubicBezTo>
                    <a:pt x="7" y="24"/>
                    <a:pt x="12" y="29"/>
                    <a:pt x="18" y="29"/>
                  </a:cubicBezTo>
                  <a:cubicBezTo>
                    <a:pt x="23" y="29"/>
                    <a:pt x="28" y="24"/>
                    <a:pt x="28" y="18"/>
                  </a:cubicBezTo>
                  <a:cubicBezTo>
                    <a:pt x="28" y="12"/>
                    <a:pt x="23" y="7"/>
                    <a:pt x="18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1" name="Shape14_20200717_142329">
            <a:extLst>
              <a:ext uri="{FF2B5EF4-FFF2-40B4-BE49-F238E27FC236}">
                <a16:creationId xmlns:a16="http://schemas.microsoft.com/office/drawing/2014/main" id="{7016C068-A077-20B3-EF27-AD432E6A8996}"/>
              </a:ext>
            </a:extLst>
          </p:cNvPr>
          <p:cNvGrpSpPr>
            <a:grpSpLocks noChangeAspect="1"/>
          </p:cNvGrpSpPr>
          <p:nvPr/>
        </p:nvGrpSpPr>
        <p:grpSpPr>
          <a:xfrm>
            <a:off x="9660550" y="2591001"/>
            <a:ext cx="704240" cy="476202"/>
            <a:chOff x="-5273675" y="3627438"/>
            <a:chExt cx="333375" cy="225425"/>
          </a:xfrm>
          <a:solidFill>
            <a:schemeClr val="accent1"/>
          </a:solidFill>
        </p:grpSpPr>
        <p:sp>
          <p:nvSpPr>
            <p:cNvPr id="107" name="Freeform 778">
              <a:extLst>
                <a:ext uri="{FF2B5EF4-FFF2-40B4-BE49-F238E27FC236}">
                  <a16:creationId xmlns:a16="http://schemas.microsoft.com/office/drawing/2014/main" id="{1395809B-92B0-37CE-E323-69D93C06ADD2}"/>
                </a:ext>
              </a:extLst>
            </p:cNvPr>
            <p:cNvSpPr>
              <a:spLocks/>
            </p:cNvSpPr>
            <p:nvPr/>
          </p:nvSpPr>
          <p:spPr bwMode="auto">
            <a:xfrm>
              <a:off x="-5145088" y="3713163"/>
              <a:ext cx="204788" cy="139700"/>
            </a:xfrm>
            <a:custGeom>
              <a:avLst/>
              <a:gdLst>
                <a:gd name="T0" fmla="*/ 84 w 171"/>
                <a:gd name="T1" fmla="*/ 117 h 117"/>
                <a:gd name="T2" fmla="*/ 1 w 171"/>
                <a:gd name="T3" fmla="*/ 74 h 117"/>
                <a:gd name="T4" fmla="*/ 3 w 171"/>
                <a:gd name="T5" fmla="*/ 70 h 117"/>
                <a:gd name="T6" fmla="*/ 7 w 171"/>
                <a:gd name="T7" fmla="*/ 71 h 117"/>
                <a:gd name="T8" fmla="*/ 84 w 171"/>
                <a:gd name="T9" fmla="*/ 110 h 117"/>
                <a:gd name="T10" fmla="*/ 132 w 171"/>
                <a:gd name="T11" fmla="*/ 99 h 117"/>
                <a:gd name="T12" fmla="*/ 135 w 171"/>
                <a:gd name="T13" fmla="*/ 99 h 117"/>
                <a:gd name="T14" fmla="*/ 159 w 171"/>
                <a:gd name="T15" fmla="*/ 105 h 117"/>
                <a:gd name="T16" fmla="*/ 154 w 171"/>
                <a:gd name="T17" fmla="*/ 85 h 117"/>
                <a:gd name="T18" fmla="*/ 155 w 171"/>
                <a:gd name="T19" fmla="*/ 82 h 117"/>
                <a:gd name="T20" fmla="*/ 164 w 171"/>
                <a:gd name="T21" fmla="*/ 58 h 117"/>
                <a:gd name="T22" fmla="*/ 106 w 171"/>
                <a:gd name="T23" fmla="*/ 7 h 117"/>
                <a:gd name="T24" fmla="*/ 103 w 171"/>
                <a:gd name="T25" fmla="*/ 3 h 117"/>
                <a:gd name="T26" fmla="*/ 107 w 171"/>
                <a:gd name="T27" fmla="*/ 0 h 117"/>
                <a:gd name="T28" fmla="*/ 171 w 171"/>
                <a:gd name="T29" fmla="*/ 58 h 117"/>
                <a:gd name="T30" fmla="*/ 161 w 171"/>
                <a:gd name="T31" fmla="*/ 85 h 117"/>
                <a:gd name="T32" fmla="*/ 168 w 171"/>
                <a:gd name="T33" fmla="*/ 109 h 117"/>
                <a:gd name="T34" fmla="*/ 167 w 171"/>
                <a:gd name="T35" fmla="*/ 112 h 117"/>
                <a:gd name="T36" fmla="*/ 163 w 171"/>
                <a:gd name="T37" fmla="*/ 113 h 117"/>
                <a:gd name="T38" fmla="*/ 134 w 171"/>
                <a:gd name="T39" fmla="*/ 106 h 117"/>
                <a:gd name="T40" fmla="*/ 84 w 171"/>
                <a:gd name="T41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1" h="117">
                  <a:moveTo>
                    <a:pt x="84" y="117"/>
                  </a:moveTo>
                  <a:cubicBezTo>
                    <a:pt x="46" y="117"/>
                    <a:pt x="11" y="99"/>
                    <a:pt x="1" y="74"/>
                  </a:cubicBezTo>
                  <a:cubicBezTo>
                    <a:pt x="0" y="72"/>
                    <a:pt x="1" y="70"/>
                    <a:pt x="3" y="70"/>
                  </a:cubicBezTo>
                  <a:cubicBezTo>
                    <a:pt x="4" y="69"/>
                    <a:pt x="7" y="70"/>
                    <a:pt x="7" y="71"/>
                  </a:cubicBezTo>
                  <a:cubicBezTo>
                    <a:pt x="17" y="94"/>
                    <a:pt x="49" y="110"/>
                    <a:pt x="84" y="110"/>
                  </a:cubicBezTo>
                  <a:cubicBezTo>
                    <a:pt x="102" y="110"/>
                    <a:pt x="118" y="106"/>
                    <a:pt x="132" y="99"/>
                  </a:cubicBezTo>
                  <a:cubicBezTo>
                    <a:pt x="133" y="99"/>
                    <a:pt x="134" y="99"/>
                    <a:pt x="135" y="99"/>
                  </a:cubicBezTo>
                  <a:cubicBezTo>
                    <a:pt x="159" y="105"/>
                    <a:pt x="159" y="105"/>
                    <a:pt x="159" y="105"/>
                  </a:cubicBezTo>
                  <a:cubicBezTo>
                    <a:pt x="154" y="85"/>
                    <a:pt x="154" y="85"/>
                    <a:pt x="154" y="85"/>
                  </a:cubicBezTo>
                  <a:cubicBezTo>
                    <a:pt x="154" y="84"/>
                    <a:pt x="154" y="83"/>
                    <a:pt x="155" y="82"/>
                  </a:cubicBezTo>
                  <a:cubicBezTo>
                    <a:pt x="161" y="74"/>
                    <a:pt x="164" y="66"/>
                    <a:pt x="164" y="58"/>
                  </a:cubicBezTo>
                  <a:cubicBezTo>
                    <a:pt x="164" y="34"/>
                    <a:pt x="140" y="14"/>
                    <a:pt x="106" y="7"/>
                  </a:cubicBezTo>
                  <a:cubicBezTo>
                    <a:pt x="104" y="7"/>
                    <a:pt x="102" y="5"/>
                    <a:pt x="103" y="3"/>
                  </a:cubicBezTo>
                  <a:cubicBezTo>
                    <a:pt x="103" y="1"/>
                    <a:pt x="105" y="0"/>
                    <a:pt x="107" y="0"/>
                  </a:cubicBezTo>
                  <a:cubicBezTo>
                    <a:pt x="145" y="7"/>
                    <a:pt x="171" y="31"/>
                    <a:pt x="171" y="58"/>
                  </a:cubicBezTo>
                  <a:cubicBezTo>
                    <a:pt x="171" y="67"/>
                    <a:pt x="168" y="76"/>
                    <a:pt x="161" y="85"/>
                  </a:cubicBezTo>
                  <a:cubicBezTo>
                    <a:pt x="168" y="109"/>
                    <a:pt x="168" y="109"/>
                    <a:pt x="168" y="109"/>
                  </a:cubicBezTo>
                  <a:cubicBezTo>
                    <a:pt x="168" y="110"/>
                    <a:pt x="167" y="111"/>
                    <a:pt x="167" y="112"/>
                  </a:cubicBezTo>
                  <a:cubicBezTo>
                    <a:pt x="166" y="113"/>
                    <a:pt x="164" y="114"/>
                    <a:pt x="163" y="113"/>
                  </a:cubicBezTo>
                  <a:cubicBezTo>
                    <a:pt x="134" y="106"/>
                    <a:pt x="134" y="106"/>
                    <a:pt x="134" y="106"/>
                  </a:cubicBezTo>
                  <a:cubicBezTo>
                    <a:pt x="120" y="113"/>
                    <a:pt x="102" y="117"/>
                    <a:pt x="84" y="1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8" name="Freeform 779">
              <a:extLst>
                <a:ext uri="{FF2B5EF4-FFF2-40B4-BE49-F238E27FC236}">
                  <a16:creationId xmlns:a16="http://schemas.microsoft.com/office/drawing/2014/main" id="{81FAEF24-3DAC-07B0-C4D9-FA92498A58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273675" y="3627438"/>
              <a:ext cx="258763" cy="176213"/>
            </a:xfrm>
            <a:custGeom>
              <a:avLst/>
              <a:gdLst>
                <a:gd name="T0" fmla="*/ 108 w 216"/>
                <a:gd name="T1" fmla="*/ 147 h 147"/>
                <a:gd name="T2" fmla="*/ 45 w 216"/>
                <a:gd name="T3" fmla="*/ 133 h 147"/>
                <a:gd name="T4" fmla="*/ 9 w 216"/>
                <a:gd name="T5" fmla="*/ 142 h 147"/>
                <a:gd name="T6" fmla="*/ 5 w 216"/>
                <a:gd name="T7" fmla="*/ 141 h 147"/>
                <a:gd name="T8" fmla="*/ 4 w 216"/>
                <a:gd name="T9" fmla="*/ 138 h 147"/>
                <a:gd name="T10" fmla="*/ 12 w 216"/>
                <a:gd name="T11" fmla="*/ 107 h 147"/>
                <a:gd name="T12" fmla="*/ 0 w 216"/>
                <a:gd name="T13" fmla="*/ 73 h 147"/>
                <a:gd name="T14" fmla="*/ 108 w 216"/>
                <a:gd name="T15" fmla="*/ 0 h 147"/>
                <a:gd name="T16" fmla="*/ 216 w 216"/>
                <a:gd name="T17" fmla="*/ 73 h 147"/>
                <a:gd name="T18" fmla="*/ 108 w 216"/>
                <a:gd name="T19" fmla="*/ 147 h 147"/>
                <a:gd name="T20" fmla="*/ 45 w 216"/>
                <a:gd name="T21" fmla="*/ 126 h 147"/>
                <a:gd name="T22" fmla="*/ 47 w 216"/>
                <a:gd name="T23" fmla="*/ 126 h 147"/>
                <a:gd name="T24" fmla="*/ 108 w 216"/>
                <a:gd name="T25" fmla="*/ 140 h 147"/>
                <a:gd name="T26" fmla="*/ 209 w 216"/>
                <a:gd name="T27" fmla="*/ 73 h 147"/>
                <a:gd name="T28" fmla="*/ 108 w 216"/>
                <a:gd name="T29" fmla="*/ 7 h 147"/>
                <a:gd name="T30" fmla="*/ 7 w 216"/>
                <a:gd name="T31" fmla="*/ 73 h 147"/>
                <a:gd name="T32" fmla="*/ 19 w 216"/>
                <a:gd name="T33" fmla="*/ 104 h 147"/>
                <a:gd name="T34" fmla="*/ 19 w 216"/>
                <a:gd name="T35" fmla="*/ 107 h 147"/>
                <a:gd name="T36" fmla="*/ 13 w 216"/>
                <a:gd name="T37" fmla="*/ 134 h 147"/>
                <a:gd name="T38" fmla="*/ 45 w 216"/>
                <a:gd name="T39" fmla="*/ 126 h 147"/>
                <a:gd name="T40" fmla="*/ 45 w 216"/>
                <a:gd name="T41" fmla="*/ 126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6" h="147">
                  <a:moveTo>
                    <a:pt x="108" y="147"/>
                  </a:moveTo>
                  <a:cubicBezTo>
                    <a:pt x="85" y="147"/>
                    <a:pt x="63" y="142"/>
                    <a:pt x="45" y="133"/>
                  </a:cubicBezTo>
                  <a:cubicBezTo>
                    <a:pt x="9" y="142"/>
                    <a:pt x="9" y="142"/>
                    <a:pt x="9" y="142"/>
                  </a:cubicBezTo>
                  <a:cubicBezTo>
                    <a:pt x="7" y="143"/>
                    <a:pt x="6" y="142"/>
                    <a:pt x="5" y="141"/>
                  </a:cubicBezTo>
                  <a:cubicBezTo>
                    <a:pt x="4" y="140"/>
                    <a:pt x="4" y="139"/>
                    <a:pt x="4" y="138"/>
                  </a:cubicBezTo>
                  <a:cubicBezTo>
                    <a:pt x="12" y="107"/>
                    <a:pt x="12" y="107"/>
                    <a:pt x="12" y="107"/>
                  </a:cubicBezTo>
                  <a:cubicBezTo>
                    <a:pt x="4" y="97"/>
                    <a:pt x="0" y="85"/>
                    <a:pt x="0" y="73"/>
                  </a:cubicBezTo>
                  <a:cubicBezTo>
                    <a:pt x="0" y="33"/>
                    <a:pt x="48" y="0"/>
                    <a:pt x="108" y="0"/>
                  </a:cubicBezTo>
                  <a:cubicBezTo>
                    <a:pt x="167" y="0"/>
                    <a:pt x="216" y="33"/>
                    <a:pt x="216" y="73"/>
                  </a:cubicBezTo>
                  <a:cubicBezTo>
                    <a:pt x="216" y="114"/>
                    <a:pt x="167" y="147"/>
                    <a:pt x="108" y="147"/>
                  </a:cubicBezTo>
                  <a:close/>
                  <a:moveTo>
                    <a:pt x="45" y="126"/>
                  </a:moveTo>
                  <a:cubicBezTo>
                    <a:pt x="46" y="126"/>
                    <a:pt x="47" y="126"/>
                    <a:pt x="47" y="126"/>
                  </a:cubicBezTo>
                  <a:cubicBezTo>
                    <a:pt x="65" y="135"/>
                    <a:pt x="86" y="140"/>
                    <a:pt x="108" y="140"/>
                  </a:cubicBezTo>
                  <a:cubicBezTo>
                    <a:pt x="163" y="140"/>
                    <a:pt x="209" y="110"/>
                    <a:pt x="209" y="73"/>
                  </a:cubicBezTo>
                  <a:cubicBezTo>
                    <a:pt x="209" y="37"/>
                    <a:pt x="163" y="7"/>
                    <a:pt x="108" y="7"/>
                  </a:cubicBezTo>
                  <a:cubicBezTo>
                    <a:pt x="52" y="7"/>
                    <a:pt x="7" y="37"/>
                    <a:pt x="7" y="73"/>
                  </a:cubicBezTo>
                  <a:cubicBezTo>
                    <a:pt x="7" y="84"/>
                    <a:pt x="11" y="95"/>
                    <a:pt x="19" y="104"/>
                  </a:cubicBezTo>
                  <a:cubicBezTo>
                    <a:pt x="19" y="105"/>
                    <a:pt x="20" y="106"/>
                    <a:pt x="19" y="107"/>
                  </a:cubicBezTo>
                  <a:cubicBezTo>
                    <a:pt x="13" y="134"/>
                    <a:pt x="13" y="134"/>
                    <a:pt x="13" y="134"/>
                  </a:cubicBezTo>
                  <a:cubicBezTo>
                    <a:pt x="45" y="126"/>
                    <a:pt x="45" y="126"/>
                    <a:pt x="45" y="126"/>
                  </a:cubicBezTo>
                  <a:cubicBezTo>
                    <a:pt x="45" y="126"/>
                    <a:pt x="45" y="126"/>
                    <a:pt x="45" y="12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9" name="Freeform 780">
              <a:extLst>
                <a:ext uri="{FF2B5EF4-FFF2-40B4-BE49-F238E27FC236}">
                  <a16:creationId xmlns:a16="http://schemas.microsoft.com/office/drawing/2014/main" id="{EA0ED602-3160-3517-46BB-868A43B161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164138" y="3695701"/>
              <a:ext cx="39688" cy="39688"/>
            </a:xfrm>
            <a:custGeom>
              <a:avLst/>
              <a:gdLst>
                <a:gd name="T0" fmla="*/ 17 w 33"/>
                <a:gd name="T1" fmla="*/ 33 h 33"/>
                <a:gd name="T2" fmla="*/ 0 w 33"/>
                <a:gd name="T3" fmla="*/ 16 h 33"/>
                <a:gd name="T4" fmla="*/ 17 w 33"/>
                <a:gd name="T5" fmla="*/ 0 h 33"/>
                <a:gd name="T6" fmla="*/ 33 w 33"/>
                <a:gd name="T7" fmla="*/ 16 h 33"/>
                <a:gd name="T8" fmla="*/ 17 w 33"/>
                <a:gd name="T9" fmla="*/ 33 h 33"/>
                <a:gd name="T10" fmla="*/ 17 w 33"/>
                <a:gd name="T11" fmla="*/ 7 h 33"/>
                <a:gd name="T12" fmla="*/ 8 w 33"/>
                <a:gd name="T13" fmla="*/ 16 h 33"/>
                <a:gd name="T14" fmla="*/ 17 w 33"/>
                <a:gd name="T15" fmla="*/ 26 h 33"/>
                <a:gd name="T16" fmla="*/ 26 w 33"/>
                <a:gd name="T17" fmla="*/ 16 h 33"/>
                <a:gd name="T18" fmla="*/ 17 w 33"/>
                <a:gd name="T19" fmla="*/ 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33">
                  <a:moveTo>
                    <a:pt x="17" y="33"/>
                  </a:moveTo>
                  <a:cubicBezTo>
                    <a:pt x="8" y="33"/>
                    <a:pt x="0" y="25"/>
                    <a:pt x="0" y="16"/>
                  </a:cubicBezTo>
                  <a:cubicBezTo>
                    <a:pt x="0" y="7"/>
                    <a:pt x="8" y="0"/>
                    <a:pt x="17" y="0"/>
                  </a:cubicBezTo>
                  <a:cubicBezTo>
                    <a:pt x="26" y="0"/>
                    <a:pt x="33" y="7"/>
                    <a:pt x="33" y="16"/>
                  </a:cubicBezTo>
                  <a:cubicBezTo>
                    <a:pt x="33" y="25"/>
                    <a:pt x="26" y="33"/>
                    <a:pt x="17" y="33"/>
                  </a:cubicBezTo>
                  <a:close/>
                  <a:moveTo>
                    <a:pt x="17" y="7"/>
                  </a:moveTo>
                  <a:cubicBezTo>
                    <a:pt x="12" y="7"/>
                    <a:pt x="8" y="11"/>
                    <a:pt x="8" y="16"/>
                  </a:cubicBezTo>
                  <a:cubicBezTo>
                    <a:pt x="8" y="21"/>
                    <a:pt x="12" y="26"/>
                    <a:pt x="17" y="26"/>
                  </a:cubicBezTo>
                  <a:cubicBezTo>
                    <a:pt x="22" y="26"/>
                    <a:pt x="26" y="21"/>
                    <a:pt x="26" y="16"/>
                  </a:cubicBezTo>
                  <a:cubicBezTo>
                    <a:pt x="26" y="11"/>
                    <a:pt x="22" y="7"/>
                    <a:pt x="17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0" name="Freeform 781">
              <a:extLst>
                <a:ext uri="{FF2B5EF4-FFF2-40B4-BE49-F238E27FC236}">
                  <a16:creationId xmlns:a16="http://schemas.microsoft.com/office/drawing/2014/main" id="{89F9ED59-DDD5-974A-AC1C-09DEEA73A5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222875" y="3695701"/>
              <a:ext cx="39688" cy="39688"/>
            </a:xfrm>
            <a:custGeom>
              <a:avLst/>
              <a:gdLst>
                <a:gd name="T0" fmla="*/ 17 w 33"/>
                <a:gd name="T1" fmla="*/ 33 h 33"/>
                <a:gd name="T2" fmla="*/ 0 w 33"/>
                <a:gd name="T3" fmla="*/ 16 h 33"/>
                <a:gd name="T4" fmla="*/ 17 w 33"/>
                <a:gd name="T5" fmla="*/ 0 h 33"/>
                <a:gd name="T6" fmla="*/ 33 w 33"/>
                <a:gd name="T7" fmla="*/ 16 h 33"/>
                <a:gd name="T8" fmla="*/ 17 w 33"/>
                <a:gd name="T9" fmla="*/ 33 h 33"/>
                <a:gd name="T10" fmla="*/ 17 w 33"/>
                <a:gd name="T11" fmla="*/ 7 h 33"/>
                <a:gd name="T12" fmla="*/ 8 w 33"/>
                <a:gd name="T13" fmla="*/ 16 h 33"/>
                <a:gd name="T14" fmla="*/ 17 w 33"/>
                <a:gd name="T15" fmla="*/ 26 h 33"/>
                <a:gd name="T16" fmla="*/ 26 w 33"/>
                <a:gd name="T17" fmla="*/ 16 h 33"/>
                <a:gd name="T18" fmla="*/ 17 w 33"/>
                <a:gd name="T19" fmla="*/ 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33">
                  <a:moveTo>
                    <a:pt x="17" y="33"/>
                  </a:moveTo>
                  <a:cubicBezTo>
                    <a:pt x="8" y="33"/>
                    <a:pt x="0" y="25"/>
                    <a:pt x="0" y="16"/>
                  </a:cubicBezTo>
                  <a:cubicBezTo>
                    <a:pt x="0" y="7"/>
                    <a:pt x="8" y="0"/>
                    <a:pt x="17" y="0"/>
                  </a:cubicBezTo>
                  <a:cubicBezTo>
                    <a:pt x="26" y="0"/>
                    <a:pt x="33" y="7"/>
                    <a:pt x="33" y="16"/>
                  </a:cubicBezTo>
                  <a:cubicBezTo>
                    <a:pt x="33" y="25"/>
                    <a:pt x="26" y="33"/>
                    <a:pt x="17" y="33"/>
                  </a:cubicBezTo>
                  <a:close/>
                  <a:moveTo>
                    <a:pt x="17" y="7"/>
                  </a:moveTo>
                  <a:cubicBezTo>
                    <a:pt x="12" y="7"/>
                    <a:pt x="8" y="11"/>
                    <a:pt x="8" y="16"/>
                  </a:cubicBezTo>
                  <a:cubicBezTo>
                    <a:pt x="8" y="21"/>
                    <a:pt x="12" y="26"/>
                    <a:pt x="17" y="26"/>
                  </a:cubicBezTo>
                  <a:cubicBezTo>
                    <a:pt x="22" y="26"/>
                    <a:pt x="26" y="21"/>
                    <a:pt x="26" y="16"/>
                  </a:cubicBezTo>
                  <a:cubicBezTo>
                    <a:pt x="26" y="11"/>
                    <a:pt x="22" y="7"/>
                    <a:pt x="17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1" name="Freeform 782">
              <a:extLst>
                <a:ext uri="{FF2B5EF4-FFF2-40B4-BE49-F238E27FC236}">
                  <a16:creationId xmlns:a16="http://schemas.microsoft.com/office/drawing/2014/main" id="{91811B97-206C-CE0B-C571-5397E4AC19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105400" y="3695701"/>
              <a:ext cx="39688" cy="39688"/>
            </a:xfrm>
            <a:custGeom>
              <a:avLst/>
              <a:gdLst>
                <a:gd name="T0" fmla="*/ 17 w 33"/>
                <a:gd name="T1" fmla="*/ 33 h 33"/>
                <a:gd name="T2" fmla="*/ 0 w 33"/>
                <a:gd name="T3" fmla="*/ 16 h 33"/>
                <a:gd name="T4" fmla="*/ 17 w 33"/>
                <a:gd name="T5" fmla="*/ 0 h 33"/>
                <a:gd name="T6" fmla="*/ 33 w 33"/>
                <a:gd name="T7" fmla="*/ 16 h 33"/>
                <a:gd name="T8" fmla="*/ 17 w 33"/>
                <a:gd name="T9" fmla="*/ 33 h 33"/>
                <a:gd name="T10" fmla="*/ 17 w 33"/>
                <a:gd name="T11" fmla="*/ 7 h 33"/>
                <a:gd name="T12" fmla="*/ 7 w 33"/>
                <a:gd name="T13" fmla="*/ 16 h 33"/>
                <a:gd name="T14" fmla="*/ 17 w 33"/>
                <a:gd name="T15" fmla="*/ 26 h 33"/>
                <a:gd name="T16" fmla="*/ 26 w 33"/>
                <a:gd name="T17" fmla="*/ 16 h 33"/>
                <a:gd name="T18" fmla="*/ 17 w 33"/>
                <a:gd name="T19" fmla="*/ 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33">
                  <a:moveTo>
                    <a:pt x="17" y="33"/>
                  </a:moveTo>
                  <a:cubicBezTo>
                    <a:pt x="8" y="33"/>
                    <a:pt x="0" y="25"/>
                    <a:pt x="0" y="16"/>
                  </a:cubicBezTo>
                  <a:cubicBezTo>
                    <a:pt x="0" y="7"/>
                    <a:pt x="8" y="0"/>
                    <a:pt x="17" y="0"/>
                  </a:cubicBezTo>
                  <a:cubicBezTo>
                    <a:pt x="26" y="0"/>
                    <a:pt x="33" y="7"/>
                    <a:pt x="33" y="16"/>
                  </a:cubicBezTo>
                  <a:cubicBezTo>
                    <a:pt x="33" y="25"/>
                    <a:pt x="26" y="33"/>
                    <a:pt x="17" y="33"/>
                  </a:cubicBezTo>
                  <a:close/>
                  <a:moveTo>
                    <a:pt x="17" y="7"/>
                  </a:moveTo>
                  <a:cubicBezTo>
                    <a:pt x="12" y="7"/>
                    <a:pt x="7" y="11"/>
                    <a:pt x="7" y="16"/>
                  </a:cubicBezTo>
                  <a:cubicBezTo>
                    <a:pt x="7" y="21"/>
                    <a:pt x="12" y="26"/>
                    <a:pt x="17" y="26"/>
                  </a:cubicBezTo>
                  <a:cubicBezTo>
                    <a:pt x="22" y="26"/>
                    <a:pt x="26" y="21"/>
                    <a:pt x="26" y="16"/>
                  </a:cubicBezTo>
                  <a:cubicBezTo>
                    <a:pt x="26" y="11"/>
                    <a:pt x="22" y="7"/>
                    <a:pt x="17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2" name="Shape15_20200717_142329">
            <a:extLst>
              <a:ext uri="{FF2B5EF4-FFF2-40B4-BE49-F238E27FC236}">
                <a16:creationId xmlns:a16="http://schemas.microsoft.com/office/drawing/2014/main" id="{4CD165C9-EC81-D0EA-E21F-8D9A985BF6BE}"/>
              </a:ext>
            </a:extLst>
          </p:cNvPr>
          <p:cNvGrpSpPr>
            <a:grpSpLocks noChangeAspect="1"/>
          </p:cNvGrpSpPr>
          <p:nvPr/>
        </p:nvGrpSpPr>
        <p:grpSpPr>
          <a:xfrm>
            <a:off x="1941230" y="1287122"/>
            <a:ext cx="476202" cy="472848"/>
            <a:chOff x="-6899275" y="2409826"/>
            <a:chExt cx="225425" cy="223837"/>
          </a:xfrm>
          <a:solidFill>
            <a:schemeClr val="accent1"/>
          </a:solidFill>
        </p:grpSpPr>
        <p:sp>
          <p:nvSpPr>
            <p:cNvPr id="104" name="Freeform 783">
              <a:extLst>
                <a:ext uri="{FF2B5EF4-FFF2-40B4-BE49-F238E27FC236}">
                  <a16:creationId xmlns:a16="http://schemas.microsoft.com/office/drawing/2014/main" id="{7A240118-5CE5-7DC1-2641-2EBA966FA77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899275" y="2409826"/>
              <a:ext cx="174625" cy="174625"/>
            </a:xfrm>
            <a:custGeom>
              <a:avLst/>
              <a:gdLst>
                <a:gd name="T0" fmla="*/ 73 w 146"/>
                <a:gd name="T1" fmla="*/ 146 h 146"/>
                <a:gd name="T2" fmla="*/ 0 w 146"/>
                <a:gd name="T3" fmla="*/ 73 h 146"/>
                <a:gd name="T4" fmla="*/ 73 w 146"/>
                <a:gd name="T5" fmla="*/ 0 h 146"/>
                <a:gd name="T6" fmla="*/ 146 w 146"/>
                <a:gd name="T7" fmla="*/ 73 h 146"/>
                <a:gd name="T8" fmla="*/ 73 w 146"/>
                <a:gd name="T9" fmla="*/ 146 h 146"/>
                <a:gd name="T10" fmla="*/ 73 w 146"/>
                <a:gd name="T11" fmla="*/ 7 h 146"/>
                <a:gd name="T12" fmla="*/ 7 w 146"/>
                <a:gd name="T13" fmla="*/ 73 h 146"/>
                <a:gd name="T14" fmla="*/ 73 w 146"/>
                <a:gd name="T15" fmla="*/ 139 h 146"/>
                <a:gd name="T16" fmla="*/ 139 w 146"/>
                <a:gd name="T17" fmla="*/ 73 h 146"/>
                <a:gd name="T18" fmla="*/ 73 w 146"/>
                <a:gd name="T19" fmla="*/ 7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6" h="146">
                  <a:moveTo>
                    <a:pt x="73" y="146"/>
                  </a:moveTo>
                  <a:cubicBezTo>
                    <a:pt x="32" y="146"/>
                    <a:pt x="0" y="114"/>
                    <a:pt x="0" y="73"/>
                  </a:cubicBezTo>
                  <a:cubicBezTo>
                    <a:pt x="0" y="33"/>
                    <a:pt x="32" y="0"/>
                    <a:pt x="73" y="0"/>
                  </a:cubicBezTo>
                  <a:cubicBezTo>
                    <a:pt x="113" y="0"/>
                    <a:pt x="146" y="33"/>
                    <a:pt x="146" y="73"/>
                  </a:cubicBezTo>
                  <a:cubicBezTo>
                    <a:pt x="146" y="114"/>
                    <a:pt x="113" y="146"/>
                    <a:pt x="73" y="146"/>
                  </a:cubicBezTo>
                  <a:close/>
                  <a:moveTo>
                    <a:pt x="73" y="7"/>
                  </a:moveTo>
                  <a:cubicBezTo>
                    <a:pt x="36" y="7"/>
                    <a:pt x="7" y="37"/>
                    <a:pt x="7" y="73"/>
                  </a:cubicBezTo>
                  <a:cubicBezTo>
                    <a:pt x="7" y="110"/>
                    <a:pt x="36" y="139"/>
                    <a:pt x="73" y="139"/>
                  </a:cubicBezTo>
                  <a:cubicBezTo>
                    <a:pt x="109" y="139"/>
                    <a:pt x="139" y="110"/>
                    <a:pt x="139" y="73"/>
                  </a:cubicBezTo>
                  <a:cubicBezTo>
                    <a:pt x="139" y="37"/>
                    <a:pt x="109" y="7"/>
                    <a:pt x="73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5" name="Freeform 784">
              <a:extLst>
                <a:ext uri="{FF2B5EF4-FFF2-40B4-BE49-F238E27FC236}">
                  <a16:creationId xmlns:a16="http://schemas.microsoft.com/office/drawing/2014/main" id="{77E1D43B-421C-15FC-C1FD-3719B79132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765925" y="2544763"/>
              <a:ext cx="92075" cy="88900"/>
            </a:xfrm>
            <a:custGeom>
              <a:avLst/>
              <a:gdLst>
                <a:gd name="T0" fmla="*/ 61 w 77"/>
                <a:gd name="T1" fmla="*/ 75 h 75"/>
                <a:gd name="T2" fmla="*/ 51 w 77"/>
                <a:gd name="T3" fmla="*/ 71 h 75"/>
                <a:gd name="T4" fmla="*/ 51 w 77"/>
                <a:gd name="T5" fmla="*/ 71 h 75"/>
                <a:gd name="T6" fmla="*/ 2 w 77"/>
                <a:gd name="T7" fmla="*/ 21 h 75"/>
                <a:gd name="T8" fmla="*/ 2 w 77"/>
                <a:gd name="T9" fmla="*/ 16 h 75"/>
                <a:gd name="T10" fmla="*/ 17 w 77"/>
                <a:gd name="T11" fmla="*/ 1 h 75"/>
                <a:gd name="T12" fmla="*/ 22 w 77"/>
                <a:gd name="T13" fmla="*/ 1 h 75"/>
                <a:gd name="T14" fmla="*/ 71 w 77"/>
                <a:gd name="T15" fmla="*/ 51 h 75"/>
                <a:gd name="T16" fmla="*/ 71 w 77"/>
                <a:gd name="T17" fmla="*/ 71 h 75"/>
                <a:gd name="T18" fmla="*/ 61 w 77"/>
                <a:gd name="T19" fmla="*/ 75 h 75"/>
                <a:gd name="T20" fmla="*/ 57 w 77"/>
                <a:gd name="T21" fmla="*/ 66 h 75"/>
                <a:gd name="T22" fmla="*/ 66 w 77"/>
                <a:gd name="T23" fmla="*/ 66 h 75"/>
                <a:gd name="T24" fmla="*/ 66 w 77"/>
                <a:gd name="T25" fmla="*/ 56 h 75"/>
                <a:gd name="T26" fmla="*/ 19 w 77"/>
                <a:gd name="T27" fmla="*/ 9 h 75"/>
                <a:gd name="T28" fmla="*/ 9 w 77"/>
                <a:gd name="T29" fmla="*/ 18 h 75"/>
                <a:gd name="T30" fmla="*/ 57 w 77"/>
                <a:gd name="T31" fmla="*/ 66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7" h="75">
                  <a:moveTo>
                    <a:pt x="61" y="75"/>
                  </a:moveTo>
                  <a:cubicBezTo>
                    <a:pt x="58" y="75"/>
                    <a:pt x="54" y="73"/>
                    <a:pt x="51" y="71"/>
                  </a:cubicBezTo>
                  <a:cubicBezTo>
                    <a:pt x="51" y="71"/>
                    <a:pt x="51" y="71"/>
                    <a:pt x="51" y="71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0" y="20"/>
                    <a:pt x="0" y="17"/>
                    <a:pt x="2" y="16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0"/>
                    <a:pt x="20" y="0"/>
                    <a:pt x="22" y="1"/>
                  </a:cubicBezTo>
                  <a:cubicBezTo>
                    <a:pt x="71" y="51"/>
                    <a:pt x="71" y="51"/>
                    <a:pt x="71" y="51"/>
                  </a:cubicBezTo>
                  <a:cubicBezTo>
                    <a:pt x="77" y="56"/>
                    <a:pt x="77" y="65"/>
                    <a:pt x="71" y="71"/>
                  </a:cubicBezTo>
                  <a:cubicBezTo>
                    <a:pt x="69" y="73"/>
                    <a:pt x="65" y="75"/>
                    <a:pt x="61" y="75"/>
                  </a:cubicBezTo>
                  <a:close/>
                  <a:moveTo>
                    <a:pt x="57" y="66"/>
                  </a:moveTo>
                  <a:cubicBezTo>
                    <a:pt x="59" y="68"/>
                    <a:pt x="64" y="68"/>
                    <a:pt x="66" y="66"/>
                  </a:cubicBezTo>
                  <a:cubicBezTo>
                    <a:pt x="69" y="63"/>
                    <a:pt x="69" y="59"/>
                    <a:pt x="66" y="56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57" y="66"/>
                    <a:pt x="57" y="66"/>
                    <a:pt x="57" y="6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6" name="Freeform 785">
              <a:extLst>
                <a:ext uri="{FF2B5EF4-FFF2-40B4-BE49-F238E27FC236}">
                  <a16:creationId xmlns:a16="http://schemas.microsoft.com/office/drawing/2014/main" id="{EC6551C8-3063-3312-F468-3C4360734EA9}"/>
                </a:ext>
              </a:extLst>
            </p:cNvPr>
            <p:cNvSpPr>
              <a:spLocks/>
            </p:cNvSpPr>
            <p:nvPr/>
          </p:nvSpPr>
          <p:spPr bwMode="auto">
            <a:xfrm>
              <a:off x="-6869113" y="2439988"/>
              <a:ext cx="60325" cy="61913"/>
            </a:xfrm>
            <a:custGeom>
              <a:avLst/>
              <a:gdLst>
                <a:gd name="T0" fmla="*/ 3 w 51"/>
                <a:gd name="T1" fmla="*/ 52 h 52"/>
                <a:gd name="T2" fmla="*/ 0 w 51"/>
                <a:gd name="T3" fmla="*/ 48 h 52"/>
                <a:gd name="T4" fmla="*/ 48 w 51"/>
                <a:gd name="T5" fmla="*/ 0 h 52"/>
                <a:gd name="T6" fmla="*/ 51 w 51"/>
                <a:gd name="T7" fmla="*/ 4 h 52"/>
                <a:gd name="T8" fmla="*/ 48 w 51"/>
                <a:gd name="T9" fmla="*/ 7 h 52"/>
                <a:gd name="T10" fmla="*/ 7 w 51"/>
                <a:gd name="T11" fmla="*/ 48 h 52"/>
                <a:gd name="T12" fmla="*/ 3 w 51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1" h="52">
                  <a:moveTo>
                    <a:pt x="3" y="52"/>
                  </a:moveTo>
                  <a:cubicBezTo>
                    <a:pt x="1" y="52"/>
                    <a:pt x="0" y="50"/>
                    <a:pt x="0" y="48"/>
                  </a:cubicBezTo>
                  <a:cubicBezTo>
                    <a:pt x="0" y="22"/>
                    <a:pt x="21" y="0"/>
                    <a:pt x="48" y="0"/>
                  </a:cubicBezTo>
                  <a:cubicBezTo>
                    <a:pt x="50" y="0"/>
                    <a:pt x="51" y="2"/>
                    <a:pt x="51" y="4"/>
                  </a:cubicBezTo>
                  <a:cubicBezTo>
                    <a:pt x="51" y="6"/>
                    <a:pt x="50" y="7"/>
                    <a:pt x="48" y="7"/>
                  </a:cubicBezTo>
                  <a:cubicBezTo>
                    <a:pt x="25" y="7"/>
                    <a:pt x="7" y="26"/>
                    <a:pt x="7" y="48"/>
                  </a:cubicBezTo>
                  <a:cubicBezTo>
                    <a:pt x="7" y="50"/>
                    <a:pt x="5" y="52"/>
                    <a:pt x="3" y="5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3" name="Shape16_20200717_142329">
            <a:extLst>
              <a:ext uri="{FF2B5EF4-FFF2-40B4-BE49-F238E27FC236}">
                <a16:creationId xmlns:a16="http://schemas.microsoft.com/office/drawing/2014/main" id="{6E38B60D-8814-04BB-52EE-B0EFBCD11BE5}"/>
              </a:ext>
            </a:extLst>
          </p:cNvPr>
          <p:cNvGrpSpPr>
            <a:grpSpLocks noChangeAspect="1"/>
          </p:cNvGrpSpPr>
          <p:nvPr/>
        </p:nvGrpSpPr>
        <p:grpSpPr>
          <a:xfrm>
            <a:off x="11014731" y="1297182"/>
            <a:ext cx="606988" cy="452728"/>
            <a:chOff x="-6370638" y="3024188"/>
            <a:chExt cx="287338" cy="214313"/>
          </a:xfrm>
          <a:solidFill>
            <a:schemeClr val="accent1"/>
          </a:solidFill>
        </p:grpSpPr>
        <p:sp>
          <p:nvSpPr>
            <p:cNvPr id="100" name="Freeform 786">
              <a:extLst>
                <a:ext uri="{FF2B5EF4-FFF2-40B4-BE49-F238E27FC236}">
                  <a16:creationId xmlns:a16="http://schemas.microsoft.com/office/drawing/2014/main" id="{6F9E0160-3056-B48A-8812-B8413C16F03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370638" y="3078163"/>
              <a:ext cx="125413" cy="96838"/>
            </a:xfrm>
            <a:custGeom>
              <a:avLst/>
              <a:gdLst>
                <a:gd name="T0" fmla="*/ 101 w 105"/>
                <a:gd name="T1" fmla="*/ 81 h 81"/>
                <a:gd name="T2" fmla="*/ 40 w 105"/>
                <a:gd name="T3" fmla="*/ 81 h 81"/>
                <a:gd name="T4" fmla="*/ 0 w 105"/>
                <a:gd name="T5" fmla="*/ 41 h 81"/>
                <a:gd name="T6" fmla="*/ 40 w 105"/>
                <a:gd name="T7" fmla="*/ 0 h 81"/>
                <a:gd name="T8" fmla="*/ 101 w 105"/>
                <a:gd name="T9" fmla="*/ 0 h 81"/>
                <a:gd name="T10" fmla="*/ 105 w 105"/>
                <a:gd name="T11" fmla="*/ 4 h 81"/>
                <a:gd name="T12" fmla="*/ 105 w 105"/>
                <a:gd name="T13" fmla="*/ 77 h 81"/>
                <a:gd name="T14" fmla="*/ 101 w 105"/>
                <a:gd name="T15" fmla="*/ 81 h 81"/>
                <a:gd name="T16" fmla="*/ 40 w 105"/>
                <a:gd name="T17" fmla="*/ 7 h 81"/>
                <a:gd name="T18" fmla="*/ 7 w 105"/>
                <a:gd name="T19" fmla="*/ 41 h 81"/>
                <a:gd name="T20" fmla="*/ 40 w 105"/>
                <a:gd name="T21" fmla="*/ 74 h 81"/>
                <a:gd name="T22" fmla="*/ 98 w 105"/>
                <a:gd name="T23" fmla="*/ 74 h 81"/>
                <a:gd name="T24" fmla="*/ 98 w 105"/>
                <a:gd name="T25" fmla="*/ 7 h 81"/>
                <a:gd name="T26" fmla="*/ 40 w 105"/>
                <a:gd name="T27" fmla="*/ 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5" h="81">
                  <a:moveTo>
                    <a:pt x="101" y="81"/>
                  </a:moveTo>
                  <a:cubicBezTo>
                    <a:pt x="40" y="81"/>
                    <a:pt x="40" y="81"/>
                    <a:pt x="40" y="81"/>
                  </a:cubicBezTo>
                  <a:cubicBezTo>
                    <a:pt x="18" y="81"/>
                    <a:pt x="0" y="63"/>
                    <a:pt x="0" y="41"/>
                  </a:cubicBezTo>
                  <a:cubicBezTo>
                    <a:pt x="0" y="18"/>
                    <a:pt x="18" y="0"/>
                    <a:pt x="40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3" y="0"/>
                    <a:pt x="105" y="2"/>
                    <a:pt x="105" y="4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105" y="79"/>
                    <a:pt x="103" y="81"/>
                    <a:pt x="101" y="81"/>
                  </a:cubicBezTo>
                  <a:close/>
                  <a:moveTo>
                    <a:pt x="40" y="7"/>
                  </a:moveTo>
                  <a:cubicBezTo>
                    <a:pt x="22" y="7"/>
                    <a:pt x="7" y="22"/>
                    <a:pt x="7" y="41"/>
                  </a:cubicBezTo>
                  <a:cubicBezTo>
                    <a:pt x="7" y="59"/>
                    <a:pt x="22" y="74"/>
                    <a:pt x="40" y="74"/>
                  </a:cubicBezTo>
                  <a:cubicBezTo>
                    <a:pt x="98" y="74"/>
                    <a:pt x="98" y="74"/>
                    <a:pt x="98" y="74"/>
                  </a:cubicBezTo>
                  <a:cubicBezTo>
                    <a:pt x="98" y="7"/>
                    <a:pt x="98" y="7"/>
                    <a:pt x="98" y="7"/>
                  </a:cubicBezTo>
                  <a:lnTo>
                    <a:pt x="40" y="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1" name="Freeform 787">
              <a:extLst>
                <a:ext uri="{FF2B5EF4-FFF2-40B4-BE49-F238E27FC236}">
                  <a16:creationId xmlns:a16="http://schemas.microsoft.com/office/drawing/2014/main" id="{2F582F56-CB91-B4EB-7E71-C43C81040B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254750" y="3024188"/>
              <a:ext cx="141288" cy="204788"/>
            </a:xfrm>
            <a:custGeom>
              <a:avLst/>
              <a:gdLst>
                <a:gd name="T0" fmla="*/ 114 w 117"/>
                <a:gd name="T1" fmla="*/ 171 h 171"/>
                <a:gd name="T2" fmla="*/ 112 w 117"/>
                <a:gd name="T3" fmla="*/ 170 h 171"/>
                <a:gd name="T4" fmla="*/ 99 w 117"/>
                <a:gd name="T5" fmla="*/ 160 h 171"/>
                <a:gd name="T6" fmla="*/ 3 w 117"/>
                <a:gd name="T7" fmla="*/ 126 h 171"/>
                <a:gd name="T8" fmla="*/ 0 w 117"/>
                <a:gd name="T9" fmla="*/ 122 h 171"/>
                <a:gd name="T10" fmla="*/ 0 w 117"/>
                <a:gd name="T11" fmla="*/ 49 h 171"/>
                <a:gd name="T12" fmla="*/ 3 w 117"/>
                <a:gd name="T13" fmla="*/ 45 h 171"/>
                <a:gd name="T14" fmla="*/ 99 w 117"/>
                <a:gd name="T15" fmla="*/ 11 h 171"/>
                <a:gd name="T16" fmla="*/ 112 w 117"/>
                <a:gd name="T17" fmla="*/ 1 h 171"/>
                <a:gd name="T18" fmla="*/ 115 w 117"/>
                <a:gd name="T19" fmla="*/ 1 h 171"/>
                <a:gd name="T20" fmla="*/ 117 w 117"/>
                <a:gd name="T21" fmla="*/ 4 h 171"/>
                <a:gd name="T22" fmla="*/ 117 w 117"/>
                <a:gd name="T23" fmla="*/ 167 h 171"/>
                <a:gd name="T24" fmla="*/ 115 w 117"/>
                <a:gd name="T25" fmla="*/ 170 h 171"/>
                <a:gd name="T26" fmla="*/ 114 w 117"/>
                <a:gd name="T27" fmla="*/ 171 h 171"/>
                <a:gd name="T28" fmla="*/ 7 w 117"/>
                <a:gd name="T29" fmla="*/ 119 h 171"/>
                <a:gd name="T30" fmla="*/ 104 w 117"/>
                <a:gd name="T31" fmla="*/ 154 h 171"/>
                <a:gd name="T32" fmla="*/ 110 w 117"/>
                <a:gd name="T33" fmla="*/ 159 h 171"/>
                <a:gd name="T34" fmla="*/ 110 w 117"/>
                <a:gd name="T35" fmla="*/ 12 h 171"/>
                <a:gd name="T36" fmla="*/ 104 w 117"/>
                <a:gd name="T37" fmla="*/ 17 h 171"/>
                <a:gd name="T38" fmla="*/ 7 w 117"/>
                <a:gd name="T39" fmla="*/ 52 h 171"/>
                <a:gd name="T40" fmla="*/ 7 w 117"/>
                <a:gd name="T41" fmla="*/ 119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7" h="171">
                  <a:moveTo>
                    <a:pt x="114" y="171"/>
                  </a:moveTo>
                  <a:cubicBezTo>
                    <a:pt x="113" y="171"/>
                    <a:pt x="112" y="170"/>
                    <a:pt x="112" y="170"/>
                  </a:cubicBezTo>
                  <a:cubicBezTo>
                    <a:pt x="99" y="160"/>
                    <a:pt x="99" y="160"/>
                    <a:pt x="99" y="160"/>
                  </a:cubicBezTo>
                  <a:cubicBezTo>
                    <a:pt x="72" y="138"/>
                    <a:pt x="38" y="126"/>
                    <a:pt x="3" y="126"/>
                  </a:cubicBezTo>
                  <a:cubicBezTo>
                    <a:pt x="1" y="126"/>
                    <a:pt x="0" y="124"/>
                    <a:pt x="0" y="122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7"/>
                    <a:pt x="1" y="45"/>
                    <a:pt x="3" y="45"/>
                  </a:cubicBezTo>
                  <a:cubicBezTo>
                    <a:pt x="38" y="45"/>
                    <a:pt x="72" y="33"/>
                    <a:pt x="99" y="11"/>
                  </a:cubicBezTo>
                  <a:cubicBezTo>
                    <a:pt x="112" y="1"/>
                    <a:pt x="112" y="1"/>
                    <a:pt x="112" y="1"/>
                  </a:cubicBezTo>
                  <a:cubicBezTo>
                    <a:pt x="113" y="1"/>
                    <a:pt x="114" y="0"/>
                    <a:pt x="115" y="1"/>
                  </a:cubicBezTo>
                  <a:cubicBezTo>
                    <a:pt x="117" y="2"/>
                    <a:pt x="117" y="3"/>
                    <a:pt x="117" y="4"/>
                  </a:cubicBezTo>
                  <a:cubicBezTo>
                    <a:pt x="117" y="167"/>
                    <a:pt x="117" y="167"/>
                    <a:pt x="117" y="167"/>
                  </a:cubicBezTo>
                  <a:cubicBezTo>
                    <a:pt x="117" y="168"/>
                    <a:pt x="117" y="170"/>
                    <a:pt x="115" y="170"/>
                  </a:cubicBezTo>
                  <a:cubicBezTo>
                    <a:pt x="115" y="170"/>
                    <a:pt x="114" y="171"/>
                    <a:pt x="114" y="171"/>
                  </a:cubicBezTo>
                  <a:close/>
                  <a:moveTo>
                    <a:pt x="7" y="119"/>
                  </a:moveTo>
                  <a:cubicBezTo>
                    <a:pt x="42" y="120"/>
                    <a:pt x="76" y="132"/>
                    <a:pt x="104" y="154"/>
                  </a:cubicBezTo>
                  <a:cubicBezTo>
                    <a:pt x="110" y="159"/>
                    <a:pt x="110" y="159"/>
                    <a:pt x="110" y="159"/>
                  </a:cubicBezTo>
                  <a:cubicBezTo>
                    <a:pt x="110" y="12"/>
                    <a:pt x="110" y="12"/>
                    <a:pt x="110" y="12"/>
                  </a:cubicBezTo>
                  <a:cubicBezTo>
                    <a:pt x="104" y="17"/>
                    <a:pt x="104" y="17"/>
                    <a:pt x="104" y="17"/>
                  </a:cubicBezTo>
                  <a:cubicBezTo>
                    <a:pt x="76" y="39"/>
                    <a:pt x="42" y="52"/>
                    <a:pt x="7" y="52"/>
                  </a:cubicBezTo>
                  <a:lnTo>
                    <a:pt x="7" y="11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2" name="Freeform 788">
              <a:extLst>
                <a:ext uri="{FF2B5EF4-FFF2-40B4-BE49-F238E27FC236}">
                  <a16:creationId xmlns:a16="http://schemas.microsoft.com/office/drawing/2014/main" id="{C9B6C9A5-A7EC-40AF-D4C7-FA10DCB9637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327775" y="3165476"/>
              <a:ext cx="60325" cy="73025"/>
            </a:xfrm>
            <a:custGeom>
              <a:avLst/>
              <a:gdLst>
                <a:gd name="T0" fmla="*/ 16 w 50"/>
                <a:gd name="T1" fmla="*/ 60 h 60"/>
                <a:gd name="T2" fmla="*/ 3 w 50"/>
                <a:gd name="T3" fmla="*/ 53 h 60"/>
                <a:gd name="T4" fmla="*/ 2 w 50"/>
                <a:gd name="T5" fmla="*/ 38 h 60"/>
                <a:gd name="T6" fmla="*/ 17 w 50"/>
                <a:gd name="T7" fmla="*/ 2 h 60"/>
                <a:gd name="T8" fmla="*/ 20 w 50"/>
                <a:gd name="T9" fmla="*/ 0 h 60"/>
                <a:gd name="T10" fmla="*/ 47 w 50"/>
                <a:gd name="T11" fmla="*/ 0 h 60"/>
                <a:gd name="T12" fmla="*/ 50 w 50"/>
                <a:gd name="T13" fmla="*/ 1 h 60"/>
                <a:gd name="T14" fmla="*/ 50 w 50"/>
                <a:gd name="T15" fmla="*/ 5 h 60"/>
                <a:gd name="T16" fmla="*/ 31 w 50"/>
                <a:gd name="T17" fmla="*/ 50 h 60"/>
                <a:gd name="T18" fmla="*/ 16 w 50"/>
                <a:gd name="T19" fmla="*/ 60 h 60"/>
                <a:gd name="T20" fmla="*/ 22 w 50"/>
                <a:gd name="T21" fmla="*/ 7 h 60"/>
                <a:gd name="T22" fmla="*/ 8 w 50"/>
                <a:gd name="T23" fmla="*/ 41 h 60"/>
                <a:gd name="T24" fmla="*/ 9 w 50"/>
                <a:gd name="T25" fmla="*/ 49 h 60"/>
                <a:gd name="T26" fmla="*/ 16 w 50"/>
                <a:gd name="T27" fmla="*/ 53 h 60"/>
                <a:gd name="T28" fmla="*/ 24 w 50"/>
                <a:gd name="T29" fmla="*/ 48 h 60"/>
                <a:gd name="T30" fmla="*/ 41 w 50"/>
                <a:gd name="T31" fmla="*/ 7 h 60"/>
                <a:gd name="T32" fmla="*/ 22 w 50"/>
                <a:gd name="T33" fmla="*/ 7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0" h="60">
                  <a:moveTo>
                    <a:pt x="16" y="60"/>
                  </a:moveTo>
                  <a:cubicBezTo>
                    <a:pt x="11" y="60"/>
                    <a:pt x="6" y="58"/>
                    <a:pt x="3" y="53"/>
                  </a:cubicBezTo>
                  <a:cubicBezTo>
                    <a:pt x="0" y="49"/>
                    <a:pt x="0" y="43"/>
                    <a:pt x="2" y="38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1"/>
                    <a:pt x="19" y="0"/>
                    <a:pt x="20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8" y="0"/>
                    <a:pt x="49" y="0"/>
                    <a:pt x="50" y="1"/>
                  </a:cubicBezTo>
                  <a:cubicBezTo>
                    <a:pt x="50" y="2"/>
                    <a:pt x="50" y="4"/>
                    <a:pt x="50" y="5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29" y="56"/>
                    <a:pt x="23" y="60"/>
                    <a:pt x="16" y="60"/>
                  </a:cubicBezTo>
                  <a:close/>
                  <a:moveTo>
                    <a:pt x="22" y="7"/>
                  </a:moveTo>
                  <a:cubicBezTo>
                    <a:pt x="8" y="41"/>
                    <a:pt x="8" y="41"/>
                    <a:pt x="8" y="41"/>
                  </a:cubicBezTo>
                  <a:cubicBezTo>
                    <a:pt x="7" y="44"/>
                    <a:pt x="8" y="47"/>
                    <a:pt x="9" y="49"/>
                  </a:cubicBezTo>
                  <a:cubicBezTo>
                    <a:pt x="11" y="52"/>
                    <a:pt x="13" y="53"/>
                    <a:pt x="16" y="53"/>
                  </a:cubicBezTo>
                  <a:cubicBezTo>
                    <a:pt x="20" y="53"/>
                    <a:pt x="23" y="51"/>
                    <a:pt x="24" y="48"/>
                  </a:cubicBezTo>
                  <a:cubicBezTo>
                    <a:pt x="41" y="7"/>
                    <a:pt x="41" y="7"/>
                    <a:pt x="41" y="7"/>
                  </a:cubicBezTo>
                  <a:lnTo>
                    <a:pt x="22" y="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3" name="Freeform 789">
              <a:extLst>
                <a:ext uri="{FF2B5EF4-FFF2-40B4-BE49-F238E27FC236}">
                  <a16:creationId xmlns:a16="http://schemas.microsoft.com/office/drawing/2014/main" id="{248C896E-37F1-7414-2886-9EC80F63B6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122988" y="3089276"/>
              <a:ext cx="39688" cy="73025"/>
            </a:xfrm>
            <a:custGeom>
              <a:avLst/>
              <a:gdLst>
                <a:gd name="T0" fmla="*/ 4 w 33"/>
                <a:gd name="T1" fmla="*/ 61 h 61"/>
                <a:gd name="T2" fmla="*/ 0 w 33"/>
                <a:gd name="T3" fmla="*/ 58 h 61"/>
                <a:gd name="T4" fmla="*/ 0 w 33"/>
                <a:gd name="T5" fmla="*/ 3 h 61"/>
                <a:gd name="T6" fmla="*/ 4 w 33"/>
                <a:gd name="T7" fmla="*/ 0 h 61"/>
                <a:gd name="T8" fmla="*/ 33 w 33"/>
                <a:gd name="T9" fmla="*/ 29 h 61"/>
                <a:gd name="T10" fmla="*/ 33 w 33"/>
                <a:gd name="T11" fmla="*/ 32 h 61"/>
                <a:gd name="T12" fmla="*/ 4 w 33"/>
                <a:gd name="T13" fmla="*/ 61 h 61"/>
                <a:gd name="T14" fmla="*/ 7 w 33"/>
                <a:gd name="T15" fmla="*/ 7 h 61"/>
                <a:gd name="T16" fmla="*/ 7 w 33"/>
                <a:gd name="T17" fmla="*/ 54 h 61"/>
                <a:gd name="T18" fmla="*/ 26 w 33"/>
                <a:gd name="T19" fmla="*/ 32 h 61"/>
                <a:gd name="T20" fmla="*/ 26 w 33"/>
                <a:gd name="T21" fmla="*/ 29 h 61"/>
                <a:gd name="T22" fmla="*/ 7 w 33"/>
                <a:gd name="T23" fmla="*/ 7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61">
                  <a:moveTo>
                    <a:pt x="4" y="61"/>
                  </a:moveTo>
                  <a:cubicBezTo>
                    <a:pt x="2" y="61"/>
                    <a:pt x="0" y="60"/>
                    <a:pt x="0" y="5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0" y="0"/>
                    <a:pt x="33" y="13"/>
                    <a:pt x="33" y="29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48"/>
                    <a:pt x="20" y="61"/>
                    <a:pt x="4" y="61"/>
                  </a:cubicBezTo>
                  <a:close/>
                  <a:moveTo>
                    <a:pt x="7" y="7"/>
                  </a:moveTo>
                  <a:cubicBezTo>
                    <a:pt x="7" y="54"/>
                    <a:pt x="7" y="54"/>
                    <a:pt x="7" y="54"/>
                  </a:cubicBezTo>
                  <a:cubicBezTo>
                    <a:pt x="18" y="52"/>
                    <a:pt x="26" y="43"/>
                    <a:pt x="26" y="32"/>
                  </a:cubicBezTo>
                  <a:cubicBezTo>
                    <a:pt x="26" y="29"/>
                    <a:pt x="26" y="29"/>
                    <a:pt x="26" y="29"/>
                  </a:cubicBezTo>
                  <a:cubicBezTo>
                    <a:pt x="26" y="18"/>
                    <a:pt x="18" y="9"/>
                    <a:pt x="7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4" name="Shape18_20200717_142329">
            <a:extLst>
              <a:ext uri="{FF2B5EF4-FFF2-40B4-BE49-F238E27FC236}">
                <a16:creationId xmlns:a16="http://schemas.microsoft.com/office/drawing/2014/main" id="{5589056D-52EE-5C5A-92F4-A143D79100A5}"/>
              </a:ext>
            </a:extLst>
          </p:cNvPr>
          <p:cNvGrpSpPr>
            <a:grpSpLocks noChangeAspect="1"/>
          </p:cNvGrpSpPr>
          <p:nvPr/>
        </p:nvGrpSpPr>
        <p:grpSpPr>
          <a:xfrm>
            <a:off x="7153394" y="1275384"/>
            <a:ext cx="496322" cy="496322"/>
            <a:chOff x="-4664075" y="2405063"/>
            <a:chExt cx="234950" cy="234950"/>
          </a:xfrm>
          <a:solidFill>
            <a:schemeClr val="accent1"/>
          </a:solidFill>
        </p:grpSpPr>
        <p:sp>
          <p:nvSpPr>
            <p:cNvPr id="98" name="Freeform 794">
              <a:extLst>
                <a:ext uri="{FF2B5EF4-FFF2-40B4-BE49-F238E27FC236}">
                  <a16:creationId xmlns:a16="http://schemas.microsoft.com/office/drawing/2014/main" id="{E78491FE-E069-5E8D-B7ED-4EE7AAB6A2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651375" y="2417763"/>
              <a:ext cx="222250" cy="222250"/>
            </a:xfrm>
            <a:custGeom>
              <a:avLst/>
              <a:gdLst>
                <a:gd name="T0" fmla="*/ 129 w 185"/>
                <a:gd name="T1" fmla="*/ 186 h 186"/>
                <a:gd name="T2" fmla="*/ 118 w 185"/>
                <a:gd name="T3" fmla="*/ 181 h 186"/>
                <a:gd name="T4" fmla="*/ 6 w 185"/>
                <a:gd name="T5" fmla="*/ 69 h 186"/>
                <a:gd name="T6" fmla="*/ 2 w 185"/>
                <a:gd name="T7" fmla="*/ 53 h 186"/>
                <a:gd name="T8" fmla="*/ 14 w 185"/>
                <a:gd name="T9" fmla="*/ 17 h 186"/>
                <a:gd name="T10" fmla="*/ 16 w 185"/>
                <a:gd name="T11" fmla="*/ 14 h 186"/>
                <a:gd name="T12" fmla="*/ 53 w 185"/>
                <a:gd name="T13" fmla="*/ 2 h 186"/>
                <a:gd name="T14" fmla="*/ 69 w 185"/>
                <a:gd name="T15" fmla="*/ 6 h 186"/>
                <a:gd name="T16" fmla="*/ 181 w 185"/>
                <a:gd name="T17" fmla="*/ 118 h 186"/>
                <a:gd name="T18" fmla="*/ 185 w 185"/>
                <a:gd name="T19" fmla="*/ 129 h 186"/>
                <a:gd name="T20" fmla="*/ 181 w 185"/>
                <a:gd name="T21" fmla="*/ 140 h 186"/>
                <a:gd name="T22" fmla="*/ 140 w 185"/>
                <a:gd name="T23" fmla="*/ 181 h 186"/>
                <a:gd name="T24" fmla="*/ 129 w 185"/>
                <a:gd name="T25" fmla="*/ 186 h 186"/>
                <a:gd name="T26" fmla="*/ 20 w 185"/>
                <a:gd name="T27" fmla="*/ 21 h 186"/>
                <a:gd name="T28" fmla="*/ 9 w 185"/>
                <a:gd name="T29" fmla="*/ 56 h 186"/>
                <a:gd name="T30" fmla="*/ 11 w 185"/>
                <a:gd name="T31" fmla="*/ 64 h 186"/>
                <a:gd name="T32" fmla="*/ 123 w 185"/>
                <a:gd name="T33" fmla="*/ 176 h 186"/>
                <a:gd name="T34" fmla="*/ 134 w 185"/>
                <a:gd name="T35" fmla="*/ 176 h 186"/>
                <a:gd name="T36" fmla="*/ 176 w 185"/>
                <a:gd name="T37" fmla="*/ 135 h 186"/>
                <a:gd name="T38" fmla="*/ 176 w 185"/>
                <a:gd name="T39" fmla="*/ 123 h 186"/>
                <a:gd name="T40" fmla="*/ 64 w 185"/>
                <a:gd name="T41" fmla="*/ 11 h 186"/>
                <a:gd name="T42" fmla="*/ 64 w 185"/>
                <a:gd name="T43" fmla="*/ 11 h 186"/>
                <a:gd name="T44" fmla="*/ 55 w 185"/>
                <a:gd name="T45" fmla="*/ 9 h 186"/>
                <a:gd name="T46" fmla="*/ 20 w 185"/>
                <a:gd name="T47" fmla="*/ 21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85" h="186">
                  <a:moveTo>
                    <a:pt x="129" y="186"/>
                  </a:moveTo>
                  <a:cubicBezTo>
                    <a:pt x="124" y="186"/>
                    <a:pt x="120" y="184"/>
                    <a:pt x="118" y="181"/>
                  </a:cubicBezTo>
                  <a:cubicBezTo>
                    <a:pt x="6" y="69"/>
                    <a:pt x="6" y="69"/>
                    <a:pt x="6" y="69"/>
                  </a:cubicBezTo>
                  <a:cubicBezTo>
                    <a:pt x="2" y="65"/>
                    <a:pt x="0" y="59"/>
                    <a:pt x="2" y="53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15" y="16"/>
                    <a:pt x="15" y="15"/>
                    <a:pt x="16" y="14"/>
                  </a:cubicBezTo>
                  <a:cubicBezTo>
                    <a:pt x="53" y="2"/>
                    <a:pt x="53" y="2"/>
                    <a:pt x="53" y="2"/>
                  </a:cubicBezTo>
                  <a:cubicBezTo>
                    <a:pt x="59" y="0"/>
                    <a:pt x="65" y="2"/>
                    <a:pt x="69" y="6"/>
                  </a:cubicBezTo>
                  <a:cubicBezTo>
                    <a:pt x="181" y="118"/>
                    <a:pt x="181" y="118"/>
                    <a:pt x="181" y="118"/>
                  </a:cubicBezTo>
                  <a:cubicBezTo>
                    <a:pt x="184" y="121"/>
                    <a:pt x="185" y="125"/>
                    <a:pt x="185" y="129"/>
                  </a:cubicBezTo>
                  <a:cubicBezTo>
                    <a:pt x="185" y="133"/>
                    <a:pt x="184" y="137"/>
                    <a:pt x="181" y="140"/>
                  </a:cubicBezTo>
                  <a:cubicBezTo>
                    <a:pt x="140" y="181"/>
                    <a:pt x="140" y="181"/>
                    <a:pt x="140" y="181"/>
                  </a:cubicBezTo>
                  <a:cubicBezTo>
                    <a:pt x="137" y="184"/>
                    <a:pt x="133" y="186"/>
                    <a:pt x="129" y="186"/>
                  </a:cubicBezTo>
                  <a:close/>
                  <a:moveTo>
                    <a:pt x="20" y="21"/>
                  </a:moveTo>
                  <a:cubicBezTo>
                    <a:pt x="9" y="56"/>
                    <a:pt x="9" y="56"/>
                    <a:pt x="9" y="56"/>
                  </a:cubicBezTo>
                  <a:cubicBezTo>
                    <a:pt x="8" y="59"/>
                    <a:pt x="9" y="62"/>
                    <a:pt x="11" y="64"/>
                  </a:cubicBezTo>
                  <a:cubicBezTo>
                    <a:pt x="123" y="176"/>
                    <a:pt x="123" y="176"/>
                    <a:pt x="123" y="176"/>
                  </a:cubicBezTo>
                  <a:cubicBezTo>
                    <a:pt x="126" y="179"/>
                    <a:pt x="131" y="179"/>
                    <a:pt x="134" y="176"/>
                  </a:cubicBezTo>
                  <a:cubicBezTo>
                    <a:pt x="176" y="135"/>
                    <a:pt x="176" y="135"/>
                    <a:pt x="176" y="135"/>
                  </a:cubicBezTo>
                  <a:cubicBezTo>
                    <a:pt x="179" y="131"/>
                    <a:pt x="179" y="126"/>
                    <a:pt x="176" y="123"/>
                  </a:cubicBezTo>
                  <a:cubicBezTo>
                    <a:pt x="64" y="11"/>
                    <a:pt x="64" y="11"/>
                    <a:pt x="64" y="11"/>
                  </a:cubicBezTo>
                  <a:cubicBezTo>
                    <a:pt x="64" y="11"/>
                    <a:pt x="64" y="11"/>
                    <a:pt x="64" y="11"/>
                  </a:cubicBezTo>
                  <a:cubicBezTo>
                    <a:pt x="62" y="9"/>
                    <a:pt x="58" y="8"/>
                    <a:pt x="55" y="9"/>
                  </a:cubicBezTo>
                  <a:lnTo>
                    <a:pt x="20" y="2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9" name="Freeform 795">
              <a:extLst>
                <a:ext uri="{FF2B5EF4-FFF2-40B4-BE49-F238E27FC236}">
                  <a16:creationId xmlns:a16="http://schemas.microsoft.com/office/drawing/2014/main" id="{124DDB40-4A2B-5B8D-7FA9-3D16EF23A94D}"/>
                </a:ext>
              </a:extLst>
            </p:cNvPr>
            <p:cNvSpPr>
              <a:spLocks/>
            </p:cNvSpPr>
            <p:nvPr/>
          </p:nvSpPr>
          <p:spPr bwMode="auto">
            <a:xfrm>
              <a:off x="-4664075" y="2405063"/>
              <a:ext cx="66675" cy="68263"/>
            </a:xfrm>
            <a:custGeom>
              <a:avLst/>
              <a:gdLst>
                <a:gd name="T0" fmla="*/ 29 w 56"/>
                <a:gd name="T1" fmla="*/ 57 h 57"/>
                <a:gd name="T2" fmla="*/ 8 w 56"/>
                <a:gd name="T3" fmla="*/ 49 h 57"/>
                <a:gd name="T4" fmla="*/ 0 w 56"/>
                <a:gd name="T5" fmla="*/ 29 h 57"/>
                <a:gd name="T6" fmla="*/ 8 w 56"/>
                <a:gd name="T7" fmla="*/ 9 h 57"/>
                <a:gd name="T8" fmla="*/ 29 w 56"/>
                <a:gd name="T9" fmla="*/ 0 h 57"/>
                <a:gd name="T10" fmla="*/ 49 w 56"/>
                <a:gd name="T11" fmla="*/ 9 h 57"/>
                <a:gd name="T12" fmla="*/ 55 w 56"/>
                <a:gd name="T13" fmla="*/ 18 h 57"/>
                <a:gd name="T14" fmla="*/ 53 w 56"/>
                <a:gd name="T15" fmla="*/ 22 h 57"/>
                <a:gd name="T16" fmla="*/ 48 w 56"/>
                <a:gd name="T17" fmla="*/ 20 h 57"/>
                <a:gd name="T18" fmla="*/ 44 w 56"/>
                <a:gd name="T19" fmla="*/ 14 h 57"/>
                <a:gd name="T20" fmla="*/ 29 w 56"/>
                <a:gd name="T21" fmla="*/ 7 h 57"/>
                <a:gd name="T22" fmla="*/ 13 w 56"/>
                <a:gd name="T23" fmla="*/ 14 h 57"/>
                <a:gd name="T24" fmla="*/ 7 w 56"/>
                <a:gd name="T25" fmla="*/ 29 h 57"/>
                <a:gd name="T26" fmla="*/ 13 w 56"/>
                <a:gd name="T27" fmla="*/ 44 h 57"/>
                <a:gd name="T28" fmla="*/ 29 w 56"/>
                <a:gd name="T29" fmla="*/ 50 h 57"/>
                <a:gd name="T30" fmla="*/ 44 w 56"/>
                <a:gd name="T31" fmla="*/ 44 h 57"/>
                <a:gd name="T32" fmla="*/ 49 w 56"/>
                <a:gd name="T33" fmla="*/ 44 h 57"/>
                <a:gd name="T34" fmla="*/ 49 w 56"/>
                <a:gd name="T35" fmla="*/ 49 h 57"/>
                <a:gd name="T36" fmla="*/ 29 w 56"/>
                <a:gd name="T3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6" h="57">
                  <a:moveTo>
                    <a:pt x="29" y="57"/>
                  </a:moveTo>
                  <a:cubicBezTo>
                    <a:pt x="21" y="57"/>
                    <a:pt x="14" y="54"/>
                    <a:pt x="8" y="49"/>
                  </a:cubicBezTo>
                  <a:cubicBezTo>
                    <a:pt x="3" y="44"/>
                    <a:pt x="0" y="36"/>
                    <a:pt x="0" y="29"/>
                  </a:cubicBezTo>
                  <a:cubicBezTo>
                    <a:pt x="0" y="21"/>
                    <a:pt x="3" y="14"/>
                    <a:pt x="8" y="9"/>
                  </a:cubicBezTo>
                  <a:cubicBezTo>
                    <a:pt x="14" y="3"/>
                    <a:pt x="21" y="0"/>
                    <a:pt x="29" y="0"/>
                  </a:cubicBezTo>
                  <a:cubicBezTo>
                    <a:pt x="36" y="0"/>
                    <a:pt x="43" y="3"/>
                    <a:pt x="49" y="9"/>
                  </a:cubicBezTo>
                  <a:cubicBezTo>
                    <a:pt x="51" y="11"/>
                    <a:pt x="53" y="14"/>
                    <a:pt x="55" y="18"/>
                  </a:cubicBezTo>
                  <a:cubicBezTo>
                    <a:pt x="56" y="19"/>
                    <a:pt x="55" y="22"/>
                    <a:pt x="53" y="22"/>
                  </a:cubicBezTo>
                  <a:cubicBezTo>
                    <a:pt x="51" y="23"/>
                    <a:pt x="49" y="22"/>
                    <a:pt x="48" y="20"/>
                  </a:cubicBezTo>
                  <a:cubicBezTo>
                    <a:pt x="47" y="18"/>
                    <a:pt x="46" y="16"/>
                    <a:pt x="44" y="14"/>
                  </a:cubicBezTo>
                  <a:cubicBezTo>
                    <a:pt x="40" y="10"/>
                    <a:pt x="34" y="7"/>
                    <a:pt x="29" y="7"/>
                  </a:cubicBezTo>
                  <a:cubicBezTo>
                    <a:pt x="23" y="7"/>
                    <a:pt x="18" y="10"/>
                    <a:pt x="13" y="14"/>
                  </a:cubicBezTo>
                  <a:cubicBezTo>
                    <a:pt x="9" y="18"/>
                    <a:pt x="7" y="23"/>
                    <a:pt x="7" y="29"/>
                  </a:cubicBezTo>
                  <a:cubicBezTo>
                    <a:pt x="7" y="34"/>
                    <a:pt x="9" y="40"/>
                    <a:pt x="13" y="44"/>
                  </a:cubicBezTo>
                  <a:cubicBezTo>
                    <a:pt x="18" y="48"/>
                    <a:pt x="23" y="50"/>
                    <a:pt x="29" y="50"/>
                  </a:cubicBezTo>
                  <a:cubicBezTo>
                    <a:pt x="34" y="50"/>
                    <a:pt x="40" y="48"/>
                    <a:pt x="44" y="44"/>
                  </a:cubicBezTo>
                  <a:cubicBezTo>
                    <a:pt x="45" y="42"/>
                    <a:pt x="47" y="42"/>
                    <a:pt x="49" y="44"/>
                  </a:cubicBezTo>
                  <a:cubicBezTo>
                    <a:pt x="50" y="45"/>
                    <a:pt x="50" y="48"/>
                    <a:pt x="49" y="49"/>
                  </a:cubicBezTo>
                  <a:cubicBezTo>
                    <a:pt x="43" y="54"/>
                    <a:pt x="36" y="57"/>
                    <a:pt x="29" y="5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5" name="Shape19_20200717_142329">
            <a:extLst>
              <a:ext uri="{FF2B5EF4-FFF2-40B4-BE49-F238E27FC236}">
                <a16:creationId xmlns:a16="http://schemas.microsoft.com/office/drawing/2014/main" id="{9C406CAC-62D9-B0A7-D9CB-E7B9A42FC5F6}"/>
              </a:ext>
            </a:extLst>
          </p:cNvPr>
          <p:cNvGrpSpPr>
            <a:grpSpLocks noChangeAspect="1"/>
          </p:cNvGrpSpPr>
          <p:nvPr/>
        </p:nvGrpSpPr>
        <p:grpSpPr>
          <a:xfrm>
            <a:off x="5792503" y="2582617"/>
            <a:ext cx="606988" cy="492970"/>
            <a:chOff x="-6931025" y="3624263"/>
            <a:chExt cx="287338" cy="233363"/>
          </a:xfrm>
          <a:solidFill>
            <a:schemeClr val="accent1"/>
          </a:solidFill>
        </p:grpSpPr>
        <p:sp>
          <p:nvSpPr>
            <p:cNvPr id="88" name="Freeform 796">
              <a:extLst>
                <a:ext uri="{FF2B5EF4-FFF2-40B4-BE49-F238E27FC236}">
                  <a16:creationId xmlns:a16="http://schemas.microsoft.com/office/drawing/2014/main" id="{E201627F-8656-E175-DD64-208839BD406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931025" y="3624263"/>
              <a:ext cx="287338" cy="233363"/>
            </a:xfrm>
            <a:custGeom>
              <a:avLst/>
              <a:gdLst>
                <a:gd name="T0" fmla="*/ 225 w 241"/>
                <a:gd name="T1" fmla="*/ 195 h 195"/>
                <a:gd name="T2" fmla="*/ 15 w 241"/>
                <a:gd name="T3" fmla="*/ 195 h 195"/>
                <a:gd name="T4" fmla="*/ 0 w 241"/>
                <a:gd name="T5" fmla="*/ 179 h 195"/>
                <a:gd name="T6" fmla="*/ 0 w 241"/>
                <a:gd name="T7" fmla="*/ 15 h 195"/>
                <a:gd name="T8" fmla="*/ 15 w 241"/>
                <a:gd name="T9" fmla="*/ 0 h 195"/>
                <a:gd name="T10" fmla="*/ 225 w 241"/>
                <a:gd name="T11" fmla="*/ 0 h 195"/>
                <a:gd name="T12" fmla="*/ 241 w 241"/>
                <a:gd name="T13" fmla="*/ 15 h 195"/>
                <a:gd name="T14" fmla="*/ 241 w 241"/>
                <a:gd name="T15" fmla="*/ 179 h 195"/>
                <a:gd name="T16" fmla="*/ 225 w 241"/>
                <a:gd name="T17" fmla="*/ 195 h 195"/>
                <a:gd name="T18" fmla="*/ 15 w 241"/>
                <a:gd name="T19" fmla="*/ 7 h 195"/>
                <a:gd name="T20" fmla="*/ 7 w 241"/>
                <a:gd name="T21" fmla="*/ 15 h 195"/>
                <a:gd name="T22" fmla="*/ 7 w 241"/>
                <a:gd name="T23" fmla="*/ 179 h 195"/>
                <a:gd name="T24" fmla="*/ 15 w 241"/>
                <a:gd name="T25" fmla="*/ 188 h 195"/>
                <a:gd name="T26" fmla="*/ 225 w 241"/>
                <a:gd name="T27" fmla="*/ 188 h 195"/>
                <a:gd name="T28" fmla="*/ 233 w 241"/>
                <a:gd name="T29" fmla="*/ 179 h 195"/>
                <a:gd name="T30" fmla="*/ 233 w 241"/>
                <a:gd name="T31" fmla="*/ 15 h 195"/>
                <a:gd name="T32" fmla="*/ 225 w 241"/>
                <a:gd name="T33" fmla="*/ 7 h 195"/>
                <a:gd name="T34" fmla="*/ 15 w 241"/>
                <a:gd name="T35" fmla="*/ 7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195">
                  <a:moveTo>
                    <a:pt x="225" y="195"/>
                  </a:moveTo>
                  <a:cubicBezTo>
                    <a:pt x="15" y="195"/>
                    <a:pt x="15" y="195"/>
                    <a:pt x="15" y="195"/>
                  </a:cubicBezTo>
                  <a:cubicBezTo>
                    <a:pt x="7" y="195"/>
                    <a:pt x="0" y="188"/>
                    <a:pt x="0" y="179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225" y="0"/>
                    <a:pt x="225" y="0"/>
                    <a:pt x="225" y="0"/>
                  </a:cubicBezTo>
                  <a:cubicBezTo>
                    <a:pt x="234" y="0"/>
                    <a:pt x="241" y="7"/>
                    <a:pt x="241" y="15"/>
                  </a:cubicBezTo>
                  <a:cubicBezTo>
                    <a:pt x="241" y="179"/>
                    <a:pt x="241" y="179"/>
                    <a:pt x="241" y="179"/>
                  </a:cubicBezTo>
                  <a:cubicBezTo>
                    <a:pt x="241" y="188"/>
                    <a:pt x="234" y="195"/>
                    <a:pt x="225" y="195"/>
                  </a:cubicBezTo>
                  <a:close/>
                  <a:moveTo>
                    <a:pt x="15" y="7"/>
                  </a:moveTo>
                  <a:cubicBezTo>
                    <a:pt x="11" y="7"/>
                    <a:pt x="7" y="11"/>
                    <a:pt x="7" y="15"/>
                  </a:cubicBezTo>
                  <a:cubicBezTo>
                    <a:pt x="7" y="179"/>
                    <a:pt x="7" y="179"/>
                    <a:pt x="7" y="179"/>
                  </a:cubicBezTo>
                  <a:cubicBezTo>
                    <a:pt x="7" y="184"/>
                    <a:pt x="11" y="188"/>
                    <a:pt x="15" y="188"/>
                  </a:cubicBezTo>
                  <a:cubicBezTo>
                    <a:pt x="225" y="188"/>
                    <a:pt x="225" y="188"/>
                    <a:pt x="225" y="188"/>
                  </a:cubicBezTo>
                  <a:cubicBezTo>
                    <a:pt x="230" y="188"/>
                    <a:pt x="233" y="184"/>
                    <a:pt x="233" y="179"/>
                  </a:cubicBezTo>
                  <a:cubicBezTo>
                    <a:pt x="233" y="15"/>
                    <a:pt x="233" y="15"/>
                    <a:pt x="233" y="15"/>
                  </a:cubicBezTo>
                  <a:cubicBezTo>
                    <a:pt x="233" y="11"/>
                    <a:pt x="230" y="7"/>
                    <a:pt x="225" y="7"/>
                  </a:cubicBezTo>
                  <a:lnTo>
                    <a:pt x="15" y="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9" name="Freeform 797">
              <a:extLst>
                <a:ext uri="{FF2B5EF4-FFF2-40B4-BE49-F238E27FC236}">
                  <a16:creationId xmlns:a16="http://schemas.microsoft.com/office/drawing/2014/main" id="{65BCEAF4-82ED-DE1C-A28C-86807C05918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931025" y="3624263"/>
              <a:ext cx="287338" cy="50800"/>
            </a:xfrm>
            <a:custGeom>
              <a:avLst/>
              <a:gdLst>
                <a:gd name="T0" fmla="*/ 237 w 240"/>
                <a:gd name="T1" fmla="*/ 43 h 43"/>
                <a:gd name="T2" fmla="*/ 3 w 240"/>
                <a:gd name="T3" fmla="*/ 43 h 43"/>
                <a:gd name="T4" fmla="*/ 0 w 240"/>
                <a:gd name="T5" fmla="*/ 40 h 43"/>
                <a:gd name="T6" fmla="*/ 0 w 240"/>
                <a:gd name="T7" fmla="*/ 15 h 43"/>
                <a:gd name="T8" fmla="*/ 15 w 240"/>
                <a:gd name="T9" fmla="*/ 0 h 43"/>
                <a:gd name="T10" fmla="*/ 225 w 240"/>
                <a:gd name="T11" fmla="*/ 0 h 43"/>
                <a:gd name="T12" fmla="*/ 240 w 240"/>
                <a:gd name="T13" fmla="*/ 15 h 43"/>
                <a:gd name="T14" fmla="*/ 240 w 240"/>
                <a:gd name="T15" fmla="*/ 40 h 43"/>
                <a:gd name="T16" fmla="*/ 237 w 240"/>
                <a:gd name="T17" fmla="*/ 43 h 43"/>
                <a:gd name="T18" fmla="*/ 7 w 240"/>
                <a:gd name="T19" fmla="*/ 36 h 43"/>
                <a:gd name="T20" fmla="*/ 233 w 240"/>
                <a:gd name="T21" fmla="*/ 36 h 43"/>
                <a:gd name="T22" fmla="*/ 233 w 240"/>
                <a:gd name="T23" fmla="*/ 15 h 43"/>
                <a:gd name="T24" fmla="*/ 225 w 240"/>
                <a:gd name="T25" fmla="*/ 7 h 43"/>
                <a:gd name="T26" fmla="*/ 15 w 240"/>
                <a:gd name="T27" fmla="*/ 7 h 43"/>
                <a:gd name="T28" fmla="*/ 7 w 240"/>
                <a:gd name="T29" fmla="*/ 15 h 43"/>
                <a:gd name="T30" fmla="*/ 7 w 240"/>
                <a:gd name="T31" fmla="*/ 36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40" h="43">
                  <a:moveTo>
                    <a:pt x="237" y="43"/>
                  </a:moveTo>
                  <a:cubicBezTo>
                    <a:pt x="3" y="43"/>
                    <a:pt x="3" y="43"/>
                    <a:pt x="3" y="43"/>
                  </a:cubicBezTo>
                  <a:cubicBezTo>
                    <a:pt x="1" y="43"/>
                    <a:pt x="0" y="42"/>
                    <a:pt x="0" y="40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225" y="0"/>
                    <a:pt x="225" y="0"/>
                    <a:pt x="225" y="0"/>
                  </a:cubicBezTo>
                  <a:cubicBezTo>
                    <a:pt x="234" y="0"/>
                    <a:pt x="240" y="7"/>
                    <a:pt x="240" y="15"/>
                  </a:cubicBezTo>
                  <a:cubicBezTo>
                    <a:pt x="240" y="40"/>
                    <a:pt x="240" y="40"/>
                    <a:pt x="240" y="40"/>
                  </a:cubicBezTo>
                  <a:cubicBezTo>
                    <a:pt x="240" y="42"/>
                    <a:pt x="239" y="43"/>
                    <a:pt x="237" y="43"/>
                  </a:cubicBezTo>
                  <a:close/>
                  <a:moveTo>
                    <a:pt x="7" y="36"/>
                  </a:moveTo>
                  <a:cubicBezTo>
                    <a:pt x="233" y="36"/>
                    <a:pt x="233" y="36"/>
                    <a:pt x="233" y="36"/>
                  </a:cubicBezTo>
                  <a:cubicBezTo>
                    <a:pt x="233" y="15"/>
                    <a:pt x="233" y="15"/>
                    <a:pt x="233" y="15"/>
                  </a:cubicBezTo>
                  <a:cubicBezTo>
                    <a:pt x="233" y="11"/>
                    <a:pt x="230" y="7"/>
                    <a:pt x="22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1" y="7"/>
                    <a:pt x="7" y="11"/>
                    <a:pt x="7" y="15"/>
                  </a:cubicBezTo>
                  <a:lnTo>
                    <a:pt x="7" y="3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0" name="Freeform 798">
              <a:extLst>
                <a:ext uri="{FF2B5EF4-FFF2-40B4-BE49-F238E27FC236}">
                  <a16:creationId xmlns:a16="http://schemas.microsoft.com/office/drawing/2014/main" id="{5475277B-0D01-D8A9-C394-F1BA4F718F3F}"/>
                </a:ext>
              </a:extLst>
            </p:cNvPr>
            <p:cNvSpPr>
              <a:spLocks/>
            </p:cNvSpPr>
            <p:nvPr/>
          </p:nvSpPr>
          <p:spPr bwMode="auto">
            <a:xfrm>
              <a:off x="-6910388" y="3644901"/>
              <a:ext cx="9525" cy="7938"/>
            </a:xfrm>
            <a:custGeom>
              <a:avLst/>
              <a:gdLst>
                <a:gd name="T0" fmla="*/ 3 w 7"/>
                <a:gd name="T1" fmla="*/ 7 h 7"/>
                <a:gd name="T2" fmla="*/ 1 w 7"/>
                <a:gd name="T3" fmla="*/ 6 h 7"/>
                <a:gd name="T4" fmla="*/ 0 w 7"/>
                <a:gd name="T5" fmla="*/ 4 h 7"/>
                <a:gd name="T6" fmla="*/ 1 w 7"/>
                <a:gd name="T7" fmla="*/ 1 h 7"/>
                <a:gd name="T8" fmla="*/ 4 w 7"/>
                <a:gd name="T9" fmla="*/ 0 h 7"/>
                <a:gd name="T10" fmla="*/ 5 w 7"/>
                <a:gd name="T11" fmla="*/ 0 h 7"/>
                <a:gd name="T12" fmla="*/ 5 w 7"/>
                <a:gd name="T13" fmla="*/ 1 h 7"/>
                <a:gd name="T14" fmla="*/ 6 w 7"/>
                <a:gd name="T15" fmla="*/ 1 h 7"/>
                <a:gd name="T16" fmla="*/ 7 w 7"/>
                <a:gd name="T17" fmla="*/ 4 h 7"/>
                <a:gd name="T18" fmla="*/ 7 w 7"/>
                <a:gd name="T19" fmla="*/ 4 h 7"/>
                <a:gd name="T20" fmla="*/ 7 w 7"/>
                <a:gd name="T21" fmla="*/ 5 h 7"/>
                <a:gd name="T22" fmla="*/ 6 w 7"/>
                <a:gd name="T23" fmla="*/ 6 h 7"/>
                <a:gd name="T24" fmla="*/ 6 w 7"/>
                <a:gd name="T25" fmla="*/ 6 h 7"/>
                <a:gd name="T26" fmla="*/ 5 w 7"/>
                <a:gd name="T27" fmla="*/ 7 h 7"/>
                <a:gd name="T28" fmla="*/ 5 w 7"/>
                <a:gd name="T29" fmla="*/ 7 h 7"/>
                <a:gd name="T30" fmla="*/ 4 w 7"/>
                <a:gd name="T31" fmla="*/ 7 h 7"/>
                <a:gd name="T32" fmla="*/ 3 w 7"/>
                <a:gd name="T3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" h="7">
                  <a:moveTo>
                    <a:pt x="3" y="7"/>
                  </a:moveTo>
                  <a:cubicBezTo>
                    <a:pt x="2" y="7"/>
                    <a:pt x="1" y="7"/>
                    <a:pt x="1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5" y="0"/>
                    <a:pt x="5" y="1"/>
                    <a:pt x="5" y="1"/>
                  </a:cubicBezTo>
                  <a:cubicBezTo>
                    <a:pt x="5" y="1"/>
                    <a:pt x="6" y="1"/>
                    <a:pt x="6" y="1"/>
                  </a:cubicBezTo>
                  <a:cubicBezTo>
                    <a:pt x="6" y="2"/>
                    <a:pt x="7" y="3"/>
                    <a:pt x="7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6" y="5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5" y="7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7"/>
                    <a:pt x="4" y="7"/>
                    <a:pt x="3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1" name="Freeform 799">
              <a:extLst>
                <a:ext uri="{FF2B5EF4-FFF2-40B4-BE49-F238E27FC236}">
                  <a16:creationId xmlns:a16="http://schemas.microsoft.com/office/drawing/2014/main" id="{A1E58FB0-7B18-ADBE-743C-C4D38496BCB0}"/>
                </a:ext>
              </a:extLst>
            </p:cNvPr>
            <p:cNvSpPr>
              <a:spLocks/>
            </p:cNvSpPr>
            <p:nvPr/>
          </p:nvSpPr>
          <p:spPr bwMode="auto">
            <a:xfrm>
              <a:off x="-6875463" y="3644901"/>
              <a:ext cx="9525" cy="7938"/>
            </a:xfrm>
            <a:custGeom>
              <a:avLst/>
              <a:gdLst>
                <a:gd name="T0" fmla="*/ 3 w 7"/>
                <a:gd name="T1" fmla="*/ 7 h 7"/>
                <a:gd name="T2" fmla="*/ 2 w 7"/>
                <a:gd name="T3" fmla="*/ 7 h 7"/>
                <a:gd name="T4" fmla="*/ 2 w 7"/>
                <a:gd name="T5" fmla="*/ 7 h 7"/>
                <a:gd name="T6" fmla="*/ 1 w 7"/>
                <a:gd name="T7" fmla="*/ 7 h 7"/>
                <a:gd name="T8" fmla="*/ 1 w 7"/>
                <a:gd name="T9" fmla="*/ 6 h 7"/>
                <a:gd name="T10" fmla="*/ 0 w 7"/>
                <a:gd name="T11" fmla="*/ 6 h 7"/>
                <a:gd name="T12" fmla="*/ 0 w 7"/>
                <a:gd name="T13" fmla="*/ 5 h 7"/>
                <a:gd name="T14" fmla="*/ 0 w 7"/>
                <a:gd name="T15" fmla="*/ 4 h 7"/>
                <a:gd name="T16" fmla="*/ 0 w 7"/>
                <a:gd name="T17" fmla="*/ 4 h 7"/>
                <a:gd name="T18" fmla="*/ 0 w 7"/>
                <a:gd name="T19" fmla="*/ 3 h 7"/>
                <a:gd name="T20" fmla="*/ 0 w 7"/>
                <a:gd name="T21" fmla="*/ 2 h 7"/>
                <a:gd name="T22" fmla="*/ 0 w 7"/>
                <a:gd name="T23" fmla="*/ 2 h 7"/>
                <a:gd name="T24" fmla="*/ 1 w 7"/>
                <a:gd name="T25" fmla="*/ 1 h 7"/>
                <a:gd name="T26" fmla="*/ 1 w 7"/>
                <a:gd name="T27" fmla="*/ 1 h 7"/>
                <a:gd name="T28" fmla="*/ 2 w 7"/>
                <a:gd name="T29" fmla="*/ 0 h 7"/>
                <a:gd name="T30" fmla="*/ 2 w 7"/>
                <a:gd name="T31" fmla="*/ 0 h 7"/>
                <a:gd name="T32" fmla="*/ 4 w 7"/>
                <a:gd name="T33" fmla="*/ 0 h 7"/>
                <a:gd name="T34" fmla="*/ 5 w 7"/>
                <a:gd name="T35" fmla="*/ 0 h 7"/>
                <a:gd name="T36" fmla="*/ 5 w 7"/>
                <a:gd name="T37" fmla="*/ 1 h 7"/>
                <a:gd name="T38" fmla="*/ 6 w 7"/>
                <a:gd name="T39" fmla="*/ 1 h 7"/>
                <a:gd name="T40" fmla="*/ 6 w 7"/>
                <a:gd name="T41" fmla="*/ 2 h 7"/>
                <a:gd name="T42" fmla="*/ 6 w 7"/>
                <a:gd name="T43" fmla="*/ 2 h 7"/>
                <a:gd name="T44" fmla="*/ 7 w 7"/>
                <a:gd name="T45" fmla="*/ 3 h 7"/>
                <a:gd name="T46" fmla="*/ 7 w 7"/>
                <a:gd name="T47" fmla="*/ 4 h 7"/>
                <a:gd name="T48" fmla="*/ 7 w 7"/>
                <a:gd name="T49" fmla="*/ 4 h 7"/>
                <a:gd name="T50" fmla="*/ 6 w 7"/>
                <a:gd name="T51" fmla="*/ 5 h 7"/>
                <a:gd name="T52" fmla="*/ 6 w 7"/>
                <a:gd name="T53" fmla="*/ 6 h 7"/>
                <a:gd name="T54" fmla="*/ 6 w 7"/>
                <a:gd name="T55" fmla="*/ 6 h 7"/>
                <a:gd name="T56" fmla="*/ 5 w 7"/>
                <a:gd name="T57" fmla="*/ 7 h 7"/>
                <a:gd name="T58" fmla="*/ 5 w 7"/>
                <a:gd name="T59" fmla="*/ 7 h 7"/>
                <a:gd name="T60" fmla="*/ 4 w 7"/>
                <a:gd name="T61" fmla="*/ 7 h 7"/>
                <a:gd name="T62" fmla="*/ 3 w 7"/>
                <a:gd name="T6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" h="7">
                  <a:moveTo>
                    <a:pt x="3" y="7"/>
                  </a:moveTo>
                  <a:cubicBezTo>
                    <a:pt x="3" y="7"/>
                    <a:pt x="3" y="7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7"/>
                    <a:pt x="1" y="7"/>
                    <a:pt x="1" y="7"/>
                  </a:cubicBezTo>
                  <a:cubicBezTo>
                    <a:pt x="1" y="7"/>
                    <a:pt x="1" y="6"/>
                    <a:pt x="1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0"/>
                    <a:pt x="3" y="0"/>
                    <a:pt x="4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5" y="0"/>
                    <a:pt x="5" y="1"/>
                    <a:pt x="5" y="1"/>
                  </a:cubicBezTo>
                  <a:cubicBezTo>
                    <a:pt x="5" y="1"/>
                    <a:pt x="5" y="1"/>
                    <a:pt x="6" y="1"/>
                  </a:cubicBezTo>
                  <a:cubicBezTo>
                    <a:pt x="6" y="1"/>
                    <a:pt x="6" y="1"/>
                    <a:pt x="6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7" y="2"/>
                    <a:pt x="7" y="3"/>
                    <a:pt x="7" y="3"/>
                  </a:cubicBezTo>
                  <a:cubicBezTo>
                    <a:pt x="7" y="3"/>
                    <a:pt x="7" y="3"/>
                    <a:pt x="7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7" y="5"/>
                    <a:pt x="7" y="5"/>
                    <a:pt x="6" y="5"/>
                  </a:cubicBezTo>
                  <a:cubicBezTo>
                    <a:pt x="6" y="5"/>
                    <a:pt x="6" y="5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5" y="6"/>
                    <a:pt x="5" y="7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7"/>
                    <a:pt x="3" y="7"/>
                    <a:pt x="3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2" name="Freeform 800">
              <a:extLst>
                <a:ext uri="{FF2B5EF4-FFF2-40B4-BE49-F238E27FC236}">
                  <a16:creationId xmlns:a16="http://schemas.microsoft.com/office/drawing/2014/main" id="{BCDA0CF9-BBCF-9F6B-BF05-9EC9394036E7}"/>
                </a:ext>
              </a:extLst>
            </p:cNvPr>
            <p:cNvSpPr>
              <a:spLocks/>
            </p:cNvSpPr>
            <p:nvPr/>
          </p:nvSpPr>
          <p:spPr bwMode="auto">
            <a:xfrm>
              <a:off x="-6892925" y="3644901"/>
              <a:ext cx="7938" cy="7938"/>
            </a:xfrm>
            <a:custGeom>
              <a:avLst/>
              <a:gdLst>
                <a:gd name="T0" fmla="*/ 4 w 7"/>
                <a:gd name="T1" fmla="*/ 7 h 7"/>
                <a:gd name="T2" fmla="*/ 1 w 7"/>
                <a:gd name="T3" fmla="*/ 6 h 7"/>
                <a:gd name="T4" fmla="*/ 0 w 7"/>
                <a:gd name="T5" fmla="*/ 4 h 7"/>
                <a:gd name="T6" fmla="*/ 0 w 7"/>
                <a:gd name="T7" fmla="*/ 3 h 7"/>
                <a:gd name="T8" fmla="*/ 0 w 7"/>
                <a:gd name="T9" fmla="*/ 2 h 7"/>
                <a:gd name="T10" fmla="*/ 1 w 7"/>
                <a:gd name="T11" fmla="*/ 2 h 7"/>
                <a:gd name="T12" fmla="*/ 1 w 7"/>
                <a:gd name="T13" fmla="*/ 1 h 7"/>
                <a:gd name="T14" fmla="*/ 4 w 7"/>
                <a:gd name="T15" fmla="*/ 0 h 7"/>
                <a:gd name="T16" fmla="*/ 5 w 7"/>
                <a:gd name="T17" fmla="*/ 0 h 7"/>
                <a:gd name="T18" fmla="*/ 6 w 7"/>
                <a:gd name="T19" fmla="*/ 1 h 7"/>
                <a:gd name="T20" fmla="*/ 6 w 7"/>
                <a:gd name="T21" fmla="*/ 1 h 7"/>
                <a:gd name="T22" fmla="*/ 7 w 7"/>
                <a:gd name="T23" fmla="*/ 2 h 7"/>
                <a:gd name="T24" fmla="*/ 7 w 7"/>
                <a:gd name="T25" fmla="*/ 2 h 7"/>
                <a:gd name="T26" fmla="*/ 7 w 7"/>
                <a:gd name="T27" fmla="*/ 3 h 7"/>
                <a:gd name="T28" fmla="*/ 7 w 7"/>
                <a:gd name="T29" fmla="*/ 4 h 7"/>
                <a:gd name="T30" fmla="*/ 6 w 7"/>
                <a:gd name="T31" fmla="*/ 6 h 7"/>
                <a:gd name="T32" fmla="*/ 6 w 7"/>
                <a:gd name="T33" fmla="*/ 7 h 7"/>
                <a:gd name="T34" fmla="*/ 5 w 7"/>
                <a:gd name="T35" fmla="*/ 7 h 7"/>
                <a:gd name="T36" fmla="*/ 4 w 7"/>
                <a:gd name="T37" fmla="*/ 7 h 7"/>
                <a:gd name="T38" fmla="*/ 4 w 7"/>
                <a:gd name="T3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" h="7">
                  <a:moveTo>
                    <a:pt x="4" y="7"/>
                  </a:moveTo>
                  <a:cubicBezTo>
                    <a:pt x="3" y="7"/>
                    <a:pt x="2" y="7"/>
                    <a:pt x="1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2"/>
                    <a:pt x="0" y="2"/>
                  </a:cubicBezTo>
                  <a:cubicBezTo>
                    <a:pt x="0" y="2"/>
                    <a:pt x="1" y="2"/>
                    <a:pt x="1" y="2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7" y="1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3"/>
                    <a:pt x="7" y="3"/>
                  </a:cubicBezTo>
                  <a:cubicBezTo>
                    <a:pt x="7" y="3"/>
                    <a:pt x="7" y="3"/>
                    <a:pt x="7" y="4"/>
                  </a:cubicBezTo>
                  <a:cubicBezTo>
                    <a:pt x="7" y="5"/>
                    <a:pt x="7" y="6"/>
                    <a:pt x="6" y="6"/>
                  </a:cubicBezTo>
                  <a:cubicBezTo>
                    <a:pt x="6" y="6"/>
                    <a:pt x="6" y="7"/>
                    <a:pt x="6" y="7"/>
                  </a:cubicBezTo>
                  <a:cubicBezTo>
                    <a:pt x="6" y="7"/>
                    <a:pt x="5" y="7"/>
                    <a:pt x="5" y="7"/>
                  </a:cubicBezTo>
                  <a:cubicBezTo>
                    <a:pt x="5" y="7"/>
                    <a:pt x="5" y="7"/>
                    <a:pt x="4" y="7"/>
                  </a:cubicBezTo>
                  <a:cubicBezTo>
                    <a:pt x="4" y="7"/>
                    <a:pt x="4" y="7"/>
                    <a:pt x="4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3" name="Freeform 801">
              <a:extLst>
                <a:ext uri="{FF2B5EF4-FFF2-40B4-BE49-F238E27FC236}">
                  <a16:creationId xmlns:a16="http://schemas.microsoft.com/office/drawing/2014/main" id="{3DB467F2-3EF5-F537-4030-33B7C539EFF0}"/>
                </a:ext>
              </a:extLst>
            </p:cNvPr>
            <p:cNvSpPr>
              <a:spLocks/>
            </p:cNvSpPr>
            <p:nvPr/>
          </p:nvSpPr>
          <p:spPr bwMode="auto">
            <a:xfrm>
              <a:off x="-6899275" y="3819526"/>
              <a:ext cx="222250" cy="7938"/>
            </a:xfrm>
            <a:custGeom>
              <a:avLst/>
              <a:gdLst>
                <a:gd name="T0" fmla="*/ 182 w 186"/>
                <a:gd name="T1" fmla="*/ 7 h 7"/>
                <a:gd name="T2" fmla="*/ 4 w 186"/>
                <a:gd name="T3" fmla="*/ 7 h 7"/>
                <a:gd name="T4" fmla="*/ 0 w 186"/>
                <a:gd name="T5" fmla="*/ 4 h 7"/>
                <a:gd name="T6" fmla="*/ 4 w 186"/>
                <a:gd name="T7" fmla="*/ 0 h 7"/>
                <a:gd name="T8" fmla="*/ 182 w 186"/>
                <a:gd name="T9" fmla="*/ 0 h 7"/>
                <a:gd name="T10" fmla="*/ 186 w 186"/>
                <a:gd name="T11" fmla="*/ 4 h 7"/>
                <a:gd name="T12" fmla="*/ 182 w 186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6" h="7">
                  <a:moveTo>
                    <a:pt x="182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82" y="0"/>
                    <a:pt x="182" y="0"/>
                    <a:pt x="182" y="0"/>
                  </a:cubicBezTo>
                  <a:cubicBezTo>
                    <a:pt x="184" y="0"/>
                    <a:pt x="186" y="2"/>
                    <a:pt x="186" y="4"/>
                  </a:cubicBezTo>
                  <a:cubicBezTo>
                    <a:pt x="186" y="6"/>
                    <a:pt x="184" y="7"/>
                    <a:pt x="182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4" name="Freeform 802">
              <a:extLst>
                <a:ext uri="{FF2B5EF4-FFF2-40B4-BE49-F238E27FC236}">
                  <a16:creationId xmlns:a16="http://schemas.microsoft.com/office/drawing/2014/main" id="{B0EC03E4-37EC-7001-6F2F-4A80F3076B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883400" y="3783013"/>
              <a:ext cx="38100" cy="44450"/>
            </a:xfrm>
            <a:custGeom>
              <a:avLst/>
              <a:gdLst>
                <a:gd name="T0" fmla="*/ 28 w 32"/>
                <a:gd name="T1" fmla="*/ 37 h 37"/>
                <a:gd name="T2" fmla="*/ 3 w 32"/>
                <a:gd name="T3" fmla="*/ 37 h 37"/>
                <a:gd name="T4" fmla="*/ 0 w 32"/>
                <a:gd name="T5" fmla="*/ 34 h 37"/>
                <a:gd name="T6" fmla="*/ 0 w 32"/>
                <a:gd name="T7" fmla="*/ 4 h 37"/>
                <a:gd name="T8" fmla="*/ 3 w 32"/>
                <a:gd name="T9" fmla="*/ 0 h 37"/>
                <a:gd name="T10" fmla="*/ 28 w 32"/>
                <a:gd name="T11" fmla="*/ 0 h 37"/>
                <a:gd name="T12" fmla="*/ 32 w 32"/>
                <a:gd name="T13" fmla="*/ 4 h 37"/>
                <a:gd name="T14" fmla="*/ 32 w 32"/>
                <a:gd name="T15" fmla="*/ 34 h 37"/>
                <a:gd name="T16" fmla="*/ 28 w 32"/>
                <a:gd name="T17" fmla="*/ 37 h 37"/>
                <a:gd name="T18" fmla="*/ 7 w 32"/>
                <a:gd name="T19" fmla="*/ 30 h 37"/>
                <a:gd name="T20" fmla="*/ 25 w 32"/>
                <a:gd name="T21" fmla="*/ 30 h 37"/>
                <a:gd name="T22" fmla="*/ 25 w 32"/>
                <a:gd name="T23" fmla="*/ 8 h 37"/>
                <a:gd name="T24" fmla="*/ 7 w 32"/>
                <a:gd name="T25" fmla="*/ 8 h 37"/>
                <a:gd name="T26" fmla="*/ 7 w 32"/>
                <a:gd name="T27" fmla="*/ 3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" h="37">
                  <a:moveTo>
                    <a:pt x="28" y="37"/>
                  </a:moveTo>
                  <a:cubicBezTo>
                    <a:pt x="3" y="37"/>
                    <a:pt x="3" y="37"/>
                    <a:pt x="3" y="37"/>
                  </a:cubicBezTo>
                  <a:cubicBezTo>
                    <a:pt x="1" y="37"/>
                    <a:pt x="0" y="36"/>
                    <a:pt x="0" y="3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30" y="0"/>
                    <a:pt x="32" y="2"/>
                    <a:pt x="32" y="4"/>
                  </a:cubicBezTo>
                  <a:cubicBezTo>
                    <a:pt x="32" y="34"/>
                    <a:pt x="32" y="34"/>
                    <a:pt x="32" y="34"/>
                  </a:cubicBezTo>
                  <a:cubicBezTo>
                    <a:pt x="32" y="36"/>
                    <a:pt x="30" y="37"/>
                    <a:pt x="28" y="37"/>
                  </a:cubicBezTo>
                  <a:close/>
                  <a:moveTo>
                    <a:pt x="7" y="30"/>
                  </a:moveTo>
                  <a:cubicBezTo>
                    <a:pt x="25" y="30"/>
                    <a:pt x="25" y="30"/>
                    <a:pt x="25" y="30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7" y="8"/>
                    <a:pt x="7" y="8"/>
                    <a:pt x="7" y="8"/>
                  </a:cubicBezTo>
                  <a:lnTo>
                    <a:pt x="7" y="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5" name="Freeform 803">
              <a:extLst>
                <a:ext uri="{FF2B5EF4-FFF2-40B4-BE49-F238E27FC236}">
                  <a16:creationId xmlns:a16="http://schemas.microsoft.com/office/drawing/2014/main" id="{3121E638-6D20-7827-4FDC-B00A91F0A3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832600" y="3740151"/>
              <a:ext cx="39688" cy="87313"/>
            </a:xfrm>
            <a:custGeom>
              <a:avLst/>
              <a:gdLst>
                <a:gd name="T0" fmla="*/ 28 w 32"/>
                <a:gd name="T1" fmla="*/ 72 h 72"/>
                <a:gd name="T2" fmla="*/ 3 w 32"/>
                <a:gd name="T3" fmla="*/ 72 h 72"/>
                <a:gd name="T4" fmla="*/ 0 w 32"/>
                <a:gd name="T5" fmla="*/ 69 h 72"/>
                <a:gd name="T6" fmla="*/ 0 w 32"/>
                <a:gd name="T7" fmla="*/ 3 h 72"/>
                <a:gd name="T8" fmla="*/ 3 w 32"/>
                <a:gd name="T9" fmla="*/ 0 h 72"/>
                <a:gd name="T10" fmla="*/ 28 w 32"/>
                <a:gd name="T11" fmla="*/ 0 h 72"/>
                <a:gd name="T12" fmla="*/ 32 w 32"/>
                <a:gd name="T13" fmla="*/ 3 h 72"/>
                <a:gd name="T14" fmla="*/ 32 w 32"/>
                <a:gd name="T15" fmla="*/ 69 h 72"/>
                <a:gd name="T16" fmla="*/ 28 w 32"/>
                <a:gd name="T17" fmla="*/ 72 h 72"/>
                <a:gd name="T18" fmla="*/ 7 w 32"/>
                <a:gd name="T19" fmla="*/ 65 h 72"/>
                <a:gd name="T20" fmla="*/ 25 w 32"/>
                <a:gd name="T21" fmla="*/ 65 h 72"/>
                <a:gd name="T22" fmla="*/ 25 w 32"/>
                <a:gd name="T23" fmla="*/ 7 h 72"/>
                <a:gd name="T24" fmla="*/ 7 w 32"/>
                <a:gd name="T25" fmla="*/ 7 h 72"/>
                <a:gd name="T26" fmla="*/ 7 w 32"/>
                <a:gd name="T27" fmla="*/ 6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" h="72">
                  <a:moveTo>
                    <a:pt x="28" y="72"/>
                  </a:moveTo>
                  <a:cubicBezTo>
                    <a:pt x="3" y="72"/>
                    <a:pt x="3" y="72"/>
                    <a:pt x="3" y="72"/>
                  </a:cubicBezTo>
                  <a:cubicBezTo>
                    <a:pt x="1" y="72"/>
                    <a:pt x="0" y="71"/>
                    <a:pt x="0" y="69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30" y="0"/>
                    <a:pt x="32" y="1"/>
                    <a:pt x="32" y="3"/>
                  </a:cubicBezTo>
                  <a:cubicBezTo>
                    <a:pt x="32" y="69"/>
                    <a:pt x="32" y="69"/>
                    <a:pt x="32" y="69"/>
                  </a:cubicBezTo>
                  <a:cubicBezTo>
                    <a:pt x="32" y="71"/>
                    <a:pt x="30" y="72"/>
                    <a:pt x="28" y="72"/>
                  </a:cubicBezTo>
                  <a:close/>
                  <a:moveTo>
                    <a:pt x="7" y="65"/>
                  </a:moveTo>
                  <a:cubicBezTo>
                    <a:pt x="25" y="65"/>
                    <a:pt x="25" y="65"/>
                    <a:pt x="25" y="65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6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6" name="Freeform 804">
              <a:extLst>
                <a:ext uri="{FF2B5EF4-FFF2-40B4-BE49-F238E27FC236}">
                  <a16:creationId xmlns:a16="http://schemas.microsoft.com/office/drawing/2014/main" id="{34850A2D-D616-46C7-A5B2-DA0096CB34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781800" y="3763963"/>
              <a:ext cx="39688" cy="63500"/>
            </a:xfrm>
            <a:custGeom>
              <a:avLst/>
              <a:gdLst>
                <a:gd name="T0" fmla="*/ 29 w 33"/>
                <a:gd name="T1" fmla="*/ 53 h 53"/>
                <a:gd name="T2" fmla="*/ 4 w 33"/>
                <a:gd name="T3" fmla="*/ 53 h 53"/>
                <a:gd name="T4" fmla="*/ 0 w 33"/>
                <a:gd name="T5" fmla="*/ 50 h 53"/>
                <a:gd name="T6" fmla="*/ 0 w 33"/>
                <a:gd name="T7" fmla="*/ 3 h 53"/>
                <a:gd name="T8" fmla="*/ 4 w 33"/>
                <a:gd name="T9" fmla="*/ 0 h 53"/>
                <a:gd name="T10" fmla="*/ 29 w 33"/>
                <a:gd name="T11" fmla="*/ 0 h 53"/>
                <a:gd name="T12" fmla="*/ 33 w 33"/>
                <a:gd name="T13" fmla="*/ 3 h 53"/>
                <a:gd name="T14" fmla="*/ 33 w 33"/>
                <a:gd name="T15" fmla="*/ 50 h 53"/>
                <a:gd name="T16" fmla="*/ 29 w 33"/>
                <a:gd name="T17" fmla="*/ 53 h 53"/>
                <a:gd name="T18" fmla="*/ 8 w 33"/>
                <a:gd name="T19" fmla="*/ 46 h 53"/>
                <a:gd name="T20" fmla="*/ 25 w 33"/>
                <a:gd name="T21" fmla="*/ 46 h 53"/>
                <a:gd name="T22" fmla="*/ 25 w 33"/>
                <a:gd name="T23" fmla="*/ 7 h 53"/>
                <a:gd name="T24" fmla="*/ 8 w 33"/>
                <a:gd name="T25" fmla="*/ 7 h 53"/>
                <a:gd name="T26" fmla="*/ 8 w 33"/>
                <a:gd name="T27" fmla="*/ 46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3" h="53">
                  <a:moveTo>
                    <a:pt x="29" y="53"/>
                  </a:moveTo>
                  <a:cubicBezTo>
                    <a:pt x="4" y="53"/>
                    <a:pt x="4" y="53"/>
                    <a:pt x="4" y="53"/>
                  </a:cubicBezTo>
                  <a:cubicBezTo>
                    <a:pt x="2" y="53"/>
                    <a:pt x="0" y="52"/>
                    <a:pt x="0" y="5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31" y="0"/>
                    <a:pt x="33" y="1"/>
                    <a:pt x="33" y="3"/>
                  </a:cubicBezTo>
                  <a:cubicBezTo>
                    <a:pt x="33" y="50"/>
                    <a:pt x="33" y="50"/>
                    <a:pt x="33" y="50"/>
                  </a:cubicBezTo>
                  <a:cubicBezTo>
                    <a:pt x="33" y="52"/>
                    <a:pt x="31" y="53"/>
                    <a:pt x="29" y="53"/>
                  </a:cubicBezTo>
                  <a:close/>
                  <a:moveTo>
                    <a:pt x="8" y="46"/>
                  </a:moveTo>
                  <a:cubicBezTo>
                    <a:pt x="25" y="46"/>
                    <a:pt x="25" y="46"/>
                    <a:pt x="25" y="46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8" y="7"/>
                    <a:pt x="8" y="7"/>
                    <a:pt x="8" y="7"/>
                  </a:cubicBezTo>
                  <a:lnTo>
                    <a:pt x="8" y="4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7" name="Freeform 805">
              <a:extLst>
                <a:ext uri="{FF2B5EF4-FFF2-40B4-BE49-F238E27FC236}">
                  <a16:creationId xmlns:a16="http://schemas.microsoft.com/office/drawing/2014/main" id="{C1D3442B-E141-5308-32C6-CA13D9059B7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731000" y="3711576"/>
              <a:ext cx="39688" cy="115888"/>
            </a:xfrm>
            <a:custGeom>
              <a:avLst/>
              <a:gdLst>
                <a:gd name="T0" fmla="*/ 29 w 32"/>
                <a:gd name="T1" fmla="*/ 96 h 96"/>
                <a:gd name="T2" fmla="*/ 4 w 32"/>
                <a:gd name="T3" fmla="*/ 96 h 96"/>
                <a:gd name="T4" fmla="*/ 0 w 32"/>
                <a:gd name="T5" fmla="*/ 93 h 96"/>
                <a:gd name="T6" fmla="*/ 0 w 32"/>
                <a:gd name="T7" fmla="*/ 4 h 96"/>
                <a:gd name="T8" fmla="*/ 4 w 32"/>
                <a:gd name="T9" fmla="*/ 0 h 96"/>
                <a:gd name="T10" fmla="*/ 29 w 32"/>
                <a:gd name="T11" fmla="*/ 0 h 96"/>
                <a:gd name="T12" fmla="*/ 32 w 32"/>
                <a:gd name="T13" fmla="*/ 4 h 96"/>
                <a:gd name="T14" fmla="*/ 32 w 32"/>
                <a:gd name="T15" fmla="*/ 93 h 96"/>
                <a:gd name="T16" fmla="*/ 29 w 32"/>
                <a:gd name="T17" fmla="*/ 96 h 96"/>
                <a:gd name="T18" fmla="*/ 7 w 32"/>
                <a:gd name="T19" fmla="*/ 89 h 96"/>
                <a:gd name="T20" fmla="*/ 25 w 32"/>
                <a:gd name="T21" fmla="*/ 89 h 96"/>
                <a:gd name="T22" fmla="*/ 25 w 32"/>
                <a:gd name="T23" fmla="*/ 7 h 96"/>
                <a:gd name="T24" fmla="*/ 7 w 32"/>
                <a:gd name="T25" fmla="*/ 7 h 96"/>
                <a:gd name="T26" fmla="*/ 7 w 32"/>
                <a:gd name="T27" fmla="*/ 8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" h="96">
                  <a:moveTo>
                    <a:pt x="29" y="96"/>
                  </a:moveTo>
                  <a:cubicBezTo>
                    <a:pt x="4" y="96"/>
                    <a:pt x="4" y="96"/>
                    <a:pt x="4" y="96"/>
                  </a:cubicBezTo>
                  <a:cubicBezTo>
                    <a:pt x="2" y="96"/>
                    <a:pt x="0" y="95"/>
                    <a:pt x="0" y="9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31" y="0"/>
                    <a:pt x="32" y="2"/>
                    <a:pt x="32" y="4"/>
                  </a:cubicBezTo>
                  <a:cubicBezTo>
                    <a:pt x="32" y="93"/>
                    <a:pt x="32" y="93"/>
                    <a:pt x="32" y="93"/>
                  </a:cubicBezTo>
                  <a:cubicBezTo>
                    <a:pt x="32" y="95"/>
                    <a:pt x="31" y="96"/>
                    <a:pt x="29" y="96"/>
                  </a:cubicBezTo>
                  <a:close/>
                  <a:moveTo>
                    <a:pt x="7" y="89"/>
                  </a:moveTo>
                  <a:cubicBezTo>
                    <a:pt x="25" y="89"/>
                    <a:pt x="25" y="89"/>
                    <a:pt x="25" y="89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6" name="Shape20_20200717_142329">
            <a:extLst>
              <a:ext uri="{FF2B5EF4-FFF2-40B4-BE49-F238E27FC236}">
                <a16:creationId xmlns:a16="http://schemas.microsoft.com/office/drawing/2014/main" id="{04D8E0CA-89AE-B60A-CE04-7E21D4BBE517}"/>
              </a:ext>
            </a:extLst>
          </p:cNvPr>
          <p:cNvGrpSpPr>
            <a:grpSpLocks noChangeAspect="1"/>
          </p:cNvGrpSpPr>
          <p:nvPr/>
        </p:nvGrpSpPr>
        <p:grpSpPr>
          <a:xfrm>
            <a:off x="4473534" y="1287122"/>
            <a:ext cx="633816" cy="472848"/>
            <a:chOff x="-5816600" y="2409826"/>
            <a:chExt cx="300037" cy="223837"/>
          </a:xfrm>
          <a:solidFill>
            <a:schemeClr val="accent1"/>
          </a:solidFill>
        </p:grpSpPr>
        <p:sp>
          <p:nvSpPr>
            <p:cNvPr id="86" name="Freeform 806">
              <a:extLst>
                <a:ext uri="{FF2B5EF4-FFF2-40B4-BE49-F238E27FC236}">
                  <a16:creationId xmlns:a16="http://schemas.microsoft.com/office/drawing/2014/main" id="{C27DAD4F-85DF-5C0D-E65F-0B0999DBB0B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719763" y="2409826"/>
              <a:ext cx="203200" cy="166688"/>
            </a:xfrm>
            <a:custGeom>
              <a:avLst/>
              <a:gdLst>
                <a:gd name="T0" fmla="*/ 132 w 169"/>
                <a:gd name="T1" fmla="*/ 139 h 139"/>
                <a:gd name="T2" fmla="*/ 127 w 169"/>
                <a:gd name="T3" fmla="*/ 137 h 139"/>
                <a:gd name="T4" fmla="*/ 108 w 169"/>
                <a:gd name="T5" fmla="*/ 118 h 139"/>
                <a:gd name="T6" fmla="*/ 20 w 169"/>
                <a:gd name="T7" fmla="*/ 118 h 139"/>
                <a:gd name="T8" fmla="*/ 0 w 169"/>
                <a:gd name="T9" fmla="*/ 98 h 139"/>
                <a:gd name="T10" fmla="*/ 0 w 169"/>
                <a:gd name="T11" fmla="*/ 21 h 139"/>
                <a:gd name="T12" fmla="*/ 20 w 169"/>
                <a:gd name="T13" fmla="*/ 0 h 139"/>
                <a:gd name="T14" fmla="*/ 148 w 169"/>
                <a:gd name="T15" fmla="*/ 0 h 139"/>
                <a:gd name="T16" fmla="*/ 169 w 169"/>
                <a:gd name="T17" fmla="*/ 21 h 139"/>
                <a:gd name="T18" fmla="*/ 169 w 169"/>
                <a:gd name="T19" fmla="*/ 98 h 139"/>
                <a:gd name="T20" fmla="*/ 148 w 169"/>
                <a:gd name="T21" fmla="*/ 118 h 139"/>
                <a:gd name="T22" fmla="*/ 140 w 169"/>
                <a:gd name="T23" fmla="*/ 118 h 139"/>
                <a:gd name="T24" fmla="*/ 140 w 169"/>
                <a:gd name="T25" fmla="*/ 132 h 139"/>
                <a:gd name="T26" fmla="*/ 135 w 169"/>
                <a:gd name="T27" fmla="*/ 139 h 139"/>
                <a:gd name="T28" fmla="*/ 132 w 169"/>
                <a:gd name="T29" fmla="*/ 139 h 139"/>
                <a:gd name="T30" fmla="*/ 20 w 169"/>
                <a:gd name="T31" fmla="*/ 7 h 139"/>
                <a:gd name="T32" fmla="*/ 7 w 169"/>
                <a:gd name="T33" fmla="*/ 21 h 139"/>
                <a:gd name="T34" fmla="*/ 7 w 169"/>
                <a:gd name="T35" fmla="*/ 98 h 139"/>
                <a:gd name="T36" fmla="*/ 20 w 169"/>
                <a:gd name="T37" fmla="*/ 111 h 139"/>
                <a:gd name="T38" fmla="*/ 110 w 169"/>
                <a:gd name="T39" fmla="*/ 111 h 139"/>
                <a:gd name="T40" fmla="*/ 112 w 169"/>
                <a:gd name="T41" fmla="*/ 112 h 139"/>
                <a:gd name="T42" fmla="*/ 132 w 169"/>
                <a:gd name="T43" fmla="*/ 132 h 139"/>
                <a:gd name="T44" fmla="*/ 133 w 169"/>
                <a:gd name="T45" fmla="*/ 132 h 139"/>
                <a:gd name="T46" fmla="*/ 133 w 169"/>
                <a:gd name="T47" fmla="*/ 132 h 139"/>
                <a:gd name="T48" fmla="*/ 133 w 169"/>
                <a:gd name="T49" fmla="*/ 115 h 139"/>
                <a:gd name="T50" fmla="*/ 136 w 169"/>
                <a:gd name="T51" fmla="*/ 111 h 139"/>
                <a:gd name="T52" fmla="*/ 148 w 169"/>
                <a:gd name="T53" fmla="*/ 111 h 139"/>
                <a:gd name="T54" fmla="*/ 161 w 169"/>
                <a:gd name="T55" fmla="*/ 98 h 139"/>
                <a:gd name="T56" fmla="*/ 161 w 169"/>
                <a:gd name="T57" fmla="*/ 21 h 139"/>
                <a:gd name="T58" fmla="*/ 148 w 169"/>
                <a:gd name="T59" fmla="*/ 7 h 139"/>
                <a:gd name="T60" fmla="*/ 20 w 169"/>
                <a:gd name="T61" fmla="*/ 7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69" h="139">
                  <a:moveTo>
                    <a:pt x="132" y="139"/>
                  </a:moveTo>
                  <a:cubicBezTo>
                    <a:pt x="130" y="139"/>
                    <a:pt x="128" y="138"/>
                    <a:pt x="127" y="137"/>
                  </a:cubicBezTo>
                  <a:cubicBezTo>
                    <a:pt x="108" y="118"/>
                    <a:pt x="108" y="118"/>
                    <a:pt x="108" y="118"/>
                  </a:cubicBezTo>
                  <a:cubicBezTo>
                    <a:pt x="20" y="118"/>
                    <a:pt x="20" y="118"/>
                    <a:pt x="20" y="118"/>
                  </a:cubicBezTo>
                  <a:cubicBezTo>
                    <a:pt x="9" y="118"/>
                    <a:pt x="0" y="109"/>
                    <a:pt x="0" y="98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148" y="0"/>
                    <a:pt x="148" y="0"/>
                    <a:pt x="148" y="0"/>
                  </a:cubicBezTo>
                  <a:cubicBezTo>
                    <a:pt x="159" y="0"/>
                    <a:pt x="169" y="9"/>
                    <a:pt x="169" y="21"/>
                  </a:cubicBezTo>
                  <a:cubicBezTo>
                    <a:pt x="169" y="98"/>
                    <a:pt x="169" y="98"/>
                    <a:pt x="169" y="98"/>
                  </a:cubicBezTo>
                  <a:cubicBezTo>
                    <a:pt x="169" y="109"/>
                    <a:pt x="159" y="118"/>
                    <a:pt x="148" y="118"/>
                  </a:cubicBezTo>
                  <a:cubicBezTo>
                    <a:pt x="140" y="118"/>
                    <a:pt x="140" y="118"/>
                    <a:pt x="140" y="118"/>
                  </a:cubicBezTo>
                  <a:cubicBezTo>
                    <a:pt x="140" y="132"/>
                    <a:pt x="140" y="132"/>
                    <a:pt x="140" y="132"/>
                  </a:cubicBezTo>
                  <a:cubicBezTo>
                    <a:pt x="140" y="135"/>
                    <a:pt x="138" y="137"/>
                    <a:pt x="135" y="139"/>
                  </a:cubicBezTo>
                  <a:cubicBezTo>
                    <a:pt x="134" y="139"/>
                    <a:pt x="133" y="139"/>
                    <a:pt x="132" y="139"/>
                  </a:cubicBezTo>
                  <a:close/>
                  <a:moveTo>
                    <a:pt x="20" y="7"/>
                  </a:moveTo>
                  <a:cubicBezTo>
                    <a:pt x="13" y="7"/>
                    <a:pt x="7" y="13"/>
                    <a:pt x="7" y="21"/>
                  </a:cubicBezTo>
                  <a:cubicBezTo>
                    <a:pt x="7" y="98"/>
                    <a:pt x="7" y="98"/>
                    <a:pt x="7" y="98"/>
                  </a:cubicBezTo>
                  <a:cubicBezTo>
                    <a:pt x="7" y="105"/>
                    <a:pt x="13" y="111"/>
                    <a:pt x="20" y="111"/>
                  </a:cubicBezTo>
                  <a:cubicBezTo>
                    <a:pt x="110" y="111"/>
                    <a:pt x="110" y="111"/>
                    <a:pt x="110" y="111"/>
                  </a:cubicBezTo>
                  <a:cubicBezTo>
                    <a:pt x="111" y="111"/>
                    <a:pt x="112" y="112"/>
                    <a:pt x="112" y="112"/>
                  </a:cubicBezTo>
                  <a:cubicBezTo>
                    <a:pt x="132" y="132"/>
                    <a:pt x="132" y="132"/>
                    <a:pt x="132" y="132"/>
                  </a:cubicBezTo>
                  <a:cubicBezTo>
                    <a:pt x="132" y="132"/>
                    <a:pt x="132" y="132"/>
                    <a:pt x="133" y="132"/>
                  </a:cubicBezTo>
                  <a:cubicBezTo>
                    <a:pt x="133" y="132"/>
                    <a:pt x="133" y="132"/>
                    <a:pt x="133" y="132"/>
                  </a:cubicBezTo>
                  <a:cubicBezTo>
                    <a:pt x="133" y="115"/>
                    <a:pt x="133" y="115"/>
                    <a:pt x="133" y="115"/>
                  </a:cubicBezTo>
                  <a:cubicBezTo>
                    <a:pt x="133" y="113"/>
                    <a:pt x="134" y="111"/>
                    <a:pt x="136" y="111"/>
                  </a:cubicBezTo>
                  <a:cubicBezTo>
                    <a:pt x="148" y="111"/>
                    <a:pt x="148" y="111"/>
                    <a:pt x="148" y="111"/>
                  </a:cubicBezTo>
                  <a:cubicBezTo>
                    <a:pt x="155" y="111"/>
                    <a:pt x="161" y="105"/>
                    <a:pt x="161" y="98"/>
                  </a:cubicBezTo>
                  <a:cubicBezTo>
                    <a:pt x="161" y="21"/>
                    <a:pt x="161" y="21"/>
                    <a:pt x="161" y="21"/>
                  </a:cubicBezTo>
                  <a:cubicBezTo>
                    <a:pt x="161" y="13"/>
                    <a:pt x="155" y="7"/>
                    <a:pt x="148" y="7"/>
                  </a:cubicBezTo>
                  <a:lnTo>
                    <a:pt x="20" y="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7" name="Freeform 807">
              <a:extLst>
                <a:ext uri="{FF2B5EF4-FFF2-40B4-BE49-F238E27FC236}">
                  <a16:creationId xmlns:a16="http://schemas.microsoft.com/office/drawing/2014/main" id="{FFCCF4C5-8908-5545-2EA7-DD1212A3121E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16600" y="2468563"/>
              <a:ext cx="203200" cy="165100"/>
            </a:xfrm>
            <a:custGeom>
              <a:avLst/>
              <a:gdLst>
                <a:gd name="T0" fmla="*/ 36 w 169"/>
                <a:gd name="T1" fmla="*/ 139 h 139"/>
                <a:gd name="T2" fmla="*/ 33 w 169"/>
                <a:gd name="T3" fmla="*/ 138 h 139"/>
                <a:gd name="T4" fmla="*/ 28 w 169"/>
                <a:gd name="T5" fmla="*/ 131 h 139"/>
                <a:gd name="T6" fmla="*/ 28 w 169"/>
                <a:gd name="T7" fmla="*/ 118 h 139"/>
                <a:gd name="T8" fmla="*/ 20 w 169"/>
                <a:gd name="T9" fmla="*/ 118 h 139"/>
                <a:gd name="T10" fmla="*/ 0 w 169"/>
                <a:gd name="T11" fmla="*/ 97 h 139"/>
                <a:gd name="T12" fmla="*/ 0 w 169"/>
                <a:gd name="T13" fmla="*/ 20 h 139"/>
                <a:gd name="T14" fmla="*/ 20 w 169"/>
                <a:gd name="T15" fmla="*/ 0 h 139"/>
                <a:gd name="T16" fmla="*/ 82 w 169"/>
                <a:gd name="T17" fmla="*/ 0 h 139"/>
                <a:gd name="T18" fmla="*/ 85 w 169"/>
                <a:gd name="T19" fmla="*/ 3 h 139"/>
                <a:gd name="T20" fmla="*/ 82 w 169"/>
                <a:gd name="T21" fmla="*/ 7 h 139"/>
                <a:gd name="T22" fmla="*/ 20 w 169"/>
                <a:gd name="T23" fmla="*/ 7 h 139"/>
                <a:gd name="T24" fmla="*/ 7 w 169"/>
                <a:gd name="T25" fmla="*/ 20 h 139"/>
                <a:gd name="T26" fmla="*/ 7 w 169"/>
                <a:gd name="T27" fmla="*/ 97 h 139"/>
                <a:gd name="T28" fmla="*/ 20 w 169"/>
                <a:gd name="T29" fmla="*/ 111 h 139"/>
                <a:gd name="T30" fmla="*/ 32 w 169"/>
                <a:gd name="T31" fmla="*/ 111 h 139"/>
                <a:gd name="T32" fmla="*/ 35 w 169"/>
                <a:gd name="T33" fmla="*/ 114 h 139"/>
                <a:gd name="T34" fmla="*/ 35 w 169"/>
                <a:gd name="T35" fmla="*/ 131 h 139"/>
                <a:gd name="T36" fmla="*/ 36 w 169"/>
                <a:gd name="T37" fmla="*/ 132 h 139"/>
                <a:gd name="T38" fmla="*/ 36 w 169"/>
                <a:gd name="T39" fmla="*/ 131 h 139"/>
                <a:gd name="T40" fmla="*/ 56 w 169"/>
                <a:gd name="T41" fmla="*/ 112 h 139"/>
                <a:gd name="T42" fmla="*/ 58 w 169"/>
                <a:gd name="T43" fmla="*/ 111 h 139"/>
                <a:gd name="T44" fmla="*/ 148 w 169"/>
                <a:gd name="T45" fmla="*/ 111 h 139"/>
                <a:gd name="T46" fmla="*/ 161 w 169"/>
                <a:gd name="T47" fmla="*/ 97 h 139"/>
                <a:gd name="T48" fmla="*/ 161 w 169"/>
                <a:gd name="T49" fmla="*/ 69 h 139"/>
                <a:gd name="T50" fmla="*/ 165 w 169"/>
                <a:gd name="T51" fmla="*/ 66 h 139"/>
                <a:gd name="T52" fmla="*/ 169 w 169"/>
                <a:gd name="T53" fmla="*/ 69 h 139"/>
                <a:gd name="T54" fmla="*/ 169 w 169"/>
                <a:gd name="T55" fmla="*/ 97 h 139"/>
                <a:gd name="T56" fmla="*/ 148 w 169"/>
                <a:gd name="T57" fmla="*/ 118 h 139"/>
                <a:gd name="T58" fmla="*/ 60 w 169"/>
                <a:gd name="T59" fmla="*/ 118 h 139"/>
                <a:gd name="T60" fmla="*/ 41 w 169"/>
                <a:gd name="T61" fmla="*/ 137 h 139"/>
                <a:gd name="T62" fmla="*/ 36 w 169"/>
                <a:gd name="T63" fmla="*/ 139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9" h="139">
                  <a:moveTo>
                    <a:pt x="36" y="139"/>
                  </a:moveTo>
                  <a:cubicBezTo>
                    <a:pt x="35" y="139"/>
                    <a:pt x="34" y="139"/>
                    <a:pt x="33" y="138"/>
                  </a:cubicBezTo>
                  <a:cubicBezTo>
                    <a:pt x="30" y="137"/>
                    <a:pt x="28" y="134"/>
                    <a:pt x="28" y="131"/>
                  </a:cubicBezTo>
                  <a:cubicBezTo>
                    <a:pt x="28" y="118"/>
                    <a:pt x="28" y="118"/>
                    <a:pt x="28" y="118"/>
                  </a:cubicBezTo>
                  <a:cubicBezTo>
                    <a:pt x="20" y="118"/>
                    <a:pt x="20" y="118"/>
                    <a:pt x="20" y="118"/>
                  </a:cubicBezTo>
                  <a:cubicBezTo>
                    <a:pt x="9" y="118"/>
                    <a:pt x="0" y="109"/>
                    <a:pt x="0" y="97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84" y="0"/>
                    <a:pt x="85" y="1"/>
                    <a:pt x="85" y="3"/>
                  </a:cubicBezTo>
                  <a:cubicBezTo>
                    <a:pt x="85" y="5"/>
                    <a:pt x="84" y="7"/>
                    <a:pt x="82" y="7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13" y="7"/>
                    <a:pt x="7" y="13"/>
                    <a:pt x="7" y="20"/>
                  </a:cubicBezTo>
                  <a:cubicBezTo>
                    <a:pt x="7" y="97"/>
                    <a:pt x="7" y="97"/>
                    <a:pt x="7" y="97"/>
                  </a:cubicBezTo>
                  <a:cubicBezTo>
                    <a:pt x="7" y="105"/>
                    <a:pt x="13" y="111"/>
                    <a:pt x="20" y="111"/>
                  </a:cubicBezTo>
                  <a:cubicBezTo>
                    <a:pt x="32" y="111"/>
                    <a:pt x="32" y="111"/>
                    <a:pt x="32" y="111"/>
                  </a:cubicBezTo>
                  <a:cubicBezTo>
                    <a:pt x="34" y="111"/>
                    <a:pt x="35" y="112"/>
                    <a:pt x="35" y="114"/>
                  </a:cubicBezTo>
                  <a:cubicBezTo>
                    <a:pt x="35" y="131"/>
                    <a:pt x="35" y="131"/>
                    <a:pt x="35" y="131"/>
                  </a:cubicBezTo>
                  <a:cubicBezTo>
                    <a:pt x="35" y="131"/>
                    <a:pt x="35" y="131"/>
                    <a:pt x="36" y="132"/>
                  </a:cubicBezTo>
                  <a:cubicBezTo>
                    <a:pt x="36" y="132"/>
                    <a:pt x="36" y="132"/>
                    <a:pt x="36" y="131"/>
                  </a:cubicBezTo>
                  <a:cubicBezTo>
                    <a:pt x="56" y="112"/>
                    <a:pt x="56" y="112"/>
                    <a:pt x="56" y="112"/>
                  </a:cubicBezTo>
                  <a:cubicBezTo>
                    <a:pt x="57" y="111"/>
                    <a:pt x="57" y="111"/>
                    <a:pt x="58" y="111"/>
                  </a:cubicBezTo>
                  <a:cubicBezTo>
                    <a:pt x="148" y="111"/>
                    <a:pt x="148" y="111"/>
                    <a:pt x="148" y="111"/>
                  </a:cubicBezTo>
                  <a:cubicBezTo>
                    <a:pt x="155" y="111"/>
                    <a:pt x="161" y="105"/>
                    <a:pt x="161" y="97"/>
                  </a:cubicBezTo>
                  <a:cubicBezTo>
                    <a:pt x="161" y="69"/>
                    <a:pt x="161" y="69"/>
                    <a:pt x="161" y="69"/>
                  </a:cubicBezTo>
                  <a:cubicBezTo>
                    <a:pt x="161" y="67"/>
                    <a:pt x="163" y="66"/>
                    <a:pt x="165" y="66"/>
                  </a:cubicBezTo>
                  <a:cubicBezTo>
                    <a:pt x="167" y="66"/>
                    <a:pt x="169" y="67"/>
                    <a:pt x="169" y="69"/>
                  </a:cubicBezTo>
                  <a:cubicBezTo>
                    <a:pt x="169" y="97"/>
                    <a:pt x="169" y="97"/>
                    <a:pt x="169" y="97"/>
                  </a:cubicBezTo>
                  <a:cubicBezTo>
                    <a:pt x="169" y="109"/>
                    <a:pt x="159" y="118"/>
                    <a:pt x="148" y="118"/>
                  </a:cubicBezTo>
                  <a:cubicBezTo>
                    <a:pt x="60" y="118"/>
                    <a:pt x="60" y="118"/>
                    <a:pt x="60" y="118"/>
                  </a:cubicBezTo>
                  <a:cubicBezTo>
                    <a:pt x="41" y="137"/>
                    <a:pt x="41" y="137"/>
                    <a:pt x="41" y="137"/>
                  </a:cubicBezTo>
                  <a:cubicBezTo>
                    <a:pt x="40" y="138"/>
                    <a:pt x="38" y="139"/>
                    <a:pt x="36" y="13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50" name="Shape4_20200717_142329">
            <a:extLst>
              <a:ext uri="{FF2B5EF4-FFF2-40B4-BE49-F238E27FC236}">
                <a16:creationId xmlns:a16="http://schemas.microsoft.com/office/drawing/2014/main" id="{CFC588CE-72FE-5A13-2E50-01AD1182CF7B}"/>
              </a:ext>
            </a:extLst>
          </p:cNvPr>
          <p:cNvGrpSpPr>
            <a:grpSpLocks noChangeAspect="1"/>
          </p:cNvGrpSpPr>
          <p:nvPr/>
        </p:nvGrpSpPr>
        <p:grpSpPr>
          <a:xfrm>
            <a:off x="533391" y="1256939"/>
            <a:ext cx="680768" cy="533214"/>
            <a:chOff x="-7508875" y="2395538"/>
            <a:chExt cx="322263" cy="252413"/>
          </a:xfrm>
          <a:solidFill>
            <a:schemeClr val="accent1"/>
          </a:solidFill>
        </p:grpSpPr>
        <p:sp>
          <p:nvSpPr>
            <p:cNvPr id="75" name="Freeform 703">
              <a:extLst>
                <a:ext uri="{FF2B5EF4-FFF2-40B4-BE49-F238E27FC236}">
                  <a16:creationId xmlns:a16="http://schemas.microsoft.com/office/drawing/2014/main" id="{C2A11B65-8556-A61F-9481-933A1C2D378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508875" y="2395538"/>
              <a:ext cx="322263" cy="217488"/>
            </a:xfrm>
            <a:custGeom>
              <a:avLst/>
              <a:gdLst>
                <a:gd name="T0" fmla="*/ 252 w 269"/>
                <a:gd name="T1" fmla="*/ 181 h 181"/>
                <a:gd name="T2" fmla="*/ 18 w 269"/>
                <a:gd name="T3" fmla="*/ 181 h 181"/>
                <a:gd name="T4" fmla="*/ 0 w 269"/>
                <a:gd name="T5" fmla="*/ 164 h 181"/>
                <a:gd name="T6" fmla="*/ 0 w 269"/>
                <a:gd name="T7" fmla="*/ 17 h 181"/>
                <a:gd name="T8" fmla="*/ 18 w 269"/>
                <a:gd name="T9" fmla="*/ 0 h 181"/>
                <a:gd name="T10" fmla="*/ 252 w 269"/>
                <a:gd name="T11" fmla="*/ 0 h 181"/>
                <a:gd name="T12" fmla="*/ 269 w 269"/>
                <a:gd name="T13" fmla="*/ 17 h 181"/>
                <a:gd name="T14" fmla="*/ 269 w 269"/>
                <a:gd name="T15" fmla="*/ 164 h 181"/>
                <a:gd name="T16" fmla="*/ 252 w 269"/>
                <a:gd name="T17" fmla="*/ 181 h 181"/>
                <a:gd name="T18" fmla="*/ 18 w 269"/>
                <a:gd name="T19" fmla="*/ 7 h 181"/>
                <a:gd name="T20" fmla="*/ 8 w 269"/>
                <a:gd name="T21" fmla="*/ 17 h 181"/>
                <a:gd name="T22" fmla="*/ 8 w 269"/>
                <a:gd name="T23" fmla="*/ 164 h 181"/>
                <a:gd name="T24" fmla="*/ 18 w 269"/>
                <a:gd name="T25" fmla="*/ 174 h 181"/>
                <a:gd name="T26" fmla="*/ 252 w 269"/>
                <a:gd name="T27" fmla="*/ 174 h 181"/>
                <a:gd name="T28" fmla="*/ 262 w 269"/>
                <a:gd name="T29" fmla="*/ 164 h 181"/>
                <a:gd name="T30" fmla="*/ 262 w 269"/>
                <a:gd name="T31" fmla="*/ 17 h 181"/>
                <a:gd name="T32" fmla="*/ 252 w 269"/>
                <a:gd name="T33" fmla="*/ 7 h 181"/>
                <a:gd name="T34" fmla="*/ 18 w 269"/>
                <a:gd name="T35" fmla="*/ 7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69" h="181">
                  <a:moveTo>
                    <a:pt x="252" y="181"/>
                  </a:moveTo>
                  <a:cubicBezTo>
                    <a:pt x="18" y="181"/>
                    <a:pt x="18" y="181"/>
                    <a:pt x="18" y="181"/>
                  </a:cubicBezTo>
                  <a:cubicBezTo>
                    <a:pt x="8" y="181"/>
                    <a:pt x="0" y="173"/>
                    <a:pt x="0" y="164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52" y="0"/>
                    <a:pt x="252" y="0"/>
                    <a:pt x="252" y="0"/>
                  </a:cubicBezTo>
                  <a:cubicBezTo>
                    <a:pt x="261" y="0"/>
                    <a:pt x="269" y="8"/>
                    <a:pt x="269" y="17"/>
                  </a:cubicBezTo>
                  <a:cubicBezTo>
                    <a:pt x="269" y="164"/>
                    <a:pt x="269" y="164"/>
                    <a:pt x="269" y="164"/>
                  </a:cubicBezTo>
                  <a:cubicBezTo>
                    <a:pt x="269" y="173"/>
                    <a:pt x="261" y="181"/>
                    <a:pt x="252" y="181"/>
                  </a:cubicBezTo>
                  <a:close/>
                  <a:moveTo>
                    <a:pt x="18" y="7"/>
                  </a:moveTo>
                  <a:cubicBezTo>
                    <a:pt x="12" y="7"/>
                    <a:pt x="8" y="12"/>
                    <a:pt x="8" y="17"/>
                  </a:cubicBezTo>
                  <a:cubicBezTo>
                    <a:pt x="8" y="164"/>
                    <a:pt x="8" y="164"/>
                    <a:pt x="8" y="164"/>
                  </a:cubicBezTo>
                  <a:cubicBezTo>
                    <a:pt x="8" y="169"/>
                    <a:pt x="12" y="174"/>
                    <a:pt x="18" y="174"/>
                  </a:cubicBezTo>
                  <a:cubicBezTo>
                    <a:pt x="252" y="174"/>
                    <a:pt x="252" y="174"/>
                    <a:pt x="252" y="174"/>
                  </a:cubicBezTo>
                  <a:cubicBezTo>
                    <a:pt x="257" y="174"/>
                    <a:pt x="262" y="169"/>
                    <a:pt x="262" y="164"/>
                  </a:cubicBezTo>
                  <a:cubicBezTo>
                    <a:pt x="262" y="17"/>
                    <a:pt x="262" y="17"/>
                    <a:pt x="262" y="17"/>
                  </a:cubicBezTo>
                  <a:cubicBezTo>
                    <a:pt x="262" y="12"/>
                    <a:pt x="257" y="7"/>
                    <a:pt x="252" y="7"/>
                  </a:cubicBezTo>
                  <a:lnTo>
                    <a:pt x="18" y="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6" name="Freeform 704">
              <a:extLst>
                <a:ext uri="{FF2B5EF4-FFF2-40B4-BE49-F238E27FC236}">
                  <a16:creationId xmlns:a16="http://schemas.microsoft.com/office/drawing/2014/main" id="{E3EFBCC9-2C8C-F22D-CF1A-77687AAFF6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372350" y="2605088"/>
              <a:ext cx="49213" cy="42863"/>
            </a:xfrm>
            <a:custGeom>
              <a:avLst/>
              <a:gdLst>
                <a:gd name="T0" fmla="*/ 38 w 42"/>
                <a:gd name="T1" fmla="*/ 37 h 37"/>
                <a:gd name="T2" fmla="*/ 3 w 42"/>
                <a:gd name="T3" fmla="*/ 37 h 37"/>
                <a:gd name="T4" fmla="*/ 0 w 42"/>
                <a:gd name="T5" fmla="*/ 33 h 37"/>
                <a:gd name="T6" fmla="*/ 0 w 42"/>
                <a:gd name="T7" fmla="*/ 4 h 37"/>
                <a:gd name="T8" fmla="*/ 3 w 42"/>
                <a:gd name="T9" fmla="*/ 0 h 37"/>
                <a:gd name="T10" fmla="*/ 38 w 42"/>
                <a:gd name="T11" fmla="*/ 0 h 37"/>
                <a:gd name="T12" fmla="*/ 42 w 42"/>
                <a:gd name="T13" fmla="*/ 4 h 37"/>
                <a:gd name="T14" fmla="*/ 42 w 42"/>
                <a:gd name="T15" fmla="*/ 33 h 37"/>
                <a:gd name="T16" fmla="*/ 38 w 42"/>
                <a:gd name="T17" fmla="*/ 37 h 37"/>
                <a:gd name="T18" fmla="*/ 7 w 42"/>
                <a:gd name="T19" fmla="*/ 30 h 37"/>
                <a:gd name="T20" fmla="*/ 34 w 42"/>
                <a:gd name="T21" fmla="*/ 30 h 37"/>
                <a:gd name="T22" fmla="*/ 34 w 42"/>
                <a:gd name="T23" fmla="*/ 7 h 37"/>
                <a:gd name="T24" fmla="*/ 7 w 42"/>
                <a:gd name="T25" fmla="*/ 7 h 37"/>
                <a:gd name="T26" fmla="*/ 7 w 42"/>
                <a:gd name="T27" fmla="*/ 3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2" h="37">
                  <a:moveTo>
                    <a:pt x="38" y="37"/>
                  </a:moveTo>
                  <a:cubicBezTo>
                    <a:pt x="3" y="37"/>
                    <a:pt x="3" y="37"/>
                    <a:pt x="3" y="37"/>
                  </a:cubicBezTo>
                  <a:cubicBezTo>
                    <a:pt x="1" y="37"/>
                    <a:pt x="0" y="35"/>
                    <a:pt x="0" y="3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40" y="0"/>
                    <a:pt x="42" y="2"/>
                    <a:pt x="42" y="4"/>
                  </a:cubicBezTo>
                  <a:cubicBezTo>
                    <a:pt x="42" y="33"/>
                    <a:pt x="42" y="33"/>
                    <a:pt x="42" y="33"/>
                  </a:cubicBezTo>
                  <a:cubicBezTo>
                    <a:pt x="42" y="35"/>
                    <a:pt x="40" y="37"/>
                    <a:pt x="38" y="37"/>
                  </a:cubicBezTo>
                  <a:close/>
                  <a:moveTo>
                    <a:pt x="7" y="30"/>
                  </a:moveTo>
                  <a:cubicBezTo>
                    <a:pt x="34" y="30"/>
                    <a:pt x="34" y="30"/>
                    <a:pt x="34" y="30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7" name="Freeform 705">
              <a:extLst>
                <a:ext uri="{FF2B5EF4-FFF2-40B4-BE49-F238E27FC236}">
                  <a16:creationId xmlns:a16="http://schemas.microsoft.com/office/drawing/2014/main" id="{63CF64A7-C9B0-1125-E6AC-1AB2DAD82AF6}"/>
                </a:ext>
              </a:extLst>
            </p:cNvPr>
            <p:cNvSpPr>
              <a:spLocks/>
            </p:cNvSpPr>
            <p:nvPr/>
          </p:nvSpPr>
          <p:spPr bwMode="auto">
            <a:xfrm>
              <a:off x="-7508875" y="2566988"/>
              <a:ext cx="322263" cy="7938"/>
            </a:xfrm>
            <a:custGeom>
              <a:avLst/>
              <a:gdLst>
                <a:gd name="T0" fmla="*/ 265 w 269"/>
                <a:gd name="T1" fmla="*/ 7 h 7"/>
                <a:gd name="T2" fmla="*/ 4 w 269"/>
                <a:gd name="T3" fmla="*/ 7 h 7"/>
                <a:gd name="T4" fmla="*/ 0 w 269"/>
                <a:gd name="T5" fmla="*/ 3 h 7"/>
                <a:gd name="T6" fmla="*/ 4 w 269"/>
                <a:gd name="T7" fmla="*/ 0 h 7"/>
                <a:gd name="T8" fmla="*/ 265 w 269"/>
                <a:gd name="T9" fmla="*/ 0 h 7"/>
                <a:gd name="T10" fmla="*/ 269 w 269"/>
                <a:gd name="T11" fmla="*/ 3 h 7"/>
                <a:gd name="T12" fmla="*/ 265 w 269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9" h="7">
                  <a:moveTo>
                    <a:pt x="265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265" y="0"/>
                    <a:pt x="265" y="0"/>
                    <a:pt x="265" y="0"/>
                  </a:cubicBezTo>
                  <a:cubicBezTo>
                    <a:pt x="267" y="0"/>
                    <a:pt x="269" y="1"/>
                    <a:pt x="269" y="3"/>
                  </a:cubicBezTo>
                  <a:cubicBezTo>
                    <a:pt x="269" y="5"/>
                    <a:pt x="267" y="7"/>
                    <a:pt x="265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8" name="Freeform 706">
              <a:extLst>
                <a:ext uri="{FF2B5EF4-FFF2-40B4-BE49-F238E27FC236}">
                  <a16:creationId xmlns:a16="http://schemas.microsoft.com/office/drawing/2014/main" id="{749F3B86-3F24-2460-840D-691C7A87EA8B}"/>
                </a:ext>
              </a:extLst>
            </p:cNvPr>
            <p:cNvSpPr>
              <a:spLocks/>
            </p:cNvSpPr>
            <p:nvPr/>
          </p:nvSpPr>
          <p:spPr bwMode="auto">
            <a:xfrm>
              <a:off x="-7404100" y="2640013"/>
              <a:ext cx="112713" cy="7938"/>
            </a:xfrm>
            <a:custGeom>
              <a:avLst/>
              <a:gdLst>
                <a:gd name="T0" fmla="*/ 90 w 94"/>
                <a:gd name="T1" fmla="*/ 7 h 7"/>
                <a:gd name="T2" fmla="*/ 3 w 94"/>
                <a:gd name="T3" fmla="*/ 7 h 7"/>
                <a:gd name="T4" fmla="*/ 0 w 94"/>
                <a:gd name="T5" fmla="*/ 3 h 7"/>
                <a:gd name="T6" fmla="*/ 3 w 94"/>
                <a:gd name="T7" fmla="*/ 0 h 7"/>
                <a:gd name="T8" fmla="*/ 90 w 94"/>
                <a:gd name="T9" fmla="*/ 0 h 7"/>
                <a:gd name="T10" fmla="*/ 94 w 94"/>
                <a:gd name="T11" fmla="*/ 3 h 7"/>
                <a:gd name="T12" fmla="*/ 90 w 94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4" h="7">
                  <a:moveTo>
                    <a:pt x="90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2" y="0"/>
                    <a:pt x="94" y="1"/>
                    <a:pt x="94" y="3"/>
                  </a:cubicBezTo>
                  <a:cubicBezTo>
                    <a:pt x="94" y="5"/>
                    <a:pt x="92" y="7"/>
                    <a:pt x="90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9" name="Freeform 707">
              <a:extLst>
                <a:ext uri="{FF2B5EF4-FFF2-40B4-BE49-F238E27FC236}">
                  <a16:creationId xmlns:a16="http://schemas.microsoft.com/office/drawing/2014/main" id="{A8AD4291-8533-E7B1-F6AC-29BA5A76C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-7324725" y="2454276"/>
              <a:ext cx="58738" cy="63500"/>
            </a:xfrm>
            <a:custGeom>
              <a:avLst/>
              <a:gdLst>
                <a:gd name="T0" fmla="*/ 4 w 49"/>
                <a:gd name="T1" fmla="*/ 53 h 53"/>
                <a:gd name="T2" fmla="*/ 1 w 49"/>
                <a:gd name="T3" fmla="*/ 52 h 53"/>
                <a:gd name="T4" fmla="*/ 1 w 49"/>
                <a:gd name="T5" fmla="*/ 47 h 53"/>
                <a:gd name="T6" fmla="*/ 43 w 49"/>
                <a:gd name="T7" fmla="*/ 2 h 53"/>
                <a:gd name="T8" fmla="*/ 48 w 49"/>
                <a:gd name="T9" fmla="*/ 2 h 53"/>
                <a:gd name="T10" fmla="*/ 48 w 49"/>
                <a:gd name="T11" fmla="*/ 7 h 53"/>
                <a:gd name="T12" fmla="*/ 6 w 49"/>
                <a:gd name="T13" fmla="*/ 52 h 53"/>
                <a:gd name="T14" fmla="*/ 4 w 49"/>
                <a:gd name="T1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" h="53">
                  <a:moveTo>
                    <a:pt x="4" y="53"/>
                  </a:moveTo>
                  <a:cubicBezTo>
                    <a:pt x="3" y="53"/>
                    <a:pt x="2" y="52"/>
                    <a:pt x="1" y="52"/>
                  </a:cubicBezTo>
                  <a:cubicBezTo>
                    <a:pt x="0" y="50"/>
                    <a:pt x="0" y="48"/>
                    <a:pt x="1" y="47"/>
                  </a:cubicBezTo>
                  <a:cubicBezTo>
                    <a:pt x="43" y="2"/>
                    <a:pt x="43" y="2"/>
                    <a:pt x="43" y="2"/>
                  </a:cubicBezTo>
                  <a:cubicBezTo>
                    <a:pt x="44" y="1"/>
                    <a:pt x="46" y="0"/>
                    <a:pt x="48" y="2"/>
                  </a:cubicBezTo>
                  <a:cubicBezTo>
                    <a:pt x="49" y="3"/>
                    <a:pt x="49" y="5"/>
                    <a:pt x="48" y="7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5" y="52"/>
                    <a:pt x="5" y="53"/>
                    <a:pt x="4" y="5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0" name="Freeform 708">
              <a:extLst>
                <a:ext uri="{FF2B5EF4-FFF2-40B4-BE49-F238E27FC236}">
                  <a16:creationId xmlns:a16="http://schemas.microsoft.com/office/drawing/2014/main" id="{DE9DBBDE-63D8-6937-3945-2A6E1CB79F73}"/>
                </a:ext>
              </a:extLst>
            </p:cNvPr>
            <p:cNvSpPr>
              <a:spLocks/>
            </p:cNvSpPr>
            <p:nvPr/>
          </p:nvSpPr>
          <p:spPr bwMode="auto">
            <a:xfrm>
              <a:off x="-7396163" y="2482851"/>
              <a:ext cx="61913" cy="38100"/>
            </a:xfrm>
            <a:custGeom>
              <a:avLst/>
              <a:gdLst>
                <a:gd name="T0" fmla="*/ 48 w 52"/>
                <a:gd name="T1" fmla="*/ 31 h 31"/>
                <a:gd name="T2" fmla="*/ 47 w 52"/>
                <a:gd name="T3" fmla="*/ 31 h 31"/>
                <a:gd name="T4" fmla="*/ 2 w 52"/>
                <a:gd name="T5" fmla="*/ 7 h 31"/>
                <a:gd name="T6" fmla="*/ 1 w 52"/>
                <a:gd name="T7" fmla="*/ 2 h 31"/>
                <a:gd name="T8" fmla="*/ 6 w 52"/>
                <a:gd name="T9" fmla="*/ 1 h 31"/>
                <a:gd name="T10" fmla="*/ 50 w 52"/>
                <a:gd name="T11" fmla="*/ 24 h 31"/>
                <a:gd name="T12" fmla="*/ 51 w 52"/>
                <a:gd name="T13" fmla="*/ 29 h 31"/>
                <a:gd name="T14" fmla="*/ 48 w 52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2" h="31">
                  <a:moveTo>
                    <a:pt x="48" y="31"/>
                  </a:moveTo>
                  <a:cubicBezTo>
                    <a:pt x="48" y="31"/>
                    <a:pt x="47" y="31"/>
                    <a:pt x="47" y="31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1" y="6"/>
                    <a:pt x="0" y="4"/>
                    <a:pt x="1" y="2"/>
                  </a:cubicBezTo>
                  <a:cubicBezTo>
                    <a:pt x="2" y="0"/>
                    <a:pt x="4" y="0"/>
                    <a:pt x="6" y="1"/>
                  </a:cubicBezTo>
                  <a:cubicBezTo>
                    <a:pt x="50" y="24"/>
                    <a:pt x="50" y="24"/>
                    <a:pt x="50" y="24"/>
                  </a:cubicBezTo>
                  <a:cubicBezTo>
                    <a:pt x="52" y="25"/>
                    <a:pt x="52" y="28"/>
                    <a:pt x="51" y="29"/>
                  </a:cubicBezTo>
                  <a:cubicBezTo>
                    <a:pt x="51" y="30"/>
                    <a:pt x="50" y="31"/>
                    <a:pt x="48" y="3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1" name="Freeform 709">
              <a:extLst>
                <a:ext uri="{FF2B5EF4-FFF2-40B4-BE49-F238E27FC236}">
                  <a16:creationId xmlns:a16="http://schemas.microsoft.com/office/drawing/2014/main" id="{7890E906-6E7C-952E-AA7A-9E3165FBBFE9}"/>
                </a:ext>
              </a:extLst>
            </p:cNvPr>
            <p:cNvSpPr>
              <a:spLocks/>
            </p:cNvSpPr>
            <p:nvPr/>
          </p:nvSpPr>
          <p:spPr bwMode="auto">
            <a:xfrm>
              <a:off x="-7440613" y="2487613"/>
              <a:ext cx="36513" cy="42863"/>
            </a:xfrm>
            <a:custGeom>
              <a:avLst/>
              <a:gdLst>
                <a:gd name="T0" fmla="*/ 5 w 31"/>
                <a:gd name="T1" fmla="*/ 36 h 36"/>
                <a:gd name="T2" fmla="*/ 2 w 31"/>
                <a:gd name="T3" fmla="*/ 35 h 36"/>
                <a:gd name="T4" fmla="*/ 2 w 31"/>
                <a:gd name="T5" fmla="*/ 30 h 36"/>
                <a:gd name="T6" fmla="*/ 24 w 31"/>
                <a:gd name="T7" fmla="*/ 2 h 36"/>
                <a:gd name="T8" fmla="*/ 29 w 31"/>
                <a:gd name="T9" fmla="*/ 1 h 36"/>
                <a:gd name="T10" fmla="*/ 30 w 31"/>
                <a:gd name="T11" fmla="*/ 6 h 36"/>
                <a:gd name="T12" fmla="*/ 7 w 31"/>
                <a:gd name="T13" fmla="*/ 34 h 36"/>
                <a:gd name="T14" fmla="*/ 5 w 31"/>
                <a:gd name="T15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1" h="36">
                  <a:moveTo>
                    <a:pt x="5" y="36"/>
                  </a:moveTo>
                  <a:cubicBezTo>
                    <a:pt x="4" y="36"/>
                    <a:pt x="3" y="35"/>
                    <a:pt x="2" y="35"/>
                  </a:cubicBezTo>
                  <a:cubicBezTo>
                    <a:pt x="1" y="34"/>
                    <a:pt x="0" y="31"/>
                    <a:pt x="2" y="30"/>
                  </a:cubicBezTo>
                  <a:cubicBezTo>
                    <a:pt x="24" y="2"/>
                    <a:pt x="24" y="2"/>
                    <a:pt x="24" y="2"/>
                  </a:cubicBezTo>
                  <a:cubicBezTo>
                    <a:pt x="25" y="0"/>
                    <a:pt x="28" y="0"/>
                    <a:pt x="29" y="1"/>
                  </a:cubicBezTo>
                  <a:cubicBezTo>
                    <a:pt x="31" y="2"/>
                    <a:pt x="31" y="5"/>
                    <a:pt x="30" y="6"/>
                  </a:cubicBezTo>
                  <a:cubicBezTo>
                    <a:pt x="7" y="34"/>
                    <a:pt x="7" y="34"/>
                    <a:pt x="7" y="34"/>
                  </a:cubicBezTo>
                  <a:cubicBezTo>
                    <a:pt x="7" y="35"/>
                    <a:pt x="6" y="36"/>
                    <a:pt x="5" y="3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2" name="Freeform 710">
              <a:extLst>
                <a:ext uri="{FF2B5EF4-FFF2-40B4-BE49-F238E27FC236}">
                  <a16:creationId xmlns:a16="http://schemas.microsoft.com/office/drawing/2014/main" id="{E4717CE1-DC8F-4176-C30F-051974B15D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458075" y="2519363"/>
              <a:ext cx="30163" cy="31750"/>
            </a:xfrm>
            <a:custGeom>
              <a:avLst/>
              <a:gdLst>
                <a:gd name="T0" fmla="*/ 12 w 25"/>
                <a:gd name="T1" fmla="*/ 26 h 26"/>
                <a:gd name="T2" fmla="*/ 12 w 25"/>
                <a:gd name="T3" fmla="*/ 26 h 26"/>
                <a:gd name="T4" fmla="*/ 3 w 25"/>
                <a:gd name="T5" fmla="*/ 22 h 26"/>
                <a:gd name="T6" fmla="*/ 0 w 25"/>
                <a:gd name="T7" fmla="*/ 13 h 26"/>
                <a:gd name="T8" fmla="*/ 4 w 25"/>
                <a:gd name="T9" fmla="*/ 4 h 26"/>
                <a:gd name="T10" fmla="*/ 13 w 25"/>
                <a:gd name="T11" fmla="*/ 1 h 26"/>
                <a:gd name="T12" fmla="*/ 21 w 25"/>
                <a:gd name="T13" fmla="*/ 5 h 26"/>
                <a:gd name="T14" fmla="*/ 25 w 25"/>
                <a:gd name="T15" fmla="*/ 14 h 26"/>
                <a:gd name="T16" fmla="*/ 21 w 25"/>
                <a:gd name="T17" fmla="*/ 22 h 26"/>
                <a:gd name="T18" fmla="*/ 12 w 25"/>
                <a:gd name="T19" fmla="*/ 26 h 26"/>
                <a:gd name="T20" fmla="*/ 12 w 25"/>
                <a:gd name="T21" fmla="*/ 8 h 26"/>
                <a:gd name="T22" fmla="*/ 9 w 25"/>
                <a:gd name="T23" fmla="*/ 9 h 26"/>
                <a:gd name="T24" fmla="*/ 7 w 25"/>
                <a:gd name="T25" fmla="*/ 13 h 26"/>
                <a:gd name="T26" fmla="*/ 8 w 25"/>
                <a:gd name="T27" fmla="*/ 17 h 26"/>
                <a:gd name="T28" fmla="*/ 12 w 25"/>
                <a:gd name="T29" fmla="*/ 18 h 26"/>
                <a:gd name="T30" fmla="*/ 16 w 25"/>
                <a:gd name="T31" fmla="*/ 17 h 26"/>
                <a:gd name="T32" fmla="*/ 17 w 25"/>
                <a:gd name="T33" fmla="*/ 13 h 26"/>
                <a:gd name="T34" fmla="*/ 17 w 25"/>
                <a:gd name="T35" fmla="*/ 13 h 26"/>
                <a:gd name="T36" fmla="*/ 16 w 25"/>
                <a:gd name="T37" fmla="*/ 9 h 26"/>
                <a:gd name="T38" fmla="*/ 12 w 25"/>
                <a:gd name="T39" fmla="*/ 8 h 26"/>
                <a:gd name="T40" fmla="*/ 12 w 25"/>
                <a:gd name="T41" fmla="*/ 8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" h="26">
                  <a:moveTo>
                    <a:pt x="12" y="26"/>
                  </a:moveTo>
                  <a:cubicBezTo>
                    <a:pt x="12" y="26"/>
                    <a:pt x="12" y="26"/>
                    <a:pt x="12" y="26"/>
                  </a:cubicBezTo>
                  <a:cubicBezTo>
                    <a:pt x="8" y="25"/>
                    <a:pt x="5" y="24"/>
                    <a:pt x="3" y="22"/>
                  </a:cubicBezTo>
                  <a:cubicBezTo>
                    <a:pt x="1" y="19"/>
                    <a:pt x="0" y="16"/>
                    <a:pt x="0" y="13"/>
                  </a:cubicBezTo>
                  <a:cubicBezTo>
                    <a:pt x="0" y="9"/>
                    <a:pt x="1" y="6"/>
                    <a:pt x="4" y="4"/>
                  </a:cubicBezTo>
                  <a:cubicBezTo>
                    <a:pt x="6" y="2"/>
                    <a:pt x="9" y="0"/>
                    <a:pt x="13" y="1"/>
                  </a:cubicBezTo>
                  <a:cubicBezTo>
                    <a:pt x="16" y="1"/>
                    <a:pt x="19" y="2"/>
                    <a:pt x="21" y="5"/>
                  </a:cubicBezTo>
                  <a:cubicBezTo>
                    <a:pt x="24" y="7"/>
                    <a:pt x="25" y="10"/>
                    <a:pt x="25" y="14"/>
                  </a:cubicBezTo>
                  <a:cubicBezTo>
                    <a:pt x="25" y="17"/>
                    <a:pt x="23" y="20"/>
                    <a:pt x="21" y="22"/>
                  </a:cubicBezTo>
                  <a:cubicBezTo>
                    <a:pt x="18" y="24"/>
                    <a:pt x="15" y="26"/>
                    <a:pt x="12" y="26"/>
                  </a:cubicBezTo>
                  <a:close/>
                  <a:moveTo>
                    <a:pt x="12" y="8"/>
                  </a:moveTo>
                  <a:cubicBezTo>
                    <a:pt x="11" y="8"/>
                    <a:pt x="10" y="8"/>
                    <a:pt x="9" y="9"/>
                  </a:cubicBezTo>
                  <a:cubicBezTo>
                    <a:pt x="8" y="10"/>
                    <a:pt x="7" y="11"/>
                    <a:pt x="7" y="13"/>
                  </a:cubicBezTo>
                  <a:cubicBezTo>
                    <a:pt x="7" y="14"/>
                    <a:pt x="7" y="16"/>
                    <a:pt x="8" y="17"/>
                  </a:cubicBezTo>
                  <a:cubicBezTo>
                    <a:pt x="9" y="18"/>
                    <a:pt x="11" y="18"/>
                    <a:pt x="12" y="18"/>
                  </a:cubicBezTo>
                  <a:cubicBezTo>
                    <a:pt x="13" y="18"/>
                    <a:pt x="15" y="18"/>
                    <a:pt x="16" y="17"/>
                  </a:cubicBezTo>
                  <a:cubicBezTo>
                    <a:pt x="17" y="16"/>
                    <a:pt x="17" y="15"/>
                    <a:pt x="17" y="13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18" y="12"/>
                    <a:pt x="17" y="11"/>
                    <a:pt x="16" y="9"/>
                  </a:cubicBezTo>
                  <a:cubicBezTo>
                    <a:pt x="15" y="8"/>
                    <a:pt x="14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3" name="Freeform 711">
              <a:extLst>
                <a:ext uri="{FF2B5EF4-FFF2-40B4-BE49-F238E27FC236}">
                  <a16:creationId xmlns:a16="http://schemas.microsoft.com/office/drawing/2014/main" id="{9ACA24D7-5119-725E-BCA2-F8FD30AE76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416800" y="2468563"/>
              <a:ext cx="30163" cy="28575"/>
            </a:xfrm>
            <a:custGeom>
              <a:avLst/>
              <a:gdLst>
                <a:gd name="T0" fmla="*/ 13 w 26"/>
                <a:gd name="T1" fmla="*/ 25 h 25"/>
                <a:gd name="T2" fmla="*/ 12 w 26"/>
                <a:gd name="T3" fmla="*/ 25 h 25"/>
                <a:gd name="T4" fmla="*/ 1 w 26"/>
                <a:gd name="T5" fmla="*/ 12 h 25"/>
                <a:gd name="T6" fmla="*/ 14 w 26"/>
                <a:gd name="T7" fmla="*/ 0 h 25"/>
                <a:gd name="T8" fmla="*/ 26 w 26"/>
                <a:gd name="T9" fmla="*/ 13 h 25"/>
                <a:gd name="T10" fmla="*/ 21 w 26"/>
                <a:gd name="T11" fmla="*/ 22 h 25"/>
                <a:gd name="T12" fmla="*/ 13 w 26"/>
                <a:gd name="T13" fmla="*/ 25 h 25"/>
                <a:gd name="T14" fmla="*/ 13 w 26"/>
                <a:gd name="T15" fmla="*/ 7 h 25"/>
                <a:gd name="T16" fmla="*/ 8 w 26"/>
                <a:gd name="T17" fmla="*/ 12 h 25"/>
                <a:gd name="T18" fmla="*/ 13 w 26"/>
                <a:gd name="T19" fmla="*/ 18 h 25"/>
                <a:gd name="T20" fmla="*/ 17 w 26"/>
                <a:gd name="T21" fmla="*/ 16 h 25"/>
                <a:gd name="T22" fmla="*/ 18 w 26"/>
                <a:gd name="T23" fmla="*/ 13 h 25"/>
                <a:gd name="T24" fmla="*/ 13 w 26"/>
                <a:gd name="T25" fmla="*/ 7 h 25"/>
                <a:gd name="T26" fmla="*/ 13 w 26"/>
                <a:gd name="T27" fmla="*/ 7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" h="25">
                  <a:moveTo>
                    <a:pt x="13" y="25"/>
                  </a:moveTo>
                  <a:cubicBezTo>
                    <a:pt x="13" y="25"/>
                    <a:pt x="13" y="25"/>
                    <a:pt x="12" y="25"/>
                  </a:cubicBezTo>
                  <a:cubicBezTo>
                    <a:pt x="6" y="25"/>
                    <a:pt x="0" y="19"/>
                    <a:pt x="1" y="12"/>
                  </a:cubicBezTo>
                  <a:cubicBezTo>
                    <a:pt x="1" y="5"/>
                    <a:pt x="7" y="0"/>
                    <a:pt x="14" y="0"/>
                  </a:cubicBezTo>
                  <a:cubicBezTo>
                    <a:pt x="21" y="0"/>
                    <a:pt x="26" y="6"/>
                    <a:pt x="26" y="13"/>
                  </a:cubicBezTo>
                  <a:cubicBezTo>
                    <a:pt x="25" y="16"/>
                    <a:pt x="24" y="19"/>
                    <a:pt x="21" y="22"/>
                  </a:cubicBezTo>
                  <a:cubicBezTo>
                    <a:pt x="19" y="24"/>
                    <a:pt x="16" y="25"/>
                    <a:pt x="13" y="25"/>
                  </a:cubicBezTo>
                  <a:close/>
                  <a:moveTo>
                    <a:pt x="13" y="7"/>
                  </a:moveTo>
                  <a:cubicBezTo>
                    <a:pt x="10" y="7"/>
                    <a:pt x="8" y="9"/>
                    <a:pt x="8" y="12"/>
                  </a:cubicBezTo>
                  <a:cubicBezTo>
                    <a:pt x="8" y="15"/>
                    <a:pt x="10" y="18"/>
                    <a:pt x="13" y="18"/>
                  </a:cubicBezTo>
                  <a:cubicBezTo>
                    <a:pt x="14" y="18"/>
                    <a:pt x="16" y="17"/>
                    <a:pt x="17" y="16"/>
                  </a:cubicBezTo>
                  <a:cubicBezTo>
                    <a:pt x="18" y="15"/>
                    <a:pt x="18" y="14"/>
                    <a:pt x="18" y="13"/>
                  </a:cubicBezTo>
                  <a:cubicBezTo>
                    <a:pt x="18" y="10"/>
                    <a:pt x="16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4" name="Freeform 712">
              <a:extLst>
                <a:ext uri="{FF2B5EF4-FFF2-40B4-BE49-F238E27FC236}">
                  <a16:creationId xmlns:a16="http://schemas.microsoft.com/office/drawing/2014/main" id="{65614223-7BAB-0D39-227E-BF5B48CCD1B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343775" y="2506663"/>
              <a:ext cx="30163" cy="30163"/>
            </a:xfrm>
            <a:custGeom>
              <a:avLst/>
              <a:gdLst>
                <a:gd name="T0" fmla="*/ 13 w 26"/>
                <a:gd name="T1" fmla="*/ 25 h 25"/>
                <a:gd name="T2" fmla="*/ 12 w 26"/>
                <a:gd name="T3" fmla="*/ 25 h 25"/>
                <a:gd name="T4" fmla="*/ 4 w 26"/>
                <a:gd name="T5" fmla="*/ 21 h 25"/>
                <a:gd name="T6" fmla="*/ 0 w 26"/>
                <a:gd name="T7" fmla="*/ 12 h 25"/>
                <a:gd name="T8" fmla="*/ 5 w 26"/>
                <a:gd name="T9" fmla="*/ 3 h 25"/>
                <a:gd name="T10" fmla="*/ 14 w 26"/>
                <a:gd name="T11" fmla="*/ 0 h 25"/>
                <a:gd name="T12" fmla="*/ 22 w 26"/>
                <a:gd name="T13" fmla="*/ 4 h 25"/>
                <a:gd name="T14" fmla="*/ 25 w 26"/>
                <a:gd name="T15" fmla="*/ 13 h 25"/>
                <a:gd name="T16" fmla="*/ 21 w 26"/>
                <a:gd name="T17" fmla="*/ 22 h 25"/>
                <a:gd name="T18" fmla="*/ 13 w 26"/>
                <a:gd name="T19" fmla="*/ 25 h 25"/>
                <a:gd name="T20" fmla="*/ 13 w 26"/>
                <a:gd name="T21" fmla="*/ 7 h 25"/>
                <a:gd name="T22" fmla="*/ 9 w 26"/>
                <a:gd name="T23" fmla="*/ 8 h 25"/>
                <a:gd name="T24" fmla="*/ 8 w 26"/>
                <a:gd name="T25" fmla="*/ 12 h 25"/>
                <a:gd name="T26" fmla="*/ 9 w 26"/>
                <a:gd name="T27" fmla="*/ 16 h 25"/>
                <a:gd name="T28" fmla="*/ 13 w 26"/>
                <a:gd name="T29" fmla="*/ 18 h 25"/>
                <a:gd name="T30" fmla="*/ 17 w 26"/>
                <a:gd name="T31" fmla="*/ 16 h 25"/>
                <a:gd name="T32" fmla="*/ 18 w 26"/>
                <a:gd name="T33" fmla="*/ 13 h 25"/>
                <a:gd name="T34" fmla="*/ 18 w 26"/>
                <a:gd name="T35" fmla="*/ 13 h 25"/>
                <a:gd name="T36" fmla="*/ 17 w 26"/>
                <a:gd name="T37" fmla="*/ 9 h 25"/>
                <a:gd name="T38" fmla="*/ 13 w 26"/>
                <a:gd name="T39" fmla="*/ 7 h 25"/>
                <a:gd name="T40" fmla="*/ 13 w 26"/>
                <a:gd name="T41" fmla="*/ 7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6" h="25">
                  <a:moveTo>
                    <a:pt x="13" y="25"/>
                  </a:moveTo>
                  <a:cubicBezTo>
                    <a:pt x="13" y="25"/>
                    <a:pt x="13" y="25"/>
                    <a:pt x="12" y="25"/>
                  </a:cubicBezTo>
                  <a:cubicBezTo>
                    <a:pt x="9" y="25"/>
                    <a:pt x="6" y="23"/>
                    <a:pt x="4" y="21"/>
                  </a:cubicBezTo>
                  <a:cubicBezTo>
                    <a:pt x="1" y="18"/>
                    <a:pt x="0" y="15"/>
                    <a:pt x="0" y="12"/>
                  </a:cubicBezTo>
                  <a:cubicBezTo>
                    <a:pt x="1" y="8"/>
                    <a:pt x="2" y="5"/>
                    <a:pt x="5" y="3"/>
                  </a:cubicBezTo>
                  <a:cubicBezTo>
                    <a:pt x="7" y="1"/>
                    <a:pt x="10" y="0"/>
                    <a:pt x="14" y="0"/>
                  </a:cubicBezTo>
                  <a:cubicBezTo>
                    <a:pt x="17" y="0"/>
                    <a:pt x="20" y="1"/>
                    <a:pt x="22" y="4"/>
                  </a:cubicBezTo>
                  <a:cubicBezTo>
                    <a:pt x="24" y="6"/>
                    <a:pt x="26" y="9"/>
                    <a:pt x="25" y="13"/>
                  </a:cubicBezTo>
                  <a:cubicBezTo>
                    <a:pt x="25" y="16"/>
                    <a:pt x="24" y="19"/>
                    <a:pt x="21" y="22"/>
                  </a:cubicBezTo>
                  <a:cubicBezTo>
                    <a:pt x="19" y="24"/>
                    <a:pt x="16" y="25"/>
                    <a:pt x="13" y="25"/>
                  </a:cubicBezTo>
                  <a:close/>
                  <a:moveTo>
                    <a:pt x="13" y="7"/>
                  </a:moveTo>
                  <a:cubicBezTo>
                    <a:pt x="12" y="7"/>
                    <a:pt x="10" y="7"/>
                    <a:pt x="9" y="8"/>
                  </a:cubicBezTo>
                  <a:cubicBezTo>
                    <a:pt x="8" y="9"/>
                    <a:pt x="8" y="11"/>
                    <a:pt x="8" y="12"/>
                  </a:cubicBezTo>
                  <a:cubicBezTo>
                    <a:pt x="8" y="13"/>
                    <a:pt x="8" y="15"/>
                    <a:pt x="9" y="16"/>
                  </a:cubicBezTo>
                  <a:cubicBezTo>
                    <a:pt x="10" y="17"/>
                    <a:pt x="11" y="18"/>
                    <a:pt x="13" y="18"/>
                  </a:cubicBezTo>
                  <a:cubicBezTo>
                    <a:pt x="14" y="18"/>
                    <a:pt x="16" y="17"/>
                    <a:pt x="17" y="16"/>
                  </a:cubicBezTo>
                  <a:cubicBezTo>
                    <a:pt x="18" y="15"/>
                    <a:pt x="18" y="14"/>
                    <a:pt x="18" y="13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18" y="11"/>
                    <a:pt x="18" y="10"/>
                    <a:pt x="17" y="9"/>
                  </a:cubicBezTo>
                  <a:cubicBezTo>
                    <a:pt x="16" y="8"/>
                    <a:pt x="15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5" name="Freeform 713">
              <a:extLst>
                <a:ext uri="{FF2B5EF4-FFF2-40B4-BE49-F238E27FC236}">
                  <a16:creationId xmlns:a16="http://schemas.microsoft.com/office/drawing/2014/main" id="{43D4C6ED-43F8-AB24-493B-F4761E8D9B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278688" y="2436813"/>
              <a:ext cx="31750" cy="30163"/>
            </a:xfrm>
            <a:custGeom>
              <a:avLst/>
              <a:gdLst>
                <a:gd name="T0" fmla="*/ 13 w 26"/>
                <a:gd name="T1" fmla="*/ 25 h 25"/>
                <a:gd name="T2" fmla="*/ 13 w 26"/>
                <a:gd name="T3" fmla="*/ 25 h 25"/>
                <a:gd name="T4" fmla="*/ 1 w 26"/>
                <a:gd name="T5" fmla="*/ 12 h 25"/>
                <a:gd name="T6" fmla="*/ 14 w 26"/>
                <a:gd name="T7" fmla="*/ 0 h 25"/>
                <a:gd name="T8" fmla="*/ 26 w 26"/>
                <a:gd name="T9" fmla="*/ 13 h 25"/>
                <a:gd name="T10" fmla="*/ 22 w 26"/>
                <a:gd name="T11" fmla="*/ 22 h 25"/>
                <a:gd name="T12" fmla="*/ 13 w 26"/>
                <a:gd name="T13" fmla="*/ 25 h 25"/>
                <a:gd name="T14" fmla="*/ 13 w 26"/>
                <a:gd name="T15" fmla="*/ 7 h 25"/>
                <a:gd name="T16" fmla="*/ 8 w 26"/>
                <a:gd name="T17" fmla="*/ 12 h 25"/>
                <a:gd name="T18" fmla="*/ 13 w 26"/>
                <a:gd name="T19" fmla="*/ 18 h 25"/>
                <a:gd name="T20" fmla="*/ 17 w 26"/>
                <a:gd name="T21" fmla="*/ 16 h 25"/>
                <a:gd name="T22" fmla="*/ 18 w 26"/>
                <a:gd name="T23" fmla="*/ 13 h 25"/>
                <a:gd name="T24" fmla="*/ 13 w 26"/>
                <a:gd name="T25" fmla="*/ 7 h 25"/>
                <a:gd name="T26" fmla="*/ 13 w 26"/>
                <a:gd name="T27" fmla="*/ 7 h 25"/>
                <a:gd name="T28" fmla="*/ 22 w 26"/>
                <a:gd name="T29" fmla="*/ 13 h 25"/>
                <a:gd name="T30" fmla="*/ 22 w 26"/>
                <a:gd name="T31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6" h="25">
                  <a:moveTo>
                    <a:pt x="13" y="25"/>
                  </a:moveTo>
                  <a:cubicBezTo>
                    <a:pt x="13" y="25"/>
                    <a:pt x="13" y="25"/>
                    <a:pt x="13" y="25"/>
                  </a:cubicBezTo>
                  <a:cubicBezTo>
                    <a:pt x="6" y="25"/>
                    <a:pt x="0" y="19"/>
                    <a:pt x="1" y="12"/>
                  </a:cubicBezTo>
                  <a:cubicBezTo>
                    <a:pt x="1" y="5"/>
                    <a:pt x="7" y="0"/>
                    <a:pt x="14" y="0"/>
                  </a:cubicBezTo>
                  <a:cubicBezTo>
                    <a:pt x="21" y="0"/>
                    <a:pt x="26" y="6"/>
                    <a:pt x="26" y="13"/>
                  </a:cubicBezTo>
                  <a:cubicBezTo>
                    <a:pt x="25" y="16"/>
                    <a:pt x="24" y="19"/>
                    <a:pt x="22" y="22"/>
                  </a:cubicBezTo>
                  <a:cubicBezTo>
                    <a:pt x="19" y="24"/>
                    <a:pt x="16" y="25"/>
                    <a:pt x="13" y="25"/>
                  </a:cubicBezTo>
                  <a:close/>
                  <a:moveTo>
                    <a:pt x="13" y="7"/>
                  </a:moveTo>
                  <a:cubicBezTo>
                    <a:pt x="10" y="7"/>
                    <a:pt x="8" y="9"/>
                    <a:pt x="8" y="12"/>
                  </a:cubicBezTo>
                  <a:cubicBezTo>
                    <a:pt x="8" y="15"/>
                    <a:pt x="10" y="18"/>
                    <a:pt x="13" y="18"/>
                  </a:cubicBezTo>
                  <a:cubicBezTo>
                    <a:pt x="14" y="18"/>
                    <a:pt x="16" y="17"/>
                    <a:pt x="17" y="16"/>
                  </a:cubicBezTo>
                  <a:cubicBezTo>
                    <a:pt x="18" y="15"/>
                    <a:pt x="18" y="14"/>
                    <a:pt x="18" y="13"/>
                  </a:cubicBezTo>
                  <a:cubicBezTo>
                    <a:pt x="19" y="10"/>
                    <a:pt x="16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lose/>
                  <a:moveTo>
                    <a:pt x="22" y="13"/>
                  </a:moveTo>
                  <a:cubicBezTo>
                    <a:pt x="22" y="13"/>
                    <a:pt x="22" y="13"/>
                    <a:pt x="22" y="1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51" name="Shape17_20200717_142329">
            <a:extLst>
              <a:ext uri="{FF2B5EF4-FFF2-40B4-BE49-F238E27FC236}">
                <a16:creationId xmlns:a16="http://schemas.microsoft.com/office/drawing/2014/main" id="{E72E6505-31A1-E8A2-B9A9-3F80869323A6}"/>
              </a:ext>
            </a:extLst>
          </p:cNvPr>
          <p:cNvGrpSpPr>
            <a:grpSpLocks noChangeAspect="1"/>
          </p:cNvGrpSpPr>
          <p:nvPr/>
        </p:nvGrpSpPr>
        <p:grpSpPr>
          <a:xfrm>
            <a:off x="531715" y="3936798"/>
            <a:ext cx="684118" cy="395718"/>
            <a:chOff x="-7510463" y="4271963"/>
            <a:chExt cx="323850" cy="187326"/>
          </a:xfrm>
          <a:solidFill>
            <a:schemeClr val="accent1"/>
          </a:solidFill>
        </p:grpSpPr>
        <p:sp>
          <p:nvSpPr>
            <p:cNvPr id="71" name="Freeform 790">
              <a:extLst>
                <a:ext uri="{FF2B5EF4-FFF2-40B4-BE49-F238E27FC236}">
                  <a16:creationId xmlns:a16="http://schemas.microsoft.com/office/drawing/2014/main" id="{EA833AE1-F220-E3BE-022C-BAEFED2FCF47}"/>
                </a:ext>
              </a:extLst>
            </p:cNvPr>
            <p:cNvSpPr>
              <a:spLocks/>
            </p:cNvSpPr>
            <p:nvPr/>
          </p:nvSpPr>
          <p:spPr bwMode="auto">
            <a:xfrm>
              <a:off x="-7510463" y="4451351"/>
              <a:ext cx="323850" cy="7938"/>
            </a:xfrm>
            <a:custGeom>
              <a:avLst/>
              <a:gdLst>
                <a:gd name="T0" fmla="*/ 268 w 271"/>
                <a:gd name="T1" fmla="*/ 7 h 7"/>
                <a:gd name="T2" fmla="*/ 4 w 271"/>
                <a:gd name="T3" fmla="*/ 7 h 7"/>
                <a:gd name="T4" fmla="*/ 0 w 271"/>
                <a:gd name="T5" fmla="*/ 4 h 7"/>
                <a:gd name="T6" fmla="*/ 4 w 271"/>
                <a:gd name="T7" fmla="*/ 0 h 7"/>
                <a:gd name="T8" fmla="*/ 268 w 271"/>
                <a:gd name="T9" fmla="*/ 0 h 7"/>
                <a:gd name="T10" fmla="*/ 271 w 271"/>
                <a:gd name="T11" fmla="*/ 4 h 7"/>
                <a:gd name="T12" fmla="*/ 268 w 271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1" h="7">
                  <a:moveTo>
                    <a:pt x="268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68" y="0"/>
                    <a:pt x="268" y="0"/>
                    <a:pt x="268" y="0"/>
                  </a:cubicBezTo>
                  <a:cubicBezTo>
                    <a:pt x="270" y="0"/>
                    <a:pt x="271" y="2"/>
                    <a:pt x="271" y="4"/>
                  </a:cubicBezTo>
                  <a:cubicBezTo>
                    <a:pt x="271" y="6"/>
                    <a:pt x="270" y="7"/>
                    <a:pt x="268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2" name="Freeform 791">
              <a:extLst>
                <a:ext uri="{FF2B5EF4-FFF2-40B4-BE49-F238E27FC236}">
                  <a16:creationId xmlns:a16="http://schemas.microsoft.com/office/drawing/2014/main" id="{0948D48C-BF5A-86DC-E9F7-F4DBA73DCC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485063" y="4348163"/>
              <a:ext cx="73025" cy="111125"/>
            </a:xfrm>
            <a:custGeom>
              <a:avLst/>
              <a:gdLst>
                <a:gd name="T0" fmla="*/ 57 w 61"/>
                <a:gd name="T1" fmla="*/ 93 h 93"/>
                <a:gd name="T2" fmla="*/ 3 w 61"/>
                <a:gd name="T3" fmla="*/ 93 h 93"/>
                <a:gd name="T4" fmla="*/ 0 w 61"/>
                <a:gd name="T5" fmla="*/ 90 h 93"/>
                <a:gd name="T6" fmla="*/ 0 w 61"/>
                <a:gd name="T7" fmla="*/ 3 h 93"/>
                <a:gd name="T8" fmla="*/ 3 w 61"/>
                <a:gd name="T9" fmla="*/ 0 h 93"/>
                <a:gd name="T10" fmla="*/ 57 w 61"/>
                <a:gd name="T11" fmla="*/ 0 h 93"/>
                <a:gd name="T12" fmla="*/ 61 w 61"/>
                <a:gd name="T13" fmla="*/ 3 h 93"/>
                <a:gd name="T14" fmla="*/ 61 w 61"/>
                <a:gd name="T15" fmla="*/ 90 h 93"/>
                <a:gd name="T16" fmla="*/ 57 w 61"/>
                <a:gd name="T17" fmla="*/ 93 h 93"/>
                <a:gd name="T18" fmla="*/ 7 w 61"/>
                <a:gd name="T19" fmla="*/ 86 h 93"/>
                <a:gd name="T20" fmla="*/ 54 w 61"/>
                <a:gd name="T21" fmla="*/ 86 h 93"/>
                <a:gd name="T22" fmla="*/ 54 w 61"/>
                <a:gd name="T23" fmla="*/ 7 h 93"/>
                <a:gd name="T24" fmla="*/ 7 w 61"/>
                <a:gd name="T25" fmla="*/ 7 h 93"/>
                <a:gd name="T26" fmla="*/ 7 w 61"/>
                <a:gd name="T27" fmla="*/ 86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1" h="93">
                  <a:moveTo>
                    <a:pt x="57" y="93"/>
                  </a:moveTo>
                  <a:cubicBezTo>
                    <a:pt x="3" y="93"/>
                    <a:pt x="3" y="93"/>
                    <a:pt x="3" y="93"/>
                  </a:cubicBezTo>
                  <a:cubicBezTo>
                    <a:pt x="1" y="93"/>
                    <a:pt x="0" y="92"/>
                    <a:pt x="0" y="9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9" y="0"/>
                    <a:pt x="61" y="1"/>
                    <a:pt x="61" y="3"/>
                  </a:cubicBezTo>
                  <a:cubicBezTo>
                    <a:pt x="61" y="90"/>
                    <a:pt x="61" y="90"/>
                    <a:pt x="61" y="90"/>
                  </a:cubicBezTo>
                  <a:cubicBezTo>
                    <a:pt x="61" y="92"/>
                    <a:pt x="59" y="93"/>
                    <a:pt x="57" y="93"/>
                  </a:cubicBezTo>
                  <a:close/>
                  <a:moveTo>
                    <a:pt x="7" y="86"/>
                  </a:moveTo>
                  <a:cubicBezTo>
                    <a:pt x="54" y="86"/>
                    <a:pt x="54" y="86"/>
                    <a:pt x="54" y="86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8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3" name="Freeform 792">
              <a:extLst>
                <a:ext uri="{FF2B5EF4-FFF2-40B4-BE49-F238E27FC236}">
                  <a16:creationId xmlns:a16="http://schemas.microsoft.com/office/drawing/2014/main" id="{B3041589-0212-FCA4-1E09-ACE95078FE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385050" y="4310063"/>
              <a:ext cx="73025" cy="149225"/>
            </a:xfrm>
            <a:custGeom>
              <a:avLst/>
              <a:gdLst>
                <a:gd name="T0" fmla="*/ 58 w 61"/>
                <a:gd name="T1" fmla="*/ 125 h 125"/>
                <a:gd name="T2" fmla="*/ 4 w 61"/>
                <a:gd name="T3" fmla="*/ 125 h 125"/>
                <a:gd name="T4" fmla="*/ 0 w 61"/>
                <a:gd name="T5" fmla="*/ 122 h 125"/>
                <a:gd name="T6" fmla="*/ 0 w 61"/>
                <a:gd name="T7" fmla="*/ 4 h 125"/>
                <a:gd name="T8" fmla="*/ 4 w 61"/>
                <a:gd name="T9" fmla="*/ 0 h 125"/>
                <a:gd name="T10" fmla="*/ 58 w 61"/>
                <a:gd name="T11" fmla="*/ 0 h 125"/>
                <a:gd name="T12" fmla="*/ 61 w 61"/>
                <a:gd name="T13" fmla="*/ 4 h 125"/>
                <a:gd name="T14" fmla="*/ 61 w 61"/>
                <a:gd name="T15" fmla="*/ 122 h 125"/>
                <a:gd name="T16" fmla="*/ 58 w 61"/>
                <a:gd name="T17" fmla="*/ 125 h 125"/>
                <a:gd name="T18" fmla="*/ 7 w 61"/>
                <a:gd name="T19" fmla="*/ 118 h 125"/>
                <a:gd name="T20" fmla="*/ 54 w 61"/>
                <a:gd name="T21" fmla="*/ 118 h 125"/>
                <a:gd name="T22" fmla="*/ 54 w 61"/>
                <a:gd name="T23" fmla="*/ 8 h 125"/>
                <a:gd name="T24" fmla="*/ 7 w 61"/>
                <a:gd name="T25" fmla="*/ 8 h 125"/>
                <a:gd name="T26" fmla="*/ 7 w 61"/>
                <a:gd name="T27" fmla="*/ 118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1" h="125">
                  <a:moveTo>
                    <a:pt x="58" y="125"/>
                  </a:moveTo>
                  <a:cubicBezTo>
                    <a:pt x="4" y="125"/>
                    <a:pt x="4" y="125"/>
                    <a:pt x="4" y="125"/>
                  </a:cubicBezTo>
                  <a:cubicBezTo>
                    <a:pt x="2" y="125"/>
                    <a:pt x="0" y="124"/>
                    <a:pt x="0" y="12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60" y="0"/>
                    <a:pt x="61" y="2"/>
                    <a:pt x="61" y="4"/>
                  </a:cubicBezTo>
                  <a:cubicBezTo>
                    <a:pt x="61" y="122"/>
                    <a:pt x="61" y="122"/>
                    <a:pt x="61" y="122"/>
                  </a:cubicBezTo>
                  <a:cubicBezTo>
                    <a:pt x="61" y="124"/>
                    <a:pt x="60" y="125"/>
                    <a:pt x="58" y="125"/>
                  </a:cubicBezTo>
                  <a:close/>
                  <a:moveTo>
                    <a:pt x="7" y="118"/>
                  </a:moveTo>
                  <a:cubicBezTo>
                    <a:pt x="54" y="118"/>
                    <a:pt x="54" y="118"/>
                    <a:pt x="54" y="118"/>
                  </a:cubicBezTo>
                  <a:cubicBezTo>
                    <a:pt x="54" y="8"/>
                    <a:pt x="54" y="8"/>
                    <a:pt x="54" y="8"/>
                  </a:cubicBezTo>
                  <a:cubicBezTo>
                    <a:pt x="7" y="8"/>
                    <a:pt x="7" y="8"/>
                    <a:pt x="7" y="8"/>
                  </a:cubicBezTo>
                  <a:lnTo>
                    <a:pt x="7" y="1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4" name="Freeform 793">
              <a:extLst>
                <a:ext uri="{FF2B5EF4-FFF2-40B4-BE49-F238E27FC236}">
                  <a16:creationId xmlns:a16="http://schemas.microsoft.com/office/drawing/2014/main" id="{6075EEAA-86AF-A94C-5D04-8779A98CD95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283450" y="4271963"/>
              <a:ext cx="73025" cy="187325"/>
            </a:xfrm>
            <a:custGeom>
              <a:avLst/>
              <a:gdLst>
                <a:gd name="T0" fmla="*/ 57 w 61"/>
                <a:gd name="T1" fmla="*/ 156 h 156"/>
                <a:gd name="T2" fmla="*/ 3 w 61"/>
                <a:gd name="T3" fmla="*/ 156 h 156"/>
                <a:gd name="T4" fmla="*/ 0 w 61"/>
                <a:gd name="T5" fmla="*/ 153 h 156"/>
                <a:gd name="T6" fmla="*/ 0 w 61"/>
                <a:gd name="T7" fmla="*/ 4 h 156"/>
                <a:gd name="T8" fmla="*/ 3 w 61"/>
                <a:gd name="T9" fmla="*/ 0 h 156"/>
                <a:gd name="T10" fmla="*/ 57 w 61"/>
                <a:gd name="T11" fmla="*/ 0 h 156"/>
                <a:gd name="T12" fmla="*/ 61 w 61"/>
                <a:gd name="T13" fmla="*/ 4 h 156"/>
                <a:gd name="T14" fmla="*/ 61 w 61"/>
                <a:gd name="T15" fmla="*/ 153 h 156"/>
                <a:gd name="T16" fmla="*/ 57 w 61"/>
                <a:gd name="T17" fmla="*/ 156 h 156"/>
                <a:gd name="T18" fmla="*/ 7 w 61"/>
                <a:gd name="T19" fmla="*/ 149 h 156"/>
                <a:gd name="T20" fmla="*/ 54 w 61"/>
                <a:gd name="T21" fmla="*/ 149 h 156"/>
                <a:gd name="T22" fmla="*/ 54 w 61"/>
                <a:gd name="T23" fmla="*/ 7 h 156"/>
                <a:gd name="T24" fmla="*/ 7 w 61"/>
                <a:gd name="T25" fmla="*/ 7 h 156"/>
                <a:gd name="T26" fmla="*/ 7 w 61"/>
                <a:gd name="T27" fmla="*/ 149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1" h="156">
                  <a:moveTo>
                    <a:pt x="57" y="156"/>
                  </a:moveTo>
                  <a:cubicBezTo>
                    <a:pt x="3" y="156"/>
                    <a:pt x="3" y="156"/>
                    <a:pt x="3" y="156"/>
                  </a:cubicBezTo>
                  <a:cubicBezTo>
                    <a:pt x="1" y="156"/>
                    <a:pt x="0" y="155"/>
                    <a:pt x="0" y="1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9" y="0"/>
                    <a:pt x="61" y="2"/>
                    <a:pt x="61" y="4"/>
                  </a:cubicBezTo>
                  <a:cubicBezTo>
                    <a:pt x="61" y="153"/>
                    <a:pt x="61" y="153"/>
                    <a:pt x="61" y="153"/>
                  </a:cubicBezTo>
                  <a:cubicBezTo>
                    <a:pt x="61" y="155"/>
                    <a:pt x="59" y="156"/>
                    <a:pt x="57" y="156"/>
                  </a:cubicBezTo>
                  <a:close/>
                  <a:moveTo>
                    <a:pt x="7" y="149"/>
                  </a:moveTo>
                  <a:cubicBezTo>
                    <a:pt x="54" y="149"/>
                    <a:pt x="54" y="149"/>
                    <a:pt x="54" y="149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14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52" name="Shape21_20200717_142329">
            <a:extLst>
              <a:ext uri="{FF2B5EF4-FFF2-40B4-BE49-F238E27FC236}">
                <a16:creationId xmlns:a16="http://schemas.microsoft.com/office/drawing/2014/main" id="{09B71093-58E7-0288-9E9F-63C43DD1E8D9}"/>
              </a:ext>
            </a:extLst>
          </p:cNvPr>
          <p:cNvGrpSpPr>
            <a:grpSpLocks noChangeAspect="1"/>
          </p:cNvGrpSpPr>
          <p:nvPr/>
        </p:nvGrpSpPr>
        <p:grpSpPr>
          <a:xfrm>
            <a:off x="556866" y="2572556"/>
            <a:ext cx="633816" cy="513090"/>
            <a:chOff x="-5816600" y="3009900"/>
            <a:chExt cx="300038" cy="242888"/>
          </a:xfrm>
          <a:solidFill>
            <a:schemeClr val="accent1"/>
          </a:solidFill>
        </p:grpSpPr>
        <p:sp>
          <p:nvSpPr>
            <p:cNvPr id="62" name="Freeform 809">
              <a:extLst>
                <a:ext uri="{FF2B5EF4-FFF2-40B4-BE49-F238E27FC236}">
                  <a16:creationId xmlns:a16="http://schemas.microsoft.com/office/drawing/2014/main" id="{104A6B8D-FD67-BFB5-985A-49688065A1E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740400" y="3079750"/>
              <a:ext cx="115888" cy="117475"/>
            </a:xfrm>
            <a:custGeom>
              <a:avLst/>
              <a:gdLst>
                <a:gd name="T0" fmla="*/ 48 w 97"/>
                <a:gd name="T1" fmla="*/ 98 h 98"/>
                <a:gd name="T2" fmla="*/ 0 w 97"/>
                <a:gd name="T3" fmla="*/ 49 h 98"/>
                <a:gd name="T4" fmla="*/ 48 w 97"/>
                <a:gd name="T5" fmla="*/ 0 h 98"/>
                <a:gd name="T6" fmla="*/ 97 w 97"/>
                <a:gd name="T7" fmla="*/ 49 h 98"/>
                <a:gd name="T8" fmla="*/ 48 w 97"/>
                <a:gd name="T9" fmla="*/ 98 h 98"/>
                <a:gd name="T10" fmla="*/ 48 w 97"/>
                <a:gd name="T11" fmla="*/ 8 h 98"/>
                <a:gd name="T12" fmla="*/ 7 w 97"/>
                <a:gd name="T13" fmla="*/ 49 h 98"/>
                <a:gd name="T14" fmla="*/ 48 w 97"/>
                <a:gd name="T15" fmla="*/ 90 h 98"/>
                <a:gd name="T16" fmla="*/ 90 w 97"/>
                <a:gd name="T17" fmla="*/ 49 h 98"/>
                <a:gd name="T18" fmla="*/ 48 w 97"/>
                <a:gd name="T19" fmla="*/ 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7" h="98">
                  <a:moveTo>
                    <a:pt x="48" y="98"/>
                  </a:moveTo>
                  <a:cubicBezTo>
                    <a:pt x="21" y="98"/>
                    <a:pt x="0" y="76"/>
                    <a:pt x="0" y="49"/>
                  </a:cubicBezTo>
                  <a:cubicBezTo>
                    <a:pt x="0" y="22"/>
                    <a:pt x="21" y="0"/>
                    <a:pt x="48" y="0"/>
                  </a:cubicBezTo>
                  <a:cubicBezTo>
                    <a:pt x="75" y="0"/>
                    <a:pt x="97" y="22"/>
                    <a:pt x="97" y="49"/>
                  </a:cubicBezTo>
                  <a:cubicBezTo>
                    <a:pt x="97" y="76"/>
                    <a:pt x="75" y="98"/>
                    <a:pt x="48" y="98"/>
                  </a:cubicBezTo>
                  <a:close/>
                  <a:moveTo>
                    <a:pt x="48" y="8"/>
                  </a:moveTo>
                  <a:cubicBezTo>
                    <a:pt x="25" y="8"/>
                    <a:pt x="7" y="26"/>
                    <a:pt x="7" y="49"/>
                  </a:cubicBezTo>
                  <a:cubicBezTo>
                    <a:pt x="7" y="72"/>
                    <a:pt x="25" y="90"/>
                    <a:pt x="48" y="90"/>
                  </a:cubicBezTo>
                  <a:cubicBezTo>
                    <a:pt x="71" y="90"/>
                    <a:pt x="90" y="72"/>
                    <a:pt x="90" y="49"/>
                  </a:cubicBezTo>
                  <a:cubicBezTo>
                    <a:pt x="90" y="26"/>
                    <a:pt x="71" y="8"/>
                    <a:pt x="48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3" name="Freeform 810">
              <a:extLst>
                <a:ext uri="{FF2B5EF4-FFF2-40B4-BE49-F238E27FC236}">
                  <a16:creationId xmlns:a16="http://schemas.microsoft.com/office/drawing/2014/main" id="{01397E51-E0F5-5582-5942-DADF5952C25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656262" y="3165475"/>
              <a:ext cx="65088" cy="63500"/>
            </a:xfrm>
            <a:custGeom>
              <a:avLst/>
              <a:gdLst>
                <a:gd name="T0" fmla="*/ 41 w 55"/>
                <a:gd name="T1" fmla="*/ 54 h 54"/>
                <a:gd name="T2" fmla="*/ 32 w 55"/>
                <a:gd name="T3" fmla="*/ 51 h 54"/>
                <a:gd name="T4" fmla="*/ 32 w 55"/>
                <a:gd name="T5" fmla="*/ 51 h 54"/>
                <a:gd name="T6" fmla="*/ 1 w 55"/>
                <a:gd name="T7" fmla="*/ 20 h 54"/>
                <a:gd name="T8" fmla="*/ 1 w 55"/>
                <a:gd name="T9" fmla="*/ 15 h 54"/>
                <a:gd name="T10" fmla="*/ 15 w 55"/>
                <a:gd name="T11" fmla="*/ 1 h 54"/>
                <a:gd name="T12" fmla="*/ 20 w 55"/>
                <a:gd name="T13" fmla="*/ 1 h 54"/>
                <a:gd name="T14" fmla="*/ 51 w 55"/>
                <a:gd name="T15" fmla="*/ 32 h 54"/>
                <a:gd name="T16" fmla="*/ 51 w 55"/>
                <a:gd name="T17" fmla="*/ 49 h 54"/>
                <a:gd name="T18" fmla="*/ 49 w 55"/>
                <a:gd name="T19" fmla="*/ 51 h 54"/>
                <a:gd name="T20" fmla="*/ 41 w 55"/>
                <a:gd name="T21" fmla="*/ 54 h 54"/>
                <a:gd name="T22" fmla="*/ 37 w 55"/>
                <a:gd name="T23" fmla="*/ 46 h 54"/>
                <a:gd name="T24" fmla="*/ 44 w 55"/>
                <a:gd name="T25" fmla="*/ 46 h 54"/>
                <a:gd name="T26" fmla="*/ 46 w 55"/>
                <a:gd name="T27" fmla="*/ 44 h 54"/>
                <a:gd name="T28" fmla="*/ 46 w 55"/>
                <a:gd name="T29" fmla="*/ 37 h 54"/>
                <a:gd name="T30" fmla="*/ 17 w 55"/>
                <a:gd name="T31" fmla="*/ 9 h 54"/>
                <a:gd name="T32" fmla="*/ 9 w 55"/>
                <a:gd name="T33" fmla="*/ 17 h 54"/>
                <a:gd name="T34" fmla="*/ 37 w 55"/>
                <a:gd name="T35" fmla="*/ 4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5" h="54">
                  <a:moveTo>
                    <a:pt x="41" y="54"/>
                  </a:moveTo>
                  <a:cubicBezTo>
                    <a:pt x="38" y="54"/>
                    <a:pt x="35" y="53"/>
                    <a:pt x="32" y="51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18"/>
                    <a:pt x="0" y="16"/>
                    <a:pt x="1" y="15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6" y="0"/>
                    <a:pt x="18" y="0"/>
                    <a:pt x="20" y="1"/>
                  </a:cubicBezTo>
                  <a:cubicBezTo>
                    <a:pt x="51" y="32"/>
                    <a:pt x="51" y="32"/>
                    <a:pt x="51" y="32"/>
                  </a:cubicBezTo>
                  <a:cubicBezTo>
                    <a:pt x="55" y="37"/>
                    <a:pt x="55" y="44"/>
                    <a:pt x="51" y="49"/>
                  </a:cubicBezTo>
                  <a:cubicBezTo>
                    <a:pt x="49" y="51"/>
                    <a:pt x="49" y="51"/>
                    <a:pt x="49" y="51"/>
                  </a:cubicBezTo>
                  <a:cubicBezTo>
                    <a:pt x="47" y="53"/>
                    <a:pt x="44" y="54"/>
                    <a:pt x="41" y="54"/>
                  </a:cubicBezTo>
                  <a:close/>
                  <a:moveTo>
                    <a:pt x="37" y="46"/>
                  </a:moveTo>
                  <a:cubicBezTo>
                    <a:pt x="39" y="48"/>
                    <a:pt x="42" y="48"/>
                    <a:pt x="44" y="46"/>
                  </a:cubicBezTo>
                  <a:cubicBezTo>
                    <a:pt x="46" y="44"/>
                    <a:pt x="46" y="44"/>
                    <a:pt x="46" y="44"/>
                  </a:cubicBezTo>
                  <a:cubicBezTo>
                    <a:pt x="48" y="42"/>
                    <a:pt x="48" y="39"/>
                    <a:pt x="46" y="37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9" y="17"/>
                    <a:pt x="9" y="17"/>
                    <a:pt x="9" y="17"/>
                  </a:cubicBezTo>
                  <a:cubicBezTo>
                    <a:pt x="37" y="46"/>
                    <a:pt x="37" y="46"/>
                    <a:pt x="37" y="4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4" name="Freeform 811">
              <a:extLst>
                <a:ext uri="{FF2B5EF4-FFF2-40B4-BE49-F238E27FC236}">
                  <a16:creationId xmlns:a16="http://schemas.microsoft.com/office/drawing/2014/main" id="{22F89910-57D3-EFD6-5DBE-9FFC70B66963}"/>
                </a:ext>
              </a:extLst>
            </p:cNvPr>
            <p:cNvSpPr>
              <a:spLocks/>
            </p:cNvSpPr>
            <p:nvPr/>
          </p:nvSpPr>
          <p:spPr bwMode="auto">
            <a:xfrm>
              <a:off x="-5719762" y="3101975"/>
              <a:ext cx="41275" cy="41275"/>
            </a:xfrm>
            <a:custGeom>
              <a:avLst/>
              <a:gdLst>
                <a:gd name="T0" fmla="*/ 4 w 34"/>
                <a:gd name="T1" fmla="*/ 34 h 34"/>
                <a:gd name="T2" fmla="*/ 0 w 34"/>
                <a:gd name="T3" fmla="*/ 30 h 34"/>
                <a:gd name="T4" fmla="*/ 30 w 34"/>
                <a:gd name="T5" fmla="*/ 0 h 34"/>
                <a:gd name="T6" fmla="*/ 34 w 34"/>
                <a:gd name="T7" fmla="*/ 4 h 34"/>
                <a:gd name="T8" fmla="*/ 30 w 34"/>
                <a:gd name="T9" fmla="*/ 8 h 34"/>
                <a:gd name="T10" fmla="*/ 8 w 34"/>
                <a:gd name="T11" fmla="*/ 30 h 34"/>
                <a:gd name="T12" fmla="*/ 4 w 34"/>
                <a:gd name="T13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34">
                  <a:moveTo>
                    <a:pt x="4" y="34"/>
                  </a:moveTo>
                  <a:cubicBezTo>
                    <a:pt x="2" y="34"/>
                    <a:pt x="0" y="32"/>
                    <a:pt x="0" y="30"/>
                  </a:cubicBezTo>
                  <a:cubicBezTo>
                    <a:pt x="0" y="14"/>
                    <a:pt x="14" y="0"/>
                    <a:pt x="30" y="0"/>
                  </a:cubicBezTo>
                  <a:cubicBezTo>
                    <a:pt x="32" y="0"/>
                    <a:pt x="34" y="2"/>
                    <a:pt x="34" y="4"/>
                  </a:cubicBezTo>
                  <a:cubicBezTo>
                    <a:pt x="34" y="6"/>
                    <a:pt x="32" y="8"/>
                    <a:pt x="30" y="8"/>
                  </a:cubicBezTo>
                  <a:cubicBezTo>
                    <a:pt x="18" y="8"/>
                    <a:pt x="8" y="18"/>
                    <a:pt x="8" y="30"/>
                  </a:cubicBezTo>
                  <a:cubicBezTo>
                    <a:pt x="8" y="32"/>
                    <a:pt x="6" y="34"/>
                    <a:pt x="4" y="3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5" name="Freeform 812">
              <a:extLst>
                <a:ext uri="{FF2B5EF4-FFF2-40B4-BE49-F238E27FC236}">
                  <a16:creationId xmlns:a16="http://schemas.microsoft.com/office/drawing/2014/main" id="{E81F12B9-99AD-8A36-317B-AF3DB75B4A9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816600" y="3009900"/>
              <a:ext cx="300038" cy="242888"/>
            </a:xfrm>
            <a:custGeom>
              <a:avLst/>
              <a:gdLst>
                <a:gd name="T0" fmla="*/ 233 w 251"/>
                <a:gd name="T1" fmla="*/ 203 h 203"/>
                <a:gd name="T2" fmla="*/ 18 w 251"/>
                <a:gd name="T3" fmla="*/ 203 h 203"/>
                <a:gd name="T4" fmla="*/ 0 w 251"/>
                <a:gd name="T5" fmla="*/ 186 h 203"/>
                <a:gd name="T6" fmla="*/ 0 w 251"/>
                <a:gd name="T7" fmla="*/ 18 h 203"/>
                <a:gd name="T8" fmla="*/ 18 w 251"/>
                <a:gd name="T9" fmla="*/ 0 h 203"/>
                <a:gd name="T10" fmla="*/ 233 w 251"/>
                <a:gd name="T11" fmla="*/ 0 h 203"/>
                <a:gd name="T12" fmla="*/ 251 w 251"/>
                <a:gd name="T13" fmla="*/ 18 h 203"/>
                <a:gd name="T14" fmla="*/ 251 w 251"/>
                <a:gd name="T15" fmla="*/ 186 h 203"/>
                <a:gd name="T16" fmla="*/ 233 w 251"/>
                <a:gd name="T17" fmla="*/ 203 h 203"/>
                <a:gd name="T18" fmla="*/ 18 w 251"/>
                <a:gd name="T19" fmla="*/ 8 h 203"/>
                <a:gd name="T20" fmla="*/ 7 w 251"/>
                <a:gd name="T21" fmla="*/ 18 h 203"/>
                <a:gd name="T22" fmla="*/ 7 w 251"/>
                <a:gd name="T23" fmla="*/ 186 h 203"/>
                <a:gd name="T24" fmla="*/ 18 w 251"/>
                <a:gd name="T25" fmla="*/ 196 h 203"/>
                <a:gd name="T26" fmla="*/ 233 w 251"/>
                <a:gd name="T27" fmla="*/ 196 h 203"/>
                <a:gd name="T28" fmla="*/ 244 w 251"/>
                <a:gd name="T29" fmla="*/ 186 h 203"/>
                <a:gd name="T30" fmla="*/ 244 w 251"/>
                <a:gd name="T31" fmla="*/ 18 h 203"/>
                <a:gd name="T32" fmla="*/ 233 w 251"/>
                <a:gd name="T33" fmla="*/ 8 h 203"/>
                <a:gd name="T34" fmla="*/ 18 w 251"/>
                <a:gd name="T35" fmla="*/ 8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51" h="203">
                  <a:moveTo>
                    <a:pt x="233" y="203"/>
                  </a:moveTo>
                  <a:cubicBezTo>
                    <a:pt x="18" y="203"/>
                    <a:pt x="18" y="203"/>
                    <a:pt x="18" y="203"/>
                  </a:cubicBezTo>
                  <a:cubicBezTo>
                    <a:pt x="8" y="203"/>
                    <a:pt x="0" y="195"/>
                    <a:pt x="0" y="186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33" y="0"/>
                    <a:pt x="233" y="0"/>
                    <a:pt x="233" y="0"/>
                  </a:cubicBezTo>
                  <a:cubicBezTo>
                    <a:pt x="243" y="0"/>
                    <a:pt x="251" y="8"/>
                    <a:pt x="251" y="18"/>
                  </a:cubicBezTo>
                  <a:cubicBezTo>
                    <a:pt x="251" y="186"/>
                    <a:pt x="251" y="186"/>
                    <a:pt x="251" y="186"/>
                  </a:cubicBezTo>
                  <a:cubicBezTo>
                    <a:pt x="251" y="195"/>
                    <a:pt x="243" y="203"/>
                    <a:pt x="233" y="203"/>
                  </a:cubicBezTo>
                  <a:close/>
                  <a:moveTo>
                    <a:pt x="18" y="8"/>
                  </a:moveTo>
                  <a:cubicBezTo>
                    <a:pt x="12" y="8"/>
                    <a:pt x="7" y="12"/>
                    <a:pt x="7" y="18"/>
                  </a:cubicBezTo>
                  <a:cubicBezTo>
                    <a:pt x="7" y="186"/>
                    <a:pt x="7" y="186"/>
                    <a:pt x="7" y="186"/>
                  </a:cubicBezTo>
                  <a:cubicBezTo>
                    <a:pt x="7" y="192"/>
                    <a:pt x="12" y="196"/>
                    <a:pt x="18" y="196"/>
                  </a:cubicBezTo>
                  <a:cubicBezTo>
                    <a:pt x="233" y="196"/>
                    <a:pt x="233" y="196"/>
                    <a:pt x="233" y="196"/>
                  </a:cubicBezTo>
                  <a:cubicBezTo>
                    <a:pt x="239" y="196"/>
                    <a:pt x="244" y="192"/>
                    <a:pt x="244" y="186"/>
                  </a:cubicBezTo>
                  <a:cubicBezTo>
                    <a:pt x="244" y="18"/>
                    <a:pt x="244" y="18"/>
                    <a:pt x="244" y="18"/>
                  </a:cubicBezTo>
                  <a:cubicBezTo>
                    <a:pt x="244" y="12"/>
                    <a:pt x="239" y="8"/>
                    <a:pt x="233" y="8"/>
                  </a:cubicBezTo>
                  <a:lnTo>
                    <a:pt x="18" y="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6" name="Freeform 813">
              <a:extLst>
                <a:ext uri="{FF2B5EF4-FFF2-40B4-BE49-F238E27FC236}">
                  <a16:creationId xmlns:a16="http://schemas.microsoft.com/office/drawing/2014/main" id="{A52352A3-0107-F882-D366-25FF710D2B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816600" y="3009900"/>
              <a:ext cx="300038" cy="52388"/>
            </a:xfrm>
            <a:custGeom>
              <a:avLst/>
              <a:gdLst>
                <a:gd name="T0" fmla="*/ 247 w 251"/>
                <a:gd name="T1" fmla="*/ 45 h 45"/>
                <a:gd name="T2" fmla="*/ 4 w 251"/>
                <a:gd name="T3" fmla="*/ 45 h 45"/>
                <a:gd name="T4" fmla="*/ 0 w 251"/>
                <a:gd name="T5" fmla="*/ 42 h 45"/>
                <a:gd name="T6" fmla="*/ 0 w 251"/>
                <a:gd name="T7" fmla="*/ 16 h 45"/>
                <a:gd name="T8" fmla="*/ 16 w 251"/>
                <a:gd name="T9" fmla="*/ 0 h 45"/>
                <a:gd name="T10" fmla="*/ 236 w 251"/>
                <a:gd name="T11" fmla="*/ 0 h 45"/>
                <a:gd name="T12" fmla="*/ 251 w 251"/>
                <a:gd name="T13" fmla="*/ 16 h 45"/>
                <a:gd name="T14" fmla="*/ 251 w 251"/>
                <a:gd name="T15" fmla="*/ 42 h 45"/>
                <a:gd name="T16" fmla="*/ 247 w 251"/>
                <a:gd name="T17" fmla="*/ 45 h 45"/>
                <a:gd name="T18" fmla="*/ 7 w 251"/>
                <a:gd name="T19" fmla="*/ 38 h 45"/>
                <a:gd name="T20" fmla="*/ 244 w 251"/>
                <a:gd name="T21" fmla="*/ 38 h 45"/>
                <a:gd name="T22" fmla="*/ 244 w 251"/>
                <a:gd name="T23" fmla="*/ 16 h 45"/>
                <a:gd name="T24" fmla="*/ 236 w 251"/>
                <a:gd name="T25" fmla="*/ 8 h 45"/>
                <a:gd name="T26" fmla="*/ 16 w 251"/>
                <a:gd name="T27" fmla="*/ 8 h 45"/>
                <a:gd name="T28" fmla="*/ 7 w 251"/>
                <a:gd name="T29" fmla="*/ 16 h 45"/>
                <a:gd name="T30" fmla="*/ 7 w 251"/>
                <a:gd name="T31" fmla="*/ 38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1" h="45">
                  <a:moveTo>
                    <a:pt x="247" y="45"/>
                  </a:moveTo>
                  <a:cubicBezTo>
                    <a:pt x="4" y="45"/>
                    <a:pt x="4" y="45"/>
                    <a:pt x="4" y="45"/>
                  </a:cubicBezTo>
                  <a:cubicBezTo>
                    <a:pt x="2" y="45"/>
                    <a:pt x="0" y="44"/>
                    <a:pt x="0" y="42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236" y="0"/>
                    <a:pt x="236" y="0"/>
                    <a:pt x="236" y="0"/>
                  </a:cubicBezTo>
                  <a:cubicBezTo>
                    <a:pt x="244" y="0"/>
                    <a:pt x="251" y="7"/>
                    <a:pt x="251" y="16"/>
                  </a:cubicBezTo>
                  <a:cubicBezTo>
                    <a:pt x="251" y="42"/>
                    <a:pt x="251" y="42"/>
                    <a:pt x="251" y="42"/>
                  </a:cubicBezTo>
                  <a:cubicBezTo>
                    <a:pt x="251" y="44"/>
                    <a:pt x="249" y="45"/>
                    <a:pt x="247" y="45"/>
                  </a:cubicBezTo>
                  <a:close/>
                  <a:moveTo>
                    <a:pt x="7" y="38"/>
                  </a:moveTo>
                  <a:cubicBezTo>
                    <a:pt x="244" y="38"/>
                    <a:pt x="244" y="38"/>
                    <a:pt x="244" y="38"/>
                  </a:cubicBezTo>
                  <a:cubicBezTo>
                    <a:pt x="244" y="16"/>
                    <a:pt x="244" y="16"/>
                    <a:pt x="244" y="16"/>
                  </a:cubicBezTo>
                  <a:cubicBezTo>
                    <a:pt x="244" y="11"/>
                    <a:pt x="240" y="8"/>
                    <a:pt x="236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1" y="8"/>
                    <a:pt x="7" y="11"/>
                    <a:pt x="7" y="16"/>
                  </a:cubicBezTo>
                  <a:lnTo>
                    <a:pt x="7" y="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7" name="Freeform 814">
              <a:extLst>
                <a:ext uri="{FF2B5EF4-FFF2-40B4-BE49-F238E27FC236}">
                  <a16:creationId xmlns:a16="http://schemas.microsoft.com/office/drawing/2014/main" id="{05FFB261-1CEB-9CDD-B240-803126498AFD}"/>
                </a:ext>
              </a:extLst>
            </p:cNvPr>
            <p:cNvSpPr>
              <a:spLocks/>
            </p:cNvSpPr>
            <p:nvPr/>
          </p:nvSpPr>
          <p:spPr bwMode="auto">
            <a:xfrm>
              <a:off x="-5794375" y="3032125"/>
              <a:ext cx="7938" cy="9525"/>
            </a:xfrm>
            <a:custGeom>
              <a:avLst/>
              <a:gdLst>
                <a:gd name="T0" fmla="*/ 4 w 7"/>
                <a:gd name="T1" fmla="*/ 8 h 8"/>
                <a:gd name="T2" fmla="*/ 1 w 7"/>
                <a:gd name="T3" fmla="*/ 7 h 8"/>
                <a:gd name="T4" fmla="*/ 1 w 7"/>
                <a:gd name="T5" fmla="*/ 6 h 8"/>
                <a:gd name="T6" fmla="*/ 0 w 7"/>
                <a:gd name="T7" fmla="*/ 5 h 8"/>
                <a:gd name="T8" fmla="*/ 0 w 7"/>
                <a:gd name="T9" fmla="*/ 5 h 8"/>
                <a:gd name="T10" fmla="*/ 0 w 7"/>
                <a:gd name="T11" fmla="*/ 4 h 8"/>
                <a:gd name="T12" fmla="*/ 0 w 7"/>
                <a:gd name="T13" fmla="*/ 3 h 8"/>
                <a:gd name="T14" fmla="*/ 0 w 7"/>
                <a:gd name="T15" fmla="*/ 3 h 8"/>
                <a:gd name="T16" fmla="*/ 1 w 7"/>
                <a:gd name="T17" fmla="*/ 2 h 8"/>
                <a:gd name="T18" fmla="*/ 1 w 7"/>
                <a:gd name="T19" fmla="*/ 1 h 8"/>
                <a:gd name="T20" fmla="*/ 2 w 7"/>
                <a:gd name="T21" fmla="*/ 1 h 8"/>
                <a:gd name="T22" fmla="*/ 2 w 7"/>
                <a:gd name="T23" fmla="*/ 1 h 8"/>
                <a:gd name="T24" fmla="*/ 3 w 7"/>
                <a:gd name="T25" fmla="*/ 0 h 8"/>
                <a:gd name="T26" fmla="*/ 4 w 7"/>
                <a:gd name="T27" fmla="*/ 0 h 8"/>
                <a:gd name="T28" fmla="*/ 5 w 7"/>
                <a:gd name="T29" fmla="*/ 1 h 8"/>
                <a:gd name="T30" fmla="*/ 6 w 7"/>
                <a:gd name="T31" fmla="*/ 1 h 8"/>
                <a:gd name="T32" fmla="*/ 6 w 7"/>
                <a:gd name="T33" fmla="*/ 1 h 8"/>
                <a:gd name="T34" fmla="*/ 7 w 7"/>
                <a:gd name="T35" fmla="*/ 2 h 8"/>
                <a:gd name="T36" fmla="*/ 7 w 7"/>
                <a:gd name="T37" fmla="*/ 3 h 8"/>
                <a:gd name="T38" fmla="*/ 7 w 7"/>
                <a:gd name="T39" fmla="*/ 3 h 8"/>
                <a:gd name="T40" fmla="*/ 7 w 7"/>
                <a:gd name="T41" fmla="*/ 4 h 8"/>
                <a:gd name="T42" fmla="*/ 7 w 7"/>
                <a:gd name="T43" fmla="*/ 5 h 8"/>
                <a:gd name="T44" fmla="*/ 7 w 7"/>
                <a:gd name="T45" fmla="*/ 5 h 8"/>
                <a:gd name="T46" fmla="*/ 7 w 7"/>
                <a:gd name="T47" fmla="*/ 6 h 8"/>
                <a:gd name="T48" fmla="*/ 6 w 7"/>
                <a:gd name="T49" fmla="*/ 7 h 8"/>
                <a:gd name="T50" fmla="*/ 6 w 7"/>
                <a:gd name="T51" fmla="*/ 7 h 8"/>
                <a:gd name="T52" fmla="*/ 5 w 7"/>
                <a:gd name="T53" fmla="*/ 7 h 8"/>
                <a:gd name="T54" fmla="*/ 4 w 7"/>
                <a:gd name="T55" fmla="*/ 8 h 8"/>
                <a:gd name="T56" fmla="*/ 4 w 7"/>
                <a:gd name="T57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" h="8">
                  <a:moveTo>
                    <a:pt x="4" y="8"/>
                  </a:moveTo>
                  <a:cubicBezTo>
                    <a:pt x="3" y="8"/>
                    <a:pt x="2" y="7"/>
                    <a:pt x="1" y="7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0" y="6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2"/>
                    <a:pt x="1" y="2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1" y="1"/>
                    <a:pt x="1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3" y="1"/>
                    <a:pt x="3" y="0"/>
                    <a:pt x="3" y="0"/>
                  </a:cubicBezTo>
                  <a:cubicBezTo>
                    <a:pt x="3" y="0"/>
                    <a:pt x="4" y="0"/>
                    <a:pt x="4" y="0"/>
                  </a:cubicBezTo>
                  <a:cubicBezTo>
                    <a:pt x="5" y="0"/>
                    <a:pt x="5" y="1"/>
                    <a:pt x="5" y="1"/>
                  </a:cubicBezTo>
                  <a:cubicBezTo>
                    <a:pt x="5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2"/>
                    <a:pt x="7" y="2"/>
                    <a:pt x="7" y="2"/>
                  </a:cubicBezTo>
                  <a:cubicBezTo>
                    <a:pt x="7" y="2"/>
                    <a:pt x="7" y="2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4"/>
                    <a:pt x="7" y="4"/>
                  </a:cubicBezTo>
                  <a:cubicBezTo>
                    <a:pt x="7" y="4"/>
                    <a:pt x="7" y="4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6" y="6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5" y="7"/>
                    <a:pt x="5" y="7"/>
                  </a:cubicBezTo>
                  <a:cubicBezTo>
                    <a:pt x="5" y="7"/>
                    <a:pt x="5" y="7"/>
                    <a:pt x="4" y="8"/>
                  </a:cubicBezTo>
                  <a:cubicBezTo>
                    <a:pt x="4" y="8"/>
                    <a:pt x="4" y="8"/>
                    <a:pt x="4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8" name="Freeform 815">
              <a:extLst>
                <a:ext uri="{FF2B5EF4-FFF2-40B4-BE49-F238E27FC236}">
                  <a16:creationId xmlns:a16="http://schemas.microsoft.com/office/drawing/2014/main" id="{E1682C19-4BA1-3FA2-3A28-411C424FA56F}"/>
                </a:ext>
              </a:extLst>
            </p:cNvPr>
            <p:cNvSpPr>
              <a:spLocks/>
            </p:cNvSpPr>
            <p:nvPr/>
          </p:nvSpPr>
          <p:spPr bwMode="auto">
            <a:xfrm>
              <a:off x="-5759450" y="3032125"/>
              <a:ext cx="9525" cy="9525"/>
            </a:xfrm>
            <a:custGeom>
              <a:avLst/>
              <a:gdLst>
                <a:gd name="T0" fmla="*/ 4 w 7"/>
                <a:gd name="T1" fmla="*/ 8 h 8"/>
                <a:gd name="T2" fmla="*/ 3 w 7"/>
                <a:gd name="T3" fmla="*/ 8 h 8"/>
                <a:gd name="T4" fmla="*/ 2 w 7"/>
                <a:gd name="T5" fmla="*/ 7 h 8"/>
                <a:gd name="T6" fmla="*/ 2 w 7"/>
                <a:gd name="T7" fmla="*/ 7 h 8"/>
                <a:gd name="T8" fmla="*/ 1 w 7"/>
                <a:gd name="T9" fmla="*/ 7 h 8"/>
                <a:gd name="T10" fmla="*/ 1 w 7"/>
                <a:gd name="T11" fmla="*/ 6 h 8"/>
                <a:gd name="T12" fmla="*/ 0 w 7"/>
                <a:gd name="T13" fmla="*/ 5 h 8"/>
                <a:gd name="T14" fmla="*/ 0 w 7"/>
                <a:gd name="T15" fmla="*/ 5 h 8"/>
                <a:gd name="T16" fmla="*/ 0 w 7"/>
                <a:gd name="T17" fmla="*/ 4 h 8"/>
                <a:gd name="T18" fmla="*/ 0 w 7"/>
                <a:gd name="T19" fmla="*/ 3 h 8"/>
                <a:gd name="T20" fmla="*/ 0 w 7"/>
                <a:gd name="T21" fmla="*/ 3 h 8"/>
                <a:gd name="T22" fmla="*/ 1 w 7"/>
                <a:gd name="T23" fmla="*/ 2 h 8"/>
                <a:gd name="T24" fmla="*/ 1 w 7"/>
                <a:gd name="T25" fmla="*/ 1 h 8"/>
                <a:gd name="T26" fmla="*/ 2 w 7"/>
                <a:gd name="T27" fmla="*/ 1 h 8"/>
                <a:gd name="T28" fmla="*/ 2 w 7"/>
                <a:gd name="T29" fmla="*/ 1 h 8"/>
                <a:gd name="T30" fmla="*/ 3 w 7"/>
                <a:gd name="T31" fmla="*/ 0 h 8"/>
                <a:gd name="T32" fmla="*/ 6 w 7"/>
                <a:gd name="T33" fmla="*/ 1 h 8"/>
                <a:gd name="T34" fmla="*/ 7 w 7"/>
                <a:gd name="T35" fmla="*/ 2 h 8"/>
                <a:gd name="T36" fmla="*/ 7 w 7"/>
                <a:gd name="T37" fmla="*/ 3 h 8"/>
                <a:gd name="T38" fmla="*/ 7 w 7"/>
                <a:gd name="T39" fmla="*/ 3 h 8"/>
                <a:gd name="T40" fmla="*/ 7 w 7"/>
                <a:gd name="T41" fmla="*/ 4 h 8"/>
                <a:gd name="T42" fmla="*/ 7 w 7"/>
                <a:gd name="T43" fmla="*/ 5 h 8"/>
                <a:gd name="T44" fmla="*/ 7 w 7"/>
                <a:gd name="T45" fmla="*/ 5 h 8"/>
                <a:gd name="T46" fmla="*/ 7 w 7"/>
                <a:gd name="T47" fmla="*/ 6 h 8"/>
                <a:gd name="T48" fmla="*/ 6 w 7"/>
                <a:gd name="T49" fmla="*/ 7 h 8"/>
                <a:gd name="T50" fmla="*/ 4 w 7"/>
                <a:gd name="T51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7" h="8">
                  <a:moveTo>
                    <a:pt x="4" y="8"/>
                  </a:moveTo>
                  <a:cubicBezTo>
                    <a:pt x="4" y="8"/>
                    <a:pt x="3" y="8"/>
                    <a:pt x="3" y="8"/>
                  </a:cubicBezTo>
                  <a:cubicBezTo>
                    <a:pt x="3" y="7"/>
                    <a:pt x="3" y="7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7"/>
                    <a:pt x="1" y="7"/>
                    <a:pt x="1" y="7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1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3" y="1"/>
                    <a:pt x="3" y="0"/>
                    <a:pt x="3" y="0"/>
                  </a:cubicBezTo>
                  <a:cubicBezTo>
                    <a:pt x="4" y="0"/>
                    <a:pt x="5" y="1"/>
                    <a:pt x="6" y="1"/>
                  </a:cubicBezTo>
                  <a:cubicBezTo>
                    <a:pt x="6" y="2"/>
                    <a:pt x="7" y="2"/>
                    <a:pt x="7" y="2"/>
                  </a:cubicBezTo>
                  <a:cubicBezTo>
                    <a:pt x="7" y="2"/>
                    <a:pt x="7" y="2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4"/>
                    <a:pt x="7" y="4"/>
                  </a:cubicBezTo>
                  <a:cubicBezTo>
                    <a:pt x="7" y="4"/>
                    <a:pt x="7" y="4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6" y="6"/>
                    <a:pt x="6" y="7"/>
                  </a:cubicBezTo>
                  <a:cubicBezTo>
                    <a:pt x="6" y="7"/>
                    <a:pt x="5" y="8"/>
                    <a:pt x="4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9" name="Freeform 816">
              <a:extLst>
                <a:ext uri="{FF2B5EF4-FFF2-40B4-BE49-F238E27FC236}">
                  <a16:creationId xmlns:a16="http://schemas.microsoft.com/office/drawing/2014/main" id="{4A0E0F30-FC36-E3FF-0F8F-447E0A20BDEA}"/>
                </a:ext>
              </a:extLst>
            </p:cNvPr>
            <p:cNvSpPr>
              <a:spLocks/>
            </p:cNvSpPr>
            <p:nvPr/>
          </p:nvSpPr>
          <p:spPr bwMode="auto">
            <a:xfrm>
              <a:off x="-5776912" y="3032125"/>
              <a:ext cx="7938" cy="9525"/>
            </a:xfrm>
            <a:custGeom>
              <a:avLst/>
              <a:gdLst>
                <a:gd name="T0" fmla="*/ 4 w 7"/>
                <a:gd name="T1" fmla="*/ 8 h 8"/>
                <a:gd name="T2" fmla="*/ 3 w 7"/>
                <a:gd name="T3" fmla="*/ 8 h 8"/>
                <a:gd name="T4" fmla="*/ 2 w 7"/>
                <a:gd name="T5" fmla="*/ 7 h 8"/>
                <a:gd name="T6" fmla="*/ 2 w 7"/>
                <a:gd name="T7" fmla="*/ 7 h 8"/>
                <a:gd name="T8" fmla="*/ 1 w 7"/>
                <a:gd name="T9" fmla="*/ 7 h 8"/>
                <a:gd name="T10" fmla="*/ 1 w 7"/>
                <a:gd name="T11" fmla="*/ 6 h 8"/>
                <a:gd name="T12" fmla="*/ 0 w 7"/>
                <a:gd name="T13" fmla="*/ 5 h 8"/>
                <a:gd name="T14" fmla="*/ 0 w 7"/>
                <a:gd name="T15" fmla="*/ 5 h 8"/>
                <a:gd name="T16" fmla="*/ 0 w 7"/>
                <a:gd name="T17" fmla="*/ 4 h 8"/>
                <a:gd name="T18" fmla="*/ 0 w 7"/>
                <a:gd name="T19" fmla="*/ 3 h 8"/>
                <a:gd name="T20" fmla="*/ 0 w 7"/>
                <a:gd name="T21" fmla="*/ 3 h 8"/>
                <a:gd name="T22" fmla="*/ 1 w 7"/>
                <a:gd name="T23" fmla="*/ 2 h 8"/>
                <a:gd name="T24" fmla="*/ 1 w 7"/>
                <a:gd name="T25" fmla="*/ 1 h 8"/>
                <a:gd name="T26" fmla="*/ 2 w 7"/>
                <a:gd name="T27" fmla="*/ 1 h 8"/>
                <a:gd name="T28" fmla="*/ 2 w 7"/>
                <a:gd name="T29" fmla="*/ 1 h 8"/>
                <a:gd name="T30" fmla="*/ 3 w 7"/>
                <a:gd name="T31" fmla="*/ 0 h 8"/>
                <a:gd name="T32" fmla="*/ 6 w 7"/>
                <a:gd name="T33" fmla="*/ 1 h 8"/>
                <a:gd name="T34" fmla="*/ 7 w 7"/>
                <a:gd name="T35" fmla="*/ 2 h 8"/>
                <a:gd name="T36" fmla="*/ 7 w 7"/>
                <a:gd name="T37" fmla="*/ 3 h 8"/>
                <a:gd name="T38" fmla="*/ 7 w 7"/>
                <a:gd name="T39" fmla="*/ 3 h 8"/>
                <a:gd name="T40" fmla="*/ 7 w 7"/>
                <a:gd name="T41" fmla="*/ 4 h 8"/>
                <a:gd name="T42" fmla="*/ 7 w 7"/>
                <a:gd name="T43" fmla="*/ 5 h 8"/>
                <a:gd name="T44" fmla="*/ 7 w 7"/>
                <a:gd name="T45" fmla="*/ 5 h 8"/>
                <a:gd name="T46" fmla="*/ 7 w 7"/>
                <a:gd name="T47" fmla="*/ 6 h 8"/>
                <a:gd name="T48" fmla="*/ 6 w 7"/>
                <a:gd name="T49" fmla="*/ 7 h 8"/>
                <a:gd name="T50" fmla="*/ 4 w 7"/>
                <a:gd name="T51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7" h="8">
                  <a:moveTo>
                    <a:pt x="4" y="8"/>
                  </a:moveTo>
                  <a:cubicBezTo>
                    <a:pt x="4" y="8"/>
                    <a:pt x="3" y="8"/>
                    <a:pt x="3" y="8"/>
                  </a:cubicBezTo>
                  <a:cubicBezTo>
                    <a:pt x="3" y="7"/>
                    <a:pt x="3" y="7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7"/>
                    <a:pt x="1" y="7"/>
                    <a:pt x="1" y="7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1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3" y="1"/>
                    <a:pt x="3" y="0"/>
                    <a:pt x="3" y="0"/>
                  </a:cubicBezTo>
                  <a:cubicBezTo>
                    <a:pt x="4" y="0"/>
                    <a:pt x="5" y="1"/>
                    <a:pt x="6" y="1"/>
                  </a:cubicBezTo>
                  <a:cubicBezTo>
                    <a:pt x="6" y="2"/>
                    <a:pt x="7" y="2"/>
                    <a:pt x="7" y="2"/>
                  </a:cubicBezTo>
                  <a:cubicBezTo>
                    <a:pt x="7" y="2"/>
                    <a:pt x="7" y="2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4"/>
                    <a:pt x="7" y="4"/>
                  </a:cubicBezTo>
                  <a:cubicBezTo>
                    <a:pt x="7" y="4"/>
                    <a:pt x="7" y="4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6" y="6"/>
                    <a:pt x="6" y="7"/>
                  </a:cubicBezTo>
                  <a:cubicBezTo>
                    <a:pt x="6" y="7"/>
                    <a:pt x="5" y="8"/>
                    <a:pt x="4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0" name="Freeform 817">
              <a:extLst>
                <a:ext uri="{FF2B5EF4-FFF2-40B4-BE49-F238E27FC236}">
                  <a16:creationId xmlns:a16="http://schemas.microsoft.com/office/drawing/2014/main" id="{75DFB41C-8495-81CF-7902-A367BA44206C}"/>
                </a:ext>
              </a:extLst>
            </p:cNvPr>
            <p:cNvSpPr>
              <a:spLocks/>
            </p:cNvSpPr>
            <p:nvPr/>
          </p:nvSpPr>
          <p:spPr bwMode="auto">
            <a:xfrm>
              <a:off x="-5780087" y="3243263"/>
              <a:ext cx="227013" cy="9525"/>
            </a:xfrm>
            <a:custGeom>
              <a:avLst/>
              <a:gdLst>
                <a:gd name="T0" fmla="*/ 186 w 190"/>
                <a:gd name="T1" fmla="*/ 7 h 7"/>
                <a:gd name="T2" fmla="*/ 3 w 190"/>
                <a:gd name="T3" fmla="*/ 7 h 7"/>
                <a:gd name="T4" fmla="*/ 0 w 190"/>
                <a:gd name="T5" fmla="*/ 4 h 7"/>
                <a:gd name="T6" fmla="*/ 3 w 190"/>
                <a:gd name="T7" fmla="*/ 0 h 7"/>
                <a:gd name="T8" fmla="*/ 186 w 190"/>
                <a:gd name="T9" fmla="*/ 0 h 7"/>
                <a:gd name="T10" fmla="*/ 190 w 190"/>
                <a:gd name="T11" fmla="*/ 4 h 7"/>
                <a:gd name="T12" fmla="*/ 186 w 190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0" h="7">
                  <a:moveTo>
                    <a:pt x="186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6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186" y="0"/>
                    <a:pt x="186" y="0"/>
                    <a:pt x="186" y="0"/>
                  </a:cubicBezTo>
                  <a:cubicBezTo>
                    <a:pt x="188" y="0"/>
                    <a:pt x="190" y="2"/>
                    <a:pt x="190" y="4"/>
                  </a:cubicBezTo>
                  <a:cubicBezTo>
                    <a:pt x="190" y="6"/>
                    <a:pt x="188" y="7"/>
                    <a:pt x="186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53" name="Shape22_20200717_142329">
            <a:extLst>
              <a:ext uri="{FF2B5EF4-FFF2-40B4-BE49-F238E27FC236}">
                <a16:creationId xmlns:a16="http://schemas.microsoft.com/office/drawing/2014/main" id="{5FA10374-A114-E7E6-C22D-94C7C8F8183F}"/>
              </a:ext>
            </a:extLst>
          </p:cNvPr>
          <p:cNvGrpSpPr>
            <a:grpSpLocks noChangeAspect="1"/>
          </p:cNvGrpSpPr>
          <p:nvPr/>
        </p:nvGrpSpPr>
        <p:grpSpPr>
          <a:xfrm>
            <a:off x="5760645" y="1322334"/>
            <a:ext cx="670704" cy="402422"/>
            <a:chOff x="-5265737" y="2427288"/>
            <a:chExt cx="317500" cy="190500"/>
          </a:xfrm>
          <a:solidFill>
            <a:schemeClr val="accent1"/>
          </a:solidFill>
        </p:grpSpPr>
        <p:sp>
          <p:nvSpPr>
            <p:cNvPr id="57" name="Freeform 818">
              <a:extLst>
                <a:ext uri="{FF2B5EF4-FFF2-40B4-BE49-F238E27FC236}">
                  <a16:creationId xmlns:a16="http://schemas.microsoft.com/office/drawing/2014/main" id="{3C95DA28-EF29-D6DF-17F0-50143CD9D6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233987" y="2427288"/>
              <a:ext cx="254000" cy="165100"/>
            </a:xfrm>
            <a:custGeom>
              <a:avLst/>
              <a:gdLst>
                <a:gd name="T0" fmla="*/ 209 w 212"/>
                <a:gd name="T1" fmla="*/ 138 h 138"/>
                <a:gd name="T2" fmla="*/ 3 w 212"/>
                <a:gd name="T3" fmla="*/ 138 h 138"/>
                <a:gd name="T4" fmla="*/ 0 w 212"/>
                <a:gd name="T5" fmla="*/ 134 h 138"/>
                <a:gd name="T6" fmla="*/ 0 w 212"/>
                <a:gd name="T7" fmla="*/ 13 h 138"/>
                <a:gd name="T8" fmla="*/ 12 w 212"/>
                <a:gd name="T9" fmla="*/ 0 h 138"/>
                <a:gd name="T10" fmla="*/ 199 w 212"/>
                <a:gd name="T11" fmla="*/ 0 h 138"/>
                <a:gd name="T12" fmla="*/ 212 w 212"/>
                <a:gd name="T13" fmla="*/ 13 h 138"/>
                <a:gd name="T14" fmla="*/ 212 w 212"/>
                <a:gd name="T15" fmla="*/ 134 h 138"/>
                <a:gd name="T16" fmla="*/ 209 w 212"/>
                <a:gd name="T17" fmla="*/ 138 h 138"/>
                <a:gd name="T18" fmla="*/ 7 w 212"/>
                <a:gd name="T19" fmla="*/ 130 h 138"/>
                <a:gd name="T20" fmla="*/ 205 w 212"/>
                <a:gd name="T21" fmla="*/ 130 h 138"/>
                <a:gd name="T22" fmla="*/ 205 w 212"/>
                <a:gd name="T23" fmla="*/ 13 h 138"/>
                <a:gd name="T24" fmla="*/ 199 w 212"/>
                <a:gd name="T25" fmla="*/ 8 h 138"/>
                <a:gd name="T26" fmla="*/ 12 w 212"/>
                <a:gd name="T27" fmla="*/ 8 h 138"/>
                <a:gd name="T28" fmla="*/ 7 w 212"/>
                <a:gd name="T29" fmla="*/ 13 h 138"/>
                <a:gd name="T30" fmla="*/ 7 w 212"/>
                <a:gd name="T31" fmla="*/ 13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12" h="138">
                  <a:moveTo>
                    <a:pt x="209" y="138"/>
                  </a:moveTo>
                  <a:cubicBezTo>
                    <a:pt x="3" y="138"/>
                    <a:pt x="3" y="138"/>
                    <a:pt x="3" y="138"/>
                  </a:cubicBezTo>
                  <a:cubicBezTo>
                    <a:pt x="1" y="138"/>
                    <a:pt x="0" y="136"/>
                    <a:pt x="0" y="134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199" y="0"/>
                    <a:pt x="199" y="0"/>
                    <a:pt x="199" y="0"/>
                  </a:cubicBezTo>
                  <a:cubicBezTo>
                    <a:pt x="207" y="0"/>
                    <a:pt x="212" y="6"/>
                    <a:pt x="212" y="13"/>
                  </a:cubicBezTo>
                  <a:cubicBezTo>
                    <a:pt x="212" y="134"/>
                    <a:pt x="212" y="134"/>
                    <a:pt x="212" y="134"/>
                  </a:cubicBezTo>
                  <a:cubicBezTo>
                    <a:pt x="212" y="136"/>
                    <a:pt x="211" y="138"/>
                    <a:pt x="209" y="138"/>
                  </a:cubicBezTo>
                  <a:close/>
                  <a:moveTo>
                    <a:pt x="7" y="130"/>
                  </a:moveTo>
                  <a:cubicBezTo>
                    <a:pt x="205" y="130"/>
                    <a:pt x="205" y="130"/>
                    <a:pt x="205" y="130"/>
                  </a:cubicBezTo>
                  <a:cubicBezTo>
                    <a:pt x="205" y="13"/>
                    <a:pt x="205" y="13"/>
                    <a:pt x="205" y="13"/>
                  </a:cubicBezTo>
                  <a:cubicBezTo>
                    <a:pt x="205" y="10"/>
                    <a:pt x="203" y="8"/>
                    <a:pt x="199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9" y="8"/>
                    <a:pt x="7" y="10"/>
                    <a:pt x="7" y="13"/>
                  </a:cubicBezTo>
                  <a:lnTo>
                    <a:pt x="7" y="1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8" name="Freeform 819">
              <a:extLst>
                <a:ext uri="{FF2B5EF4-FFF2-40B4-BE49-F238E27FC236}">
                  <a16:creationId xmlns:a16="http://schemas.microsoft.com/office/drawing/2014/main" id="{C7CEB3BA-9EC0-4982-5CFD-97B7C43156E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265737" y="2582863"/>
              <a:ext cx="317500" cy="34925"/>
            </a:xfrm>
            <a:custGeom>
              <a:avLst/>
              <a:gdLst>
                <a:gd name="T0" fmla="*/ 262 w 266"/>
                <a:gd name="T1" fmla="*/ 29 h 29"/>
                <a:gd name="T2" fmla="*/ 4 w 266"/>
                <a:gd name="T3" fmla="*/ 29 h 29"/>
                <a:gd name="T4" fmla="*/ 1 w 266"/>
                <a:gd name="T5" fmla="*/ 26 h 29"/>
                <a:gd name="T6" fmla="*/ 2 w 266"/>
                <a:gd name="T7" fmla="*/ 22 h 29"/>
                <a:gd name="T8" fmla="*/ 28 w 266"/>
                <a:gd name="T9" fmla="*/ 1 h 29"/>
                <a:gd name="T10" fmla="*/ 30 w 266"/>
                <a:gd name="T11" fmla="*/ 0 h 29"/>
                <a:gd name="T12" fmla="*/ 236 w 266"/>
                <a:gd name="T13" fmla="*/ 0 h 29"/>
                <a:gd name="T14" fmla="*/ 238 w 266"/>
                <a:gd name="T15" fmla="*/ 1 h 29"/>
                <a:gd name="T16" fmla="*/ 264 w 266"/>
                <a:gd name="T17" fmla="*/ 22 h 29"/>
                <a:gd name="T18" fmla="*/ 265 w 266"/>
                <a:gd name="T19" fmla="*/ 26 h 29"/>
                <a:gd name="T20" fmla="*/ 262 w 266"/>
                <a:gd name="T21" fmla="*/ 29 h 29"/>
                <a:gd name="T22" fmla="*/ 14 w 266"/>
                <a:gd name="T23" fmla="*/ 21 h 29"/>
                <a:gd name="T24" fmla="*/ 252 w 266"/>
                <a:gd name="T25" fmla="*/ 21 h 29"/>
                <a:gd name="T26" fmla="*/ 234 w 266"/>
                <a:gd name="T27" fmla="*/ 8 h 29"/>
                <a:gd name="T28" fmla="*/ 31 w 266"/>
                <a:gd name="T29" fmla="*/ 8 h 29"/>
                <a:gd name="T30" fmla="*/ 14 w 266"/>
                <a:gd name="T31" fmla="*/ 21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66" h="29">
                  <a:moveTo>
                    <a:pt x="262" y="29"/>
                  </a:moveTo>
                  <a:cubicBezTo>
                    <a:pt x="4" y="29"/>
                    <a:pt x="4" y="29"/>
                    <a:pt x="4" y="29"/>
                  </a:cubicBezTo>
                  <a:cubicBezTo>
                    <a:pt x="3" y="29"/>
                    <a:pt x="1" y="28"/>
                    <a:pt x="1" y="26"/>
                  </a:cubicBezTo>
                  <a:cubicBezTo>
                    <a:pt x="0" y="25"/>
                    <a:pt x="1" y="23"/>
                    <a:pt x="2" y="22"/>
                  </a:cubicBezTo>
                  <a:cubicBezTo>
                    <a:pt x="28" y="1"/>
                    <a:pt x="28" y="1"/>
                    <a:pt x="28" y="1"/>
                  </a:cubicBezTo>
                  <a:cubicBezTo>
                    <a:pt x="29" y="1"/>
                    <a:pt x="29" y="0"/>
                    <a:pt x="30" y="0"/>
                  </a:cubicBezTo>
                  <a:cubicBezTo>
                    <a:pt x="236" y="0"/>
                    <a:pt x="236" y="0"/>
                    <a:pt x="236" y="0"/>
                  </a:cubicBezTo>
                  <a:cubicBezTo>
                    <a:pt x="236" y="0"/>
                    <a:pt x="237" y="1"/>
                    <a:pt x="238" y="1"/>
                  </a:cubicBezTo>
                  <a:cubicBezTo>
                    <a:pt x="264" y="22"/>
                    <a:pt x="264" y="22"/>
                    <a:pt x="264" y="22"/>
                  </a:cubicBezTo>
                  <a:cubicBezTo>
                    <a:pt x="265" y="23"/>
                    <a:pt x="266" y="25"/>
                    <a:pt x="265" y="26"/>
                  </a:cubicBezTo>
                  <a:cubicBezTo>
                    <a:pt x="265" y="28"/>
                    <a:pt x="263" y="29"/>
                    <a:pt x="262" y="29"/>
                  </a:cubicBezTo>
                  <a:close/>
                  <a:moveTo>
                    <a:pt x="14" y="21"/>
                  </a:moveTo>
                  <a:cubicBezTo>
                    <a:pt x="252" y="21"/>
                    <a:pt x="252" y="21"/>
                    <a:pt x="252" y="21"/>
                  </a:cubicBezTo>
                  <a:cubicBezTo>
                    <a:pt x="234" y="8"/>
                    <a:pt x="234" y="8"/>
                    <a:pt x="234" y="8"/>
                  </a:cubicBezTo>
                  <a:cubicBezTo>
                    <a:pt x="31" y="8"/>
                    <a:pt x="31" y="8"/>
                    <a:pt x="31" y="8"/>
                  </a:cubicBezTo>
                  <a:lnTo>
                    <a:pt x="14" y="2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9" name="Freeform 820">
              <a:extLst>
                <a:ext uri="{FF2B5EF4-FFF2-40B4-BE49-F238E27FC236}">
                  <a16:creationId xmlns:a16="http://schemas.microsoft.com/office/drawing/2014/main" id="{AD64EDCF-AC94-D44D-8B22-AC87BF0AA88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211762" y="2484438"/>
              <a:ext cx="139700" cy="85725"/>
            </a:xfrm>
            <a:custGeom>
              <a:avLst/>
              <a:gdLst>
                <a:gd name="T0" fmla="*/ 113 w 117"/>
                <a:gd name="T1" fmla="*/ 72 h 72"/>
                <a:gd name="T2" fmla="*/ 4 w 117"/>
                <a:gd name="T3" fmla="*/ 72 h 72"/>
                <a:gd name="T4" fmla="*/ 1 w 117"/>
                <a:gd name="T5" fmla="*/ 70 h 72"/>
                <a:gd name="T6" fmla="*/ 2 w 117"/>
                <a:gd name="T7" fmla="*/ 66 h 72"/>
                <a:gd name="T8" fmla="*/ 56 w 117"/>
                <a:gd name="T9" fmla="*/ 1 h 72"/>
                <a:gd name="T10" fmla="*/ 61 w 117"/>
                <a:gd name="T11" fmla="*/ 1 h 72"/>
                <a:gd name="T12" fmla="*/ 116 w 117"/>
                <a:gd name="T13" fmla="*/ 66 h 72"/>
                <a:gd name="T14" fmla="*/ 116 w 117"/>
                <a:gd name="T15" fmla="*/ 70 h 72"/>
                <a:gd name="T16" fmla="*/ 113 w 117"/>
                <a:gd name="T17" fmla="*/ 72 h 72"/>
                <a:gd name="T18" fmla="*/ 12 w 117"/>
                <a:gd name="T19" fmla="*/ 65 h 72"/>
                <a:gd name="T20" fmla="*/ 105 w 117"/>
                <a:gd name="T21" fmla="*/ 65 h 72"/>
                <a:gd name="T22" fmla="*/ 59 w 117"/>
                <a:gd name="T23" fmla="*/ 9 h 72"/>
                <a:gd name="T24" fmla="*/ 12 w 117"/>
                <a:gd name="T25" fmla="*/ 6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7" h="72">
                  <a:moveTo>
                    <a:pt x="113" y="72"/>
                  </a:moveTo>
                  <a:cubicBezTo>
                    <a:pt x="4" y="72"/>
                    <a:pt x="4" y="72"/>
                    <a:pt x="4" y="72"/>
                  </a:cubicBezTo>
                  <a:cubicBezTo>
                    <a:pt x="3" y="72"/>
                    <a:pt x="2" y="71"/>
                    <a:pt x="1" y="70"/>
                  </a:cubicBezTo>
                  <a:cubicBezTo>
                    <a:pt x="0" y="69"/>
                    <a:pt x="1" y="67"/>
                    <a:pt x="2" y="66"/>
                  </a:cubicBezTo>
                  <a:cubicBezTo>
                    <a:pt x="56" y="1"/>
                    <a:pt x="56" y="1"/>
                    <a:pt x="56" y="1"/>
                  </a:cubicBezTo>
                  <a:cubicBezTo>
                    <a:pt x="57" y="0"/>
                    <a:pt x="60" y="0"/>
                    <a:pt x="61" y="1"/>
                  </a:cubicBezTo>
                  <a:cubicBezTo>
                    <a:pt x="116" y="66"/>
                    <a:pt x="116" y="66"/>
                    <a:pt x="116" y="66"/>
                  </a:cubicBezTo>
                  <a:cubicBezTo>
                    <a:pt x="117" y="67"/>
                    <a:pt x="117" y="69"/>
                    <a:pt x="116" y="70"/>
                  </a:cubicBezTo>
                  <a:cubicBezTo>
                    <a:pt x="116" y="71"/>
                    <a:pt x="114" y="72"/>
                    <a:pt x="113" y="72"/>
                  </a:cubicBezTo>
                  <a:close/>
                  <a:moveTo>
                    <a:pt x="12" y="65"/>
                  </a:moveTo>
                  <a:cubicBezTo>
                    <a:pt x="105" y="65"/>
                    <a:pt x="105" y="65"/>
                    <a:pt x="105" y="65"/>
                  </a:cubicBezTo>
                  <a:cubicBezTo>
                    <a:pt x="59" y="9"/>
                    <a:pt x="59" y="9"/>
                    <a:pt x="59" y="9"/>
                  </a:cubicBezTo>
                  <a:lnTo>
                    <a:pt x="12" y="6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0" name="Freeform 821">
              <a:extLst>
                <a:ext uri="{FF2B5EF4-FFF2-40B4-BE49-F238E27FC236}">
                  <a16:creationId xmlns:a16="http://schemas.microsoft.com/office/drawing/2014/main" id="{BBBB3102-566C-8727-C21C-82E84EAB429C}"/>
                </a:ext>
              </a:extLst>
            </p:cNvPr>
            <p:cNvSpPr>
              <a:spLocks/>
            </p:cNvSpPr>
            <p:nvPr/>
          </p:nvSpPr>
          <p:spPr bwMode="auto">
            <a:xfrm>
              <a:off x="-5106987" y="2505075"/>
              <a:ext cx="104775" cy="65088"/>
            </a:xfrm>
            <a:custGeom>
              <a:avLst/>
              <a:gdLst>
                <a:gd name="T0" fmla="*/ 83 w 87"/>
                <a:gd name="T1" fmla="*/ 55 h 55"/>
                <a:gd name="T2" fmla="*/ 4 w 87"/>
                <a:gd name="T3" fmla="*/ 55 h 55"/>
                <a:gd name="T4" fmla="*/ 0 w 87"/>
                <a:gd name="T5" fmla="*/ 51 h 55"/>
                <a:gd name="T6" fmla="*/ 4 w 87"/>
                <a:gd name="T7" fmla="*/ 48 h 55"/>
                <a:gd name="T8" fmla="*/ 76 w 87"/>
                <a:gd name="T9" fmla="*/ 48 h 55"/>
                <a:gd name="T10" fmla="*/ 44 w 87"/>
                <a:gd name="T11" fmla="*/ 10 h 55"/>
                <a:gd name="T12" fmla="*/ 19 w 87"/>
                <a:gd name="T13" fmla="*/ 39 h 55"/>
                <a:gd name="T14" fmla="*/ 14 w 87"/>
                <a:gd name="T15" fmla="*/ 40 h 55"/>
                <a:gd name="T16" fmla="*/ 13 w 87"/>
                <a:gd name="T17" fmla="*/ 34 h 55"/>
                <a:gd name="T18" fmla="*/ 41 w 87"/>
                <a:gd name="T19" fmla="*/ 2 h 55"/>
                <a:gd name="T20" fmla="*/ 46 w 87"/>
                <a:gd name="T21" fmla="*/ 2 h 55"/>
                <a:gd name="T22" fmla="*/ 86 w 87"/>
                <a:gd name="T23" fmla="*/ 49 h 55"/>
                <a:gd name="T24" fmla="*/ 87 w 87"/>
                <a:gd name="T25" fmla="*/ 53 h 55"/>
                <a:gd name="T26" fmla="*/ 83 w 87"/>
                <a:gd name="T27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7" h="55">
                  <a:moveTo>
                    <a:pt x="83" y="55"/>
                  </a:moveTo>
                  <a:cubicBezTo>
                    <a:pt x="4" y="55"/>
                    <a:pt x="4" y="55"/>
                    <a:pt x="4" y="55"/>
                  </a:cubicBezTo>
                  <a:cubicBezTo>
                    <a:pt x="2" y="55"/>
                    <a:pt x="0" y="53"/>
                    <a:pt x="0" y="51"/>
                  </a:cubicBezTo>
                  <a:cubicBezTo>
                    <a:pt x="0" y="49"/>
                    <a:pt x="2" y="48"/>
                    <a:pt x="4" y="48"/>
                  </a:cubicBezTo>
                  <a:cubicBezTo>
                    <a:pt x="76" y="48"/>
                    <a:pt x="76" y="48"/>
                    <a:pt x="76" y="48"/>
                  </a:cubicBezTo>
                  <a:cubicBezTo>
                    <a:pt x="44" y="10"/>
                    <a:pt x="44" y="10"/>
                    <a:pt x="44" y="10"/>
                  </a:cubicBezTo>
                  <a:cubicBezTo>
                    <a:pt x="19" y="39"/>
                    <a:pt x="19" y="39"/>
                    <a:pt x="19" y="39"/>
                  </a:cubicBezTo>
                  <a:cubicBezTo>
                    <a:pt x="18" y="41"/>
                    <a:pt x="15" y="41"/>
                    <a:pt x="14" y="40"/>
                  </a:cubicBezTo>
                  <a:cubicBezTo>
                    <a:pt x="12" y="38"/>
                    <a:pt x="12" y="36"/>
                    <a:pt x="13" y="34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42" y="0"/>
                    <a:pt x="45" y="0"/>
                    <a:pt x="46" y="2"/>
                  </a:cubicBezTo>
                  <a:cubicBezTo>
                    <a:pt x="86" y="49"/>
                    <a:pt x="86" y="49"/>
                    <a:pt x="86" y="49"/>
                  </a:cubicBezTo>
                  <a:cubicBezTo>
                    <a:pt x="87" y="50"/>
                    <a:pt x="87" y="52"/>
                    <a:pt x="87" y="53"/>
                  </a:cubicBezTo>
                  <a:cubicBezTo>
                    <a:pt x="86" y="54"/>
                    <a:pt x="85" y="55"/>
                    <a:pt x="83" y="5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1" name="Freeform 822">
              <a:extLst>
                <a:ext uri="{FF2B5EF4-FFF2-40B4-BE49-F238E27FC236}">
                  <a16:creationId xmlns:a16="http://schemas.microsoft.com/office/drawing/2014/main" id="{A8094EC2-9289-A9EC-0F47-0DCBA6C2AE6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105400" y="2447925"/>
              <a:ext cx="28575" cy="30163"/>
            </a:xfrm>
            <a:custGeom>
              <a:avLst/>
              <a:gdLst>
                <a:gd name="T0" fmla="*/ 12 w 24"/>
                <a:gd name="T1" fmla="*/ 25 h 25"/>
                <a:gd name="T2" fmla="*/ 0 w 24"/>
                <a:gd name="T3" fmla="*/ 12 h 25"/>
                <a:gd name="T4" fmla="*/ 12 w 24"/>
                <a:gd name="T5" fmla="*/ 0 h 25"/>
                <a:gd name="T6" fmla="*/ 24 w 24"/>
                <a:gd name="T7" fmla="*/ 12 h 25"/>
                <a:gd name="T8" fmla="*/ 12 w 24"/>
                <a:gd name="T9" fmla="*/ 25 h 25"/>
                <a:gd name="T10" fmla="*/ 12 w 24"/>
                <a:gd name="T11" fmla="*/ 8 h 25"/>
                <a:gd name="T12" fmla="*/ 7 w 24"/>
                <a:gd name="T13" fmla="*/ 12 h 25"/>
                <a:gd name="T14" fmla="*/ 12 w 24"/>
                <a:gd name="T15" fmla="*/ 17 h 25"/>
                <a:gd name="T16" fmla="*/ 17 w 24"/>
                <a:gd name="T17" fmla="*/ 12 h 25"/>
                <a:gd name="T18" fmla="*/ 12 w 24"/>
                <a:gd name="T19" fmla="*/ 8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25">
                  <a:moveTo>
                    <a:pt x="12" y="25"/>
                  </a:moveTo>
                  <a:cubicBezTo>
                    <a:pt x="6" y="25"/>
                    <a:pt x="0" y="19"/>
                    <a:pt x="0" y="12"/>
                  </a:cubicBezTo>
                  <a:cubicBezTo>
                    <a:pt x="0" y="6"/>
                    <a:pt x="6" y="0"/>
                    <a:pt x="12" y="0"/>
                  </a:cubicBezTo>
                  <a:cubicBezTo>
                    <a:pt x="19" y="0"/>
                    <a:pt x="24" y="6"/>
                    <a:pt x="24" y="12"/>
                  </a:cubicBezTo>
                  <a:cubicBezTo>
                    <a:pt x="24" y="19"/>
                    <a:pt x="19" y="25"/>
                    <a:pt x="12" y="25"/>
                  </a:cubicBezTo>
                  <a:close/>
                  <a:moveTo>
                    <a:pt x="12" y="8"/>
                  </a:moveTo>
                  <a:cubicBezTo>
                    <a:pt x="10" y="8"/>
                    <a:pt x="7" y="10"/>
                    <a:pt x="7" y="12"/>
                  </a:cubicBezTo>
                  <a:cubicBezTo>
                    <a:pt x="7" y="15"/>
                    <a:pt x="10" y="17"/>
                    <a:pt x="12" y="17"/>
                  </a:cubicBezTo>
                  <a:cubicBezTo>
                    <a:pt x="15" y="17"/>
                    <a:pt x="17" y="15"/>
                    <a:pt x="17" y="12"/>
                  </a:cubicBezTo>
                  <a:cubicBezTo>
                    <a:pt x="17" y="10"/>
                    <a:pt x="15" y="8"/>
                    <a:pt x="12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54" name="Shape23_20200717_142329">
            <a:extLst>
              <a:ext uri="{FF2B5EF4-FFF2-40B4-BE49-F238E27FC236}">
                <a16:creationId xmlns:a16="http://schemas.microsoft.com/office/drawing/2014/main" id="{40DDAA6C-F784-115C-FA8E-12579A003E9A}"/>
              </a:ext>
            </a:extLst>
          </p:cNvPr>
          <p:cNvGrpSpPr>
            <a:grpSpLocks noChangeAspect="1"/>
          </p:cNvGrpSpPr>
          <p:nvPr/>
        </p:nvGrpSpPr>
        <p:grpSpPr>
          <a:xfrm>
            <a:off x="1852362" y="2646334"/>
            <a:ext cx="653938" cy="365534"/>
            <a:chOff x="-5262562" y="3044825"/>
            <a:chExt cx="309563" cy="173038"/>
          </a:xfrm>
          <a:solidFill>
            <a:schemeClr val="accent1"/>
          </a:solidFill>
        </p:grpSpPr>
        <p:sp>
          <p:nvSpPr>
            <p:cNvPr id="55" name="Freeform 823">
              <a:extLst>
                <a:ext uri="{FF2B5EF4-FFF2-40B4-BE49-F238E27FC236}">
                  <a16:creationId xmlns:a16="http://schemas.microsoft.com/office/drawing/2014/main" id="{A529D1F3-358C-BB59-248C-EA8D90B98C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262562" y="3044825"/>
              <a:ext cx="309563" cy="173038"/>
            </a:xfrm>
            <a:custGeom>
              <a:avLst/>
              <a:gdLst>
                <a:gd name="T0" fmla="*/ 41 w 259"/>
                <a:gd name="T1" fmla="*/ 144 h 144"/>
                <a:gd name="T2" fmla="*/ 0 w 259"/>
                <a:gd name="T3" fmla="*/ 103 h 144"/>
                <a:gd name="T4" fmla="*/ 41 w 259"/>
                <a:gd name="T5" fmla="*/ 62 h 144"/>
                <a:gd name="T6" fmla="*/ 46 w 259"/>
                <a:gd name="T7" fmla="*/ 63 h 144"/>
                <a:gd name="T8" fmla="*/ 46 w 259"/>
                <a:gd name="T9" fmla="*/ 60 h 144"/>
                <a:gd name="T10" fmla="*/ 77 w 259"/>
                <a:gd name="T11" fmla="*/ 28 h 144"/>
                <a:gd name="T12" fmla="*/ 92 w 259"/>
                <a:gd name="T13" fmla="*/ 32 h 144"/>
                <a:gd name="T14" fmla="*/ 134 w 259"/>
                <a:gd name="T15" fmla="*/ 0 h 144"/>
                <a:gd name="T16" fmla="*/ 176 w 259"/>
                <a:gd name="T17" fmla="*/ 36 h 144"/>
                <a:gd name="T18" fmla="*/ 217 w 259"/>
                <a:gd name="T19" fmla="*/ 63 h 144"/>
                <a:gd name="T20" fmla="*/ 219 w 259"/>
                <a:gd name="T21" fmla="*/ 63 h 144"/>
                <a:gd name="T22" fmla="*/ 259 w 259"/>
                <a:gd name="T23" fmla="*/ 103 h 144"/>
                <a:gd name="T24" fmla="*/ 219 w 259"/>
                <a:gd name="T25" fmla="*/ 144 h 144"/>
                <a:gd name="T26" fmla="*/ 132 w 259"/>
                <a:gd name="T27" fmla="*/ 144 h 144"/>
                <a:gd name="T28" fmla="*/ 41 w 259"/>
                <a:gd name="T29" fmla="*/ 144 h 144"/>
                <a:gd name="T30" fmla="*/ 41 w 259"/>
                <a:gd name="T31" fmla="*/ 70 h 144"/>
                <a:gd name="T32" fmla="*/ 8 w 259"/>
                <a:gd name="T33" fmla="*/ 103 h 144"/>
                <a:gd name="T34" fmla="*/ 41 w 259"/>
                <a:gd name="T35" fmla="*/ 137 h 144"/>
                <a:gd name="T36" fmla="*/ 132 w 259"/>
                <a:gd name="T37" fmla="*/ 137 h 144"/>
                <a:gd name="T38" fmla="*/ 219 w 259"/>
                <a:gd name="T39" fmla="*/ 137 h 144"/>
                <a:gd name="T40" fmla="*/ 252 w 259"/>
                <a:gd name="T41" fmla="*/ 103 h 144"/>
                <a:gd name="T42" fmla="*/ 219 w 259"/>
                <a:gd name="T43" fmla="*/ 70 h 144"/>
                <a:gd name="T44" fmla="*/ 215 w 259"/>
                <a:gd name="T45" fmla="*/ 70 h 144"/>
                <a:gd name="T46" fmla="*/ 211 w 259"/>
                <a:gd name="T47" fmla="*/ 67 h 144"/>
                <a:gd name="T48" fmla="*/ 174 w 259"/>
                <a:gd name="T49" fmla="*/ 44 h 144"/>
                <a:gd name="T50" fmla="*/ 171 w 259"/>
                <a:gd name="T51" fmla="*/ 44 h 144"/>
                <a:gd name="T52" fmla="*/ 170 w 259"/>
                <a:gd name="T53" fmla="*/ 41 h 144"/>
                <a:gd name="T54" fmla="*/ 134 w 259"/>
                <a:gd name="T55" fmla="*/ 7 h 144"/>
                <a:gd name="T56" fmla="*/ 98 w 259"/>
                <a:gd name="T57" fmla="*/ 38 h 144"/>
                <a:gd name="T58" fmla="*/ 96 w 259"/>
                <a:gd name="T59" fmla="*/ 41 h 144"/>
                <a:gd name="T60" fmla="*/ 92 w 259"/>
                <a:gd name="T61" fmla="*/ 40 h 144"/>
                <a:gd name="T62" fmla="*/ 77 w 259"/>
                <a:gd name="T63" fmla="*/ 35 h 144"/>
                <a:gd name="T64" fmla="*/ 53 w 259"/>
                <a:gd name="T65" fmla="*/ 60 h 144"/>
                <a:gd name="T66" fmla="*/ 54 w 259"/>
                <a:gd name="T67" fmla="*/ 66 h 144"/>
                <a:gd name="T68" fmla="*/ 53 w 259"/>
                <a:gd name="T69" fmla="*/ 70 h 144"/>
                <a:gd name="T70" fmla="*/ 49 w 259"/>
                <a:gd name="T71" fmla="*/ 71 h 144"/>
                <a:gd name="T72" fmla="*/ 41 w 259"/>
                <a:gd name="T73" fmla="*/ 7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59" h="144">
                  <a:moveTo>
                    <a:pt x="41" y="144"/>
                  </a:moveTo>
                  <a:cubicBezTo>
                    <a:pt x="19" y="144"/>
                    <a:pt x="0" y="126"/>
                    <a:pt x="0" y="103"/>
                  </a:cubicBezTo>
                  <a:cubicBezTo>
                    <a:pt x="0" y="81"/>
                    <a:pt x="19" y="62"/>
                    <a:pt x="41" y="62"/>
                  </a:cubicBezTo>
                  <a:cubicBezTo>
                    <a:pt x="43" y="62"/>
                    <a:pt x="44" y="63"/>
                    <a:pt x="46" y="63"/>
                  </a:cubicBezTo>
                  <a:cubicBezTo>
                    <a:pt x="46" y="62"/>
                    <a:pt x="46" y="61"/>
                    <a:pt x="46" y="60"/>
                  </a:cubicBezTo>
                  <a:cubicBezTo>
                    <a:pt x="46" y="43"/>
                    <a:pt x="60" y="28"/>
                    <a:pt x="77" y="28"/>
                  </a:cubicBezTo>
                  <a:cubicBezTo>
                    <a:pt x="83" y="28"/>
                    <a:pt x="87" y="29"/>
                    <a:pt x="92" y="32"/>
                  </a:cubicBezTo>
                  <a:cubicBezTo>
                    <a:pt x="97" y="13"/>
                    <a:pt x="114" y="0"/>
                    <a:pt x="134" y="0"/>
                  </a:cubicBezTo>
                  <a:cubicBezTo>
                    <a:pt x="155" y="0"/>
                    <a:pt x="173" y="16"/>
                    <a:pt x="176" y="36"/>
                  </a:cubicBezTo>
                  <a:cubicBezTo>
                    <a:pt x="195" y="34"/>
                    <a:pt x="212" y="45"/>
                    <a:pt x="217" y="63"/>
                  </a:cubicBezTo>
                  <a:cubicBezTo>
                    <a:pt x="218" y="63"/>
                    <a:pt x="218" y="63"/>
                    <a:pt x="219" y="63"/>
                  </a:cubicBezTo>
                  <a:cubicBezTo>
                    <a:pt x="241" y="63"/>
                    <a:pt x="259" y="81"/>
                    <a:pt x="259" y="103"/>
                  </a:cubicBezTo>
                  <a:cubicBezTo>
                    <a:pt x="259" y="126"/>
                    <a:pt x="241" y="144"/>
                    <a:pt x="219" y="144"/>
                  </a:cubicBezTo>
                  <a:cubicBezTo>
                    <a:pt x="209" y="144"/>
                    <a:pt x="171" y="144"/>
                    <a:pt x="132" y="144"/>
                  </a:cubicBezTo>
                  <a:cubicBezTo>
                    <a:pt x="92" y="144"/>
                    <a:pt x="52" y="144"/>
                    <a:pt x="41" y="144"/>
                  </a:cubicBezTo>
                  <a:close/>
                  <a:moveTo>
                    <a:pt x="41" y="70"/>
                  </a:moveTo>
                  <a:cubicBezTo>
                    <a:pt x="23" y="70"/>
                    <a:pt x="8" y="85"/>
                    <a:pt x="8" y="103"/>
                  </a:cubicBezTo>
                  <a:cubicBezTo>
                    <a:pt x="8" y="122"/>
                    <a:pt x="23" y="137"/>
                    <a:pt x="41" y="137"/>
                  </a:cubicBezTo>
                  <a:cubicBezTo>
                    <a:pt x="52" y="137"/>
                    <a:pt x="92" y="137"/>
                    <a:pt x="132" y="137"/>
                  </a:cubicBezTo>
                  <a:cubicBezTo>
                    <a:pt x="171" y="137"/>
                    <a:pt x="209" y="137"/>
                    <a:pt x="219" y="137"/>
                  </a:cubicBezTo>
                  <a:cubicBezTo>
                    <a:pt x="237" y="137"/>
                    <a:pt x="252" y="122"/>
                    <a:pt x="252" y="103"/>
                  </a:cubicBezTo>
                  <a:cubicBezTo>
                    <a:pt x="252" y="85"/>
                    <a:pt x="237" y="70"/>
                    <a:pt x="219" y="70"/>
                  </a:cubicBezTo>
                  <a:cubicBezTo>
                    <a:pt x="218" y="70"/>
                    <a:pt x="216" y="70"/>
                    <a:pt x="215" y="70"/>
                  </a:cubicBezTo>
                  <a:cubicBezTo>
                    <a:pt x="213" y="70"/>
                    <a:pt x="211" y="69"/>
                    <a:pt x="211" y="67"/>
                  </a:cubicBezTo>
                  <a:cubicBezTo>
                    <a:pt x="208" y="51"/>
                    <a:pt x="191" y="40"/>
                    <a:pt x="174" y="44"/>
                  </a:cubicBezTo>
                  <a:cubicBezTo>
                    <a:pt x="173" y="45"/>
                    <a:pt x="172" y="44"/>
                    <a:pt x="171" y="44"/>
                  </a:cubicBezTo>
                  <a:cubicBezTo>
                    <a:pt x="170" y="43"/>
                    <a:pt x="170" y="42"/>
                    <a:pt x="170" y="41"/>
                  </a:cubicBezTo>
                  <a:cubicBezTo>
                    <a:pt x="169" y="22"/>
                    <a:pt x="153" y="7"/>
                    <a:pt x="134" y="7"/>
                  </a:cubicBezTo>
                  <a:cubicBezTo>
                    <a:pt x="116" y="7"/>
                    <a:pt x="100" y="20"/>
                    <a:pt x="98" y="38"/>
                  </a:cubicBezTo>
                  <a:cubicBezTo>
                    <a:pt x="98" y="39"/>
                    <a:pt x="97" y="40"/>
                    <a:pt x="96" y="41"/>
                  </a:cubicBezTo>
                  <a:cubicBezTo>
                    <a:pt x="95" y="41"/>
                    <a:pt x="93" y="41"/>
                    <a:pt x="92" y="40"/>
                  </a:cubicBezTo>
                  <a:cubicBezTo>
                    <a:pt x="88" y="37"/>
                    <a:pt x="83" y="35"/>
                    <a:pt x="77" y="35"/>
                  </a:cubicBezTo>
                  <a:cubicBezTo>
                    <a:pt x="64" y="35"/>
                    <a:pt x="53" y="47"/>
                    <a:pt x="53" y="60"/>
                  </a:cubicBezTo>
                  <a:cubicBezTo>
                    <a:pt x="53" y="62"/>
                    <a:pt x="53" y="64"/>
                    <a:pt x="54" y="66"/>
                  </a:cubicBezTo>
                  <a:cubicBezTo>
                    <a:pt x="54" y="67"/>
                    <a:pt x="54" y="69"/>
                    <a:pt x="53" y="70"/>
                  </a:cubicBezTo>
                  <a:cubicBezTo>
                    <a:pt x="52" y="71"/>
                    <a:pt x="50" y="71"/>
                    <a:pt x="49" y="71"/>
                  </a:cubicBezTo>
                  <a:cubicBezTo>
                    <a:pt x="46" y="70"/>
                    <a:pt x="44" y="70"/>
                    <a:pt x="41" y="7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6" name="Freeform 824">
              <a:extLst>
                <a:ext uri="{FF2B5EF4-FFF2-40B4-BE49-F238E27FC236}">
                  <a16:creationId xmlns:a16="http://schemas.microsoft.com/office/drawing/2014/main" id="{C20B2E22-8D44-1D72-69C3-C39E9E5F9DC1}"/>
                </a:ext>
              </a:extLst>
            </p:cNvPr>
            <p:cNvSpPr>
              <a:spLocks/>
            </p:cNvSpPr>
            <p:nvPr/>
          </p:nvSpPr>
          <p:spPr bwMode="auto">
            <a:xfrm>
              <a:off x="-5216525" y="3209925"/>
              <a:ext cx="220663" cy="7938"/>
            </a:xfrm>
            <a:custGeom>
              <a:avLst/>
              <a:gdLst>
                <a:gd name="T0" fmla="*/ 181 w 184"/>
                <a:gd name="T1" fmla="*/ 7 h 7"/>
                <a:gd name="T2" fmla="*/ 3 w 184"/>
                <a:gd name="T3" fmla="*/ 7 h 7"/>
                <a:gd name="T4" fmla="*/ 0 w 184"/>
                <a:gd name="T5" fmla="*/ 3 h 7"/>
                <a:gd name="T6" fmla="*/ 3 w 184"/>
                <a:gd name="T7" fmla="*/ 0 h 7"/>
                <a:gd name="T8" fmla="*/ 181 w 184"/>
                <a:gd name="T9" fmla="*/ 0 h 7"/>
                <a:gd name="T10" fmla="*/ 184 w 184"/>
                <a:gd name="T11" fmla="*/ 3 h 7"/>
                <a:gd name="T12" fmla="*/ 181 w 184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4" h="7">
                  <a:moveTo>
                    <a:pt x="181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181" y="0"/>
                    <a:pt x="181" y="0"/>
                    <a:pt x="181" y="0"/>
                  </a:cubicBezTo>
                  <a:cubicBezTo>
                    <a:pt x="183" y="0"/>
                    <a:pt x="184" y="1"/>
                    <a:pt x="184" y="3"/>
                  </a:cubicBezTo>
                  <a:cubicBezTo>
                    <a:pt x="184" y="5"/>
                    <a:pt x="183" y="7"/>
                    <a:pt x="181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3199890872"/>
      </p:ext>
    </p:extLst>
  </p:cSld>
  <p:clrMapOvr>
    <a:masterClrMapping/>
  </p:clrMapOvr>
</p:sld>
</file>

<file path=ppt/slides/slide2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D075D0-A899-F5B0-81ED-47C5BCF6CA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18A9C2A-6A82-8BFE-4188-F3F87242B6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18A9C2A-6A82-8BFE-4188-F3F87242B6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A2FDE63-AC91-BAFE-47D1-87ABBAA479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212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FCBDCE3-328B-BEA2-2037-06F48E7AF9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Icons </a:t>
            </a:r>
          </a:p>
        </p:txBody>
      </p:sp>
      <p:grpSp>
        <p:nvGrpSpPr>
          <p:cNvPr id="11" name="Shape38_20200717_142846">
            <a:extLst>
              <a:ext uri="{FF2B5EF4-FFF2-40B4-BE49-F238E27FC236}">
                <a16:creationId xmlns:a16="http://schemas.microsoft.com/office/drawing/2014/main" id="{FC7904F8-4374-CD38-A025-8549C9BBB5A1}"/>
              </a:ext>
            </a:extLst>
          </p:cNvPr>
          <p:cNvGrpSpPr>
            <a:grpSpLocks noChangeAspect="1"/>
          </p:cNvGrpSpPr>
          <p:nvPr/>
        </p:nvGrpSpPr>
        <p:grpSpPr>
          <a:xfrm>
            <a:off x="2003027" y="1259674"/>
            <a:ext cx="352620" cy="527745"/>
            <a:chOff x="-3470207" y="989979"/>
            <a:chExt cx="233351" cy="349250"/>
          </a:xfrm>
          <a:solidFill>
            <a:schemeClr val="accent1"/>
          </a:solidFill>
        </p:grpSpPr>
        <p:sp>
          <p:nvSpPr>
            <p:cNvPr id="12" name="Freeform 1375">
              <a:extLst>
                <a:ext uri="{FF2B5EF4-FFF2-40B4-BE49-F238E27FC236}">
                  <a16:creationId xmlns:a16="http://schemas.microsoft.com/office/drawing/2014/main" id="{360D8AA8-A1AC-91DE-61BE-E13D5F787C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359092" y="1066179"/>
              <a:ext cx="122236" cy="273050"/>
            </a:xfrm>
            <a:custGeom>
              <a:avLst/>
              <a:gdLst>
                <a:gd name="T0" fmla="*/ 63 w 118"/>
                <a:gd name="T1" fmla="*/ 263 h 263"/>
                <a:gd name="T2" fmla="*/ 44 w 118"/>
                <a:gd name="T3" fmla="*/ 253 h 263"/>
                <a:gd name="T4" fmla="*/ 24 w 118"/>
                <a:gd name="T5" fmla="*/ 263 h 263"/>
                <a:gd name="T6" fmla="*/ 0 w 118"/>
                <a:gd name="T7" fmla="*/ 238 h 263"/>
                <a:gd name="T8" fmla="*/ 0 w 118"/>
                <a:gd name="T9" fmla="*/ 115 h 263"/>
                <a:gd name="T10" fmla="*/ 5 w 118"/>
                <a:gd name="T11" fmla="*/ 110 h 263"/>
                <a:gd name="T12" fmla="*/ 11 w 118"/>
                <a:gd name="T13" fmla="*/ 115 h 263"/>
                <a:gd name="T14" fmla="*/ 20 w 118"/>
                <a:gd name="T15" fmla="*/ 126 h 263"/>
                <a:gd name="T16" fmla="*/ 27 w 118"/>
                <a:gd name="T17" fmla="*/ 123 h 263"/>
                <a:gd name="T18" fmla="*/ 30 w 118"/>
                <a:gd name="T19" fmla="*/ 116 h 263"/>
                <a:gd name="T20" fmla="*/ 30 w 118"/>
                <a:gd name="T21" fmla="*/ 36 h 263"/>
                <a:gd name="T22" fmla="*/ 8 w 118"/>
                <a:gd name="T23" fmla="*/ 11 h 263"/>
                <a:gd name="T24" fmla="*/ 3 w 118"/>
                <a:gd name="T25" fmla="*/ 5 h 263"/>
                <a:gd name="T26" fmla="*/ 8 w 118"/>
                <a:gd name="T27" fmla="*/ 0 h 263"/>
                <a:gd name="T28" fmla="*/ 82 w 118"/>
                <a:gd name="T29" fmla="*/ 0 h 263"/>
                <a:gd name="T30" fmla="*/ 118 w 118"/>
                <a:gd name="T31" fmla="*/ 36 h 263"/>
                <a:gd name="T32" fmla="*/ 118 w 118"/>
                <a:gd name="T33" fmla="*/ 116 h 263"/>
                <a:gd name="T34" fmla="*/ 111 w 118"/>
                <a:gd name="T35" fmla="*/ 131 h 263"/>
                <a:gd name="T36" fmla="*/ 95 w 118"/>
                <a:gd name="T37" fmla="*/ 137 h 263"/>
                <a:gd name="T38" fmla="*/ 87 w 118"/>
                <a:gd name="T39" fmla="*/ 134 h 263"/>
                <a:gd name="T40" fmla="*/ 87 w 118"/>
                <a:gd name="T41" fmla="*/ 238 h 263"/>
                <a:gd name="T42" fmla="*/ 63 w 118"/>
                <a:gd name="T43" fmla="*/ 263 h 263"/>
                <a:gd name="T44" fmla="*/ 49 w 118"/>
                <a:gd name="T45" fmla="*/ 238 h 263"/>
                <a:gd name="T46" fmla="*/ 63 w 118"/>
                <a:gd name="T47" fmla="*/ 252 h 263"/>
                <a:gd name="T48" fmla="*/ 76 w 118"/>
                <a:gd name="T49" fmla="*/ 238 h 263"/>
                <a:gd name="T50" fmla="*/ 76 w 118"/>
                <a:gd name="T51" fmla="*/ 116 h 263"/>
                <a:gd name="T52" fmla="*/ 76 w 118"/>
                <a:gd name="T53" fmla="*/ 115 h 263"/>
                <a:gd name="T54" fmla="*/ 76 w 118"/>
                <a:gd name="T55" fmla="*/ 60 h 263"/>
                <a:gd name="T56" fmla="*/ 82 w 118"/>
                <a:gd name="T57" fmla="*/ 55 h 263"/>
                <a:gd name="T58" fmla="*/ 87 w 118"/>
                <a:gd name="T59" fmla="*/ 60 h 263"/>
                <a:gd name="T60" fmla="*/ 87 w 118"/>
                <a:gd name="T61" fmla="*/ 115 h 263"/>
                <a:gd name="T62" fmla="*/ 87 w 118"/>
                <a:gd name="T63" fmla="*/ 115 h 263"/>
                <a:gd name="T64" fmla="*/ 96 w 118"/>
                <a:gd name="T65" fmla="*/ 126 h 263"/>
                <a:gd name="T66" fmla="*/ 104 w 118"/>
                <a:gd name="T67" fmla="*/ 123 h 263"/>
                <a:gd name="T68" fmla="*/ 107 w 118"/>
                <a:gd name="T69" fmla="*/ 116 h 263"/>
                <a:gd name="T70" fmla="*/ 107 w 118"/>
                <a:gd name="T71" fmla="*/ 36 h 263"/>
                <a:gd name="T72" fmla="*/ 82 w 118"/>
                <a:gd name="T73" fmla="*/ 11 h 263"/>
                <a:gd name="T74" fmla="*/ 31 w 118"/>
                <a:gd name="T75" fmla="*/ 11 h 263"/>
                <a:gd name="T76" fmla="*/ 41 w 118"/>
                <a:gd name="T77" fmla="*/ 36 h 263"/>
                <a:gd name="T78" fmla="*/ 41 w 118"/>
                <a:gd name="T79" fmla="*/ 116 h 263"/>
                <a:gd name="T80" fmla="*/ 34 w 118"/>
                <a:gd name="T81" fmla="*/ 131 h 263"/>
                <a:gd name="T82" fmla="*/ 19 w 118"/>
                <a:gd name="T83" fmla="*/ 136 h 263"/>
                <a:gd name="T84" fmla="*/ 11 w 118"/>
                <a:gd name="T85" fmla="*/ 134 h 263"/>
                <a:gd name="T86" fmla="*/ 11 w 118"/>
                <a:gd name="T87" fmla="*/ 238 h 263"/>
                <a:gd name="T88" fmla="*/ 24 w 118"/>
                <a:gd name="T89" fmla="*/ 252 h 263"/>
                <a:gd name="T90" fmla="*/ 38 w 118"/>
                <a:gd name="T91" fmla="*/ 238 h 263"/>
                <a:gd name="T92" fmla="*/ 38 w 118"/>
                <a:gd name="T93" fmla="*/ 145 h 263"/>
                <a:gd name="T94" fmla="*/ 44 w 118"/>
                <a:gd name="T95" fmla="*/ 140 h 263"/>
                <a:gd name="T96" fmla="*/ 49 w 118"/>
                <a:gd name="T97" fmla="*/ 145 h 263"/>
                <a:gd name="T98" fmla="*/ 49 w 118"/>
                <a:gd name="T99" fmla="*/ 238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8" h="263">
                  <a:moveTo>
                    <a:pt x="63" y="263"/>
                  </a:moveTo>
                  <a:cubicBezTo>
                    <a:pt x="55" y="263"/>
                    <a:pt x="48" y="259"/>
                    <a:pt x="44" y="253"/>
                  </a:cubicBezTo>
                  <a:cubicBezTo>
                    <a:pt x="39" y="259"/>
                    <a:pt x="32" y="263"/>
                    <a:pt x="24" y="263"/>
                  </a:cubicBezTo>
                  <a:cubicBezTo>
                    <a:pt x="11" y="263"/>
                    <a:pt x="0" y="252"/>
                    <a:pt x="0" y="238"/>
                  </a:cubicBezTo>
                  <a:cubicBezTo>
                    <a:pt x="0" y="115"/>
                    <a:pt x="0" y="115"/>
                    <a:pt x="0" y="115"/>
                  </a:cubicBezTo>
                  <a:cubicBezTo>
                    <a:pt x="0" y="112"/>
                    <a:pt x="2" y="110"/>
                    <a:pt x="5" y="110"/>
                  </a:cubicBezTo>
                  <a:cubicBezTo>
                    <a:pt x="8" y="110"/>
                    <a:pt x="11" y="112"/>
                    <a:pt x="11" y="115"/>
                  </a:cubicBezTo>
                  <a:cubicBezTo>
                    <a:pt x="11" y="121"/>
                    <a:pt x="15" y="125"/>
                    <a:pt x="20" y="126"/>
                  </a:cubicBezTo>
                  <a:cubicBezTo>
                    <a:pt x="22" y="126"/>
                    <a:pt x="25" y="125"/>
                    <a:pt x="27" y="123"/>
                  </a:cubicBezTo>
                  <a:cubicBezTo>
                    <a:pt x="29" y="121"/>
                    <a:pt x="30" y="119"/>
                    <a:pt x="30" y="116"/>
                  </a:cubicBezTo>
                  <a:cubicBezTo>
                    <a:pt x="30" y="36"/>
                    <a:pt x="30" y="36"/>
                    <a:pt x="30" y="36"/>
                  </a:cubicBezTo>
                  <a:cubicBezTo>
                    <a:pt x="30" y="23"/>
                    <a:pt x="21" y="12"/>
                    <a:pt x="8" y="11"/>
                  </a:cubicBezTo>
                  <a:cubicBezTo>
                    <a:pt x="5" y="10"/>
                    <a:pt x="3" y="8"/>
                    <a:pt x="3" y="5"/>
                  </a:cubicBezTo>
                  <a:cubicBezTo>
                    <a:pt x="3" y="2"/>
                    <a:pt x="5" y="0"/>
                    <a:pt x="8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102" y="0"/>
                    <a:pt x="118" y="16"/>
                    <a:pt x="118" y="36"/>
                  </a:cubicBezTo>
                  <a:cubicBezTo>
                    <a:pt x="118" y="116"/>
                    <a:pt x="118" y="116"/>
                    <a:pt x="118" y="116"/>
                  </a:cubicBezTo>
                  <a:cubicBezTo>
                    <a:pt x="118" y="122"/>
                    <a:pt x="115" y="127"/>
                    <a:pt x="111" y="131"/>
                  </a:cubicBezTo>
                  <a:cubicBezTo>
                    <a:pt x="107" y="135"/>
                    <a:pt x="101" y="137"/>
                    <a:pt x="95" y="137"/>
                  </a:cubicBezTo>
                  <a:cubicBezTo>
                    <a:pt x="92" y="136"/>
                    <a:pt x="90" y="135"/>
                    <a:pt x="87" y="134"/>
                  </a:cubicBezTo>
                  <a:cubicBezTo>
                    <a:pt x="87" y="238"/>
                    <a:pt x="87" y="238"/>
                    <a:pt x="87" y="238"/>
                  </a:cubicBezTo>
                  <a:cubicBezTo>
                    <a:pt x="87" y="252"/>
                    <a:pt x="76" y="263"/>
                    <a:pt x="63" y="263"/>
                  </a:cubicBezTo>
                  <a:close/>
                  <a:moveTo>
                    <a:pt x="49" y="238"/>
                  </a:moveTo>
                  <a:cubicBezTo>
                    <a:pt x="49" y="246"/>
                    <a:pt x="55" y="252"/>
                    <a:pt x="63" y="252"/>
                  </a:cubicBezTo>
                  <a:cubicBezTo>
                    <a:pt x="70" y="252"/>
                    <a:pt x="76" y="246"/>
                    <a:pt x="76" y="238"/>
                  </a:cubicBezTo>
                  <a:cubicBezTo>
                    <a:pt x="76" y="116"/>
                    <a:pt x="76" y="116"/>
                    <a:pt x="76" y="116"/>
                  </a:cubicBezTo>
                  <a:cubicBezTo>
                    <a:pt x="76" y="116"/>
                    <a:pt x="76" y="115"/>
                    <a:pt x="76" y="115"/>
                  </a:cubicBezTo>
                  <a:cubicBezTo>
                    <a:pt x="76" y="60"/>
                    <a:pt x="76" y="60"/>
                    <a:pt x="76" y="60"/>
                  </a:cubicBezTo>
                  <a:cubicBezTo>
                    <a:pt x="76" y="57"/>
                    <a:pt x="79" y="55"/>
                    <a:pt x="82" y="55"/>
                  </a:cubicBezTo>
                  <a:cubicBezTo>
                    <a:pt x="85" y="55"/>
                    <a:pt x="87" y="57"/>
                    <a:pt x="87" y="60"/>
                  </a:cubicBezTo>
                  <a:cubicBezTo>
                    <a:pt x="87" y="115"/>
                    <a:pt x="87" y="115"/>
                    <a:pt x="87" y="115"/>
                  </a:cubicBezTo>
                  <a:cubicBezTo>
                    <a:pt x="87" y="115"/>
                    <a:pt x="87" y="115"/>
                    <a:pt x="87" y="115"/>
                  </a:cubicBezTo>
                  <a:cubicBezTo>
                    <a:pt x="87" y="121"/>
                    <a:pt x="91" y="125"/>
                    <a:pt x="96" y="126"/>
                  </a:cubicBezTo>
                  <a:cubicBezTo>
                    <a:pt x="99" y="126"/>
                    <a:pt x="102" y="125"/>
                    <a:pt x="104" y="123"/>
                  </a:cubicBezTo>
                  <a:cubicBezTo>
                    <a:pt x="106" y="121"/>
                    <a:pt x="107" y="119"/>
                    <a:pt x="107" y="116"/>
                  </a:cubicBezTo>
                  <a:cubicBezTo>
                    <a:pt x="107" y="36"/>
                    <a:pt x="107" y="36"/>
                    <a:pt x="107" y="36"/>
                  </a:cubicBezTo>
                  <a:cubicBezTo>
                    <a:pt x="107" y="22"/>
                    <a:pt x="96" y="11"/>
                    <a:pt x="82" y="11"/>
                  </a:cubicBezTo>
                  <a:cubicBezTo>
                    <a:pt x="31" y="11"/>
                    <a:pt x="31" y="11"/>
                    <a:pt x="31" y="11"/>
                  </a:cubicBezTo>
                  <a:cubicBezTo>
                    <a:pt x="38" y="17"/>
                    <a:pt x="41" y="26"/>
                    <a:pt x="41" y="36"/>
                  </a:cubicBezTo>
                  <a:cubicBezTo>
                    <a:pt x="41" y="116"/>
                    <a:pt x="41" y="116"/>
                    <a:pt x="41" y="116"/>
                  </a:cubicBezTo>
                  <a:cubicBezTo>
                    <a:pt x="41" y="122"/>
                    <a:pt x="39" y="127"/>
                    <a:pt x="34" y="131"/>
                  </a:cubicBezTo>
                  <a:cubicBezTo>
                    <a:pt x="30" y="135"/>
                    <a:pt x="24" y="137"/>
                    <a:pt x="19" y="136"/>
                  </a:cubicBezTo>
                  <a:cubicBezTo>
                    <a:pt x="16" y="136"/>
                    <a:pt x="13" y="135"/>
                    <a:pt x="11" y="134"/>
                  </a:cubicBezTo>
                  <a:cubicBezTo>
                    <a:pt x="11" y="238"/>
                    <a:pt x="11" y="238"/>
                    <a:pt x="11" y="238"/>
                  </a:cubicBezTo>
                  <a:cubicBezTo>
                    <a:pt x="11" y="246"/>
                    <a:pt x="17" y="252"/>
                    <a:pt x="24" y="252"/>
                  </a:cubicBezTo>
                  <a:cubicBezTo>
                    <a:pt x="32" y="252"/>
                    <a:pt x="38" y="246"/>
                    <a:pt x="38" y="238"/>
                  </a:cubicBezTo>
                  <a:cubicBezTo>
                    <a:pt x="38" y="145"/>
                    <a:pt x="38" y="145"/>
                    <a:pt x="38" y="145"/>
                  </a:cubicBezTo>
                  <a:cubicBezTo>
                    <a:pt x="38" y="142"/>
                    <a:pt x="41" y="140"/>
                    <a:pt x="44" y="140"/>
                  </a:cubicBezTo>
                  <a:cubicBezTo>
                    <a:pt x="47" y="140"/>
                    <a:pt x="49" y="142"/>
                    <a:pt x="49" y="145"/>
                  </a:cubicBezTo>
                  <a:lnTo>
                    <a:pt x="49" y="2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" name="Freeform 1376">
              <a:extLst>
                <a:ext uri="{FF2B5EF4-FFF2-40B4-BE49-F238E27FC236}">
                  <a16:creationId xmlns:a16="http://schemas.microsoft.com/office/drawing/2014/main" id="{A20E5787-B2DB-70A6-52C9-316DC9EF6D7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346391" y="989979"/>
              <a:ext cx="65087" cy="65088"/>
            </a:xfrm>
            <a:custGeom>
              <a:avLst/>
              <a:gdLst>
                <a:gd name="T0" fmla="*/ 32 w 63"/>
                <a:gd name="T1" fmla="*/ 62 h 62"/>
                <a:gd name="T2" fmla="*/ 0 w 63"/>
                <a:gd name="T3" fmla="*/ 31 h 62"/>
                <a:gd name="T4" fmla="*/ 32 w 63"/>
                <a:gd name="T5" fmla="*/ 0 h 62"/>
                <a:gd name="T6" fmla="*/ 63 w 63"/>
                <a:gd name="T7" fmla="*/ 31 h 62"/>
                <a:gd name="T8" fmla="*/ 32 w 63"/>
                <a:gd name="T9" fmla="*/ 62 h 62"/>
                <a:gd name="T10" fmla="*/ 32 w 63"/>
                <a:gd name="T11" fmla="*/ 11 h 62"/>
                <a:gd name="T12" fmla="*/ 11 w 63"/>
                <a:gd name="T13" fmla="*/ 31 h 62"/>
                <a:gd name="T14" fmla="*/ 32 w 63"/>
                <a:gd name="T15" fmla="*/ 51 h 62"/>
                <a:gd name="T16" fmla="*/ 52 w 63"/>
                <a:gd name="T17" fmla="*/ 31 h 62"/>
                <a:gd name="T18" fmla="*/ 32 w 63"/>
                <a:gd name="T19" fmla="*/ 11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3" h="62">
                  <a:moveTo>
                    <a:pt x="32" y="62"/>
                  </a:moveTo>
                  <a:cubicBezTo>
                    <a:pt x="14" y="62"/>
                    <a:pt x="0" y="48"/>
                    <a:pt x="0" y="31"/>
                  </a:cubicBezTo>
                  <a:cubicBezTo>
                    <a:pt x="0" y="14"/>
                    <a:pt x="14" y="0"/>
                    <a:pt x="32" y="0"/>
                  </a:cubicBezTo>
                  <a:cubicBezTo>
                    <a:pt x="49" y="0"/>
                    <a:pt x="63" y="14"/>
                    <a:pt x="63" y="31"/>
                  </a:cubicBezTo>
                  <a:cubicBezTo>
                    <a:pt x="63" y="48"/>
                    <a:pt x="49" y="62"/>
                    <a:pt x="32" y="62"/>
                  </a:cubicBezTo>
                  <a:close/>
                  <a:moveTo>
                    <a:pt x="32" y="11"/>
                  </a:moveTo>
                  <a:cubicBezTo>
                    <a:pt x="20" y="11"/>
                    <a:pt x="11" y="20"/>
                    <a:pt x="11" y="31"/>
                  </a:cubicBezTo>
                  <a:cubicBezTo>
                    <a:pt x="11" y="42"/>
                    <a:pt x="20" y="51"/>
                    <a:pt x="32" y="51"/>
                  </a:cubicBezTo>
                  <a:cubicBezTo>
                    <a:pt x="43" y="51"/>
                    <a:pt x="52" y="42"/>
                    <a:pt x="52" y="31"/>
                  </a:cubicBezTo>
                  <a:cubicBezTo>
                    <a:pt x="52" y="20"/>
                    <a:pt x="43" y="11"/>
                    <a:pt x="32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" name="Freeform 1377">
              <a:extLst>
                <a:ext uri="{FF2B5EF4-FFF2-40B4-BE49-F238E27FC236}">
                  <a16:creationId xmlns:a16="http://schemas.microsoft.com/office/drawing/2014/main" id="{D6776A9C-A1A9-0A03-829A-C8B1F2B0F2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425764" y="989979"/>
              <a:ext cx="63499" cy="65088"/>
            </a:xfrm>
            <a:custGeom>
              <a:avLst/>
              <a:gdLst>
                <a:gd name="T0" fmla="*/ 31 w 62"/>
                <a:gd name="T1" fmla="*/ 62 h 62"/>
                <a:gd name="T2" fmla="*/ 0 w 62"/>
                <a:gd name="T3" fmla="*/ 31 h 62"/>
                <a:gd name="T4" fmla="*/ 31 w 62"/>
                <a:gd name="T5" fmla="*/ 0 h 62"/>
                <a:gd name="T6" fmla="*/ 62 w 62"/>
                <a:gd name="T7" fmla="*/ 31 h 62"/>
                <a:gd name="T8" fmla="*/ 31 w 62"/>
                <a:gd name="T9" fmla="*/ 62 h 62"/>
                <a:gd name="T10" fmla="*/ 31 w 62"/>
                <a:gd name="T11" fmla="*/ 10 h 62"/>
                <a:gd name="T12" fmla="*/ 11 w 62"/>
                <a:gd name="T13" fmla="*/ 31 h 62"/>
                <a:gd name="T14" fmla="*/ 31 w 62"/>
                <a:gd name="T15" fmla="*/ 51 h 62"/>
                <a:gd name="T16" fmla="*/ 51 w 62"/>
                <a:gd name="T17" fmla="*/ 31 h 62"/>
                <a:gd name="T18" fmla="*/ 31 w 62"/>
                <a:gd name="T19" fmla="*/ 1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2" h="62">
                  <a:moveTo>
                    <a:pt x="31" y="62"/>
                  </a:moveTo>
                  <a:cubicBezTo>
                    <a:pt x="14" y="62"/>
                    <a:pt x="0" y="48"/>
                    <a:pt x="0" y="31"/>
                  </a:cubicBezTo>
                  <a:cubicBezTo>
                    <a:pt x="0" y="13"/>
                    <a:pt x="14" y="0"/>
                    <a:pt x="31" y="0"/>
                  </a:cubicBezTo>
                  <a:cubicBezTo>
                    <a:pt x="48" y="0"/>
                    <a:pt x="62" y="13"/>
                    <a:pt x="62" y="31"/>
                  </a:cubicBezTo>
                  <a:cubicBezTo>
                    <a:pt x="62" y="48"/>
                    <a:pt x="48" y="62"/>
                    <a:pt x="31" y="62"/>
                  </a:cubicBezTo>
                  <a:close/>
                  <a:moveTo>
                    <a:pt x="31" y="10"/>
                  </a:moveTo>
                  <a:cubicBezTo>
                    <a:pt x="20" y="10"/>
                    <a:pt x="11" y="20"/>
                    <a:pt x="11" y="31"/>
                  </a:cubicBezTo>
                  <a:cubicBezTo>
                    <a:pt x="11" y="42"/>
                    <a:pt x="20" y="51"/>
                    <a:pt x="31" y="51"/>
                  </a:cubicBezTo>
                  <a:cubicBezTo>
                    <a:pt x="42" y="51"/>
                    <a:pt x="51" y="42"/>
                    <a:pt x="51" y="31"/>
                  </a:cubicBezTo>
                  <a:cubicBezTo>
                    <a:pt x="51" y="20"/>
                    <a:pt x="42" y="10"/>
                    <a:pt x="31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" name="Freeform 1378">
              <a:extLst>
                <a:ext uri="{FF2B5EF4-FFF2-40B4-BE49-F238E27FC236}">
                  <a16:creationId xmlns:a16="http://schemas.microsoft.com/office/drawing/2014/main" id="{71EFAFA8-1765-04EC-B8E6-40A15135AE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470207" y="1066180"/>
              <a:ext cx="153985" cy="271463"/>
            </a:xfrm>
            <a:custGeom>
              <a:avLst/>
              <a:gdLst>
                <a:gd name="T0" fmla="*/ 93 w 148"/>
                <a:gd name="T1" fmla="*/ 262 h 262"/>
                <a:gd name="T2" fmla="*/ 74 w 148"/>
                <a:gd name="T3" fmla="*/ 253 h 262"/>
                <a:gd name="T4" fmla="*/ 55 w 148"/>
                <a:gd name="T5" fmla="*/ 262 h 262"/>
                <a:gd name="T6" fmla="*/ 30 w 148"/>
                <a:gd name="T7" fmla="*/ 238 h 262"/>
                <a:gd name="T8" fmla="*/ 30 w 148"/>
                <a:gd name="T9" fmla="*/ 134 h 262"/>
                <a:gd name="T10" fmla="*/ 23 w 148"/>
                <a:gd name="T11" fmla="*/ 136 h 262"/>
                <a:gd name="T12" fmla="*/ 7 w 148"/>
                <a:gd name="T13" fmla="*/ 131 h 262"/>
                <a:gd name="T14" fmla="*/ 0 w 148"/>
                <a:gd name="T15" fmla="*/ 116 h 262"/>
                <a:gd name="T16" fmla="*/ 0 w 148"/>
                <a:gd name="T17" fmla="*/ 36 h 262"/>
                <a:gd name="T18" fmla="*/ 36 w 148"/>
                <a:gd name="T19" fmla="*/ 0 h 262"/>
                <a:gd name="T20" fmla="*/ 112 w 148"/>
                <a:gd name="T21" fmla="*/ 0 h 262"/>
                <a:gd name="T22" fmla="*/ 116 w 148"/>
                <a:gd name="T23" fmla="*/ 0 h 262"/>
                <a:gd name="T24" fmla="*/ 116 w 148"/>
                <a:gd name="T25" fmla="*/ 0 h 262"/>
                <a:gd name="T26" fmla="*/ 148 w 148"/>
                <a:gd name="T27" fmla="*/ 36 h 262"/>
                <a:gd name="T28" fmla="*/ 148 w 148"/>
                <a:gd name="T29" fmla="*/ 116 h 262"/>
                <a:gd name="T30" fmla="*/ 141 w 148"/>
                <a:gd name="T31" fmla="*/ 131 h 262"/>
                <a:gd name="T32" fmla="*/ 126 w 148"/>
                <a:gd name="T33" fmla="*/ 136 h 262"/>
                <a:gd name="T34" fmla="*/ 118 w 148"/>
                <a:gd name="T35" fmla="*/ 134 h 262"/>
                <a:gd name="T36" fmla="*/ 118 w 148"/>
                <a:gd name="T37" fmla="*/ 238 h 262"/>
                <a:gd name="T38" fmla="*/ 93 w 148"/>
                <a:gd name="T39" fmla="*/ 262 h 262"/>
                <a:gd name="T40" fmla="*/ 74 w 148"/>
                <a:gd name="T41" fmla="*/ 232 h 262"/>
                <a:gd name="T42" fmla="*/ 80 w 148"/>
                <a:gd name="T43" fmla="*/ 238 h 262"/>
                <a:gd name="T44" fmla="*/ 93 w 148"/>
                <a:gd name="T45" fmla="*/ 251 h 262"/>
                <a:gd name="T46" fmla="*/ 107 w 148"/>
                <a:gd name="T47" fmla="*/ 238 h 262"/>
                <a:gd name="T48" fmla="*/ 107 w 148"/>
                <a:gd name="T49" fmla="*/ 116 h 262"/>
                <a:gd name="T50" fmla="*/ 107 w 148"/>
                <a:gd name="T51" fmla="*/ 115 h 262"/>
                <a:gd name="T52" fmla="*/ 107 w 148"/>
                <a:gd name="T53" fmla="*/ 115 h 262"/>
                <a:gd name="T54" fmla="*/ 112 w 148"/>
                <a:gd name="T55" fmla="*/ 110 h 262"/>
                <a:gd name="T56" fmla="*/ 118 w 148"/>
                <a:gd name="T57" fmla="*/ 114 h 262"/>
                <a:gd name="T58" fmla="*/ 118 w 148"/>
                <a:gd name="T59" fmla="*/ 115 h 262"/>
                <a:gd name="T60" fmla="*/ 127 w 148"/>
                <a:gd name="T61" fmla="*/ 126 h 262"/>
                <a:gd name="T62" fmla="*/ 134 w 148"/>
                <a:gd name="T63" fmla="*/ 123 h 262"/>
                <a:gd name="T64" fmla="*/ 137 w 148"/>
                <a:gd name="T65" fmla="*/ 116 h 262"/>
                <a:gd name="T66" fmla="*/ 137 w 148"/>
                <a:gd name="T67" fmla="*/ 36 h 262"/>
                <a:gd name="T68" fmla="*/ 115 w 148"/>
                <a:gd name="T69" fmla="*/ 11 h 262"/>
                <a:gd name="T70" fmla="*/ 112 w 148"/>
                <a:gd name="T71" fmla="*/ 11 h 262"/>
                <a:gd name="T72" fmla="*/ 36 w 148"/>
                <a:gd name="T73" fmla="*/ 11 h 262"/>
                <a:gd name="T74" fmla="*/ 11 w 148"/>
                <a:gd name="T75" fmla="*/ 36 h 262"/>
                <a:gd name="T76" fmla="*/ 11 w 148"/>
                <a:gd name="T77" fmla="*/ 116 h 262"/>
                <a:gd name="T78" fmla="*/ 14 w 148"/>
                <a:gd name="T79" fmla="*/ 123 h 262"/>
                <a:gd name="T80" fmla="*/ 22 w 148"/>
                <a:gd name="T81" fmla="*/ 126 h 262"/>
                <a:gd name="T82" fmla="*/ 30 w 148"/>
                <a:gd name="T83" fmla="*/ 115 h 262"/>
                <a:gd name="T84" fmla="*/ 36 w 148"/>
                <a:gd name="T85" fmla="*/ 110 h 262"/>
                <a:gd name="T86" fmla="*/ 41 w 148"/>
                <a:gd name="T87" fmla="*/ 115 h 262"/>
                <a:gd name="T88" fmla="*/ 41 w 148"/>
                <a:gd name="T89" fmla="*/ 238 h 262"/>
                <a:gd name="T90" fmla="*/ 55 w 148"/>
                <a:gd name="T91" fmla="*/ 251 h 262"/>
                <a:gd name="T92" fmla="*/ 69 w 148"/>
                <a:gd name="T93" fmla="*/ 238 h 262"/>
                <a:gd name="T94" fmla="*/ 74 w 148"/>
                <a:gd name="T95" fmla="*/ 232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48" h="262">
                  <a:moveTo>
                    <a:pt x="93" y="262"/>
                  </a:moveTo>
                  <a:cubicBezTo>
                    <a:pt x="85" y="262"/>
                    <a:pt x="79" y="259"/>
                    <a:pt x="74" y="253"/>
                  </a:cubicBezTo>
                  <a:cubicBezTo>
                    <a:pt x="70" y="259"/>
                    <a:pt x="63" y="262"/>
                    <a:pt x="55" y="262"/>
                  </a:cubicBezTo>
                  <a:cubicBezTo>
                    <a:pt x="41" y="262"/>
                    <a:pt x="30" y="251"/>
                    <a:pt x="30" y="238"/>
                  </a:cubicBezTo>
                  <a:cubicBezTo>
                    <a:pt x="30" y="134"/>
                    <a:pt x="30" y="134"/>
                    <a:pt x="30" y="134"/>
                  </a:cubicBezTo>
                  <a:cubicBezTo>
                    <a:pt x="28" y="135"/>
                    <a:pt x="25" y="136"/>
                    <a:pt x="23" y="136"/>
                  </a:cubicBezTo>
                  <a:cubicBezTo>
                    <a:pt x="17" y="137"/>
                    <a:pt x="11" y="135"/>
                    <a:pt x="7" y="131"/>
                  </a:cubicBezTo>
                  <a:cubicBezTo>
                    <a:pt x="2" y="127"/>
                    <a:pt x="0" y="122"/>
                    <a:pt x="0" y="11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3" y="0"/>
                    <a:pt x="115" y="0"/>
                    <a:pt x="116" y="0"/>
                  </a:cubicBezTo>
                  <a:cubicBezTo>
                    <a:pt x="116" y="0"/>
                    <a:pt x="116" y="0"/>
                    <a:pt x="116" y="0"/>
                  </a:cubicBezTo>
                  <a:cubicBezTo>
                    <a:pt x="134" y="2"/>
                    <a:pt x="148" y="17"/>
                    <a:pt x="148" y="36"/>
                  </a:cubicBezTo>
                  <a:cubicBezTo>
                    <a:pt x="148" y="116"/>
                    <a:pt x="148" y="116"/>
                    <a:pt x="148" y="116"/>
                  </a:cubicBezTo>
                  <a:cubicBezTo>
                    <a:pt x="148" y="122"/>
                    <a:pt x="146" y="127"/>
                    <a:pt x="141" y="131"/>
                  </a:cubicBezTo>
                  <a:cubicBezTo>
                    <a:pt x="137" y="135"/>
                    <a:pt x="131" y="137"/>
                    <a:pt x="126" y="136"/>
                  </a:cubicBezTo>
                  <a:cubicBezTo>
                    <a:pt x="123" y="136"/>
                    <a:pt x="120" y="135"/>
                    <a:pt x="118" y="134"/>
                  </a:cubicBezTo>
                  <a:cubicBezTo>
                    <a:pt x="118" y="238"/>
                    <a:pt x="118" y="238"/>
                    <a:pt x="118" y="238"/>
                  </a:cubicBezTo>
                  <a:cubicBezTo>
                    <a:pt x="118" y="251"/>
                    <a:pt x="107" y="262"/>
                    <a:pt x="93" y="262"/>
                  </a:cubicBezTo>
                  <a:close/>
                  <a:moveTo>
                    <a:pt x="74" y="232"/>
                  </a:moveTo>
                  <a:cubicBezTo>
                    <a:pt x="77" y="232"/>
                    <a:pt x="80" y="235"/>
                    <a:pt x="80" y="238"/>
                  </a:cubicBezTo>
                  <a:cubicBezTo>
                    <a:pt x="80" y="245"/>
                    <a:pt x="86" y="251"/>
                    <a:pt x="93" y="251"/>
                  </a:cubicBezTo>
                  <a:cubicBezTo>
                    <a:pt x="101" y="251"/>
                    <a:pt x="107" y="245"/>
                    <a:pt x="107" y="238"/>
                  </a:cubicBezTo>
                  <a:cubicBezTo>
                    <a:pt x="107" y="116"/>
                    <a:pt x="107" y="116"/>
                    <a:pt x="107" y="116"/>
                  </a:cubicBezTo>
                  <a:cubicBezTo>
                    <a:pt x="107" y="115"/>
                    <a:pt x="107" y="115"/>
                    <a:pt x="107" y="115"/>
                  </a:cubicBezTo>
                  <a:cubicBezTo>
                    <a:pt x="107" y="115"/>
                    <a:pt x="107" y="115"/>
                    <a:pt x="107" y="115"/>
                  </a:cubicBezTo>
                  <a:cubicBezTo>
                    <a:pt x="107" y="112"/>
                    <a:pt x="109" y="110"/>
                    <a:pt x="112" y="110"/>
                  </a:cubicBezTo>
                  <a:cubicBezTo>
                    <a:pt x="115" y="110"/>
                    <a:pt x="117" y="112"/>
                    <a:pt x="118" y="114"/>
                  </a:cubicBezTo>
                  <a:cubicBezTo>
                    <a:pt x="118" y="115"/>
                    <a:pt x="118" y="115"/>
                    <a:pt x="118" y="115"/>
                  </a:cubicBezTo>
                  <a:cubicBezTo>
                    <a:pt x="118" y="121"/>
                    <a:pt x="122" y="125"/>
                    <a:pt x="127" y="126"/>
                  </a:cubicBezTo>
                  <a:cubicBezTo>
                    <a:pt x="129" y="126"/>
                    <a:pt x="132" y="125"/>
                    <a:pt x="134" y="123"/>
                  </a:cubicBezTo>
                  <a:cubicBezTo>
                    <a:pt x="136" y="121"/>
                    <a:pt x="137" y="119"/>
                    <a:pt x="137" y="116"/>
                  </a:cubicBezTo>
                  <a:cubicBezTo>
                    <a:pt x="137" y="36"/>
                    <a:pt x="137" y="36"/>
                    <a:pt x="137" y="36"/>
                  </a:cubicBezTo>
                  <a:cubicBezTo>
                    <a:pt x="137" y="23"/>
                    <a:pt x="128" y="12"/>
                    <a:pt x="115" y="11"/>
                  </a:cubicBezTo>
                  <a:cubicBezTo>
                    <a:pt x="114" y="11"/>
                    <a:pt x="113" y="11"/>
                    <a:pt x="112" y="11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22" y="11"/>
                    <a:pt x="11" y="22"/>
                    <a:pt x="11" y="36"/>
                  </a:cubicBezTo>
                  <a:cubicBezTo>
                    <a:pt x="11" y="116"/>
                    <a:pt x="11" y="116"/>
                    <a:pt x="11" y="116"/>
                  </a:cubicBezTo>
                  <a:cubicBezTo>
                    <a:pt x="11" y="119"/>
                    <a:pt x="12" y="121"/>
                    <a:pt x="14" y="123"/>
                  </a:cubicBezTo>
                  <a:cubicBezTo>
                    <a:pt x="16" y="125"/>
                    <a:pt x="19" y="126"/>
                    <a:pt x="22" y="126"/>
                  </a:cubicBezTo>
                  <a:cubicBezTo>
                    <a:pt x="26" y="125"/>
                    <a:pt x="30" y="121"/>
                    <a:pt x="30" y="115"/>
                  </a:cubicBezTo>
                  <a:cubicBezTo>
                    <a:pt x="30" y="112"/>
                    <a:pt x="33" y="110"/>
                    <a:pt x="36" y="110"/>
                  </a:cubicBezTo>
                  <a:cubicBezTo>
                    <a:pt x="39" y="110"/>
                    <a:pt x="41" y="112"/>
                    <a:pt x="41" y="115"/>
                  </a:cubicBezTo>
                  <a:cubicBezTo>
                    <a:pt x="41" y="238"/>
                    <a:pt x="41" y="238"/>
                    <a:pt x="41" y="238"/>
                  </a:cubicBezTo>
                  <a:cubicBezTo>
                    <a:pt x="41" y="245"/>
                    <a:pt x="47" y="251"/>
                    <a:pt x="55" y="251"/>
                  </a:cubicBezTo>
                  <a:cubicBezTo>
                    <a:pt x="62" y="251"/>
                    <a:pt x="69" y="245"/>
                    <a:pt x="69" y="238"/>
                  </a:cubicBezTo>
                  <a:cubicBezTo>
                    <a:pt x="69" y="235"/>
                    <a:pt x="71" y="232"/>
                    <a:pt x="74" y="23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" name="Freeform 1379">
              <a:extLst>
                <a:ext uri="{FF2B5EF4-FFF2-40B4-BE49-F238E27FC236}">
                  <a16:creationId xmlns:a16="http://schemas.microsoft.com/office/drawing/2014/main" id="{2CF9FF8F-ED69-8D31-6BCE-AF040FE9FED7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40042" y="1123330"/>
              <a:ext cx="12700" cy="68263"/>
            </a:xfrm>
            <a:custGeom>
              <a:avLst/>
              <a:gdLst>
                <a:gd name="T0" fmla="*/ 6 w 11"/>
                <a:gd name="T1" fmla="*/ 66 h 66"/>
                <a:gd name="T2" fmla="*/ 0 w 11"/>
                <a:gd name="T3" fmla="*/ 60 h 66"/>
                <a:gd name="T4" fmla="*/ 0 w 11"/>
                <a:gd name="T5" fmla="*/ 5 h 66"/>
                <a:gd name="T6" fmla="*/ 6 w 11"/>
                <a:gd name="T7" fmla="*/ 0 h 66"/>
                <a:gd name="T8" fmla="*/ 11 w 11"/>
                <a:gd name="T9" fmla="*/ 5 h 66"/>
                <a:gd name="T10" fmla="*/ 11 w 11"/>
                <a:gd name="T11" fmla="*/ 60 h 66"/>
                <a:gd name="T12" fmla="*/ 6 w 11"/>
                <a:gd name="T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66">
                  <a:moveTo>
                    <a:pt x="6" y="66"/>
                  </a:moveTo>
                  <a:cubicBezTo>
                    <a:pt x="3" y="66"/>
                    <a:pt x="0" y="63"/>
                    <a:pt x="0" y="6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1" y="2"/>
                    <a:pt x="11" y="5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11" y="63"/>
                    <a:pt x="9" y="66"/>
                    <a:pt x="6" y="6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" name="Freeform 1380">
              <a:extLst>
                <a:ext uri="{FF2B5EF4-FFF2-40B4-BE49-F238E27FC236}">
                  <a16:creationId xmlns:a16="http://schemas.microsoft.com/office/drawing/2014/main" id="{C9F72400-1A15-93B3-252A-FE51B8EA384F}"/>
                </a:ext>
              </a:extLst>
            </p:cNvPr>
            <p:cNvSpPr>
              <a:spLocks/>
            </p:cNvSpPr>
            <p:nvPr/>
          </p:nvSpPr>
          <p:spPr bwMode="auto">
            <a:xfrm>
              <a:off x="-3359094" y="1123329"/>
              <a:ext cx="11113" cy="68263"/>
            </a:xfrm>
            <a:custGeom>
              <a:avLst/>
              <a:gdLst>
                <a:gd name="T0" fmla="*/ 5 w 11"/>
                <a:gd name="T1" fmla="*/ 66 h 66"/>
                <a:gd name="T2" fmla="*/ 0 w 11"/>
                <a:gd name="T3" fmla="*/ 60 h 66"/>
                <a:gd name="T4" fmla="*/ 0 w 11"/>
                <a:gd name="T5" fmla="*/ 5 h 66"/>
                <a:gd name="T6" fmla="*/ 5 w 11"/>
                <a:gd name="T7" fmla="*/ 0 h 66"/>
                <a:gd name="T8" fmla="*/ 11 w 11"/>
                <a:gd name="T9" fmla="*/ 5 h 66"/>
                <a:gd name="T10" fmla="*/ 11 w 11"/>
                <a:gd name="T11" fmla="*/ 60 h 66"/>
                <a:gd name="T12" fmla="*/ 5 w 11"/>
                <a:gd name="T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66">
                  <a:moveTo>
                    <a:pt x="5" y="66"/>
                  </a:moveTo>
                  <a:cubicBezTo>
                    <a:pt x="2" y="66"/>
                    <a:pt x="0" y="63"/>
                    <a:pt x="0" y="6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" y="0"/>
                    <a:pt x="11" y="2"/>
                    <a:pt x="11" y="5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11" y="63"/>
                    <a:pt x="8" y="66"/>
                    <a:pt x="5" y="6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" name="Freeform 1381">
              <a:extLst>
                <a:ext uri="{FF2B5EF4-FFF2-40B4-BE49-F238E27FC236}">
                  <a16:creationId xmlns:a16="http://schemas.microsoft.com/office/drawing/2014/main" id="{DCA1DD7E-CDD8-DB1D-8C92-5031691E9FF1}"/>
                </a:ext>
              </a:extLst>
            </p:cNvPr>
            <p:cNvSpPr>
              <a:spLocks/>
            </p:cNvSpPr>
            <p:nvPr/>
          </p:nvSpPr>
          <p:spPr bwMode="auto">
            <a:xfrm>
              <a:off x="-3398838" y="1210643"/>
              <a:ext cx="11113" cy="107950"/>
            </a:xfrm>
            <a:custGeom>
              <a:avLst/>
              <a:gdLst>
                <a:gd name="T0" fmla="*/ 5 w 11"/>
                <a:gd name="T1" fmla="*/ 104 h 104"/>
                <a:gd name="T2" fmla="*/ 0 w 11"/>
                <a:gd name="T3" fmla="*/ 99 h 104"/>
                <a:gd name="T4" fmla="*/ 0 w 11"/>
                <a:gd name="T5" fmla="*/ 5 h 104"/>
                <a:gd name="T6" fmla="*/ 5 w 11"/>
                <a:gd name="T7" fmla="*/ 0 h 104"/>
                <a:gd name="T8" fmla="*/ 11 w 11"/>
                <a:gd name="T9" fmla="*/ 5 h 104"/>
                <a:gd name="T10" fmla="*/ 11 w 11"/>
                <a:gd name="T11" fmla="*/ 99 h 104"/>
                <a:gd name="T12" fmla="*/ 5 w 11"/>
                <a:gd name="T13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104">
                  <a:moveTo>
                    <a:pt x="5" y="104"/>
                  </a:moveTo>
                  <a:cubicBezTo>
                    <a:pt x="2" y="104"/>
                    <a:pt x="0" y="102"/>
                    <a:pt x="0" y="99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" y="0"/>
                    <a:pt x="11" y="2"/>
                    <a:pt x="11" y="5"/>
                  </a:cubicBezTo>
                  <a:cubicBezTo>
                    <a:pt x="11" y="99"/>
                    <a:pt x="11" y="99"/>
                    <a:pt x="11" y="99"/>
                  </a:cubicBezTo>
                  <a:cubicBezTo>
                    <a:pt x="11" y="102"/>
                    <a:pt x="8" y="104"/>
                    <a:pt x="5" y="10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19" name="Shape48_20200717_142846">
            <a:extLst>
              <a:ext uri="{FF2B5EF4-FFF2-40B4-BE49-F238E27FC236}">
                <a16:creationId xmlns:a16="http://schemas.microsoft.com/office/drawing/2014/main" id="{98BAE22F-136F-E70B-1149-0ECCCD337BF8}"/>
              </a:ext>
            </a:extLst>
          </p:cNvPr>
          <p:cNvGrpSpPr>
            <a:grpSpLocks noChangeAspect="1"/>
          </p:cNvGrpSpPr>
          <p:nvPr/>
        </p:nvGrpSpPr>
        <p:grpSpPr>
          <a:xfrm>
            <a:off x="1771531" y="2564032"/>
            <a:ext cx="815601" cy="530147"/>
            <a:chOff x="-1414426" y="1782150"/>
            <a:chExt cx="539735" cy="350841"/>
          </a:xfrm>
          <a:solidFill>
            <a:schemeClr val="accent1"/>
          </a:solidFill>
        </p:grpSpPr>
        <p:sp>
          <p:nvSpPr>
            <p:cNvPr id="20" name="Freeform 1454">
              <a:extLst>
                <a:ext uri="{FF2B5EF4-FFF2-40B4-BE49-F238E27FC236}">
                  <a16:creationId xmlns:a16="http://schemas.microsoft.com/office/drawing/2014/main" id="{DCACB033-7EF2-C1E3-BDE2-8C238977E40E}"/>
                </a:ext>
              </a:extLst>
            </p:cNvPr>
            <p:cNvSpPr>
              <a:spLocks/>
            </p:cNvSpPr>
            <p:nvPr/>
          </p:nvSpPr>
          <p:spPr bwMode="auto">
            <a:xfrm>
              <a:off x="-1317593" y="1782150"/>
              <a:ext cx="442902" cy="301626"/>
            </a:xfrm>
            <a:custGeom>
              <a:avLst/>
              <a:gdLst>
                <a:gd name="T0" fmla="*/ 389 w 426"/>
                <a:gd name="T1" fmla="*/ 289 h 289"/>
                <a:gd name="T2" fmla="*/ 88 w 426"/>
                <a:gd name="T3" fmla="*/ 289 h 289"/>
                <a:gd name="T4" fmla="*/ 83 w 426"/>
                <a:gd name="T5" fmla="*/ 283 h 289"/>
                <a:gd name="T6" fmla="*/ 88 w 426"/>
                <a:gd name="T7" fmla="*/ 278 h 289"/>
                <a:gd name="T8" fmla="*/ 389 w 426"/>
                <a:gd name="T9" fmla="*/ 278 h 289"/>
                <a:gd name="T10" fmla="*/ 415 w 426"/>
                <a:gd name="T11" fmla="*/ 252 h 289"/>
                <a:gd name="T12" fmla="*/ 415 w 426"/>
                <a:gd name="T13" fmla="*/ 37 h 289"/>
                <a:gd name="T14" fmla="*/ 389 w 426"/>
                <a:gd name="T15" fmla="*/ 11 h 289"/>
                <a:gd name="T16" fmla="*/ 37 w 426"/>
                <a:gd name="T17" fmla="*/ 11 h 289"/>
                <a:gd name="T18" fmla="*/ 11 w 426"/>
                <a:gd name="T19" fmla="*/ 37 h 289"/>
                <a:gd name="T20" fmla="*/ 11 w 426"/>
                <a:gd name="T21" fmla="*/ 144 h 289"/>
                <a:gd name="T22" fmla="*/ 5 w 426"/>
                <a:gd name="T23" fmla="*/ 149 h 289"/>
                <a:gd name="T24" fmla="*/ 0 w 426"/>
                <a:gd name="T25" fmla="*/ 144 h 289"/>
                <a:gd name="T26" fmla="*/ 0 w 426"/>
                <a:gd name="T27" fmla="*/ 37 h 289"/>
                <a:gd name="T28" fmla="*/ 37 w 426"/>
                <a:gd name="T29" fmla="*/ 0 h 289"/>
                <a:gd name="T30" fmla="*/ 389 w 426"/>
                <a:gd name="T31" fmla="*/ 0 h 289"/>
                <a:gd name="T32" fmla="*/ 426 w 426"/>
                <a:gd name="T33" fmla="*/ 37 h 289"/>
                <a:gd name="T34" fmla="*/ 426 w 426"/>
                <a:gd name="T35" fmla="*/ 252 h 289"/>
                <a:gd name="T36" fmla="*/ 389 w 426"/>
                <a:gd name="T37" fmla="*/ 289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26" h="289">
                  <a:moveTo>
                    <a:pt x="389" y="289"/>
                  </a:moveTo>
                  <a:cubicBezTo>
                    <a:pt x="88" y="289"/>
                    <a:pt x="88" y="289"/>
                    <a:pt x="88" y="289"/>
                  </a:cubicBezTo>
                  <a:cubicBezTo>
                    <a:pt x="85" y="289"/>
                    <a:pt x="83" y="286"/>
                    <a:pt x="83" y="283"/>
                  </a:cubicBezTo>
                  <a:cubicBezTo>
                    <a:pt x="83" y="280"/>
                    <a:pt x="85" y="278"/>
                    <a:pt x="88" y="278"/>
                  </a:cubicBezTo>
                  <a:cubicBezTo>
                    <a:pt x="389" y="278"/>
                    <a:pt x="389" y="278"/>
                    <a:pt x="389" y="278"/>
                  </a:cubicBezTo>
                  <a:cubicBezTo>
                    <a:pt x="404" y="278"/>
                    <a:pt x="415" y="266"/>
                    <a:pt x="415" y="252"/>
                  </a:cubicBezTo>
                  <a:cubicBezTo>
                    <a:pt x="415" y="37"/>
                    <a:pt x="415" y="37"/>
                    <a:pt x="415" y="37"/>
                  </a:cubicBezTo>
                  <a:cubicBezTo>
                    <a:pt x="415" y="23"/>
                    <a:pt x="404" y="11"/>
                    <a:pt x="389" y="11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22" y="11"/>
                    <a:pt x="11" y="23"/>
                    <a:pt x="11" y="37"/>
                  </a:cubicBezTo>
                  <a:cubicBezTo>
                    <a:pt x="11" y="144"/>
                    <a:pt x="11" y="144"/>
                    <a:pt x="11" y="144"/>
                  </a:cubicBezTo>
                  <a:cubicBezTo>
                    <a:pt x="11" y="147"/>
                    <a:pt x="8" y="149"/>
                    <a:pt x="5" y="149"/>
                  </a:cubicBezTo>
                  <a:cubicBezTo>
                    <a:pt x="2" y="149"/>
                    <a:pt x="0" y="147"/>
                    <a:pt x="0" y="144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17"/>
                    <a:pt x="16" y="0"/>
                    <a:pt x="37" y="0"/>
                  </a:cubicBezTo>
                  <a:cubicBezTo>
                    <a:pt x="389" y="0"/>
                    <a:pt x="389" y="0"/>
                    <a:pt x="389" y="0"/>
                  </a:cubicBezTo>
                  <a:cubicBezTo>
                    <a:pt x="410" y="0"/>
                    <a:pt x="426" y="17"/>
                    <a:pt x="426" y="37"/>
                  </a:cubicBezTo>
                  <a:cubicBezTo>
                    <a:pt x="426" y="252"/>
                    <a:pt x="426" y="252"/>
                    <a:pt x="426" y="252"/>
                  </a:cubicBezTo>
                  <a:cubicBezTo>
                    <a:pt x="426" y="272"/>
                    <a:pt x="410" y="289"/>
                    <a:pt x="389" y="28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" name="Freeform 1455">
              <a:extLst>
                <a:ext uri="{FF2B5EF4-FFF2-40B4-BE49-F238E27FC236}">
                  <a16:creationId xmlns:a16="http://schemas.microsoft.com/office/drawing/2014/main" id="{90187A33-6271-E1D6-F125-599989FE0E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125510" y="2071076"/>
              <a:ext cx="58737" cy="61913"/>
            </a:xfrm>
            <a:custGeom>
              <a:avLst/>
              <a:gdLst>
                <a:gd name="T0" fmla="*/ 50 w 56"/>
                <a:gd name="T1" fmla="*/ 59 h 59"/>
                <a:gd name="T2" fmla="*/ 5 w 56"/>
                <a:gd name="T3" fmla="*/ 59 h 59"/>
                <a:gd name="T4" fmla="*/ 0 w 56"/>
                <a:gd name="T5" fmla="*/ 53 h 59"/>
                <a:gd name="T6" fmla="*/ 0 w 56"/>
                <a:gd name="T7" fmla="*/ 5 h 59"/>
                <a:gd name="T8" fmla="*/ 5 w 56"/>
                <a:gd name="T9" fmla="*/ 0 h 59"/>
                <a:gd name="T10" fmla="*/ 50 w 56"/>
                <a:gd name="T11" fmla="*/ 0 h 59"/>
                <a:gd name="T12" fmla="*/ 56 w 56"/>
                <a:gd name="T13" fmla="*/ 5 h 59"/>
                <a:gd name="T14" fmla="*/ 56 w 56"/>
                <a:gd name="T15" fmla="*/ 53 h 59"/>
                <a:gd name="T16" fmla="*/ 50 w 56"/>
                <a:gd name="T17" fmla="*/ 59 h 59"/>
                <a:gd name="T18" fmla="*/ 11 w 56"/>
                <a:gd name="T19" fmla="*/ 48 h 59"/>
                <a:gd name="T20" fmla="*/ 45 w 56"/>
                <a:gd name="T21" fmla="*/ 48 h 59"/>
                <a:gd name="T22" fmla="*/ 45 w 56"/>
                <a:gd name="T23" fmla="*/ 11 h 59"/>
                <a:gd name="T24" fmla="*/ 11 w 56"/>
                <a:gd name="T25" fmla="*/ 11 h 59"/>
                <a:gd name="T26" fmla="*/ 11 w 56"/>
                <a:gd name="T27" fmla="*/ 48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6" h="59">
                  <a:moveTo>
                    <a:pt x="50" y="59"/>
                  </a:moveTo>
                  <a:cubicBezTo>
                    <a:pt x="5" y="59"/>
                    <a:pt x="5" y="59"/>
                    <a:pt x="5" y="59"/>
                  </a:cubicBezTo>
                  <a:cubicBezTo>
                    <a:pt x="2" y="59"/>
                    <a:pt x="0" y="56"/>
                    <a:pt x="0" y="53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3" y="0"/>
                    <a:pt x="56" y="2"/>
                    <a:pt x="56" y="5"/>
                  </a:cubicBezTo>
                  <a:cubicBezTo>
                    <a:pt x="56" y="53"/>
                    <a:pt x="56" y="53"/>
                    <a:pt x="56" y="53"/>
                  </a:cubicBezTo>
                  <a:cubicBezTo>
                    <a:pt x="56" y="56"/>
                    <a:pt x="53" y="59"/>
                    <a:pt x="50" y="59"/>
                  </a:cubicBezTo>
                  <a:close/>
                  <a:moveTo>
                    <a:pt x="11" y="48"/>
                  </a:moveTo>
                  <a:cubicBezTo>
                    <a:pt x="45" y="48"/>
                    <a:pt x="45" y="48"/>
                    <a:pt x="45" y="48"/>
                  </a:cubicBezTo>
                  <a:cubicBezTo>
                    <a:pt x="45" y="11"/>
                    <a:pt x="45" y="11"/>
                    <a:pt x="45" y="11"/>
                  </a:cubicBezTo>
                  <a:cubicBezTo>
                    <a:pt x="11" y="11"/>
                    <a:pt x="11" y="11"/>
                    <a:pt x="11" y="11"/>
                  </a:cubicBezTo>
                  <a:lnTo>
                    <a:pt x="11" y="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" name="Freeform 1456">
              <a:extLst>
                <a:ext uri="{FF2B5EF4-FFF2-40B4-BE49-F238E27FC236}">
                  <a16:creationId xmlns:a16="http://schemas.microsoft.com/office/drawing/2014/main" id="{AE1AC82A-D3B1-0BDB-9CDD-C489DDE04064}"/>
                </a:ext>
              </a:extLst>
            </p:cNvPr>
            <p:cNvSpPr>
              <a:spLocks/>
            </p:cNvSpPr>
            <p:nvPr/>
          </p:nvSpPr>
          <p:spPr bwMode="auto">
            <a:xfrm>
              <a:off x="-1169959" y="2121876"/>
              <a:ext cx="147634" cy="11113"/>
            </a:xfrm>
            <a:custGeom>
              <a:avLst/>
              <a:gdLst>
                <a:gd name="T0" fmla="*/ 136 w 142"/>
                <a:gd name="T1" fmla="*/ 11 h 11"/>
                <a:gd name="T2" fmla="*/ 6 w 142"/>
                <a:gd name="T3" fmla="*/ 11 h 11"/>
                <a:gd name="T4" fmla="*/ 0 w 142"/>
                <a:gd name="T5" fmla="*/ 5 h 11"/>
                <a:gd name="T6" fmla="*/ 6 w 142"/>
                <a:gd name="T7" fmla="*/ 0 h 11"/>
                <a:gd name="T8" fmla="*/ 136 w 142"/>
                <a:gd name="T9" fmla="*/ 0 h 11"/>
                <a:gd name="T10" fmla="*/ 142 w 142"/>
                <a:gd name="T11" fmla="*/ 5 h 11"/>
                <a:gd name="T12" fmla="*/ 136 w 142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2" h="11">
                  <a:moveTo>
                    <a:pt x="136" y="11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3" y="11"/>
                    <a:pt x="0" y="8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139" y="0"/>
                    <a:pt x="142" y="2"/>
                    <a:pt x="142" y="5"/>
                  </a:cubicBezTo>
                  <a:cubicBezTo>
                    <a:pt x="142" y="8"/>
                    <a:pt x="139" y="11"/>
                    <a:pt x="136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" name="Freeform 1457">
              <a:extLst>
                <a:ext uri="{FF2B5EF4-FFF2-40B4-BE49-F238E27FC236}">
                  <a16:creationId xmlns:a16="http://schemas.microsoft.com/office/drawing/2014/main" id="{1FC75551-C787-BF84-AEB6-FDA71A577CEA}"/>
                </a:ext>
              </a:extLst>
            </p:cNvPr>
            <p:cNvSpPr>
              <a:spLocks/>
            </p:cNvSpPr>
            <p:nvPr/>
          </p:nvSpPr>
          <p:spPr bwMode="auto">
            <a:xfrm>
              <a:off x="-1066774" y="1875812"/>
              <a:ext cx="63498" cy="66675"/>
            </a:xfrm>
            <a:custGeom>
              <a:avLst/>
              <a:gdLst>
                <a:gd name="T0" fmla="*/ 7 w 61"/>
                <a:gd name="T1" fmla="*/ 64 h 64"/>
                <a:gd name="T2" fmla="*/ 3 w 61"/>
                <a:gd name="T3" fmla="*/ 63 h 64"/>
                <a:gd name="T4" fmla="*/ 2 w 61"/>
                <a:gd name="T5" fmla="*/ 55 h 64"/>
                <a:gd name="T6" fmla="*/ 51 w 61"/>
                <a:gd name="T7" fmla="*/ 3 h 64"/>
                <a:gd name="T8" fmla="*/ 59 w 61"/>
                <a:gd name="T9" fmla="*/ 2 h 64"/>
                <a:gd name="T10" fmla="*/ 59 w 61"/>
                <a:gd name="T11" fmla="*/ 10 h 64"/>
                <a:gd name="T12" fmla="*/ 11 w 61"/>
                <a:gd name="T13" fmla="*/ 63 h 64"/>
                <a:gd name="T14" fmla="*/ 7 w 61"/>
                <a:gd name="T15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1" h="64">
                  <a:moveTo>
                    <a:pt x="7" y="64"/>
                  </a:moveTo>
                  <a:cubicBezTo>
                    <a:pt x="5" y="64"/>
                    <a:pt x="4" y="64"/>
                    <a:pt x="3" y="63"/>
                  </a:cubicBezTo>
                  <a:cubicBezTo>
                    <a:pt x="1" y="61"/>
                    <a:pt x="0" y="57"/>
                    <a:pt x="2" y="55"/>
                  </a:cubicBezTo>
                  <a:cubicBezTo>
                    <a:pt x="51" y="3"/>
                    <a:pt x="51" y="3"/>
                    <a:pt x="51" y="3"/>
                  </a:cubicBezTo>
                  <a:cubicBezTo>
                    <a:pt x="53" y="1"/>
                    <a:pt x="56" y="0"/>
                    <a:pt x="59" y="2"/>
                  </a:cubicBezTo>
                  <a:cubicBezTo>
                    <a:pt x="61" y="4"/>
                    <a:pt x="61" y="8"/>
                    <a:pt x="59" y="10"/>
                  </a:cubicBezTo>
                  <a:cubicBezTo>
                    <a:pt x="11" y="63"/>
                    <a:pt x="11" y="63"/>
                    <a:pt x="11" y="63"/>
                  </a:cubicBezTo>
                  <a:cubicBezTo>
                    <a:pt x="9" y="64"/>
                    <a:pt x="8" y="64"/>
                    <a:pt x="7" y="6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" name="Freeform 1458">
              <a:extLst>
                <a:ext uri="{FF2B5EF4-FFF2-40B4-BE49-F238E27FC236}">
                  <a16:creationId xmlns:a16="http://schemas.microsoft.com/office/drawing/2014/main" id="{ADB7A223-95A7-B3FF-DD23-FF809E31AB6E}"/>
                </a:ext>
              </a:extLst>
            </p:cNvPr>
            <p:cNvSpPr>
              <a:spLocks/>
            </p:cNvSpPr>
            <p:nvPr/>
          </p:nvSpPr>
          <p:spPr bwMode="auto">
            <a:xfrm>
              <a:off x="-1125510" y="1915500"/>
              <a:ext cx="47624" cy="31750"/>
            </a:xfrm>
            <a:custGeom>
              <a:avLst/>
              <a:gdLst>
                <a:gd name="T0" fmla="*/ 40 w 47"/>
                <a:gd name="T1" fmla="*/ 32 h 32"/>
                <a:gd name="T2" fmla="*/ 38 w 47"/>
                <a:gd name="T3" fmla="*/ 31 h 32"/>
                <a:gd name="T4" fmla="*/ 4 w 47"/>
                <a:gd name="T5" fmla="*/ 11 h 32"/>
                <a:gd name="T6" fmla="*/ 2 w 47"/>
                <a:gd name="T7" fmla="*/ 4 h 32"/>
                <a:gd name="T8" fmla="*/ 9 w 47"/>
                <a:gd name="T9" fmla="*/ 2 h 32"/>
                <a:gd name="T10" fmla="*/ 43 w 47"/>
                <a:gd name="T11" fmla="*/ 21 h 32"/>
                <a:gd name="T12" fmla="*/ 45 w 47"/>
                <a:gd name="T13" fmla="*/ 29 h 32"/>
                <a:gd name="T14" fmla="*/ 40 w 47"/>
                <a:gd name="T1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32">
                  <a:moveTo>
                    <a:pt x="40" y="32"/>
                  </a:moveTo>
                  <a:cubicBezTo>
                    <a:pt x="40" y="32"/>
                    <a:pt x="39" y="31"/>
                    <a:pt x="38" y="31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1" y="10"/>
                    <a:pt x="0" y="6"/>
                    <a:pt x="2" y="4"/>
                  </a:cubicBezTo>
                  <a:cubicBezTo>
                    <a:pt x="3" y="1"/>
                    <a:pt x="7" y="0"/>
                    <a:pt x="9" y="2"/>
                  </a:cubicBezTo>
                  <a:cubicBezTo>
                    <a:pt x="43" y="21"/>
                    <a:pt x="43" y="21"/>
                    <a:pt x="43" y="21"/>
                  </a:cubicBezTo>
                  <a:cubicBezTo>
                    <a:pt x="46" y="23"/>
                    <a:pt x="47" y="26"/>
                    <a:pt x="45" y="29"/>
                  </a:cubicBezTo>
                  <a:cubicBezTo>
                    <a:pt x="44" y="31"/>
                    <a:pt x="42" y="32"/>
                    <a:pt x="40" y="3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" name="Freeform 1459">
              <a:extLst>
                <a:ext uri="{FF2B5EF4-FFF2-40B4-BE49-F238E27FC236}">
                  <a16:creationId xmlns:a16="http://schemas.microsoft.com/office/drawing/2014/main" id="{1E8D0B1E-9AA5-A97B-739B-05F430B09CC7}"/>
                </a:ext>
              </a:extLst>
            </p:cNvPr>
            <p:cNvSpPr>
              <a:spLocks/>
            </p:cNvSpPr>
            <p:nvPr/>
          </p:nvSpPr>
          <p:spPr bwMode="auto">
            <a:xfrm>
              <a:off x="-1211233" y="1918675"/>
              <a:ext cx="73023" cy="68263"/>
            </a:xfrm>
            <a:custGeom>
              <a:avLst/>
              <a:gdLst>
                <a:gd name="T0" fmla="*/ 6 w 70"/>
                <a:gd name="T1" fmla="*/ 66 h 66"/>
                <a:gd name="T2" fmla="*/ 2 w 70"/>
                <a:gd name="T3" fmla="*/ 65 h 66"/>
                <a:gd name="T4" fmla="*/ 2 w 70"/>
                <a:gd name="T5" fmla="*/ 57 h 66"/>
                <a:gd name="T6" fmla="*/ 60 w 70"/>
                <a:gd name="T7" fmla="*/ 2 h 66"/>
                <a:gd name="T8" fmla="*/ 67 w 70"/>
                <a:gd name="T9" fmla="*/ 3 h 66"/>
                <a:gd name="T10" fmla="*/ 67 w 70"/>
                <a:gd name="T11" fmla="*/ 10 h 66"/>
                <a:gd name="T12" fmla="*/ 10 w 70"/>
                <a:gd name="T13" fmla="*/ 65 h 66"/>
                <a:gd name="T14" fmla="*/ 6 w 70"/>
                <a:gd name="T15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0" h="66">
                  <a:moveTo>
                    <a:pt x="6" y="66"/>
                  </a:moveTo>
                  <a:cubicBezTo>
                    <a:pt x="4" y="66"/>
                    <a:pt x="3" y="66"/>
                    <a:pt x="2" y="65"/>
                  </a:cubicBezTo>
                  <a:cubicBezTo>
                    <a:pt x="0" y="63"/>
                    <a:pt x="0" y="59"/>
                    <a:pt x="2" y="57"/>
                  </a:cubicBezTo>
                  <a:cubicBezTo>
                    <a:pt x="60" y="2"/>
                    <a:pt x="60" y="2"/>
                    <a:pt x="60" y="2"/>
                  </a:cubicBezTo>
                  <a:cubicBezTo>
                    <a:pt x="62" y="0"/>
                    <a:pt x="65" y="0"/>
                    <a:pt x="67" y="3"/>
                  </a:cubicBezTo>
                  <a:cubicBezTo>
                    <a:pt x="70" y="5"/>
                    <a:pt x="69" y="8"/>
                    <a:pt x="67" y="10"/>
                  </a:cubicBezTo>
                  <a:cubicBezTo>
                    <a:pt x="10" y="65"/>
                    <a:pt x="10" y="65"/>
                    <a:pt x="10" y="65"/>
                  </a:cubicBezTo>
                  <a:cubicBezTo>
                    <a:pt x="9" y="66"/>
                    <a:pt x="7" y="66"/>
                    <a:pt x="6" y="6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" name="Freeform 1460">
              <a:extLst>
                <a:ext uri="{FF2B5EF4-FFF2-40B4-BE49-F238E27FC236}">
                  <a16:creationId xmlns:a16="http://schemas.microsoft.com/office/drawing/2014/main" id="{2C4FB14A-5AD2-4ACC-18B5-1E855916E2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154084" y="1891687"/>
              <a:ext cx="41274" cy="42863"/>
            </a:xfrm>
            <a:custGeom>
              <a:avLst/>
              <a:gdLst>
                <a:gd name="T0" fmla="*/ 20 w 40"/>
                <a:gd name="T1" fmla="*/ 41 h 41"/>
                <a:gd name="T2" fmla="*/ 0 w 40"/>
                <a:gd name="T3" fmla="*/ 21 h 41"/>
                <a:gd name="T4" fmla="*/ 20 w 40"/>
                <a:gd name="T5" fmla="*/ 0 h 41"/>
                <a:gd name="T6" fmla="*/ 40 w 40"/>
                <a:gd name="T7" fmla="*/ 21 h 41"/>
                <a:gd name="T8" fmla="*/ 20 w 40"/>
                <a:gd name="T9" fmla="*/ 41 h 41"/>
                <a:gd name="T10" fmla="*/ 20 w 40"/>
                <a:gd name="T11" fmla="*/ 11 h 41"/>
                <a:gd name="T12" fmla="*/ 11 w 40"/>
                <a:gd name="T13" fmla="*/ 21 h 41"/>
                <a:gd name="T14" fmla="*/ 20 w 40"/>
                <a:gd name="T15" fmla="*/ 30 h 41"/>
                <a:gd name="T16" fmla="*/ 29 w 40"/>
                <a:gd name="T17" fmla="*/ 21 h 41"/>
                <a:gd name="T18" fmla="*/ 20 w 40"/>
                <a:gd name="T19" fmla="*/ 1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41">
                  <a:moveTo>
                    <a:pt x="20" y="41"/>
                  </a:moveTo>
                  <a:cubicBezTo>
                    <a:pt x="9" y="41"/>
                    <a:pt x="0" y="32"/>
                    <a:pt x="0" y="21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1"/>
                  </a:cubicBezTo>
                  <a:cubicBezTo>
                    <a:pt x="40" y="32"/>
                    <a:pt x="31" y="41"/>
                    <a:pt x="20" y="41"/>
                  </a:cubicBezTo>
                  <a:close/>
                  <a:moveTo>
                    <a:pt x="20" y="11"/>
                  </a:moveTo>
                  <a:cubicBezTo>
                    <a:pt x="15" y="11"/>
                    <a:pt x="11" y="16"/>
                    <a:pt x="11" y="21"/>
                  </a:cubicBezTo>
                  <a:cubicBezTo>
                    <a:pt x="11" y="26"/>
                    <a:pt x="15" y="30"/>
                    <a:pt x="20" y="30"/>
                  </a:cubicBezTo>
                  <a:cubicBezTo>
                    <a:pt x="25" y="30"/>
                    <a:pt x="29" y="26"/>
                    <a:pt x="29" y="21"/>
                  </a:cubicBezTo>
                  <a:cubicBezTo>
                    <a:pt x="29" y="16"/>
                    <a:pt x="25" y="11"/>
                    <a:pt x="20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" name="Freeform 1461">
              <a:extLst>
                <a:ext uri="{FF2B5EF4-FFF2-40B4-BE49-F238E27FC236}">
                  <a16:creationId xmlns:a16="http://schemas.microsoft.com/office/drawing/2014/main" id="{6BD978EC-0C49-177F-53DC-15B8383849B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090586" y="1929787"/>
              <a:ext cx="41274" cy="41275"/>
            </a:xfrm>
            <a:custGeom>
              <a:avLst/>
              <a:gdLst>
                <a:gd name="T0" fmla="*/ 20 w 40"/>
                <a:gd name="T1" fmla="*/ 40 h 40"/>
                <a:gd name="T2" fmla="*/ 0 w 40"/>
                <a:gd name="T3" fmla="*/ 20 h 40"/>
                <a:gd name="T4" fmla="*/ 20 w 40"/>
                <a:gd name="T5" fmla="*/ 0 h 40"/>
                <a:gd name="T6" fmla="*/ 40 w 40"/>
                <a:gd name="T7" fmla="*/ 20 h 40"/>
                <a:gd name="T8" fmla="*/ 20 w 40"/>
                <a:gd name="T9" fmla="*/ 40 h 40"/>
                <a:gd name="T10" fmla="*/ 20 w 40"/>
                <a:gd name="T11" fmla="*/ 11 h 40"/>
                <a:gd name="T12" fmla="*/ 11 w 40"/>
                <a:gd name="T13" fmla="*/ 20 h 40"/>
                <a:gd name="T14" fmla="*/ 20 w 40"/>
                <a:gd name="T15" fmla="*/ 29 h 40"/>
                <a:gd name="T16" fmla="*/ 29 w 40"/>
                <a:gd name="T17" fmla="*/ 20 h 40"/>
                <a:gd name="T18" fmla="*/ 20 w 40"/>
                <a:gd name="T19" fmla="*/ 11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11"/>
                  </a:moveTo>
                  <a:cubicBezTo>
                    <a:pt x="15" y="11"/>
                    <a:pt x="11" y="15"/>
                    <a:pt x="11" y="20"/>
                  </a:cubicBezTo>
                  <a:cubicBezTo>
                    <a:pt x="11" y="25"/>
                    <a:pt x="15" y="29"/>
                    <a:pt x="20" y="29"/>
                  </a:cubicBezTo>
                  <a:cubicBezTo>
                    <a:pt x="25" y="29"/>
                    <a:pt x="29" y="25"/>
                    <a:pt x="29" y="20"/>
                  </a:cubicBezTo>
                  <a:cubicBezTo>
                    <a:pt x="29" y="15"/>
                    <a:pt x="25" y="11"/>
                    <a:pt x="20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" name="Freeform 1462">
              <a:extLst>
                <a:ext uri="{FF2B5EF4-FFF2-40B4-BE49-F238E27FC236}">
                  <a16:creationId xmlns:a16="http://schemas.microsoft.com/office/drawing/2014/main" id="{C4E141D9-C7B7-6659-837D-E5DC4EC0EEE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019151" y="1850412"/>
              <a:ext cx="42862" cy="41275"/>
            </a:xfrm>
            <a:custGeom>
              <a:avLst/>
              <a:gdLst>
                <a:gd name="T0" fmla="*/ 21 w 41"/>
                <a:gd name="T1" fmla="*/ 40 h 40"/>
                <a:gd name="T2" fmla="*/ 0 w 41"/>
                <a:gd name="T3" fmla="*/ 20 h 40"/>
                <a:gd name="T4" fmla="*/ 21 w 41"/>
                <a:gd name="T5" fmla="*/ 0 h 40"/>
                <a:gd name="T6" fmla="*/ 41 w 41"/>
                <a:gd name="T7" fmla="*/ 20 h 40"/>
                <a:gd name="T8" fmla="*/ 21 w 41"/>
                <a:gd name="T9" fmla="*/ 40 h 40"/>
                <a:gd name="T10" fmla="*/ 21 w 41"/>
                <a:gd name="T11" fmla="*/ 11 h 40"/>
                <a:gd name="T12" fmla="*/ 11 w 41"/>
                <a:gd name="T13" fmla="*/ 20 h 40"/>
                <a:gd name="T14" fmla="*/ 21 w 41"/>
                <a:gd name="T15" fmla="*/ 29 h 40"/>
                <a:gd name="T16" fmla="*/ 30 w 41"/>
                <a:gd name="T17" fmla="*/ 20 h 40"/>
                <a:gd name="T18" fmla="*/ 21 w 41"/>
                <a:gd name="T19" fmla="*/ 11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40">
                  <a:moveTo>
                    <a:pt x="21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1" y="0"/>
                  </a:cubicBezTo>
                  <a:cubicBezTo>
                    <a:pt x="32" y="0"/>
                    <a:pt x="41" y="9"/>
                    <a:pt x="41" y="20"/>
                  </a:cubicBezTo>
                  <a:cubicBezTo>
                    <a:pt x="41" y="31"/>
                    <a:pt x="32" y="40"/>
                    <a:pt x="21" y="40"/>
                  </a:cubicBezTo>
                  <a:close/>
                  <a:moveTo>
                    <a:pt x="21" y="11"/>
                  </a:moveTo>
                  <a:cubicBezTo>
                    <a:pt x="16" y="11"/>
                    <a:pt x="11" y="15"/>
                    <a:pt x="11" y="20"/>
                  </a:cubicBezTo>
                  <a:cubicBezTo>
                    <a:pt x="11" y="25"/>
                    <a:pt x="16" y="29"/>
                    <a:pt x="21" y="29"/>
                  </a:cubicBezTo>
                  <a:cubicBezTo>
                    <a:pt x="26" y="29"/>
                    <a:pt x="30" y="25"/>
                    <a:pt x="30" y="20"/>
                  </a:cubicBezTo>
                  <a:cubicBezTo>
                    <a:pt x="30" y="15"/>
                    <a:pt x="26" y="11"/>
                    <a:pt x="21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9" name="Freeform 1463">
              <a:extLst>
                <a:ext uri="{FF2B5EF4-FFF2-40B4-BE49-F238E27FC236}">
                  <a16:creationId xmlns:a16="http://schemas.microsoft.com/office/drawing/2014/main" id="{2F63557B-98B9-CE14-D99C-D45EE373A4C7}"/>
                </a:ext>
              </a:extLst>
            </p:cNvPr>
            <p:cNvSpPr>
              <a:spLocks/>
            </p:cNvSpPr>
            <p:nvPr/>
          </p:nvSpPr>
          <p:spPr bwMode="auto">
            <a:xfrm>
              <a:off x="-1212821" y="1844062"/>
              <a:ext cx="249232" cy="176214"/>
            </a:xfrm>
            <a:custGeom>
              <a:avLst/>
              <a:gdLst>
                <a:gd name="T0" fmla="*/ 236 w 241"/>
                <a:gd name="T1" fmla="*/ 170 h 170"/>
                <a:gd name="T2" fmla="*/ 6 w 241"/>
                <a:gd name="T3" fmla="*/ 170 h 170"/>
                <a:gd name="T4" fmla="*/ 0 w 241"/>
                <a:gd name="T5" fmla="*/ 164 h 170"/>
                <a:gd name="T6" fmla="*/ 0 w 241"/>
                <a:gd name="T7" fmla="*/ 5 h 170"/>
                <a:gd name="T8" fmla="*/ 6 w 241"/>
                <a:gd name="T9" fmla="*/ 0 h 170"/>
                <a:gd name="T10" fmla="*/ 11 w 241"/>
                <a:gd name="T11" fmla="*/ 5 h 170"/>
                <a:gd name="T12" fmla="*/ 11 w 241"/>
                <a:gd name="T13" fmla="*/ 159 h 170"/>
                <a:gd name="T14" fmla="*/ 236 w 241"/>
                <a:gd name="T15" fmla="*/ 159 h 170"/>
                <a:gd name="T16" fmla="*/ 241 w 241"/>
                <a:gd name="T17" fmla="*/ 164 h 170"/>
                <a:gd name="T18" fmla="*/ 236 w 241"/>
                <a:gd name="T19" fmla="*/ 17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1" h="170">
                  <a:moveTo>
                    <a:pt x="236" y="170"/>
                  </a:moveTo>
                  <a:cubicBezTo>
                    <a:pt x="6" y="170"/>
                    <a:pt x="6" y="170"/>
                    <a:pt x="6" y="170"/>
                  </a:cubicBezTo>
                  <a:cubicBezTo>
                    <a:pt x="3" y="170"/>
                    <a:pt x="0" y="167"/>
                    <a:pt x="0" y="16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1" y="2"/>
                    <a:pt x="11" y="5"/>
                  </a:cubicBezTo>
                  <a:cubicBezTo>
                    <a:pt x="11" y="159"/>
                    <a:pt x="11" y="159"/>
                    <a:pt x="11" y="159"/>
                  </a:cubicBezTo>
                  <a:cubicBezTo>
                    <a:pt x="236" y="159"/>
                    <a:pt x="236" y="159"/>
                    <a:pt x="236" y="159"/>
                  </a:cubicBezTo>
                  <a:cubicBezTo>
                    <a:pt x="239" y="159"/>
                    <a:pt x="241" y="161"/>
                    <a:pt x="241" y="164"/>
                  </a:cubicBezTo>
                  <a:cubicBezTo>
                    <a:pt x="241" y="167"/>
                    <a:pt x="239" y="170"/>
                    <a:pt x="236" y="17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0" name="Freeform 1464">
              <a:extLst>
                <a:ext uri="{FF2B5EF4-FFF2-40B4-BE49-F238E27FC236}">
                  <a16:creationId xmlns:a16="http://schemas.microsoft.com/office/drawing/2014/main" id="{D1E405D2-437C-83D0-215D-4A88B342DB4B}"/>
                </a:ext>
              </a:extLst>
            </p:cNvPr>
            <p:cNvSpPr>
              <a:spLocks/>
            </p:cNvSpPr>
            <p:nvPr/>
          </p:nvSpPr>
          <p:spPr bwMode="auto">
            <a:xfrm>
              <a:off x="-1230282" y="1842477"/>
              <a:ext cx="44449" cy="30163"/>
            </a:xfrm>
            <a:custGeom>
              <a:avLst/>
              <a:gdLst>
                <a:gd name="T0" fmla="*/ 37 w 43"/>
                <a:gd name="T1" fmla="*/ 27 h 28"/>
                <a:gd name="T2" fmla="*/ 33 w 43"/>
                <a:gd name="T3" fmla="*/ 26 h 28"/>
                <a:gd name="T4" fmla="*/ 22 w 43"/>
                <a:gd name="T5" fmla="*/ 14 h 28"/>
                <a:gd name="T6" fmla="*/ 10 w 43"/>
                <a:gd name="T7" fmla="*/ 26 h 28"/>
                <a:gd name="T8" fmla="*/ 2 w 43"/>
                <a:gd name="T9" fmla="*/ 26 h 28"/>
                <a:gd name="T10" fmla="*/ 2 w 43"/>
                <a:gd name="T11" fmla="*/ 18 h 28"/>
                <a:gd name="T12" fmla="*/ 18 w 43"/>
                <a:gd name="T13" fmla="*/ 2 h 28"/>
                <a:gd name="T14" fmla="*/ 25 w 43"/>
                <a:gd name="T15" fmla="*/ 2 h 28"/>
                <a:gd name="T16" fmla="*/ 41 w 43"/>
                <a:gd name="T17" fmla="*/ 18 h 28"/>
                <a:gd name="T18" fmla="*/ 41 w 43"/>
                <a:gd name="T19" fmla="*/ 26 h 28"/>
                <a:gd name="T20" fmla="*/ 37 w 43"/>
                <a:gd name="T21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3" h="28">
                  <a:moveTo>
                    <a:pt x="37" y="27"/>
                  </a:moveTo>
                  <a:cubicBezTo>
                    <a:pt x="36" y="27"/>
                    <a:pt x="34" y="27"/>
                    <a:pt x="33" y="26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8" y="28"/>
                    <a:pt x="4" y="28"/>
                    <a:pt x="2" y="26"/>
                  </a:cubicBezTo>
                  <a:cubicBezTo>
                    <a:pt x="0" y="24"/>
                    <a:pt x="0" y="20"/>
                    <a:pt x="2" y="18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20" y="0"/>
                    <a:pt x="23" y="0"/>
                    <a:pt x="25" y="2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3" y="20"/>
                    <a:pt x="43" y="24"/>
                    <a:pt x="41" y="26"/>
                  </a:cubicBezTo>
                  <a:cubicBezTo>
                    <a:pt x="40" y="27"/>
                    <a:pt x="38" y="27"/>
                    <a:pt x="37" y="2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1" name="Freeform 1465">
              <a:extLst>
                <a:ext uri="{FF2B5EF4-FFF2-40B4-BE49-F238E27FC236}">
                  <a16:creationId xmlns:a16="http://schemas.microsoft.com/office/drawing/2014/main" id="{6F9D02B4-2EFB-D27E-30AD-3B8DB762E8DC}"/>
                </a:ext>
              </a:extLst>
            </p:cNvPr>
            <p:cNvSpPr>
              <a:spLocks/>
            </p:cNvSpPr>
            <p:nvPr/>
          </p:nvSpPr>
          <p:spPr bwMode="auto">
            <a:xfrm>
              <a:off x="-990576" y="1993290"/>
              <a:ext cx="26987" cy="42863"/>
            </a:xfrm>
            <a:custGeom>
              <a:avLst/>
              <a:gdLst>
                <a:gd name="T0" fmla="*/ 6 w 27"/>
                <a:gd name="T1" fmla="*/ 42 h 42"/>
                <a:gd name="T2" fmla="*/ 2 w 27"/>
                <a:gd name="T3" fmla="*/ 41 h 42"/>
                <a:gd name="T4" fmla="*/ 2 w 27"/>
                <a:gd name="T5" fmla="*/ 33 h 42"/>
                <a:gd name="T6" fmla="*/ 14 w 27"/>
                <a:gd name="T7" fmla="*/ 21 h 42"/>
                <a:gd name="T8" fmla="*/ 2 w 27"/>
                <a:gd name="T9" fmla="*/ 10 h 42"/>
                <a:gd name="T10" fmla="*/ 2 w 27"/>
                <a:gd name="T11" fmla="*/ 2 h 42"/>
                <a:gd name="T12" fmla="*/ 10 w 27"/>
                <a:gd name="T13" fmla="*/ 2 h 42"/>
                <a:gd name="T14" fmla="*/ 26 w 27"/>
                <a:gd name="T15" fmla="*/ 18 h 42"/>
                <a:gd name="T16" fmla="*/ 27 w 27"/>
                <a:gd name="T17" fmla="*/ 21 h 42"/>
                <a:gd name="T18" fmla="*/ 26 w 27"/>
                <a:gd name="T19" fmla="*/ 25 h 42"/>
                <a:gd name="T20" fmla="*/ 10 w 27"/>
                <a:gd name="T21" fmla="*/ 41 h 42"/>
                <a:gd name="T22" fmla="*/ 6 w 27"/>
                <a:gd name="T23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" h="42">
                  <a:moveTo>
                    <a:pt x="6" y="42"/>
                  </a:moveTo>
                  <a:cubicBezTo>
                    <a:pt x="5" y="42"/>
                    <a:pt x="4" y="42"/>
                    <a:pt x="2" y="41"/>
                  </a:cubicBezTo>
                  <a:cubicBezTo>
                    <a:pt x="0" y="39"/>
                    <a:pt x="0" y="35"/>
                    <a:pt x="2" y="33"/>
                  </a:cubicBezTo>
                  <a:cubicBezTo>
                    <a:pt x="14" y="21"/>
                    <a:pt x="14" y="21"/>
                    <a:pt x="14" y="21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0" y="8"/>
                    <a:pt x="0" y="4"/>
                    <a:pt x="2" y="2"/>
                  </a:cubicBezTo>
                  <a:cubicBezTo>
                    <a:pt x="5" y="0"/>
                    <a:pt x="8" y="0"/>
                    <a:pt x="10" y="2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7" y="19"/>
                    <a:pt x="27" y="20"/>
                    <a:pt x="27" y="21"/>
                  </a:cubicBezTo>
                  <a:cubicBezTo>
                    <a:pt x="27" y="23"/>
                    <a:pt x="27" y="24"/>
                    <a:pt x="26" y="25"/>
                  </a:cubicBezTo>
                  <a:cubicBezTo>
                    <a:pt x="10" y="41"/>
                    <a:pt x="10" y="41"/>
                    <a:pt x="10" y="41"/>
                  </a:cubicBezTo>
                  <a:cubicBezTo>
                    <a:pt x="9" y="42"/>
                    <a:pt x="8" y="42"/>
                    <a:pt x="6" y="4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2" name="Freeform 1466">
              <a:extLst>
                <a:ext uri="{FF2B5EF4-FFF2-40B4-BE49-F238E27FC236}">
                  <a16:creationId xmlns:a16="http://schemas.microsoft.com/office/drawing/2014/main" id="{898D7596-9C60-770F-F26E-F2E921E650F0}"/>
                </a:ext>
              </a:extLst>
            </p:cNvPr>
            <p:cNvSpPr>
              <a:spLocks/>
            </p:cNvSpPr>
            <p:nvPr/>
          </p:nvSpPr>
          <p:spPr bwMode="auto">
            <a:xfrm>
              <a:off x="-1414426" y="2023452"/>
              <a:ext cx="195258" cy="109539"/>
            </a:xfrm>
            <a:custGeom>
              <a:avLst/>
              <a:gdLst>
                <a:gd name="T0" fmla="*/ 182 w 188"/>
                <a:gd name="T1" fmla="*/ 105 h 105"/>
                <a:gd name="T2" fmla="*/ 177 w 188"/>
                <a:gd name="T3" fmla="*/ 99 h 105"/>
                <a:gd name="T4" fmla="*/ 177 w 188"/>
                <a:gd name="T5" fmla="*/ 44 h 105"/>
                <a:gd name="T6" fmla="*/ 143 w 188"/>
                <a:gd name="T7" fmla="*/ 11 h 105"/>
                <a:gd name="T8" fmla="*/ 45 w 188"/>
                <a:gd name="T9" fmla="*/ 11 h 105"/>
                <a:gd name="T10" fmla="*/ 11 w 188"/>
                <a:gd name="T11" fmla="*/ 44 h 105"/>
                <a:gd name="T12" fmla="*/ 11 w 188"/>
                <a:gd name="T13" fmla="*/ 99 h 105"/>
                <a:gd name="T14" fmla="*/ 6 w 188"/>
                <a:gd name="T15" fmla="*/ 105 h 105"/>
                <a:gd name="T16" fmla="*/ 0 w 188"/>
                <a:gd name="T17" fmla="*/ 99 h 105"/>
                <a:gd name="T18" fmla="*/ 0 w 188"/>
                <a:gd name="T19" fmla="*/ 44 h 105"/>
                <a:gd name="T20" fmla="*/ 45 w 188"/>
                <a:gd name="T21" fmla="*/ 0 h 105"/>
                <a:gd name="T22" fmla="*/ 143 w 188"/>
                <a:gd name="T23" fmla="*/ 0 h 105"/>
                <a:gd name="T24" fmla="*/ 188 w 188"/>
                <a:gd name="T25" fmla="*/ 44 h 105"/>
                <a:gd name="T26" fmla="*/ 188 w 188"/>
                <a:gd name="T27" fmla="*/ 99 h 105"/>
                <a:gd name="T28" fmla="*/ 182 w 188"/>
                <a:gd name="T29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8" h="105">
                  <a:moveTo>
                    <a:pt x="182" y="105"/>
                  </a:moveTo>
                  <a:cubicBezTo>
                    <a:pt x="179" y="105"/>
                    <a:pt x="177" y="102"/>
                    <a:pt x="177" y="99"/>
                  </a:cubicBezTo>
                  <a:cubicBezTo>
                    <a:pt x="177" y="44"/>
                    <a:pt x="177" y="44"/>
                    <a:pt x="177" y="44"/>
                  </a:cubicBezTo>
                  <a:cubicBezTo>
                    <a:pt x="177" y="26"/>
                    <a:pt x="162" y="11"/>
                    <a:pt x="143" y="11"/>
                  </a:cubicBezTo>
                  <a:cubicBezTo>
                    <a:pt x="45" y="11"/>
                    <a:pt x="45" y="11"/>
                    <a:pt x="45" y="11"/>
                  </a:cubicBezTo>
                  <a:cubicBezTo>
                    <a:pt x="26" y="11"/>
                    <a:pt x="11" y="26"/>
                    <a:pt x="11" y="44"/>
                  </a:cubicBezTo>
                  <a:cubicBezTo>
                    <a:pt x="11" y="99"/>
                    <a:pt x="11" y="99"/>
                    <a:pt x="11" y="99"/>
                  </a:cubicBezTo>
                  <a:cubicBezTo>
                    <a:pt x="11" y="102"/>
                    <a:pt x="9" y="105"/>
                    <a:pt x="6" y="105"/>
                  </a:cubicBezTo>
                  <a:cubicBezTo>
                    <a:pt x="3" y="105"/>
                    <a:pt x="0" y="102"/>
                    <a:pt x="0" y="99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20"/>
                    <a:pt x="20" y="0"/>
                    <a:pt x="45" y="0"/>
                  </a:cubicBezTo>
                  <a:cubicBezTo>
                    <a:pt x="143" y="0"/>
                    <a:pt x="143" y="0"/>
                    <a:pt x="143" y="0"/>
                  </a:cubicBezTo>
                  <a:cubicBezTo>
                    <a:pt x="168" y="0"/>
                    <a:pt x="188" y="20"/>
                    <a:pt x="188" y="44"/>
                  </a:cubicBezTo>
                  <a:cubicBezTo>
                    <a:pt x="188" y="99"/>
                    <a:pt x="188" y="99"/>
                    <a:pt x="188" y="99"/>
                  </a:cubicBezTo>
                  <a:cubicBezTo>
                    <a:pt x="188" y="102"/>
                    <a:pt x="185" y="105"/>
                    <a:pt x="182" y="10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3" name="Freeform 1467">
              <a:extLst>
                <a:ext uri="{FF2B5EF4-FFF2-40B4-BE49-F238E27FC236}">
                  <a16:creationId xmlns:a16="http://schemas.microsoft.com/office/drawing/2014/main" id="{FA002F11-062B-B518-7CA6-D006105FFE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357277" y="1926617"/>
              <a:ext cx="79373" cy="80964"/>
            </a:xfrm>
            <a:custGeom>
              <a:avLst/>
              <a:gdLst>
                <a:gd name="T0" fmla="*/ 39 w 77"/>
                <a:gd name="T1" fmla="*/ 77 h 77"/>
                <a:gd name="T2" fmla="*/ 0 w 77"/>
                <a:gd name="T3" fmla="*/ 39 h 77"/>
                <a:gd name="T4" fmla="*/ 39 w 77"/>
                <a:gd name="T5" fmla="*/ 0 h 77"/>
                <a:gd name="T6" fmla="*/ 77 w 77"/>
                <a:gd name="T7" fmla="*/ 39 h 77"/>
                <a:gd name="T8" fmla="*/ 39 w 77"/>
                <a:gd name="T9" fmla="*/ 77 h 77"/>
                <a:gd name="T10" fmla="*/ 39 w 77"/>
                <a:gd name="T11" fmla="*/ 11 h 77"/>
                <a:gd name="T12" fmla="*/ 11 w 77"/>
                <a:gd name="T13" fmla="*/ 39 h 77"/>
                <a:gd name="T14" fmla="*/ 39 w 77"/>
                <a:gd name="T15" fmla="*/ 66 h 77"/>
                <a:gd name="T16" fmla="*/ 66 w 77"/>
                <a:gd name="T17" fmla="*/ 39 h 77"/>
                <a:gd name="T18" fmla="*/ 39 w 77"/>
                <a:gd name="T19" fmla="*/ 11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7" h="77">
                  <a:moveTo>
                    <a:pt x="39" y="77"/>
                  </a:moveTo>
                  <a:cubicBezTo>
                    <a:pt x="18" y="77"/>
                    <a:pt x="0" y="60"/>
                    <a:pt x="0" y="39"/>
                  </a:cubicBezTo>
                  <a:cubicBezTo>
                    <a:pt x="0" y="17"/>
                    <a:pt x="18" y="0"/>
                    <a:pt x="39" y="0"/>
                  </a:cubicBezTo>
                  <a:cubicBezTo>
                    <a:pt x="60" y="0"/>
                    <a:pt x="77" y="17"/>
                    <a:pt x="77" y="39"/>
                  </a:cubicBezTo>
                  <a:cubicBezTo>
                    <a:pt x="77" y="60"/>
                    <a:pt x="60" y="77"/>
                    <a:pt x="39" y="77"/>
                  </a:cubicBezTo>
                  <a:close/>
                  <a:moveTo>
                    <a:pt x="39" y="11"/>
                  </a:moveTo>
                  <a:cubicBezTo>
                    <a:pt x="24" y="11"/>
                    <a:pt x="11" y="23"/>
                    <a:pt x="11" y="39"/>
                  </a:cubicBezTo>
                  <a:cubicBezTo>
                    <a:pt x="11" y="54"/>
                    <a:pt x="24" y="66"/>
                    <a:pt x="39" y="66"/>
                  </a:cubicBezTo>
                  <a:cubicBezTo>
                    <a:pt x="54" y="66"/>
                    <a:pt x="66" y="54"/>
                    <a:pt x="66" y="39"/>
                  </a:cubicBezTo>
                  <a:cubicBezTo>
                    <a:pt x="66" y="23"/>
                    <a:pt x="54" y="11"/>
                    <a:pt x="39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4" name="Freeform 1468">
              <a:extLst>
                <a:ext uri="{FF2B5EF4-FFF2-40B4-BE49-F238E27FC236}">
                  <a16:creationId xmlns:a16="http://schemas.microsoft.com/office/drawing/2014/main" id="{77EA3FAC-9D2A-CEA3-0750-E550FFFF83AB}"/>
                </a:ext>
              </a:extLst>
            </p:cNvPr>
            <p:cNvSpPr>
              <a:spLocks/>
            </p:cNvSpPr>
            <p:nvPr/>
          </p:nvSpPr>
          <p:spPr bwMode="auto">
            <a:xfrm>
              <a:off x="-1376330" y="2071078"/>
              <a:ext cx="11113" cy="61913"/>
            </a:xfrm>
            <a:custGeom>
              <a:avLst/>
              <a:gdLst>
                <a:gd name="T0" fmla="*/ 5 w 11"/>
                <a:gd name="T1" fmla="*/ 60 h 60"/>
                <a:gd name="T2" fmla="*/ 0 w 11"/>
                <a:gd name="T3" fmla="*/ 54 h 60"/>
                <a:gd name="T4" fmla="*/ 0 w 11"/>
                <a:gd name="T5" fmla="*/ 5 h 60"/>
                <a:gd name="T6" fmla="*/ 5 w 11"/>
                <a:gd name="T7" fmla="*/ 0 h 60"/>
                <a:gd name="T8" fmla="*/ 11 w 11"/>
                <a:gd name="T9" fmla="*/ 5 h 60"/>
                <a:gd name="T10" fmla="*/ 11 w 11"/>
                <a:gd name="T11" fmla="*/ 54 h 60"/>
                <a:gd name="T12" fmla="*/ 5 w 11"/>
                <a:gd name="T1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60">
                  <a:moveTo>
                    <a:pt x="5" y="60"/>
                  </a:moveTo>
                  <a:cubicBezTo>
                    <a:pt x="2" y="60"/>
                    <a:pt x="0" y="57"/>
                    <a:pt x="0" y="5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" y="0"/>
                    <a:pt x="11" y="2"/>
                    <a:pt x="11" y="5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11" y="57"/>
                    <a:pt x="8" y="60"/>
                    <a:pt x="5" y="6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5" name="Freeform 1469">
              <a:extLst>
                <a:ext uri="{FF2B5EF4-FFF2-40B4-BE49-F238E27FC236}">
                  <a16:creationId xmlns:a16="http://schemas.microsoft.com/office/drawing/2014/main" id="{FCBDA97C-3357-351B-5763-7F75DE1503FB}"/>
                </a:ext>
              </a:extLst>
            </p:cNvPr>
            <p:cNvSpPr>
              <a:spLocks/>
            </p:cNvSpPr>
            <p:nvPr/>
          </p:nvSpPr>
          <p:spPr bwMode="auto">
            <a:xfrm>
              <a:off x="-1270000" y="2071068"/>
              <a:ext cx="11113" cy="61913"/>
            </a:xfrm>
            <a:custGeom>
              <a:avLst/>
              <a:gdLst>
                <a:gd name="T0" fmla="*/ 6 w 11"/>
                <a:gd name="T1" fmla="*/ 60 h 60"/>
                <a:gd name="T2" fmla="*/ 0 w 11"/>
                <a:gd name="T3" fmla="*/ 54 h 60"/>
                <a:gd name="T4" fmla="*/ 0 w 11"/>
                <a:gd name="T5" fmla="*/ 5 h 60"/>
                <a:gd name="T6" fmla="*/ 6 w 11"/>
                <a:gd name="T7" fmla="*/ 0 h 60"/>
                <a:gd name="T8" fmla="*/ 11 w 11"/>
                <a:gd name="T9" fmla="*/ 5 h 60"/>
                <a:gd name="T10" fmla="*/ 11 w 11"/>
                <a:gd name="T11" fmla="*/ 54 h 60"/>
                <a:gd name="T12" fmla="*/ 6 w 11"/>
                <a:gd name="T1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60">
                  <a:moveTo>
                    <a:pt x="6" y="60"/>
                  </a:moveTo>
                  <a:cubicBezTo>
                    <a:pt x="3" y="60"/>
                    <a:pt x="0" y="57"/>
                    <a:pt x="0" y="5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1" y="2"/>
                    <a:pt x="11" y="5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11" y="57"/>
                    <a:pt x="9" y="60"/>
                    <a:pt x="6" y="6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6" name="Shape60_20200717_142846">
            <a:extLst>
              <a:ext uri="{FF2B5EF4-FFF2-40B4-BE49-F238E27FC236}">
                <a16:creationId xmlns:a16="http://schemas.microsoft.com/office/drawing/2014/main" id="{D0441883-7011-FA65-DA63-921C58683C20}"/>
              </a:ext>
            </a:extLst>
          </p:cNvPr>
          <p:cNvGrpSpPr>
            <a:grpSpLocks noChangeAspect="1"/>
          </p:cNvGrpSpPr>
          <p:nvPr/>
        </p:nvGrpSpPr>
        <p:grpSpPr>
          <a:xfrm>
            <a:off x="1905862" y="3909172"/>
            <a:ext cx="546936" cy="450976"/>
            <a:chOff x="-3535362" y="3395047"/>
            <a:chExt cx="361950" cy="298446"/>
          </a:xfrm>
          <a:solidFill>
            <a:schemeClr val="accent1"/>
          </a:solidFill>
        </p:grpSpPr>
        <p:sp>
          <p:nvSpPr>
            <p:cNvPr id="37" name="Freeform 1609">
              <a:extLst>
                <a:ext uri="{FF2B5EF4-FFF2-40B4-BE49-F238E27FC236}">
                  <a16:creationId xmlns:a16="http://schemas.microsoft.com/office/drawing/2014/main" id="{AE0D4F3B-4123-39CE-A279-5DFC13A86378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41700" y="3450605"/>
              <a:ext cx="71438" cy="104775"/>
            </a:xfrm>
            <a:custGeom>
              <a:avLst/>
              <a:gdLst>
                <a:gd name="T0" fmla="*/ 34 w 69"/>
                <a:gd name="T1" fmla="*/ 101 h 101"/>
                <a:gd name="T2" fmla="*/ 2 w 69"/>
                <a:gd name="T3" fmla="*/ 85 h 101"/>
                <a:gd name="T4" fmla="*/ 3 w 69"/>
                <a:gd name="T5" fmla="*/ 77 h 101"/>
                <a:gd name="T6" fmla="*/ 11 w 69"/>
                <a:gd name="T7" fmla="*/ 78 h 101"/>
                <a:gd name="T8" fmla="*/ 49 w 69"/>
                <a:gd name="T9" fmla="*/ 86 h 101"/>
                <a:gd name="T10" fmla="*/ 49 w 69"/>
                <a:gd name="T11" fmla="*/ 86 h 101"/>
                <a:gd name="T12" fmla="*/ 57 w 69"/>
                <a:gd name="T13" fmla="*/ 71 h 101"/>
                <a:gd name="T14" fmla="*/ 45 w 69"/>
                <a:gd name="T15" fmla="*/ 57 h 101"/>
                <a:gd name="T16" fmla="*/ 21 w 69"/>
                <a:gd name="T17" fmla="*/ 50 h 101"/>
                <a:gd name="T18" fmla="*/ 2 w 69"/>
                <a:gd name="T19" fmla="*/ 25 h 101"/>
                <a:gd name="T20" fmla="*/ 35 w 69"/>
                <a:gd name="T21" fmla="*/ 0 h 101"/>
                <a:gd name="T22" fmla="*/ 35 w 69"/>
                <a:gd name="T23" fmla="*/ 0 h 101"/>
                <a:gd name="T24" fmla="*/ 68 w 69"/>
                <a:gd name="T25" fmla="*/ 22 h 101"/>
                <a:gd name="T26" fmla="*/ 64 w 69"/>
                <a:gd name="T27" fmla="*/ 29 h 101"/>
                <a:gd name="T28" fmla="*/ 57 w 69"/>
                <a:gd name="T29" fmla="*/ 25 h 101"/>
                <a:gd name="T30" fmla="*/ 35 w 69"/>
                <a:gd name="T31" fmla="*/ 11 h 101"/>
                <a:gd name="T32" fmla="*/ 13 w 69"/>
                <a:gd name="T33" fmla="*/ 25 h 101"/>
                <a:gd name="T34" fmla="*/ 24 w 69"/>
                <a:gd name="T35" fmla="*/ 39 h 101"/>
                <a:gd name="T36" fmla="*/ 48 w 69"/>
                <a:gd name="T37" fmla="*/ 46 h 101"/>
                <a:gd name="T38" fmla="*/ 68 w 69"/>
                <a:gd name="T39" fmla="*/ 70 h 101"/>
                <a:gd name="T40" fmla="*/ 54 w 69"/>
                <a:gd name="T41" fmla="*/ 96 h 101"/>
                <a:gd name="T42" fmla="*/ 34 w 69"/>
                <a:gd name="T43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9" h="101">
                  <a:moveTo>
                    <a:pt x="34" y="101"/>
                  </a:moveTo>
                  <a:cubicBezTo>
                    <a:pt x="23" y="101"/>
                    <a:pt x="12" y="97"/>
                    <a:pt x="2" y="85"/>
                  </a:cubicBezTo>
                  <a:cubicBezTo>
                    <a:pt x="0" y="82"/>
                    <a:pt x="1" y="79"/>
                    <a:pt x="3" y="77"/>
                  </a:cubicBezTo>
                  <a:cubicBezTo>
                    <a:pt x="6" y="75"/>
                    <a:pt x="9" y="76"/>
                    <a:pt x="11" y="78"/>
                  </a:cubicBezTo>
                  <a:cubicBezTo>
                    <a:pt x="26" y="98"/>
                    <a:pt x="48" y="87"/>
                    <a:pt x="49" y="86"/>
                  </a:cubicBezTo>
                  <a:cubicBezTo>
                    <a:pt x="49" y="86"/>
                    <a:pt x="49" y="86"/>
                    <a:pt x="49" y="86"/>
                  </a:cubicBezTo>
                  <a:cubicBezTo>
                    <a:pt x="50" y="86"/>
                    <a:pt x="58" y="82"/>
                    <a:pt x="57" y="71"/>
                  </a:cubicBezTo>
                  <a:cubicBezTo>
                    <a:pt x="56" y="60"/>
                    <a:pt x="45" y="57"/>
                    <a:pt x="45" y="57"/>
                  </a:cubicBezTo>
                  <a:cubicBezTo>
                    <a:pt x="45" y="57"/>
                    <a:pt x="33" y="53"/>
                    <a:pt x="21" y="50"/>
                  </a:cubicBezTo>
                  <a:cubicBezTo>
                    <a:pt x="8" y="46"/>
                    <a:pt x="1" y="37"/>
                    <a:pt x="2" y="25"/>
                  </a:cubicBezTo>
                  <a:cubicBezTo>
                    <a:pt x="2" y="19"/>
                    <a:pt x="4" y="0"/>
                    <a:pt x="35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56" y="0"/>
                    <a:pt x="66" y="15"/>
                    <a:pt x="68" y="22"/>
                  </a:cubicBezTo>
                  <a:cubicBezTo>
                    <a:pt x="69" y="25"/>
                    <a:pt x="67" y="28"/>
                    <a:pt x="64" y="29"/>
                  </a:cubicBezTo>
                  <a:cubicBezTo>
                    <a:pt x="61" y="30"/>
                    <a:pt x="58" y="28"/>
                    <a:pt x="57" y="25"/>
                  </a:cubicBezTo>
                  <a:cubicBezTo>
                    <a:pt x="57" y="25"/>
                    <a:pt x="53" y="11"/>
                    <a:pt x="35" y="11"/>
                  </a:cubicBezTo>
                  <a:cubicBezTo>
                    <a:pt x="25" y="11"/>
                    <a:pt x="13" y="13"/>
                    <a:pt x="13" y="25"/>
                  </a:cubicBezTo>
                  <a:cubicBezTo>
                    <a:pt x="12" y="30"/>
                    <a:pt x="14" y="36"/>
                    <a:pt x="24" y="39"/>
                  </a:cubicBezTo>
                  <a:cubicBezTo>
                    <a:pt x="36" y="43"/>
                    <a:pt x="48" y="46"/>
                    <a:pt x="48" y="46"/>
                  </a:cubicBezTo>
                  <a:cubicBezTo>
                    <a:pt x="49" y="46"/>
                    <a:pt x="66" y="52"/>
                    <a:pt x="68" y="70"/>
                  </a:cubicBezTo>
                  <a:cubicBezTo>
                    <a:pt x="69" y="86"/>
                    <a:pt x="59" y="94"/>
                    <a:pt x="54" y="96"/>
                  </a:cubicBezTo>
                  <a:cubicBezTo>
                    <a:pt x="49" y="99"/>
                    <a:pt x="42" y="101"/>
                    <a:pt x="34" y="10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8" name="Freeform 1610">
              <a:extLst>
                <a:ext uri="{FF2B5EF4-FFF2-40B4-BE49-F238E27FC236}">
                  <a16:creationId xmlns:a16="http://schemas.microsoft.com/office/drawing/2014/main" id="{A5E5D34F-9513-C7C3-24AA-65001662CC00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09950" y="3431555"/>
              <a:ext cx="11113" cy="30163"/>
            </a:xfrm>
            <a:custGeom>
              <a:avLst/>
              <a:gdLst>
                <a:gd name="T0" fmla="*/ 5 w 11"/>
                <a:gd name="T1" fmla="*/ 30 h 30"/>
                <a:gd name="T2" fmla="*/ 0 w 11"/>
                <a:gd name="T3" fmla="*/ 24 h 30"/>
                <a:gd name="T4" fmla="*/ 0 w 11"/>
                <a:gd name="T5" fmla="*/ 5 h 30"/>
                <a:gd name="T6" fmla="*/ 5 w 11"/>
                <a:gd name="T7" fmla="*/ 0 h 30"/>
                <a:gd name="T8" fmla="*/ 11 w 11"/>
                <a:gd name="T9" fmla="*/ 5 h 30"/>
                <a:gd name="T10" fmla="*/ 11 w 11"/>
                <a:gd name="T11" fmla="*/ 24 h 30"/>
                <a:gd name="T12" fmla="*/ 5 w 11"/>
                <a:gd name="T13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30">
                  <a:moveTo>
                    <a:pt x="5" y="30"/>
                  </a:moveTo>
                  <a:cubicBezTo>
                    <a:pt x="2" y="30"/>
                    <a:pt x="0" y="27"/>
                    <a:pt x="0" y="2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" y="0"/>
                    <a:pt x="11" y="2"/>
                    <a:pt x="11" y="5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1" y="27"/>
                    <a:pt x="8" y="30"/>
                    <a:pt x="5" y="3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9" name="Freeform 1611">
              <a:extLst>
                <a:ext uri="{FF2B5EF4-FFF2-40B4-BE49-F238E27FC236}">
                  <a16:creationId xmlns:a16="http://schemas.microsoft.com/office/drawing/2014/main" id="{D6EC9677-D666-4EDB-8B93-BE22B10A7563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09950" y="3545855"/>
              <a:ext cx="11113" cy="30163"/>
            </a:xfrm>
            <a:custGeom>
              <a:avLst/>
              <a:gdLst>
                <a:gd name="T0" fmla="*/ 5 w 11"/>
                <a:gd name="T1" fmla="*/ 30 h 30"/>
                <a:gd name="T2" fmla="*/ 0 w 11"/>
                <a:gd name="T3" fmla="*/ 24 h 30"/>
                <a:gd name="T4" fmla="*/ 0 w 11"/>
                <a:gd name="T5" fmla="*/ 6 h 30"/>
                <a:gd name="T6" fmla="*/ 5 w 11"/>
                <a:gd name="T7" fmla="*/ 0 h 30"/>
                <a:gd name="T8" fmla="*/ 11 w 11"/>
                <a:gd name="T9" fmla="*/ 6 h 30"/>
                <a:gd name="T10" fmla="*/ 11 w 11"/>
                <a:gd name="T11" fmla="*/ 24 h 30"/>
                <a:gd name="T12" fmla="*/ 5 w 11"/>
                <a:gd name="T13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30">
                  <a:moveTo>
                    <a:pt x="5" y="30"/>
                  </a:moveTo>
                  <a:cubicBezTo>
                    <a:pt x="2" y="30"/>
                    <a:pt x="0" y="27"/>
                    <a:pt x="0" y="2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8" y="0"/>
                    <a:pt x="11" y="3"/>
                    <a:pt x="11" y="6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1" y="27"/>
                    <a:pt x="8" y="30"/>
                    <a:pt x="5" y="3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0" name="Freeform 1613">
              <a:extLst>
                <a:ext uri="{FF2B5EF4-FFF2-40B4-BE49-F238E27FC236}">
                  <a16:creationId xmlns:a16="http://schemas.microsoft.com/office/drawing/2014/main" id="{AE4E888B-657C-F158-C3B7-5FFCEE5C5A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535362" y="3395047"/>
              <a:ext cx="260350" cy="254000"/>
            </a:xfrm>
            <a:custGeom>
              <a:avLst/>
              <a:gdLst>
                <a:gd name="T0" fmla="*/ 40 w 251"/>
                <a:gd name="T1" fmla="*/ 244 h 244"/>
                <a:gd name="T2" fmla="*/ 35 w 251"/>
                <a:gd name="T3" fmla="*/ 243 h 244"/>
                <a:gd name="T4" fmla="*/ 27 w 251"/>
                <a:gd name="T5" fmla="*/ 231 h 244"/>
                <a:gd name="T6" fmla="*/ 27 w 251"/>
                <a:gd name="T7" fmla="*/ 207 h 244"/>
                <a:gd name="T8" fmla="*/ 0 w 251"/>
                <a:gd name="T9" fmla="*/ 175 h 244"/>
                <a:gd name="T10" fmla="*/ 0 w 251"/>
                <a:gd name="T11" fmla="*/ 32 h 244"/>
                <a:gd name="T12" fmla="*/ 33 w 251"/>
                <a:gd name="T13" fmla="*/ 0 h 244"/>
                <a:gd name="T14" fmla="*/ 219 w 251"/>
                <a:gd name="T15" fmla="*/ 0 h 244"/>
                <a:gd name="T16" fmla="*/ 251 w 251"/>
                <a:gd name="T17" fmla="*/ 32 h 244"/>
                <a:gd name="T18" fmla="*/ 251 w 251"/>
                <a:gd name="T19" fmla="*/ 175 h 244"/>
                <a:gd name="T20" fmla="*/ 219 w 251"/>
                <a:gd name="T21" fmla="*/ 208 h 244"/>
                <a:gd name="T22" fmla="*/ 83 w 251"/>
                <a:gd name="T23" fmla="*/ 208 h 244"/>
                <a:gd name="T24" fmla="*/ 49 w 251"/>
                <a:gd name="T25" fmla="*/ 240 h 244"/>
                <a:gd name="T26" fmla="*/ 40 w 251"/>
                <a:gd name="T27" fmla="*/ 244 h 244"/>
                <a:gd name="T28" fmla="*/ 33 w 251"/>
                <a:gd name="T29" fmla="*/ 11 h 244"/>
                <a:gd name="T30" fmla="*/ 11 w 251"/>
                <a:gd name="T31" fmla="*/ 32 h 244"/>
                <a:gd name="T32" fmla="*/ 11 w 251"/>
                <a:gd name="T33" fmla="*/ 175 h 244"/>
                <a:gd name="T34" fmla="*/ 33 w 251"/>
                <a:gd name="T35" fmla="*/ 197 h 244"/>
                <a:gd name="T36" fmla="*/ 38 w 251"/>
                <a:gd name="T37" fmla="*/ 202 h 244"/>
                <a:gd name="T38" fmla="*/ 38 w 251"/>
                <a:gd name="T39" fmla="*/ 231 h 244"/>
                <a:gd name="T40" fmla="*/ 39 w 251"/>
                <a:gd name="T41" fmla="*/ 233 h 244"/>
                <a:gd name="T42" fmla="*/ 41 w 251"/>
                <a:gd name="T43" fmla="*/ 232 h 244"/>
                <a:gd name="T44" fmla="*/ 77 w 251"/>
                <a:gd name="T45" fmla="*/ 198 h 244"/>
                <a:gd name="T46" fmla="*/ 81 w 251"/>
                <a:gd name="T47" fmla="*/ 197 h 244"/>
                <a:gd name="T48" fmla="*/ 219 w 251"/>
                <a:gd name="T49" fmla="*/ 197 h 244"/>
                <a:gd name="T50" fmla="*/ 240 w 251"/>
                <a:gd name="T51" fmla="*/ 175 h 244"/>
                <a:gd name="T52" fmla="*/ 240 w 251"/>
                <a:gd name="T53" fmla="*/ 32 h 244"/>
                <a:gd name="T54" fmla="*/ 219 w 251"/>
                <a:gd name="T55" fmla="*/ 11 h 244"/>
                <a:gd name="T56" fmla="*/ 33 w 251"/>
                <a:gd name="T57" fmla="*/ 11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51" h="244">
                  <a:moveTo>
                    <a:pt x="40" y="244"/>
                  </a:moveTo>
                  <a:cubicBezTo>
                    <a:pt x="38" y="244"/>
                    <a:pt x="37" y="244"/>
                    <a:pt x="35" y="243"/>
                  </a:cubicBezTo>
                  <a:cubicBezTo>
                    <a:pt x="30" y="241"/>
                    <a:pt x="27" y="236"/>
                    <a:pt x="27" y="231"/>
                  </a:cubicBezTo>
                  <a:cubicBezTo>
                    <a:pt x="27" y="207"/>
                    <a:pt x="27" y="207"/>
                    <a:pt x="27" y="207"/>
                  </a:cubicBezTo>
                  <a:cubicBezTo>
                    <a:pt x="12" y="204"/>
                    <a:pt x="0" y="191"/>
                    <a:pt x="0" y="175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15"/>
                    <a:pt x="15" y="0"/>
                    <a:pt x="33" y="0"/>
                  </a:cubicBezTo>
                  <a:cubicBezTo>
                    <a:pt x="219" y="0"/>
                    <a:pt x="219" y="0"/>
                    <a:pt x="219" y="0"/>
                  </a:cubicBezTo>
                  <a:cubicBezTo>
                    <a:pt x="236" y="0"/>
                    <a:pt x="251" y="15"/>
                    <a:pt x="251" y="32"/>
                  </a:cubicBezTo>
                  <a:cubicBezTo>
                    <a:pt x="251" y="175"/>
                    <a:pt x="251" y="175"/>
                    <a:pt x="251" y="175"/>
                  </a:cubicBezTo>
                  <a:cubicBezTo>
                    <a:pt x="251" y="193"/>
                    <a:pt x="236" y="208"/>
                    <a:pt x="219" y="208"/>
                  </a:cubicBezTo>
                  <a:cubicBezTo>
                    <a:pt x="83" y="208"/>
                    <a:pt x="83" y="208"/>
                    <a:pt x="83" y="208"/>
                  </a:cubicBezTo>
                  <a:cubicBezTo>
                    <a:pt x="49" y="240"/>
                    <a:pt x="49" y="240"/>
                    <a:pt x="49" y="240"/>
                  </a:cubicBezTo>
                  <a:cubicBezTo>
                    <a:pt x="47" y="243"/>
                    <a:pt x="43" y="244"/>
                    <a:pt x="40" y="244"/>
                  </a:cubicBezTo>
                  <a:close/>
                  <a:moveTo>
                    <a:pt x="33" y="11"/>
                  </a:moveTo>
                  <a:cubicBezTo>
                    <a:pt x="21" y="11"/>
                    <a:pt x="11" y="21"/>
                    <a:pt x="11" y="32"/>
                  </a:cubicBezTo>
                  <a:cubicBezTo>
                    <a:pt x="11" y="175"/>
                    <a:pt x="11" y="175"/>
                    <a:pt x="11" y="175"/>
                  </a:cubicBezTo>
                  <a:cubicBezTo>
                    <a:pt x="11" y="187"/>
                    <a:pt x="21" y="197"/>
                    <a:pt x="33" y="197"/>
                  </a:cubicBezTo>
                  <a:cubicBezTo>
                    <a:pt x="36" y="197"/>
                    <a:pt x="38" y="199"/>
                    <a:pt x="38" y="202"/>
                  </a:cubicBezTo>
                  <a:cubicBezTo>
                    <a:pt x="38" y="231"/>
                    <a:pt x="38" y="231"/>
                    <a:pt x="38" y="231"/>
                  </a:cubicBezTo>
                  <a:cubicBezTo>
                    <a:pt x="38" y="232"/>
                    <a:pt x="39" y="233"/>
                    <a:pt x="39" y="233"/>
                  </a:cubicBezTo>
                  <a:cubicBezTo>
                    <a:pt x="40" y="233"/>
                    <a:pt x="41" y="233"/>
                    <a:pt x="41" y="232"/>
                  </a:cubicBezTo>
                  <a:cubicBezTo>
                    <a:pt x="77" y="198"/>
                    <a:pt x="77" y="198"/>
                    <a:pt x="77" y="198"/>
                  </a:cubicBezTo>
                  <a:cubicBezTo>
                    <a:pt x="78" y="197"/>
                    <a:pt x="79" y="197"/>
                    <a:pt x="81" y="197"/>
                  </a:cubicBezTo>
                  <a:cubicBezTo>
                    <a:pt x="219" y="197"/>
                    <a:pt x="219" y="197"/>
                    <a:pt x="219" y="197"/>
                  </a:cubicBezTo>
                  <a:cubicBezTo>
                    <a:pt x="230" y="197"/>
                    <a:pt x="240" y="187"/>
                    <a:pt x="240" y="175"/>
                  </a:cubicBezTo>
                  <a:cubicBezTo>
                    <a:pt x="240" y="32"/>
                    <a:pt x="240" y="32"/>
                    <a:pt x="240" y="32"/>
                  </a:cubicBezTo>
                  <a:cubicBezTo>
                    <a:pt x="240" y="21"/>
                    <a:pt x="230" y="11"/>
                    <a:pt x="219" y="11"/>
                  </a:cubicBezTo>
                  <a:lnTo>
                    <a:pt x="33" y="1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1" name="Freeform 1614">
              <a:extLst>
                <a:ext uri="{FF2B5EF4-FFF2-40B4-BE49-F238E27FC236}">
                  <a16:creationId xmlns:a16="http://schemas.microsoft.com/office/drawing/2014/main" id="{1B1857A7-8CEE-AC0D-34E8-586795294EE2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32175" y="3441080"/>
              <a:ext cx="258763" cy="252413"/>
            </a:xfrm>
            <a:custGeom>
              <a:avLst/>
              <a:gdLst>
                <a:gd name="T0" fmla="*/ 211 w 250"/>
                <a:gd name="T1" fmla="*/ 244 h 244"/>
                <a:gd name="T2" fmla="*/ 202 w 250"/>
                <a:gd name="T3" fmla="*/ 241 h 244"/>
                <a:gd name="T4" fmla="*/ 168 w 250"/>
                <a:gd name="T5" fmla="*/ 208 h 244"/>
                <a:gd name="T6" fmla="*/ 32 w 250"/>
                <a:gd name="T7" fmla="*/ 208 h 244"/>
                <a:gd name="T8" fmla="*/ 0 w 250"/>
                <a:gd name="T9" fmla="*/ 176 h 244"/>
                <a:gd name="T10" fmla="*/ 0 w 250"/>
                <a:gd name="T11" fmla="*/ 160 h 244"/>
                <a:gd name="T12" fmla="*/ 5 w 250"/>
                <a:gd name="T13" fmla="*/ 155 h 244"/>
                <a:gd name="T14" fmla="*/ 11 w 250"/>
                <a:gd name="T15" fmla="*/ 160 h 244"/>
                <a:gd name="T16" fmla="*/ 11 w 250"/>
                <a:gd name="T17" fmla="*/ 176 h 244"/>
                <a:gd name="T18" fmla="*/ 32 w 250"/>
                <a:gd name="T19" fmla="*/ 197 h 244"/>
                <a:gd name="T20" fmla="*/ 170 w 250"/>
                <a:gd name="T21" fmla="*/ 197 h 244"/>
                <a:gd name="T22" fmla="*/ 174 w 250"/>
                <a:gd name="T23" fmla="*/ 198 h 244"/>
                <a:gd name="T24" fmla="*/ 209 w 250"/>
                <a:gd name="T25" fmla="*/ 233 h 244"/>
                <a:gd name="T26" fmla="*/ 211 w 250"/>
                <a:gd name="T27" fmla="*/ 233 h 244"/>
                <a:gd name="T28" fmla="*/ 213 w 250"/>
                <a:gd name="T29" fmla="*/ 231 h 244"/>
                <a:gd name="T30" fmla="*/ 213 w 250"/>
                <a:gd name="T31" fmla="*/ 202 h 244"/>
                <a:gd name="T32" fmla="*/ 218 w 250"/>
                <a:gd name="T33" fmla="*/ 197 h 244"/>
                <a:gd name="T34" fmla="*/ 239 w 250"/>
                <a:gd name="T35" fmla="*/ 176 h 244"/>
                <a:gd name="T36" fmla="*/ 239 w 250"/>
                <a:gd name="T37" fmla="*/ 33 h 244"/>
                <a:gd name="T38" fmla="*/ 218 w 250"/>
                <a:gd name="T39" fmla="*/ 11 h 244"/>
                <a:gd name="T40" fmla="*/ 150 w 250"/>
                <a:gd name="T41" fmla="*/ 11 h 244"/>
                <a:gd name="T42" fmla="*/ 144 w 250"/>
                <a:gd name="T43" fmla="*/ 6 h 244"/>
                <a:gd name="T44" fmla="*/ 150 w 250"/>
                <a:gd name="T45" fmla="*/ 0 h 244"/>
                <a:gd name="T46" fmla="*/ 218 w 250"/>
                <a:gd name="T47" fmla="*/ 0 h 244"/>
                <a:gd name="T48" fmla="*/ 250 w 250"/>
                <a:gd name="T49" fmla="*/ 33 h 244"/>
                <a:gd name="T50" fmla="*/ 250 w 250"/>
                <a:gd name="T51" fmla="*/ 176 h 244"/>
                <a:gd name="T52" fmla="*/ 224 w 250"/>
                <a:gd name="T53" fmla="*/ 207 h 244"/>
                <a:gd name="T54" fmla="*/ 224 w 250"/>
                <a:gd name="T55" fmla="*/ 231 h 244"/>
                <a:gd name="T56" fmla="*/ 216 w 250"/>
                <a:gd name="T57" fmla="*/ 243 h 244"/>
                <a:gd name="T58" fmla="*/ 211 w 250"/>
                <a:gd name="T59" fmla="*/ 244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50" h="244">
                  <a:moveTo>
                    <a:pt x="211" y="244"/>
                  </a:moveTo>
                  <a:cubicBezTo>
                    <a:pt x="207" y="244"/>
                    <a:pt x="204" y="243"/>
                    <a:pt x="202" y="241"/>
                  </a:cubicBezTo>
                  <a:cubicBezTo>
                    <a:pt x="168" y="208"/>
                    <a:pt x="168" y="208"/>
                    <a:pt x="168" y="208"/>
                  </a:cubicBezTo>
                  <a:cubicBezTo>
                    <a:pt x="32" y="208"/>
                    <a:pt x="32" y="208"/>
                    <a:pt x="32" y="208"/>
                  </a:cubicBezTo>
                  <a:cubicBezTo>
                    <a:pt x="14" y="208"/>
                    <a:pt x="0" y="193"/>
                    <a:pt x="0" y="176"/>
                  </a:cubicBezTo>
                  <a:cubicBezTo>
                    <a:pt x="0" y="160"/>
                    <a:pt x="0" y="160"/>
                    <a:pt x="0" y="160"/>
                  </a:cubicBezTo>
                  <a:cubicBezTo>
                    <a:pt x="0" y="157"/>
                    <a:pt x="2" y="155"/>
                    <a:pt x="5" y="155"/>
                  </a:cubicBezTo>
                  <a:cubicBezTo>
                    <a:pt x="8" y="155"/>
                    <a:pt x="11" y="157"/>
                    <a:pt x="11" y="160"/>
                  </a:cubicBezTo>
                  <a:cubicBezTo>
                    <a:pt x="11" y="176"/>
                    <a:pt x="11" y="176"/>
                    <a:pt x="11" y="176"/>
                  </a:cubicBezTo>
                  <a:cubicBezTo>
                    <a:pt x="11" y="187"/>
                    <a:pt x="20" y="197"/>
                    <a:pt x="32" y="197"/>
                  </a:cubicBezTo>
                  <a:cubicBezTo>
                    <a:pt x="170" y="197"/>
                    <a:pt x="170" y="197"/>
                    <a:pt x="170" y="197"/>
                  </a:cubicBezTo>
                  <a:cubicBezTo>
                    <a:pt x="171" y="197"/>
                    <a:pt x="173" y="197"/>
                    <a:pt x="174" y="198"/>
                  </a:cubicBezTo>
                  <a:cubicBezTo>
                    <a:pt x="209" y="233"/>
                    <a:pt x="209" y="233"/>
                    <a:pt x="209" y="233"/>
                  </a:cubicBezTo>
                  <a:cubicBezTo>
                    <a:pt x="210" y="233"/>
                    <a:pt x="211" y="233"/>
                    <a:pt x="211" y="233"/>
                  </a:cubicBezTo>
                  <a:cubicBezTo>
                    <a:pt x="212" y="233"/>
                    <a:pt x="213" y="232"/>
                    <a:pt x="213" y="231"/>
                  </a:cubicBezTo>
                  <a:cubicBezTo>
                    <a:pt x="213" y="202"/>
                    <a:pt x="213" y="202"/>
                    <a:pt x="213" y="202"/>
                  </a:cubicBezTo>
                  <a:cubicBezTo>
                    <a:pt x="213" y="199"/>
                    <a:pt x="215" y="197"/>
                    <a:pt x="218" y="197"/>
                  </a:cubicBezTo>
                  <a:cubicBezTo>
                    <a:pt x="230" y="197"/>
                    <a:pt x="239" y="187"/>
                    <a:pt x="239" y="176"/>
                  </a:cubicBezTo>
                  <a:cubicBezTo>
                    <a:pt x="239" y="33"/>
                    <a:pt x="239" y="33"/>
                    <a:pt x="239" y="33"/>
                  </a:cubicBezTo>
                  <a:cubicBezTo>
                    <a:pt x="239" y="21"/>
                    <a:pt x="230" y="11"/>
                    <a:pt x="218" y="11"/>
                  </a:cubicBezTo>
                  <a:cubicBezTo>
                    <a:pt x="150" y="11"/>
                    <a:pt x="150" y="11"/>
                    <a:pt x="150" y="11"/>
                  </a:cubicBezTo>
                  <a:cubicBezTo>
                    <a:pt x="147" y="11"/>
                    <a:pt x="144" y="9"/>
                    <a:pt x="144" y="6"/>
                  </a:cubicBezTo>
                  <a:cubicBezTo>
                    <a:pt x="144" y="3"/>
                    <a:pt x="147" y="0"/>
                    <a:pt x="150" y="0"/>
                  </a:cubicBezTo>
                  <a:cubicBezTo>
                    <a:pt x="218" y="0"/>
                    <a:pt x="218" y="0"/>
                    <a:pt x="218" y="0"/>
                  </a:cubicBezTo>
                  <a:cubicBezTo>
                    <a:pt x="236" y="0"/>
                    <a:pt x="250" y="15"/>
                    <a:pt x="250" y="33"/>
                  </a:cubicBezTo>
                  <a:cubicBezTo>
                    <a:pt x="250" y="176"/>
                    <a:pt x="250" y="176"/>
                    <a:pt x="250" y="176"/>
                  </a:cubicBezTo>
                  <a:cubicBezTo>
                    <a:pt x="250" y="191"/>
                    <a:pt x="239" y="205"/>
                    <a:pt x="224" y="207"/>
                  </a:cubicBezTo>
                  <a:cubicBezTo>
                    <a:pt x="224" y="231"/>
                    <a:pt x="224" y="231"/>
                    <a:pt x="224" y="231"/>
                  </a:cubicBezTo>
                  <a:cubicBezTo>
                    <a:pt x="224" y="237"/>
                    <a:pt x="221" y="241"/>
                    <a:pt x="216" y="243"/>
                  </a:cubicBezTo>
                  <a:cubicBezTo>
                    <a:pt x="214" y="244"/>
                    <a:pt x="212" y="244"/>
                    <a:pt x="211" y="24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2" name="Shape61_20200717_142846">
            <a:extLst>
              <a:ext uri="{FF2B5EF4-FFF2-40B4-BE49-F238E27FC236}">
                <a16:creationId xmlns:a16="http://schemas.microsoft.com/office/drawing/2014/main" id="{5E37F198-47AB-0BF5-08B3-225F3E596737}"/>
              </a:ext>
            </a:extLst>
          </p:cNvPr>
          <p:cNvGrpSpPr>
            <a:grpSpLocks noChangeAspect="1"/>
          </p:cNvGrpSpPr>
          <p:nvPr/>
        </p:nvGrpSpPr>
        <p:grpSpPr>
          <a:xfrm>
            <a:off x="1965834" y="5148765"/>
            <a:ext cx="426994" cy="582911"/>
            <a:chOff x="173037" y="2130425"/>
            <a:chExt cx="282575" cy="385756"/>
          </a:xfrm>
          <a:solidFill>
            <a:schemeClr val="accent1"/>
          </a:solidFill>
        </p:grpSpPr>
        <p:sp>
          <p:nvSpPr>
            <p:cNvPr id="43" name="Freeform 408">
              <a:extLst>
                <a:ext uri="{FF2B5EF4-FFF2-40B4-BE49-F238E27FC236}">
                  <a16:creationId xmlns:a16="http://schemas.microsoft.com/office/drawing/2014/main" id="{DC1B7DCA-7365-C8FB-28F7-DC2A4355B0A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225" y="2325682"/>
              <a:ext cx="74613" cy="107949"/>
            </a:xfrm>
            <a:custGeom>
              <a:avLst/>
              <a:gdLst>
                <a:gd name="T0" fmla="*/ 16 w 33"/>
                <a:gd name="T1" fmla="*/ 48 h 48"/>
                <a:gd name="T2" fmla="*/ 1 w 33"/>
                <a:gd name="T3" fmla="*/ 41 h 48"/>
                <a:gd name="T4" fmla="*/ 1 w 33"/>
                <a:gd name="T5" fmla="*/ 37 h 48"/>
                <a:gd name="T6" fmla="*/ 5 w 33"/>
                <a:gd name="T7" fmla="*/ 38 h 48"/>
                <a:gd name="T8" fmla="*/ 23 w 33"/>
                <a:gd name="T9" fmla="*/ 42 h 48"/>
                <a:gd name="T10" fmla="*/ 23 w 33"/>
                <a:gd name="T11" fmla="*/ 42 h 48"/>
                <a:gd name="T12" fmla="*/ 27 w 33"/>
                <a:gd name="T13" fmla="*/ 34 h 48"/>
                <a:gd name="T14" fmla="*/ 21 w 33"/>
                <a:gd name="T15" fmla="*/ 27 h 48"/>
                <a:gd name="T16" fmla="*/ 10 w 33"/>
                <a:gd name="T17" fmla="*/ 24 h 48"/>
                <a:gd name="T18" fmla="*/ 1 w 33"/>
                <a:gd name="T19" fmla="*/ 12 h 48"/>
                <a:gd name="T20" fmla="*/ 4 w 33"/>
                <a:gd name="T21" fmla="*/ 4 h 48"/>
                <a:gd name="T22" fmla="*/ 17 w 33"/>
                <a:gd name="T23" fmla="*/ 0 h 48"/>
                <a:gd name="T24" fmla="*/ 32 w 33"/>
                <a:gd name="T25" fmla="*/ 11 h 48"/>
                <a:gd name="T26" fmla="*/ 31 w 33"/>
                <a:gd name="T27" fmla="*/ 14 h 48"/>
                <a:gd name="T28" fmla="*/ 27 w 33"/>
                <a:gd name="T29" fmla="*/ 12 h 48"/>
                <a:gd name="T30" fmla="*/ 17 w 33"/>
                <a:gd name="T31" fmla="*/ 5 h 48"/>
                <a:gd name="T32" fmla="*/ 8 w 33"/>
                <a:gd name="T33" fmla="*/ 7 h 48"/>
                <a:gd name="T34" fmla="*/ 6 w 33"/>
                <a:gd name="T35" fmla="*/ 12 h 48"/>
                <a:gd name="T36" fmla="*/ 11 w 33"/>
                <a:gd name="T37" fmla="*/ 19 h 48"/>
                <a:gd name="T38" fmla="*/ 23 w 33"/>
                <a:gd name="T39" fmla="*/ 22 h 48"/>
                <a:gd name="T40" fmla="*/ 32 w 33"/>
                <a:gd name="T41" fmla="*/ 34 h 48"/>
                <a:gd name="T42" fmla="*/ 25 w 33"/>
                <a:gd name="T43" fmla="*/ 46 h 48"/>
                <a:gd name="T44" fmla="*/ 16 w 33"/>
                <a:gd name="T45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3" h="48">
                  <a:moveTo>
                    <a:pt x="16" y="48"/>
                  </a:moveTo>
                  <a:cubicBezTo>
                    <a:pt x="11" y="48"/>
                    <a:pt x="5" y="46"/>
                    <a:pt x="1" y="41"/>
                  </a:cubicBezTo>
                  <a:cubicBezTo>
                    <a:pt x="0" y="40"/>
                    <a:pt x="0" y="38"/>
                    <a:pt x="1" y="37"/>
                  </a:cubicBezTo>
                  <a:cubicBezTo>
                    <a:pt x="2" y="36"/>
                    <a:pt x="4" y="37"/>
                    <a:pt x="5" y="38"/>
                  </a:cubicBezTo>
                  <a:cubicBezTo>
                    <a:pt x="12" y="47"/>
                    <a:pt x="23" y="42"/>
                    <a:pt x="23" y="42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24" y="41"/>
                    <a:pt x="28" y="40"/>
                    <a:pt x="27" y="34"/>
                  </a:cubicBezTo>
                  <a:cubicBezTo>
                    <a:pt x="27" y="29"/>
                    <a:pt x="22" y="27"/>
                    <a:pt x="21" y="27"/>
                  </a:cubicBezTo>
                  <a:cubicBezTo>
                    <a:pt x="21" y="27"/>
                    <a:pt x="16" y="25"/>
                    <a:pt x="10" y="24"/>
                  </a:cubicBezTo>
                  <a:cubicBezTo>
                    <a:pt x="4" y="22"/>
                    <a:pt x="1" y="18"/>
                    <a:pt x="1" y="12"/>
                  </a:cubicBezTo>
                  <a:cubicBezTo>
                    <a:pt x="1" y="9"/>
                    <a:pt x="2" y="6"/>
                    <a:pt x="4" y="4"/>
                  </a:cubicBezTo>
                  <a:cubicBezTo>
                    <a:pt x="7" y="1"/>
                    <a:pt x="11" y="0"/>
                    <a:pt x="17" y="0"/>
                  </a:cubicBezTo>
                  <a:cubicBezTo>
                    <a:pt x="27" y="0"/>
                    <a:pt x="31" y="7"/>
                    <a:pt x="32" y="11"/>
                  </a:cubicBezTo>
                  <a:cubicBezTo>
                    <a:pt x="33" y="12"/>
                    <a:pt x="32" y="13"/>
                    <a:pt x="31" y="14"/>
                  </a:cubicBezTo>
                  <a:cubicBezTo>
                    <a:pt x="29" y="14"/>
                    <a:pt x="28" y="13"/>
                    <a:pt x="27" y="12"/>
                  </a:cubicBezTo>
                  <a:cubicBezTo>
                    <a:pt x="27" y="12"/>
                    <a:pt x="25" y="5"/>
                    <a:pt x="17" y="5"/>
                  </a:cubicBezTo>
                  <a:cubicBezTo>
                    <a:pt x="13" y="5"/>
                    <a:pt x="9" y="6"/>
                    <a:pt x="8" y="7"/>
                  </a:cubicBezTo>
                  <a:cubicBezTo>
                    <a:pt x="6" y="8"/>
                    <a:pt x="6" y="10"/>
                    <a:pt x="6" y="12"/>
                  </a:cubicBezTo>
                  <a:cubicBezTo>
                    <a:pt x="6" y="16"/>
                    <a:pt x="7" y="18"/>
                    <a:pt x="11" y="19"/>
                  </a:cubicBezTo>
                  <a:cubicBezTo>
                    <a:pt x="17" y="21"/>
                    <a:pt x="23" y="22"/>
                    <a:pt x="23" y="22"/>
                  </a:cubicBezTo>
                  <a:cubicBezTo>
                    <a:pt x="23" y="22"/>
                    <a:pt x="31" y="25"/>
                    <a:pt x="32" y="34"/>
                  </a:cubicBezTo>
                  <a:cubicBezTo>
                    <a:pt x="33" y="41"/>
                    <a:pt x="28" y="45"/>
                    <a:pt x="25" y="46"/>
                  </a:cubicBezTo>
                  <a:cubicBezTo>
                    <a:pt x="23" y="47"/>
                    <a:pt x="20" y="48"/>
                    <a:pt x="16" y="4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4" name="Freeform 409">
              <a:extLst>
                <a:ext uri="{FF2B5EF4-FFF2-40B4-BE49-F238E27FC236}">
                  <a16:creationId xmlns:a16="http://schemas.microsoft.com/office/drawing/2014/main" id="{834E427D-A957-B11E-77A7-F088D6C844B9}"/>
                </a:ext>
              </a:extLst>
            </p:cNvPr>
            <p:cNvSpPr>
              <a:spLocks/>
            </p:cNvSpPr>
            <p:nvPr/>
          </p:nvSpPr>
          <p:spPr bwMode="auto">
            <a:xfrm>
              <a:off x="307975" y="2305044"/>
              <a:ext cx="11113" cy="31750"/>
            </a:xfrm>
            <a:custGeom>
              <a:avLst/>
              <a:gdLst>
                <a:gd name="T0" fmla="*/ 3 w 5"/>
                <a:gd name="T1" fmla="*/ 14 h 14"/>
                <a:gd name="T2" fmla="*/ 0 w 5"/>
                <a:gd name="T3" fmla="*/ 12 h 14"/>
                <a:gd name="T4" fmla="*/ 0 w 5"/>
                <a:gd name="T5" fmla="*/ 2 h 14"/>
                <a:gd name="T6" fmla="*/ 3 w 5"/>
                <a:gd name="T7" fmla="*/ 0 h 14"/>
                <a:gd name="T8" fmla="*/ 5 w 5"/>
                <a:gd name="T9" fmla="*/ 2 h 14"/>
                <a:gd name="T10" fmla="*/ 5 w 5"/>
                <a:gd name="T11" fmla="*/ 12 h 14"/>
                <a:gd name="T12" fmla="*/ 3 w 5"/>
                <a:gd name="T13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14">
                  <a:moveTo>
                    <a:pt x="3" y="14"/>
                  </a:moveTo>
                  <a:cubicBezTo>
                    <a:pt x="1" y="14"/>
                    <a:pt x="0" y="13"/>
                    <a:pt x="0" y="1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5" y="1"/>
                    <a:pt x="5" y="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5" y="13"/>
                    <a:pt x="4" y="14"/>
                    <a:pt x="3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5" name="Freeform 410">
              <a:extLst>
                <a:ext uri="{FF2B5EF4-FFF2-40B4-BE49-F238E27FC236}">
                  <a16:creationId xmlns:a16="http://schemas.microsoft.com/office/drawing/2014/main" id="{DB85106D-37A7-38D3-15D7-8490BA970E5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7975" y="2425693"/>
              <a:ext cx="11113" cy="31750"/>
            </a:xfrm>
            <a:custGeom>
              <a:avLst/>
              <a:gdLst>
                <a:gd name="T0" fmla="*/ 3 w 5"/>
                <a:gd name="T1" fmla="*/ 14 h 14"/>
                <a:gd name="T2" fmla="*/ 0 w 5"/>
                <a:gd name="T3" fmla="*/ 11 h 14"/>
                <a:gd name="T4" fmla="*/ 0 w 5"/>
                <a:gd name="T5" fmla="*/ 2 h 14"/>
                <a:gd name="T6" fmla="*/ 3 w 5"/>
                <a:gd name="T7" fmla="*/ 0 h 14"/>
                <a:gd name="T8" fmla="*/ 5 w 5"/>
                <a:gd name="T9" fmla="*/ 2 h 14"/>
                <a:gd name="T10" fmla="*/ 5 w 5"/>
                <a:gd name="T11" fmla="*/ 11 h 14"/>
                <a:gd name="T12" fmla="*/ 3 w 5"/>
                <a:gd name="T13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14">
                  <a:moveTo>
                    <a:pt x="3" y="14"/>
                  </a:moveTo>
                  <a:cubicBezTo>
                    <a:pt x="1" y="14"/>
                    <a:pt x="0" y="13"/>
                    <a:pt x="0" y="1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5" y="1"/>
                    <a:pt x="5" y="2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13"/>
                    <a:pt x="4" y="14"/>
                    <a:pt x="3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6" name="Freeform 411">
              <a:extLst>
                <a:ext uri="{FF2B5EF4-FFF2-40B4-BE49-F238E27FC236}">
                  <a16:creationId xmlns:a16="http://schemas.microsoft.com/office/drawing/2014/main" id="{C90DAAF4-7DD7-1EB7-99AC-B702534A9B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3037" y="2244719"/>
              <a:ext cx="282575" cy="271462"/>
            </a:xfrm>
            <a:custGeom>
              <a:avLst/>
              <a:gdLst>
                <a:gd name="T0" fmla="*/ 62 w 125"/>
                <a:gd name="T1" fmla="*/ 120 h 120"/>
                <a:gd name="T2" fmla="*/ 0 w 125"/>
                <a:gd name="T3" fmla="*/ 84 h 120"/>
                <a:gd name="T4" fmla="*/ 42 w 125"/>
                <a:gd name="T5" fmla="*/ 0 h 120"/>
                <a:gd name="T6" fmla="*/ 44 w 125"/>
                <a:gd name="T7" fmla="*/ 0 h 120"/>
                <a:gd name="T8" fmla="*/ 81 w 125"/>
                <a:gd name="T9" fmla="*/ 0 h 120"/>
                <a:gd name="T10" fmla="*/ 82 w 125"/>
                <a:gd name="T11" fmla="*/ 0 h 120"/>
                <a:gd name="T12" fmla="*/ 125 w 125"/>
                <a:gd name="T13" fmla="*/ 84 h 120"/>
                <a:gd name="T14" fmla="*/ 62 w 125"/>
                <a:gd name="T15" fmla="*/ 120 h 120"/>
                <a:gd name="T16" fmla="*/ 44 w 125"/>
                <a:gd name="T17" fmla="*/ 5 h 120"/>
                <a:gd name="T18" fmla="*/ 5 w 125"/>
                <a:gd name="T19" fmla="*/ 84 h 120"/>
                <a:gd name="T20" fmla="*/ 62 w 125"/>
                <a:gd name="T21" fmla="*/ 115 h 120"/>
                <a:gd name="T22" fmla="*/ 120 w 125"/>
                <a:gd name="T23" fmla="*/ 84 h 120"/>
                <a:gd name="T24" fmla="*/ 80 w 125"/>
                <a:gd name="T25" fmla="*/ 5 h 120"/>
                <a:gd name="T26" fmla="*/ 44 w 125"/>
                <a:gd name="T27" fmla="*/ 5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5" h="120">
                  <a:moveTo>
                    <a:pt x="62" y="120"/>
                  </a:moveTo>
                  <a:cubicBezTo>
                    <a:pt x="30" y="120"/>
                    <a:pt x="0" y="120"/>
                    <a:pt x="0" y="84"/>
                  </a:cubicBezTo>
                  <a:cubicBezTo>
                    <a:pt x="0" y="57"/>
                    <a:pt x="17" y="16"/>
                    <a:pt x="42" y="0"/>
                  </a:cubicBezTo>
                  <a:cubicBezTo>
                    <a:pt x="43" y="0"/>
                    <a:pt x="43" y="0"/>
                    <a:pt x="44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108" y="16"/>
                    <a:pt x="125" y="57"/>
                    <a:pt x="125" y="84"/>
                  </a:cubicBezTo>
                  <a:cubicBezTo>
                    <a:pt x="125" y="120"/>
                    <a:pt x="95" y="120"/>
                    <a:pt x="62" y="120"/>
                  </a:cubicBezTo>
                  <a:close/>
                  <a:moveTo>
                    <a:pt x="44" y="5"/>
                  </a:moveTo>
                  <a:cubicBezTo>
                    <a:pt x="21" y="19"/>
                    <a:pt x="5" y="58"/>
                    <a:pt x="5" y="84"/>
                  </a:cubicBezTo>
                  <a:cubicBezTo>
                    <a:pt x="5" y="113"/>
                    <a:pt x="27" y="115"/>
                    <a:pt x="62" y="115"/>
                  </a:cubicBezTo>
                  <a:cubicBezTo>
                    <a:pt x="98" y="115"/>
                    <a:pt x="120" y="113"/>
                    <a:pt x="120" y="84"/>
                  </a:cubicBezTo>
                  <a:cubicBezTo>
                    <a:pt x="120" y="58"/>
                    <a:pt x="103" y="19"/>
                    <a:pt x="80" y="5"/>
                  </a:cubicBezTo>
                  <a:lnTo>
                    <a:pt x="44" y="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7" name="Freeform 412">
              <a:extLst>
                <a:ext uri="{FF2B5EF4-FFF2-40B4-BE49-F238E27FC236}">
                  <a16:creationId xmlns:a16="http://schemas.microsoft.com/office/drawing/2014/main" id="{6792E54E-106C-84CC-7591-F29CBF2F71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7650" y="2209798"/>
              <a:ext cx="133350" cy="46038"/>
            </a:xfrm>
            <a:custGeom>
              <a:avLst/>
              <a:gdLst>
                <a:gd name="T0" fmla="*/ 51 w 59"/>
                <a:gd name="T1" fmla="*/ 20 h 20"/>
                <a:gd name="T2" fmla="*/ 8 w 59"/>
                <a:gd name="T3" fmla="*/ 20 h 20"/>
                <a:gd name="T4" fmla="*/ 0 w 59"/>
                <a:gd name="T5" fmla="*/ 12 h 20"/>
                <a:gd name="T6" fmla="*/ 0 w 59"/>
                <a:gd name="T7" fmla="*/ 8 h 20"/>
                <a:gd name="T8" fmla="*/ 8 w 59"/>
                <a:gd name="T9" fmla="*/ 0 h 20"/>
                <a:gd name="T10" fmla="*/ 51 w 59"/>
                <a:gd name="T11" fmla="*/ 0 h 20"/>
                <a:gd name="T12" fmla="*/ 59 w 59"/>
                <a:gd name="T13" fmla="*/ 8 h 20"/>
                <a:gd name="T14" fmla="*/ 59 w 59"/>
                <a:gd name="T15" fmla="*/ 12 h 20"/>
                <a:gd name="T16" fmla="*/ 51 w 59"/>
                <a:gd name="T17" fmla="*/ 20 h 20"/>
                <a:gd name="T18" fmla="*/ 8 w 59"/>
                <a:gd name="T19" fmla="*/ 4 h 20"/>
                <a:gd name="T20" fmla="*/ 5 w 59"/>
                <a:gd name="T21" fmla="*/ 8 h 20"/>
                <a:gd name="T22" fmla="*/ 5 w 59"/>
                <a:gd name="T23" fmla="*/ 12 h 20"/>
                <a:gd name="T24" fmla="*/ 8 w 59"/>
                <a:gd name="T25" fmla="*/ 15 h 20"/>
                <a:gd name="T26" fmla="*/ 51 w 59"/>
                <a:gd name="T27" fmla="*/ 15 h 20"/>
                <a:gd name="T28" fmla="*/ 54 w 59"/>
                <a:gd name="T29" fmla="*/ 12 h 20"/>
                <a:gd name="T30" fmla="*/ 54 w 59"/>
                <a:gd name="T31" fmla="*/ 8 h 20"/>
                <a:gd name="T32" fmla="*/ 51 w 59"/>
                <a:gd name="T33" fmla="*/ 4 h 20"/>
                <a:gd name="T34" fmla="*/ 8 w 59"/>
                <a:gd name="T35" fmla="*/ 4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9" h="20">
                  <a:moveTo>
                    <a:pt x="51" y="20"/>
                  </a:moveTo>
                  <a:cubicBezTo>
                    <a:pt x="8" y="20"/>
                    <a:pt x="8" y="20"/>
                    <a:pt x="8" y="20"/>
                  </a:cubicBezTo>
                  <a:cubicBezTo>
                    <a:pt x="3" y="20"/>
                    <a:pt x="0" y="16"/>
                    <a:pt x="0" y="12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3"/>
                    <a:pt x="3" y="0"/>
                    <a:pt x="8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5" y="0"/>
                    <a:pt x="59" y="3"/>
                    <a:pt x="59" y="8"/>
                  </a:cubicBezTo>
                  <a:cubicBezTo>
                    <a:pt x="59" y="12"/>
                    <a:pt x="59" y="12"/>
                    <a:pt x="59" y="12"/>
                  </a:cubicBezTo>
                  <a:cubicBezTo>
                    <a:pt x="59" y="16"/>
                    <a:pt x="55" y="20"/>
                    <a:pt x="51" y="20"/>
                  </a:cubicBezTo>
                  <a:close/>
                  <a:moveTo>
                    <a:pt x="8" y="4"/>
                  </a:moveTo>
                  <a:cubicBezTo>
                    <a:pt x="6" y="4"/>
                    <a:pt x="5" y="6"/>
                    <a:pt x="5" y="8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5" y="14"/>
                    <a:pt x="6" y="15"/>
                    <a:pt x="8" y="15"/>
                  </a:cubicBezTo>
                  <a:cubicBezTo>
                    <a:pt x="51" y="15"/>
                    <a:pt x="51" y="15"/>
                    <a:pt x="51" y="15"/>
                  </a:cubicBezTo>
                  <a:cubicBezTo>
                    <a:pt x="53" y="15"/>
                    <a:pt x="54" y="14"/>
                    <a:pt x="54" y="12"/>
                  </a:cubicBezTo>
                  <a:cubicBezTo>
                    <a:pt x="54" y="8"/>
                    <a:pt x="54" y="8"/>
                    <a:pt x="54" y="8"/>
                  </a:cubicBezTo>
                  <a:cubicBezTo>
                    <a:pt x="54" y="6"/>
                    <a:pt x="53" y="4"/>
                    <a:pt x="51" y="4"/>
                  </a:cubicBezTo>
                  <a:lnTo>
                    <a:pt x="8" y="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8" name="Freeform 413">
              <a:extLst>
                <a:ext uri="{FF2B5EF4-FFF2-40B4-BE49-F238E27FC236}">
                  <a16:creationId xmlns:a16="http://schemas.microsoft.com/office/drawing/2014/main" id="{5A20F968-F47A-C935-F39E-C2BE9353655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950" y="2130425"/>
              <a:ext cx="161925" cy="90488"/>
            </a:xfrm>
            <a:custGeom>
              <a:avLst/>
              <a:gdLst>
                <a:gd name="T0" fmla="*/ 53 w 72"/>
                <a:gd name="T1" fmla="*/ 39 h 40"/>
                <a:gd name="T2" fmla="*/ 52 w 72"/>
                <a:gd name="T3" fmla="*/ 39 h 40"/>
                <a:gd name="T4" fmla="*/ 51 w 72"/>
                <a:gd name="T5" fmla="*/ 36 h 40"/>
                <a:gd name="T6" fmla="*/ 65 w 72"/>
                <a:gd name="T7" fmla="*/ 13 h 40"/>
                <a:gd name="T8" fmla="*/ 66 w 72"/>
                <a:gd name="T9" fmla="*/ 10 h 40"/>
                <a:gd name="T10" fmla="*/ 33 w 72"/>
                <a:gd name="T11" fmla="*/ 13 h 40"/>
                <a:gd name="T12" fmla="*/ 17 w 72"/>
                <a:gd name="T13" fmla="*/ 11 h 40"/>
                <a:gd name="T14" fmla="*/ 7 w 72"/>
                <a:gd name="T15" fmla="*/ 8 h 40"/>
                <a:gd name="T16" fmla="*/ 7 w 72"/>
                <a:gd name="T17" fmla="*/ 8 h 40"/>
                <a:gd name="T18" fmla="*/ 24 w 72"/>
                <a:gd name="T19" fmla="*/ 35 h 40"/>
                <a:gd name="T20" fmla="*/ 24 w 72"/>
                <a:gd name="T21" fmla="*/ 39 h 40"/>
                <a:gd name="T22" fmla="*/ 20 w 72"/>
                <a:gd name="T23" fmla="*/ 39 h 40"/>
                <a:gd name="T24" fmla="*/ 3 w 72"/>
                <a:gd name="T25" fmla="*/ 7 h 40"/>
                <a:gd name="T26" fmla="*/ 7 w 72"/>
                <a:gd name="T27" fmla="*/ 3 h 40"/>
                <a:gd name="T28" fmla="*/ 19 w 72"/>
                <a:gd name="T29" fmla="*/ 7 h 40"/>
                <a:gd name="T30" fmla="*/ 31 w 72"/>
                <a:gd name="T31" fmla="*/ 9 h 40"/>
                <a:gd name="T32" fmla="*/ 70 w 72"/>
                <a:gd name="T33" fmla="*/ 7 h 40"/>
                <a:gd name="T34" fmla="*/ 69 w 72"/>
                <a:gd name="T35" fmla="*/ 16 h 40"/>
                <a:gd name="T36" fmla="*/ 55 w 72"/>
                <a:gd name="T37" fmla="*/ 38 h 40"/>
                <a:gd name="T38" fmla="*/ 53 w 72"/>
                <a:gd name="T39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2" h="40">
                  <a:moveTo>
                    <a:pt x="53" y="39"/>
                  </a:moveTo>
                  <a:cubicBezTo>
                    <a:pt x="52" y="39"/>
                    <a:pt x="52" y="39"/>
                    <a:pt x="52" y="39"/>
                  </a:cubicBezTo>
                  <a:cubicBezTo>
                    <a:pt x="50" y="38"/>
                    <a:pt x="50" y="37"/>
                    <a:pt x="51" y="36"/>
                  </a:cubicBezTo>
                  <a:cubicBezTo>
                    <a:pt x="51" y="35"/>
                    <a:pt x="55" y="27"/>
                    <a:pt x="65" y="13"/>
                  </a:cubicBezTo>
                  <a:cubicBezTo>
                    <a:pt x="66" y="12"/>
                    <a:pt x="66" y="11"/>
                    <a:pt x="66" y="10"/>
                  </a:cubicBezTo>
                  <a:cubicBezTo>
                    <a:pt x="63" y="7"/>
                    <a:pt x="42" y="9"/>
                    <a:pt x="33" y="13"/>
                  </a:cubicBezTo>
                  <a:cubicBezTo>
                    <a:pt x="26" y="16"/>
                    <a:pt x="21" y="14"/>
                    <a:pt x="17" y="11"/>
                  </a:cubicBezTo>
                  <a:cubicBezTo>
                    <a:pt x="14" y="9"/>
                    <a:pt x="11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11"/>
                    <a:pt x="14" y="24"/>
                    <a:pt x="24" y="35"/>
                  </a:cubicBezTo>
                  <a:cubicBezTo>
                    <a:pt x="25" y="36"/>
                    <a:pt x="25" y="38"/>
                    <a:pt x="24" y="39"/>
                  </a:cubicBezTo>
                  <a:cubicBezTo>
                    <a:pt x="23" y="40"/>
                    <a:pt x="21" y="40"/>
                    <a:pt x="20" y="39"/>
                  </a:cubicBezTo>
                  <a:cubicBezTo>
                    <a:pt x="14" y="31"/>
                    <a:pt x="0" y="13"/>
                    <a:pt x="3" y="7"/>
                  </a:cubicBezTo>
                  <a:cubicBezTo>
                    <a:pt x="3" y="5"/>
                    <a:pt x="5" y="4"/>
                    <a:pt x="7" y="3"/>
                  </a:cubicBezTo>
                  <a:cubicBezTo>
                    <a:pt x="12" y="3"/>
                    <a:pt x="16" y="5"/>
                    <a:pt x="19" y="7"/>
                  </a:cubicBezTo>
                  <a:cubicBezTo>
                    <a:pt x="23" y="9"/>
                    <a:pt x="26" y="11"/>
                    <a:pt x="31" y="9"/>
                  </a:cubicBezTo>
                  <a:cubicBezTo>
                    <a:pt x="38" y="6"/>
                    <a:pt x="64" y="0"/>
                    <a:pt x="70" y="7"/>
                  </a:cubicBezTo>
                  <a:cubicBezTo>
                    <a:pt x="71" y="9"/>
                    <a:pt x="72" y="11"/>
                    <a:pt x="69" y="16"/>
                  </a:cubicBezTo>
                  <a:cubicBezTo>
                    <a:pt x="60" y="30"/>
                    <a:pt x="55" y="38"/>
                    <a:pt x="55" y="38"/>
                  </a:cubicBezTo>
                  <a:cubicBezTo>
                    <a:pt x="54" y="39"/>
                    <a:pt x="54" y="39"/>
                    <a:pt x="53" y="3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54" name="Shape39_20200717_142846">
            <a:extLst>
              <a:ext uri="{FF2B5EF4-FFF2-40B4-BE49-F238E27FC236}">
                <a16:creationId xmlns:a16="http://schemas.microsoft.com/office/drawing/2014/main" id="{04BA11F5-22CD-2D1A-4781-8C8632239855}"/>
              </a:ext>
            </a:extLst>
          </p:cNvPr>
          <p:cNvGrpSpPr>
            <a:grpSpLocks noChangeAspect="1"/>
          </p:cNvGrpSpPr>
          <p:nvPr/>
        </p:nvGrpSpPr>
        <p:grpSpPr>
          <a:xfrm>
            <a:off x="3216213" y="1259673"/>
            <a:ext cx="537340" cy="527748"/>
            <a:chOff x="-2795534" y="989978"/>
            <a:chExt cx="355593" cy="349250"/>
          </a:xfrm>
          <a:solidFill>
            <a:schemeClr val="accent1"/>
          </a:solidFill>
        </p:grpSpPr>
        <p:sp>
          <p:nvSpPr>
            <p:cNvPr id="55" name="Freeform 1382">
              <a:extLst>
                <a:ext uri="{FF2B5EF4-FFF2-40B4-BE49-F238E27FC236}">
                  <a16:creationId xmlns:a16="http://schemas.microsoft.com/office/drawing/2014/main" id="{3FC22954-0DE5-706E-E78D-058D7FAC4E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651072" y="989978"/>
              <a:ext cx="66674" cy="65088"/>
            </a:xfrm>
            <a:custGeom>
              <a:avLst/>
              <a:gdLst>
                <a:gd name="T0" fmla="*/ 32 w 63"/>
                <a:gd name="T1" fmla="*/ 63 h 63"/>
                <a:gd name="T2" fmla="*/ 0 w 63"/>
                <a:gd name="T3" fmla="*/ 32 h 63"/>
                <a:gd name="T4" fmla="*/ 32 w 63"/>
                <a:gd name="T5" fmla="*/ 0 h 63"/>
                <a:gd name="T6" fmla="*/ 63 w 63"/>
                <a:gd name="T7" fmla="*/ 32 h 63"/>
                <a:gd name="T8" fmla="*/ 32 w 63"/>
                <a:gd name="T9" fmla="*/ 63 h 63"/>
                <a:gd name="T10" fmla="*/ 32 w 63"/>
                <a:gd name="T11" fmla="*/ 11 h 63"/>
                <a:gd name="T12" fmla="*/ 11 w 63"/>
                <a:gd name="T13" fmla="*/ 32 h 63"/>
                <a:gd name="T14" fmla="*/ 32 w 63"/>
                <a:gd name="T15" fmla="*/ 52 h 63"/>
                <a:gd name="T16" fmla="*/ 52 w 63"/>
                <a:gd name="T17" fmla="*/ 32 h 63"/>
                <a:gd name="T18" fmla="*/ 32 w 63"/>
                <a:gd name="T19" fmla="*/ 1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3" h="63">
                  <a:moveTo>
                    <a:pt x="32" y="63"/>
                  </a:moveTo>
                  <a:cubicBezTo>
                    <a:pt x="14" y="63"/>
                    <a:pt x="0" y="49"/>
                    <a:pt x="0" y="32"/>
                  </a:cubicBezTo>
                  <a:cubicBezTo>
                    <a:pt x="0" y="14"/>
                    <a:pt x="14" y="0"/>
                    <a:pt x="32" y="0"/>
                  </a:cubicBezTo>
                  <a:cubicBezTo>
                    <a:pt x="49" y="0"/>
                    <a:pt x="63" y="14"/>
                    <a:pt x="63" y="32"/>
                  </a:cubicBezTo>
                  <a:cubicBezTo>
                    <a:pt x="63" y="49"/>
                    <a:pt x="49" y="63"/>
                    <a:pt x="32" y="63"/>
                  </a:cubicBezTo>
                  <a:close/>
                  <a:moveTo>
                    <a:pt x="32" y="11"/>
                  </a:moveTo>
                  <a:cubicBezTo>
                    <a:pt x="20" y="11"/>
                    <a:pt x="11" y="21"/>
                    <a:pt x="11" y="32"/>
                  </a:cubicBezTo>
                  <a:cubicBezTo>
                    <a:pt x="11" y="43"/>
                    <a:pt x="20" y="52"/>
                    <a:pt x="32" y="52"/>
                  </a:cubicBezTo>
                  <a:cubicBezTo>
                    <a:pt x="43" y="52"/>
                    <a:pt x="52" y="43"/>
                    <a:pt x="52" y="32"/>
                  </a:cubicBezTo>
                  <a:cubicBezTo>
                    <a:pt x="52" y="21"/>
                    <a:pt x="43" y="11"/>
                    <a:pt x="32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6" name="Freeform 1383">
              <a:extLst>
                <a:ext uri="{FF2B5EF4-FFF2-40B4-BE49-F238E27FC236}">
                  <a16:creationId xmlns:a16="http://schemas.microsoft.com/office/drawing/2014/main" id="{726E78CD-D847-522C-751C-75D7423839B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795534" y="1086815"/>
              <a:ext cx="114298" cy="252413"/>
            </a:xfrm>
            <a:custGeom>
              <a:avLst/>
              <a:gdLst>
                <a:gd name="T0" fmla="*/ 87 w 110"/>
                <a:gd name="T1" fmla="*/ 243 h 243"/>
                <a:gd name="T2" fmla="*/ 69 w 110"/>
                <a:gd name="T3" fmla="*/ 234 h 243"/>
                <a:gd name="T4" fmla="*/ 51 w 110"/>
                <a:gd name="T5" fmla="*/ 243 h 243"/>
                <a:gd name="T6" fmla="*/ 28 w 110"/>
                <a:gd name="T7" fmla="*/ 220 h 243"/>
                <a:gd name="T8" fmla="*/ 28 w 110"/>
                <a:gd name="T9" fmla="*/ 125 h 243"/>
                <a:gd name="T10" fmla="*/ 22 w 110"/>
                <a:gd name="T11" fmla="*/ 127 h 243"/>
                <a:gd name="T12" fmla="*/ 7 w 110"/>
                <a:gd name="T13" fmla="*/ 122 h 243"/>
                <a:gd name="T14" fmla="*/ 0 w 110"/>
                <a:gd name="T15" fmla="*/ 107 h 243"/>
                <a:gd name="T16" fmla="*/ 0 w 110"/>
                <a:gd name="T17" fmla="*/ 33 h 243"/>
                <a:gd name="T18" fmla="*/ 34 w 110"/>
                <a:gd name="T19" fmla="*/ 0 h 243"/>
                <a:gd name="T20" fmla="*/ 104 w 110"/>
                <a:gd name="T21" fmla="*/ 0 h 243"/>
                <a:gd name="T22" fmla="*/ 108 w 110"/>
                <a:gd name="T23" fmla="*/ 2 h 243"/>
                <a:gd name="T24" fmla="*/ 109 w 110"/>
                <a:gd name="T25" fmla="*/ 7 h 243"/>
                <a:gd name="T26" fmla="*/ 107 w 110"/>
                <a:gd name="T27" fmla="*/ 16 h 243"/>
                <a:gd name="T28" fmla="*/ 107 w 110"/>
                <a:gd name="T29" fmla="*/ 96 h 243"/>
                <a:gd name="T30" fmla="*/ 109 w 110"/>
                <a:gd name="T31" fmla="*/ 101 h 243"/>
                <a:gd name="T32" fmla="*/ 110 w 110"/>
                <a:gd name="T33" fmla="*/ 104 h 243"/>
                <a:gd name="T34" fmla="*/ 110 w 110"/>
                <a:gd name="T35" fmla="*/ 106 h 243"/>
                <a:gd name="T36" fmla="*/ 110 w 110"/>
                <a:gd name="T37" fmla="*/ 107 h 243"/>
                <a:gd name="T38" fmla="*/ 110 w 110"/>
                <a:gd name="T39" fmla="*/ 107 h 243"/>
                <a:gd name="T40" fmla="*/ 110 w 110"/>
                <a:gd name="T41" fmla="*/ 220 h 243"/>
                <a:gd name="T42" fmla="*/ 87 w 110"/>
                <a:gd name="T43" fmla="*/ 243 h 243"/>
                <a:gd name="T44" fmla="*/ 75 w 110"/>
                <a:gd name="T45" fmla="*/ 220 h 243"/>
                <a:gd name="T46" fmla="*/ 87 w 110"/>
                <a:gd name="T47" fmla="*/ 232 h 243"/>
                <a:gd name="T48" fmla="*/ 99 w 110"/>
                <a:gd name="T49" fmla="*/ 220 h 243"/>
                <a:gd name="T50" fmla="*/ 99 w 110"/>
                <a:gd name="T51" fmla="*/ 107 h 243"/>
                <a:gd name="T52" fmla="*/ 99 w 110"/>
                <a:gd name="T53" fmla="*/ 106 h 243"/>
                <a:gd name="T54" fmla="*/ 99 w 110"/>
                <a:gd name="T55" fmla="*/ 105 h 243"/>
                <a:gd name="T56" fmla="*/ 96 w 110"/>
                <a:gd name="T57" fmla="*/ 96 h 243"/>
                <a:gd name="T58" fmla="*/ 96 w 110"/>
                <a:gd name="T59" fmla="*/ 16 h 243"/>
                <a:gd name="T60" fmla="*/ 97 w 110"/>
                <a:gd name="T61" fmla="*/ 11 h 243"/>
                <a:gd name="T62" fmla="*/ 34 w 110"/>
                <a:gd name="T63" fmla="*/ 11 h 243"/>
                <a:gd name="T64" fmla="*/ 11 w 110"/>
                <a:gd name="T65" fmla="*/ 33 h 243"/>
                <a:gd name="T66" fmla="*/ 11 w 110"/>
                <a:gd name="T67" fmla="*/ 107 h 243"/>
                <a:gd name="T68" fmla="*/ 14 w 110"/>
                <a:gd name="T69" fmla="*/ 114 h 243"/>
                <a:gd name="T70" fmla="*/ 21 w 110"/>
                <a:gd name="T71" fmla="*/ 116 h 243"/>
                <a:gd name="T72" fmla="*/ 28 w 110"/>
                <a:gd name="T73" fmla="*/ 107 h 243"/>
                <a:gd name="T74" fmla="*/ 28 w 110"/>
                <a:gd name="T75" fmla="*/ 56 h 243"/>
                <a:gd name="T76" fmla="*/ 34 w 110"/>
                <a:gd name="T77" fmla="*/ 50 h 243"/>
                <a:gd name="T78" fmla="*/ 39 w 110"/>
                <a:gd name="T79" fmla="*/ 56 h 243"/>
                <a:gd name="T80" fmla="*/ 39 w 110"/>
                <a:gd name="T81" fmla="*/ 220 h 243"/>
                <a:gd name="T82" fmla="*/ 51 w 110"/>
                <a:gd name="T83" fmla="*/ 232 h 243"/>
                <a:gd name="T84" fmla="*/ 64 w 110"/>
                <a:gd name="T85" fmla="*/ 220 h 243"/>
                <a:gd name="T86" fmla="*/ 64 w 110"/>
                <a:gd name="T87" fmla="*/ 134 h 243"/>
                <a:gd name="T88" fmla="*/ 69 w 110"/>
                <a:gd name="T89" fmla="*/ 129 h 243"/>
                <a:gd name="T90" fmla="*/ 75 w 110"/>
                <a:gd name="T91" fmla="*/ 134 h 243"/>
                <a:gd name="T92" fmla="*/ 75 w 110"/>
                <a:gd name="T93" fmla="*/ 22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10" h="243">
                  <a:moveTo>
                    <a:pt x="87" y="243"/>
                  </a:moveTo>
                  <a:cubicBezTo>
                    <a:pt x="80" y="243"/>
                    <a:pt x="73" y="239"/>
                    <a:pt x="69" y="234"/>
                  </a:cubicBezTo>
                  <a:cubicBezTo>
                    <a:pt x="65" y="239"/>
                    <a:pt x="59" y="243"/>
                    <a:pt x="51" y="243"/>
                  </a:cubicBezTo>
                  <a:cubicBezTo>
                    <a:pt x="39" y="243"/>
                    <a:pt x="28" y="232"/>
                    <a:pt x="28" y="220"/>
                  </a:cubicBezTo>
                  <a:cubicBezTo>
                    <a:pt x="28" y="125"/>
                    <a:pt x="28" y="125"/>
                    <a:pt x="28" y="125"/>
                  </a:cubicBezTo>
                  <a:cubicBezTo>
                    <a:pt x="26" y="126"/>
                    <a:pt x="24" y="126"/>
                    <a:pt x="22" y="127"/>
                  </a:cubicBezTo>
                  <a:cubicBezTo>
                    <a:pt x="16" y="127"/>
                    <a:pt x="11" y="125"/>
                    <a:pt x="7" y="122"/>
                  </a:cubicBezTo>
                  <a:cubicBezTo>
                    <a:pt x="3" y="118"/>
                    <a:pt x="0" y="113"/>
                    <a:pt x="0" y="107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5"/>
                    <a:pt x="15" y="0"/>
                    <a:pt x="34" y="0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106" y="0"/>
                    <a:pt x="107" y="1"/>
                    <a:pt x="108" y="2"/>
                  </a:cubicBezTo>
                  <a:cubicBezTo>
                    <a:pt x="109" y="4"/>
                    <a:pt x="109" y="5"/>
                    <a:pt x="109" y="7"/>
                  </a:cubicBezTo>
                  <a:cubicBezTo>
                    <a:pt x="108" y="10"/>
                    <a:pt x="107" y="13"/>
                    <a:pt x="107" y="16"/>
                  </a:cubicBezTo>
                  <a:cubicBezTo>
                    <a:pt x="107" y="96"/>
                    <a:pt x="107" y="96"/>
                    <a:pt x="107" y="96"/>
                  </a:cubicBezTo>
                  <a:cubicBezTo>
                    <a:pt x="107" y="98"/>
                    <a:pt x="108" y="99"/>
                    <a:pt x="109" y="101"/>
                  </a:cubicBezTo>
                  <a:cubicBezTo>
                    <a:pt x="110" y="102"/>
                    <a:pt x="110" y="103"/>
                    <a:pt x="110" y="104"/>
                  </a:cubicBezTo>
                  <a:cubicBezTo>
                    <a:pt x="110" y="106"/>
                    <a:pt x="110" y="106"/>
                    <a:pt x="110" y="106"/>
                  </a:cubicBezTo>
                  <a:cubicBezTo>
                    <a:pt x="110" y="107"/>
                    <a:pt x="110" y="107"/>
                    <a:pt x="110" y="107"/>
                  </a:cubicBezTo>
                  <a:cubicBezTo>
                    <a:pt x="110" y="107"/>
                    <a:pt x="110" y="107"/>
                    <a:pt x="110" y="107"/>
                  </a:cubicBezTo>
                  <a:cubicBezTo>
                    <a:pt x="110" y="220"/>
                    <a:pt x="110" y="220"/>
                    <a:pt x="110" y="220"/>
                  </a:cubicBezTo>
                  <a:cubicBezTo>
                    <a:pt x="110" y="232"/>
                    <a:pt x="99" y="243"/>
                    <a:pt x="87" y="243"/>
                  </a:cubicBezTo>
                  <a:close/>
                  <a:moveTo>
                    <a:pt x="75" y="220"/>
                  </a:moveTo>
                  <a:cubicBezTo>
                    <a:pt x="75" y="226"/>
                    <a:pt x="80" y="232"/>
                    <a:pt x="87" y="232"/>
                  </a:cubicBezTo>
                  <a:cubicBezTo>
                    <a:pt x="93" y="232"/>
                    <a:pt x="99" y="226"/>
                    <a:pt x="99" y="220"/>
                  </a:cubicBezTo>
                  <a:cubicBezTo>
                    <a:pt x="99" y="107"/>
                    <a:pt x="99" y="107"/>
                    <a:pt x="99" y="107"/>
                  </a:cubicBezTo>
                  <a:cubicBezTo>
                    <a:pt x="99" y="107"/>
                    <a:pt x="99" y="106"/>
                    <a:pt x="99" y="106"/>
                  </a:cubicBezTo>
                  <a:cubicBezTo>
                    <a:pt x="99" y="106"/>
                    <a:pt x="99" y="106"/>
                    <a:pt x="99" y="105"/>
                  </a:cubicBezTo>
                  <a:cubicBezTo>
                    <a:pt x="97" y="102"/>
                    <a:pt x="96" y="99"/>
                    <a:pt x="96" y="96"/>
                  </a:cubicBezTo>
                  <a:cubicBezTo>
                    <a:pt x="96" y="16"/>
                    <a:pt x="96" y="16"/>
                    <a:pt x="96" y="16"/>
                  </a:cubicBezTo>
                  <a:cubicBezTo>
                    <a:pt x="96" y="14"/>
                    <a:pt x="97" y="12"/>
                    <a:pt x="97" y="11"/>
                  </a:cubicBezTo>
                  <a:cubicBezTo>
                    <a:pt x="34" y="11"/>
                    <a:pt x="34" y="11"/>
                    <a:pt x="34" y="11"/>
                  </a:cubicBezTo>
                  <a:cubicBezTo>
                    <a:pt x="21" y="11"/>
                    <a:pt x="11" y="21"/>
                    <a:pt x="11" y="33"/>
                  </a:cubicBezTo>
                  <a:cubicBezTo>
                    <a:pt x="11" y="107"/>
                    <a:pt x="11" y="107"/>
                    <a:pt x="11" y="107"/>
                  </a:cubicBezTo>
                  <a:cubicBezTo>
                    <a:pt x="11" y="110"/>
                    <a:pt x="12" y="112"/>
                    <a:pt x="14" y="114"/>
                  </a:cubicBezTo>
                  <a:cubicBezTo>
                    <a:pt x="16" y="115"/>
                    <a:pt x="18" y="116"/>
                    <a:pt x="21" y="116"/>
                  </a:cubicBezTo>
                  <a:cubicBezTo>
                    <a:pt x="25" y="115"/>
                    <a:pt x="28" y="111"/>
                    <a:pt x="28" y="107"/>
                  </a:cubicBezTo>
                  <a:cubicBezTo>
                    <a:pt x="28" y="56"/>
                    <a:pt x="28" y="56"/>
                    <a:pt x="28" y="56"/>
                  </a:cubicBezTo>
                  <a:cubicBezTo>
                    <a:pt x="28" y="53"/>
                    <a:pt x="31" y="50"/>
                    <a:pt x="34" y="50"/>
                  </a:cubicBezTo>
                  <a:cubicBezTo>
                    <a:pt x="37" y="50"/>
                    <a:pt x="39" y="53"/>
                    <a:pt x="39" y="56"/>
                  </a:cubicBezTo>
                  <a:cubicBezTo>
                    <a:pt x="39" y="220"/>
                    <a:pt x="39" y="220"/>
                    <a:pt x="39" y="220"/>
                  </a:cubicBezTo>
                  <a:cubicBezTo>
                    <a:pt x="39" y="226"/>
                    <a:pt x="45" y="232"/>
                    <a:pt x="51" y="232"/>
                  </a:cubicBezTo>
                  <a:cubicBezTo>
                    <a:pt x="58" y="232"/>
                    <a:pt x="64" y="226"/>
                    <a:pt x="64" y="220"/>
                  </a:cubicBezTo>
                  <a:cubicBezTo>
                    <a:pt x="64" y="134"/>
                    <a:pt x="64" y="134"/>
                    <a:pt x="64" y="134"/>
                  </a:cubicBezTo>
                  <a:cubicBezTo>
                    <a:pt x="64" y="131"/>
                    <a:pt x="66" y="129"/>
                    <a:pt x="69" y="129"/>
                  </a:cubicBezTo>
                  <a:cubicBezTo>
                    <a:pt x="72" y="129"/>
                    <a:pt x="75" y="131"/>
                    <a:pt x="75" y="134"/>
                  </a:cubicBezTo>
                  <a:lnTo>
                    <a:pt x="75" y="2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7" name="Freeform 1384">
              <a:extLst>
                <a:ext uri="{FF2B5EF4-FFF2-40B4-BE49-F238E27FC236}">
                  <a16:creationId xmlns:a16="http://schemas.microsoft.com/office/drawing/2014/main" id="{9D6C6290-01D0-8B91-BAC7-B85016269A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752673" y="1016966"/>
              <a:ext cx="60324" cy="60325"/>
            </a:xfrm>
            <a:custGeom>
              <a:avLst/>
              <a:gdLst>
                <a:gd name="T0" fmla="*/ 29 w 58"/>
                <a:gd name="T1" fmla="*/ 59 h 59"/>
                <a:gd name="T2" fmla="*/ 0 w 58"/>
                <a:gd name="T3" fmla="*/ 30 h 59"/>
                <a:gd name="T4" fmla="*/ 29 w 58"/>
                <a:gd name="T5" fmla="*/ 0 h 59"/>
                <a:gd name="T6" fmla="*/ 58 w 58"/>
                <a:gd name="T7" fmla="*/ 30 h 59"/>
                <a:gd name="T8" fmla="*/ 29 w 58"/>
                <a:gd name="T9" fmla="*/ 59 h 59"/>
                <a:gd name="T10" fmla="*/ 29 w 58"/>
                <a:gd name="T11" fmla="*/ 11 h 59"/>
                <a:gd name="T12" fmla="*/ 11 w 58"/>
                <a:gd name="T13" fmla="*/ 30 h 59"/>
                <a:gd name="T14" fmla="*/ 29 w 58"/>
                <a:gd name="T15" fmla="*/ 48 h 59"/>
                <a:gd name="T16" fmla="*/ 47 w 58"/>
                <a:gd name="T17" fmla="*/ 30 h 59"/>
                <a:gd name="T18" fmla="*/ 29 w 58"/>
                <a:gd name="T19" fmla="*/ 11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8" h="59">
                  <a:moveTo>
                    <a:pt x="29" y="59"/>
                  </a:moveTo>
                  <a:cubicBezTo>
                    <a:pt x="13" y="59"/>
                    <a:pt x="0" y="46"/>
                    <a:pt x="0" y="30"/>
                  </a:cubicBezTo>
                  <a:cubicBezTo>
                    <a:pt x="0" y="13"/>
                    <a:pt x="13" y="0"/>
                    <a:pt x="29" y="0"/>
                  </a:cubicBezTo>
                  <a:cubicBezTo>
                    <a:pt x="45" y="0"/>
                    <a:pt x="58" y="13"/>
                    <a:pt x="58" y="30"/>
                  </a:cubicBezTo>
                  <a:cubicBezTo>
                    <a:pt x="58" y="46"/>
                    <a:pt x="45" y="59"/>
                    <a:pt x="29" y="59"/>
                  </a:cubicBezTo>
                  <a:close/>
                  <a:moveTo>
                    <a:pt x="29" y="11"/>
                  </a:moveTo>
                  <a:cubicBezTo>
                    <a:pt x="19" y="11"/>
                    <a:pt x="11" y="20"/>
                    <a:pt x="11" y="30"/>
                  </a:cubicBezTo>
                  <a:cubicBezTo>
                    <a:pt x="11" y="40"/>
                    <a:pt x="19" y="48"/>
                    <a:pt x="29" y="48"/>
                  </a:cubicBezTo>
                  <a:cubicBezTo>
                    <a:pt x="39" y="48"/>
                    <a:pt x="47" y="40"/>
                    <a:pt x="47" y="30"/>
                  </a:cubicBezTo>
                  <a:cubicBezTo>
                    <a:pt x="47" y="20"/>
                    <a:pt x="39" y="11"/>
                    <a:pt x="29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8" name="Freeform 1385">
              <a:extLst>
                <a:ext uri="{FF2B5EF4-FFF2-40B4-BE49-F238E27FC236}">
                  <a16:creationId xmlns:a16="http://schemas.microsoft.com/office/drawing/2014/main" id="{822BB828-DF35-BEE4-6CE1-C47797AB399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554239" y="1086815"/>
              <a:ext cx="114298" cy="252413"/>
            </a:xfrm>
            <a:custGeom>
              <a:avLst/>
              <a:gdLst>
                <a:gd name="T0" fmla="*/ 59 w 110"/>
                <a:gd name="T1" fmla="*/ 243 h 243"/>
                <a:gd name="T2" fmla="*/ 41 w 110"/>
                <a:gd name="T3" fmla="*/ 234 h 243"/>
                <a:gd name="T4" fmla="*/ 24 w 110"/>
                <a:gd name="T5" fmla="*/ 243 h 243"/>
                <a:gd name="T6" fmla="*/ 0 w 110"/>
                <a:gd name="T7" fmla="*/ 220 h 243"/>
                <a:gd name="T8" fmla="*/ 0 w 110"/>
                <a:gd name="T9" fmla="*/ 107 h 243"/>
                <a:gd name="T10" fmla="*/ 1 w 110"/>
                <a:gd name="T11" fmla="*/ 105 h 243"/>
                <a:gd name="T12" fmla="*/ 3 w 110"/>
                <a:gd name="T13" fmla="*/ 96 h 243"/>
                <a:gd name="T14" fmla="*/ 3 w 110"/>
                <a:gd name="T15" fmla="*/ 16 h 243"/>
                <a:gd name="T16" fmla="*/ 1 w 110"/>
                <a:gd name="T17" fmla="*/ 7 h 243"/>
                <a:gd name="T18" fmla="*/ 2 w 110"/>
                <a:gd name="T19" fmla="*/ 2 h 243"/>
                <a:gd name="T20" fmla="*/ 7 w 110"/>
                <a:gd name="T21" fmla="*/ 0 h 243"/>
                <a:gd name="T22" fmla="*/ 76 w 110"/>
                <a:gd name="T23" fmla="*/ 0 h 243"/>
                <a:gd name="T24" fmla="*/ 110 w 110"/>
                <a:gd name="T25" fmla="*/ 33 h 243"/>
                <a:gd name="T26" fmla="*/ 110 w 110"/>
                <a:gd name="T27" fmla="*/ 107 h 243"/>
                <a:gd name="T28" fmla="*/ 103 w 110"/>
                <a:gd name="T29" fmla="*/ 122 h 243"/>
                <a:gd name="T30" fmla="*/ 88 w 110"/>
                <a:gd name="T31" fmla="*/ 127 h 243"/>
                <a:gd name="T32" fmla="*/ 82 w 110"/>
                <a:gd name="T33" fmla="*/ 125 h 243"/>
                <a:gd name="T34" fmla="*/ 82 w 110"/>
                <a:gd name="T35" fmla="*/ 220 h 243"/>
                <a:gd name="T36" fmla="*/ 59 w 110"/>
                <a:gd name="T37" fmla="*/ 243 h 243"/>
                <a:gd name="T38" fmla="*/ 47 w 110"/>
                <a:gd name="T39" fmla="*/ 220 h 243"/>
                <a:gd name="T40" fmla="*/ 59 w 110"/>
                <a:gd name="T41" fmla="*/ 232 h 243"/>
                <a:gd name="T42" fmla="*/ 71 w 110"/>
                <a:gd name="T43" fmla="*/ 220 h 243"/>
                <a:gd name="T44" fmla="*/ 71 w 110"/>
                <a:gd name="T45" fmla="*/ 107 h 243"/>
                <a:gd name="T46" fmla="*/ 71 w 110"/>
                <a:gd name="T47" fmla="*/ 107 h 243"/>
                <a:gd name="T48" fmla="*/ 71 w 110"/>
                <a:gd name="T49" fmla="*/ 56 h 243"/>
                <a:gd name="T50" fmla="*/ 76 w 110"/>
                <a:gd name="T51" fmla="*/ 50 h 243"/>
                <a:gd name="T52" fmla="*/ 82 w 110"/>
                <a:gd name="T53" fmla="*/ 56 h 243"/>
                <a:gd name="T54" fmla="*/ 82 w 110"/>
                <a:gd name="T55" fmla="*/ 106 h 243"/>
                <a:gd name="T56" fmla="*/ 82 w 110"/>
                <a:gd name="T57" fmla="*/ 107 h 243"/>
                <a:gd name="T58" fmla="*/ 90 w 110"/>
                <a:gd name="T59" fmla="*/ 116 h 243"/>
                <a:gd name="T60" fmla="*/ 96 w 110"/>
                <a:gd name="T61" fmla="*/ 114 h 243"/>
                <a:gd name="T62" fmla="*/ 99 w 110"/>
                <a:gd name="T63" fmla="*/ 107 h 243"/>
                <a:gd name="T64" fmla="*/ 99 w 110"/>
                <a:gd name="T65" fmla="*/ 33 h 243"/>
                <a:gd name="T66" fmla="*/ 76 w 110"/>
                <a:gd name="T67" fmla="*/ 11 h 243"/>
                <a:gd name="T68" fmla="*/ 13 w 110"/>
                <a:gd name="T69" fmla="*/ 11 h 243"/>
                <a:gd name="T70" fmla="*/ 14 w 110"/>
                <a:gd name="T71" fmla="*/ 16 h 243"/>
                <a:gd name="T72" fmla="*/ 14 w 110"/>
                <a:gd name="T73" fmla="*/ 96 h 243"/>
                <a:gd name="T74" fmla="*/ 11 w 110"/>
                <a:gd name="T75" fmla="*/ 107 h 243"/>
                <a:gd name="T76" fmla="*/ 11 w 110"/>
                <a:gd name="T77" fmla="*/ 220 h 243"/>
                <a:gd name="T78" fmla="*/ 24 w 110"/>
                <a:gd name="T79" fmla="*/ 232 h 243"/>
                <a:gd name="T80" fmla="*/ 36 w 110"/>
                <a:gd name="T81" fmla="*/ 220 h 243"/>
                <a:gd name="T82" fmla="*/ 36 w 110"/>
                <a:gd name="T83" fmla="*/ 134 h 243"/>
                <a:gd name="T84" fmla="*/ 41 w 110"/>
                <a:gd name="T85" fmla="*/ 129 h 243"/>
                <a:gd name="T86" fmla="*/ 47 w 110"/>
                <a:gd name="T87" fmla="*/ 134 h 243"/>
                <a:gd name="T88" fmla="*/ 47 w 110"/>
                <a:gd name="T89" fmla="*/ 22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0" h="243">
                  <a:moveTo>
                    <a:pt x="59" y="243"/>
                  </a:moveTo>
                  <a:cubicBezTo>
                    <a:pt x="52" y="243"/>
                    <a:pt x="45" y="239"/>
                    <a:pt x="41" y="234"/>
                  </a:cubicBezTo>
                  <a:cubicBezTo>
                    <a:pt x="37" y="239"/>
                    <a:pt x="31" y="243"/>
                    <a:pt x="24" y="243"/>
                  </a:cubicBezTo>
                  <a:cubicBezTo>
                    <a:pt x="11" y="243"/>
                    <a:pt x="0" y="232"/>
                    <a:pt x="0" y="220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0" y="106"/>
                    <a:pt x="0" y="106"/>
                    <a:pt x="1" y="105"/>
                  </a:cubicBezTo>
                  <a:cubicBezTo>
                    <a:pt x="2" y="101"/>
                    <a:pt x="3" y="97"/>
                    <a:pt x="3" y="96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3" y="13"/>
                    <a:pt x="2" y="10"/>
                    <a:pt x="1" y="7"/>
                  </a:cubicBezTo>
                  <a:cubicBezTo>
                    <a:pt x="1" y="5"/>
                    <a:pt x="1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5" y="0"/>
                    <a:pt x="110" y="15"/>
                    <a:pt x="110" y="33"/>
                  </a:cubicBezTo>
                  <a:cubicBezTo>
                    <a:pt x="110" y="107"/>
                    <a:pt x="110" y="107"/>
                    <a:pt x="110" y="107"/>
                  </a:cubicBezTo>
                  <a:cubicBezTo>
                    <a:pt x="110" y="113"/>
                    <a:pt x="108" y="118"/>
                    <a:pt x="103" y="122"/>
                  </a:cubicBezTo>
                  <a:cubicBezTo>
                    <a:pt x="99" y="125"/>
                    <a:pt x="94" y="127"/>
                    <a:pt x="88" y="127"/>
                  </a:cubicBezTo>
                  <a:cubicBezTo>
                    <a:pt x="86" y="126"/>
                    <a:pt x="84" y="126"/>
                    <a:pt x="82" y="125"/>
                  </a:cubicBezTo>
                  <a:cubicBezTo>
                    <a:pt x="82" y="220"/>
                    <a:pt x="82" y="220"/>
                    <a:pt x="82" y="220"/>
                  </a:cubicBezTo>
                  <a:cubicBezTo>
                    <a:pt x="82" y="232"/>
                    <a:pt x="71" y="243"/>
                    <a:pt x="59" y="243"/>
                  </a:cubicBezTo>
                  <a:close/>
                  <a:moveTo>
                    <a:pt x="47" y="220"/>
                  </a:moveTo>
                  <a:cubicBezTo>
                    <a:pt x="47" y="226"/>
                    <a:pt x="52" y="232"/>
                    <a:pt x="59" y="232"/>
                  </a:cubicBezTo>
                  <a:cubicBezTo>
                    <a:pt x="65" y="232"/>
                    <a:pt x="71" y="226"/>
                    <a:pt x="71" y="220"/>
                  </a:cubicBezTo>
                  <a:cubicBezTo>
                    <a:pt x="71" y="107"/>
                    <a:pt x="71" y="107"/>
                    <a:pt x="71" y="107"/>
                  </a:cubicBezTo>
                  <a:cubicBezTo>
                    <a:pt x="71" y="107"/>
                    <a:pt x="71" y="107"/>
                    <a:pt x="71" y="107"/>
                  </a:cubicBezTo>
                  <a:cubicBezTo>
                    <a:pt x="71" y="56"/>
                    <a:pt x="71" y="56"/>
                    <a:pt x="71" y="56"/>
                  </a:cubicBezTo>
                  <a:cubicBezTo>
                    <a:pt x="71" y="53"/>
                    <a:pt x="73" y="50"/>
                    <a:pt x="76" y="50"/>
                  </a:cubicBezTo>
                  <a:cubicBezTo>
                    <a:pt x="79" y="50"/>
                    <a:pt x="82" y="53"/>
                    <a:pt x="82" y="56"/>
                  </a:cubicBezTo>
                  <a:cubicBezTo>
                    <a:pt x="82" y="106"/>
                    <a:pt x="82" y="106"/>
                    <a:pt x="82" y="106"/>
                  </a:cubicBezTo>
                  <a:cubicBezTo>
                    <a:pt x="82" y="106"/>
                    <a:pt x="82" y="107"/>
                    <a:pt x="82" y="107"/>
                  </a:cubicBezTo>
                  <a:cubicBezTo>
                    <a:pt x="82" y="111"/>
                    <a:pt x="85" y="115"/>
                    <a:pt x="90" y="116"/>
                  </a:cubicBezTo>
                  <a:cubicBezTo>
                    <a:pt x="92" y="116"/>
                    <a:pt x="94" y="115"/>
                    <a:pt x="96" y="114"/>
                  </a:cubicBezTo>
                  <a:cubicBezTo>
                    <a:pt x="98" y="112"/>
                    <a:pt x="99" y="110"/>
                    <a:pt x="99" y="107"/>
                  </a:cubicBezTo>
                  <a:cubicBezTo>
                    <a:pt x="99" y="33"/>
                    <a:pt x="99" y="33"/>
                    <a:pt x="99" y="33"/>
                  </a:cubicBezTo>
                  <a:cubicBezTo>
                    <a:pt x="99" y="21"/>
                    <a:pt x="89" y="11"/>
                    <a:pt x="76" y="11"/>
                  </a:cubicBezTo>
                  <a:cubicBezTo>
                    <a:pt x="13" y="11"/>
                    <a:pt x="13" y="11"/>
                    <a:pt x="13" y="11"/>
                  </a:cubicBezTo>
                  <a:cubicBezTo>
                    <a:pt x="14" y="12"/>
                    <a:pt x="14" y="14"/>
                    <a:pt x="14" y="16"/>
                  </a:cubicBezTo>
                  <a:cubicBezTo>
                    <a:pt x="14" y="96"/>
                    <a:pt x="14" y="96"/>
                    <a:pt x="14" y="96"/>
                  </a:cubicBezTo>
                  <a:cubicBezTo>
                    <a:pt x="14" y="99"/>
                    <a:pt x="12" y="105"/>
                    <a:pt x="11" y="107"/>
                  </a:cubicBezTo>
                  <a:cubicBezTo>
                    <a:pt x="11" y="220"/>
                    <a:pt x="11" y="220"/>
                    <a:pt x="11" y="220"/>
                  </a:cubicBezTo>
                  <a:cubicBezTo>
                    <a:pt x="11" y="226"/>
                    <a:pt x="17" y="232"/>
                    <a:pt x="24" y="232"/>
                  </a:cubicBezTo>
                  <a:cubicBezTo>
                    <a:pt x="30" y="232"/>
                    <a:pt x="36" y="226"/>
                    <a:pt x="36" y="220"/>
                  </a:cubicBezTo>
                  <a:cubicBezTo>
                    <a:pt x="36" y="134"/>
                    <a:pt x="36" y="134"/>
                    <a:pt x="36" y="134"/>
                  </a:cubicBezTo>
                  <a:cubicBezTo>
                    <a:pt x="36" y="131"/>
                    <a:pt x="38" y="129"/>
                    <a:pt x="41" y="129"/>
                  </a:cubicBezTo>
                  <a:cubicBezTo>
                    <a:pt x="44" y="129"/>
                    <a:pt x="47" y="131"/>
                    <a:pt x="47" y="134"/>
                  </a:cubicBezTo>
                  <a:lnTo>
                    <a:pt x="47" y="2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9" name="Freeform 1386">
              <a:extLst>
                <a:ext uri="{FF2B5EF4-FFF2-40B4-BE49-F238E27FC236}">
                  <a16:creationId xmlns:a16="http://schemas.microsoft.com/office/drawing/2014/main" id="{7CD25A14-3841-FAB8-9731-4A4E7E2A18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695519" y="1066177"/>
              <a:ext cx="155572" cy="271462"/>
            </a:xfrm>
            <a:custGeom>
              <a:avLst/>
              <a:gdLst>
                <a:gd name="T0" fmla="*/ 94 w 149"/>
                <a:gd name="T1" fmla="*/ 262 h 262"/>
                <a:gd name="T2" fmla="*/ 75 w 149"/>
                <a:gd name="T3" fmla="*/ 253 h 262"/>
                <a:gd name="T4" fmla="*/ 55 w 149"/>
                <a:gd name="T5" fmla="*/ 262 h 262"/>
                <a:gd name="T6" fmla="*/ 31 w 149"/>
                <a:gd name="T7" fmla="*/ 238 h 262"/>
                <a:gd name="T8" fmla="*/ 31 w 149"/>
                <a:gd name="T9" fmla="*/ 134 h 262"/>
                <a:gd name="T10" fmla="*/ 23 w 149"/>
                <a:gd name="T11" fmla="*/ 136 h 262"/>
                <a:gd name="T12" fmla="*/ 4 w 149"/>
                <a:gd name="T13" fmla="*/ 127 h 262"/>
                <a:gd name="T14" fmla="*/ 0 w 149"/>
                <a:gd name="T15" fmla="*/ 116 h 262"/>
                <a:gd name="T16" fmla="*/ 0 w 149"/>
                <a:gd name="T17" fmla="*/ 36 h 262"/>
                <a:gd name="T18" fmla="*/ 3 w 149"/>
                <a:gd name="T19" fmla="*/ 23 h 262"/>
                <a:gd name="T20" fmla="*/ 36 w 149"/>
                <a:gd name="T21" fmla="*/ 0 h 262"/>
                <a:gd name="T22" fmla="*/ 113 w 149"/>
                <a:gd name="T23" fmla="*/ 0 h 262"/>
                <a:gd name="T24" fmla="*/ 147 w 149"/>
                <a:gd name="T25" fmla="*/ 23 h 262"/>
                <a:gd name="T26" fmla="*/ 149 w 149"/>
                <a:gd name="T27" fmla="*/ 36 h 262"/>
                <a:gd name="T28" fmla="*/ 149 w 149"/>
                <a:gd name="T29" fmla="*/ 116 h 262"/>
                <a:gd name="T30" fmla="*/ 146 w 149"/>
                <a:gd name="T31" fmla="*/ 127 h 262"/>
                <a:gd name="T32" fmla="*/ 126 w 149"/>
                <a:gd name="T33" fmla="*/ 136 h 262"/>
                <a:gd name="T34" fmla="*/ 118 w 149"/>
                <a:gd name="T35" fmla="*/ 134 h 262"/>
                <a:gd name="T36" fmla="*/ 118 w 149"/>
                <a:gd name="T37" fmla="*/ 238 h 262"/>
                <a:gd name="T38" fmla="*/ 94 w 149"/>
                <a:gd name="T39" fmla="*/ 262 h 262"/>
                <a:gd name="T40" fmla="*/ 75 w 149"/>
                <a:gd name="T41" fmla="*/ 232 h 262"/>
                <a:gd name="T42" fmla="*/ 80 w 149"/>
                <a:gd name="T43" fmla="*/ 238 h 262"/>
                <a:gd name="T44" fmla="*/ 94 w 149"/>
                <a:gd name="T45" fmla="*/ 251 h 262"/>
                <a:gd name="T46" fmla="*/ 107 w 149"/>
                <a:gd name="T47" fmla="*/ 238 h 262"/>
                <a:gd name="T48" fmla="*/ 107 w 149"/>
                <a:gd name="T49" fmla="*/ 115 h 262"/>
                <a:gd name="T50" fmla="*/ 113 w 149"/>
                <a:gd name="T51" fmla="*/ 110 h 262"/>
                <a:gd name="T52" fmla="*/ 113 w 149"/>
                <a:gd name="T53" fmla="*/ 110 h 262"/>
                <a:gd name="T54" fmla="*/ 118 w 149"/>
                <a:gd name="T55" fmla="*/ 115 h 262"/>
                <a:gd name="T56" fmla="*/ 127 w 149"/>
                <a:gd name="T57" fmla="*/ 125 h 262"/>
                <a:gd name="T58" fmla="*/ 136 w 149"/>
                <a:gd name="T59" fmla="*/ 121 h 262"/>
                <a:gd name="T60" fmla="*/ 138 w 149"/>
                <a:gd name="T61" fmla="*/ 116 h 262"/>
                <a:gd name="T62" fmla="*/ 138 w 149"/>
                <a:gd name="T63" fmla="*/ 36 h 262"/>
                <a:gd name="T64" fmla="*/ 136 w 149"/>
                <a:gd name="T65" fmla="*/ 27 h 262"/>
                <a:gd name="T66" fmla="*/ 136 w 149"/>
                <a:gd name="T67" fmla="*/ 27 h 262"/>
                <a:gd name="T68" fmla="*/ 113 w 149"/>
                <a:gd name="T69" fmla="*/ 11 h 262"/>
                <a:gd name="T70" fmla="*/ 36 w 149"/>
                <a:gd name="T71" fmla="*/ 11 h 262"/>
                <a:gd name="T72" fmla="*/ 13 w 149"/>
                <a:gd name="T73" fmla="*/ 27 h 262"/>
                <a:gd name="T74" fmla="*/ 11 w 149"/>
                <a:gd name="T75" fmla="*/ 36 h 262"/>
                <a:gd name="T76" fmla="*/ 11 w 149"/>
                <a:gd name="T77" fmla="*/ 116 h 262"/>
                <a:gd name="T78" fmla="*/ 13 w 149"/>
                <a:gd name="T79" fmla="*/ 121 h 262"/>
                <a:gd name="T80" fmla="*/ 22 w 149"/>
                <a:gd name="T81" fmla="*/ 125 h 262"/>
                <a:gd name="T82" fmla="*/ 31 w 149"/>
                <a:gd name="T83" fmla="*/ 115 h 262"/>
                <a:gd name="T84" fmla="*/ 36 w 149"/>
                <a:gd name="T85" fmla="*/ 110 h 262"/>
                <a:gd name="T86" fmla="*/ 42 w 149"/>
                <a:gd name="T87" fmla="*/ 115 h 262"/>
                <a:gd name="T88" fmla="*/ 42 w 149"/>
                <a:gd name="T89" fmla="*/ 238 h 262"/>
                <a:gd name="T90" fmla="*/ 55 w 149"/>
                <a:gd name="T91" fmla="*/ 251 h 262"/>
                <a:gd name="T92" fmla="*/ 69 w 149"/>
                <a:gd name="T93" fmla="*/ 238 h 262"/>
                <a:gd name="T94" fmla="*/ 75 w 149"/>
                <a:gd name="T95" fmla="*/ 232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49" h="262">
                  <a:moveTo>
                    <a:pt x="94" y="262"/>
                  </a:moveTo>
                  <a:cubicBezTo>
                    <a:pt x="86" y="262"/>
                    <a:pt x="79" y="259"/>
                    <a:pt x="75" y="253"/>
                  </a:cubicBezTo>
                  <a:cubicBezTo>
                    <a:pt x="70" y="259"/>
                    <a:pt x="63" y="262"/>
                    <a:pt x="55" y="262"/>
                  </a:cubicBezTo>
                  <a:cubicBezTo>
                    <a:pt x="42" y="262"/>
                    <a:pt x="31" y="251"/>
                    <a:pt x="31" y="238"/>
                  </a:cubicBezTo>
                  <a:cubicBezTo>
                    <a:pt x="31" y="134"/>
                    <a:pt x="31" y="134"/>
                    <a:pt x="31" y="134"/>
                  </a:cubicBezTo>
                  <a:cubicBezTo>
                    <a:pt x="29" y="135"/>
                    <a:pt x="26" y="136"/>
                    <a:pt x="23" y="136"/>
                  </a:cubicBezTo>
                  <a:cubicBezTo>
                    <a:pt x="15" y="137"/>
                    <a:pt x="8" y="133"/>
                    <a:pt x="4" y="127"/>
                  </a:cubicBezTo>
                  <a:cubicBezTo>
                    <a:pt x="2" y="123"/>
                    <a:pt x="0" y="120"/>
                    <a:pt x="0" y="11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1"/>
                    <a:pt x="1" y="27"/>
                    <a:pt x="3" y="23"/>
                  </a:cubicBezTo>
                  <a:cubicBezTo>
                    <a:pt x="8" y="9"/>
                    <a:pt x="21" y="0"/>
                    <a:pt x="36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28" y="0"/>
                    <a:pt x="142" y="9"/>
                    <a:pt x="147" y="23"/>
                  </a:cubicBezTo>
                  <a:cubicBezTo>
                    <a:pt x="148" y="27"/>
                    <a:pt x="149" y="31"/>
                    <a:pt x="149" y="36"/>
                  </a:cubicBezTo>
                  <a:cubicBezTo>
                    <a:pt x="149" y="116"/>
                    <a:pt x="149" y="116"/>
                    <a:pt x="149" y="116"/>
                  </a:cubicBezTo>
                  <a:cubicBezTo>
                    <a:pt x="149" y="120"/>
                    <a:pt x="148" y="123"/>
                    <a:pt x="146" y="127"/>
                  </a:cubicBezTo>
                  <a:cubicBezTo>
                    <a:pt x="141" y="133"/>
                    <a:pt x="134" y="137"/>
                    <a:pt x="126" y="136"/>
                  </a:cubicBezTo>
                  <a:cubicBezTo>
                    <a:pt x="123" y="136"/>
                    <a:pt x="121" y="135"/>
                    <a:pt x="118" y="134"/>
                  </a:cubicBezTo>
                  <a:cubicBezTo>
                    <a:pt x="118" y="238"/>
                    <a:pt x="118" y="238"/>
                    <a:pt x="118" y="238"/>
                  </a:cubicBezTo>
                  <a:cubicBezTo>
                    <a:pt x="118" y="251"/>
                    <a:pt x="107" y="262"/>
                    <a:pt x="94" y="262"/>
                  </a:cubicBezTo>
                  <a:close/>
                  <a:moveTo>
                    <a:pt x="75" y="232"/>
                  </a:moveTo>
                  <a:cubicBezTo>
                    <a:pt x="78" y="232"/>
                    <a:pt x="80" y="235"/>
                    <a:pt x="80" y="238"/>
                  </a:cubicBezTo>
                  <a:cubicBezTo>
                    <a:pt x="80" y="245"/>
                    <a:pt x="86" y="251"/>
                    <a:pt x="94" y="251"/>
                  </a:cubicBezTo>
                  <a:cubicBezTo>
                    <a:pt x="101" y="251"/>
                    <a:pt x="107" y="245"/>
                    <a:pt x="107" y="238"/>
                  </a:cubicBezTo>
                  <a:cubicBezTo>
                    <a:pt x="107" y="115"/>
                    <a:pt x="107" y="115"/>
                    <a:pt x="107" y="115"/>
                  </a:cubicBezTo>
                  <a:cubicBezTo>
                    <a:pt x="107" y="112"/>
                    <a:pt x="110" y="110"/>
                    <a:pt x="113" y="110"/>
                  </a:cubicBezTo>
                  <a:cubicBezTo>
                    <a:pt x="113" y="110"/>
                    <a:pt x="113" y="110"/>
                    <a:pt x="113" y="110"/>
                  </a:cubicBezTo>
                  <a:cubicBezTo>
                    <a:pt x="116" y="110"/>
                    <a:pt x="118" y="112"/>
                    <a:pt x="118" y="115"/>
                  </a:cubicBezTo>
                  <a:cubicBezTo>
                    <a:pt x="118" y="120"/>
                    <a:pt x="122" y="125"/>
                    <a:pt x="127" y="125"/>
                  </a:cubicBezTo>
                  <a:cubicBezTo>
                    <a:pt x="131" y="126"/>
                    <a:pt x="134" y="124"/>
                    <a:pt x="136" y="121"/>
                  </a:cubicBezTo>
                  <a:cubicBezTo>
                    <a:pt x="137" y="119"/>
                    <a:pt x="138" y="118"/>
                    <a:pt x="138" y="116"/>
                  </a:cubicBezTo>
                  <a:cubicBezTo>
                    <a:pt x="138" y="36"/>
                    <a:pt x="138" y="36"/>
                    <a:pt x="138" y="36"/>
                  </a:cubicBezTo>
                  <a:cubicBezTo>
                    <a:pt x="138" y="33"/>
                    <a:pt x="137" y="30"/>
                    <a:pt x="136" y="27"/>
                  </a:cubicBezTo>
                  <a:cubicBezTo>
                    <a:pt x="136" y="27"/>
                    <a:pt x="136" y="27"/>
                    <a:pt x="136" y="27"/>
                  </a:cubicBezTo>
                  <a:cubicBezTo>
                    <a:pt x="133" y="17"/>
                    <a:pt x="123" y="11"/>
                    <a:pt x="113" y="11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26" y="11"/>
                    <a:pt x="16" y="17"/>
                    <a:pt x="13" y="27"/>
                  </a:cubicBezTo>
                  <a:cubicBezTo>
                    <a:pt x="12" y="30"/>
                    <a:pt x="11" y="33"/>
                    <a:pt x="11" y="36"/>
                  </a:cubicBezTo>
                  <a:cubicBezTo>
                    <a:pt x="11" y="116"/>
                    <a:pt x="11" y="116"/>
                    <a:pt x="11" y="116"/>
                  </a:cubicBezTo>
                  <a:cubicBezTo>
                    <a:pt x="11" y="118"/>
                    <a:pt x="12" y="119"/>
                    <a:pt x="13" y="121"/>
                  </a:cubicBezTo>
                  <a:cubicBezTo>
                    <a:pt x="15" y="124"/>
                    <a:pt x="18" y="126"/>
                    <a:pt x="22" y="125"/>
                  </a:cubicBezTo>
                  <a:cubicBezTo>
                    <a:pt x="27" y="125"/>
                    <a:pt x="31" y="120"/>
                    <a:pt x="31" y="115"/>
                  </a:cubicBezTo>
                  <a:cubicBezTo>
                    <a:pt x="31" y="112"/>
                    <a:pt x="33" y="110"/>
                    <a:pt x="36" y="110"/>
                  </a:cubicBezTo>
                  <a:cubicBezTo>
                    <a:pt x="39" y="110"/>
                    <a:pt x="42" y="112"/>
                    <a:pt x="42" y="115"/>
                  </a:cubicBezTo>
                  <a:cubicBezTo>
                    <a:pt x="42" y="238"/>
                    <a:pt x="42" y="238"/>
                    <a:pt x="42" y="238"/>
                  </a:cubicBezTo>
                  <a:cubicBezTo>
                    <a:pt x="42" y="245"/>
                    <a:pt x="48" y="251"/>
                    <a:pt x="55" y="251"/>
                  </a:cubicBezTo>
                  <a:cubicBezTo>
                    <a:pt x="63" y="251"/>
                    <a:pt x="69" y="245"/>
                    <a:pt x="69" y="238"/>
                  </a:cubicBezTo>
                  <a:cubicBezTo>
                    <a:pt x="69" y="235"/>
                    <a:pt x="72" y="232"/>
                    <a:pt x="75" y="23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0" name="Freeform 1387">
              <a:extLst>
                <a:ext uri="{FF2B5EF4-FFF2-40B4-BE49-F238E27FC236}">
                  <a16:creationId xmlns:a16="http://schemas.microsoft.com/office/drawing/2014/main" id="{16F3CD78-4D8C-3D6B-6EB5-F9A41C2E4B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543125" y="1016965"/>
              <a:ext cx="60324" cy="60325"/>
            </a:xfrm>
            <a:custGeom>
              <a:avLst/>
              <a:gdLst>
                <a:gd name="T0" fmla="*/ 29 w 58"/>
                <a:gd name="T1" fmla="*/ 59 h 59"/>
                <a:gd name="T2" fmla="*/ 0 w 58"/>
                <a:gd name="T3" fmla="*/ 30 h 59"/>
                <a:gd name="T4" fmla="*/ 29 w 58"/>
                <a:gd name="T5" fmla="*/ 0 h 59"/>
                <a:gd name="T6" fmla="*/ 58 w 58"/>
                <a:gd name="T7" fmla="*/ 30 h 59"/>
                <a:gd name="T8" fmla="*/ 29 w 58"/>
                <a:gd name="T9" fmla="*/ 59 h 59"/>
                <a:gd name="T10" fmla="*/ 29 w 58"/>
                <a:gd name="T11" fmla="*/ 11 h 59"/>
                <a:gd name="T12" fmla="*/ 11 w 58"/>
                <a:gd name="T13" fmla="*/ 30 h 59"/>
                <a:gd name="T14" fmla="*/ 29 w 58"/>
                <a:gd name="T15" fmla="*/ 48 h 59"/>
                <a:gd name="T16" fmla="*/ 47 w 58"/>
                <a:gd name="T17" fmla="*/ 30 h 59"/>
                <a:gd name="T18" fmla="*/ 29 w 58"/>
                <a:gd name="T19" fmla="*/ 11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8" h="59">
                  <a:moveTo>
                    <a:pt x="29" y="59"/>
                  </a:moveTo>
                  <a:cubicBezTo>
                    <a:pt x="13" y="59"/>
                    <a:pt x="0" y="46"/>
                    <a:pt x="0" y="30"/>
                  </a:cubicBezTo>
                  <a:cubicBezTo>
                    <a:pt x="0" y="13"/>
                    <a:pt x="13" y="0"/>
                    <a:pt x="29" y="0"/>
                  </a:cubicBezTo>
                  <a:cubicBezTo>
                    <a:pt x="45" y="0"/>
                    <a:pt x="58" y="13"/>
                    <a:pt x="58" y="30"/>
                  </a:cubicBezTo>
                  <a:cubicBezTo>
                    <a:pt x="58" y="46"/>
                    <a:pt x="45" y="59"/>
                    <a:pt x="29" y="59"/>
                  </a:cubicBezTo>
                  <a:close/>
                  <a:moveTo>
                    <a:pt x="29" y="11"/>
                  </a:moveTo>
                  <a:cubicBezTo>
                    <a:pt x="19" y="11"/>
                    <a:pt x="11" y="20"/>
                    <a:pt x="11" y="30"/>
                  </a:cubicBezTo>
                  <a:cubicBezTo>
                    <a:pt x="11" y="40"/>
                    <a:pt x="19" y="48"/>
                    <a:pt x="29" y="48"/>
                  </a:cubicBezTo>
                  <a:cubicBezTo>
                    <a:pt x="39" y="48"/>
                    <a:pt x="47" y="40"/>
                    <a:pt x="47" y="30"/>
                  </a:cubicBezTo>
                  <a:cubicBezTo>
                    <a:pt x="47" y="20"/>
                    <a:pt x="39" y="11"/>
                    <a:pt x="29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1" name="Freeform 1388">
              <a:extLst>
                <a:ext uri="{FF2B5EF4-FFF2-40B4-BE49-F238E27FC236}">
                  <a16:creationId xmlns:a16="http://schemas.microsoft.com/office/drawing/2014/main" id="{CFF28BDE-5FF1-7D06-3829-D60F7C9D5D52}"/>
                </a:ext>
              </a:extLst>
            </p:cNvPr>
            <p:cNvSpPr>
              <a:spLocks/>
            </p:cNvSpPr>
            <p:nvPr/>
          </p:nvSpPr>
          <p:spPr bwMode="auto">
            <a:xfrm>
              <a:off x="-2624086" y="1210641"/>
              <a:ext cx="12700" cy="107950"/>
            </a:xfrm>
            <a:custGeom>
              <a:avLst/>
              <a:gdLst>
                <a:gd name="T0" fmla="*/ 6 w 11"/>
                <a:gd name="T1" fmla="*/ 103 h 103"/>
                <a:gd name="T2" fmla="*/ 0 w 11"/>
                <a:gd name="T3" fmla="*/ 98 h 103"/>
                <a:gd name="T4" fmla="*/ 0 w 11"/>
                <a:gd name="T5" fmla="*/ 6 h 103"/>
                <a:gd name="T6" fmla="*/ 6 w 11"/>
                <a:gd name="T7" fmla="*/ 0 h 103"/>
                <a:gd name="T8" fmla="*/ 11 w 11"/>
                <a:gd name="T9" fmla="*/ 6 h 103"/>
                <a:gd name="T10" fmla="*/ 11 w 11"/>
                <a:gd name="T11" fmla="*/ 98 h 103"/>
                <a:gd name="T12" fmla="*/ 6 w 11"/>
                <a:gd name="T13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103">
                  <a:moveTo>
                    <a:pt x="6" y="103"/>
                  </a:moveTo>
                  <a:cubicBezTo>
                    <a:pt x="3" y="103"/>
                    <a:pt x="0" y="101"/>
                    <a:pt x="0" y="9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1" y="3"/>
                    <a:pt x="11" y="6"/>
                  </a:cubicBezTo>
                  <a:cubicBezTo>
                    <a:pt x="11" y="98"/>
                    <a:pt x="11" y="98"/>
                    <a:pt x="11" y="98"/>
                  </a:cubicBezTo>
                  <a:cubicBezTo>
                    <a:pt x="11" y="101"/>
                    <a:pt x="9" y="103"/>
                    <a:pt x="6" y="10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2" name="Freeform 1389">
              <a:extLst>
                <a:ext uri="{FF2B5EF4-FFF2-40B4-BE49-F238E27FC236}">
                  <a16:creationId xmlns:a16="http://schemas.microsoft.com/office/drawing/2014/main" id="{D256E993-DB4E-8C68-4166-656AF6F3457C}"/>
                </a:ext>
              </a:extLst>
            </p:cNvPr>
            <p:cNvSpPr>
              <a:spLocks/>
            </p:cNvSpPr>
            <p:nvPr/>
          </p:nvSpPr>
          <p:spPr bwMode="auto">
            <a:xfrm>
              <a:off x="-2662179" y="1113808"/>
              <a:ext cx="11113" cy="77788"/>
            </a:xfrm>
            <a:custGeom>
              <a:avLst/>
              <a:gdLst>
                <a:gd name="T0" fmla="*/ 5 w 11"/>
                <a:gd name="T1" fmla="*/ 74 h 74"/>
                <a:gd name="T2" fmla="*/ 0 w 11"/>
                <a:gd name="T3" fmla="*/ 68 h 74"/>
                <a:gd name="T4" fmla="*/ 0 w 11"/>
                <a:gd name="T5" fmla="*/ 6 h 74"/>
                <a:gd name="T6" fmla="*/ 5 w 11"/>
                <a:gd name="T7" fmla="*/ 0 h 74"/>
                <a:gd name="T8" fmla="*/ 11 w 11"/>
                <a:gd name="T9" fmla="*/ 6 h 74"/>
                <a:gd name="T10" fmla="*/ 11 w 11"/>
                <a:gd name="T11" fmla="*/ 68 h 74"/>
                <a:gd name="T12" fmla="*/ 5 w 11"/>
                <a:gd name="T13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74">
                  <a:moveTo>
                    <a:pt x="5" y="74"/>
                  </a:moveTo>
                  <a:cubicBezTo>
                    <a:pt x="2" y="74"/>
                    <a:pt x="0" y="71"/>
                    <a:pt x="0" y="6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8" y="0"/>
                    <a:pt x="11" y="3"/>
                    <a:pt x="11" y="6"/>
                  </a:cubicBezTo>
                  <a:cubicBezTo>
                    <a:pt x="11" y="68"/>
                    <a:pt x="11" y="68"/>
                    <a:pt x="11" y="68"/>
                  </a:cubicBezTo>
                  <a:cubicBezTo>
                    <a:pt x="11" y="71"/>
                    <a:pt x="8" y="74"/>
                    <a:pt x="5" y="7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3" name="Freeform 1390">
              <a:extLst>
                <a:ext uri="{FF2B5EF4-FFF2-40B4-BE49-F238E27FC236}">
                  <a16:creationId xmlns:a16="http://schemas.microsoft.com/office/drawing/2014/main" id="{D002FA6A-1963-6CE1-9AE7-C566E218A360}"/>
                </a:ext>
              </a:extLst>
            </p:cNvPr>
            <p:cNvSpPr>
              <a:spLocks/>
            </p:cNvSpPr>
            <p:nvPr/>
          </p:nvSpPr>
          <p:spPr bwMode="auto">
            <a:xfrm>
              <a:off x="-2584450" y="1113805"/>
              <a:ext cx="11113" cy="77788"/>
            </a:xfrm>
            <a:custGeom>
              <a:avLst/>
              <a:gdLst>
                <a:gd name="T0" fmla="*/ 6 w 11"/>
                <a:gd name="T1" fmla="*/ 74 h 74"/>
                <a:gd name="T2" fmla="*/ 0 w 11"/>
                <a:gd name="T3" fmla="*/ 68 h 74"/>
                <a:gd name="T4" fmla="*/ 0 w 11"/>
                <a:gd name="T5" fmla="*/ 6 h 74"/>
                <a:gd name="T6" fmla="*/ 6 w 11"/>
                <a:gd name="T7" fmla="*/ 0 h 74"/>
                <a:gd name="T8" fmla="*/ 11 w 11"/>
                <a:gd name="T9" fmla="*/ 6 h 74"/>
                <a:gd name="T10" fmla="*/ 11 w 11"/>
                <a:gd name="T11" fmla="*/ 68 h 74"/>
                <a:gd name="T12" fmla="*/ 6 w 11"/>
                <a:gd name="T13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74">
                  <a:moveTo>
                    <a:pt x="6" y="74"/>
                  </a:moveTo>
                  <a:cubicBezTo>
                    <a:pt x="3" y="74"/>
                    <a:pt x="0" y="71"/>
                    <a:pt x="0" y="6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1" y="3"/>
                    <a:pt x="11" y="6"/>
                  </a:cubicBezTo>
                  <a:cubicBezTo>
                    <a:pt x="11" y="68"/>
                    <a:pt x="11" y="68"/>
                    <a:pt x="11" y="68"/>
                  </a:cubicBezTo>
                  <a:cubicBezTo>
                    <a:pt x="11" y="71"/>
                    <a:pt x="9" y="74"/>
                    <a:pt x="6" y="7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64" name="Shape42_20200717_142846">
            <a:extLst>
              <a:ext uri="{FF2B5EF4-FFF2-40B4-BE49-F238E27FC236}">
                <a16:creationId xmlns:a16="http://schemas.microsoft.com/office/drawing/2014/main" id="{4544C280-54F2-99F3-8AE5-24CD3A2146E4}"/>
              </a:ext>
            </a:extLst>
          </p:cNvPr>
          <p:cNvGrpSpPr>
            <a:grpSpLocks noChangeAspect="1"/>
          </p:cNvGrpSpPr>
          <p:nvPr/>
        </p:nvGrpSpPr>
        <p:grpSpPr>
          <a:xfrm>
            <a:off x="3211415" y="3861188"/>
            <a:ext cx="546941" cy="546941"/>
            <a:chOff x="-2798762" y="3364876"/>
            <a:chExt cx="361953" cy="361953"/>
          </a:xfrm>
          <a:solidFill>
            <a:schemeClr val="accent1"/>
          </a:solidFill>
        </p:grpSpPr>
        <p:sp>
          <p:nvSpPr>
            <p:cNvPr id="65" name="Freeform 1405">
              <a:extLst>
                <a:ext uri="{FF2B5EF4-FFF2-40B4-BE49-F238E27FC236}">
                  <a16:creationId xmlns:a16="http://schemas.microsoft.com/office/drawing/2014/main" id="{06852FF9-7B0E-9947-7FD5-AA49F819647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798762" y="3583954"/>
              <a:ext cx="141288" cy="142875"/>
            </a:xfrm>
            <a:custGeom>
              <a:avLst/>
              <a:gdLst>
                <a:gd name="T0" fmla="*/ 31 w 137"/>
                <a:gd name="T1" fmla="*/ 137 h 137"/>
                <a:gd name="T2" fmla="*/ 9 w 137"/>
                <a:gd name="T3" fmla="*/ 128 h 137"/>
                <a:gd name="T4" fmla="*/ 0 w 137"/>
                <a:gd name="T5" fmla="*/ 106 h 137"/>
                <a:gd name="T6" fmla="*/ 9 w 137"/>
                <a:gd name="T7" fmla="*/ 85 h 137"/>
                <a:gd name="T8" fmla="*/ 92 w 137"/>
                <a:gd name="T9" fmla="*/ 2 h 137"/>
                <a:gd name="T10" fmla="*/ 97 w 137"/>
                <a:gd name="T11" fmla="*/ 0 h 137"/>
                <a:gd name="T12" fmla="*/ 101 w 137"/>
                <a:gd name="T13" fmla="*/ 3 h 137"/>
                <a:gd name="T14" fmla="*/ 134 w 137"/>
                <a:gd name="T15" fmla="*/ 37 h 137"/>
                <a:gd name="T16" fmla="*/ 137 w 137"/>
                <a:gd name="T17" fmla="*/ 41 h 137"/>
                <a:gd name="T18" fmla="*/ 135 w 137"/>
                <a:gd name="T19" fmla="*/ 45 h 137"/>
                <a:gd name="T20" fmla="*/ 52 w 137"/>
                <a:gd name="T21" fmla="*/ 128 h 137"/>
                <a:gd name="T22" fmla="*/ 31 w 137"/>
                <a:gd name="T23" fmla="*/ 137 h 137"/>
                <a:gd name="T24" fmla="*/ 95 w 137"/>
                <a:gd name="T25" fmla="*/ 14 h 137"/>
                <a:gd name="T26" fmla="*/ 17 w 137"/>
                <a:gd name="T27" fmla="*/ 93 h 137"/>
                <a:gd name="T28" fmla="*/ 11 w 137"/>
                <a:gd name="T29" fmla="*/ 106 h 137"/>
                <a:gd name="T30" fmla="*/ 17 w 137"/>
                <a:gd name="T31" fmla="*/ 120 h 137"/>
                <a:gd name="T32" fmla="*/ 31 w 137"/>
                <a:gd name="T33" fmla="*/ 126 h 137"/>
                <a:gd name="T34" fmla="*/ 45 w 137"/>
                <a:gd name="T35" fmla="*/ 120 h 137"/>
                <a:gd name="T36" fmla="*/ 123 w 137"/>
                <a:gd name="T37" fmla="*/ 42 h 137"/>
                <a:gd name="T38" fmla="*/ 95 w 137"/>
                <a:gd name="T39" fmla="*/ 14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37" h="137">
                  <a:moveTo>
                    <a:pt x="31" y="137"/>
                  </a:moveTo>
                  <a:cubicBezTo>
                    <a:pt x="23" y="137"/>
                    <a:pt x="15" y="134"/>
                    <a:pt x="9" y="128"/>
                  </a:cubicBezTo>
                  <a:cubicBezTo>
                    <a:pt x="4" y="122"/>
                    <a:pt x="0" y="115"/>
                    <a:pt x="0" y="106"/>
                  </a:cubicBezTo>
                  <a:cubicBezTo>
                    <a:pt x="0" y="98"/>
                    <a:pt x="4" y="91"/>
                    <a:pt x="9" y="85"/>
                  </a:cubicBezTo>
                  <a:cubicBezTo>
                    <a:pt x="92" y="2"/>
                    <a:pt x="92" y="2"/>
                    <a:pt x="92" y="2"/>
                  </a:cubicBezTo>
                  <a:cubicBezTo>
                    <a:pt x="93" y="1"/>
                    <a:pt x="95" y="0"/>
                    <a:pt x="97" y="0"/>
                  </a:cubicBezTo>
                  <a:cubicBezTo>
                    <a:pt x="98" y="1"/>
                    <a:pt x="100" y="2"/>
                    <a:pt x="101" y="3"/>
                  </a:cubicBezTo>
                  <a:cubicBezTo>
                    <a:pt x="110" y="16"/>
                    <a:pt x="121" y="28"/>
                    <a:pt x="134" y="37"/>
                  </a:cubicBezTo>
                  <a:cubicBezTo>
                    <a:pt x="136" y="38"/>
                    <a:pt x="137" y="39"/>
                    <a:pt x="137" y="41"/>
                  </a:cubicBezTo>
                  <a:cubicBezTo>
                    <a:pt x="137" y="42"/>
                    <a:pt x="136" y="44"/>
                    <a:pt x="135" y="45"/>
                  </a:cubicBezTo>
                  <a:cubicBezTo>
                    <a:pt x="52" y="128"/>
                    <a:pt x="52" y="128"/>
                    <a:pt x="52" y="128"/>
                  </a:cubicBezTo>
                  <a:cubicBezTo>
                    <a:pt x="46" y="134"/>
                    <a:pt x="39" y="137"/>
                    <a:pt x="31" y="137"/>
                  </a:cubicBezTo>
                  <a:close/>
                  <a:moveTo>
                    <a:pt x="95" y="14"/>
                  </a:moveTo>
                  <a:cubicBezTo>
                    <a:pt x="17" y="93"/>
                    <a:pt x="17" y="93"/>
                    <a:pt x="17" y="93"/>
                  </a:cubicBezTo>
                  <a:cubicBezTo>
                    <a:pt x="13" y="96"/>
                    <a:pt x="11" y="101"/>
                    <a:pt x="11" y="106"/>
                  </a:cubicBezTo>
                  <a:cubicBezTo>
                    <a:pt x="11" y="112"/>
                    <a:pt x="13" y="117"/>
                    <a:pt x="17" y="120"/>
                  </a:cubicBezTo>
                  <a:cubicBezTo>
                    <a:pt x="21" y="124"/>
                    <a:pt x="26" y="126"/>
                    <a:pt x="31" y="126"/>
                  </a:cubicBezTo>
                  <a:cubicBezTo>
                    <a:pt x="36" y="126"/>
                    <a:pt x="41" y="124"/>
                    <a:pt x="45" y="120"/>
                  </a:cubicBezTo>
                  <a:cubicBezTo>
                    <a:pt x="123" y="42"/>
                    <a:pt x="123" y="42"/>
                    <a:pt x="123" y="42"/>
                  </a:cubicBezTo>
                  <a:cubicBezTo>
                    <a:pt x="113" y="34"/>
                    <a:pt x="103" y="25"/>
                    <a:pt x="95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6" name="Freeform 1406">
              <a:extLst>
                <a:ext uri="{FF2B5EF4-FFF2-40B4-BE49-F238E27FC236}">
                  <a16:creationId xmlns:a16="http://schemas.microsoft.com/office/drawing/2014/main" id="{1A139FF0-7859-258B-72E5-C0A2BDBFC635}"/>
                </a:ext>
              </a:extLst>
            </p:cNvPr>
            <p:cNvSpPr>
              <a:spLocks/>
            </p:cNvSpPr>
            <p:nvPr/>
          </p:nvSpPr>
          <p:spPr bwMode="auto">
            <a:xfrm>
              <a:off x="-2619374" y="3455367"/>
              <a:ext cx="73025" cy="109538"/>
            </a:xfrm>
            <a:custGeom>
              <a:avLst/>
              <a:gdLst>
                <a:gd name="T0" fmla="*/ 34 w 70"/>
                <a:gd name="T1" fmla="*/ 104 h 104"/>
                <a:gd name="T2" fmla="*/ 2 w 70"/>
                <a:gd name="T3" fmla="*/ 87 h 104"/>
                <a:gd name="T4" fmla="*/ 3 w 70"/>
                <a:gd name="T5" fmla="*/ 79 h 104"/>
                <a:gd name="T6" fmla="*/ 10 w 70"/>
                <a:gd name="T7" fmla="*/ 81 h 104"/>
                <a:gd name="T8" fmla="*/ 50 w 70"/>
                <a:gd name="T9" fmla="*/ 89 h 104"/>
                <a:gd name="T10" fmla="*/ 50 w 70"/>
                <a:gd name="T11" fmla="*/ 89 h 104"/>
                <a:gd name="T12" fmla="*/ 58 w 70"/>
                <a:gd name="T13" fmla="*/ 74 h 104"/>
                <a:gd name="T14" fmla="*/ 46 w 70"/>
                <a:gd name="T15" fmla="*/ 58 h 104"/>
                <a:gd name="T16" fmla="*/ 21 w 70"/>
                <a:gd name="T17" fmla="*/ 51 h 104"/>
                <a:gd name="T18" fmla="*/ 1 w 70"/>
                <a:gd name="T19" fmla="*/ 26 h 104"/>
                <a:gd name="T20" fmla="*/ 9 w 70"/>
                <a:gd name="T21" fmla="*/ 8 h 104"/>
                <a:gd name="T22" fmla="*/ 36 w 70"/>
                <a:gd name="T23" fmla="*/ 0 h 104"/>
                <a:gd name="T24" fmla="*/ 69 w 70"/>
                <a:gd name="T25" fmla="*/ 23 h 104"/>
                <a:gd name="T26" fmla="*/ 65 w 70"/>
                <a:gd name="T27" fmla="*/ 30 h 104"/>
                <a:gd name="T28" fmla="*/ 59 w 70"/>
                <a:gd name="T29" fmla="*/ 26 h 104"/>
                <a:gd name="T30" fmla="*/ 36 w 70"/>
                <a:gd name="T31" fmla="*/ 11 h 104"/>
                <a:gd name="T32" fmla="*/ 16 w 70"/>
                <a:gd name="T33" fmla="*/ 16 h 104"/>
                <a:gd name="T34" fmla="*/ 12 w 70"/>
                <a:gd name="T35" fmla="*/ 26 h 104"/>
                <a:gd name="T36" fmla="*/ 24 w 70"/>
                <a:gd name="T37" fmla="*/ 40 h 104"/>
                <a:gd name="T38" fmla="*/ 49 w 70"/>
                <a:gd name="T39" fmla="*/ 48 h 104"/>
                <a:gd name="T40" fmla="*/ 69 w 70"/>
                <a:gd name="T41" fmla="*/ 73 h 104"/>
                <a:gd name="T42" fmla="*/ 54 w 70"/>
                <a:gd name="T43" fmla="*/ 99 h 104"/>
                <a:gd name="T44" fmla="*/ 34 w 70"/>
                <a:gd name="T4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0" h="104">
                  <a:moveTo>
                    <a:pt x="34" y="104"/>
                  </a:moveTo>
                  <a:cubicBezTo>
                    <a:pt x="23" y="104"/>
                    <a:pt x="11" y="100"/>
                    <a:pt x="2" y="87"/>
                  </a:cubicBezTo>
                  <a:cubicBezTo>
                    <a:pt x="0" y="85"/>
                    <a:pt x="0" y="81"/>
                    <a:pt x="3" y="79"/>
                  </a:cubicBezTo>
                  <a:cubicBezTo>
                    <a:pt x="5" y="78"/>
                    <a:pt x="8" y="78"/>
                    <a:pt x="10" y="81"/>
                  </a:cubicBezTo>
                  <a:cubicBezTo>
                    <a:pt x="26" y="101"/>
                    <a:pt x="49" y="90"/>
                    <a:pt x="50" y="89"/>
                  </a:cubicBezTo>
                  <a:cubicBezTo>
                    <a:pt x="50" y="89"/>
                    <a:pt x="50" y="89"/>
                    <a:pt x="50" y="89"/>
                  </a:cubicBezTo>
                  <a:cubicBezTo>
                    <a:pt x="51" y="89"/>
                    <a:pt x="59" y="85"/>
                    <a:pt x="58" y="74"/>
                  </a:cubicBezTo>
                  <a:cubicBezTo>
                    <a:pt x="57" y="62"/>
                    <a:pt x="46" y="58"/>
                    <a:pt x="46" y="58"/>
                  </a:cubicBezTo>
                  <a:cubicBezTo>
                    <a:pt x="45" y="58"/>
                    <a:pt x="33" y="55"/>
                    <a:pt x="21" y="51"/>
                  </a:cubicBezTo>
                  <a:cubicBezTo>
                    <a:pt x="8" y="47"/>
                    <a:pt x="1" y="38"/>
                    <a:pt x="1" y="26"/>
                  </a:cubicBezTo>
                  <a:cubicBezTo>
                    <a:pt x="1" y="18"/>
                    <a:pt x="4" y="12"/>
                    <a:pt x="9" y="8"/>
                  </a:cubicBezTo>
                  <a:cubicBezTo>
                    <a:pt x="15" y="2"/>
                    <a:pt x="24" y="0"/>
                    <a:pt x="36" y="0"/>
                  </a:cubicBezTo>
                  <a:cubicBezTo>
                    <a:pt x="57" y="0"/>
                    <a:pt x="67" y="15"/>
                    <a:pt x="69" y="23"/>
                  </a:cubicBezTo>
                  <a:cubicBezTo>
                    <a:pt x="70" y="26"/>
                    <a:pt x="68" y="29"/>
                    <a:pt x="65" y="30"/>
                  </a:cubicBezTo>
                  <a:cubicBezTo>
                    <a:pt x="62" y="31"/>
                    <a:pt x="59" y="29"/>
                    <a:pt x="59" y="26"/>
                  </a:cubicBezTo>
                  <a:cubicBezTo>
                    <a:pt x="58" y="25"/>
                    <a:pt x="54" y="11"/>
                    <a:pt x="36" y="11"/>
                  </a:cubicBezTo>
                  <a:cubicBezTo>
                    <a:pt x="27" y="11"/>
                    <a:pt x="20" y="13"/>
                    <a:pt x="16" y="16"/>
                  </a:cubicBezTo>
                  <a:cubicBezTo>
                    <a:pt x="14" y="18"/>
                    <a:pt x="12" y="22"/>
                    <a:pt x="12" y="26"/>
                  </a:cubicBezTo>
                  <a:cubicBezTo>
                    <a:pt x="12" y="34"/>
                    <a:pt x="16" y="38"/>
                    <a:pt x="24" y="40"/>
                  </a:cubicBezTo>
                  <a:cubicBezTo>
                    <a:pt x="36" y="44"/>
                    <a:pt x="49" y="48"/>
                    <a:pt x="49" y="48"/>
                  </a:cubicBezTo>
                  <a:cubicBezTo>
                    <a:pt x="49" y="48"/>
                    <a:pt x="67" y="53"/>
                    <a:pt x="69" y="73"/>
                  </a:cubicBezTo>
                  <a:cubicBezTo>
                    <a:pt x="70" y="88"/>
                    <a:pt x="60" y="97"/>
                    <a:pt x="54" y="99"/>
                  </a:cubicBezTo>
                  <a:cubicBezTo>
                    <a:pt x="50" y="101"/>
                    <a:pt x="42" y="104"/>
                    <a:pt x="34" y="10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7" name="Freeform 1407">
              <a:extLst>
                <a:ext uri="{FF2B5EF4-FFF2-40B4-BE49-F238E27FC236}">
                  <a16:creationId xmlns:a16="http://schemas.microsoft.com/office/drawing/2014/main" id="{4D713C7B-392B-73D9-FBC8-524CC2E2F97E}"/>
                </a:ext>
              </a:extLst>
            </p:cNvPr>
            <p:cNvSpPr>
              <a:spLocks/>
            </p:cNvSpPr>
            <p:nvPr/>
          </p:nvSpPr>
          <p:spPr bwMode="auto">
            <a:xfrm>
              <a:off x="-2587624" y="3436318"/>
              <a:ext cx="11113" cy="31750"/>
            </a:xfrm>
            <a:custGeom>
              <a:avLst/>
              <a:gdLst>
                <a:gd name="T0" fmla="*/ 6 w 11"/>
                <a:gd name="T1" fmla="*/ 30 h 30"/>
                <a:gd name="T2" fmla="*/ 0 w 11"/>
                <a:gd name="T3" fmla="*/ 24 h 30"/>
                <a:gd name="T4" fmla="*/ 0 w 11"/>
                <a:gd name="T5" fmla="*/ 5 h 30"/>
                <a:gd name="T6" fmla="*/ 6 w 11"/>
                <a:gd name="T7" fmla="*/ 0 h 30"/>
                <a:gd name="T8" fmla="*/ 11 w 11"/>
                <a:gd name="T9" fmla="*/ 5 h 30"/>
                <a:gd name="T10" fmla="*/ 11 w 11"/>
                <a:gd name="T11" fmla="*/ 24 h 30"/>
                <a:gd name="T12" fmla="*/ 6 w 11"/>
                <a:gd name="T13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30">
                  <a:moveTo>
                    <a:pt x="6" y="30"/>
                  </a:moveTo>
                  <a:cubicBezTo>
                    <a:pt x="3" y="30"/>
                    <a:pt x="0" y="27"/>
                    <a:pt x="0" y="2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1" y="2"/>
                    <a:pt x="11" y="5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1" y="27"/>
                    <a:pt x="9" y="30"/>
                    <a:pt x="6" y="3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8" name="Freeform 1408">
              <a:extLst>
                <a:ext uri="{FF2B5EF4-FFF2-40B4-BE49-F238E27FC236}">
                  <a16:creationId xmlns:a16="http://schemas.microsoft.com/office/drawing/2014/main" id="{EAC417E4-102E-BF55-3081-D716FEA84668}"/>
                </a:ext>
              </a:extLst>
            </p:cNvPr>
            <p:cNvSpPr>
              <a:spLocks/>
            </p:cNvSpPr>
            <p:nvPr/>
          </p:nvSpPr>
          <p:spPr bwMode="auto">
            <a:xfrm>
              <a:off x="-2587624" y="3553792"/>
              <a:ext cx="11113" cy="31750"/>
            </a:xfrm>
            <a:custGeom>
              <a:avLst/>
              <a:gdLst>
                <a:gd name="T0" fmla="*/ 6 w 11"/>
                <a:gd name="T1" fmla="*/ 30 h 30"/>
                <a:gd name="T2" fmla="*/ 0 w 11"/>
                <a:gd name="T3" fmla="*/ 25 h 30"/>
                <a:gd name="T4" fmla="*/ 0 w 11"/>
                <a:gd name="T5" fmla="*/ 5 h 30"/>
                <a:gd name="T6" fmla="*/ 6 w 11"/>
                <a:gd name="T7" fmla="*/ 0 h 30"/>
                <a:gd name="T8" fmla="*/ 11 w 11"/>
                <a:gd name="T9" fmla="*/ 5 h 30"/>
                <a:gd name="T10" fmla="*/ 11 w 11"/>
                <a:gd name="T11" fmla="*/ 25 h 30"/>
                <a:gd name="T12" fmla="*/ 6 w 11"/>
                <a:gd name="T13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30">
                  <a:moveTo>
                    <a:pt x="6" y="30"/>
                  </a:moveTo>
                  <a:cubicBezTo>
                    <a:pt x="3" y="30"/>
                    <a:pt x="0" y="28"/>
                    <a:pt x="0" y="2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1" y="2"/>
                    <a:pt x="11" y="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8"/>
                    <a:pt x="9" y="30"/>
                    <a:pt x="6" y="3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9" name="Freeform 1409">
              <a:extLst>
                <a:ext uri="{FF2B5EF4-FFF2-40B4-BE49-F238E27FC236}">
                  <a16:creationId xmlns:a16="http://schemas.microsoft.com/office/drawing/2014/main" id="{0FDB115D-216A-72B8-2B10-D02CD0F0B4A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728909" y="3364876"/>
              <a:ext cx="292100" cy="292100"/>
            </a:xfrm>
            <a:custGeom>
              <a:avLst/>
              <a:gdLst>
                <a:gd name="T0" fmla="*/ 141 w 282"/>
                <a:gd name="T1" fmla="*/ 281 h 281"/>
                <a:gd name="T2" fmla="*/ 61 w 282"/>
                <a:gd name="T3" fmla="*/ 257 h 281"/>
                <a:gd name="T4" fmla="*/ 25 w 282"/>
                <a:gd name="T5" fmla="*/ 220 h 281"/>
                <a:gd name="T6" fmla="*/ 0 w 282"/>
                <a:gd name="T7" fmla="*/ 140 h 281"/>
                <a:gd name="T8" fmla="*/ 141 w 282"/>
                <a:gd name="T9" fmla="*/ 0 h 281"/>
                <a:gd name="T10" fmla="*/ 282 w 282"/>
                <a:gd name="T11" fmla="*/ 140 h 281"/>
                <a:gd name="T12" fmla="*/ 141 w 282"/>
                <a:gd name="T13" fmla="*/ 281 h 281"/>
                <a:gd name="T14" fmla="*/ 141 w 282"/>
                <a:gd name="T15" fmla="*/ 11 h 281"/>
                <a:gd name="T16" fmla="*/ 11 w 282"/>
                <a:gd name="T17" fmla="*/ 140 h 281"/>
                <a:gd name="T18" fmla="*/ 34 w 282"/>
                <a:gd name="T19" fmla="*/ 214 h 281"/>
                <a:gd name="T20" fmla="*/ 67 w 282"/>
                <a:gd name="T21" fmla="*/ 248 h 281"/>
                <a:gd name="T22" fmla="*/ 141 w 282"/>
                <a:gd name="T23" fmla="*/ 270 h 281"/>
                <a:gd name="T24" fmla="*/ 271 w 282"/>
                <a:gd name="T25" fmla="*/ 140 h 281"/>
                <a:gd name="T26" fmla="*/ 141 w 282"/>
                <a:gd name="T27" fmla="*/ 11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2" h="281">
                  <a:moveTo>
                    <a:pt x="141" y="281"/>
                  </a:moveTo>
                  <a:cubicBezTo>
                    <a:pt x="112" y="281"/>
                    <a:pt x="85" y="273"/>
                    <a:pt x="61" y="257"/>
                  </a:cubicBezTo>
                  <a:cubicBezTo>
                    <a:pt x="47" y="247"/>
                    <a:pt x="35" y="234"/>
                    <a:pt x="25" y="220"/>
                  </a:cubicBezTo>
                  <a:cubicBezTo>
                    <a:pt x="9" y="197"/>
                    <a:pt x="0" y="169"/>
                    <a:pt x="0" y="140"/>
                  </a:cubicBezTo>
                  <a:cubicBezTo>
                    <a:pt x="0" y="63"/>
                    <a:pt x="63" y="0"/>
                    <a:pt x="141" y="0"/>
                  </a:cubicBezTo>
                  <a:cubicBezTo>
                    <a:pt x="219" y="0"/>
                    <a:pt x="282" y="63"/>
                    <a:pt x="282" y="140"/>
                  </a:cubicBezTo>
                  <a:cubicBezTo>
                    <a:pt x="282" y="218"/>
                    <a:pt x="219" y="281"/>
                    <a:pt x="141" y="281"/>
                  </a:cubicBezTo>
                  <a:close/>
                  <a:moveTo>
                    <a:pt x="141" y="11"/>
                  </a:moveTo>
                  <a:cubicBezTo>
                    <a:pt x="69" y="11"/>
                    <a:pt x="11" y="69"/>
                    <a:pt x="11" y="140"/>
                  </a:cubicBezTo>
                  <a:cubicBezTo>
                    <a:pt x="11" y="167"/>
                    <a:pt x="19" y="192"/>
                    <a:pt x="34" y="214"/>
                  </a:cubicBezTo>
                  <a:cubicBezTo>
                    <a:pt x="43" y="227"/>
                    <a:pt x="54" y="239"/>
                    <a:pt x="67" y="248"/>
                  </a:cubicBezTo>
                  <a:cubicBezTo>
                    <a:pt x="89" y="263"/>
                    <a:pt x="115" y="270"/>
                    <a:pt x="141" y="270"/>
                  </a:cubicBezTo>
                  <a:cubicBezTo>
                    <a:pt x="213" y="270"/>
                    <a:pt x="271" y="212"/>
                    <a:pt x="271" y="140"/>
                  </a:cubicBezTo>
                  <a:cubicBezTo>
                    <a:pt x="271" y="69"/>
                    <a:pt x="213" y="11"/>
                    <a:pt x="141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0" name="Freeform 1410">
              <a:extLst>
                <a:ext uri="{FF2B5EF4-FFF2-40B4-BE49-F238E27FC236}">
                  <a16:creationId xmlns:a16="http://schemas.microsoft.com/office/drawing/2014/main" id="{E8E4A79C-CA37-1363-580C-0EF712A7F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695575" y="3398218"/>
              <a:ext cx="225425" cy="225425"/>
            </a:xfrm>
            <a:custGeom>
              <a:avLst/>
              <a:gdLst>
                <a:gd name="T0" fmla="*/ 109 w 218"/>
                <a:gd name="T1" fmla="*/ 217 h 217"/>
                <a:gd name="T2" fmla="*/ 47 w 218"/>
                <a:gd name="T3" fmla="*/ 198 h 217"/>
                <a:gd name="T4" fmla="*/ 19 w 218"/>
                <a:gd name="T5" fmla="*/ 170 h 217"/>
                <a:gd name="T6" fmla="*/ 0 w 218"/>
                <a:gd name="T7" fmla="*/ 108 h 217"/>
                <a:gd name="T8" fmla="*/ 109 w 218"/>
                <a:gd name="T9" fmla="*/ 0 h 217"/>
                <a:gd name="T10" fmla="*/ 218 w 218"/>
                <a:gd name="T11" fmla="*/ 108 h 217"/>
                <a:gd name="T12" fmla="*/ 109 w 218"/>
                <a:gd name="T13" fmla="*/ 217 h 217"/>
                <a:gd name="T14" fmla="*/ 109 w 218"/>
                <a:gd name="T15" fmla="*/ 11 h 217"/>
                <a:gd name="T16" fmla="*/ 11 w 218"/>
                <a:gd name="T17" fmla="*/ 108 h 217"/>
                <a:gd name="T18" fmla="*/ 28 w 218"/>
                <a:gd name="T19" fmla="*/ 164 h 217"/>
                <a:gd name="T20" fmla="*/ 54 w 218"/>
                <a:gd name="T21" fmla="*/ 189 h 217"/>
                <a:gd name="T22" fmla="*/ 109 w 218"/>
                <a:gd name="T23" fmla="*/ 206 h 217"/>
                <a:gd name="T24" fmla="*/ 207 w 218"/>
                <a:gd name="T25" fmla="*/ 108 h 217"/>
                <a:gd name="T26" fmla="*/ 109 w 218"/>
                <a:gd name="T27" fmla="*/ 11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8" h="217">
                  <a:moveTo>
                    <a:pt x="109" y="217"/>
                  </a:moveTo>
                  <a:cubicBezTo>
                    <a:pt x="87" y="217"/>
                    <a:pt x="66" y="211"/>
                    <a:pt x="47" y="198"/>
                  </a:cubicBezTo>
                  <a:cubicBezTo>
                    <a:pt x="36" y="191"/>
                    <a:pt x="27" y="181"/>
                    <a:pt x="19" y="170"/>
                  </a:cubicBezTo>
                  <a:cubicBezTo>
                    <a:pt x="7" y="152"/>
                    <a:pt x="0" y="131"/>
                    <a:pt x="0" y="108"/>
                  </a:cubicBezTo>
                  <a:cubicBezTo>
                    <a:pt x="0" y="48"/>
                    <a:pt x="49" y="0"/>
                    <a:pt x="109" y="0"/>
                  </a:cubicBezTo>
                  <a:cubicBezTo>
                    <a:pt x="169" y="0"/>
                    <a:pt x="218" y="48"/>
                    <a:pt x="218" y="108"/>
                  </a:cubicBezTo>
                  <a:cubicBezTo>
                    <a:pt x="218" y="168"/>
                    <a:pt x="169" y="217"/>
                    <a:pt x="109" y="217"/>
                  </a:cubicBezTo>
                  <a:close/>
                  <a:moveTo>
                    <a:pt x="109" y="11"/>
                  </a:moveTo>
                  <a:cubicBezTo>
                    <a:pt x="55" y="11"/>
                    <a:pt x="11" y="54"/>
                    <a:pt x="11" y="108"/>
                  </a:cubicBezTo>
                  <a:cubicBezTo>
                    <a:pt x="11" y="128"/>
                    <a:pt x="17" y="147"/>
                    <a:pt x="28" y="164"/>
                  </a:cubicBezTo>
                  <a:cubicBezTo>
                    <a:pt x="35" y="174"/>
                    <a:pt x="44" y="182"/>
                    <a:pt x="54" y="189"/>
                  </a:cubicBezTo>
                  <a:cubicBezTo>
                    <a:pt x="70" y="200"/>
                    <a:pt x="89" y="206"/>
                    <a:pt x="109" y="206"/>
                  </a:cubicBezTo>
                  <a:cubicBezTo>
                    <a:pt x="163" y="206"/>
                    <a:pt x="207" y="162"/>
                    <a:pt x="207" y="108"/>
                  </a:cubicBezTo>
                  <a:cubicBezTo>
                    <a:pt x="207" y="54"/>
                    <a:pt x="163" y="11"/>
                    <a:pt x="109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71" name="Shape44_20200717_142846">
            <a:extLst>
              <a:ext uri="{FF2B5EF4-FFF2-40B4-BE49-F238E27FC236}">
                <a16:creationId xmlns:a16="http://schemas.microsoft.com/office/drawing/2014/main" id="{55938058-0E75-2350-E268-E57D891F5427}"/>
              </a:ext>
            </a:extLst>
          </p:cNvPr>
          <p:cNvGrpSpPr>
            <a:grpSpLocks noChangeAspect="1"/>
          </p:cNvGrpSpPr>
          <p:nvPr/>
        </p:nvGrpSpPr>
        <p:grpSpPr>
          <a:xfrm>
            <a:off x="3200623" y="2578426"/>
            <a:ext cx="568526" cy="501361"/>
            <a:chOff x="-596901" y="1791659"/>
            <a:chExt cx="376239" cy="331787"/>
          </a:xfrm>
          <a:solidFill>
            <a:schemeClr val="accent1"/>
          </a:solidFill>
        </p:grpSpPr>
        <p:sp>
          <p:nvSpPr>
            <p:cNvPr id="72" name="Freeform 1423">
              <a:extLst>
                <a:ext uri="{FF2B5EF4-FFF2-40B4-BE49-F238E27FC236}">
                  <a16:creationId xmlns:a16="http://schemas.microsoft.com/office/drawing/2014/main" id="{87C85A64-83B0-1568-C92D-D99F64E70D48}"/>
                </a:ext>
              </a:extLst>
            </p:cNvPr>
            <p:cNvSpPr>
              <a:spLocks/>
            </p:cNvSpPr>
            <p:nvPr/>
          </p:nvSpPr>
          <p:spPr bwMode="auto">
            <a:xfrm>
              <a:off x="-538163" y="1834519"/>
              <a:ext cx="60325" cy="87312"/>
            </a:xfrm>
            <a:custGeom>
              <a:avLst/>
              <a:gdLst>
                <a:gd name="T0" fmla="*/ 29 w 58"/>
                <a:gd name="T1" fmla="*/ 84 h 84"/>
                <a:gd name="T2" fmla="*/ 2 w 58"/>
                <a:gd name="T3" fmla="*/ 71 h 84"/>
                <a:gd name="T4" fmla="*/ 3 w 58"/>
                <a:gd name="T5" fmla="*/ 63 h 84"/>
                <a:gd name="T6" fmla="*/ 11 w 58"/>
                <a:gd name="T7" fmla="*/ 64 h 84"/>
                <a:gd name="T8" fmla="*/ 40 w 58"/>
                <a:gd name="T9" fmla="*/ 71 h 84"/>
                <a:gd name="T10" fmla="*/ 41 w 58"/>
                <a:gd name="T11" fmla="*/ 70 h 84"/>
                <a:gd name="T12" fmla="*/ 46 w 58"/>
                <a:gd name="T13" fmla="*/ 60 h 84"/>
                <a:gd name="T14" fmla="*/ 37 w 58"/>
                <a:gd name="T15" fmla="*/ 48 h 84"/>
                <a:gd name="T16" fmla="*/ 18 w 58"/>
                <a:gd name="T17" fmla="*/ 43 h 84"/>
                <a:gd name="T18" fmla="*/ 1 w 58"/>
                <a:gd name="T19" fmla="*/ 22 h 84"/>
                <a:gd name="T20" fmla="*/ 29 w 58"/>
                <a:gd name="T21" fmla="*/ 0 h 84"/>
                <a:gd name="T22" fmla="*/ 30 w 58"/>
                <a:gd name="T23" fmla="*/ 0 h 84"/>
                <a:gd name="T24" fmla="*/ 57 w 58"/>
                <a:gd name="T25" fmla="*/ 19 h 84"/>
                <a:gd name="T26" fmla="*/ 54 w 58"/>
                <a:gd name="T27" fmla="*/ 26 h 84"/>
                <a:gd name="T28" fmla="*/ 47 w 58"/>
                <a:gd name="T29" fmla="*/ 22 h 84"/>
                <a:gd name="T30" fmla="*/ 30 w 58"/>
                <a:gd name="T31" fmla="*/ 11 h 84"/>
                <a:gd name="T32" fmla="*/ 12 w 58"/>
                <a:gd name="T33" fmla="*/ 22 h 84"/>
                <a:gd name="T34" fmla="*/ 21 w 58"/>
                <a:gd name="T35" fmla="*/ 32 h 84"/>
                <a:gd name="T36" fmla="*/ 40 w 58"/>
                <a:gd name="T37" fmla="*/ 38 h 84"/>
                <a:gd name="T38" fmla="*/ 57 w 58"/>
                <a:gd name="T39" fmla="*/ 59 h 84"/>
                <a:gd name="T40" fmla="*/ 45 w 58"/>
                <a:gd name="T41" fmla="*/ 81 h 84"/>
                <a:gd name="T42" fmla="*/ 29 w 58"/>
                <a:gd name="T43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8" h="84">
                  <a:moveTo>
                    <a:pt x="29" y="84"/>
                  </a:moveTo>
                  <a:cubicBezTo>
                    <a:pt x="20" y="84"/>
                    <a:pt x="10" y="81"/>
                    <a:pt x="2" y="71"/>
                  </a:cubicBezTo>
                  <a:cubicBezTo>
                    <a:pt x="0" y="68"/>
                    <a:pt x="1" y="65"/>
                    <a:pt x="3" y="63"/>
                  </a:cubicBezTo>
                  <a:cubicBezTo>
                    <a:pt x="6" y="61"/>
                    <a:pt x="9" y="62"/>
                    <a:pt x="11" y="64"/>
                  </a:cubicBezTo>
                  <a:cubicBezTo>
                    <a:pt x="23" y="80"/>
                    <a:pt x="40" y="71"/>
                    <a:pt x="40" y="71"/>
                  </a:cubicBezTo>
                  <a:cubicBezTo>
                    <a:pt x="40" y="71"/>
                    <a:pt x="41" y="71"/>
                    <a:pt x="41" y="70"/>
                  </a:cubicBezTo>
                  <a:cubicBezTo>
                    <a:pt x="41" y="70"/>
                    <a:pt x="47" y="67"/>
                    <a:pt x="46" y="60"/>
                  </a:cubicBezTo>
                  <a:cubicBezTo>
                    <a:pt x="46" y="51"/>
                    <a:pt x="38" y="49"/>
                    <a:pt x="37" y="48"/>
                  </a:cubicBezTo>
                  <a:cubicBezTo>
                    <a:pt x="37" y="48"/>
                    <a:pt x="28" y="46"/>
                    <a:pt x="18" y="43"/>
                  </a:cubicBezTo>
                  <a:cubicBezTo>
                    <a:pt x="4" y="39"/>
                    <a:pt x="1" y="29"/>
                    <a:pt x="1" y="22"/>
                  </a:cubicBezTo>
                  <a:cubicBezTo>
                    <a:pt x="2" y="17"/>
                    <a:pt x="4" y="0"/>
                    <a:pt x="29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47" y="0"/>
                    <a:pt x="55" y="13"/>
                    <a:pt x="57" y="19"/>
                  </a:cubicBezTo>
                  <a:cubicBezTo>
                    <a:pt x="58" y="22"/>
                    <a:pt x="56" y="25"/>
                    <a:pt x="54" y="26"/>
                  </a:cubicBezTo>
                  <a:cubicBezTo>
                    <a:pt x="51" y="27"/>
                    <a:pt x="48" y="25"/>
                    <a:pt x="47" y="22"/>
                  </a:cubicBezTo>
                  <a:cubicBezTo>
                    <a:pt x="46" y="21"/>
                    <a:pt x="43" y="11"/>
                    <a:pt x="30" y="11"/>
                  </a:cubicBezTo>
                  <a:cubicBezTo>
                    <a:pt x="18" y="11"/>
                    <a:pt x="13" y="15"/>
                    <a:pt x="12" y="22"/>
                  </a:cubicBezTo>
                  <a:cubicBezTo>
                    <a:pt x="12" y="26"/>
                    <a:pt x="13" y="30"/>
                    <a:pt x="21" y="32"/>
                  </a:cubicBezTo>
                  <a:cubicBezTo>
                    <a:pt x="31" y="35"/>
                    <a:pt x="40" y="38"/>
                    <a:pt x="40" y="38"/>
                  </a:cubicBezTo>
                  <a:cubicBezTo>
                    <a:pt x="41" y="38"/>
                    <a:pt x="56" y="43"/>
                    <a:pt x="57" y="59"/>
                  </a:cubicBezTo>
                  <a:cubicBezTo>
                    <a:pt x="58" y="71"/>
                    <a:pt x="50" y="78"/>
                    <a:pt x="45" y="81"/>
                  </a:cubicBezTo>
                  <a:cubicBezTo>
                    <a:pt x="41" y="82"/>
                    <a:pt x="35" y="84"/>
                    <a:pt x="29" y="8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3" name="Freeform 1424">
              <a:extLst>
                <a:ext uri="{FF2B5EF4-FFF2-40B4-BE49-F238E27FC236}">
                  <a16:creationId xmlns:a16="http://schemas.microsoft.com/office/drawing/2014/main" id="{ED4A367A-B571-BA3E-B2EF-9954CC60C9AE}"/>
                </a:ext>
              </a:extLst>
            </p:cNvPr>
            <p:cNvSpPr>
              <a:spLocks/>
            </p:cNvSpPr>
            <p:nvPr/>
          </p:nvSpPr>
          <p:spPr bwMode="auto">
            <a:xfrm>
              <a:off x="-514351" y="1818644"/>
              <a:ext cx="12700" cy="26988"/>
            </a:xfrm>
            <a:custGeom>
              <a:avLst/>
              <a:gdLst>
                <a:gd name="T0" fmla="*/ 6 w 11"/>
                <a:gd name="T1" fmla="*/ 26 h 26"/>
                <a:gd name="T2" fmla="*/ 0 w 11"/>
                <a:gd name="T3" fmla="*/ 21 h 26"/>
                <a:gd name="T4" fmla="*/ 0 w 11"/>
                <a:gd name="T5" fmla="*/ 6 h 26"/>
                <a:gd name="T6" fmla="*/ 6 w 11"/>
                <a:gd name="T7" fmla="*/ 0 h 26"/>
                <a:gd name="T8" fmla="*/ 11 w 11"/>
                <a:gd name="T9" fmla="*/ 6 h 26"/>
                <a:gd name="T10" fmla="*/ 11 w 11"/>
                <a:gd name="T11" fmla="*/ 21 h 26"/>
                <a:gd name="T12" fmla="*/ 6 w 11"/>
                <a:gd name="T13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6">
                  <a:moveTo>
                    <a:pt x="6" y="26"/>
                  </a:moveTo>
                  <a:cubicBezTo>
                    <a:pt x="3" y="26"/>
                    <a:pt x="0" y="24"/>
                    <a:pt x="0" y="21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1" y="2"/>
                    <a:pt x="11" y="6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11" y="24"/>
                    <a:pt x="9" y="26"/>
                    <a:pt x="6" y="2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4" name="Freeform 1425">
              <a:extLst>
                <a:ext uri="{FF2B5EF4-FFF2-40B4-BE49-F238E27FC236}">
                  <a16:creationId xmlns:a16="http://schemas.microsoft.com/office/drawing/2014/main" id="{54E3ED90-7587-197A-3D53-555502DB8750}"/>
                </a:ext>
              </a:extLst>
            </p:cNvPr>
            <p:cNvSpPr>
              <a:spLocks/>
            </p:cNvSpPr>
            <p:nvPr/>
          </p:nvSpPr>
          <p:spPr bwMode="auto">
            <a:xfrm>
              <a:off x="-514351" y="1912306"/>
              <a:ext cx="12700" cy="26988"/>
            </a:xfrm>
            <a:custGeom>
              <a:avLst/>
              <a:gdLst>
                <a:gd name="T0" fmla="*/ 6 w 11"/>
                <a:gd name="T1" fmla="*/ 27 h 27"/>
                <a:gd name="T2" fmla="*/ 0 w 11"/>
                <a:gd name="T3" fmla="*/ 21 h 27"/>
                <a:gd name="T4" fmla="*/ 0 w 11"/>
                <a:gd name="T5" fmla="*/ 6 h 27"/>
                <a:gd name="T6" fmla="*/ 6 w 11"/>
                <a:gd name="T7" fmla="*/ 0 h 27"/>
                <a:gd name="T8" fmla="*/ 11 w 11"/>
                <a:gd name="T9" fmla="*/ 6 h 27"/>
                <a:gd name="T10" fmla="*/ 11 w 11"/>
                <a:gd name="T11" fmla="*/ 21 h 27"/>
                <a:gd name="T12" fmla="*/ 6 w 11"/>
                <a:gd name="T13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7">
                  <a:moveTo>
                    <a:pt x="6" y="27"/>
                  </a:moveTo>
                  <a:cubicBezTo>
                    <a:pt x="3" y="27"/>
                    <a:pt x="0" y="24"/>
                    <a:pt x="0" y="21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1" y="3"/>
                    <a:pt x="11" y="6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11" y="24"/>
                    <a:pt x="9" y="27"/>
                    <a:pt x="6" y="2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5" name="Freeform 1426">
              <a:extLst>
                <a:ext uri="{FF2B5EF4-FFF2-40B4-BE49-F238E27FC236}">
                  <a16:creationId xmlns:a16="http://schemas.microsoft.com/office/drawing/2014/main" id="{F9AB0102-2BD2-B4BF-83CC-86EC1B0DE5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96901" y="1791659"/>
              <a:ext cx="177800" cy="177799"/>
            </a:xfrm>
            <a:custGeom>
              <a:avLst/>
              <a:gdLst>
                <a:gd name="T0" fmla="*/ 85 w 171"/>
                <a:gd name="T1" fmla="*/ 171 h 171"/>
                <a:gd name="T2" fmla="*/ 0 w 171"/>
                <a:gd name="T3" fmla="*/ 86 h 171"/>
                <a:gd name="T4" fmla="*/ 85 w 171"/>
                <a:gd name="T5" fmla="*/ 0 h 171"/>
                <a:gd name="T6" fmla="*/ 171 w 171"/>
                <a:gd name="T7" fmla="*/ 86 h 171"/>
                <a:gd name="T8" fmla="*/ 85 w 171"/>
                <a:gd name="T9" fmla="*/ 171 h 171"/>
                <a:gd name="T10" fmla="*/ 85 w 171"/>
                <a:gd name="T11" fmla="*/ 11 h 171"/>
                <a:gd name="T12" fmla="*/ 11 w 171"/>
                <a:gd name="T13" fmla="*/ 86 h 171"/>
                <a:gd name="T14" fmla="*/ 85 w 171"/>
                <a:gd name="T15" fmla="*/ 160 h 171"/>
                <a:gd name="T16" fmla="*/ 160 w 171"/>
                <a:gd name="T17" fmla="*/ 86 h 171"/>
                <a:gd name="T18" fmla="*/ 85 w 171"/>
                <a:gd name="T19" fmla="*/ 11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1" h="171">
                  <a:moveTo>
                    <a:pt x="85" y="171"/>
                  </a:moveTo>
                  <a:cubicBezTo>
                    <a:pt x="38" y="171"/>
                    <a:pt x="0" y="133"/>
                    <a:pt x="0" y="86"/>
                  </a:cubicBezTo>
                  <a:cubicBezTo>
                    <a:pt x="0" y="39"/>
                    <a:pt x="38" y="0"/>
                    <a:pt x="85" y="0"/>
                  </a:cubicBezTo>
                  <a:cubicBezTo>
                    <a:pt x="132" y="0"/>
                    <a:pt x="171" y="39"/>
                    <a:pt x="171" y="86"/>
                  </a:cubicBezTo>
                  <a:cubicBezTo>
                    <a:pt x="171" y="133"/>
                    <a:pt x="132" y="171"/>
                    <a:pt x="85" y="171"/>
                  </a:cubicBezTo>
                  <a:close/>
                  <a:moveTo>
                    <a:pt x="85" y="11"/>
                  </a:moveTo>
                  <a:cubicBezTo>
                    <a:pt x="44" y="11"/>
                    <a:pt x="11" y="45"/>
                    <a:pt x="11" y="86"/>
                  </a:cubicBezTo>
                  <a:cubicBezTo>
                    <a:pt x="11" y="127"/>
                    <a:pt x="44" y="160"/>
                    <a:pt x="85" y="160"/>
                  </a:cubicBezTo>
                  <a:cubicBezTo>
                    <a:pt x="126" y="160"/>
                    <a:pt x="160" y="127"/>
                    <a:pt x="160" y="86"/>
                  </a:cubicBezTo>
                  <a:cubicBezTo>
                    <a:pt x="160" y="45"/>
                    <a:pt x="126" y="11"/>
                    <a:pt x="85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6" name="Freeform 1427">
              <a:extLst>
                <a:ext uri="{FF2B5EF4-FFF2-40B4-BE49-F238E27FC236}">
                  <a16:creationId xmlns:a16="http://schemas.microsoft.com/office/drawing/2014/main" id="{12169B23-2ECA-2EEA-1F50-39936E164157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2601" y="1939297"/>
              <a:ext cx="261939" cy="184149"/>
            </a:xfrm>
            <a:custGeom>
              <a:avLst/>
              <a:gdLst>
                <a:gd name="T0" fmla="*/ 211 w 253"/>
                <a:gd name="T1" fmla="*/ 177 h 177"/>
                <a:gd name="T2" fmla="*/ 206 w 253"/>
                <a:gd name="T3" fmla="*/ 171 h 177"/>
                <a:gd name="T4" fmla="*/ 206 w 253"/>
                <a:gd name="T5" fmla="*/ 137 h 177"/>
                <a:gd name="T6" fmla="*/ 211 w 253"/>
                <a:gd name="T7" fmla="*/ 131 h 177"/>
                <a:gd name="T8" fmla="*/ 217 w 253"/>
                <a:gd name="T9" fmla="*/ 137 h 177"/>
                <a:gd name="T10" fmla="*/ 228 w 253"/>
                <a:gd name="T11" fmla="*/ 150 h 177"/>
                <a:gd name="T12" fmla="*/ 238 w 253"/>
                <a:gd name="T13" fmla="*/ 147 h 177"/>
                <a:gd name="T14" fmla="*/ 242 w 253"/>
                <a:gd name="T15" fmla="*/ 137 h 177"/>
                <a:gd name="T16" fmla="*/ 242 w 253"/>
                <a:gd name="T17" fmla="*/ 42 h 177"/>
                <a:gd name="T18" fmla="*/ 211 w 253"/>
                <a:gd name="T19" fmla="*/ 11 h 177"/>
                <a:gd name="T20" fmla="*/ 120 w 253"/>
                <a:gd name="T21" fmla="*/ 11 h 177"/>
                <a:gd name="T22" fmla="*/ 102 w 253"/>
                <a:gd name="T23" fmla="*/ 17 h 177"/>
                <a:gd name="T24" fmla="*/ 63 w 253"/>
                <a:gd name="T25" fmla="*/ 48 h 177"/>
                <a:gd name="T26" fmla="*/ 61 w 253"/>
                <a:gd name="T27" fmla="*/ 49 h 177"/>
                <a:gd name="T28" fmla="*/ 19 w 253"/>
                <a:gd name="T29" fmla="*/ 62 h 177"/>
                <a:gd name="T30" fmla="*/ 13 w 253"/>
                <a:gd name="T31" fmla="*/ 68 h 177"/>
                <a:gd name="T32" fmla="*/ 12 w 253"/>
                <a:gd name="T33" fmla="*/ 76 h 177"/>
                <a:gd name="T34" fmla="*/ 24 w 253"/>
                <a:gd name="T35" fmla="*/ 83 h 177"/>
                <a:gd name="T36" fmla="*/ 48 w 253"/>
                <a:gd name="T37" fmla="*/ 79 h 177"/>
                <a:gd name="T38" fmla="*/ 91 w 253"/>
                <a:gd name="T39" fmla="*/ 65 h 177"/>
                <a:gd name="T40" fmla="*/ 118 w 253"/>
                <a:gd name="T41" fmla="*/ 53 h 177"/>
                <a:gd name="T42" fmla="*/ 123 w 253"/>
                <a:gd name="T43" fmla="*/ 53 h 177"/>
                <a:gd name="T44" fmla="*/ 125 w 253"/>
                <a:gd name="T45" fmla="*/ 58 h 177"/>
                <a:gd name="T46" fmla="*/ 125 w 253"/>
                <a:gd name="T47" fmla="*/ 137 h 177"/>
                <a:gd name="T48" fmla="*/ 120 w 253"/>
                <a:gd name="T49" fmla="*/ 142 h 177"/>
                <a:gd name="T50" fmla="*/ 114 w 253"/>
                <a:gd name="T51" fmla="*/ 137 h 177"/>
                <a:gd name="T52" fmla="*/ 114 w 253"/>
                <a:gd name="T53" fmla="*/ 66 h 177"/>
                <a:gd name="T54" fmla="*/ 95 w 253"/>
                <a:gd name="T55" fmla="*/ 75 h 177"/>
                <a:gd name="T56" fmla="*/ 50 w 253"/>
                <a:gd name="T57" fmla="*/ 89 h 177"/>
                <a:gd name="T58" fmla="*/ 26 w 253"/>
                <a:gd name="T59" fmla="*/ 94 h 177"/>
                <a:gd name="T60" fmla="*/ 2 w 253"/>
                <a:gd name="T61" fmla="*/ 80 h 177"/>
                <a:gd name="T62" fmla="*/ 3 w 253"/>
                <a:gd name="T63" fmla="*/ 63 h 177"/>
                <a:gd name="T64" fmla="*/ 16 w 253"/>
                <a:gd name="T65" fmla="*/ 52 h 177"/>
                <a:gd name="T66" fmla="*/ 57 w 253"/>
                <a:gd name="T67" fmla="*/ 39 h 177"/>
                <a:gd name="T68" fmla="*/ 96 w 253"/>
                <a:gd name="T69" fmla="*/ 9 h 177"/>
                <a:gd name="T70" fmla="*/ 120 w 253"/>
                <a:gd name="T71" fmla="*/ 0 h 177"/>
                <a:gd name="T72" fmla="*/ 211 w 253"/>
                <a:gd name="T73" fmla="*/ 0 h 177"/>
                <a:gd name="T74" fmla="*/ 253 w 253"/>
                <a:gd name="T75" fmla="*/ 42 h 177"/>
                <a:gd name="T76" fmla="*/ 253 w 253"/>
                <a:gd name="T77" fmla="*/ 137 h 177"/>
                <a:gd name="T78" fmla="*/ 245 w 253"/>
                <a:gd name="T79" fmla="*/ 155 h 177"/>
                <a:gd name="T80" fmla="*/ 227 w 253"/>
                <a:gd name="T81" fmla="*/ 161 h 177"/>
                <a:gd name="T82" fmla="*/ 217 w 253"/>
                <a:gd name="T83" fmla="*/ 157 h 177"/>
                <a:gd name="T84" fmla="*/ 217 w 253"/>
                <a:gd name="T85" fmla="*/ 171 h 177"/>
                <a:gd name="T86" fmla="*/ 211 w 253"/>
                <a:gd name="T87" fmla="*/ 177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53" h="177">
                  <a:moveTo>
                    <a:pt x="211" y="177"/>
                  </a:moveTo>
                  <a:cubicBezTo>
                    <a:pt x="208" y="177"/>
                    <a:pt x="206" y="174"/>
                    <a:pt x="206" y="171"/>
                  </a:cubicBezTo>
                  <a:cubicBezTo>
                    <a:pt x="206" y="137"/>
                    <a:pt x="206" y="137"/>
                    <a:pt x="206" y="137"/>
                  </a:cubicBezTo>
                  <a:cubicBezTo>
                    <a:pt x="206" y="134"/>
                    <a:pt x="208" y="131"/>
                    <a:pt x="211" y="131"/>
                  </a:cubicBezTo>
                  <a:cubicBezTo>
                    <a:pt x="214" y="131"/>
                    <a:pt x="217" y="134"/>
                    <a:pt x="217" y="137"/>
                  </a:cubicBezTo>
                  <a:cubicBezTo>
                    <a:pt x="217" y="144"/>
                    <a:pt x="222" y="149"/>
                    <a:pt x="228" y="150"/>
                  </a:cubicBezTo>
                  <a:cubicBezTo>
                    <a:pt x="232" y="150"/>
                    <a:pt x="235" y="149"/>
                    <a:pt x="238" y="147"/>
                  </a:cubicBezTo>
                  <a:cubicBezTo>
                    <a:pt x="241" y="144"/>
                    <a:pt x="242" y="141"/>
                    <a:pt x="242" y="137"/>
                  </a:cubicBezTo>
                  <a:cubicBezTo>
                    <a:pt x="242" y="42"/>
                    <a:pt x="242" y="42"/>
                    <a:pt x="242" y="42"/>
                  </a:cubicBezTo>
                  <a:cubicBezTo>
                    <a:pt x="242" y="25"/>
                    <a:pt x="228" y="11"/>
                    <a:pt x="211" y="11"/>
                  </a:cubicBezTo>
                  <a:cubicBezTo>
                    <a:pt x="120" y="11"/>
                    <a:pt x="120" y="11"/>
                    <a:pt x="120" y="11"/>
                  </a:cubicBezTo>
                  <a:cubicBezTo>
                    <a:pt x="114" y="11"/>
                    <a:pt x="108" y="13"/>
                    <a:pt x="102" y="17"/>
                  </a:cubicBezTo>
                  <a:cubicBezTo>
                    <a:pt x="63" y="48"/>
                    <a:pt x="63" y="48"/>
                    <a:pt x="63" y="48"/>
                  </a:cubicBezTo>
                  <a:cubicBezTo>
                    <a:pt x="62" y="48"/>
                    <a:pt x="62" y="49"/>
                    <a:pt x="61" y="49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6" y="63"/>
                    <a:pt x="14" y="65"/>
                    <a:pt x="13" y="68"/>
                  </a:cubicBezTo>
                  <a:cubicBezTo>
                    <a:pt x="11" y="71"/>
                    <a:pt x="11" y="74"/>
                    <a:pt x="12" y="76"/>
                  </a:cubicBezTo>
                  <a:cubicBezTo>
                    <a:pt x="14" y="81"/>
                    <a:pt x="19" y="84"/>
                    <a:pt x="24" y="83"/>
                  </a:cubicBezTo>
                  <a:cubicBezTo>
                    <a:pt x="48" y="79"/>
                    <a:pt x="48" y="79"/>
                    <a:pt x="48" y="79"/>
                  </a:cubicBezTo>
                  <a:cubicBezTo>
                    <a:pt x="63" y="76"/>
                    <a:pt x="77" y="71"/>
                    <a:pt x="91" y="65"/>
                  </a:cubicBezTo>
                  <a:cubicBezTo>
                    <a:pt x="118" y="53"/>
                    <a:pt x="118" y="53"/>
                    <a:pt x="118" y="53"/>
                  </a:cubicBezTo>
                  <a:cubicBezTo>
                    <a:pt x="119" y="52"/>
                    <a:pt x="121" y="52"/>
                    <a:pt x="123" y="53"/>
                  </a:cubicBezTo>
                  <a:cubicBezTo>
                    <a:pt x="124" y="54"/>
                    <a:pt x="125" y="56"/>
                    <a:pt x="125" y="58"/>
                  </a:cubicBezTo>
                  <a:cubicBezTo>
                    <a:pt x="125" y="137"/>
                    <a:pt x="125" y="137"/>
                    <a:pt x="125" y="137"/>
                  </a:cubicBezTo>
                  <a:cubicBezTo>
                    <a:pt x="125" y="140"/>
                    <a:pt x="123" y="142"/>
                    <a:pt x="120" y="142"/>
                  </a:cubicBezTo>
                  <a:cubicBezTo>
                    <a:pt x="117" y="142"/>
                    <a:pt x="114" y="140"/>
                    <a:pt x="114" y="137"/>
                  </a:cubicBezTo>
                  <a:cubicBezTo>
                    <a:pt x="114" y="66"/>
                    <a:pt x="114" y="66"/>
                    <a:pt x="114" y="66"/>
                  </a:cubicBezTo>
                  <a:cubicBezTo>
                    <a:pt x="95" y="75"/>
                    <a:pt x="95" y="75"/>
                    <a:pt x="95" y="75"/>
                  </a:cubicBezTo>
                  <a:cubicBezTo>
                    <a:pt x="81" y="82"/>
                    <a:pt x="66" y="87"/>
                    <a:pt x="50" y="89"/>
                  </a:cubicBezTo>
                  <a:cubicBezTo>
                    <a:pt x="26" y="94"/>
                    <a:pt x="26" y="94"/>
                    <a:pt x="26" y="94"/>
                  </a:cubicBezTo>
                  <a:cubicBezTo>
                    <a:pt x="16" y="96"/>
                    <a:pt x="6" y="90"/>
                    <a:pt x="2" y="80"/>
                  </a:cubicBezTo>
                  <a:cubicBezTo>
                    <a:pt x="0" y="75"/>
                    <a:pt x="0" y="69"/>
                    <a:pt x="3" y="63"/>
                  </a:cubicBezTo>
                  <a:cubicBezTo>
                    <a:pt x="5" y="58"/>
                    <a:pt x="10" y="54"/>
                    <a:pt x="16" y="52"/>
                  </a:cubicBezTo>
                  <a:cubicBezTo>
                    <a:pt x="57" y="39"/>
                    <a:pt x="57" y="39"/>
                    <a:pt x="57" y="39"/>
                  </a:cubicBezTo>
                  <a:cubicBezTo>
                    <a:pt x="96" y="9"/>
                    <a:pt x="96" y="9"/>
                    <a:pt x="96" y="9"/>
                  </a:cubicBezTo>
                  <a:cubicBezTo>
                    <a:pt x="103" y="3"/>
                    <a:pt x="111" y="0"/>
                    <a:pt x="120" y="0"/>
                  </a:cubicBezTo>
                  <a:cubicBezTo>
                    <a:pt x="211" y="0"/>
                    <a:pt x="211" y="0"/>
                    <a:pt x="211" y="0"/>
                  </a:cubicBezTo>
                  <a:cubicBezTo>
                    <a:pt x="234" y="0"/>
                    <a:pt x="253" y="18"/>
                    <a:pt x="253" y="42"/>
                  </a:cubicBezTo>
                  <a:cubicBezTo>
                    <a:pt x="253" y="137"/>
                    <a:pt x="253" y="137"/>
                    <a:pt x="253" y="137"/>
                  </a:cubicBezTo>
                  <a:cubicBezTo>
                    <a:pt x="253" y="144"/>
                    <a:pt x="250" y="150"/>
                    <a:pt x="245" y="155"/>
                  </a:cubicBezTo>
                  <a:cubicBezTo>
                    <a:pt x="241" y="159"/>
                    <a:pt x="234" y="162"/>
                    <a:pt x="227" y="161"/>
                  </a:cubicBezTo>
                  <a:cubicBezTo>
                    <a:pt x="223" y="161"/>
                    <a:pt x="220" y="159"/>
                    <a:pt x="217" y="157"/>
                  </a:cubicBezTo>
                  <a:cubicBezTo>
                    <a:pt x="217" y="171"/>
                    <a:pt x="217" y="171"/>
                    <a:pt x="217" y="171"/>
                  </a:cubicBezTo>
                  <a:cubicBezTo>
                    <a:pt x="217" y="174"/>
                    <a:pt x="214" y="177"/>
                    <a:pt x="211" y="17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7" name="Freeform 1428">
              <a:extLst>
                <a:ext uri="{FF2B5EF4-FFF2-40B4-BE49-F238E27FC236}">
                  <a16:creationId xmlns:a16="http://schemas.microsoft.com/office/drawing/2014/main" id="{8EB67B9E-6CF0-A3F8-CD75-748D2D85BA98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3538" y="2075820"/>
              <a:ext cx="11113" cy="47625"/>
            </a:xfrm>
            <a:custGeom>
              <a:avLst/>
              <a:gdLst>
                <a:gd name="T0" fmla="*/ 6 w 11"/>
                <a:gd name="T1" fmla="*/ 46 h 46"/>
                <a:gd name="T2" fmla="*/ 0 w 11"/>
                <a:gd name="T3" fmla="*/ 40 h 46"/>
                <a:gd name="T4" fmla="*/ 0 w 11"/>
                <a:gd name="T5" fmla="*/ 6 h 46"/>
                <a:gd name="T6" fmla="*/ 6 w 11"/>
                <a:gd name="T7" fmla="*/ 0 h 46"/>
                <a:gd name="T8" fmla="*/ 11 w 11"/>
                <a:gd name="T9" fmla="*/ 6 h 46"/>
                <a:gd name="T10" fmla="*/ 11 w 11"/>
                <a:gd name="T11" fmla="*/ 40 h 46"/>
                <a:gd name="T12" fmla="*/ 6 w 11"/>
                <a:gd name="T13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46">
                  <a:moveTo>
                    <a:pt x="6" y="46"/>
                  </a:moveTo>
                  <a:cubicBezTo>
                    <a:pt x="3" y="46"/>
                    <a:pt x="0" y="43"/>
                    <a:pt x="0" y="4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1" y="3"/>
                    <a:pt x="11" y="6"/>
                  </a:cubicBezTo>
                  <a:cubicBezTo>
                    <a:pt x="11" y="40"/>
                    <a:pt x="11" y="40"/>
                    <a:pt x="11" y="40"/>
                  </a:cubicBezTo>
                  <a:cubicBezTo>
                    <a:pt x="11" y="43"/>
                    <a:pt x="9" y="46"/>
                    <a:pt x="6" y="4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8" name="Freeform 1429">
              <a:extLst>
                <a:ext uri="{FF2B5EF4-FFF2-40B4-BE49-F238E27FC236}">
                  <a16:creationId xmlns:a16="http://schemas.microsoft.com/office/drawing/2014/main" id="{3282FBBE-2945-A694-9FC4-6CC8140C9E25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3539" y="1939295"/>
              <a:ext cx="106364" cy="11113"/>
            </a:xfrm>
            <a:custGeom>
              <a:avLst/>
              <a:gdLst>
                <a:gd name="T0" fmla="*/ 97 w 103"/>
                <a:gd name="T1" fmla="*/ 11 h 11"/>
                <a:gd name="T2" fmla="*/ 6 w 103"/>
                <a:gd name="T3" fmla="*/ 11 h 11"/>
                <a:gd name="T4" fmla="*/ 0 w 103"/>
                <a:gd name="T5" fmla="*/ 5 h 11"/>
                <a:gd name="T6" fmla="*/ 6 w 103"/>
                <a:gd name="T7" fmla="*/ 0 h 11"/>
                <a:gd name="T8" fmla="*/ 97 w 103"/>
                <a:gd name="T9" fmla="*/ 0 h 11"/>
                <a:gd name="T10" fmla="*/ 103 w 103"/>
                <a:gd name="T11" fmla="*/ 5 h 11"/>
                <a:gd name="T12" fmla="*/ 97 w 103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11">
                  <a:moveTo>
                    <a:pt x="97" y="11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3" y="11"/>
                    <a:pt x="0" y="8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7" y="0"/>
                    <a:pt x="97" y="0"/>
                    <a:pt x="97" y="0"/>
                  </a:cubicBezTo>
                  <a:cubicBezTo>
                    <a:pt x="100" y="0"/>
                    <a:pt x="103" y="2"/>
                    <a:pt x="103" y="5"/>
                  </a:cubicBezTo>
                  <a:cubicBezTo>
                    <a:pt x="103" y="8"/>
                    <a:pt x="100" y="11"/>
                    <a:pt x="97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9" name="Freeform 1430">
              <a:extLst>
                <a:ext uri="{FF2B5EF4-FFF2-40B4-BE49-F238E27FC236}">
                  <a16:creationId xmlns:a16="http://schemas.microsoft.com/office/drawing/2014/main" id="{2808C8E5-D32F-793F-8C2F-E2E550C56FD7}"/>
                </a:ext>
              </a:extLst>
            </p:cNvPr>
            <p:cNvSpPr>
              <a:spLocks/>
            </p:cNvSpPr>
            <p:nvPr/>
          </p:nvSpPr>
          <p:spPr bwMode="auto">
            <a:xfrm>
              <a:off x="-268288" y="1993271"/>
              <a:ext cx="11113" cy="93663"/>
            </a:xfrm>
            <a:custGeom>
              <a:avLst/>
              <a:gdLst>
                <a:gd name="T0" fmla="*/ 5 w 11"/>
                <a:gd name="T1" fmla="*/ 90 h 90"/>
                <a:gd name="T2" fmla="*/ 0 w 11"/>
                <a:gd name="T3" fmla="*/ 85 h 90"/>
                <a:gd name="T4" fmla="*/ 0 w 11"/>
                <a:gd name="T5" fmla="*/ 6 h 90"/>
                <a:gd name="T6" fmla="*/ 5 w 11"/>
                <a:gd name="T7" fmla="*/ 0 h 90"/>
                <a:gd name="T8" fmla="*/ 11 w 11"/>
                <a:gd name="T9" fmla="*/ 6 h 90"/>
                <a:gd name="T10" fmla="*/ 11 w 11"/>
                <a:gd name="T11" fmla="*/ 85 h 90"/>
                <a:gd name="T12" fmla="*/ 5 w 11"/>
                <a:gd name="T13" fmla="*/ 9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90">
                  <a:moveTo>
                    <a:pt x="5" y="90"/>
                  </a:moveTo>
                  <a:cubicBezTo>
                    <a:pt x="2" y="90"/>
                    <a:pt x="0" y="88"/>
                    <a:pt x="0" y="8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8" y="0"/>
                    <a:pt x="11" y="3"/>
                    <a:pt x="11" y="6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11" y="88"/>
                    <a:pt x="8" y="90"/>
                    <a:pt x="5" y="9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0" name="Freeform 1431">
              <a:extLst>
                <a:ext uri="{FF2B5EF4-FFF2-40B4-BE49-F238E27FC236}">
                  <a16:creationId xmlns:a16="http://schemas.microsoft.com/office/drawing/2014/main" id="{5E8474B6-41FD-E727-CD39-59E32016D84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49250" y="1850405"/>
              <a:ext cx="76200" cy="74613"/>
            </a:xfrm>
            <a:custGeom>
              <a:avLst/>
              <a:gdLst>
                <a:gd name="T0" fmla="*/ 37 w 73"/>
                <a:gd name="T1" fmla="*/ 72 h 72"/>
                <a:gd name="T2" fmla="*/ 0 w 73"/>
                <a:gd name="T3" fmla="*/ 36 h 72"/>
                <a:gd name="T4" fmla="*/ 37 w 73"/>
                <a:gd name="T5" fmla="*/ 0 h 72"/>
                <a:gd name="T6" fmla="*/ 73 w 73"/>
                <a:gd name="T7" fmla="*/ 36 h 72"/>
                <a:gd name="T8" fmla="*/ 37 w 73"/>
                <a:gd name="T9" fmla="*/ 72 h 72"/>
                <a:gd name="T10" fmla="*/ 37 w 73"/>
                <a:gd name="T11" fmla="*/ 11 h 72"/>
                <a:gd name="T12" fmla="*/ 11 w 73"/>
                <a:gd name="T13" fmla="*/ 36 h 72"/>
                <a:gd name="T14" fmla="*/ 37 w 73"/>
                <a:gd name="T15" fmla="*/ 61 h 72"/>
                <a:gd name="T16" fmla="*/ 62 w 73"/>
                <a:gd name="T17" fmla="*/ 36 h 72"/>
                <a:gd name="T18" fmla="*/ 37 w 73"/>
                <a:gd name="T19" fmla="*/ 11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3" h="72">
                  <a:moveTo>
                    <a:pt x="37" y="72"/>
                  </a:moveTo>
                  <a:cubicBezTo>
                    <a:pt x="17" y="72"/>
                    <a:pt x="0" y="56"/>
                    <a:pt x="0" y="36"/>
                  </a:cubicBezTo>
                  <a:cubicBezTo>
                    <a:pt x="0" y="16"/>
                    <a:pt x="17" y="0"/>
                    <a:pt x="37" y="0"/>
                  </a:cubicBezTo>
                  <a:cubicBezTo>
                    <a:pt x="57" y="0"/>
                    <a:pt x="73" y="16"/>
                    <a:pt x="73" y="36"/>
                  </a:cubicBezTo>
                  <a:cubicBezTo>
                    <a:pt x="73" y="56"/>
                    <a:pt x="57" y="72"/>
                    <a:pt x="37" y="72"/>
                  </a:cubicBezTo>
                  <a:close/>
                  <a:moveTo>
                    <a:pt x="37" y="11"/>
                  </a:moveTo>
                  <a:cubicBezTo>
                    <a:pt x="23" y="11"/>
                    <a:pt x="11" y="22"/>
                    <a:pt x="11" y="36"/>
                  </a:cubicBezTo>
                  <a:cubicBezTo>
                    <a:pt x="11" y="50"/>
                    <a:pt x="23" y="61"/>
                    <a:pt x="37" y="61"/>
                  </a:cubicBezTo>
                  <a:cubicBezTo>
                    <a:pt x="51" y="61"/>
                    <a:pt x="62" y="50"/>
                    <a:pt x="62" y="36"/>
                  </a:cubicBezTo>
                  <a:cubicBezTo>
                    <a:pt x="62" y="22"/>
                    <a:pt x="51" y="11"/>
                    <a:pt x="37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81" name="Shape63_20200717_142846">
            <a:extLst>
              <a:ext uri="{FF2B5EF4-FFF2-40B4-BE49-F238E27FC236}">
                <a16:creationId xmlns:a16="http://schemas.microsoft.com/office/drawing/2014/main" id="{76AF93AE-BD07-1897-2D8F-959C41DC66A1}"/>
              </a:ext>
            </a:extLst>
          </p:cNvPr>
          <p:cNvGrpSpPr>
            <a:grpSpLocks noChangeAspect="1"/>
          </p:cNvGrpSpPr>
          <p:nvPr/>
        </p:nvGrpSpPr>
        <p:grpSpPr>
          <a:xfrm>
            <a:off x="3227010" y="5263901"/>
            <a:ext cx="515756" cy="352632"/>
            <a:chOff x="860422" y="2209772"/>
            <a:chExt cx="341313" cy="233360"/>
          </a:xfrm>
          <a:solidFill>
            <a:schemeClr val="accent1"/>
          </a:solidFill>
        </p:grpSpPr>
        <p:sp>
          <p:nvSpPr>
            <p:cNvPr id="82" name="Freeform 439">
              <a:extLst>
                <a:ext uri="{FF2B5EF4-FFF2-40B4-BE49-F238E27FC236}">
                  <a16:creationId xmlns:a16="http://schemas.microsoft.com/office/drawing/2014/main" id="{DC425951-B0D7-4D8E-FFE3-8E53827633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0423" y="2209772"/>
              <a:ext cx="341312" cy="233360"/>
            </a:xfrm>
            <a:custGeom>
              <a:avLst/>
              <a:gdLst>
                <a:gd name="T0" fmla="*/ 136 w 151"/>
                <a:gd name="T1" fmla="*/ 103 h 103"/>
                <a:gd name="T2" fmla="*/ 15 w 151"/>
                <a:gd name="T3" fmla="*/ 103 h 103"/>
                <a:gd name="T4" fmla="*/ 0 w 151"/>
                <a:gd name="T5" fmla="*/ 88 h 103"/>
                <a:gd name="T6" fmla="*/ 0 w 151"/>
                <a:gd name="T7" fmla="*/ 15 h 103"/>
                <a:gd name="T8" fmla="*/ 15 w 151"/>
                <a:gd name="T9" fmla="*/ 0 h 103"/>
                <a:gd name="T10" fmla="*/ 136 w 151"/>
                <a:gd name="T11" fmla="*/ 0 h 103"/>
                <a:gd name="T12" fmla="*/ 151 w 151"/>
                <a:gd name="T13" fmla="*/ 15 h 103"/>
                <a:gd name="T14" fmla="*/ 151 w 151"/>
                <a:gd name="T15" fmla="*/ 88 h 103"/>
                <a:gd name="T16" fmla="*/ 136 w 151"/>
                <a:gd name="T17" fmla="*/ 103 h 103"/>
                <a:gd name="T18" fmla="*/ 15 w 151"/>
                <a:gd name="T19" fmla="*/ 5 h 103"/>
                <a:gd name="T20" fmla="*/ 5 w 151"/>
                <a:gd name="T21" fmla="*/ 15 h 103"/>
                <a:gd name="T22" fmla="*/ 5 w 151"/>
                <a:gd name="T23" fmla="*/ 88 h 103"/>
                <a:gd name="T24" fmla="*/ 15 w 151"/>
                <a:gd name="T25" fmla="*/ 98 h 103"/>
                <a:gd name="T26" fmla="*/ 136 w 151"/>
                <a:gd name="T27" fmla="*/ 98 h 103"/>
                <a:gd name="T28" fmla="*/ 146 w 151"/>
                <a:gd name="T29" fmla="*/ 88 h 103"/>
                <a:gd name="T30" fmla="*/ 146 w 151"/>
                <a:gd name="T31" fmla="*/ 15 h 103"/>
                <a:gd name="T32" fmla="*/ 136 w 151"/>
                <a:gd name="T33" fmla="*/ 5 h 103"/>
                <a:gd name="T34" fmla="*/ 15 w 151"/>
                <a:gd name="T35" fmla="*/ 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1" h="103">
                  <a:moveTo>
                    <a:pt x="136" y="103"/>
                  </a:moveTo>
                  <a:cubicBezTo>
                    <a:pt x="15" y="103"/>
                    <a:pt x="15" y="103"/>
                    <a:pt x="15" y="103"/>
                  </a:cubicBezTo>
                  <a:cubicBezTo>
                    <a:pt x="7" y="103"/>
                    <a:pt x="0" y="96"/>
                    <a:pt x="0" y="88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144" y="0"/>
                    <a:pt x="151" y="7"/>
                    <a:pt x="151" y="15"/>
                  </a:cubicBezTo>
                  <a:cubicBezTo>
                    <a:pt x="151" y="88"/>
                    <a:pt x="151" y="88"/>
                    <a:pt x="151" y="88"/>
                  </a:cubicBezTo>
                  <a:cubicBezTo>
                    <a:pt x="151" y="96"/>
                    <a:pt x="144" y="103"/>
                    <a:pt x="136" y="103"/>
                  </a:cubicBezTo>
                  <a:close/>
                  <a:moveTo>
                    <a:pt x="15" y="5"/>
                  </a:moveTo>
                  <a:cubicBezTo>
                    <a:pt x="9" y="5"/>
                    <a:pt x="5" y="10"/>
                    <a:pt x="5" y="15"/>
                  </a:cubicBezTo>
                  <a:cubicBezTo>
                    <a:pt x="5" y="88"/>
                    <a:pt x="5" y="88"/>
                    <a:pt x="5" y="88"/>
                  </a:cubicBezTo>
                  <a:cubicBezTo>
                    <a:pt x="5" y="93"/>
                    <a:pt x="9" y="98"/>
                    <a:pt x="15" y="98"/>
                  </a:cubicBezTo>
                  <a:cubicBezTo>
                    <a:pt x="136" y="98"/>
                    <a:pt x="136" y="98"/>
                    <a:pt x="136" y="98"/>
                  </a:cubicBezTo>
                  <a:cubicBezTo>
                    <a:pt x="142" y="98"/>
                    <a:pt x="146" y="93"/>
                    <a:pt x="146" y="88"/>
                  </a:cubicBezTo>
                  <a:cubicBezTo>
                    <a:pt x="146" y="15"/>
                    <a:pt x="146" y="15"/>
                    <a:pt x="146" y="15"/>
                  </a:cubicBezTo>
                  <a:cubicBezTo>
                    <a:pt x="146" y="10"/>
                    <a:pt x="142" y="5"/>
                    <a:pt x="136" y="5"/>
                  </a:cubicBezTo>
                  <a:lnTo>
                    <a:pt x="15" y="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3" name="Freeform 440">
              <a:extLst>
                <a:ext uri="{FF2B5EF4-FFF2-40B4-BE49-F238E27FC236}">
                  <a16:creationId xmlns:a16="http://schemas.microsoft.com/office/drawing/2014/main" id="{E95BAFA3-0843-AFB9-4C3F-DB224406B9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0422" y="2244701"/>
              <a:ext cx="341312" cy="55563"/>
            </a:xfrm>
            <a:custGeom>
              <a:avLst/>
              <a:gdLst>
                <a:gd name="T0" fmla="*/ 149 w 151"/>
                <a:gd name="T1" fmla="*/ 25 h 25"/>
                <a:gd name="T2" fmla="*/ 2 w 151"/>
                <a:gd name="T3" fmla="*/ 25 h 25"/>
                <a:gd name="T4" fmla="*/ 0 w 151"/>
                <a:gd name="T5" fmla="*/ 22 h 25"/>
                <a:gd name="T6" fmla="*/ 0 w 151"/>
                <a:gd name="T7" fmla="*/ 3 h 25"/>
                <a:gd name="T8" fmla="*/ 2 w 151"/>
                <a:gd name="T9" fmla="*/ 0 h 25"/>
                <a:gd name="T10" fmla="*/ 149 w 151"/>
                <a:gd name="T11" fmla="*/ 0 h 25"/>
                <a:gd name="T12" fmla="*/ 151 w 151"/>
                <a:gd name="T13" fmla="*/ 3 h 25"/>
                <a:gd name="T14" fmla="*/ 151 w 151"/>
                <a:gd name="T15" fmla="*/ 22 h 25"/>
                <a:gd name="T16" fmla="*/ 149 w 151"/>
                <a:gd name="T17" fmla="*/ 25 h 25"/>
                <a:gd name="T18" fmla="*/ 5 w 151"/>
                <a:gd name="T19" fmla="*/ 20 h 25"/>
                <a:gd name="T20" fmla="*/ 146 w 151"/>
                <a:gd name="T21" fmla="*/ 20 h 25"/>
                <a:gd name="T22" fmla="*/ 146 w 151"/>
                <a:gd name="T23" fmla="*/ 5 h 25"/>
                <a:gd name="T24" fmla="*/ 5 w 151"/>
                <a:gd name="T25" fmla="*/ 5 h 25"/>
                <a:gd name="T26" fmla="*/ 5 w 151"/>
                <a:gd name="T27" fmla="*/ 2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1" h="25">
                  <a:moveTo>
                    <a:pt x="149" y="25"/>
                  </a:moveTo>
                  <a:cubicBezTo>
                    <a:pt x="2" y="25"/>
                    <a:pt x="2" y="25"/>
                    <a:pt x="2" y="25"/>
                  </a:cubicBezTo>
                  <a:cubicBezTo>
                    <a:pt x="1" y="25"/>
                    <a:pt x="0" y="24"/>
                    <a:pt x="0" y="2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0"/>
                    <a:pt x="2" y="0"/>
                  </a:cubicBezTo>
                  <a:cubicBezTo>
                    <a:pt x="149" y="0"/>
                    <a:pt x="149" y="0"/>
                    <a:pt x="149" y="0"/>
                  </a:cubicBezTo>
                  <a:cubicBezTo>
                    <a:pt x="150" y="0"/>
                    <a:pt x="151" y="2"/>
                    <a:pt x="151" y="3"/>
                  </a:cubicBezTo>
                  <a:cubicBezTo>
                    <a:pt x="151" y="22"/>
                    <a:pt x="151" y="22"/>
                    <a:pt x="151" y="22"/>
                  </a:cubicBezTo>
                  <a:cubicBezTo>
                    <a:pt x="151" y="24"/>
                    <a:pt x="150" y="25"/>
                    <a:pt x="149" y="25"/>
                  </a:cubicBezTo>
                  <a:close/>
                  <a:moveTo>
                    <a:pt x="5" y="20"/>
                  </a:moveTo>
                  <a:cubicBezTo>
                    <a:pt x="146" y="20"/>
                    <a:pt x="146" y="20"/>
                    <a:pt x="146" y="20"/>
                  </a:cubicBezTo>
                  <a:cubicBezTo>
                    <a:pt x="146" y="5"/>
                    <a:pt x="146" y="5"/>
                    <a:pt x="146" y="5"/>
                  </a:cubicBezTo>
                  <a:cubicBezTo>
                    <a:pt x="5" y="5"/>
                    <a:pt x="5" y="5"/>
                    <a:pt x="5" y="5"/>
                  </a:cubicBezTo>
                  <a:lnTo>
                    <a:pt x="5" y="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4" name="Freeform 441">
              <a:extLst>
                <a:ext uri="{FF2B5EF4-FFF2-40B4-BE49-F238E27FC236}">
                  <a16:creationId xmlns:a16="http://schemas.microsoft.com/office/drawing/2014/main" id="{16B4B5F7-9E3A-25E6-C6AE-CB74A04AAF6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01695" y="2362185"/>
              <a:ext cx="49213" cy="47625"/>
            </a:xfrm>
            <a:custGeom>
              <a:avLst/>
              <a:gdLst>
                <a:gd name="T0" fmla="*/ 11 w 22"/>
                <a:gd name="T1" fmla="*/ 21 h 21"/>
                <a:gd name="T2" fmla="*/ 0 w 22"/>
                <a:gd name="T3" fmla="*/ 10 h 21"/>
                <a:gd name="T4" fmla="*/ 11 w 22"/>
                <a:gd name="T5" fmla="*/ 0 h 21"/>
                <a:gd name="T6" fmla="*/ 22 w 22"/>
                <a:gd name="T7" fmla="*/ 10 h 21"/>
                <a:gd name="T8" fmla="*/ 11 w 22"/>
                <a:gd name="T9" fmla="*/ 21 h 21"/>
                <a:gd name="T10" fmla="*/ 11 w 22"/>
                <a:gd name="T11" fmla="*/ 4 h 21"/>
                <a:gd name="T12" fmla="*/ 5 w 22"/>
                <a:gd name="T13" fmla="*/ 10 h 21"/>
                <a:gd name="T14" fmla="*/ 11 w 22"/>
                <a:gd name="T15" fmla="*/ 16 h 21"/>
                <a:gd name="T16" fmla="*/ 17 w 22"/>
                <a:gd name="T17" fmla="*/ 10 h 21"/>
                <a:gd name="T18" fmla="*/ 11 w 22"/>
                <a:gd name="T19" fmla="*/ 4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21">
                  <a:moveTo>
                    <a:pt x="11" y="21"/>
                  </a:moveTo>
                  <a:cubicBezTo>
                    <a:pt x="5" y="21"/>
                    <a:pt x="0" y="16"/>
                    <a:pt x="0" y="10"/>
                  </a:cubicBezTo>
                  <a:cubicBezTo>
                    <a:pt x="0" y="4"/>
                    <a:pt x="5" y="0"/>
                    <a:pt x="11" y="0"/>
                  </a:cubicBezTo>
                  <a:cubicBezTo>
                    <a:pt x="17" y="0"/>
                    <a:pt x="22" y="4"/>
                    <a:pt x="22" y="10"/>
                  </a:cubicBezTo>
                  <a:cubicBezTo>
                    <a:pt x="22" y="16"/>
                    <a:pt x="17" y="21"/>
                    <a:pt x="11" y="21"/>
                  </a:cubicBezTo>
                  <a:close/>
                  <a:moveTo>
                    <a:pt x="11" y="4"/>
                  </a:moveTo>
                  <a:cubicBezTo>
                    <a:pt x="8" y="4"/>
                    <a:pt x="5" y="7"/>
                    <a:pt x="5" y="10"/>
                  </a:cubicBezTo>
                  <a:cubicBezTo>
                    <a:pt x="5" y="13"/>
                    <a:pt x="8" y="16"/>
                    <a:pt x="11" y="16"/>
                  </a:cubicBezTo>
                  <a:cubicBezTo>
                    <a:pt x="14" y="16"/>
                    <a:pt x="17" y="13"/>
                    <a:pt x="17" y="10"/>
                  </a:cubicBezTo>
                  <a:cubicBezTo>
                    <a:pt x="17" y="7"/>
                    <a:pt x="14" y="4"/>
                    <a:pt x="11" y="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5" name="Freeform 442">
              <a:extLst>
                <a:ext uri="{FF2B5EF4-FFF2-40B4-BE49-F238E27FC236}">
                  <a16:creationId xmlns:a16="http://schemas.microsoft.com/office/drawing/2014/main" id="{5D312C3F-2CD9-F8D6-95B8-FF5CC12B7C8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39800" y="2362200"/>
              <a:ext cx="47625" cy="47625"/>
            </a:xfrm>
            <a:custGeom>
              <a:avLst/>
              <a:gdLst>
                <a:gd name="T0" fmla="*/ 10 w 21"/>
                <a:gd name="T1" fmla="*/ 21 h 21"/>
                <a:gd name="T2" fmla="*/ 0 w 21"/>
                <a:gd name="T3" fmla="*/ 10 h 21"/>
                <a:gd name="T4" fmla="*/ 10 w 21"/>
                <a:gd name="T5" fmla="*/ 0 h 21"/>
                <a:gd name="T6" fmla="*/ 21 w 21"/>
                <a:gd name="T7" fmla="*/ 10 h 21"/>
                <a:gd name="T8" fmla="*/ 10 w 21"/>
                <a:gd name="T9" fmla="*/ 21 h 21"/>
                <a:gd name="T10" fmla="*/ 10 w 21"/>
                <a:gd name="T11" fmla="*/ 4 h 21"/>
                <a:gd name="T12" fmla="*/ 5 w 21"/>
                <a:gd name="T13" fmla="*/ 10 h 21"/>
                <a:gd name="T14" fmla="*/ 10 w 21"/>
                <a:gd name="T15" fmla="*/ 16 h 21"/>
                <a:gd name="T16" fmla="*/ 16 w 21"/>
                <a:gd name="T17" fmla="*/ 10 h 21"/>
                <a:gd name="T18" fmla="*/ 10 w 21"/>
                <a:gd name="T19" fmla="*/ 4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21">
                  <a:moveTo>
                    <a:pt x="10" y="21"/>
                  </a:moveTo>
                  <a:cubicBezTo>
                    <a:pt x="4" y="21"/>
                    <a:pt x="0" y="16"/>
                    <a:pt x="0" y="10"/>
                  </a:cubicBezTo>
                  <a:cubicBezTo>
                    <a:pt x="0" y="4"/>
                    <a:pt x="4" y="0"/>
                    <a:pt x="10" y="0"/>
                  </a:cubicBezTo>
                  <a:cubicBezTo>
                    <a:pt x="16" y="0"/>
                    <a:pt x="21" y="4"/>
                    <a:pt x="21" y="10"/>
                  </a:cubicBezTo>
                  <a:cubicBezTo>
                    <a:pt x="21" y="16"/>
                    <a:pt x="16" y="21"/>
                    <a:pt x="10" y="21"/>
                  </a:cubicBezTo>
                  <a:close/>
                  <a:moveTo>
                    <a:pt x="10" y="4"/>
                  </a:moveTo>
                  <a:cubicBezTo>
                    <a:pt x="7" y="4"/>
                    <a:pt x="5" y="7"/>
                    <a:pt x="5" y="10"/>
                  </a:cubicBezTo>
                  <a:cubicBezTo>
                    <a:pt x="5" y="13"/>
                    <a:pt x="7" y="16"/>
                    <a:pt x="10" y="16"/>
                  </a:cubicBezTo>
                  <a:cubicBezTo>
                    <a:pt x="13" y="16"/>
                    <a:pt x="16" y="13"/>
                    <a:pt x="16" y="10"/>
                  </a:cubicBezTo>
                  <a:cubicBezTo>
                    <a:pt x="16" y="7"/>
                    <a:pt x="13" y="4"/>
                    <a:pt x="10" y="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91" name="Shape40_20200717_142846">
            <a:extLst>
              <a:ext uri="{FF2B5EF4-FFF2-40B4-BE49-F238E27FC236}">
                <a16:creationId xmlns:a16="http://schemas.microsoft.com/office/drawing/2014/main" id="{1664C97C-819F-8712-5951-927DF50DECAB}"/>
              </a:ext>
            </a:extLst>
          </p:cNvPr>
          <p:cNvGrpSpPr>
            <a:grpSpLocks noChangeAspect="1"/>
          </p:cNvGrpSpPr>
          <p:nvPr/>
        </p:nvGrpSpPr>
        <p:grpSpPr>
          <a:xfrm>
            <a:off x="7140080" y="3838395"/>
            <a:ext cx="522947" cy="592523"/>
            <a:chOff x="-1317625" y="3349005"/>
            <a:chExt cx="346074" cy="392118"/>
          </a:xfrm>
          <a:solidFill>
            <a:schemeClr val="accent1"/>
          </a:solidFill>
        </p:grpSpPr>
        <p:sp>
          <p:nvSpPr>
            <p:cNvPr id="92" name="Freeform 1391">
              <a:extLst>
                <a:ext uri="{FF2B5EF4-FFF2-40B4-BE49-F238E27FC236}">
                  <a16:creationId xmlns:a16="http://schemas.microsoft.com/office/drawing/2014/main" id="{830DC249-13BC-87BF-B44F-FF0E595D938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317625" y="3585548"/>
              <a:ext cx="63500" cy="155575"/>
            </a:xfrm>
            <a:custGeom>
              <a:avLst/>
              <a:gdLst>
                <a:gd name="T0" fmla="*/ 56 w 61"/>
                <a:gd name="T1" fmla="*/ 150 h 150"/>
                <a:gd name="T2" fmla="*/ 6 w 61"/>
                <a:gd name="T3" fmla="*/ 150 h 150"/>
                <a:gd name="T4" fmla="*/ 0 w 61"/>
                <a:gd name="T5" fmla="*/ 145 h 150"/>
                <a:gd name="T6" fmla="*/ 0 w 61"/>
                <a:gd name="T7" fmla="*/ 5 h 150"/>
                <a:gd name="T8" fmla="*/ 6 w 61"/>
                <a:gd name="T9" fmla="*/ 0 h 150"/>
                <a:gd name="T10" fmla="*/ 56 w 61"/>
                <a:gd name="T11" fmla="*/ 0 h 150"/>
                <a:gd name="T12" fmla="*/ 61 w 61"/>
                <a:gd name="T13" fmla="*/ 5 h 150"/>
                <a:gd name="T14" fmla="*/ 61 w 61"/>
                <a:gd name="T15" fmla="*/ 145 h 150"/>
                <a:gd name="T16" fmla="*/ 56 w 61"/>
                <a:gd name="T17" fmla="*/ 150 h 150"/>
                <a:gd name="T18" fmla="*/ 11 w 61"/>
                <a:gd name="T19" fmla="*/ 139 h 150"/>
                <a:gd name="T20" fmla="*/ 50 w 61"/>
                <a:gd name="T21" fmla="*/ 139 h 150"/>
                <a:gd name="T22" fmla="*/ 50 w 61"/>
                <a:gd name="T23" fmla="*/ 11 h 150"/>
                <a:gd name="T24" fmla="*/ 11 w 61"/>
                <a:gd name="T25" fmla="*/ 11 h 150"/>
                <a:gd name="T26" fmla="*/ 11 w 61"/>
                <a:gd name="T27" fmla="*/ 139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1" h="150">
                  <a:moveTo>
                    <a:pt x="56" y="150"/>
                  </a:moveTo>
                  <a:cubicBezTo>
                    <a:pt x="6" y="150"/>
                    <a:pt x="6" y="150"/>
                    <a:pt x="6" y="150"/>
                  </a:cubicBezTo>
                  <a:cubicBezTo>
                    <a:pt x="3" y="150"/>
                    <a:pt x="0" y="148"/>
                    <a:pt x="0" y="14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9" y="0"/>
                    <a:pt x="61" y="2"/>
                    <a:pt x="61" y="5"/>
                  </a:cubicBezTo>
                  <a:cubicBezTo>
                    <a:pt x="61" y="145"/>
                    <a:pt x="61" y="145"/>
                    <a:pt x="61" y="145"/>
                  </a:cubicBezTo>
                  <a:cubicBezTo>
                    <a:pt x="61" y="148"/>
                    <a:pt x="59" y="150"/>
                    <a:pt x="56" y="150"/>
                  </a:cubicBezTo>
                  <a:close/>
                  <a:moveTo>
                    <a:pt x="11" y="139"/>
                  </a:moveTo>
                  <a:cubicBezTo>
                    <a:pt x="50" y="139"/>
                    <a:pt x="50" y="139"/>
                    <a:pt x="50" y="139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11" y="11"/>
                    <a:pt x="11" y="11"/>
                    <a:pt x="11" y="11"/>
                  </a:cubicBezTo>
                  <a:lnTo>
                    <a:pt x="11" y="1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3" name="Freeform 1392">
              <a:extLst>
                <a:ext uri="{FF2B5EF4-FFF2-40B4-BE49-F238E27FC236}">
                  <a16:creationId xmlns:a16="http://schemas.microsoft.com/office/drawing/2014/main" id="{DAF19629-C294-82A8-B5C9-EA4714845863}"/>
                </a:ext>
              </a:extLst>
            </p:cNvPr>
            <p:cNvSpPr>
              <a:spLocks/>
            </p:cNvSpPr>
            <p:nvPr/>
          </p:nvSpPr>
          <p:spPr bwMode="auto">
            <a:xfrm>
              <a:off x="-1265238" y="3596660"/>
              <a:ext cx="220663" cy="60325"/>
            </a:xfrm>
            <a:custGeom>
              <a:avLst/>
              <a:gdLst>
                <a:gd name="T0" fmla="*/ 87 w 212"/>
                <a:gd name="T1" fmla="*/ 58 h 58"/>
                <a:gd name="T2" fmla="*/ 82 w 212"/>
                <a:gd name="T3" fmla="*/ 55 h 58"/>
                <a:gd name="T4" fmla="*/ 85 w 212"/>
                <a:gd name="T5" fmla="*/ 48 h 58"/>
                <a:gd name="T6" fmla="*/ 121 w 212"/>
                <a:gd name="T7" fmla="*/ 37 h 58"/>
                <a:gd name="T8" fmla="*/ 123 w 212"/>
                <a:gd name="T9" fmla="*/ 36 h 58"/>
                <a:gd name="T10" fmla="*/ 190 w 212"/>
                <a:gd name="T11" fmla="*/ 46 h 58"/>
                <a:gd name="T12" fmla="*/ 199 w 212"/>
                <a:gd name="T13" fmla="*/ 40 h 58"/>
                <a:gd name="T14" fmla="*/ 199 w 212"/>
                <a:gd name="T15" fmla="*/ 37 h 58"/>
                <a:gd name="T16" fmla="*/ 194 w 212"/>
                <a:gd name="T17" fmla="*/ 28 h 58"/>
                <a:gd name="T18" fmla="*/ 123 w 212"/>
                <a:gd name="T19" fmla="*/ 12 h 58"/>
                <a:gd name="T20" fmla="*/ 114 w 212"/>
                <a:gd name="T21" fmla="*/ 11 h 58"/>
                <a:gd name="T22" fmla="*/ 7 w 212"/>
                <a:gd name="T23" fmla="*/ 31 h 58"/>
                <a:gd name="T24" fmla="*/ 0 w 212"/>
                <a:gd name="T25" fmla="*/ 27 h 58"/>
                <a:gd name="T26" fmla="*/ 5 w 212"/>
                <a:gd name="T27" fmla="*/ 21 h 58"/>
                <a:gd name="T28" fmla="*/ 112 w 212"/>
                <a:gd name="T29" fmla="*/ 1 h 58"/>
                <a:gd name="T30" fmla="*/ 126 w 212"/>
                <a:gd name="T31" fmla="*/ 1 h 58"/>
                <a:gd name="T32" fmla="*/ 196 w 212"/>
                <a:gd name="T33" fmla="*/ 18 h 58"/>
                <a:gd name="T34" fmla="*/ 210 w 212"/>
                <a:gd name="T35" fmla="*/ 40 h 58"/>
                <a:gd name="T36" fmla="*/ 209 w 212"/>
                <a:gd name="T37" fmla="*/ 42 h 58"/>
                <a:gd name="T38" fmla="*/ 189 w 212"/>
                <a:gd name="T39" fmla="*/ 57 h 58"/>
                <a:gd name="T40" fmla="*/ 123 w 212"/>
                <a:gd name="T41" fmla="*/ 48 h 58"/>
                <a:gd name="T42" fmla="*/ 89 w 212"/>
                <a:gd name="T43" fmla="*/ 58 h 58"/>
                <a:gd name="T44" fmla="*/ 87 w 212"/>
                <a:gd name="T45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12" h="58">
                  <a:moveTo>
                    <a:pt x="87" y="58"/>
                  </a:moveTo>
                  <a:cubicBezTo>
                    <a:pt x="85" y="58"/>
                    <a:pt x="82" y="57"/>
                    <a:pt x="82" y="55"/>
                  </a:cubicBezTo>
                  <a:cubicBezTo>
                    <a:pt x="81" y="52"/>
                    <a:pt x="82" y="49"/>
                    <a:pt x="85" y="48"/>
                  </a:cubicBezTo>
                  <a:cubicBezTo>
                    <a:pt x="121" y="37"/>
                    <a:pt x="121" y="37"/>
                    <a:pt x="121" y="37"/>
                  </a:cubicBezTo>
                  <a:cubicBezTo>
                    <a:pt x="122" y="36"/>
                    <a:pt x="123" y="36"/>
                    <a:pt x="123" y="36"/>
                  </a:cubicBezTo>
                  <a:cubicBezTo>
                    <a:pt x="190" y="46"/>
                    <a:pt x="190" y="46"/>
                    <a:pt x="190" y="46"/>
                  </a:cubicBezTo>
                  <a:cubicBezTo>
                    <a:pt x="194" y="46"/>
                    <a:pt x="198" y="44"/>
                    <a:pt x="199" y="40"/>
                  </a:cubicBezTo>
                  <a:cubicBezTo>
                    <a:pt x="199" y="37"/>
                    <a:pt x="199" y="37"/>
                    <a:pt x="199" y="37"/>
                  </a:cubicBezTo>
                  <a:cubicBezTo>
                    <a:pt x="200" y="33"/>
                    <a:pt x="198" y="29"/>
                    <a:pt x="194" y="28"/>
                  </a:cubicBezTo>
                  <a:cubicBezTo>
                    <a:pt x="123" y="12"/>
                    <a:pt x="123" y="12"/>
                    <a:pt x="123" y="12"/>
                  </a:cubicBezTo>
                  <a:cubicBezTo>
                    <a:pt x="120" y="11"/>
                    <a:pt x="117" y="11"/>
                    <a:pt x="114" y="11"/>
                  </a:cubicBezTo>
                  <a:cubicBezTo>
                    <a:pt x="7" y="31"/>
                    <a:pt x="7" y="31"/>
                    <a:pt x="7" y="31"/>
                  </a:cubicBezTo>
                  <a:cubicBezTo>
                    <a:pt x="4" y="32"/>
                    <a:pt x="1" y="30"/>
                    <a:pt x="0" y="27"/>
                  </a:cubicBezTo>
                  <a:cubicBezTo>
                    <a:pt x="0" y="24"/>
                    <a:pt x="2" y="21"/>
                    <a:pt x="5" y="21"/>
                  </a:cubicBezTo>
                  <a:cubicBezTo>
                    <a:pt x="112" y="1"/>
                    <a:pt x="112" y="1"/>
                    <a:pt x="112" y="1"/>
                  </a:cubicBezTo>
                  <a:cubicBezTo>
                    <a:pt x="117" y="0"/>
                    <a:pt x="121" y="0"/>
                    <a:pt x="126" y="1"/>
                  </a:cubicBezTo>
                  <a:cubicBezTo>
                    <a:pt x="196" y="18"/>
                    <a:pt x="196" y="18"/>
                    <a:pt x="196" y="18"/>
                  </a:cubicBezTo>
                  <a:cubicBezTo>
                    <a:pt x="206" y="20"/>
                    <a:pt x="212" y="30"/>
                    <a:pt x="210" y="40"/>
                  </a:cubicBezTo>
                  <a:cubicBezTo>
                    <a:pt x="209" y="42"/>
                    <a:pt x="209" y="42"/>
                    <a:pt x="209" y="42"/>
                  </a:cubicBezTo>
                  <a:cubicBezTo>
                    <a:pt x="207" y="52"/>
                    <a:pt x="198" y="58"/>
                    <a:pt x="189" y="57"/>
                  </a:cubicBezTo>
                  <a:cubicBezTo>
                    <a:pt x="123" y="48"/>
                    <a:pt x="123" y="48"/>
                    <a:pt x="123" y="48"/>
                  </a:cubicBezTo>
                  <a:cubicBezTo>
                    <a:pt x="89" y="58"/>
                    <a:pt x="89" y="58"/>
                    <a:pt x="89" y="58"/>
                  </a:cubicBezTo>
                  <a:cubicBezTo>
                    <a:pt x="88" y="58"/>
                    <a:pt x="87" y="58"/>
                    <a:pt x="87" y="5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4" name="Freeform 1393">
              <a:extLst>
                <a:ext uri="{FF2B5EF4-FFF2-40B4-BE49-F238E27FC236}">
                  <a16:creationId xmlns:a16="http://schemas.microsoft.com/office/drawing/2014/main" id="{34615D09-79A6-A035-1B9B-FF6DE7351D21}"/>
                </a:ext>
              </a:extLst>
            </p:cNvPr>
            <p:cNvSpPr>
              <a:spLocks/>
            </p:cNvSpPr>
            <p:nvPr/>
          </p:nvSpPr>
          <p:spPr bwMode="auto">
            <a:xfrm>
              <a:off x="-1265239" y="3645870"/>
              <a:ext cx="293688" cy="66675"/>
            </a:xfrm>
            <a:custGeom>
              <a:avLst/>
              <a:gdLst>
                <a:gd name="T0" fmla="*/ 82 w 283"/>
                <a:gd name="T1" fmla="*/ 65 h 65"/>
                <a:gd name="T2" fmla="*/ 5 w 283"/>
                <a:gd name="T3" fmla="*/ 60 h 65"/>
                <a:gd name="T4" fmla="*/ 0 w 283"/>
                <a:gd name="T5" fmla="*/ 54 h 65"/>
                <a:gd name="T6" fmla="*/ 6 w 283"/>
                <a:gd name="T7" fmla="*/ 50 h 65"/>
                <a:gd name="T8" fmla="*/ 252 w 283"/>
                <a:gd name="T9" fmla="*/ 31 h 65"/>
                <a:gd name="T10" fmla="*/ 265 w 283"/>
                <a:gd name="T11" fmla="*/ 28 h 65"/>
                <a:gd name="T12" fmla="*/ 271 w 283"/>
                <a:gd name="T13" fmla="*/ 21 h 65"/>
                <a:gd name="T14" fmla="*/ 267 w 283"/>
                <a:gd name="T15" fmla="*/ 13 h 65"/>
                <a:gd name="T16" fmla="*/ 263 w 283"/>
                <a:gd name="T17" fmla="*/ 12 h 65"/>
                <a:gd name="T18" fmla="*/ 189 w 283"/>
                <a:gd name="T19" fmla="*/ 11 h 65"/>
                <a:gd name="T20" fmla="*/ 184 w 283"/>
                <a:gd name="T21" fmla="*/ 5 h 65"/>
                <a:gd name="T22" fmla="*/ 190 w 283"/>
                <a:gd name="T23" fmla="*/ 0 h 65"/>
                <a:gd name="T24" fmla="*/ 263 w 283"/>
                <a:gd name="T25" fmla="*/ 2 h 65"/>
                <a:gd name="T26" fmla="*/ 263 w 283"/>
                <a:gd name="T27" fmla="*/ 2 h 65"/>
                <a:gd name="T28" fmla="*/ 272 w 283"/>
                <a:gd name="T29" fmla="*/ 4 h 65"/>
                <a:gd name="T30" fmla="*/ 282 w 283"/>
                <a:gd name="T31" fmla="*/ 22 h 65"/>
                <a:gd name="T32" fmla="*/ 268 w 283"/>
                <a:gd name="T33" fmla="*/ 38 h 65"/>
                <a:gd name="T34" fmla="*/ 255 w 283"/>
                <a:gd name="T35" fmla="*/ 42 h 65"/>
                <a:gd name="T36" fmla="*/ 82 w 283"/>
                <a:gd name="T37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83" h="65">
                  <a:moveTo>
                    <a:pt x="82" y="65"/>
                  </a:moveTo>
                  <a:cubicBezTo>
                    <a:pt x="57" y="65"/>
                    <a:pt x="31" y="63"/>
                    <a:pt x="5" y="60"/>
                  </a:cubicBezTo>
                  <a:cubicBezTo>
                    <a:pt x="2" y="60"/>
                    <a:pt x="0" y="57"/>
                    <a:pt x="0" y="54"/>
                  </a:cubicBezTo>
                  <a:cubicBezTo>
                    <a:pt x="1" y="51"/>
                    <a:pt x="3" y="49"/>
                    <a:pt x="6" y="50"/>
                  </a:cubicBezTo>
                  <a:cubicBezTo>
                    <a:pt x="89" y="59"/>
                    <a:pt x="172" y="53"/>
                    <a:pt x="252" y="31"/>
                  </a:cubicBezTo>
                  <a:cubicBezTo>
                    <a:pt x="265" y="28"/>
                    <a:pt x="265" y="28"/>
                    <a:pt x="265" y="28"/>
                  </a:cubicBezTo>
                  <a:cubicBezTo>
                    <a:pt x="270" y="26"/>
                    <a:pt x="271" y="22"/>
                    <a:pt x="271" y="21"/>
                  </a:cubicBezTo>
                  <a:cubicBezTo>
                    <a:pt x="271" y="20"/>
                    <a:pt x="271" y="16"/>
                    <a:pt x="267" y="13"/>
                  </a:cubicBezTo>
                  <a:cubicBezTo>
                    <a:pt x="266" y="13"/>
                    <a:pt x="265" y="12"/>
                    <a:pt x="263" y="12"/>
                  </a:cubicBezTo>
                  <a:cubicBezTo>
                    <a:pt x="189" y="11"/>
                    <a:pt x="189" y="11"/>
                    <a:pt x="189" y="11"/>
                  </a:cubicBezTo>
                  <a:cubicBezTo>
                    <a:pt x="186" y="11"/>
                    <a:pt x="184" y="8"/>
                    <a:pt x="184" y="5"/>
                  </a:cubicBezTo>
                  <a:cubicBezTo>
                    <a:pt x="184" y="2"/>
                    <a:pt x="186" y="0"/>
                    <a:pt x="190" y="0"/>
                  </a:cubicBezTo>
                  <a:cubicBezTo>
                    <a:pt x="263" y="2"/>
                    <a:pt x="263" y="2"/>
                    <a:pt x="263" y="2"/>
                  </a:cubicBezTo>
                  <a:cubicBezTo>
                    <a:pt x="263" y="2"/>
                    <a:pt x="263" y="2"/>
                    <a:pt x="263" y="2"/>
                  </a:cubicBezTo>
                  <a:cubicBezTo>
                    <a:pt x="266" y="2"/>
                    <a:pt x="269" y="2"/>
                    <a:pt x="272" y="4"/>
                  </a:cubicBezTo>
                  <a:cubicBezTo>
                    <a:pt x="279" y="7"/>
                    <a:pt x="283" y="15"/>
                    <a:pt x="282" y="22"/>
                  </a:cubicBezTo>
                  <a:cubicBezTo>
                    <a:pt x="281" y="30"/>
                    <a:pt x="276" y="36"/>
                    <a:pt x="268" y="38"/>
                  </a:cubicBezTo>
                  <a:cubicBezTo>
                    <a:pt x="255" y="42"/>
                    <a:pt x="255" y="42"/>
                    <a:pt x="255" y="42"/>
                  </a:cubicBezTo>
                  <a:cubicBezTo>
                    <a:pt x="198" y="57"/>
                    <a:pt x="140" y="65"/>
                    <a:pt x="82" y="6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5" name="Freeform 1394">
              <a:extLst>
                <a:ext uri="{FF2B5EF4-FFF2-40B4-BE49-F238E27FC236}">
                  <a16:creationId xmlns:a16="http://schemas.microsoft.com/office/drawing/2014/main" id="{DACD75ED-41B1-D8E5-DFB4-F34DD3E4506E}"/>
                </a:ext>
              </a:extLst>
            </p:cNvPr>
            <p:cNvSpPr>
              <a:spLocks/>
            </p:cNvSpPr>
            <p:nvPr/>
          </p:nvSpPr>
          <p:spPr bwMode="auto">
            <a:xfrm>
              <a:off x="-1174751" y="3391870"/>
              <a:ext cx="60325" cy="90488"/>
            </a:xfrm>
            <a:custGeom>
              <a:avLst/>
              <a:gdLst>
                <a:gd name="T0" fmla="*/ 29 w 59"/>
                <a:gd name="T1" fmla="*/ 86 h 86"/>
                <a:gd name="T2" fmla="*/ 1 w 59"/>
                <a:gd name="T3" fmla="*/ 72 h 86"/>
                <a:gd name="T4" fmla="*/ 2 w 59"/>
                <a:gd name="T5" fmla="*/ 65 h 86"/>
                <a:gd name="T6" fmla="*/ 10 w 59"/>
                <a:gd name="T7" fmla="*/ 66 h 86"/>
                <a:gd name="T8" fmla="*/ 41 w 59"/>
                <a:gd name="T9" fmla="*/ 72 h 86"/>
                <a:gd name="T10" fmla="*/ 41 w 59"/>
                <a:gd name="T11" fmla="*/ 72 h 86"/>
                <a:gd name="T12" fmla="*/ 47 w 59"/>
                <a:gd name="T13" fmla="*/ 61 h 86"/>
                <a:gd name="T14" fmla="*/ 37 w 59"/>
                <a:gd name="T15" fmla="*/ 49 h 86"/>
                <a:gd name="T16" fmla="*/ 18 w 59"/>
                <a:gd name="T17" fmla="*/ 44 h 86"/>
                <a:gd name="T18" fmla="*/ 1 w 59"/>
                <a:gd name="T19" fmla="*/ 22 h 86"/>
                <a:gd name="T20" fmla="*/ 8 w 59"/>
                <a:gd name="T21" fmla="*/ 7 h 86"/>
                <a:gd name="T22" fmla="*/ 30 w 59"/>
                <a:gd name="T23" fmla="*/ 0 h 86"/>
                <a:gd name="T24" fmla="*/ 58 w 59"/>
                <a:gd name="T25" fmla="*/ 20 h 86"/>
                <a:gd name="T26" fmla="*/ 54 w 59"/>
                <a:gd name="T27" fmla="*/ 26 h 86"/>
                <a:gd name="T28" fmla="*/ 47 w 59"/>
                <a:gd name="T29" fmla="*/ 23 h 86"/>
                <a:gd name="T30" fmla="*/ 30 w 59"/>
                <a:gd name="T31" fmla="*/ 11 h 86"/>
                <a:gd name="T32" fmla="*/ 15 w 59"/>
                <a:gd name="T33" fmla="*/ 15 h 86"/>
                <a:gd name="T34" fmla="*/ 12 w 59"/>
                <a:gd name="T35" fmla="*/ 22 h 86"/>
                <a:gd name="T36" fmla="*/ 21 w 59"/>
                <a:gd name="T37" fmla="*/ 33 h 86"/>
                <a:gd name="T38" fmla="*/ 41 w 59"/>
                <a:gd name="T39" fmla="*/ 39 h 86"/>
                <a:gd name="T40" fmla="*/ 58 w 59"/>
                <a:gd name="T41" fmla="*/ 60 h 86"/>
                <a:gd name="T42" fmla="*/ 45 w 59"/>
                <a:gd name="T43" fmla="*/ 82 h 86"/>
                <a:gd name="T44" fmla="*/ 29 w 59"/>
                <a:gd name="T45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9" h="86">
                  <a:moveTo>
                    <a:pt x="29" y="86"/>
                  </a:moveTo>
                  <a:cubicBezTo>
                    <a:pt x="20" y="86"/>
                    <a:pt x="10" y="83"/>
                    <a:pt x="1" y="72"/>
                  </a:cubicBezTo>
                  <a:cubicBezTo>
                    <a:pt x="0" y="70"/>
                    <a:pt x="0" y="67"/>
                    <a:pt x="2" y="65"/>
                  </a:cubicBezTo>
                  <a:cubicBezTo>
                    <a:pt x="5" y="63"/>
                    <a:pt x="8" y="63"/>
                    <a:pt x="10" y="66"/>
                  </a:cubicBezTo>
                  <a:cubicBezTo>
                    <a:pt x="22" y="82"/>
                    <a:pt x="40" y="73"/>
                    <a:pt x="41" y="72"/>
                  </a:cubicBezTo>
                  <a:cubicBezTo>
                    <a:pt x="41" y="72"/>
                    <a:pt x="41" y="72"/>
                    <a:pt x="41" y="72"/>
                  </a:cubicBezTo>
                  <a:cubicBezTo>
                    <a:pt x="42" y="72"/>
                    <a:pt x="48" y="69"/>
                    <a:pt x="47" y="61"/>
                  </a:cubicBezTo>
                  <a:cubicBezTo>
                    <a:pt x="46" y="52"/>
                    <a:pt x="38" y="49"/>
                    <a:pt x="37" y="49"/>
                  </a:cubicBezTo>
                  <a:cubicBezTo>
                    <a:pt x="37" y="49"/>
                    <a:pt x="27" y="46"/>
                    <a:pt x="18" y="44"/>
                  </a:cubicBezTo>
                  <a:cubicBezTo>
                    <a:pt x="4" y="39"/>
                    <a:pt x="1" y="30"/>
                    <a:pt x="1" y="22"/>
                  </a:cubicBezTo>
                  <a:cubicBezTo>
                    <a:pt x="1" y="16"/>
                    <a:pt x="3" y="11"/>
                    <a:pt x="8" y="7"/>
                  </a:cubicBezTo>
                  <a:cubicBezTo>
                    <a:pt x="13" y="2"/>
                    <a:pt x="20" y="0"/>
                    <a:pt x="30" y="0"/>
                  </a:cubicBezTo>
                  <a:cubicBezTo>
                    <a:pt x="48" y="0"/>
                    <a:pt x="56" y="13"/>
                    <a:pt x="58" y="20"/>
                  </a:cubicBezTo>
                  <a:cubicBezTo>
                    <a:pt x="59" y="22"/>
                    <a:pt x="57" y="26"/>
                    <a:pt x="54" y="26"/>
                  </a:cubicBezTo>
                  <a:cubicBezTo>
                    <a:pt x="51" y="27"/>
                    <a:pt x="48" y="26"/>
                    <a:pt x="47" y="23"/>
                  </a:cubicBezTo>
                  <a:cubicBezTo>
                    <a:pt x="47" y="21"/>
                    <a:pt x="43" y="11"/>
                    <a:pt x="30" y="11"/>
                  </a:cubicBezTo>
                  <a:cubicBezTo>
                    <a:pt x="23" y="11"/>
                    <a:pt x="18" y="12"/>
                    <a:pt x="15" y="15"/>
                  </a:cubicBezTo>
                  <a:cubicBezTo>
                    <a:pt x="13" y="17"/>
                    <a:pt x="12" y="19"/>
                    <a:pt x="12" y="22"/>
                  </a:cubicBezTo>
                  <a:cubicBezTo>
                    <a:pt x="12" y="26"/>
                    <a:pt x="13" y="31"/>
                    <a:pt x="21" y="33"/>
                  </a:cubicBezTo>
                  <a:cubicBezTo>
                    <a:pt x="31" y="36"/>
                    <a:pt x="41" y="39"/>
                    <a:pt x="41" y="39"/>
                  </a:cubicBezTo>
                  <a:cubicBezTo>
                    <a:pt x="41" y="39"/>
                    <a:pt x="56" y="44"/>
                    <a:pt x="58" y="60"/>
                  </a:cubicBezTo>
                  <a:cubicBezTo>
                    <a:pt x="59" y="73"/>
                    <a:pt x="50" y="80"/>
                    <a:pt x="45" y="82"/>
                  </a:cubicBezTo>
                  <a:cubicBezTo>
                    <a:pt x="41" y="84"/>
                    <a:pt x="35" y="86"/>
                    <a:pt x="29" y="8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6" name="Freeform 1395">
              <a:extLst>
                <a:ext uri="{FF2B5EF4-FFF2-40B4-BE49-F238E27FC236}">
                  <a16:creationId xmlns:a16="http://schemas.microsoft.com/office/drawing/2014/main" id="{14B35706-E67A-5582-03B1-F896313D012D}"/>
                </a:ext>
              </a:extLst>
            </p:cNvPr>
            <p:cNvSpPr>
              <a:spLocks/>
            </p:cNvSpPr>
            <p:nvPr/>
          </p:nvSpPr>
          <p:spPr bwMode="auto">
            <a:xfrm>
              <a:off x="-1150939" y="3377582"/>
              <a:ext cx="12700" cy="26988"/>
            </a:xfrm>
            <a:custGeom>
              <a:avLst/>
              <a:gdLst>
                <a:gd name="T0" fmla="*/ 6 w 11"/>
                <a:gd name="T1" fmla="*/ 26 h 26"/>
                <a:gd name="T2" fmla="*/ 0 w 11"/>
                <a:gd name="T3" fmla="*/ 21 h 26"/>
                <a:gd name="T4" fmla="*/ 0 w 11"/>
                <a:gd name="T5" fmla="*/ 5 h 26"/>
                <a:gd name="T6" fmla="*/ 6 w 11"/>
                <a:gd name="T7" fmla="*/ 0 h 26"/>
                <a:gd name="T8" fmla="*/ 11 w 11"/>
                <a:gd name="T9" fmla="*/ 5 h 26"/>
                <a:gd name="T10" fmla="*/ 11 w 11"/>
                <a:gd name="T11" fmla="*/ 21 h 26"/>
                <a:gd name="T12" fmla="*/ 6 w 11"/>
                <a:gd name="T13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6">
                  <a:moveTo>
                    <a:pt x="6" y="26"/>
                  </a:moveTo>
                  <a:cubicBezTo>
                    <a:pt x="3" y="26"/>
                    <a:pt x="0" y="24"/>
                    <a:pt x="0" y="21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1" y="2"/>
                    <a:pt x="11" y="5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11" y="24"/>
                    <a:pt x="9" y="26"/>
                    <a:pt x="6" y="2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7" name="Freeform 1396">
              <a:extLst>
                <a:ext uri="{FF2B5EF4-FFF2-40B4-BE49-F238E27FC236}">
                  <a16:creationId xmlns:a16="http://schemas.microsoft.com/office/drawing/2014/main" id="{092C2BEF-3148-7CE5-D9E7-E641BF064F17}"/>
                </a:ext>
              </a:extLst>
            </p:cNvPr>
            <p:cNvSpPr>
              <a:spLocks/>
            </p:cNvSpPr>
            <p:nvPr/>
          </p:nvSpPr>
          <p:spPr bwMode="auto">
            <a:xfrm>
              <a:off x="-1150939" y="3471245"/>
              <a:ext cx="12700" cy="28575"/>
            </a:xfrm>
            <a:custGeom>
              <a:avLst/>
              <a:gdLst>
                <a:gd name="T0" fmla="*/ 6 w 11"/>
                <a:gd name="T1" fmla="*/ 27 h 27"/>
                <a:gd name="T2" fmla="*/ 0 w 11"/>
                <a:gd name="T3" fmla="*/ 21 h 27"/>
                <a:gd name="T4" fmla="*/ 0 w 11"/>
                <a:gd name="T5" fmla="*/ 6 h 27"/>
                <a:gd name="T6" fmla="*/ 6 w 11"/>
                <a:gd name="T7" fmla="*/ 0 h 27"/>
                <a:gd name="T8" fmla="*/ 11 w 11"/>
                <a:gd name="T9" fmla="*/ 6 h 27"/>
                <a:gd name="T10" fmla="*/ 11 w 11"/>
                <a:gd name="T11" fmla="*/ 21 h 27"/>
                <a:gd name="T12" fmla="*/ 6 w 11"/>
                <a:gd name="T13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7">
                  <a:moveTo>
                    <a:pt x="6" y="27"/>
                  </a:moveTo>
                  <a:cubicBezTo>
                    <a:pt x="3" y="27"/>
                    <a:pt x="0" y="24"/>
                    <a:pt x="0" y="21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1" y="3"/>
                    <a:pt x="11" y="6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11" y="24"/>
                    <a:pt x="9" y="27"/>
                    <a:pt x="6" y="2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8" name="Freeform 1397">
              <a:extLst>
                <a:ext uri="{FF2B5EF4-FFF2-40B4-BE49-F238E27FC236}">
                  <a16:creationId xmlns:a16="http://schemas.microsoft.com/office/drawing/2014/main" id="{1CE9F5A3-5F61-55ED-3DEA-099C5216F3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235075" y="3349005"/>
              <a:ext cx="180975" cy="182563"/>
            </a:xfrm>
            <a:custGeom>
              <a:avLst/>
              <a:gdLst>
                <a:gd name="T0" fmla="*/ 87 w 175"/>
                <a:gd name="T1" fmla="*/ 175 h 175"/>
                <a:gd name="T2" fmla="*/ 0 w 175"/>
                <a:gd name="T3" fmla="*/ 88 h 175"/>
                <a:gd name="T4" fmla="*/ 87 w 175"/>
                <a:gd name="T5" fmla="*/ 0 h 175"/>
                <a:gd name="T6" fmla="*/ 175 w 175"/>
                <a:gd name="T7" fmla="*/ 88 h 175"/>
                <a:gd name="T8" fmla="*/ 87 w 175"/>
                <a:gd name="T9" fmla="*/ 175 h 175"/>
                <a:gd name="T10" fmla="*/ 87 w 175"/>
                <a:gd name="T11" fmla="*/ 11 h 175"/>
                <a:gd name="T12" fmla="*/ 11 w 175"/>
                <a:gd name="T13" fmla="*/ 88 h 175"/>
                <a:gd name="T14" fmla="*/ 87 w 175"/>
                <a:gd name="T15" fmla="*/ 164 h 175"/>
                <a:gd name="T16" fmla="*/ 164 w 175"/>
                <a:gd name="T17" fmla="*/ 88 h 175"/>
                <a:gd name="T18" fmla="*/ 87 w 175"/>
                <a:gd name="T19" fmla="*/ 11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5" h="175">
                  <a:moveTo>
                    <a:pt x="87" y="175"/>
                  </a:moveTo>
                  <a:cubicBezTo>
                    <a:pt x="39" y="175"/>
                    <a:pt x="0" y="136"/>
                    <a:pt x="0" y="88"/>
                  </a:cubicBezTo>
                  <a:cubicBezTo>
                    <a:pt x="0" y="39"/>
                    <a:pt x="39" y="0"/>
                    <a:pt x="87" y="0"/>
                  </a:cubicBezTo>
                  <a:cubicBezTo>
                    <a:pt x="136" y="0"/>
                    <a:pt x="175" y="39"/>
                    <a:pt x="175" y="88"/>
                  </a:cubicBezTo>
                  <a:cubicBezTo>
                    <a:pt x="175" y="136"/>
                    <a:pt x="136" y="175"/>
                    <a:pt x="87" y="175"/>
                  </a:cubicBezTo>
                  <a:close/>
                  <a:moveTo>
                    <a:pt x="87" y="11"/>
                  </a:moveTo>
                  <a:cubicBezTo>
                    <a:pt x="45" y="11"/>
                    <a:pt x="11" y="45"/>
                    <a:pt x="11" y="88"/>
                  </a:cubicBezTo>
                  <a:cubicBezTo>
                    <a:pt x="11" y="130"/>
                    <a:pt x="45" y="164"/>
                    <a:pt x="87" y="164"/>
                  </a:cubicBezTo>
                  <a:cubicBezTo>
                    <a:pt x="129" y="164"/>
                    <a:pt x="164" y="130"/>
                    <a:pt x="164" y="88"/>
                  </a:cubicBezTo>
                  <a:cubicBezTo>
                    <a:pt x="164" y="45"/>
                    <a:pt x="129" y="11"/>
                    <a:pt x="87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99" name="Shape41_20200717_142846">
            <a:extLst>
              <a:ext uri="{FF2B5EF4-FFF2-40B4-BE49-F238E27FC236}">
                <a16:creationId xmlns:a16="http://schemas.microsoft.com/office/drawing/2014/main" id="{5E30DF7E-D0CF-4CD1-5773-D9A7646E7D26}"/>
              </a:ext>
            </a:extLst>
          </p:cNvPr>
          <p:cNvGrpSpPr>
            <a:grpSpLocks noChangeAspect="1"/>
          </p:cNvGrpSpPr>
          <p:nvPr/>
        </p:nvGrpSpPr>
        <p:grpSpPr>
          <a:xfrm>
            <a:off x="7274420" y="2535244"/>
            <a:ext cx="254278" cy="587713"/>
            <a:chOff x="-2701923" y="2556843"/>
            <a:chExt cx="168275" cy="388935"/>
          </a:xfrm>
          <a:solidFill>
            <a:schemeClr val="accent1"/>
          </a:solidFill>
        </p:grpSpPr>
        <p:sp>
          <p:nvSpPr>
            <p:cNvPr id="100" name="Freeform 1398">
              <a:extLst>
                <a:ext uri="{FF2B5EF4-FFF2-40B4-BE49-F238E27FC236}">
                  <a16:creationId xmlns:a16="http://schemas.microsoft.com/office/drawing/2014/main" id="{135E70C4-8301-35E0-8610-BF75D69A8A24}"/>
                </a:ext>
              </a:extLst>
            </p:cNvPr>
            <p:cNvSpPr>
              <a:spLocks/>
            </p:cNvSpPr>
            <p:nvPr/>
          </p:nvSpPr>
          <p:spPr bwMode="auto">
            <a:xfrm>
              <a:off x="-2624138" y="2860055"/>
              <a:ext cx="12700" cy="73025"/>
            </a:xfrm>
            <a:custGeom>
              <a:avLst/>
              <a:gdLst>
                <a:gd name="T0" fmla="*/ 6 w 11"/>
                <a:gd name="T1" fmla="*/ 70 h 70"/>
                <a:gd name="T2" fmla="*/ 0 w 11"/>
                <a:gd name="T3" fmla="*/ 64 h 70"/>
                <a:gd name="T4" fmla="*/ 0 w 11"/>
                <a:gd name="T5" fmla="*/ 5 h 70"/>
                <a:gd name="T6" fmla="*/ 6 w 11"/>
                <a:gd name="T7" fmla="*/ 0 h 70"/>
                <a:gd name="T8" fmla="*/ 11 w 11"/>
                <a:gd name="T9" fmla="*/ 5 h 70"/>
                <a:gd name="T10" fmla="*/ 11 w 11"/>
                <a:gd name="T11" fmla="*/ 64 h 70"/>
                <a:gd name="T12" fmla="*/ 6 w 11"/>
                <a:gd name="T1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70">
                  <a:moveTo>
                    <a:pt x="6" y="70"/>
                  </a:moveTo>
                  <a:cubicBezTo>
                    <a:pt x="3" y="70"/>
                    <a:pt x="0" y="67"/>
                    <a:pt x="0" y="6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1" y="2"/>
                    <a:pt x="11" y="5"/>
                  </a:cubicBezTo>
                  <a:cubicBezTo>
                    <a:pt x="11" y="64"/>
                    <a:pt x="11" y="64"/>
                    <a:pt x="11" y="64"/>
                  </a:cubicBezTo>
                  <a:cubicBezTo>
                    <a:pt x="11" y="67"/>
                    <a:pt x="9" y="70"/>
                    <a:pt x="6" y="7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1" name="Freeform 1399">
              <a:extLst>
                <a:ext uri="{FF2B5EF4-FFF2-40B4-BE49-F238E27FC236}">
                  <a16:creationId xmlns:a16="http://schemas.microsoft.com/office/drawing/2014/main" id="{0E558C09-AE75-FB93-2D9E-2251DEB2A0B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701923" y="2720353"/>
              <a:ext cx="168275" cy="225425"/>
            </a:xfrm>
            <a:custGeom>
              <a:avLst/>
              <a:gdLst>
                <a:gd name="T0" fmla="*/ 93 w 161"/>
                <a:gd name="T1" fmla="*/ 217 h 217"/>
                <a:gd name="T2" fmla="*/ 81 w 161"/>
                <a:gd name="T3" fmla="*/ 212 h 217"/>
                <a:gd name="T4" fmla="*/ 80 w 161"/>
                <a:gd name="T5" fmla="*/ 212 h 217"/>
                <a:gd name="T6" fmla="*/ 67 w 161"/>
                <a:gd name="T7" fmla="*/ 217 h 217"/>
                <a:gd name="T8" fmla="*/ 51 w 161"/>
                <a:gd name="T9" fmla="*/ 199 h 217"/>
                <a:gd name="T10" fmla="*/ 51 w 161"/>
                <a:gd name="T11" fmla="*/ 81 h 217"/>
                <a:gd name="T12" fmla="*/ 32 w 161"/>
                <a:gd name="T13" fmla="*/ 65 h 217"/>
                <a:gd name="T14" fmla="*/ 7 w 161"/>
                <a:gd name="T15" fmla="*/ 30 h 217"/>
                <a:gd name="T16" fmla="*/ 2 w 161"/>
                <a:gd name="T17" fmla="*/ 20 h 217"/>
                <a:gd name="T18" fmla="*/ 9 w 161"/>
                <a:gd name="T19" fmla="*/ 3 h 217"/>
                <a:gd name="T20" fmla="*/ 26 w 161"/>
                <a:gd name="T21" fmla="*/ 8 h 217"/>
                <a:gd name="T22" fmla="*/ 29 w 161"/>
                <a:gd name="T23" fmla="*/ 14 h 217"/>
                <a:gd name="T24" fmla="*/ 55 w 161"/>
                <a:gd name="T25" fmla="*/ 43 h 217"/>
                <a:gd name="T26" fmla="*/ 55 w 161"/>
                <a:gd name="T27" fmla="*/ 43 h 217"/>
                <a:gd name="T28" fmla="*/ 62 w 161"/>
                <a:gd name="T29" fmla="*/ 45 h 217"/>
                <a:gd name="T30" fmla="*/ 99 w 161"/>
                <a:gd name="T31" fmla="*/ 45 h 217"/>
                <a:gd name="T32" fmla="*/ 106 w 161"/>
                <a:gd name="T33" fmla="*/ 43 h 217"/>
                <a:gd name="T34" fmla="*/ 132 w 161"/>
                <a:gd name="T35" fmla="*/ 14 h 217"/>
                <a:gd name="T36" fmla="*/ 135 w 161"/>
                <a:gd name="T37" fmla="*/ 8 h 217"/>
                <a:gd name="T38" fmla="*/ 152 w 161"/>
                <a:gd name="T39" fmla="*/ 3 h 217"/>
                <a:gd name="T40" fmla="*/ 159 w 161"/>
                <a:gd name="T41" fmla="*/ 20 h 217"/>
                <a:gd name="T42" fmla="*/ 155 w 161"/>
                <a:gd name="T43" fmla="*/ 30 h 217"/>
                <a:gd name="T44" fmla="*/ 129 w 161"/>
                <a:gd name="T45" fmla="*/ 65 h 217"/>
                <a:gd name="T46" fmla="*/ 111 w 161"/>
                <a:gd name="T47" fmla="*/ 81 h 217"/>
                <a:gd name="T48" fmla="*/ 110 w 161"/>
                <a:gd name="T49" fmla="*/ 199 h 217"/>
                <a:gd name="T50" fmla="*/ 93 w 161"/>
                <a:gd name="T51" fmla="*/ 217 h 217"/>
                <a:gd name="T52" fmla="*/ 81 w 161"/>
                <a:gd name="T53" fmla="*/ 194 h 217"/>
                <a:gd name="T54" fmla="*/ 86 w 161"/>
                <a:gd name="T55" fmla="*/ 199 h 217"/>
                <a:gd name="T56" fmla="*/ 93 w 161"/>
                <a:gd name="T57" fmla="*/ 206 h 217"/>
                <a:gd name="T58" fmla="*/ 99 w 161"/>
                <a:gd name="T59" fmla="*/ 199 h 217"/>
                <a:gd name="T60" fmla="*/ 100 w 161"/>
                <a:gd name="T61" fmla="*/ 78 h 217"/>
                <a:gd name="T62" fmla="*/ 102 w 161"/>
                <a:gd name="T63" fmla="*/ 74 h 217"/>
                <a:gd name="T64" fmla="*/ 122 w 161"/>
                <a:gd name="T65" fmla="*/ 56 h 217"/>
                <a:gd name="T66" fmla="*/ 145 w 161"/>
                <a:gd name="T67" fmla="*/ 25 h 217"/>
                <a:gd name="T68" fmla="*/ 149 w 161"/>
                <a:gd name="T69" fmla="*/ 16 h 217"/>
                <a:gd name="T70" fmla="*/ 148 w 161"/>
                <a:gd name="T71" fmla="*/ 13 h 217"/>
                <a:gd name="T72" fmla="*/ 145 w 161"/>
                <a:gd name="T73" fmla="*/ 14 h 217"/>
                <a:gd name="T74" fmla="*/ 141 w 161"/>
                <a:gd name="T75" fmla="*/ 19 h 217"/>
                <a:gd name="T76" fmla="*/ 113 w 161"/>
                <a:gd name="T77" fmla="*/ 52 h 217"/>
                <a:gd name="T78" fmla="*/ 99 w 161"/>
                <a:gd name="T79" fmla="*/ 56 h 217"/>
                <a:gd name="T80" fmla="*/ 62 w 161"/>
                <a:gd name="T81" fmla="*/ 56 h 217"/>
                <a:gd name="T82" fmla="*/ 48 w 161"/>
                <a:gd name="T83" fmla="*/ 52 h 217"/>
                <a:gd name="T84" fmla="*/ 48 w 161"/>
                <a:gd name="T85" fmla="*/ 52 h 217"/>
                <a:gd name="T86" fmla="*/ 20 w 161"/>
                <a:gd name="T87" fmla="*/ 20 h 217"/>
                <a:gd name="T88" fmla="*/ 17 w 161"/>
                <a:gd name="T89" fmla="*/ 14 h 217"/>
                <a:gd name="T90" fmla="*/ 14 w 161"/>
                <a:gd name="T91" fmla="*/ 13 h 217"/>
                <a:gd name="T92" fmla="*/ 13 w 161"/>
                <a:gd name="T93" fmla="*/ 16 h 217"/>
                <a:gd name="T94" fmla="*/ 17 w 161"/>
                <a:gd name="T95" fmla="*/ 25 h 217"/>
                <a:gd name="T96" fmla="*/ 39 w 161"/>
                <a:gd name="T97" fmla="*/ 56 h 217"/>
                <a:gd name="T98" fmla="*/ 60 w 161"/>
                <a:gd name="T99" fmla="*/ 74 h 217"/>
                <a:gd name="T100" fmla="*/ 62 w 161"/>
                <a:gd name="T101" fmla="*/ 78 h 217"/>
                <a:gd name="T102" fmla="*/ 62 w 161"/>
                <a:gd name="T103" fmla="*/ 199 h 217"/>
                <a:gd name="T104" fmla="*/ 68 w 161"/>
                <a:gd name="T105" fmla="*/ 206 h 217"/>
                <a:gd name="T106" fmla="*/ 73 w 161"/>
                <a:gd name="T107" fmla="*/ 204 h 217"/>
                <a:gd name="T108" fmla="*/ 75 w 161"/>
                <a:gd name="T109" fmla="*/ 199 h 217"/>
                <a:gd name="T110" fmla="*/ 81 w 161"/>
                <a:gd name="T111" fmla="*/ 194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61" h="217">
                  <a:moveTo>
                    <a:pt x="93" y="217"/>
                  </a:moveTo>
                  <a:cubicBezTo>
                    <a:pt x="88" y="217"/>
                    <a:pt x="84" y="215"/>
                    <a:pt x="81" y="212"/>
                  </a:cubicBezTo>
                  <a:cubicBezTo>
                    <a:pt x="80" y="212"/>
                    <a:pt x="80" y="212"/>
                    <a:pt x="80" y="212"/>
                  </a:cubicBezTo>
                  <a:cubicBezTo>
                    <a:pt x="77" y="216"/>
                    <a:pt x="72" y="217"/>
                    <a:pt x="67" y="217"/>
                  </a:cubicBezTo>
                  <a:cubicBezTo>
                    <a:pt x="58" y="216"/>
                    <a:pt x="51" y="208"/>
                    <a:pt x="51" y="199"/>
                  </a:cubicBezTo>
                  <a:cubicBezTo>
                    <a:pt x="51" y="81"/>
                    <a:pt x="51" y="81"/>
                    <a:pt x="51" y="81"/>
                  </a:cubicBezTo>
                  <a:cubicBezTo>
                    <a:pt x="32" y="65"/>
                    <a:pt x="32" y="65"/>
                    <a:pt x="32" y="65"/>
                  </a:cubicBezTo>
                  <a:cubicBezTo>
                    <a:pt x="21" y="55"/>
                    <a:pt x="12" y="43"/>
                    <a:pt x="7" y="30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0" y="13"/>
                    <a:pt x="3" y="6"/>
                    <a:pt x="9" y="3"/>
                  </a:cubicBezTo>
                  <a:cubicBezTo>
                    <a:pt x="15" y="0"/>
                    <a:pt x="23" y="2"/>
                    <a:pt x="26" y="8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36" y="25"/>
                    <a:pt x="44" y="35"/>
                    <a:pt x="55" y="43"/>
                  </a:cubicBezTo>
                  <a:cubicBezTo>
                    <a:pt x="55" y="43"/>
                    <a:pt x="55" y="43"/>
                    <a:pt x="55" y="43"/>
                  </a:cubicBezTo>
                  <a:cubicBezTo>
                    <a:pt x="57" y="44"/>
                    <a:pt x="59" y="45"/>
                    <a:pt x="62" y="45"/>
                  </a:cubicBezTo>
                  <a:cubicBezTo>
                    <a:pt x="99" y="45"/>
                    <a:pt x="99" y="45"/>
                    <a:pt x="99" y="45"/>
                  </a:cubicBezTo>
                  <a:cubicBezTo>
                    <a:pt x="102" y="45"/>
                    <a:pt x="104" y="44"/>
                    <a:pt x="106" y="43"/>
                  </a:cubicBezTo>
                  <a:cubicBezTo>
                    <a:pt x="117" y="35"/>
                    <a:pt x="126" y="25"/>
                    <a:pt x="132" y="14"/>
                  </a:cubicBezTo>
                  <a:cubicBezTo>
                    <a:pt x="135" y="8"/>
                    <a:pt x="135" y="8"/>
                    <a:pt x="135" y="8"/>
                  </a:cubicBezTo>
                  <a:cubicBezTo>
                    <a:pt x="138" y="2"/>
                    <a:pt x="146" y="0"/>
                    <a:pt x="152" y="3"/>
                  </a:cubicBezTo>
                  <a:cubicBezTo>
                    <a:pt x="159" y="6"/>
                    <a:pt x="161" y="13"/>
                    <a:pt x="159" y="2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49" y="43"/>
                    <a:pt x="140" y="55"/>
                    <a:pt x="129" y="65"/>
                  </a:cubicBezTo>
                  <a:cubicBezTo>
                    <a:pt x="111" y="81"/>
                    <a:pt x="111" y="81"/>
                    <a:pt x="111" y="81"/>
                  </a:cubicBezTo>
                  <a:cubicBezTo>
                    <a:pt x="110" y="199"/>
                    <a:pt x="110" y="199"/>
                    <a:pt x="110" y="199"/>
                  </a:cubicBezTo>
                  <a:cubicBezTo>
                    <a:pt x="110" y="209"/>
                    <a:pt x="103" y="217"/>
                    <a:pt x="93" y="217"/>
                  </a:cubicBezTo>
                  <a:close/>
                  <a:moveTo>
                    <a:pt x="81" y="194"/>
                  </a:moveTo>
                  <a:cubicBezTo>
                    <a:pt x="84" y="194"/>
                    <a:pt x="86" y="196"/>
                    <a:pt x="86" y="199"/>
                  </a:cubicBezTo>
                  <a:cubicBezTo>
                    <a:pt x="86" y="203"/>
                    <a:pt x="89" y="206"/>
                    <a:pt x="93" y="206"/>
                  </a:cubicBezTo>
                  <a:cubicBezTo>
                    <a:pt x="96" y="206"/>
                    <a:pt x="99" y="203"/>
                    <a:pt x="99" y="199"/>
                  </a:cubicBezTo>
                  <a:cubicBezTo>
                    <a:pt x="100" y="78"/>
                    <a:pt x="100" y="78"/>
                    <a:pt x="100" y="78"/>
                  </a:cubicBezTo>
                  <a:cubicBezTo>
                    <a:pt x="100" y="77"/>
                    <a:pt x="100" y="75"/>
                    <a:pt x="102" y="74"/>
                  </a:cubicBezTo>
                  <a:cubicBezTo>
                    <a:pt x="122" y="56"/>
                    <a:pt x="122" y="56"/>
                    <a:pt x="122" y="56"/>
                  </a:cubicBezTo>
                  <a:cubicBezTo>
                    <a:pt x="132" y="48"/>
                    <a:pt x="139" y="37"/>
                    <a:pt x="145" y="25"/>
                  </a:cubicBezTo>
                  <a:cubicBezTo>
                    <a:pt x="149" y="16"/>
                    <a:pt x="149" y="16"/>
                    <a:pt x="149" y="16"/>
                  </a:cubicBezTo>
                  <a:cubicBezTo>
                    <a:pt x="149" y="14"/>
                    <a:pt x="149" y="13"/>
                    <a:pt x="148" y="13"/>
                  </a:cubicBezTo>
                  <a:cubicBezTo>
                    <a:pt x="146" y="12"/>
                    <a:pt x="145" y="13"/>
                    <a:pt x="145" y="14"/>
                  </a:cubicBezTo>
                  <a:cubicBezTo>
                    <a:pt x="141" y="19"/>
                    <a:pt x="141" y="19"/>
                    <a:pt x="141" y="19"/>
                  </a:cubicBezTo>
                  <a:cubicBezTo>
                    <a:pt x="134" y="32"/>
                    <a:pt x="125" y="43"/>
                    <a:pt x="113" y="52"/>
                  </a:cubicBezTo>
                  <a:cubicBezTo>
                    <a:pt x="109" y="55"/>
                    <a:pt x="104" y="56"/>
                    <a:pt x="99" y="56"/>
                  </a:cubicBezTo>
                  <a:cubicBezTo>
                    <a:pt x="62" y="56"/>
                    <a:pt x="62" y="56"/>
                    <a:pt x="62" y="56"/>
                  </a:cubicBezTo>
                  <a:cubicBezTo>
                    <a:pt x="57" y="56"/>
                    <a:pt x="52" y="55"/>
                    <a:pt x="48" y="52"/>
                  </a:cubicBezTo>
                  <a:cubicBezTo>
                    <a:pt x="48" y="52"/>
                    <a:pt x="48" y="52"/>
                    <a:pt x="48" y="52"/>
                  </a:cubicBezTo>
                  <a:cubicBezTo>
                    <a:pt x="37" y="43"/>
                    <a:pt x="27" y="32"/>
                    <a:pt x="20" y="20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6" y="13"/>
                    <a:pt x="15" y="12"/>
                    <a:pt x="14" y="13"/>
                  </a:cubicBezTo>
                  <a:cubicBezTo>
                    <a:pt x="13" y="13"/>
                    <a:pt x="12" y="14"/>
                    <a:pt x="13" y="16"/>
                  </a:cubicBezTo>
                  <a:cubicBezTo>
                    <a:pt x="17" y="25"/>
                    <a:pt x="17" y="25"/>
                    <a:pt x="17" y="25"/>
                  </a:cubicBezTo>
                  <a:cubicBezTo>
                    <a:pt x="22" y="37"/>
                    <a:pt x="30" y="48"/>
                    <a:pt x="39" y="56"/>
                  </a:cubicBezTo>
                  <a:cubicBezTo>
                    <a:pt x="60" y="74"/>
                    <a:pt x="60" y="74"/>
                    <a:pt x="60" y="74"/>
                  </a:cubicBezTo>
                  <a:cubicBezTo>
                    <a:pt x="61" y="75"/>
                    <a:pt x="62" y="77"/>
                    <a:pt x="62" y="78"/>
                  </a:cubicBezTo>
                  <a:cubicBezTo>
                    <a:pt x="62" y="199"/>
                    <a:pt x="62" y="199"/>
                    <a:pt x="62" y="199"/>
                  </a:cubicBezTo>
                  <a:cubicBezTo>
                    <a:pt x="62" y="202"/>
                    <a:pt x="64" y="206"/>
                    <a:pt x="68" y="206"/>
                  </a:cubicBezTo>
                  <a:cubicBezTo>
                    <a:pt x="70" y="206"/>
                    <a:pt x="71" y="205"/>
                    <a:pt x="73" y="204"/>
                  </a:cubicBezTo>
                  <a:cubicBezTo>
                    <a:pt x="74" y="203"/>
                    <a:pt x="75" y="201"/>
                    <a:pt x="75" y="199"/>
                  </a:cubicBezTo>
                  <a:cubicBezTo>
                    <a:pt x="75" y="196"/>
                    <a:pt x="78" y="194"/>
                    <a:pt x="81" y="19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2" name="Freeform 1400">
              <a:extLst>
                <a:ext uri="{FF2B5EF4-FFF2-40B4-BE49-F238E27FC236}">
                  <a16:creationId xmlns:a16="http://schemas.microsoft.com/office/drawing/2014/main" id="{DF5146B7-2FEB-9756-3A06-A0CEA121DE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640011" y="2718767"/>
              <a:ext cx="44450" cy="46038"/>
            </a:xfrm>
            <a:custGeom>
              <a:avLst/>
              <a:gdLst>
                <a:gd name="T0" fmla="*/ 22 w 43"/>
                <a:gd name="T1" fmla="*/ 44 h 44"/>
                <a:gd name="T2" fmla="*/ 0 w 43"/>
                <a:gd name="T3" fmla="*/ 22 h 44"/>
                <a:gd name="T4" fmla="*/ 22 w 43"/>
                <a:gd name="T5" fmla="*/ 0 h 44"/>
                <a:gd name="T6" fmla="*/ 43 w 43"/>
                <a:gd name="T7" fmla="*/ 22 h 44"/>
                <a:gd name="T8" fmla="*/ 22 w 43"/>
                <a:gd name="T9" fmla="*/ 44 h 44"/>
                <a:gd name="T10" fmla="*/ 22 w 43"/>
                <a:gd name="T11" fmla="*/ 11 h 44"/>
                <a:gd name="T12" fmla="*/ 11 w 43"/>
                <a:gd name="T13" fmla="*/ 22 h 44"/>
                <a:gd name="T14" fmla="*/ 22 w 43"/>
                <a:gd name="T15" fmla="*/ 33 h 44"/>
                <a:gd name="T16" fmla="*/ 32 w 43"/>
                <a:gd name="T17" fmla="*/ 22 h 44"/>
                <a:gd name="T18" fmla="*/ 22 w 43"/>
                <a:gd name="T19" fmla="*/ 11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3" h="44">
                  <a:moveTo>
                    <a:pt x="22" y="44"/>
                  </a:moveTo>
                  <a:cubicBezTo>
                    <a:pt x="9" y="44"/>
                    <a:pt x="0" y="34"/>
                    <a:pt x="0" y="22"/>
                  </a:cubicBezTo>
                  <a:cubicBezTo>
                    <a:pt x="0" y="10"/>
                    <a:pt x="9" y="0"/>
                    <a:pt x="22" y="0"/>
                  </a:cubicBezTo>
                  <a:cubicBezTo>
                    <a:pt x="34" y="0"/>
                    <a:pt x="43" y="10"/>
                    <a:pt x="43" y="22"/>
                  </a:cubicBezTo>
                  <a:cubicBezTo>
                    <a:pt x="43" y="34"/>
                    <a:pt x="34" y="44"/>
                    <a:pt x="22" y="44"/>
                  </a:cubicBezTo>
                  <a:close/>
                  <a:moveTo>
                    <a:pt x="22" y="11"/>
                  </a:moveTo>
                  <a:cubicBezTo>
                    <a:pt x="16" y="11"/>
                    <a:pt x="11" y="16"/>
                    <a:pt x="11" y="22"/>
                  </a:cubicBezTo>
                  <a:cubicBezTo>
                    <a:pt x="11" y="28"/>
                    <a:pt x="16" y="33"/>
                    <a:pt x="22" y="33"/>
                  </a:cubicBezTo>
                  <a:cubicBezTo>
                    <a:pt x="28" y="33"/>
                    <a:pt x="32" y="28"/>
                    <a:pt x="32" y="22"/>
                  </a:cubicBezTo>
                  <a:cubicBezTo>
                    <a:pt x="32" y="16"/>
                    <a:pt x="28" y="11"/>
                    <a:pt x="22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3" name="Freeform 1401">
              <a:extLst>
                <a:ext uri="{FF2B5EF4-FFF2-40B4-BE49-F238E27FC236}">
                  <a16:creationId xmlns:a16="http://schemas.microsoft.com/office/drawing/2014/main" id="{7ADD0998-8E79-D166-24D2-7664383900F3}"/>
                </a:ext>
              </a:extLst>
            </p:cNvPr>
            <p:cNvSpPr>
              <a:spLocks/>
            </p:cNvSpPr>
            <p:nvPr/>
          </p:nvSpPr>
          <p:spPr bwMode="auto">
            <a:xfrm>
              <a:off x="-2644773" y="2593355"/>
              <a:ext cx="53975" cy="74613"/>
            </a:xfrm>
            <a:custGeom>
              <a:avLst/>
              <a:gdLst>
                <a:gd name="T0" fmla="*/ 25 w 51"/>
                <a:gd name="T1" fmla="*/ 72 h 72"/>
                <a:gd name="T2" fmla="*/ 2 w 51"/>
                <a:gd name="T3" fmla="*/ 60 h 72"/>
                <a:gd name="T4" fmla="*/ 3 w 51"/>
                <a:gd name="T5" fmla="*/ 53 h 72"/>
                <a:gd name="T6" fmla="*/ 11 w 51"/>
                <a:gd name="T7" fmla="*/ 54 h 72"/>
                <a:gd name="T8" fmla="*/ 34 w 51"/>
                <a:gd name="T9" fmla="*/ 59 h 72"/>
                <a:gd name="T10" fmla="*/ 35 w 51"/>
                <a:gd name="T11" fmla="*/ 59 h 72"/>
                <a:gd name="T12" fmla="*/ 39 w 51"/>
                <a:gd name="T13" fmla="*/ 50 h 72"/>
                <a:gd name="T14" fmla="*/ 32 w 51"/>
                <a:gd name="T15" fmla="*/ 42 h 72"/>
                <a:gd name="T16" fmla="*/ 16 w 51"/>
                <a:gd name="T17" fmla="*/ 37 h 72"/>
                <a:gd name="T18" fmla="*/ 1 w 51"/>
                <a:gd name="T19" fmla="*/ 19 h 72"/>
                <a:gd name="T20" fmla="*/ 7 w 51"/>
                <a:gd name="T21" fmla="*/ 5 h 72"/>
                <a:gd name="T22" fmla="*/ 26 w 51"/>
                <a:gd name="T23" fmla="*/ 0 h 72"/>
                <a:gd name="T24" fmla="*/ 50 w 51"/>
                <a:gd name="T25" fmla="*/ 16 h 72"/>
                <a:gd name="T26" fmla="*/ 46 w 51"/>
                <a:gd name="T27" fmla="*/ 23 h 72"/>
                <a:gd name="T28" fmla="*/ 39 w 51"/>
                <a:gd name="T29" fmla="*/ 19 h 72"/>
                <a:gd name="T30" fmla="*/ 26 w 51"/>
                <a:gd name="T31" fmla="*/ 11 h 72"/>
                <a:gd name="T32" fmla="*/ 15 w 51"/>
                <a:gd name="T33" fmla="*/ 14 h 72"/>
                <a:gd name="T34" fmla="*/ 12 w 51"/>
                <a:gd name="T35" fmla="*/ 19 h 72"/>
                <a:gd name="T36" fmla="*/ 19 w 51"/>
                <a:gd name="T37" fmla="*/ 27 h 72"/>
                <a:gd name="T38" fmla="*/ 35 w 51"/>
                <a:gd name="T39" fmla="*/ 31 h 72"/>
                <a:gd name="T40" fmla="*/ 50 w 51"/>
                <a:gd name="T41" fmla="*/ 49 h 72"/>
                <a:gd name="T42" fmla="*/ 39 w 51"/>
                <a:gd name="T43" fmla="*/ 69 h 72"/>
                <a:gd name="T44" fmla="*/ 25 w 51"/>
                <a:gd name="T45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1" h="72">
                  <a:moveTo>
                    <a:pt x="25" y="72"/>
                  </a:moveTo>
                  <a:cubicBezTo>
                    <a:pt x="18" y="72"/>
                    <a:pt x="9" y="69"/>
                    <a:pt x="2" y="60"/>
                  </a:cubicBezTo>
                  <a:cubicBezTo>
                    <a:pt x="0" y="58"/>
                    <a:pt x="1" y="54"/>
                    <a:pt x="3" y="53"/>
                  </a:cubicBezTo>
                  <a:cubicBezTo>
                    <a:pt x="6" y="51"/>
                    <a:pt x="9" y="51"/>
                    <a:pt x="11" y="54"/>
                  </a:cubicBezTo>
                  <a:cubicBezTo>
                    <a:pt x="20" y="66"/>
                    <a:pt x="34" y="59"/>
                    <a:pt x="34" y="59"/>
                  </a:cubicBezTo>
                  <a:cubicBezTo>
                    <a:pt x="35" y="59"/>
                    <a:pt x="35" y="59"/>
                    <a:pt x="35" y="59"/>
                  </a:cubicBezTo>
                  <a:cubicBezTo>
                    <a:pt x="36" y="58"/>
                    <a:pt x="40" y="56"/>
                    <a:pt x="39" y="50"/>
                  </a:cubicBezTo>
                  <a:cubicBezTo>
                    <a:pt x="38" y="44"/>
                    <a:pt x="33" y="42"/>
                    <a:pt x="32" y="42"/>
                  </a:cubicBezTo>
                  <a:cubicBezTo>
                    <a:pt x="32" y="42"/>
                    <a:pt x="24" y="39"/>
                    <a:pt x="16" y="37"/>
                  </a:cubicBezTo>
                  <a:cubicBezTo>
                    <a:pt x="4" y="34"/>
                    <a:pt x="1" y="25"/>
                    <a:pt x="1" y="19"/>
                  </a:cubicBezTo>
                  <a:cubicBezTo>
                    <a:pt x="2" y="13"/>
                    <a:pt x="4" y="9"/>
                    <a:pt x="7" y="5"/>
                  </a:cubicBezTo>
                  <a:cubicBezTo>
                    <a:pt x="12" y="2"/>
                    <a:pt x="18" y="0"/>
                    <a:pt x="26" y="0"/>
                  </a:cubicBezTo>
                  <a:cubicBezTo>
                    <a:pt x="41" y="0"/>
                    <a:pt x="48" y="11"/>
                    <a:pt x="50" y="16"/>
                  </a:cubicBezTo>
                  <a:cubicBezTo>
                    <a:pt x="51" y="19"/>
                    <a:pt x="49" y="22"/>
                    <a:pt x="46" y="23"/>
                  </a:cubicBezTo>
                  <a:cubicBezTo>
                    <a:pt x="43" y="24"/>
                    <a:pt x="40" y="22"/>
                    <a:pt x="39" y="19"/>
                  </a:cubicBezTo>
                  <a:cubicBezTo>
                    <a:pt x="39" y="18"/>
                    <a:pt x="36" y="11"/>
                    <a:pt x="26" y="11"/>
                  </a:cubicBezTo>
                  <a:cubicBezTo>
                    <a:pt x="21" y="11"/>
                    <a:pt x="17" y="12"/>
                    <a:pt x="15" y="14"/>
                  </a:cubicBezTo>
                  <a:cubicBezTo>
                    <a:pt x="13" y="15"/>
                    <a:pt x="12" y="17"/>
                    <a:pt x="12" y="19"/>
                  </a:cubicBezTo>
                  <a:cubicBezTo>
                    <a:pt x="12" y="22"/>
                    <a:pt x="14" y="25"/>
                    <a:pt x="19" y="27"/>
                  </a:cubicBezTo>
                  <a:cubicBezTo>
                    <a:pt x="27" y="29"/>
                    <a:pt x="35" y="31"/>
                    <a:pt x="35" y="31"/>
                  </a:cubicBezTo>
                  <a:cubicBezTo>
                    <a:pt x="40" y="33"/>
                    <a:pt x="49" y="38"/>
                    <a:pt x="50" y="49"/>
                  </a:cubicBezTo>
                  <a:cubicBezTo>
                    <a:pt x="51" y="61"/>
                    <a:pt x="44" y="67"/>
                    <a:pt x="39" y="69"/>
                  </a:cubicBezTo>
                  <a:cubicBezTo>
                    <a:pt x="36" y="70"/>
                    <a:pt x="31" y="72"/>
                    <a:pt x="25" y="7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4" name="Freeform 1402">
              <a:extLst>
                <a:ext uri="{FF2B5EF4-FFF2-40B4-BE49-F238E27FC236}">
                  <a16:creationId xmlns:a16="http://schemas.microsoft.com/office/drawing/2014/main" id="{FC703EAB-E7B3-C9A8-4A73-5CC2E64EE3BD}"/>
                </a:ext>
              </a:extLst>
            </p:cNvPr>
            <p:cNvSpPr>
              <a:spLocks/>
            </p:cNvSpPr>
            <p:nvPr/>
          </p:nvSpPr>
          <p:spPr bwMode="auto">
            <a:xfrm>
              <a:off x="-2622548" y="2580654"/>
              <a:ext cx="11113" cy="23813"/>
            </a:xfrm>
            <a:custGeom>
              <a:avLst/>
              <a:gdLst>
                <a:gd name="T0" fmla="*/ 5 w 11"/>
                <a:gd name="T1" fmla="*/ 24 h 24"/>
                <a:gd name="T2" fmla="*/ 0 w 11"/>
                <a:gd name="T3" fmla="*/ 18 h 24"/>
                <a:gd name="T4" fmla="*/ 0 w 11"/>
                <a:gd name="T5" fmla="*/ 6 h 24"/>
                <a:gd name="T6" fmla="*/ 5 w 11"/>
                <a:gd name="T7" fmla="*/ 0 h 24"/>
                <a:gd name="T8" fmla="*/ 11 w 11"/>
                <a:gd name="T9" fmla="*/ 6 h 24"/>
                <a:gd name="T10" fmla="*/ 11 w 11"/>
                <a:gd name="T11" fmla="*/ 18 h 24"/>
                <a:gd name="T12" fmla="*/ 5 w 11"/>
                <a:gd name="T13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4">
                  <a:moveTo>
                    <a:pt x="5" y="24"/>
                  </a:moveTo>
                  <a:cubicBezTo>
                    <a:pt x="2" y="24"/>
                    <a:pt x="0" y="21"/>
                    <a:pt x="0" y="1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" y="0"/>
                    <a:pt x="11" y="2"/>
                    <a:pt x="11" y="6"/>
                  </a:cubicBezTo>
                  <a:cubicBezTo>
                    <a:pt x="11" y="18"/>
                    <a:pt x="11" y="18"/>
                    <a:pt x="11" y="18"/>
                  </a:cubicBezTo>
                  <a:cubicBezTo>
                    <a:pt x="11" y="21"/>
                    <a:pt x="8" y="24"/>
                    <a:pt x="5" y="2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5" name="Freeform 1403">
              <a:extLst>
                <a:ext uri="{FF2B5EF4-FFF2-40B4-BE49-F238E27FC236}">
                  <a16:creationId xmlns:a16="http://schemas.microsoft.com/office/drawing/2014/main" id="{C4089485-79D5-240A-D330-0F07C9197578}"/>
                </a:ext>
              </a:extLst>
            </p:cNvPr>
            <p:cNvSpPr>
              <a:spLocks/>
            </p:cNvSpPr>
            <p:nvPr/>
          </p:nvSpPr>
          <p:spPr bwMode="auto">
            <a:xfrm>
              <a:off x="-2622548" y="2658442"/>
              <a:ext cx="11113" cy="23813"/>
            </a:xfrm>
            <a:custGeom>
              <a:avLst/>
              <a:gdLst>
                <a:gd name="T0" fmla="*/ 5 w 11"/>
                <a:gd name="T1" fmla="*/ 23 h 23"/>
                <a:gd name="T2" fmla="*/ 0 w 11"/>
                <a:gd name="T3" fmla="*/ 18 h 23"/>
                <a:gd name="T4" fmla="*/ 0 w 11"/>
                <a:gd name="T5" fmla="*/ 5 h 23"/>
                <a:gd name="T6" fmla="*/ 5 w 11"/>
                <a:gd name="T7" fmla="*/ 0 h 23"/>
                <a:gd name="T8" fmla="*/ 11 w 11"/>
                <a:gd name="T9" fmla="*/ 5 h 23"/>
                <a:gd name="T10" fmla="*/ 11 w 11"/>
                <a:gd name="T11" fmla="*/ 18 h 23"/>
                <a:gd name="T12" fmla="*/ 5 w 11"/>
                <a:gd name="T13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3">
                  <a:moveTo>
                    <a:pt x="5" y="23"/>
                  </a:moveTo>
                  <a:cubicBezTo>
                    <a:pt x="2" y="23"/>
                    <a:pt x="0" y="21"/>
                    <a:pt x="0" y="18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" y="0"/>
                    <a:pt x="11" y="2"/>
                    <a:pt x="11" y="5"/>
                  </a:cubicBezTo>
                  <a:cubicBezTo>
                    <a:pt x="11" y="18"/>
                    <a:pt x="11" y="18"/>
                    <a:pt x="11" y="18"/>
                  </a:cubicBezTo>
                  <a:cubicBezTo>
                    <a:pt x="11" y="21"/>
                    <a:pt x="8" y="23"/>
                    <a:pt x="5" y="2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6" name="Freeform 1404">
              <a:extLst>
                <a:ext uri="{FF2B5EF4-FFF2-40B4-BE49-F238E27FC236}">
                  <a16:creationId xmlns:a16="http://schemas.microsoft.com/office/drawing/2014/main" id="{6DB66361-53A5-6EAE-CFCD-E2AD567AE7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692400" y="2556843"/>
              <a:ext cx="149225" cy="150813"/>
            </a:xfrm>
            <a:custGeom>
              <a:avLst/>
              <a:gdLst>
                <a:gd name="T0" fmla="*/ 73 w 145"/>
                <a:gd name="T1" fmla="*/ 145 h 145"/>
                <a:gd name="T2" fmla="*/ 0 w 145"/>
                <a:gd name="T3" fmla="*/ 73 h 145"/>
                <a:gd name="T4" fmla="*/ 73 w 145"/>
                <a:gd name="T5" fmla="*/ 0 h 145"/>
                <a:gd name="T6" fmla="*/ 145 w 145"/>
                <a:gd name="T7" fmla="*/ 73 h 145"/>
                <a:gd name="T8" fmla="*/ 73 w 145"/>
                <a:gd name="T9" fmla="*/ 145 h 145"/>
                <a:gd name="T10" fmla="*/ 73 w 145"/>
                <a:gd name="T11" fmla="*/ 11 h 145"/>
                <a:gd name="T12" fmla="*/ 11 w 145"/>
                <a:gd name="T13" fmla="*/ 73 h 145"/>
                <a:gd name="T14" fmla="*/ 73 w 145"/>
                <a:gd name="T15" fmla="*/ 134 h 145"/>
                <a:gd name="T16" fmla="*/ 134 w 145"/>
                <a:gd name="T17" fmla="*/ 73 h 145"/>
                <a:gd name="T18" fmla="*/ 73 w 145"/>
                <a:gd name="T19" fmla="*/ 11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5" h="145">
                  <a:moveTo>
                    <a:pt x="73" y="145"/>
                  </a:moveTo>
                  <a:cubicBezTo>
                    <a:pt x="33" y="145"/>
                    <a:pt x="0" y="113"/>
                    <a:pt x="0" y="73"/>
                  </a:cubicBezTo>
                  <a:cubicBezTo>
                    <a:pt x="0" y="33"/>
                    <a:pt x="33" y="0"/>
                    <a:pt x="73" y="0"/>
                  </a:cubicBezTo>
                  <a:cubicBezTo>
                    <a:pt x="113" y="0"/>
                    <a:pt x="145" y="33"/>
                    <a:pt x="145" y="73"/>
                  </a:cubicBezTo>
                  <a:cubicBezTo>
                    <a:pt x="145" y="113"/>
                    <a:pt x="113" y="145"/>
                    <a:pt x="73" y="145"/>
                  </a:cubicBezTo>
                  <a:close/>
                  <a:moveTo>
                    <a:pt x="73" y="11"/>
                  </a:moveTo>
                  <a:cubicBezTo>
                    <a:pt x="39" y="11"/>
                    <a:pt x="11" y="39"/>
                    <a:pt x="11" y="73"/>
                  </a:cubicBezTo>
                  <a:cubicBezTo>
                    <a:pt x="11" y="107"/>
                    <a:pt x="39" y="134"/>
                    <a:pt x="73" y="134"/>
                  </a:cubicBezTo>
                  <a:cubicBezTo>
                    <a:pt x="107" y="134"/>
                    <a:pt x="134" y="107"/>
                    <a:pt x="134" y="73"/>
                  </a:cubicBezTo>
                  <a:cubicBezTo>
                    <a:pt x="134" y="39"/>
                    <a:pt x="107" y="11"/>
                    <a:pt x="7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107" name="Shape45_20200717_142846">
            <a:extLst>
              <a:ext uri="{FF2B5EF4-FFF2-40B4-BE49-F238E27FC236}">
                <a16:creationId xmlns:a16="http://schemas.microsoft.com/office/drawing/2014/main" id="{E3E5388D-77CB-02E5-FE39-86174702DDD9}"/>
              </a:ext>
            </a:extLst>
          </p:cNvPr>
          <p:cNvGrpSpPr>
            <a:grpSpLocks noChangeAspect="1"/>
          </p:cNvGrpSpPr>
          <p:nvPr/>
        </p:nvGrpSpPr>
        <p:grpSpPr>
          <a:xfrm>
            <a:off x="7119691" y="1280065"/>
            <a:ext cx="563729" cy="486965"/>
            <a:chOff x="-595313" y="1002677"/>
            <a:chExt cx="373064" cy="322261"/>
          </a:xfrm>
          <a:solidFill>
            <a:schemeClr val="accent1"/>
          </a:solidFill>
        </p:grpSpPr>
        <p:sp>
          <p:nvSpPr>
            <p:cNvPr id="108" name="Freeform 1432">
              <a:extLst>
                <a:ext uri="{FF2B5EF4-FFF2-40B4-BE49-F238E27FC236}">
                  <a16:creationId xmlns:a16="http://schemas.microsoft.com/office/drawing/2014/main" id="{F14E80A4-D358-CEA2-3559-644999EADFCC}"/>
                </a:ext>
              </a:extLst>
            </p:cNvPr>
            <p:cNvSpPr>
              <a:spLocks/>
            </p:cNvSpPr>
            <p:nvPr/>
          </p:nvSpPr>
          <p:spPr bwMode="auto">
            <a:xfrm>
              <a:off x="-298450" y="1207463"/>
              <a:ext cx="11113" cy="100013"/>
            </a:xfrm>
            <a:custGeom>
              <a:avLst/>
              <a:gdLst>
                <a:gd name="T0" fmla="*/ 5 w 11"/>
                <a:gd name="T1" fmla="*/ 96 h 96"/>
                <a:gd name="T2" fmla="*/ 0 w 11"/>
                <a:gd name="T3" fmla="*/ 91 h 96"/>
                <a:gd name="T4" fmla="*/ 0 w 11"/>
                <a:gd name="T5" fmla="*/ 5 h 96"/>
                <a:gd name="T6" fmla="*/ 5 w 11"/>
                <a:gd name="T7" fmla="*/ 0 h 96"/>
                <a:gd name="T8" fmla="*/ 11 w 11"/>
                <a:gd name="T9" fmla="*/ 5 h 96"/>
                <a:gd name="T10" fmla="*/ 11 w 11"/>
                <a:gd name="T11" fmla="*/ 91 h 96"/>
                <a:gd name="T12" fmla="*/ 5 w 11"/>
                <a:gd name="T13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96">
                  <a:moveTo>
                    <a:pt x="5" y="96"/>
                  </a:moveTo>
                  <a:cubicBezTo>
                    <a:pt x="2" y="96"/>
                    <a:pt x="0" y="94"/>
                    <a:pt x="0" y="91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" y="0"/>
                    <a:pt x="11" y="2"/>
                    <a:pt x="11" y="5"/>
                  </a:cubicBezTo>
                  <a:cubicBezTo>
                    <a:pt x="11" y="91"/>
                    <a:pt x="11" y="91"/>
                    <a:pt x="11" y="91"/>
                  </a:cubicBezTo>
                  <a:cubicBezTo>
                    <a:pt x="11" y="94"/>
                    <a:pt x="8" y="96"/>
                    <a:pt x="5" y="9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9" name="Freeform 1433">
              <a:extLst>
                <a:ext uri="{FF2B5EF4-FFF2-40B4-BE49-F238E27FC236}">
                  <a16:creationId xmlns:a16="http://schemas.microsoft.com/office/drawing/2014/main" id="{B4BCC243-8FC1-639A-9FC3-A7F18304BA24}"/>
                </a:ext>
              </a:extLst>
            </p:cNvPr>
            <p:cNvSpPr>
              <a:spLocks/>
            </p:cNvSpPr>
            <p:nvPr/>
          </p:nvSpPr>
          <p:spPr bwMode="auto">
            <a:xfrm>
              <a:off x="-409575" y="1113800"/>
              <a:ext cx="85725" cy="76199"/>
            </a:xfrm>
            <a:custGeom>
              <a:avLst/>
              <a:gdLst>
                <a:gd name="T0" fmla="*/ 76 w 82"/>
                <a:gd name="T1" fmla="*/ 72 h 72"/>
                <a:gd name="T2" fmla="*/ 71 w 82"/>
                <a:gd name="T3" fmla="*/ 67 h 72"/>
                <a:gd name="T4" fmla="*/ 71 w 82"/>
                <a:gd name="T5" fmla="*/ 14 h 72"/>
                <a:gd name="T6" fmla="*/ 57 w 82"/>
                <a:gd name="T7" fmla="*/ 20 h 72"/>
                <a:gd name="T8" fmla="*/ 23 w 82"/>
                <a:gd name="T9" fmla="*/ 32 h 72"/>
                <a:gd name="T10" fmla="*/ 7 w 82"/>
                <a:gd name="T11" fmla="*/ 34 h 72"/>
                <a:gd name="T12" fmla="*/ 1 w 82"/>
                <a:gd name="T13" fmla="*/ 30 h 72"/>
                <a:gd name="T14" fmla="*/ 5 w 82"/>
                <a:gd name="T15" fmla="*/ 24 h 72"/>
                <a:gd name="T16" fmla="*/ 21 w 82"/>
                <a:gd name="T17" fmla="*/ 21 h 72"/>
                <a:gd name="T18" fmla="*/ 53 w 82"/>
                <a:gd name="T19" fmla="*/ 10 h 72"/>
                <a:gd name="T20" fmla="*/ 74 w 82"/>
                <a:gd name="T21" fmla="*/ 1 h 72"/>
                <a:gd name="T22" fmla="*/ 79 w 82"/>
                <a:gd name="T23" fmla="*/ 1 h 72"/>
                <a:gd name="T24" fmla="*/ 82 w 82"/>
                <a:gd name="T25" fmla="*/ 6 h 72"/>
                <a:gd name="T26" fmla="*/ 82 w 82"/>
                <a:gd name="T27" fmla="*/ 67 h 72"/>
                <a:gd name="T28" fmla="*/ 76 w 82"/>
                <a:gd name="T29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2" h="72">
                  <a:moveTo>
                    <a:pt x="76" y="72"/>
                  </a:moveTo>
                  <a:cubicBezTo>
                    <a:pt x="73" y="72"/>
                    <a:pt x="71" y="70"/>
                    <a:pt x="71" y="67"/>
                  </a:cubicBezTo>
                  <a:cubicBezTo>
                    <a:pt x="71" y="14"/>
                    <a:pt x="71" y="14"/>
                    <a:pt x="71" y="14"/>
                  </a:cubicBezTo>
                  <a:cubicBezTo>
                    <a:pt x="57" y="20"/>
                    <a:pt x="57" y="20"/>
                    <a:pt x="57" y="20"/>
                  </a:cubicBezTo>
                  <a:cubicBezTo>
                    <a:pt x="46" y="25"/>
                    <a:pt x="35" y="29"/>
                    <a:pt x="23" y="32"/>
                  </a:cubicBezTo>
                  <a:cubicBezTo>
                    <a:pt x="7" y="34"/>
                    <a:pt x="7" y="34"/>
                    <a:pt x="7" y="34"/>
                  </a:cubicBezTo>
                  <a:cubicBezTo>
                    <a:pt x="5" y="35"/>
                    <a:pt x="2" y="33"/>
                    <a:pt x="1" y="30"/>
                  </a:cubicBezTo>
                  <a:cubicBezTo>
                    <a:pt x="0" y="27"/>
                    <a:pt x="2" y="24"/>
                    <a:pt x="5" y="24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32" y="19"/>
                    <a:pt x="43" y="15"/>
                    <a:pt x="53" y="10"/>
                  </a:cubicBezTo>
                  <a:cubicBezTo>
                    <a:pt x="74" y="1"/>
                    <a:pt x="74" y="1"/>
                    <a:pt x="74" y="1"/>
                  </a:cubicBezTo>
                  <a:cubicBezTo>
                    <a:pt x="75" y="0"/>
                    <a:pt x="77" y="0"/>
                    <a:pt x="79" y="1"/>
                  </a:cubicBezTo>
                  <a:cubicBezTo>
                    <a:pt x="81" y="2"/>
                    <a:pt x="82" y="4"/>
                    <a:pt x="82" y="6"/>
                  </a:cubicBezTo>
                  <a:cubicBezTo>
                    <a:pt x="82" y="67"/>
                    <a:pt x="82" y="67"/>
                    <a:pt x="82" y="67"/>
                  </a:cubicBezTo>
                  <a:cubicBezTo>
                    <a:pt x="82" y="70"/>
                    <a:pt x="79" y="72"/>
                    <a:pt x="76" y="7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0" name="Freeform 1434">
              <a:extLst>
                <a:ext uri="{FF2B5EF4-FFF2-40B4-BE49-F238E27FC236}">
                  <a16:creationId xmlns:a16="http://schemas.microsoft.com/office/drawing/2014/main" id="{362278CC-C124-CB6D-0197-91C19D85363C}"/>
                </a:ext>
              </a:extLst>
            </p:cNvPr>
            <p:cNvSpPr>
              <a:spLocks/>
            </p:cNvSpPr>
            <p:nvPr/>
          </p:nvSpPr>
          <p:spPr bwMode="auto">
            <a:xfrm>
              <a:off x="-414337" y="1072525"/>
              <a:ext cx="192088" cy="252412"/>
            </a:xfrm>
            <a:custGeom>
              <a:avLst/>
              <a:gdLst>
                <a:gd name="T0" fmla="*/ 134 w 185"/>
                <a:gd name="T1" fmla="*/ 243 h 243"/>
                <a:gd name="T2" fmla="*/ 118 w 185"/>
                <a:gd name="T3" fmla="*/ 237 h 243"/>
                <a:gd name="T4" fmla="*/ 116 w 185"/>
                <a:gd name="T5" fmla="*/ 235 h 243"/>
                <a:gd name="T6" fmla="*/ 114 w 185"/>
                <a:gd name="T7" fmla="*/ 237 h 243"/>
                <a:gd name="T8" fmla="*/ 96 w 185"/>
                <a:gd name="T9" fmla="*/ 243 h 243"/>
                <a:gd name="T10" fmla="*/ 76 w 185"/>
                <a:gd name="T11" fmla="*/ 219 h 243"/>
                <a:gd name="T12" fmla="*/ 76 w 185"/>
                <a:gd name="T13" fmla="*/ 107 h 243"/>
                <a:gd name="T14" fmla="*/ 81 w 185"/>
                <a:gd name="T15" fmla="*/ 101 h 243"/>
                <a:gd name="T16" fmla="*/ 86 w 185"/>
                <a:gd name="T17" fmla="*/ 107 h 243"/>
                <a:gd name="T18" fmla="*/ 86 w 185"/>
                <a:gd name="T19" fmla="*/ 219 h 243"/>
                <a:gd name="T20" fmla="*/ 97 w 185"/>
                <a:gd name="T21" fmla="*/ 232 h 243"/>
                <a:gd name="T22" fmla="*/ 107 w 185"/>
                <a:gd name="T23" fmla="*/ 229 h 243"/>
                <a:gd name="T24" fmla="*/ 111 w 185"/>
                <a:gd name="T25" fmla="*/ 220 h 243"/>
                <a:gd name="T26" fmla="*/ 116 w 185"/>
                <a:gd name="T27" fmla="*/ 214 h 243"/>
                <a:gd name="T28" fmla="*/ 122 w 185"/>
                <a:gd name="T29" fmla="*/ 220 h 243"/>
                <a:gd name="T30" fmla="*/ 126 w 185"/>
                <a:gd name="T31" fmla="*/ 229 h 243"/>
                <a:gd name="T32" fmla="*/ 135 w 185"/>
                <a:gd name="T33" fmla="*/ 232 h 243"/>
                <a:gd name="T34" fmla="*/ 146 w 185"/>
                <a:gd name="T35" fmla="*/ 219 h 243"/>
                <a:gd name="T36" fmla="*/ 146 w 185"/>
                <a:gd name="T37" fmla="*/ 107 h 243"/>
                <a:gd name="T38" fmla="*/ 151 w 185"/>
                <a:gd name="T39" fmla="*/ 101 h 243"/>
                <a:gd name="T40" fmla="*/ 157 w 185"/>
                <a:gd name="T41" fmla="*/ 107 h 243"/>
                <a:gd name="T42" fmla="*/ 165 w 185"/>
                <a:gd name="T43" fmla="*/ 116 h 243"/>
                <a:gd name="T44" fmla="*/ 171 w 185"/>
                <a:gd name="T45" fmla="*/ 114 h 243"/>
                <a:gd name="T46" fmla="*/ 174 w 185"/>
                <a:gd name="T47" fmla="*/ 107 h 243"/>
                <a:gd name="T48" fmla="*/ 174 w 185"/>
                <a:gd name="T49" fmla="*/ 33 h 243"/>
                <a:gd name="T50" fmla="*/ 151 w 185"/>
                <a:gd name="T51" fmla="*/ 11 h 243"/>
                <a:gd name="T52" fmla="*/ 81 w 185"/>
                <a:gd name="T53" fmla="*/ 11 h 243"/>
                <a:gd name="T54" fmla="*/ 68 w 185"/>
                <a:gd name="T55" fmla="*/ 16 h 243"/>
                <a:gd name="T56" fmla="*/ 38 w 185"/>
                <a:gd name="T57" fmla="*/ 39 h 243"/>
                <a:gd name="T58" fmla="*/ 36 w 185"/>
                <a:gd name="T59" fmla="*/ 40 h 243"/>
                <a:gd name="T60" fmla="*/ 8 w 185"/>
                <a:gd name="T61" fmla="*/ 49 h 243"/>
                <a:gd name="T62" fmla="*/ 1 w 185"/>
                <a:gd name="T63" fmla="*/ 45 h 243"/>
                <a:gd name="T64" fmla="*/ 5 w 185"/>
                <a:gd name="T65" fmla="*/ 39 h 243"/>
                <a:gd name="T66" fmla="*/ 32 w 185"/>
                <a:gd name="T67" fmla="*/ 30 h 243"/>
                <a:gd name="T68" fmla="*/ 62 w 185"/>
                <a:gd name="T69" fmla="*/ 7 h 243"/>
                <a:gd name="T70" fmla="*/ 81 w 185"/>
                <a:gd name="T71" fmla="*/ 0 h 243"/>
                <a:gd name="T72" fmla="*/ 151 w 185"/>
                <a:gd name="T73" fmla="*/ 0 h 243"/>
                <a:gd name="T74" fmla="*/ 185 w 185"/>
                <a:gd name="T75" fmla="*/ 33 h 243"/>
                <a:gd name="T76" fmla="*/ 185 w 185"/>
                <a:gd name="T77" fmla="*/ 107 h 243"/>
                <a:gd name="T78" fmla="*/ 179 w 185"/>
                <a:gd name="T79" fmla="*/ 122 h 243"/>
                <a:gd name="T80" fmla="*/ 164 w 185"/>
                <a:gd name="T81" fmla="*/ 127 h 243"/>
                <a:gd name="T82" fmla="*/ 157 w 185"/>
                <a:gd name="T83" fmla="*/ 125 h 243"/>
                <a:gd name="T84" fmla="*/ 157 w 185"/>
                <a:gd name="T85" fmla="*/ 219 h 243"/>
                <a:gd name="T86" fmla="*/ 136 w 185"/>
                <a:gd name="T87" fmla="*/ 243 h 243"/>
                <a:gd name="T88" fmla="*/ 134 w 185"/>
                <a:gd name="T89" fmla="*/ 243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85" h="243">
                  <a:moveTo>
                    <a:pt x="134" y="243"/>
                  </a:moveTo>
                  <a:cubicBezTo>
                    <a:pt x="128" y="243"/>
                    <a:pt x="123" y="241"/>
                    <a:pt x="118" y="237"/>
                  </a:cubicBezTo>
                  <a:cubicBezTo>
                    <a:pt x="118" y="236"/>
                    <a:pt x="117" y="235"/>
                    <a:pt x="116" y="235"/>
                  </a:cubicBezTo>
                  <a:cubicBezTo>
                    <a:pt x="116" y="235"/>
                    <a:pt x="115" y="236"/>
                    <a:pt x="114" y="237"/>
                  </a:cubicBezTo>
                  <a:cubicBezTo>
                    <a:pt x="109" y="241"/>
                    <a:pt x="103" y="243"/>
                    <a:pt x="96" y="243"/>
                  </a:cubicBezTo>
                  <a:cubicBezTo>
                    <a:pt x="85" y="241"/>
                    <a:pt x="76" y="231"/>
                    <a:pt x="76" y="219"/>
                  </a:cubicBezTo>
                  <a:cubicBezTo>
                    <a:pt x="76" y="107"/>
                    <a:pt x="76" y="107"/>
                    <a:pt x="76" y="107"/>
                  </a:cubicBezTo>
                  <a:cubicBezTo>
                    <a:pt x="76" y="104"/>
                    <a:pt x="78" y="101"/>
                    <a:pt x="81" y="101"/>
                  </a:cubicBezTo>
                  <a:cubicBezTo>
                    <a:pt x="84" y="101"/>
                    <a:pt x="86" y="104"/>
                    <a:pt x="86" y="107"/>
                  </a:cubicBezTo>
                  <a:cubicBezTo>
                    <a:pt x="86" y="219"/>
                    <a:pt x="86" y="219"/>
                    <a:pt x="86" y="219"/>
                  </a:cubicBezTo>
                  <a:cubicBezTo>
                    <a:pt x="86" y="225"/>
                    <a:pt x="91" y="231"/>
                    <a:pt x="97" y="232"/>
                  </a:cubicBezTo>
                  <a:cubicBezTo>
                    <a:pt x="101" y="232"/>
                    <a:pt x="104" y="231"/>
                    <a:pt x="107" y="229"/>
                  </a:cubicBezTo>
                  <a:cubicBezTo>
                    <a:pt x="109" y="226"/>
                    <a:pt x="111" y="223"/>
                    <a:pt x="111" y="220"/>
                  </a:cubicBezTo>
                  <a:cubicBezTo>
                    <a:pt x="111" y="217"/>
                    <a:pt x="113" y="214"/>
                    <a:pt x="116" y="214"/>
                  </a:cubicBezTo>
                  <a:cubicBezTo>
                    <a:pt x="119" y="214"/>
                    <a:pt x="122" y="217"/>
                    <a:pt x="122" y="220"/>
                  </a:cubicBezTo>
                  <a:cubicBezTo>
                    <a:pt x="122" y="223"/>
                    <a:pt x="123" y="226"/>
                    <a:pt x="126" y="229"/>
                  </a:cubicBezTo>
                  <a:cubicBezTo>
                    <a:pt x="128" y="231"/>
                    <a:pt x="132" y="232"/>
                    <a:pt x="135" y="232"/>
                  </a:cubicBezTo>
                  <a:cubicBezTo>
                    <a:pt x="141" y="231"/>
                    <a:pt x="146" y="225"/>
                    <a:pt x="146" y="219"/>
                  </a:cubicBezTo>
                  <a:cubicBezTo>
                    <a:pt x="146" y="107"/>
                    <a:pt x="146" y="107"/>
                    <a:pt x="146" y="107"/>
                  </a:cubicBezTo>
                  <a:cubicBezTo>
                    <a:pt x="146" y="104"/>
                    <a:pt x="148" y="101"/>
                    <a:pt x="151" y="101"/>
                  </a:cubicBezTo>
                  <a:cubicBezTo>
                    <a:pt x="155" y="101"/>
                    <a:pt x="157" y="104"/>
                    <a:pt x="157" y="107"/>
                  </a:cubicBezTo>
                  <a:cubicBezTo>
                    <a:pt x="157" y="111"/>
                    <a:pt x="160" y="115"/>
                    <a:pt x="165" y="116"/>
                  </a:cubicBezTo>
                  <a:cubicBezTo>
                    <a:pt x="167" y="116"/>
                    <a:pt x="169" y="115"/>
                    <a:pt x="171" y="114"/>
                  </a:cubicBezTo>
                  <a:cubicBezTo>
                    <a:pt x="173" y="112"/>
                    <a:pt x="174" y="110"/>
                    <a:pt x="174" y="107"/>
                  </a:cubicBezTo>
                  <a:cubicBezTo>
                    <a:pt x="174" y="33"/>
                    <a:pt x="174" y="33"/>
                    <a:pt x="174" y="33"/>
                  </a:cubicBezTo>
                  <a:cubicBezTo>
                    <a:pt x="174" y="21"/>
                    <a:pt x="164" y="11"/>
                    <a:pt x="151" y="11"/>
                  </a:cubicBezTo>
                  <a:cubicBezTo>
                    <a:pt x="81" y="11"/>
                    <a:pt x="81" y="11"/>
                    <a:pt x="81" y="11"/>
                  </a:cubicBezTo>
                  <a:cubicBezTo>
                    <a:pt x="77" y="11"/>
                    <a:pt x="72" y="13"/>
                    <a:pt x="68" y="16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37" y="40"/>
                    <a:pt x="37" y="40"/>
                    <a:pt x="36" y="40"/>
                  </a:cubicBezTo>
                  <a:cubicBezTo>
                    <a:pt x="8" y="49"/>
                    <a:pt x="8" y="49"/>
                    <a:pt x="8" y="49"/>
                  </a:cubicBezTo>
                  <a:cubicBezTo>
                    <a:pt x="5" y="50"/>
                    <a:pt x="2" y="48"/>
                    <a:pt x="1" y="45"/>
                  </a:cubicBezTo>
                  <a:cubicBezTo>
                    <a:pt x="0" y="43"/>
                    <a:pt x="2" y="39"/>
                    <a:pt x="5" y="39"/>
                  </a:cubicBezTo>
                  <a:cubicBezTo>
                    <a:pt x="32" y="30"/>
                    <a:pt x="32" y="30"/>
                    <a:pt x="32" y="30"/>
                  </a:cubicBezTo>
                  <a:cubicBezTo>
                    <a:pt x="62" y="7"/>
                    <a:pt x="62" y="7"/>
                    <a:pt x="62" y="7"/>
                  </a:cubicBezTo>
                  <a:cubicBezTo>
                    <a:pt x="67" y="2"/>
                    <a:pt x="74" y="0"/>
                    <a:pt x="81" y="0"/>
                  </a:cubicBezTo>
                  <a:cubicBezTo>
                    <a:pt x="151" y="0"/>
                    <a:pt x="151" y="0"/>
                    <a:pt x="151" y="0"/>
                  </a:cubicBezTo>
                  <a:cubicBezTo>
                    <a:pt x="170" y="0"/>
                    <a:pt x="185" y="15"/>
                    <a:pt x="185" y="33"/>
                  </a:cubicBezTo>
                  <a:cubicBezTo>
                    <a:pt x="185" y="107"/>
                    <a:pt x="185" y="107"/>
                    <a:pt x="185" y="107"/>
                  </a:cubicBezTo>
                  <a:cubicBezTo>
                    <a:pt x="185" y="113"/>
                    <a:pt x="183" y="118"/>
                    <a:pt x="179" y="122"/>
                  </a:cubicBezTo>
                  <a:cubicBezTo>
                    <a:pt x="175" y="125"/>
                    <a:pt x="169" y="127"/>
                    <a:pt x="164" y="127"/>
                  </a:cubicBezTo>
                  <a:cubicBezTo>
                    <a:pt x="161" y="126"/>
                    <a:pt x="159" y="126"/>
                    <a:pt x="157" y="125"/>
                  </a:cubicBezTo>
                  <a:cubicBezTo>
                    <a:pt x="157" y="219"/>
                    <a:pt x="157" y="219"/>
                    <a:pt x="157" y="219"/>
                  </a:cubicBezTo>
                  <a:cubicBezTo>
                    <a:pt x="157" y="231"/>
                    <a:pt x="148" y="241"/>
                    <a:pt x="136" y="243"/>
                  </a:cubicBezTo>
                  <a:cubicBezTo>
                    <a:pt x="135" y="243"/>
                    <a:pt x="135" y="243"/>
                    <a:pt x="134" y="24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1" name="Freeform 1435">
              <a:extLst>
                <a:ext uri="{FF2B5EF4-FFF2-40B4-BE49-F238E27FC236}">
                  <a16:creationId xmlns:a16="http://schemas.microsoft.com/office/drawing/2014/main" id="{41413909-C634-EA24-F9D0-35C43A9B1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-334962" y="1072525"/>
              <a:ext cx="84138" cy="11113"/>
            </a:xfrm>
            <a:custGeom>
              <a:avLst/>
              <a:gdLst>
                <a:gd name="T0" fmla="*/ 75 w 81"/>
                <a:gd name="T1" fmla="*/ 11 h 11"/>
                <a:gd name="T2" fmla="*/ 5 w 81"/>
                <a:gd name="T3" fmla="*/ 11 h 11"/>
                <a:gd name="T4" fmla="*/ 0 w 81"/>
                <a:gd name="T5" fmla="*/ 5 h 11"/>
                <a:gd name="T6" fmla="*/ 5 w 81"/>
                <a:gd name="T7" fmla="*/ 0 h 11"/>
                <a:gd name="T8" fmla="*/ 75 w 81"/>
                <a:gd name="T9" fmla="*/ 0 h 11"/>
                <a:gd name="T10" fmla="*/ 81 w 81"/>
                <a:gd name="T11" fmla="*/ 5 h 11"/>
                <a:gd name="T12" fmla="*/ 75 w 81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" h="11">
                  <a:moveTo>
                    <a:pt x="75" y="11"/>
                  </a:moveTo>
                  <a:cubicBezTo>
                    <a:pt x="5" y="11"/>
                    <a:pt x="5" y="11"/>
                    <a:pt x="5" y="11"/>
                  </a:cubicBezTo>
                  <a:cubicBezTo>
                    <a:pt x="2" y="11"/>
                    <a:pt x="0" y="8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79" y="0"/>
                    <a:pt x="81" y="2"/>
                    <a:pt x="81" y="5"/>
                  </a:cubicBezTo>
                  <a:cubicBezTo>
                    <a:pt x="81" y="8"/>
                    <a:pt x="79" y="11"/>
                    <a:pt x="75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2" name="Freeform 1436">
              <a:extLst>
                <a:ext uri="{FF2B5EF4-FFF2-40B4-BE49-F238E27FC236}">
                  <a16:creationId xmlns:a16="http://schemas.microsoft.com/office/drawing/2014/main" id="{8694A250-D08B-FE71-37DD-F1F653C3C254}"/>
                </a:ext>
              </a:extLst>
            </p:cNvPr>
            <p:cNvSpPr>
              <a:spLocks/>
            </p:cNvSpPr>
            <p:nvPr/>
          </p:nvSpPr>
          <p:spPr bwMode="auto">
            <a:xfrm>
              <a:off x="-261937" y="1113800"/>
              <a:ext cx="11113" cy="76199"/>
            </a:xfrm>
            <a:custGeom>
              <a:avLst/>
              <a:gdLst>
                <a:gd name="T0" fmla="*/ 5 w 11"/>
                <a:gd name="T1" fmla="*/ 72 h 72"/>
                <a:gd name="T2" fmla="*/ 0 w 11"/>
                <a:gd name="T3" fmla="*/ 67 h 72"/>
                <a:gd name="T4" fmla="*/ 0 w 11"/>
                <a:gd name="T5" fmla="*/ 6 h 72"/>
                <a:gd name="T6" fmla="*/ 5 w 11"/>
                <a:gd name="T7" fmla="*/ 0 h 72"/>
                <a:gd name="T8" fmla="*/ 11 w 11"/>
                <a:gd name="T9" fmla="*/ 6 h 72"/>
                <a:gd name="T10" fmla="*/ 11 w 11"/>
                <a:gd name="T11" fmla="*/ 67 h 72"/>
                <a:gd name="T12" fmla="*/ 5 w 11"/>
                <a:gd name="T13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72">
                  <a:moveTo>
                    <a:pt x="5" y="72"/>
                  </a:moveTo>
                  <a:cubicBezTo>
                    <a:pt x="2" y="72"/>
                    <a:pt x="0" y="70"/>
                    <a:pt x="0" y="67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9" y="0"/>
                    <a:pt x="11" y="3"/>
                    <a:pt x="11" y="6"/>
                  </a:cubicBezTo>
                  <a:cubicBezTo>
                    <a:pt x="11" y="67"/>
                    <a:pt x="11" y="67"/>
                    <a:pt x="11" y="67"/>
                  </a:cubicBezTo>
                  <a:cubicBezTo>
                    <a:pt x="11" y="70"/>
                    <a:pt x="9" y="72"/>
                    <a:pt x="5" y="7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3" name="Freeform 1437">
              <a:extLst>
                <a:ext uri="{FF2B5EF4-FFF2-40B4-BE49-F238E27FC236}">
                  <a16:creationId xmlns:a16="http://schemas.microsoft.com/office/drawing/2014/main" id="{58B56831-2A55-DE6B-1EFB-26BBACB4E23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3850" y="1002677"/>
              <a:ext cx="60325" cy="61913"/>
            </a:xfrm>
            <a:custGeom>
              <a:avLst/>
              <a:gdLst>
                <a:gd name="T0" fmla="*/ 29 w 58"/>
                <a:gd name="T1" fmla="*/ 59 h 59"/>
                <a:gd name="T2" fmla="*/ 0 w 58"/>
                <a:gd name="T3" fmla="*/ 30 h 59"/>
                <a:gd name="T4" fmla="*/ 29 w 58"/>
                <a:gd name="T5" fmla="*/ 0 h 59"/>
                <a:gd name="T6" fmla="*/ 58 w 58"/>
                <a:gd name="T7" fmla="*/ 30 h 59"/>
                <a:gd name="T8" fmla="*/ 29 w 58"/>
                <a:gd name="T9" fmla="*/ 59 h 59"/>
                <a:gd name="T10" fmla="*/ 29 w 58"/>
                <a:gd name="T11" fmla="*/ 11 h 59"/>
                <a:gd name="T12" fmla="*/ 11 w 58"/>
                <a:gd name="T13" fmla="*/ 30 h 59"/>
                <a:gd name="T14" fmla="*/ 29 w 58"/>
                <a:gd name="T15" fmla="*/ 48 h 59"/>
                <a:gd name="T16" fmla="*/ 47 w 58"/>
                <a:gd name="T17" fmla="*/ 30 h 59"/>
                <a:gd name="T18" fmla="*/ 29 w 58"/>
                <a:gd name="T19" fmla="*/ 11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8" h="59">
                  <a:moveTo>
                    <a:pt x="29" y="59"/>
                  </a:moveTo>
                  <a:cubicBezTo>
                    <a:pt x="13" y="59"/>
                    <a:pt x="0" y="46"/>
                    <a:pt x="0" y="30"/>
                  </a:cubicBezTo>
                  <a:cubicBezTo>
                    <a:pt x="0" y="13"/>
                    <a:pt x="13" y="0"/>
                    <a:pt x="29" y="0"/>
                  </a:cubicBezTo>
                  <a:cubicBezTo>
                    <a:pt x="45" y="0"/>
                    <a:pt x="58" y="13"/>
                    <a:pt x="58" y="30"/>
                  </a:cubicBezTo>
                  <a:cubicBezTo>
                    <a:pt x="58" y="46"/>
                    <a:pt x="45" y="59"/>
                    <a:pt x="29" y="59"/>
                  </a:cubicBezTo>
                  <a:close/>
                  <a:moveTo>
                    <a:pt x="29" y="11"/>
                  </a:moveTo>
                  <a:cubicBezTo>
                    <a:pt x="19" y="11"/>
                    <a:pt x="11" y="20"/>
                    <a:pt x="11" y="30"/>
                  </a:cubicBezTo>
                  <a:cubicBezTo>
                    <a:pt x="11" y="40"/>
                    <a:pt x="19" y="48"/>
                    <a:pt x="29" y="48"/>
                  </a:cubicBezTo>
                  <a:cubicBezTo>
                    <a:pt x="39" y="48"/>
                    <a:pt x="47" y="40"/>
                    <a:pt x="47" y="30"/>
                  </a:cubicBezTo>
                  <a:cubicBezTo>
                    <a:pt x="47" y="20"/>
                    <a:pt x="39" y="11"/>
                    <a:pt x="29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4" name="Freeform 1438">
              <a:extLst>
                <a:ext uri="{FF2B5EF4-FFF2-40B4-BE49-F238E27FC236}">
                  <a16:creationId xmlns:a16="http://schemas.microsoft.com/office/drawing/2014/main" id="{DE8CE408-074E-4731-EA1B-5994B4A8771D}"/>
                </a:ext>
              </a:extLst>
            </p:cNvPr>
            <p:cNvSpPr>
              <a:spLocks/>
            </p:cNvSpPr>
            <p:nvPr/>
          </p:nvSpPr>
          <p:spPr bwMode="auto">
            <a:xfrm>
              <a:off x="-528637" y="1207464"/>
              <a:ext cx="11113" cy="100013"/>
            </a:xfrm>
            <a:custGeom>
              <a:avLst/>
              <a:gdLst>
                <a:gd name="T0" fmla="*/ 6 w 11"/>
                <a:gd name="T1" fmla="*/ 96 h 96"/>
                <a:gd name="T2" fmla="*/ 0 w 11"/>
                <a:gd name="T3" fmla="*/ 91 h 96"/>
                <a:gd name="T4" fmla="*/ 0 w 11"/>
                <a:gd name="T5" fmla="*/ 5 h 96"/>
                <a:gd name="T6" fmla="*/ 6 w 11"/>
                <a:gd name="T7" fmla="*/ 0 h 96"/>
                <a:gd name="T8" fmla="*/ 11 w 11"/>
                <a:gd name="T9" fmla="*/ 5 h 96"/>
                <a:gd name="T10" fmla="*/ 11 w 11"/>
                <a:gd name="T11" fmla="*/ 91 h 96"/>
                <a:gd name="T12" fmla="*/ 6 w 11"/>
                <a:gd name="T13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96">
                  <a:moveTo>
                    <a:pt x="6" y="96"/>
                  </a:moveTo>
                  <a:cubicBezTo>
                    <a:pt x="3" y="96"/>
                    <a:pt x="0" y="94"/>
                    <a:pt x="0" y="91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1" y="2"/>
                    <a:pt x="11" y="5"/>
                  </a:cubicBezTo>
                  <a:cubicBezTo>
                    <a:pt x="11" y="91"/>
                    <a:pt x="11" y="91"/>
                    <a:pt x="11" y="91"/>
                  </a:cubicBezTo>
                  <a:cubicBezTo>
                    <a:pt x="11" y="94"/>
                    <a:pt x="9" y="96"/>
                    <a:pt x="6" y="9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5" name="Freeform 1439">
              <a:extLst>
                <a:ext uri="{FF2B5EF4-FFF2-40B4-BE49-F238E27FC236}">
                  <a16:creationId xmlns:a16="http://schemas.microsoft.com/office/drawing/2014/main" id="{71B826B5-2270-B36B-D4AC-64C315B062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95313" y="1072526"/>
              <a:ext cx="206375" cy="252412"/>
            </a:xfrm>
            <a:custGeom>
              <a:avLst/>
              <a:gdLst>
                <a:gd name="T0" fmla="*/ 86 w 198"/>
                <a:gd name="T1" fmla="*/ 243 h 243"/>
                <a:gd name="T2" fmla="*/ 71 w 198"/>
                <a:gd name="T3" fmla="*/ 237 h 243"/>
                <a:gd name="T4" fmla="*/ 69 w 198"/>
                <a:gd name="T5" fmla="*/ 235 h 243"/>
                <a:gd name="T6" fmla="*/ 67 w 198"/>
                <a:gd name="T7" fmla="*/ 237 h 243"/>
                <a:gd name="T8" fmla="*/ 49 w 198"/>
                <a:gd name="T9" fmla="*/ 243 h 243"/>
                <a:gd name="T10" fmla="*/ 28 w 198"/>
                <a:gd name="T11" fmla="*/ 219 h 243"/>
                <a:gd name="T12" fmla="*/ 28 w 198"/>
                <a:gd name="T13" fmla="*/ 125 h 243"/>
                <a:gd name="T14" fmla="*/ 21 w 198"/>
                <a:gd name="T15" fmla="*/ 127 h 243"/>
                <a:gd name="T16" fmla="*/ 6 w 198"/>
                <a:gd name="T17" fmla="*/ 122 h 243"/>
                <a:gd name="T18" fmla="*/ 0 w 198"/>
                <a:gd name="T19" fmla="*/ 107 h 243"/>
                <a:gd name="T20" fmla="*/ 0 w 198"/>
                <a:gd name="T21" fmla="*/ 33 h 243"/>
                <a:gd name="T22" fmla="*/ 33 w 198"/>
                <a:gd name="T23" fmla="*/ 0 h 243"/>
                <a:gd name="T24" fmla="*/ 104 w 198"/>
                <a:gd name="T25" fmla="*/ 0 h 243"/>
                <a:gd name="T26" fmla="*/ 123 w 198"/>
                <a:gd name="T27" fmla="*/ 7 h 243"/>
                <a:gd name="T28" fmla="*/ 153 w 198"/>
                <a:gd name="T29" fmla="*/ 30 h 243"/>
                <a:gd name="T30" fmla="*/ 185 w 198"/>
                <a:gd name="T31" fmla="*/ 40 h 243"/>
                <a:gd name="T32" fmla="*/ 195 w 198"/>
                <a:gd name="T33" fmla="*/ 49 h 243"/>
                <a:gd name="T34" fmla="*/ 196 w 198"/>
                <a:gd name="T35" fmla="*/ 64 h 243"/>
                <a:gd name="T36" fmla="*/ 176 w 198"/>
                <a:gd name="T37" fmla="*/ 75 h 243"/>
                <a:gd name="T38" fmla="*/ 157 w 198"/>
                <a:gd name="T39" fmla="*/ 72 h 243"/>
                <a:gd name="T40" fmla="*/ 123 w 198"/>
                <a:gd name="T41" fmla="*/ 60 h 243"/>
                <a:gd name="T42" fmla="*/ 109 w 198"/>
                <a:gd name="T43" fmla="*/ 54 h 243"/>
                <a:gd name="T44" fmla="*/ 109 w 198"/>
                <a:gd name="T45" fmla="*/ 106 h 243"/>
                <a:gd name="T46" fmla="*/ 109 w 198"/>
                <a:gd name="T47" fmla="*/ 107 h 243"/>
                <a:gd name="T48" fmla="*/ 109 w 198"/>
                <a:gd name="T49" fmla="*/ 219 h 243"/>
                <a:gd name="T50" fmla="*/ 89 w 198"/>
                <a:gd name="T51" fmla="*/ 243 h 243"/>
                <a:gd name="T52" fmla="*/ 86 w 198"/>
                <a:gd name="T53" fmla="*/ 243 h 243"/>
                <a:gd name="T54" fmla="*/ 39 w 198"/>
                <a:gd name="T55" fmla="*/ 107 h 243"/>
                <a:gd name="T56" fmla="*/ 39 w 198"/>
                <a:gd name="T57" fmla="*/ 219 h 243"/>
                <a:gd name="T58" fmla="*/ 50 w 198"/>
                <a:gd name="T59" fmla="*/ 232 h 243"/>
                <a:gd name="T60" fmla="*/ 59 w 198"/>
                <a:gd name="T61" fmla="*/ 229 h 243"/>
                <a:gd name="T62" fmla="*/ 63 w 198"/>
                <a:gd name="T63" fmla="*/ 220 h 243"/>
                <a:gd name="T64" fmla="*/ 69 w 198"/>
                <a:gd name="T65" fmla="*/ 214 h 243"/>
                <a:gd name="T66" fmla="*/ 74 w 198"/>
                <a:gd name="T67" fmla="*/ 220 h 243"/>
                <a:gd name="T68" fmla="*/ 78 w 198"/>
                <a:gd name="T69" fmla="*/ 229 h 243"/>
                <a:gd name="T70" fmla="*/ 88 w 198"/>
                <a:gd name="T71" fmla="*/ 232 h 243"/>
                <a:gd name="T72" fmla="*/ 98 w 198"/>
                <a:gd name="T73" fmla="*/ 219 h 243"/>
                <a:gd name="T74" fmla="*/ 98 w 198"/>
                <a:gd name="T75" fmla="*/ 107 h 243"/>
                <a:gd name="T76" fmla="*/ 98 w 198"/>
                <a:gd name="T77" fmla="*/ 107 h 243"/>
                <a:gd name="T78" fmla="*/ 98 w 198"/>
                <a:gd name="T79" fmla="*/ 46 h 243"/>
                <a:gd name="T80" fmla="*/ 101 w 198"/>
                <a:gd name="T81" fmla="*/ 41 h 243"/>
                <a:gd name="T82" fmla="*/ 106 w 198"/>
                <a:gd name="T83" fmla="*/ 41 h 243"/>
                <a:gd name="T84" fmla="*/ 127 w 198"/>
                <a:gd name="T85" fmla="*/ 50 h 243"/>
                <a:gd name="T86" fmla="*/ 159 w 198"/>
                <a:gd name="T87" fmla="*/ 61 h 243"/>
                <a:gd name="T88" fmla="*/ 178 w 198"/>
                <a:gd name="T89" fmla="*/ 64 h 243"/>
                <a:gd name="T90" fmla="*/ 186 w 198"/>
                <a:gd name="T91" fmla="*/ 60 h 243"/>
                <a:gd name="T92" fmla="*/ 186 w 198"/>
                <a:gd name="T93" fmla="*/ 54 h 243"/>
                <a:gd name="T94" fmla="*/ 181 w 198"/>
                <a:gd name="T95" fmla="*/ 51 h 243"/>
                <a:gd name="T96" fmla="*/ 149 w 198"/>
                <a:gd name="T97" fmla="*/ 40 h 243"/>
                <a:gd name="T98" fmla="*/ 147 w 198"/>
                <a:gd name="T99" fmla="*/ 39 h 243"/>
                <a:gd name="T100" fmla="*/ 117 w 198"/>
                <a:gd name="T101" fmla="*/ 16 h 243"/>
                <a:gd name="T102" fmla="*/ 104 w 198"/>
                <a:gd name="T103" fmla="*/ 11 h 243"/>
                <a:gd name="T104" fmla="*/ 33 w 198"/>
                <a:gd name="T105" fmla="*/ 11 h 243"/>
                <a:gd name="T106" fmla="*/ 11 w 198"/>
                <a:gd name="T107" fmla="*/ 33 h 243"/>
                <a:gd name="T108" fmla="*/ 11 w 198"/>
                <a:gd name="T109" fmla="*/ 107 h 243"/>
                <a:gd name="T110" fmla="*/ 14 w 198"/>
                <a:gd name="T111" fmla="*/ 114 h 243"/>
                <a:gd name="T112" fmla="*/ 20 w 198"/>
                <a:gd name="T113" fmla="*/ 116 h 243"/>
                <a:gd name="T114" fmla="*/ 28 w 198"/>
                <a:gd name="T115" fmla="*/ 107 h 243"/>
                <a:gd name="T116" fmla="*/ 33 w 198"/>
                <a:gd name="T117" fmla="*/ 101 h 243"/>
                <a:gd name="T118" fmla="*/ 39 w 198"/>
                <a:gd name="T119" fmla="*/ 107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98" h="243">
                  <a:moveTo>
                    <a:pt x="86" y="243"/>
                  </a:moveTo>
                  <a:cubicBezTo>
                    <a:pt x="81" y="243"/>
                    <a:pt x="75" y="241"/>
                    <a:pt x="71" y="237"/>
                  </a:cubicBezTo>
                  <a:cubicBezTo>
                    <a:pt x="70" y="236"/>
                    <a:pt x="69" y="235"/>
                    <a:pt x="69" y="235"/>
                  </a:cubicBezTo>
                  <a:cubicBezTo>
                    <a:pt x="68" y="235"/>
                    <a:pt x="67" y="236"/>
                    <a:pt x="67" y="237"/>
                  </a:cubicBezTo>
                  <a:cubicBezTo>
                    <a:pt x="62" y="241"/>
                    <a:pt x="55" y="243"/>
                    <a:pt x="49" y="243"/>
                  </a:cubicBezTo>
                  <a:cubicBezTo>
                    <a:pt x="37" y="241"/>
                    <a:pt x="28" y="231"/>
                    <a:pt x="28" y="219"/>
                  </a:cubicBezTo>
                  <a:cubicBezTo>
                    <a:pt x="28" y="125"/>
                    <a:pt x="28" y="125"/>
                    <a:pt x="28" y="125"/>
                  </a:cubicBezTo>
                  <a:cubicBezTo>
                    <a:pt x="26" y="126"/>
                    <a:pt x="24" y="126"/>
                    <a:pt x="21" y="127"/>
                  </a:cubicBezTo>
                  <a:cubicBezTo>
                    <a:pt x="16" y="127"/>
                    <a:pt x="10" y="125"/>
                    <a:pt x="6" y="122"/>
                  </a:cubicBezTo>
                  <a:cubicBezTo>
                    <a:pt x="2" y="118"/>
                    <a:pt x="0" y="113"/>
                    <a:pt x="0" y="107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5"/>
                    <a:pt x="15" y="0"/>
                    <a:pt x="33" y="0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111" y="0"/>
                    <a:pt x="118" y="2"/>
                    <a:pt x="123" y="7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85" y="40"/>
                    <a:pt x="185" y="40"/>
                    <a:pt x="185" y="40"/>
                  </a:cubicBezTo>
                  <a:cubicBezTo>
                    <a:pt x="189" y="42"/>
                    <a:pt x="193" y="45"/>
                    <a:pt x="195" y="49"/>
                  </a:cubicBezTo>
                  <a:cubicBezTo>
                    <a:pt x="198" y="54"/>
                    <a:pt x="198" y="59"/>
                    <a:pt x="196" y="64"/>
                  </a:cubicBezTo>
                  <a:cubicBezTo>
                    <a:pt x="193" y="72"/>
                    <a:pt x="184" y="77"/>
                    <a:pt x="176" y="75"/>
                  </a:cubicBezTo>
                  <a:cubicBezTo>
                    <a:pt x="157" y="72"/>
                    <a:pt x="157" y="72"/>
                    <a:pt x="157" y="72"/>
                  </a:cubicBezTo>
                  <a:cubicBezTo>
                    <a:pt x="145" y="69"/>
                    <a:pt x="134" y="65"/>
                    <a:pt x="123" y="60"/>
                  </a:cubicBezTo>
                  <a:cubicBezTo>
                    <a:pt x="109" y="54"/>
                    <a:pt x="109" y="54"/>
                    <a:pt x="109" y="54"/>
                  </a:cubicBezTo>
                  <a:cubicBezTo>
                    <a:pt x="109" y="106"/>
                    <a:pt x="109" y="106"/>
                    <a:pt x="109" y="106"/>
                  </a:cubicBezTo>
                  <a:cubicBezTo>
                    <a:pt x="109" y="106"/>
                    <a:pt x="109" y="107"/>
                    <a:pt x="109" y="107"/>
                  </a:cubicBezTo>
                  <a:cubicBezTo>
                    <a:pt x="109" y="219"/>
                    <a:pt x="109" y="219"/>
                    <a:pt x="109" y="219"/>
                  </a:cubicBezTo>
                  <a:cubicBezTo>
                    <a:pt x="109" y="231"/>
                    <a:pt x="100" y="241"/>
                    <a:pt x="89" y="243"/>
                  </a:cubicBezTo>
                  <a:cubicBezTo>
                    <a:pt x="88" y="243"/>
                    <a:pt x="87" y="243"/>
                    <a:pt x="86" y="243"/>
                  </a:cubicBezTo>
                  <a:close/>
                  <a:moveTo>
                    <a:pt x="39" y="107"/>
                  </a:moveTo>
                  <a:cubicBezTo>
                    <a:pt x="39" y="219"/>
                    <a:pt x="39" y="219"/>
                    <a:pt x="39" y="219"/>
                  </a:cubicBezTo>
                  <a:cubicBezTo>
                    <a:pt x="39" y="225"/>
                    <a:pt x="44" y="231"/>
                    <a:pt x="50" y="232"/>
                  </a:cubicBezTo>
                  <a:cubicBezTo>
                    <a:pt x="53" y="232"/>
                    <a:pt x="57" y="231"/>
                    <a:pt x="59" y="229"/>
                  </a:cubicBezTo>
                  <a:cubicBezTo>
                    <a:pt x="62" y="226"/>
                    <a:pt x="63" y="223"/>
                    <a:pt x="63" y="220"/>
                  </a:cubicBezTo>
                  <a:cubicBezTo>
                    <a:pt x="63" y="217"/>
                    <a:pt x="66" y="214"/>
                    <a:pt x="69" y="214"/>
                  </a:cubicBezTo>
                  <a:cubicBezTo>
                    <a:pt x="72" y="214"/>
                    <a:pt x="74" y="217"/>
                    <a:pt x="74" y="220"/>
                  </a:cubicBezTo>
                  <a:cubicBezTo>
                    <a:pt x="74" y="223"/>
                    <a:pt x="76" y="226"/>
                    <a:pt x="78" y="229"/>
                  </a:cubicBezTo>
                  <a:cubicBezTo>
                    <a:pt x="81" y="231"/>
                    <a:pt x="84" y="232"/>
                    <a:pt x="88" y="232"/>
                  </a:cubicBezTo>
                  <a:cubicBezTo>
                    <a:pt x="94" y="231"/>
                    <a:pt x="98" y="225"/>
                    <a:pt x="98" y="219"/>
                  </a:cubicBezTo>
                  <a:cubicBezTo>
                    <a:pt x="98" y="107"/>
                    <a:pt x="98" y="107"/>
                    <a:pt x="98" y="107"/>
                  </a:cubicBezTo>
                  <a:cubicBezTo>
                    <a:pt x="98" y="107"/>
                    <a:pt x="98" y="107"/>
                    <a:pt x="98" y="107"/>
                  </a:cubicBezTo>
                  <a:cubicBezTo>
                    <a:pt x="98" y="46"/>
                    <a:pt x="98" y="46"/>
                    <a:pt x="98" y="46"/>
                  </a:cubicBezTo>
                  <a:cubicBezTo>
                    <a:pt x="98" y="44"/>
                    <a:pt x="99" y="42"/>
                    <a:pt x="101" y="41"/>
                  </a:cubicBezTo>
                  <a:cubicBezTo>
                    <a:pt x="103" y="40"/>
                    <a:pt x="105" y="40"/>
                    <a:pt x="106" y="41"/>
                  </a:cubicBezTo>
                  <a:cubicBezTo>
                    <a:pt x="127" y="50"/>
                    <a:pt x="127" y="50"/>
                    <a:pt x="127" y="50"/>
                  </a:cubicBezTo>
                  <a:cubicBezTo>
                    <a:pt x="137" y="55"/>
                    <a:pt x="148" y="59"/>
                    <a:pt x="159" y="61"/>
                  </a:cubicBezTo>
                  <a:cubicBezTo>
                    <a:pt x="178" y="64"/>
                    <a:pt x="178" y="64"/>
                    <a:pt x="178" y="64"/>
                  </a:cubicBezTo>
                  <a:cubicBezTo>
                    <a:pt x="181" y="65"/>
                    <a:pt x="185" y="63"/>
                    <a:pt x="186" y="60"/>
                  </a:cubicBezTo>
                  <a:cubicBezTo>
                    <a:pt x="187" y="58"/>
                    <a:pt x="186" y="56"/>
                    <a:pt x="186" y="54"/>
                  </a:cubicBezTo>
                  <a:cubicBezTo>
                    <a:pt x="185" y="52"/>
                    <a:pt x="183" y="51"/>
                    <a:pt x="181" y="51"/>
                  </a:cubicBezTo>
                  <a:cubicBezTo>
                    <a:pt x="149" y="40"/>
                    <a:pt x="149" y="40"/>
                    <a:pt x="149" y="40"/>
                  </a:cubicBezTo>
                  <a:cubicBezTo>
                    <a:pt x="148" y="40"/>
                    <a:pt x="148" y="40"/>
                    <a:pt x="147" y="39"/>
                  </a:cubicBezTo>
                  <a:cubicBezTo>
                    <a:pt x="117" y="16"/>
                    <a:pt x="117" y="16"/>
                    <a:pt x="117" y="16"/>
                  </a:cubicBezTo>
                  <a:cubicBezTo>
                    <a:pt x="113" y="13"/>
                    <a:pt x="108" y="11"/>
                    <a:pt x="104" y="11"/>
                  </a:cubicBezTo>
                  <a:cubicBezTo>
                    <a:pt x="33" y="11"/>
                    <a:pt x="33" y="11"/>
                    <a:pt x="33" y="11"/>
                  </a:cubicBezTo>
                  <a:cubicBezTo>
                    <a:pt x="21" y="11"/>
                    <a:pt x="11" y="21"/>
                    <a:pt x="11" y="33"/>
                  </a:cubicBezTo>
                  <a:cubicBezTo>
                    <a:pt x="11" y="107"/>
                    <a:pt x="11" y="107"/>
                    <a:pt x="11" y="107"/>
                  </a:cubicBezTo>
                  <a:cubicBezTo>
                    <a:pt x="11" y="110"/>
                    <a:pt x="12" y="112"/>
                    <a:pt x="14" y="114"/>
                  </a:cubicBezTo>
                  <a:cubicBezTo>
                    <a:pt x="16" y="115"/>
                    <a:pt x="18" y="116"/>
                    <a:pt x="20" y="116"/>
                  </a:cubicBezTo>
                  <a:cubicBezTo>
                    <a:pt x="25" y="115"/>
                    <a:pt x="28" y="111"/>
                    <a:pt x="28" y="107"/>
                  </a:cubicBezTo>
                  <a:cubicBezTo>
                    <a:pt x="28" y="104"/>
                    <a:pt x="30" y="101"/>
                    <a:pt x="33" y="101"/>
                  </a:cubicBezTo>
                  <a:cubicBezTo>
                    <a:pt x="37" y="101"/>
                    <a:pt x="39" y="104"/>
                    <a:pt x="39" y="1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6" name="Freeform 1440">
              <a:extLst>
                <a:ext uri="{FF2B5EF4-FFF2-40B4-BE49-F238E27FC236}">
                  <a16:creationId xmlns:a16="http://schemas.microsoft.com/office/drawing/2014/main" id="{E295E944-2222-8B23-FA7E-4340B0615EC0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5150" y="1072526"/>
              <a:ext cx="84138" cy="11113"/>
            </a:xfrm>
            <a:custGeom>
              <a:avLst/>
              <a:gdLst>
                <a:gd name="T0" fmla="*/ 76 w 81"/>
                <a:gd name="T1" fmla="*/ 11 h 11"/>
                <a:gd name="T2" fmla="*/ 5 w 81"/>
                <a:gd name="T3" fmla="*/ 11 h 11"/>
                <a:gd name="T4" fmla="*/ 0 w 81"/>
                <a:gd name="T5" fmla="*/ 5 h 11"/>
                <a:gd name="T6" fmla="*/ 5 w 81"/>
                <a:gd name="T7" fmla="*/ 0 h 11"/>
                <a:gd name="T8" fmla="*/ 76 w 81"/>
                <a:gd name="T9" fmla="*/ 0 h 11"/>
                <a:gd name="T10" fmla="*/ 81 w 81"/>
                <a:gd name="T11" fmla="*/ 5 h 11"/>
                <a:gd name="T12" fmla="*/ 76 w 81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" h="11">
                  <a:moveTo>
                    <a:pt x="76" y="11"/>
                  </a:moveTo>
                  <a:cubicBezTo>
                    <a:pt x="5" y="11"/>
                    <a:pt x="5" y="11"/>
                    <a:pt x="5" y="11"/>
                  </a:cubicBezTo>
                  <a:cubicBezTo>
                    <a:pt x="2" y="11"/>
                    <a:pt x="0" y="8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79" y="0"/>
                    <a:pt x="81" y="2"/>
                    <a:pt x="81" y="5"/>
                  </a:cubicBezTo>
                  <a:cubicBezTo>
                    <a:pt x="81" y="8"/>
                    <a:pt x="79" y="11"/>
                    <a:pt x="76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7" name="Freeform 1441">
              <a:extLst>
                <a:ext uri="{FF2B5EF4-FFF2-40B4-BE49-F238E27FC236}">
                  <a16:creationId xmlns:a16="http://schemas.microsoft.com/office/drawing/2014/main" id="{73E81B1F-5FC5-DEC7-5DC0-0BF3784911D7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5149" y="1113801"/>
              <a:ext cx="11113" cy="76199"/>
            </a:xfrm>
            <a:custGeom>
              <a:avLst/>
              <a:gdLst>
                <a:gd name="T0" fmla="*/ 5 w 11"/>
                <a:gd name="T1" fmla="*/ 72 h 72"/>
                <a:gd name="T2" fmla="*/ 0 w 11"/>
                <a:gd name="T3" fmla="*/ 67 h 72"/>
                <a:gd name="T4" fmla="*/ 0 w 11"/>
                <a:gd name="T5" fmla="*/ 6 h 72"/>
                <a:gd name="T6" fmla="*/ 5 w 11"/>
                <a:gd name="T7" fmla="*/ 0 h 72"/>
                <a:gd name="T8" fmla="*/ 11 w 11"/>
                <a:gd name="T9" fmla="*/ 6 h 72"/>
                <a:gd name="T10" fmla="*/ 11 w 11"/>
                <a:gd name="T11" fmla="*/ 67 h 72"/>
                <a:gd name="T12" fmla="*/ 5 w 11"/>
                <a:gd name="T13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72">
                  <a:moveTo>
                    <a:pt x="5" y="72"/>
                  </a:moveTo>
                  <a:cubicBezTo>
                    <a:pt x="2" y="72"/>
                    <a:pt x="0" y="70"/>
                    <a:pt x="0" y="67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9" y="0"/>
                    <a:pt x="11" y="3"/>
                    <a:pt x="11" y="6"/>
                  </a:cubicBezTo>
                  <a:cubicBezTo>
                    <a:pt x="11" y="67"/>
                    <a:pt x="11" y="67"/>
                    <a:pt x="11" y="67"/>
                  </a:cubicBezTo>
                  <a:cubicBezTo>
                    <a:pt x="11" y="70"/>
                    <a:pt x="9" y="72"/>
                    <a:pt x="5" y="7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8" name="Freeform 1442">
              <a:extLst>
                <a:ext uri="{FF2B5EF4-FFF2-40B4-BE49-F238E27FC236}">
                  <a16:creationId xmlns:a16="http://schemas.microsoft.com/office/drawing/2014/main" id="{BEF41286-279D-F0AF-878B-4201D316576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52450" y="1002680"/>
              <a:ext cx="58738" cy="61913"/>
            </a:xfrm>
            <a:custGeom>
              <a:avLst/>
              <a:gdLst>
                <a:gd name="T0" fmla="*/ 29 w 58"/>
                <a:gd name="T1" fmla="*/ 59 h 59"/>
                <a:gd name="T2" fmla="*/ 0 w 58"/>
                <a:gd name="T3" fmla="*/ 30 h 59"/>
                <a:gd name="T4" fmla="*/ 29 w 58"/>
                <a:gd name="T5" fmla="*/ 0 h 59"/>
                <a:gd name="T6" fmla="*/ 58 w 58"/>
                <a:gd name="T7" fmla="*/ 30 h 59"/>
                <a:gd name="T8" fmla="*/ 29 w 58"/>
                <a:gd name="T9" fmla="*/ 59 h 59"/>
                <a:gd name="T10" fmla="*/ 29 w 58"/>
                <a:gd name="T11" fmla="*/ 11 h 59"/>
                <a:gd name="T12" fmla="*/ 11 w 58"/>
                <a:gd name="T13" fmla="*/ 30 h 59"/>
                <a:gd name="T14" fmla="*/ 29 w 58"/>
                <a:gd name="T15" fmla="*/ 48 h 59"/>
                <a:gd name="T16" fmla="*/ 47 w 58"/>
                <a:gd name="T17" fmla="*/ 30 h 59"/>
                <a:gd name="T18" fmla="*/ 29 w 58"/>
                <a:gd name="T19" fmla="*/ 11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8" h="59">
                  <a:moveTo>
                    <a:pt x="29" y="59"/>
                  </a:moveTo>
                  <a:cubicBezTo>
                    <a:pt x="13" y="59"/>
                    <a:pt x="0" y="46"/>
                    <a:pt x="0" y="30"/>
                  </a:cubicBezTo>
                  <a:cubicBezTo>
                    <a:pt x="0" y="13"/>
                    <a:pt x="13" y="0"/>
                    <a:pt x="29" y="0"/>
                  </a:cubicBezTo>
                  <a:cubicBezTo>
                    <a:pt x="45" y="0"/>
                    <a:pt x="58" y="13"/>
                    <a:pt x="58" y="30"/>
                  </a:cubicBezTo>
                  <a:cubicBezTo>
                    <a:pt x="58" y="46"/>
                    <a:pt x="45" y="59"/>
                    <a:pt x="29" y="59"/>
                  </a:cubicBezTo>
                  <a:close/>
                  <a:moveTo>
                    <a:pt x="29" y="11"/>
                  </a:moveTo>
                  <a:cubicBezTo>
                    <a:pt x="19" y="11"/>
                    <a:pt x="11" y="20"/>
                    <a:pt x="11" y="30"/>
                  </a:cubicBezTo>
                  <a:cubicBezTo>
                    <a:pt x="11" y="40"/>
                    <a:pt x="19" y="48"/>
                    <a:pt x="29" y="48"/>
                  </a:cubicBezTo>
                  <a:cubicBezTo>
                    <a:pt x="39" y="48"/>
                    <a:pt x="47" y="40"/>
                    <a:pt x="47" y="30"/>
                  </a:cubicBezTo>
                  <a:cubicBezTo>
                    <a:pt x="47" y="20"/>
                    <a:pt x="39" y="11"/>
                    <a:pt x="29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119" name="Shape65_20200717_142846">
            <a:extLst>
              <a:ext uri="{FF2B5EF4-FFF2-40B4-BE49-F238E27FC236}">
                <a16:creationId xmlns:a16="http://schemas.microsoft.com/office/drawing/2014/main" id="{45DEA2F1-3088-5F65-FC0C-BD21936FEAC9}"/>
              </a:ext>
            </a:extLst>
          </p:cNvPr>
          <p:cNvGrpSpPr>
            <a:grpSpLocks noChangeAspect="1"/>
          </p:cNvGrpSpPr>
          <p:nvPr/>
        </p:nvGrpSpPr>
        <p:grpSpPr>
          <a:xfrm>
            <a:off x="7125691" y="5185949"/>
            <a:ext cx="551741" cy="508540"/>
            <a:chOff x="-1303345" y="2906705"/>
            <a:chExt cx="365132" cy="336539"/>
          </a:xfrm>
          <a:solidFill>
            <a:schemeClr val="accent1"/>
          </a:solidFill>
        </p:grpSpPr>
        <p:sp>
          <p:nvSpPr>
            <p:cNvPr id="120" name="Freeform 450">
              <a:extLst>
                <a:ext uri="{FF2B5EF4-FFF2-40B4-BE49-F238E27FC236}">
                  <a16:creationId xmlns:a16="http://schemas.microsoft.com/office/drawing/2014/main" id="{AF5788EA-CEF1-4053-16AE-3843E7D2559D}"/>
                </a:ext>
              </a:extLst>
            </p:cNvPr>
            <p:cNvSpPr>
              <a:spLocks/>
            </p:cNvSpPr>
            <p:nvPr/>
          </p:nvSpPr>
          <p:spPr bwMode="auto">
            <a:xfrm>
              <a:off x="-1216034" y="2967022"/>
              <a:ext cx="66675" cy="95249"/>
            </a:xfrm>
            <a:custGeom>
              <a:avLst/>
              <a:gdLst>
                <a:gd name="T0" fmla="*/ 14 w 29"/>
                <a:gd name="T1" fmla="*/ 42 h 42"/>
                <a:gd name="T2" fmla="*/ 0 w 29"/>
                <a:gd name="T3" fmla="*/ 35 h 42"/>
                <a:gd name="T4" fmla="*/ 1 w 29"/>
                <a:gd name="T5" fmla="*/ 32 h 42"/>
                <a:gd name="T6" fmla="*/ 4 w 29"/>
                <a:gd name="T7" fmla="*/ 32 h 42"/>
                <a:gd name="T8" fmla="*/ 20 w 29"/>
                <a:gd name="T9" fmla="*/ 36 h 42"/>
                <a:gd name="T10" fmla="*/ 20 w 29"/>
                <a:gd name="T11" fmla="*/ 36 h 42"/>
                <a:gd name="T12" fmla="*/ 23 w 29"/>
                <a:gd name="T13" fmla="*/ 30 h 42"/>
                <a:gd name="T14" fmla="*/ 18 w 29"/>
                <a:gd name="T15" fmla="*/ 24 h 42"/>
                <a:gd name="T16" fmla="*/ 8 w 29"/>
                <a:gd name="T17" fmla="*/ 21 h 42"/>
                <a:gd name="T18" fmla="*/ 0 w 29"/>
                <a:gd name="T19" fmla="*/ 10 h 42"/>
                <a:gd name="T20" fmla="*/ 14 w 29"/>
                <a:gd name="T21" fmla="*/ 0 h 42"/>
                <a:gd name="T22" fmla="*/ 28 w 29"/>
                <a:gd name="T23" fmla="*/ 9 h 42"/>
                <a:gd name="T24" fmla="*/ 26 w 29"/>
                <a:gd name="T25" fmla="*/ 12 h 42"/>
                <a:gd name="T26" fmla="*/ 23 w 29"/>
                <a:gd name="T27" fmla="*/ 11 h 42"/>
                <a:gd name="T28" fmla="*/ 14 w 29"/>
                <a:gd name="T29" fmla="*/ 5 h 42"/>
                <a:gd name="T30" fmla="*/ 5 w 29"/>
                <a:gd name="T31" fmla="*/ 11 h 42"/>
                <a:gd name="T32" fmla="*/ 10 w 29"/>
                <a:gd name="T33" fmla="*/ 16 h 42"/>
                <a:gd name="T34" fmla="*/ 20 w 29"/>
                <a:gd name="T35" fmla="*/ 19 h 42"/>
                <a:gd name="T36" fmla="*/ 28 w 29"/>
                <a:gd name="T37" fmla="*/ 29 h 42"/>
                <a:gd name="T38" fmla="*/ 22 w 29"/>
                <a:gd name="T39" fmla="*/ 40 h 42"/>
                <a:gd name="T40" fmla="*/ 14 w 29"/>
                <a:gd name="T41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9" h="42">
                  <a:moveTo>
                    <a:pt x="14" y="42"/>
                  </a:moveTo>
                  <a:cubicBezTo>
                    <a:pt x="9" y="42"/>
                    <a:pt x="4" y="41"/>
                    <a:pt x="0" y="35"/>
                  </a:cubicBezTo>
                  <a:cubicBezTo>
                    <a:pt x="0" y="34"/>
                    <a:pt x="0" y="33"/>
                    <a:pt x="1" y="32"/>
                  </a:cubicBezTo>
                  <a:cubicBezTo>
                    <a:pt x="2" y="31"/>
                    <a:pt x="4" y="31"/>
                    <a:pt x="4" y="32"/>
                  </a:cubicBezTo>
                  <a:cubicBezTo>
                    <a:pt x="11" y="40"/>
                    <a:pt x="20" y="36"/>
                    <a:pt x="20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6"/>
                    <a:pt x="24" y="34"/>
                    <a:pt x="23" y="30"/>
                  </a:cubicBezTo>
                  <a:cubicBezTo>
                    <a:pt x="23" y="25"/>
                    <a:pt x="18" y="24"/>
                    <a:pt x="18" y="24"/>
                  </a:cubicBezTo>
                  <a:cubicBezTo>
                    <a:pt x="18" y="24"/>
                    <a:pt x="13" y="22"/>
                    <a:pt x="8" y="21"/>
                  </a:cubicBezTo>
                  <a:cubicBezTo>
                    <a:pt x="3" y="19"/>
                    <a:pt x="0" y="16"/>
                    <a:pt x="0" y="10"/>
                  </a:cubicBezTo>
                  <a:cubicBezTo>
                    <a:pt x="0" y="8"/>
                    <a:pt x="1" y="0"/>
                    <a:pt x="14" y="0"/>
                  </a:cubicBezTo>
                  <a:cubicBezTo>
                    <a:pt x="23" y="0"/>
                    <a:pt x="27" y="6"/>
                    <a:pt x="28" y="9"/>
                  </a:cubicBezTo>
                  <a:cubicBezTo>
                    <a:pt x="28" y="11"/>
                    <a:pt x="28" y="12"/>
                    <a:pt x="26" y="12"/>
                  </a:cubicBezTo>
                  <a:cubicBezTo>
                    <a:pt x="25" y="13"/>
                    <a:pt x="24" y="12"/>
                    <a:pt x="23" y="11"/>
                  </a:cubicBezTo>
                  <a:cubicBezTo>
                    <a:pt x="23" y="10"/>
                    <a:pt x="22" y="5"/>
                    <a:pt x="14" y="5"/>
                  </a:cubicBezTo>
                  <a:cubicBezTo>
                    <a:pt x="8" y="5"/>
                    <a:pt x="5" y="7"/>
                    <a:pt x="5" y="11"/>
                  </a:cubicBezTo>
                  <a:cubicBezTo>
                    <a:pt x="5" y="13"/>
                    <a:pt x="6" y="15"/>
                    <a:pt x="10" y="16"/>
                  </a:cubicBezTo>
                  <a:cubicBezTo>
                    <a:pt x="15" y="18"/>
                    <a:pt x="20" y="19"/>
                    <a:pt x="20" y="19"/>
                  </a:cubicBezTo>
                  <a:cubicBezTo>
                    <a:pt x="20" y="19"/>
                    <a:pt x="27" y="21"/>
                    <a:pt x="28" y="29"/>
                  </a:cubicBezTo>
                  <a:cubicBezTo>
                    <a:pt x="29" y="36"/>
                    <a:pt x="24" y="39"/>
                    <a:pt x="22" y="40"/>
                  </a:cubicBezTo>
                  <a:cubicBezTo>
                    <a:pt x="20" y="41"/>
                    <a:pt x="17" y="42"/>
                    <a:pt x="14" y="4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1" name="Freeform 451">
              <a:extLst>
                <a:ext uri="{FF2B5EF4-FFF2-40B4-BE49-F238E27FC236}">
                  <a16:creationId xmlns:a16="http://schemas.microsoft.com/office/drawing/2014/main" id="{AEC7EDB0-C3EA-904A-DB9E-9711C72FC82F}"/>
                </a:ext>
              </a:extLst>
            </p:cNvPr>
            <p:cNvSpPr>
              <a:spLocks/>
            </p:cNvSpPr>
            <p:nvPr/>
          </p:nvSpPr>
          <p:spPr bwMode="auto">
            <a:xfrm>
              <a:off x="-1189045" y="2949560"/>
              <a:ext cx="11113" cy="30163"/>
            </a:xfrm>
            <a:custGeom>
              <a:avLst/>
              <a:gdLst>
                <a:gd name="T0" fmla="*/ 2 w 5"/>
                <a:gd name="T1" fmla="*/ 13 h 13"/>
                <a:gd name="T2" fmla="*/ 0 w 5"/>
                <a:gd name="T3" fmla="*/ 10 h 13"/>
                <a:gd name="T4" fmla="*/ 0 w 5"/>
                <a:gd name="T5" fmla="*/ 3 h 13"/>
                <a:gd name="T6" fmla="*/ 2 w 5"/>
                <a:gd name="T7" fmla="*/ 0 h 13"/>
                <a:gd name="T8" fmla="*/ 5 w 5"/>
                <a:gd name="T9" fmla="*/ 3 h 13"/>
                <a:gd name="T10" fmla="*/ 5 w 5"/>
                <a:gd name="T11" fmla="*/ 10 h 13"/>
                <a:gd name="T12" fmla="*/ 2 w 5"/>
                <a:gd name="T13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13">
                  <a:moveTo>
                    <a:pt x="2" y="13"/>
                  </a:moveTo>
                  <a:cubicBezTo>
                    <a:pt x="1" y="13"/>
                    <a:pt x="0" y="12"/>
                    <a:pt x="0" y="1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4" y="0"/>
                    <a:pt x="5" y="1"/>
                    <a:pt x="5" y="3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5" y="12"/>
                    <a:pt x="4" y="13"/>
                    <a:pt x="2" y="1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2" name="Freeform 452">
              <a:extLst>
                <a:ext uri="{FF2B5EF4-FFF2-40B4-BE49-F238E27FC236}">
                  <a16:creationId xmlns:a16="http://schemas.microsoft.com/office/drawing/2014/main" id="{59AF6CFE-FDFA-99DB-6B27-7B612FF345EA}"/>
                </a:ext>
              </a:extLst>
            </p:cNvPr>
            <p:cNvSpPr>
              <a:spLocks/>
            </p:cNvSpPr>
            <p:nvPr/>
          </p:nvSpPr>
          <p:spPr bwMode="auto">
            <a:xfrm>
              <a:off x="-1189045" y="3054334"/>
              <a:ext cx="11113" cy="26988"/>
            </a:xfrm>
            <a:custGeom>
              <a:avLst/>
              <a:gdLst>
                <a:gd name="T0" fmla="*/ 2 w 5"/>
                <a:gd name="T1" fmla="*/ 12 h 12"/>
                <a:gd name="T2" fmla="*/ 0 w 5"/>
                <a:gd name="T3" fmla="*/ 10 h 12"/>
                <a:gd name="T4" fmla="*/ 0 w 5"/>
                <a:gd name="T5" fmla="*/ 2 h 12"/>
                <a:gd name="T6" fmla="*/ 2 w 5"/>
                <a:gd name="T7" fmla="*/ 0 h 12"/>
                <a:gd name="T8" fmla="*/ 5 w 5"/>
                <a:gd name="T9" fmla="*/ 2 h 12"/>
                <a:gd name="T10" fmla="*/ 5 w 5"/>
                <a:gd name="T11" fmla="*/ 10 h 12"/>
                <a:gd name="T12" fmla="*/ 2 w 5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12">
                  <a:moveTo>
                    <a:pt x="2" y="12"/>
                  </a:moveTo>
                  <a:cubicBezTo>
                    <a:pt x="1" y="12"/>
                    <a:pt x="0" y="11"/>
                    <a:pt x="0" y="1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4" y="0"/>
                    <a:pt x="5" y="1"/>
                    <a:pt x="5" y="2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5" y="11"/>
                    <a:pt x="4" y="12"/>
                    <a:pt x="2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3" name="Freeform 453">
              <a:extLst>
                <a:ext uri="{FF2B5EF4-FFF2-40B4-BE49-F238E27FC236}">
                  <a16:creationId xmlns:a16="http://schemas.microsoft.com/office/drawing/2014/main" id="{6A38F9E7-7A30-773A-0020-6E936D220B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290646" y="2908285"/>
              <a:ext cx="212726" cy="212724"/>
            </a:xfrm>
            <a:custGeom>
              <a:avLst/>
              <a:gdLst>
                <a:gd name="T0" fmla="*/ 47 w 94"/>
                <a:gd name="T1" fmla="*/ 94 h 94"/>
                <a:gd name="T2" fmla="*/ 0 w 94"/>
                <a:gd name="T3" fmla="*/ 47 h 94"/>
                <a:gd name="T4" fmla="*/ 47 w 94"/>
                <a:gd name="T5" fmla="*/ 0 h 94"/>
                <a:gd name="T6" fmla="*/ 94 w 94"/>
                <a:gd name="T7" fmla="*/ 47 h 94"/>
                <a:gd name="T8" fmla="*/ 47 w 94"/>
                <a:gd name="T9" fmla="*/ 94 h 94"/>
                <a:gd name="T10" fmla="*/ 47 w 94"/>
                <a:gd name="T11" fmla="*/ 5 h 94"/>
                <a:gd name="T12" fmla="*/ 5 w 94"/>
                <a:gd name="T13" fmla="*/ 47 h 94"/>
                <a:gd name="T14" fmla="*/ 47 w 94"/>
                <a:gd name="T15" fmla="*/ 89 h 94"/>
                <a:gd name="T16" fmla="*/ 89 w 94"/>
                <a:gd name="T17" fmla="*/ 47 h 94"/>
                <a:gd name="T18" fmla="*/ 47 w 94"/>
                <a:gd name="T19" fmla="*/ 5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4" h="94">
                  <a:moveTo>
                    <a:pt x="47" y="94"/>
                  </a:moveTo>
                  <a:cubicBezTo>
                    <a:pt x="21" y="94"/>
                    <a:pt x="0" y="73"/>
                    <a:pt x="0" y="47"/>
                  </a:cubicBezTo>
                  <a:cubicBezTo>
                    <a:pt x="0" y="21"/>
                    <a:pt x="21" y="0"/>
                    <a:pt x="47" y="0"/>
                  </a:cubicBezTo>
                  <a:cubicBezTo>
                    <a:pt x="73" y="0"/>
                    <a:pt x="94" y="21"/>
                    <a:pt x="94" y="47"/>
                  </a:cubicBezTo>
                  <a:cubicBezTo>
                    <a:pt x="94" y="73"/>
                    <a:pt x="73" y="94"/>
                    <a:pt x="47" y="94"/>
                  </a:cubicBezTo>
                  <a:close/>
                  <a:moveTo>
                    <a:pt x="47" y="5"/>
                  </a:moveTo>
                  <a:cubicBezTo>
                    <a:pt x="24" y="5"/>
                    <a:pt x="5" y="24"/>
                    <a:pt x="5" y="47"/>
                  </a:cubicBezTo>
                  <a:cubicBezTo>
                    <a:pt x="5" y="70"/>
                    <a:pt x="24" y="89"/>
                    <a:pt x="47" y="89"/>
                  </a:cubicBezTo>
                  <a:cubicBezTo>
                    <a:pt x="70" y="89"/>
                    <a:pt x="89" y="70"/>
                    <a:pt x="89" y="47"/>
                  </a:cubicBezTo>
                  <a:cubicBezTo>
                    <a:pt x="89" y="24"/>
                    <a:pt x="70" y="5"/>
                    <a:pt x="47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4" name="Freeform 454">
              <a:extLst>
                <a:ext uri="{FF2B5EF4-FFF2-40B4-BE49-F238E27FC236}">
                  <a16:creationId xmlns:a16="http://schemas.microsoft.com/office/drawing/2014/main" id="{903B2634-E6D5-7A6C-8712-942E1FF5819E}"/>
                </a:ext>
              </a:extLst>
            </p:cNvPr>
            <p:cNvSpPr>
              <a:spLocks/>
            </p:cNvSpPr>
            <p:nvPr/>
          </p:nvSpPr>
          <p:spPr bwMode="auto">
            <a:xfrm>
              <a:off x="-1163646" y="3028934"/>
              <a:ext cx="211139" cy="212724"/>
            </a:xfrm>
            <a:custGeom>
              <a:avLst/>
              <a:gdLst>
                <a:gd name="T0" fmla="*/ 47 w 94"/>
                <a:gd name="T1" fmla="*/ 94 h 94"/>
                <a:gd name="T2" fmla="*/ 0 w 94"/>
                <a:gd name="T3" fmla="*/ 47 h 94"/>
                <a:gd name="T4" fmla="*/ 1 w 94"/>
                <a:gd name="T5" fmla="*/ 39 h 94"/>
                <a:gd name="T6" fmla="*/ 4 w 94"/>
                <a:gd name="T7" fmla="*/ 37 h 94"/>
                <a:gd name="T8" fmla="*/ 6 w 94"/>
                <a:gd name="T9" fmla="*/ 40 h 94"/>
                <a:gd name="T10" fmla="*/ 5 w 94"/>
                <a:gd name="T11" fmla="*/ 47 h 94"/>
                <a:gd name="T12" fmla="*/ 47 w 94"/>
                <a:gd name="T13" fmla="*/ 89 h 94"/>
                <a:gd name="T14" fmla="*/ 89 w 94"/>
                <a:gd name="T15" fmla="*/ 47 h 94"/>
                <a:gd name="T16" fmla="*/ 47 w 94"/>
                <a:gd name="T17" fmla="*/ 4 h 94"/>
                <a:gd name="T18" fmla="*/ 36 w 94"/>
                <a:gd name="T19" fmla="*/ 6 h 94"/>
                <a:gd name="T20" fmla="*/ 33 w 94"/>
                <a:gd name="T21" fmla="*/ 4 h 94"/>
                <a:gd name="T22" fmla="*/ 35 w 94"/>
                <a:gd name="T23" fmla="*/ 1 h 94"/>
                <a:gd name="T24" fmla="*/ 47 w 94"/>
                <a:gd name="T25" fmla="*/ 0 h 94"/>
                <a:gd name="T26" fmla="*/ 94 w 94"/>
                <a:gd name="T27" fmla="*/ 47 h 94"/>
                <a:gd name="T28" fmla="*/ 47 w 94"/>
                <a:gd name="T29" fmla="*/ 94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94">
                  <a:moveTo>
                    <a:pt x="47" y="94"/>
                  </a:moveTo>
                  <a:cubicBezTo>
                    <a:pt x="21" y="94"/>
                    <a:pt x="0" y="72"/>
                    <a:pt x="0" y="47"/>
                  </a:cubicBezTo>
                  <a:cubicBezTo>
                    <a:pt x="0" y="44"/>
                    <a:pt x="0" y="41"/>
                    <a:pt x="1" y="39"/>
                  </a:cubicBezTo>
                  <a:cubicBezTo>
                    <a:pt x="1" y="37"/>
                    <a:pt x="2" y="37"/>
                    <a:pt x="4" y="37"/>
                  </a:cubicBezTo>
                  <a:cubicBezTo>
                    <a:pt x="5" y="37"/>
                    <a:pt x="6" y="38"/>
                    <a:pt x="6" y="40"/>
                  </a:cubicBezTo>
                  <a:cubicBezTo>
                    <a:pt x="5" y="42"/>
                    <a:pt x="5" y="44"/>
                    <a:pt x="5" y="47"/>
                  </a:cubicBezTo>
                  <a:cubicBezTo>
                    <a:pt x="5" y="70"/>
                    <a:pt x="24" y="89"/>
                    <a:pt x="47" y="89"/>
                  </a:cubicBezTo>
                  <a:cubicBezTo>
                    <a:pt x="70" y="89"/>
                    <a:pt x="89" y="70"/>
                    <a:pt x="89" y="47"/>
                  </a:cubicBezTo>
                  <a:cubicBezTo>
                    <a:pt x="89" y="23"/>
                    <a:pt x="70" y="4"/>
                    <a:pt x="47" y="4"/>
                  </a:cubicBezTo>
                  <a:cubicBezTo>
                    <a:pt x="43" y="4"/>
                    <a:pt x="40" y="5"/>
                    <a:pt x="36" y="6"/>
                  </a:cubicBezTo>
                  <a:cubicBezTo>
                    <a:pt x="35" y="6"/>
                    <a:pt x="34" y="5"/>
                    <a:pt x="33" y="4"/>
                  </a:cubicBezTo>
                  <a:cubicBezTo>
                    <a:pt x="33" y="3"/>
                    <a:pt x="34" y="1"/>
                    <a:pt x="35" y="1"/>
                  </a:cubicBezTo>
                  <a:cubicBezTo>
                    <a:pt x="39" y="0"/>
                    <a:pt x="43" y="0"/>
                    <a:pt x="47" y="0"/>
                  </a:cubicBezTo>
                  <a:cubicBezTo>
                    <a:pt x="73" y="0"/>
                    <a:pt x="94" y="21"/>
                    <a:pt x="94" y="47"/>
                  </a:cubicBezTo>
                  <a:cubicBezTo>
                    <a:pt x="94" y="72"/>
                    <a:pt x="73" y="94"/>
                    <a:pt x="47" y="9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5" name="Freeform 455">
              <a:extLst>
                <a:ext uri="{FF2B5EF4-FFF2-40B4-BE49-F238E27FC236}">
                  <a16:creationId xmlns:a16="http://schemas.microsoft.com/office/drawing/2014/main" id="{5D862062-B408-E1BA-4040-CFEE7E25A866}"/>
                </a:ext>
              </a:extLst>
            </p:cNvPr>
            <p:cNvSpPr>
              <a:spLocks/>
            </p:cNvSpPr>
            <p:nvPr/>
          </p:nvSpPr>
          <p:spPr bwMode="auto">
            <a:xfrm>
              <a:off x="-1106495" y="3081322"/>
              <a:ext cx="93664" cy="106362"/>
            </a:xfrm>
            <a:custGeom>
              <a:avLst/>
              <a:gdLst>
                <a:gd name="T0" fmla="*/ 24 w 42"/>
                <a:gd name="T1" fmla="*/ 47 h 47"/>
                <a:gd name="T2" fmla="*/ 0 w 42"/>
                <a:gd name="T3" fmla="*/ 24 h 47"/>
                <a:gd name="T4" fmla="*/ 24 w 42"/>
                <a:gd name="T5" fmla="*/ 0 h 47"/>
                <a:gd name="T6" fmla="*/ 40 w 42"/>
                <a:gd name="T7" fmla="*/ 7 h 47"/>
                <a:gd name="T8" fmla="*/ 40 w 42"/>
                <a:gd name="T9" fmla="*/ 10 h 47"/>
                <a:gd name="T10" fmla="*/ 37 w 42"/>
                <a:gd name="T11" fmla="*/ 10 h 47"/>
                <a:gd name="T12" fmla="*/ 24 w 42"/>
                <a:gd name="T13" fmla="*/ 5 h 47"/>
                <a:gd name="T14" fmla="*/ 5 w 42"/>
                <a:gd name="T15" fmla="*/ 24 h 47"/>
                <a:gd name="T16" fmla="*/ 24 w 42"/>
                <a:gd name="T17" fmla="*/ 42 h 47"/>
                <a:gd name="T18" fmla="*/ 37 w 42"/>
                <a:gd name="T19" fmla="*/ 36 h 47"/>
                <a:gd name="T20" fmla="*/ 41 w 42"/>
                <a:gd name="T21" fmla="*/ 36 h 47"/>
                <a:gd name="T22" fmla="*/ 41 w 42"/>
                <a:gd name="T23" fmla="*/ 40 h 47"/>
                <a:gd name="T24" fmla="*/ 24 w 42"/>
                <a:gd name="T25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2" h="47">
                  <a:moveTo>
                    <a:pt x="24" y="47"/>
                  </a:moveTo>
                  <a:cubicBezTo>
                    <a:pt x="11" y="47"/>
                    <a:pt x="0" y="37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0" y="0"/>
                    <a:pt x="36" y="2"/>
                    <a:pt x="40" y="7"/>
                  </a:cubicBezTo>
                  <a:cubicBezTo>
                    <a:pt x="41" y="8"/>
                    <a:pt x="41" y="9"/>
                    <a:pt x="40" y="10"/>
                  </a:cubicBezTo>
                  <a:cubicBezTo>
                    <a:pt x="39" y="11"/>
                    <a:pt x="38" y="11"/>
                    <a:pt x="37" y="10"/>
                  </a:cubicBezTo>
                  <a:cubicBezTo>
                    <a:pt x="33" y="7"/>
                    <a:pt x="29" y="5"/>
                    <a:pt x="24" y="5"/>
                  </a:cubicBezTo>
                  <a:cubicBezTo>
                    <a:pt x="13" y="5"/>
                    <a:pt x="5" y="13"/>
                    <a:pt x="5" y="24"/>
                  </a:cubicBezTo>
                  <a:cubicBezTo>
                    <a:pt x="5" y="34"/>
                    <a:pt x="13" y="42"/>
                    <a:pt x="24" y="42"/>
                  </a:cubicBezTo>
                  <a:cubicBezTo>
                    <a:pt x="29" y="42"/>
                    <a:pt x="34" y="40"/>
                    <a:pt x="37" y="36"/>
                  </a:cubicBezTo>
                  <a:cubicBezTo>
                    <a:pt x="38" y="35"/>
                    <a:pt x="40" y="35"/>
                    <a:pt x="41" y="36"/>
                  </a:cubicBezTo>
                  <a:cubicBezTo>
                    <a:pt x="42" y="37"/>
                    <a:pt x="42" y="39"/>
                    <a:pt x="41" y="40"/>
                  </a:cubicBezTo>
                  <a:cubicBezTo>
                    <a:pt x="36" y="45"/>
                    <a:pt x="30" y="47"/>
                    <a:pt x="24" y="4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6" name="Freeform 456">
              <a:extLst>
                <a:ext uri="{FF2B5EF4-FFF2-40B4-BE49-F238E27FC236}">
                  <a16:creationId xmlns:a16="http://schemas.microsoft.com/office/drawing/2014/main" id="{567BAFE2-258F-0BFA-22FE-8472750DFBB7}"/>
                </a:ext>
              </a:extLst>
            </p:cNvPr>
            <p:cNvSpPr>
              <a:spLocks/>
            </p:cNvSpPr>
            <p:nvPr/>
          </p:nvSpPr>
          <p:spPr bwMode="auto">
            <a:xfrm>
              <a:off x="-1122370" y="3116247"/>
              <a:ext cx="71439" cy="12700"/>
            </a:xfrm>
            <a:custGeom>
              <a:avLst/>
              <a:gdLst>
                <a:gd name="T0" fmla="*/ 30 w 32"/>
                <a:gd name="T1" fmla="*/ 5 h 5"/>
                <a:gd name="T2" fmla="*/ 3 w 32"/>
                <a:gd name="T3" fmla="*/ 5 h 5"/>
                <a:gd name="T4" fmla="*/ 0 w 32"/>
                <a:gd name="T5" fmla="*/ 3 h 5"/>
                <a:gd name="T6" fmla="*/ 3 w 32"/>
                <a:gd name="T7" fmla="*/ 0 h 5"/>
                <a:gd name="T8" fmla="*/ 30 w 32"/>
                <a:gd name="T9" fmla="*/ 0 h 5"/>
                <a:gd name="T10" fmla="*/ 32 w 32"/>
                <a:gd name="T11" fmla="*/ 3 h 5"/>
                <a:gd name="T12" fmla="*/ 30 w 32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5">
                  <a:moveTo>
                    <a:pt x="30" y="5"/>
                  </a:moveTo>
                  <a:cubicBezTo>
                    <a:pt x="3" y="5"/>
                    <a:pt x="3" y="5"/>
                    <a:pt x="3" y="5"/>
                  </a:cubicBezTo>
                  <a:cubicBezTo>
                    <a:pt x="1" y="5"/>
                    <a:pt x="0" y="4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1" y="0"/>
                    <a:pt x="32" y="1"/>
                    <a:pt x="32" y="3"/>
                  </a:cubicBezTo>
                  <a:cubicBezTo>
                    <a:pt x="32" y="4"/>
                    <a:pt x="31" y="5"/>
                    <a:pt x="30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7" name="Freeform 457">
              <a:extLst>
                <a:ext uri="{FF2B5EF4-FFF2-40B4-BE49-F238E27FC236}">
                  <a16:creationId xmlns:a16="http://schemas.microsoft.com/office/drawing/2014/main" id="{1C4105A1-1B0B-0D86-FE9D-18847679F07A}"/>
                </a:ext>
              </a:extLst>
            </p:cNvPr>
            <p:cNvSpPr>
              <a:spLocks/>
            </p:cNvSpPr>
            <p:nvPr/>
          </p:nvSpPr>
          <p:spPr bwMode="auto">
            <a:xfrm>
              <a:off x="-1122370" y="3144822"/>
              <a:ext cx="71439" cy="7938"/>
            </a:xfrm>
            <a:custGeom>
              <a:avLst/>
              <a:gdLst>
                <a:gd name="T0" fmla="*/ 30 w 32"/>
                <a:gd name="T1" fmla="*/ 4 h 4"/>
                <a:gd name="T2" fmla="*/ 3 w 32"/>
                <a:gd name="T3" fmla="*/ 4 h 4"/>
                <a:gd name="T4" fmla="*/ 0 w 32"/>
                <a:gd name="T5" fmla="*/ 2 h 4"/>
                <a:gd name="T6" fmla="*/ 3 w 32"/>
                <a:gd name="T7" fmla="*/ 0 h 4"/>
                <a:gd name="T8" fmla="*/ 30 w 32"/>
                <a:gd name="T9" fmla="*/ 0 h 4"/>
                <a:gd name="T10" fmla="*/ 32 w 32"/>
                <a:gd name="T11" fmla="*/ 2 h 4"/>
                <a:gd name="T12" fmla="*/ 30 w 32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4">
                  <a:moveTo>
                    <a:pt x="30" y="4"/>
                  </a:moveTo>
                  <a:cubicBezTo>
                    <a:pt x="3" y="4"/>
                    <a:pt x="3" y="4"/>
                    <a:pt x="3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1" y="0"/>
                    <a:pt x="32" y="1"/>
                    <a:pt x="32" y="2"/>
                  </a:cubicBezTo>
                  <a:cubicBezTo>
                    <a:pt x="32" y="3"/>
                    <a:pt x="31" y="4"/>
                    <a:pt x="30" y="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8" name="Freeform 458">
              <a:extLst>
                <a:ext uri="{FF2B5EF4-FFF2-40B4-BE49-F238E27FC236}">
                  <a16:creationId xmlns:a16="http://schemas.microsoft.com/office/drawing/2014/main" id="{F7316C4D-486B-8BD5-DC35-C52461FF622B}"/>
                </a:ext>
              </a:extLst>
            </p:cNvPr>
            <p:cNvSpPr>
              <a:spLocks/>
            </p:cNvSpPr>
            <p:nvPr/>
          </p:nvSpPr>
          <p:spPr bwMode="auto">
            <a:xfrm>
              <a:off x="-1277946" y="3141644"/>
              <a:ext cx="103189" cy="101600"/>
            </a:xfrm>
            <a:custGeom>
              <a:avLst/>
              <a:gdLst>
                <a:gd name="T0" fmla="*/ 42 w 46"/>
                <a:gd name="T1" fmla="*/ 45 h 45"/>
                <a:gd name="T2" fmla="*/ 11 w 46"/>
                <a:gd name="T3" fmla="*/ 34 h 45"/>
                <a:gd name="T4" fmla="*/ 0 w 46"/>
                <a:gd name="T5" fmla="*/ 3 h 45"/>
                <a:gd name="T6" fmla="*/ 2 w 46"/>
                <a:gd name="T7" fmla="*/ 0 h 45"/>
                <a:gd name="T8" fmla="*/ 2 w 46"/>
                <a:gd name="T9" fmla="*/ 0 h 45"/>
                <a:gd name="T10" fmla="*/ 5 w 46"/>
                <a:gd name="T11" fmla="*/ 3 h 45"/>
                <a:gd name="T12" fmla="*/ 15 w 46"/>
                <a:gd name="T13" fmla="*/ 30 h 45"/>
                <a:gd name="T14" fmla="*/ 43 w 46"/>
                <a:gd name="T15" fmla="*/ 40 h 45"/>
                <a:gd name="T16" fmla="*/ 46 w 46"/>
                <a:gd name="T17" fmla="*/ 43 h 45"/>
                <a:gd name="T18" fmla="*/ 43 w 46"/>
                <a:gd name="T19" fmla="*/ 45 h 45"/>
                <a:gd name="T20" fmla="*/ 42 w 46"/>
                <a:gd name="T21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6" h="45">
                  <a:moveTo>
                    <a:pt x="42" y="45"/>
                  </a:moveTo>
                  <a:cubicBezTo>
                    <a:pt x="30" y="45"/>
                    <a:pt x="19" y="41"/>
                    <a:pt x="11" y="34"/>
                  </a:cubicBezTo>
                  <a:cubicBezTo>
                    <a:pt x="4" y="26"/>
                    <a:pt x="0" y="16"/>
                    <a:pt x="0" y="3"/>
                  </a:cubicBezTo>
                  <a:cubicBezTo>
                    <a:pt x="0" y="2"/>
                    <a:pt x="1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4" y="0"/>
                    <a:pt x="5" y="2"/>
                    <a:pt x="5" y="3"/>
                  </a:cubicBezTo>
                  <a:cubicBezTo>
                    <a:pt x="5" y="14"/>
                    <a:pt x="8" y="24"/>
                    <a:pt x="15" y="30"/>
                  </a:cubicBezTo>
                  <a:cubicBezTo>
                    <a:pt x="22" y="37"/>
                    <a:pt x="31" y="40"/>
                    <a:pt x="43" y="40"/>
                  </a:cubicBezTo>
                  <a:cubicBezTo>
                    <a:pt x="45" y="40"/>
                    <a:pt x="46" y="41"/>
                    <a:pt x="46" y="43"/>
                  </a:cubicBezTo>
                  <a:cubicBezTo>
                    <a:pt x="46" y="44"/>
                    <a:pt x="45" y="45"/>
                    <a:pt x="43" y="45"/>
                  </a:cubicBezTo>
                  <a:cubicBezTo>
                    <a:pt x="43" y="45"/>
                    <a:pt x="43" y="45"/>
                    <a:pt x="42" y="4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9" name="Freeform 459">
              <a:extLst>
                <a:ext uri="{FF2B5EF4-FFF2-40B4-BE49-F238E27FC236}">
                  <a16:creationId xmlns:a16="http://schemas.microsoft.com/office/drawing/2014/main" id="{1D12C93B-A253-8E9E-D78E-B2B1CAE639C7}"/>
                </a:ext>
              </a:extLst>
            </p:cNvPr>
            <p:cNvSpPr>
              <a:spLocks/>
            </p:cNvSpPr>
            <p:nvPr/>
          </p:nvSpPr>
          <p:spPr bwMode="auto">
            <a:xfrm>
              <a:off x="-1303345" y="3141646"/>
              <a:ext cx="65088" cy="42862"/>
            </a:xfrm>
            <a:custGeom>
              <a:avLst/>
              <a:gdLst>
                <a:gd name="T0" fmla="*/ 3 w 29"/>
                <a:gd name="T1" fmla="*/ 19 h 19"/>
                <a:gd name="T2" fmla="*/ 2 w 29"/>
                <a:gd name="T3" fmla="*/ 18 h 19"/>
                <a:gd name="T4" fmla="*/ 1 w 29"/>
                <a:gd name="T5" fmla="*/ 15 h 19"/>
                <a:gd name="T6" fmla="*/ 11 w 29"/>
                <a:gd name="T7" fmla="*/ 1 h 19"/>
                <a:gd name="T8" fmla="*/ 15 w 29"/>
                <a:gd name="T9" fmla="*/ 1 h 19"/>
                <a:gd name="T10" fmla="*/ 28 w 29"/>
                <a:gd name="T11" fmla="*/ 11 h 19"/>
                <a:gd name="T12" fmla="*/ 29 w 29"/>
                <a:gd name="T13" fmla="*/ 15 h 19"/>
                <a:gd name="T14" fmla="*/ 25 w 29"/>
                <a:gd name="T15" fmla="*/ 15 h 19"/>
                <a:gd name="T16" fmla="*/ 14 w 29"/>
                <a:gd name="T17" fmla="*/ 6 h 19"/>
                <a:gd name="T18" fmla="*/ 5 w 29"/>
                <a:gd name="T19" fmla="*/ 18 h 19"/>
                <a:gd name="T20" fmla="*/ 3 w 29"/>
                <a:gd name="T21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9" h="19">
                  <a:moveTo>
                    <a:pt x="3" y="19"/>
                  </a:moveTo>
                  <a:cubicBezTo>
                    <a:pt x="3" y="19"/>
                    <a:pt x="2" y="19"/>
                    <a:pt x="2" y="18"/>
                  </a:cubicBezTo>
                  <a:cubicBezTo>
                    <a:pt x="1" y="17"/>
                    <a:pt x="0" y="16"/>
                    <a:pt x="1" y="15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2" y="0"/>
                    <a:pt x="14" y="0"/>
                    <a:pt x="15" y="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9" y="12"/>
                    <a:pt x="29" y="13"/>
                    <a:pt x="29" y="15"/>
                  </a:cubicBezTo>
                  <a:cubicBezTo>
                    <a:pt x="28" y="16"/>
                    <a:pt x="26" y="16"/>
                    <a:pt x="25" y="15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4" y="19"/>
                    <a:pt x="3" y="1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0" name="Freeform 460">
              <a:extLst>
                <a:ext uri="{FF2B5EF4-FFF2-40B4-BE49-F238E27FC236}">
                  <a16:creationId xmlns:a16="http://schemas.microsoft.com/office/drawing/2014/main" id="{314A95F3-B93A-6425-D3B4-A2445ED3366E}"/>
                </a:ext>
              </a:extLst>
            </p:cNvPr>
            <p:cNvSpPr>
              <a:spLocks/>
            </p:cNvSpPr>
            <p:nvPr/>
          </p:nvSpPr>
          <p:spPr bwMode="auto">
            <a:xfrm>
              <a:off x="-1066805" y="2906705"/>
              <a:ext cx="103189" cy="100013"/>
            </a:xfrm>
            <a:custGeom>
              <a:avLst/>
              <a:gdLst>
                <a:gd name="T0" fmla="*/ 44 w 46"/>
                <a:gd name="T1" fmla="*/ 44 h 44"/>
                <a:gd name="T2" fmla="*/ 41 w 46"/>
                <a:gd name="T3" fmla="*/ 42 h 44"/>
                <a:gd name="T4" fmla="*/ 31 w 46"/>
                <a:gd name="T5" fmla="*/ 15 h 44"/>
                <a:gd name="T6" fmla="*/ 3 w 46"/>
                <a:gd name="T7" fmla="*/ 5 h 44"/>
                <a:gd name="T8" fmla="*/ 0 w 46"/>
                <a:gd name="T9" fmla="*/ 2 h 44"/>
                <a:gd name="T10" fmla="*/ 3 w 46"/>
                <a:gd name="T11" fmla="*/ 0 h 44"/>
                <a:gd name="T12" fmla="*/ 35 w 46"/>
                <a:gd name="T13" fmla="*/ 11 h 44"/>
                <a:gd name="T14" fmla="*/ 46 w 46"/>
                <a:gd name="T15" fmla="*/ 42 h 44"/>
                <a:gd name="T16" fmla="*/ 44 w 46"/>
                <a:gd name="T17" fmla="*/ 44 h 44"/>
                <a:gd name="T18" fmla="*/ 44 w 46"/>
                <a:gd name="T19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6" h="44">
                  <a:moveTo>
                    <a:pt x="44" y="44"/>
                  </a:moveTo>
                  <a:cubicBezTo>
                    <a:pt x="43" y="44"/>
                    <a:pt x="41" y="43"/>
                    <a:pt x="41" y="42"/>
                  </a:cubicBezTo>
                  <a:cubicBezTo>
                    <a:pt x="41" y="31"/>
                    <a:pt x="38" y="21"/>
                    <a:pt x="31" y="15"/>
                  </a:cubicBezTo>
                  <a:cubicBezTo>
                    <a:pt x="25" y="8"/>
                    <a:pt x="15" y="5"/>
                    <a:pt x="3" y="5"/>
                  </a:cubicBezTo>
                  <a:cubicBezTo>
                    <a:pt x="1" y="5"/>
                    <a:pt x="0" y="4"/>
                    <a:pt x="0" y="2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16" y="0"/>
                    <a:pt x="27" y="4"/>
                    <a:pt x="35" y="11"/>
                  </a:cubicBezTo>
                  <a:cubicBezTo>
                    <a:pt x="42" y="19"/>
                    <a:pt x="46" y="29"/>
                    <a:pt x="46" y="42"/>
                  </a:cubicBezTo>
                  <a:cubicBezTo>
                    <a:pt x="46" y="43"/>
                    <a:pt x="45" y="44"/>
                    <a:pt x="44" y="44"/>
                  </a:cubicBezTo>
                  <a:cubicBezTo>
                    <a:pt x="44" y="44"/>
                    <a:pt x="44" y="44"/>
                    <a:pt x="44" y="4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1" name="Freeform 461">
              <a:extLst>
                <a:ext uri="{FF2B5EF4-FFF2-40B4-BE49-F238E27FC236}">
                  <a16:creationId xmlns:a16="http://schemas.microsoft.com/office/drawing/2014/main" id="{9AD948DE-752A-E7FC-E10B-FE88277BDCE5}"/>
                </a:ext>
              </a:extLst>
            </p:cNvPr>
            <p:cNvSpPr>
              <a:spLocks/>
            </p:cNvSpPr>
            <p:nvPr/>
          </p:nvSpPr>
          <p:spPr bwMode="auto">
            <a:xfrm>
              <a:off x="-1003301" y="2965450"/>
              <a:ext cx="65088" cy="41275"/>
            </a:xfrm>
            <a:custGeom>
              <a:avLst/>
              <a:gdLst>
                <a:gd name="T0" fmla="*/ 16 w 29"/>
                <a:gd name="T1" fmla="*/ 18 h 18"/>
                <a:gd name="T2" fmla="*/ 14 w 29"/>
                <a:gd name="T3" fmla="*/ 18 h 18"/>
                <a:gd name="T4" fmla="*/ 1 w 29"/>
                <a:gd name="T5" fmla="*/ 8 h 18"/>
                <a:gd name="T6" fmla="*/ 1 w 29"/>
                <a:gd name="T7" fmla="*/ 4 h 18"/>
                <a:gd name="T8" fmla="*/ 4 w 29"/>
                <a:gd name="T9" fmla="*/ 4 h 18"/>
                <a:gd name="T10" fmla="*/ 15 w 29"/>
                <a:gd name="T11" fmla="*/ 12 h 18"/>
                <a:gd name="T12" fmla="*/ 24 w 29"/>
                <a:gd name="T13" fmla="*/ 1 h 18"/>
                <a:gd name="T14" fmla="*/ 28 w 29"/>
                <a:gd name="T15" fmla="*/ 1 h 18"/>
                <a:gd name="T16" fmla="*/ 28 w 29"/>
                <a:gd name="T17" fmla="*/ 4 h 18"/>
                <a:gd name="T18" fmla="*/ 18 w 29"/>
                <a:gd name="T19" fmla="*/ 17 h 18"/>
                <a:gd name="T20" fmla="*/ 16 w 29"/>
                <a:gd name="T21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9" h="18">
                  <a:moveTo>
                    <a:pt x="16" y="18"/>
                  </a:moveTo>
                  <a:cubicBezTo>
                    <a:pt x="15" y="18"/>
                    <a:pt x="15" y="18"/>
                    <a:pt x="14" y="1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7"/>
                    <a:pt x="0" y="5"/>
                    <a:pt x="1" y="4"/>
                  </a:cubicBezTo>
                  <a:cubicBezTo>
                    <a:pt x="1" y="3"/>
                    <a:pt x="3" y="3"/>
                    <a:pt x="4" y="4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24" y="1"/>
                    <a:pt x="24" y="1"/>
                    <a:pt x="24" y="1"/>
                  </a:cubicBezTo>
                  <a:cubicBezTo>
                    <a:pt x="25" y="0"/>
                    <a:pt x="26" y="0"/>
                    <a:pt x="28" y="1"/>
                  </a:cubicBezTo>
                  <a:cubicBezTo>
                    <a:pt x="29" y="1"/>
                    <a:pt x="29" y="3"/>
                    <a:pt x="28" y="4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7" y="18"/>
                    <a:pt x="17" y="18"/>
                    <a:pt x="16" y="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137" name="Shape37_20200717_142846">
            <a:extLst>
              <a:ext uri="{FF2B5EF4-FFF2-40B4-BE49-F238E27FC236}">
                <a16:creationId xmlns:a16="http://schemas.microsoft.com/office/drawing/2014/main" id="{9800190B-F1E3-E9E9-FBF4-CE10314874DD}"/>
              </a:ext>
            </a:extLst>
          </p:cNvPr>
          <p:cNvGrpSpPr>
            <a:grpSpLocks noChangeAspect="1"/>
          </p:cNvGrpSpPr>
          <p:nvPr/>
        </p:nvGrpSpPr>
        <p:grpSpPr>
          <a:xfrm>
            <a:off x="757418" y="1259673"/>
            <a:ext cx="232689" cy="527746"/>
            <a:chOff x="-4167179" y="989980"/>
            <a:chExt cx="153988" cy="349251"/>
          </a:xfrm>
          <a:solidFill>
            <a:schemeClr val="accent1"/>
          </a:solidFill>
        </p:grpSpPr>
        <p:sp>
          <p:nvSpPr>
            <p:cNvPr id="138" name="Freeform 1369">
              <a:extLst>
                <a:ext uri="{FF2B5EF4-FFF2-40B4-BE49-F238E27FC236}">
                  <a16:creationId xmlns:a16="http://schemas.microsoft.com/office/drawing/2014/main" id="{CD858DCE-4622-048A-E652-445B1FDDBC26}"/>
                </a:ext>
              </a:extLst>
            </p:cNvPr>
            <p:cNvSpPr>
              <a:spLocks/>
            </p:cNvSpPr>
            <p:nvPr/>
          </p:nvSpPr>
          <p:spPr bwMode="auto">
            <a:xfrm>
              <a:off x="-4095734" y="1210643"/>
              <a:ext cx="11113" cy="107950"/>
            </a:xfrm>
            <a:custGeom>
              <a:avLst/>
              <a:gdLst>
                <a:gd name="T0" fmla="*/ 5 w 11"/>
                <a:gd name="T1" fmla="*/ 103 h 103"/>
                <a:gd name="T2" fmla="*/ 0 w 11"/>
                <a:gd name="T3" fmla="*/ 98 h 103"/>
                <a:gd name="T4" fmla="*/ 0 w 11"/>
                <a:gd name="T5" fmla="*/ 5 h 103"/>
                <a:gd name="T6" fmla="*/ 5 w 11"/>
                <a:gd name="T7" fmla="*/ 0 h 103"/>
                <a:gd name="T8" fmla="*/ 11 w 11"/>
                <a:gd name="T9" fmla="*/ 5 h 103"/>
                <a:gd name="T10" fmla="*/ 11 w 11"/>
                <a:gd name="T11" fmla="*/ 98 h 103"/>
                <a:gd name="T12" fmla="*/ 5 w 11"/>
                <a:gd name="T13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103">
                  <a:moveTo>
                    <a:pt x="5" y="103"/>
                  </a:moveTo>
                  <a:cubicBezTo>
                    <a:pt x="2" y="103"/>
                    <a:pt x="0" y="101"/>
                    <a:pt x="0" y="98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" y="0"/>
                    <a:pt x="11" y="2"/>
                    <a:pt x="11" y="5"/>
                  </a:cubicBezTo>
                  <a:cubicBezTo>
                    <a:pt x="11" y="98"/>
                    <a:pt x="11" y="98"/>
                    <a:pt x="11" y="98"/>
                  </a:cubicBezTo>
                  <a:cubicBezTo>
                    <a:pt x="11" y="101"/>
                    <a:pt x="8" y="103"/>
                    <a:pt x="5" y="10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9" name="Freeform 1370">
              <a:extLst>
                <a:ext uri="{FF2B5EF4-FFF2-40B4-BE49-F238E27FC236}">
                  <a16:creationId xmlns:a16="http://schemas.microsoft.com/office/drawing/2014/main" id="{6F66D3BE-9E4D-49F1-30AC-D2AD4EFD67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167179" y="1066181"/>
              <a:ext cx="153988" cy="273050"/>
            </a:xfrm>
            <a:custGeom>
              <a:avLst/>
              <a:gdLst>
                <a:gd name="T0" fmla="*/ 93 w 148"/>
                <a:gd name="T1" fmla="*/ 263 h 263"/>
                <a:gd name="T2" fmla="*/ 74 w 148"/>
                <a:gd name="T3" fmla="*/ 253 h 263"/>
                <a:gd name="T4" fmla="*/ 55 w 148"/>
                <a:gd name="T5" fmla="*/ 263 h 263"/>
                <a:gd name="T6" fmla="*/ 30 w 148"/>
                <a:gd name="T7" fmla="*/ 238 h 263"/>
                <a:gd name="T8" fmla="*/ 30 w 148"/>
                <a:gd name="T9" fmla="*/ 134 h 263"/>
                <a:gd name="T10" fmla="*/ 23 w 148"/>
                <a:gd name="T11" fmla="*/ 137 h 263"/>
                <a:gd name="T12" fmla="*/ 7 w 148"/>
                <a:gd name="T13" fmla="*/ 131 h 263"/>
                <a:gd name="T14" fmla="*/ 0 w 148"/>
                <a:gd name="T15" fmla="*/ 116 h 263"/>
                <a:gd name="T16" fmla="*/ 0 w 148"/>
                <a:gd name="T17" fmla="*/ 36 h 263"/>
                <a:gd name="T18" fmla="*/ 36 w 148"/>
                <a:gd name="T19" fmla="*/ 0 h 263"/>
                <a:gd name="T20" fmla="*/ 112 w 148"/>
                <a:gd name="T21" fmla="*/ 0 h 263"/>
                <a:gd name="T22" fmla="*/ 148 w 148"/>
                <a:gd name="T23" fmla="*/ 36 h 263"/>
                <a:gd name="T24" fmla="*/ 148 w 148"/>
                <a:gd name="T25" fmla="*/ 116 h 263"/>
                <a:gd name="T26" fmla="*/ 141 w 148"/>
                <a:gd name="T27" fmla="*/ 131 h 263"/>
                <a:gd name="T28" fmla="*/ 126 w 148"/>
                <a:gd name="T29" fmla="*/ 137 h 263"/>
                <a:gd name="T30" fmla="*/ 118 w 148"/>
                <a:gd name="T31" fmla="*/ 134 h 263"/>
                <a:gd name="T32" fmla="*/ 118 w 148"/>
                <a:gd name="T33" fmla="*/ 238 h 263"/>
                <a:gd name="T34" fmla="*/ 93 w 148"/>
                <a:gd name="T35" fmla="*/ 263 h 263"/>
                <a:gd name="T36" fmla="*/ 74 w 148"/>
                <a:gd name="T37" fmla="*/ 232 h 263"/>
                <a:gd name="T38" fmla="*/ 80 w 148"/>
                <a:gd name="T39" fmla="*/ 238 h 263"/>
                <a:gd name="T40" fmla="*/ 93 w 148"/>
                <a:gd name="T41" fmla="*/ 252 h 263"/>
                <a:gd name="T42" fmla="*/ 107 w 148"/>
                <a:gd name="T43" fmla="*/ 238 h 263"/>
                <a:gd name="T44" fmla="*/ 107 w 148"/>
                <a:gd name="T45" fmla="*/ 115 h 263"/>
                <a:gd name="T46" fmla="*/ 112 w 148"/>
                <a:gd name="T47" fmla="*/ 110 h 263"/>
                <a:gd name="T48" fmla="*/ 118 w 148"/>
                <a:gd name="T49" fmla="*/ 115 h 263"/>
                <a:gd name="T50" fmla="*/ 127 w 148"/>
                <a:gd name="T51" fmla="*/ 126 h 263"/>
                <a:gd name="T52" fmla="*/ 134 w 148"/>
                <a:gd name="T53" fmla="*/ 123 h 263"/>
                <a:gd name="T54" fmla="*/ 137 w 148"/>
                <a:gd name="T55" fmla="*/ 116 h 263"/>
                <a:gd name="T56" fmla="*/ 137 w 148"/>
                <a:gd name="T57" fmla="*/ 36 h 263"/>
                <a:gd name="T58" fmla="*/ 112 w 148"/>
                <a:gd name="T59" fmla="*/ 11 h 263"/>
                <a:gd name="T60" fmla="*/ 36 w 148"/>
                <a:gd name="T61" fmla="*/ 11 h 263"/>
                <a:gd name="T62" fmla="*/ 11 w 148"/>
                <a:gd name="T63" fmla="*/ 36 h 263"/>
                <a:gd name="T64" fmla="*/ 11 w 148"/>
                <a:gd name="T65" fmla="*/ 116 h 263"/>
                <a:gd name="T66" fmla="*/ 14 w 148"/>
                <a:gd name="T67" fmla="*/ 123 h 263"/>
                <a:gd name="T68" fmla="*/ 22 w 148"/>
                <a:gd name="T69" fmla="*/ 126 h 263"/>
                <a:gd name="T70" fmla="*/ 30 w 148"/>
                <a:gd name="T71" fmla="*/ 115 h 263"/>
                <a:gd name="T72" fmla="*/ 36 w 148"/>
                <a:gd name="T73" fmla="*/ 110 h 263"/>
                <a:gd name="T74" fmla="*/ 41 w 148"/>
                <a:gd name="T75" fmla="*/ 115 h 263"/>
                <a:gd name="T76" fmla="*/ 41 w 148"/>
                <a:gd name="T77" fmla="*/ 238 h 263"/>
                <a:gd name="T78" fmla="*/ 55 w 148"/>
                <a:gd name="T79" fmla="*/ 252 h 263"/>
                <a:gd name="T80" fmla="*/ 69 w 148"/>
                <a:gd name="T81" fmla="*/ 238 h 263"/>
                <a:gd name="T82" fmla="*/ 74 w 148"/>
                <a:gd name="T83" fmla="*/ 232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48" h="263">
                  <a:moveTo>
                    <a:pt x="93" y="263"/>
                  </a:moveTo>
                  <a:cubicBezTo>
                    <a:pt x="85" y="263"/>
                    <a:pt x="79" y="259"/>
                    <a:pt x="74" y="253"/>
                  </a:cubicBezTo>
                  <a:cubicBezTo>
                    <a:pt x="70" y="259"/>
                    <a:pt x="63" y="263"/>
                    <a:pt x="55" y="263"/>
                  </a:cubicBezTo>
                  <a:cubicBezTo>
                    <a:pt x="41" y="263"/>
                    <a:pt x="30" y="251"/>
                    <a:pt x="30" y="238"/>
                  </a:cubicBezTo>
                  <a:cubicBezTo>
                    <a:pt x="30" y="134"/>
                    <a:pt x="30" y="134"/>
                    <a:pt x="30" y="134"/>
                  </a:cubicBezTo>
                  <a:cubicBezTo>
                    <a:pt x="28" y="135"/>
                    <a:pt x="25" y="136"/>
                    <a:pt x="23" y="137"/>
                  </a:cubicBezTo>
                  <a:cubicBezTo>
                    <a:pt x="17" y="137"/>
                    <a:pt x="11" y="135"/>
                    <a:pt x="7" y="131"/>
                  </a:cubicBezTo>
                  <a:cubicBezTo>
                    <a:pt x="2" y="127"/>
                    <a:pt x="0" y="122"/>
                    <a:pt x="0" y="11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32" y="0"/>
                    <a:pt x="148" y="16"/>
                    <a:pt x="148" y="36"/>
                  </a:cubicBezTo>
                  <a:cubicBezTo>
                    <a:pt x="148" y="116"/>
                    <a:pt x="148" y="116"/>
                    <a:pt x="148" y="116"/>
                  </a:cubicBezTo>
                  <a:cubicBezTo>
                    <a:pt x="148" y="122"/>
                    <a:pt x="146" y="127"/>
                    <a:pt x="141" y="131"/>
                  </a:cubicBezTo>
                  <a:cubicBezTo>
                    <a:pt x="137" y="135"/>
                    <a:pt x="131" y="137"/>
                    <a:pt x="126" y="137"/>
                  </a:cubicBezTo>
                  <a:cubicBezTo>
                    <a:pt x="123" y="136"/>
                    <a:pt x="120" y="135"/>
                    <a:pt x="118" y="134"/>
                  </a:cubicBezTo>
                  <a:cubicBezTo>
                    <a:pt x="118" y="238"/>
                    <a:pt x="118" y="238"/>
                    <a:pt x="118" y="238"/>
                  </a:cubicBezTo>
                  <a:cubicBezTo>
                    <a:pt x="118" y="251"/>
                    <a:pt x="107" y="263"/>
                    <a:pt x="93" y="263"/>
                  </a:cubicBezTo>
                  <a:close/>
                  <a:moveTo>
                    <a:pt x="74" y="232"/>
                  </a:moveTo>
                  <a:cubicBezTo>
                    <a:pt x="77" y="232"/>
                    <a:pt x="80" y="235"/>
                    <a:pt x="80" y="238"/>
                  </a:cubicBezTo>
                  <a:cubicBezTo>
                    <a:pt x="80" y="245"/>
                    <a:pt x="86" y="252"/>
                    <a:pt x="93" y="252"/>
                  </a:cubicBezTo>
                  <a:cubicBezTo>
                    <a:pt x="101" y="252"/>
                    <a:pt x="107" y="245"/>
                    <a:pt x="107" y="238"/>
                  </a:cubicBezTo>
                  <a:cubicBezTo>
                    <a:pt x="107" y="115"/>
                    <a:pt x="107" y="115"/>
                    <a:pt x="107" y="115"/>
                  </a:cubicBezTo>
                  <a:cubicBezTo>
                    <a:pt x="107" y="112"/>
                    <a:pt x="109" y="110"/>
                    <a:pt x="112" y="110"/>
                  </a:cubicBezTo>
                  <a:cubicBezTo>
                    <a:pt x="115" y="110"/>
                    <a:pt x="118" y="112"/>
                    <a:pt x="118" y="115"/>
                  </a:cubicBezTo>
                  <a:cubicBezTo>
                    <a:pt x="118" y="121"/>
                    <a:pt x="122" y="125"/>
                    <a:pt x="127" y="126"/>
                  </a:cubicBezTo>
                  <a:cubicBezTo>
                    <a:pt x="129" y="126"/>
                    <a:pt x="132" y="125"/>
                    <a:pt x="134" y="123"/>
                  </a:cubicBezTo>
                  <a:cubicBezTo>
                    <a:pt x="136" y="121"/>
                    <a:pt x="137" y="119"/>
                    <a:pt x="137" y="116"/>
                  </a:cubicBezTo>
                  <a:cubicBezTo>
                    <a:pt x="137" y="36"/>
                    <a:pt x="137" y="36"/>
                    <a:pt x="137" y="36"/>
                  </a:cubicBezTo>
                  <a:cubicBezTo>
                    <a:pt x="137" y="22"/>
                    <a:pt x="126" y="11"/>
                    <a:pt x="112" y="11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22" y="11"/>
                    <a:pt x="11" y="22"/>
                    <a:pt x="11" y="36"/>
                  </a:cubicBezTo>
                  <a:cubicBezTo>
                    <a:pt x="11" y="116"/>
                    <a:pt x="11" y="116"/>
                    <a:pt x="11" y="116"/>
                  </a:cubicBezTo>
                  <a:cubicBezTo>
                    <a:pt x="11" y="119"/>
                    <a:pt x="12" y="121"/>
                    <a:pt x="14" y="123"/>
                  </a:cubicBezTo>
                  <a:cubicBezTo>
                    <a:pt x="16" y="125"/>
                    <a:pt x="19" y="126"/>
                    <a:pt x="22" y="126"/>
                  </a:cubicBezTo>
                  <a:cubicBezTo>
                    <a:pt x="26" y="125"/>
                    <a:pt x="30" y="121"/>
                    <a:pt x="30" y="115"/>
                  </a:cubicBezTo>
                  <a:cubicBezTo>
                    <a:pt x="30" y="112"/>
                    <a:pt x="33" y="110"/>
                    <a:pt x="36" y="110"/>
                  </a:cubicBezTo>
                  <a:cubicBezTo>
                    <a:pt x="39" y="110"/>
                    <a:pt x="41" y="112"/>
                    <a:pt x="41" y="115"/>
                  </a:cubicBezTo>
                  <a:cubicBezTo>
                    <a:pt x="41" y="238"/>
                    <a:pt x="41" y="238"/>
                    <a:pt x="41" y="238"/>
                  </a:cubicBezTo>
                  <a:cubicBezTo>
                    <a:pt x="41" y="245"/>
                    <a:pt x="47" y="252"/>
                    <a:pt x="55" y="252"/>
                  </a:cubicBezTo>
                  <a:cubicBezTo>
                    <a:pt x="62" y="252"/>
                    <a:pt x="69" y="245"/>
                    <a:pt x="69" y="238"/>
                  </a:cubicBezTo>
                  <a:cubicBezTo>
                    <a:pt x="69" y="235"/>
                    <a:pt x="71" y="232"/>
                    <a:pt x="74" y="23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0" name="Freeform 1371">
              <a:extLst>
                <a:ext uri="{FF2B5EF4-FFF2-40B4-BE49-F238E27FC236}">
                  <a16:creationId xmlns:a16="http://schemas.microsoft.com/office/drawing/2014/main" id="{43B68D9A-5347-E056-3DAB-5D37999B1029}"/>
                </a:ext>
              </a:extLst>
            </p:cNvPr>
            <p:cNvSpPr>
              <a:spLocks/>
            </p:cNvSpPr>
            <p:nvPr/>
          </p:nvSpPr>
          <p:spPr bwMode="auto">
            <a:xfrm>
              <a:off x="-4137009" y="1066181"/>
              <a:ext cx="92075" cy="11113"/>
            </a:xfrm>
            <a:custGeom>
              <a:avLst/>
              <a:gdLst>
                <a:gd name="T0" fmla="*/ 82 w 88"/>
                <a:gd name="T1" fmla="*/ 11 h 11"/>
                <a:gd name="T2" fmla="*/ 6 w 88"/>
                <a:gd name="T3" fmla="*/ 11 h 11"/>
                <a:gd name="T4" fmla="*/ 0 w 88"/>
                <a:gd name="T5" fmla="*/ 5 h 11"/>
                <a:gd name="T6" fmla="*/ 6 w 88"/>
                <a:gd name="T7" fmla="*/ 0 h 11"/>
                <a:gd name="T8" fmla="*/ 82 w 88"/>
                <a:gd name="T9" fmla="*/ 0 h 11"/>
                <a:gd name="T10" fmla="*/ 88 w 88"/>
                <a:gd name="T11" fmla="*/ 5 h 11"/>
                <a:gd name="T12" fmla="*/ 82 w 88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8" h="11">
                  <a:moveTo>
                    <a:pt x="82" y="11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3" y="11"/>
                    <a:pt x="0" y="8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85" y="0"/>
                    <a:pt x="88" y="2"/>
                    <a:pt x="88" y="5"/>
                  </a:cubicBezTo>
                  <a:cubicBezTo>
                    <a:pt x="88" y="8"/>
                    <a:pt x="85" y="11"/>
                    <a:pt x="82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1" name="Freeform 1372">
              <a:extLst>
                <a:ext uri="{FF2B5EF4-FFF2-40B4-BE49-F238E27FC236}">
                  <a16:creationId xmlns:a16="http://schemas.microsoft.com/office/drawing/2014/main" id="{D480554C-2A20-F73E-4DAB-DDDDD9801227}"/>
                </a:ext>
              </a:extLst>
            </p:cNvPr>
            <p:cNvSpPr>
              <a:spLocks/>
            </p:cNvSpPr>
            <p:nvPr/>
          </p:nvSpPr>
          <p:spPr bwMode="auto">
            <a:xfrm>
              <a:off x="-4137017" y="1123332"/>
              <a:ext cx="12700" cy="68263"/>
            </a:xfrm>
            <a:custGeom>
              <a:avLst/>
              <a:gdLst>
                <a:gd name="T0" fmla="*/ 6 w 11"/>
                <a:gd name="T1" fmla="*/ 66 h 66"/>
                <a:gd name="T2" fmla="*/ 0 w 11"/>
                <a:gd name="T3" fmla="*/ 60 h 66"/>
                <a:gd name="T4" fmla="*/ 0 w 11"/>
                <a:gd name="T5" fmla="*/ 5 h 66"/>
                <a:gd name="T6" fmla="*/ 6 w 11"/>
                <a:gd name="T7" fmla="*/ 0 h 66"/>
                <a:gd name="T8" fmla="*/ 11 w 11"/>
                <a:gd name="T9" fmla="*/ 5 h 66"/>
                <a:gd name="T10" fmla="*/ 11 w 11"/>
                <a:gd name="T11" fmla="*/ 60 h 66"/>
                <a:gd name="T12" fmla="*/ 6 w 11"/>
                <a:gd name="T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66">
                  <a:moveTo>
                    <a:pt x="6" y="66"/>
                  </a:moveTo>
                  <a:cubicBezTo>
                    <a:pt x="3" y="66"/>
                    <a:pt x="0" y="63"/>
                    <a:pt x="0" y="6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1" y="2"/>
                    <a:pt x="11" y="5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11" y="63"/>
                    <a:pt x="9" y="66"/>
                    <a:pt x="6" y="6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2" name="Freeform 1373">
              <a:extLst>
                <a:ext uri="{FF2B5EF4-FFF2-40B4-BE49-F238E27FC236}">
                  <a16:creationId xmlns:a16="http://schemas.microsoft.com/office/drawing/2014/main" id="{12706165-7074-9DF5-D8D0-14541DAF1264}"/>
                </a:ext>
              </a:extLst>
            </p:cNvPr>
            <p:cNvSpPr>
              <a:spLocks/>
            </p:cNvSpPr>
            <p:nvPr/>
          </p:nvSpPr>
          <p:spPr bwMode="auto">
            <a:xfrm>
              <a:off x="-4056067" y="1123331"/>
              <a:ext cx="11113" cy="68263"/>
            </a:xfrm>
            <a:custGeom>
              <a:avLst/>
              <a:gdLst>
                <a:gd name="T0" fmla="*/ 5 w 11"/>
                <a:gd name="T1" fmla="*/ 66 h 66"/>
                <a:gd name="T2" fmla="*/ 0 w 11"/>
                <a:gd name="T3" fmla="*/ 60 h 66"/>
                <a:gd name="T4" fmla="*/ 0 w 11"/>
                <a:gd name="T5" fmla="*/ 5 h 66"/>
                <a:gd name="T6" fmla="*/ 5 w 11"/>
                <a:gd name="T7" fmla="*/ 0 h 66"/>
                <a:gd name="T8" fmla="*/ 11 w 11"/>
                <a:gd name="T9" fmla="*/ 5 h 66"/>
                <a:gd name="T10" fmla="*/ 11 w 11"/>
                <a:gd name="T11" fmla="*/ 60 h 66"/>
                <a:gd name="T12" fmla="*/ 5 w 11"/>
                <a:gd name="T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66">
                  <a:moveTo>
                    <a:pt x="5" y="66"/>
                  </a:moveTo>
                  <a:cubicBezTo>
                    <a:pt x="2" y="66"/>
                    <a:pt x="0" y="63"/>
                    <a:pt x="0" y="6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" y="0"/>
                    <a:pt x="11" y="2"/>
                    <a:pt x="11" y="5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11" y="63"/>
                    <a:pt x="8" y="66"/>
                    <a:pt x="5" y="6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3" name="Freeform 1374">
              <a:extLst>
                <a:ext uri="{FF2B5EF4-FFF2-40B4-BE49-F238E27FC236}">
                  <a16:creationId xmlns:a16="http://schemas.microsoft.com/office/drawing/2014/main" id="{7D7F79E1-80D8-C9DE-EC8E-2B9010AA51F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122738" y="989980"/>
              <a:ext cx="65088" cy="65088"/>
            </a:xfrm>
            <a:custGeom>
              <a:avLst/>
              <a:gdLst>
                <a:gd name="T0" fmla="*/ 31 w 62"/>
                <a:gd name="T1" fmla="*/ 62 h 62"/>
                <a:gd name="T2" fmla="*/ 0 w 62"/>
                <a:gd name="T3" fmla="*/ 31 h 62"/>
                <a:gd name="T4" fmla="*/ 31 w 62"/>
                <a:gd name="T5" fmla="*/ 0 h 62"/>
                <a:gd name="T6" fmla="*/ 62 w 62"/>
                <a:gd name="T7" fmla="*/ 31 h 62"/>
                <a:gd name="T8" fmla="*/ 31 w 62"/>
                <a:gd name="T9" fmla="*/ 62 h 62"/>
                <a:gd name="T10" fmla="*/ 31 w 62"/>
                <a:gd name="T11" fmla="*/ 11 h 62"/>
                <a:gd name="T12" fmla="*/ 11 w 62"/>
                <a:gd name="T13" fmla="*/ 31 h 62"/>
                <a:gd name="T14" fmla="*/ 31 w 62"/>
                <a:gd name="T15" fmla="*/ 51 h 62"/>
                <a:gd name="T16" fmla="*/ 51 w 62"/>
                <a:gd name="T17" fmla="*/ 31 h 62"/>
                <a:gd name="T18" fmla="*/ 31 w 62"/>
                <a:gd name="T19" fmla="*/ 11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2" h="62">
                  <a:moveTo>
                    <a:pt x="31" y="62"/>
                  </a:moveTo>
                  <a:cubicBezTo>
                    <a:pt x="14" y="62"/>
                    <a:pt x="0" y="48"/>
                    <a:pt x="0" y="31"/>
                  </a:cubicBezTo>
                  <a:cubicBezTo>
                    <a:pt x="0" y="14"/>
                    <a:pt x="14" y="0"/>
                    <a:pt x="31" y="0"/>
                  </a:cubicBezTo>
                  <a:cubicBezTo>
                    <a:pt x="48" y="0"/>
                    <a:pt x="62" y="14"/>
                    <a:pt x="62" y="31"/>
                  </a:cubicBezTo>
                  <a:cubicBezTo>
                    <a:pt x="62" y="48"/>
                    <a:pt x="48" y="62"/>
                    <a:pt x="31" y="62"/>
                  </a:cubicBezTo>
                  <a:close/>
                  <a:moveTo>
                    <a:pt x="31" y="11"/>
                  </a:moveTo>
                  <a:cubicBezTo>
                    <a:pt x="20" y="11"/>
                    <a:pt x="11" y="20"/>
                    <a:pt x="11" y="31"/>
                  </a:cubicBezTo>
                  <a:cubicBezTo>
                    <a:pt x="11" y="42"/>
                    <a:pt x="20" y="51"/>
                    <a:pt x="31" y="51"/>
                  </a:cubicBezTo>
                  <a:cubicBezTo>
                    <a:pt x="42" y="51"/>
                    <a:pt x="51" y="42"/>
                    <a:pt x="51" y="31"/>
                  </a:cubicBezTo>
                  <a:cubicBezTo>
                    <a:pt x="51" y="20"/>
                    <a:pt x="42" y="11"/>
                    <a:pt x="31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144" name="Shape47_20200717_142846">
            <a:extLst>
              <a:ext uri="{FF2B5EF4-FFF2-40B4-BE49-F238E27FC236}">
                <a16:creationId xmlns:a16="http://schemas.microsoft.com/office/drawing/2014/main" id="{56D016F6-9CE3-EF82-7FC1-C770AE9FAFC1}"/>
              </a:ext>
            </a:extLst>
          </p:cNvPr>
          <p:cNvGrpSpPr>
            <a:grpSpLocks noChangeAspect="1"/>
          </p:cNvGrpSpPr>
          <p:nvPr/>
        </p:nvGrpSpPr>
        <p:grpSpPr>
          <a:xfrm>
            <a:off x="535537" y="3880386"/>
            <a:ext cx="676475" cy="508546"/>
            <a:chOff x="-4314827" y="3377580"/>
            <a:chExt cx="447677" cy="336544"/>
          </a:xfrm>
          <a:solidFill>
            <a:schemeClr val="accent1"/>
          </a:solidFill>
        </p:grpSpPr>
        <p:sp>
          <p:nvSpPr>
            <p:cNvPr id="145" name="Freeform 1448">
              <a:extLst>
                <a:ext uri="{FF2B5EF4-FFF2-40B4-BE49-F238E27FC236}">
                  <a16:creationId xmlns:a16="http://schemas.microsoft.com/office/drawing/2014/main" id="{429D64A3-A74F-14A5-4CF7-4A0BD769152E}"/>
                </a:ext>
              </a:extLst>
            </p:cNvPr>
            <p:cNvSpPr>
              <a:spLocks/>
            </p:cNvSpPr>
            <p:nvPr/>
          </p:nvSpPr>
          <p:spPr bwMode="auto">
            <a:xfrm>
              <a:off x="-4008438" y="3428376"/>
              <a:ext cx="69850" cy="103188"/>
            </a:xfrm>
            <a:custGeom>
              <a:avLst/>
              <a:gdLst>
                <a:gd name="T0" fmla="*/ 33 w 68"/>
                <a:gd name="T1" fmla="*/ 100 h 100"/>
                <a:gd name="T2" fmla="*/ 1 w 68"/>
                <a:gd name="T3" fmla="*/ 84 h 100"/>
                <a:gd name="T4" fmla="*/ 3 w 68"/>
                <a:gd name="T5" fmla="*/ 77 h 100"/>
                <a:gd name="T6" fmla="*/ 10 w 68"/>
                <a:gd name="T7" fmla="*/ 78 h 100"/>
                <a:gd name="T8" fmla="*/ 47 w 68"/>
                <a:gd name="T9" fmla="*/ 86 h 100"/>
                <a:gd name="T10" fmla="*/ 48 w 68"/>
                <a:gd name="T11" fmla="*/ 86 h 100"/>
                <a:gd name="T12" fmla="*/ 56 w 68"/>
                <a:gd name="T13" fmla="*/ 71 h 100"/>
                <a:gd name="T14" fmla="*/ 44 w 68"/>
                <a:gd name="T15" fmla="*/ 57 h 100"/>
                <a:gd name="T16" fmla="*/ 20 w 68"/>
                <a:gd name="T17" fmla="*/ 50 h 100"/>
                <a:gd name="T18" fmla="*/ 1 w 68"/>
                <a:gd name="T19" fmla="*/ 25 h 100"/>
                <a:gd name="T20" fmla="*/ 9 w 68"/>
                <a:gd name="T21" fmla="*/ 8 h 100"/>
                <a:gd name="T22" fmla="*/ 34 w 68"/>
                <a:gd name="T23" fmla="*/ 0 h 100"/>
                <a:gd name="T24" fmla="*/ 67 w 68"/>
                <a:gd name="T25" fmla="*/ 23 h 100"/>
                <a:gd name="T26" fmla="*/ 63 w 68"/>
                <a:gd name="T27" fmla="*/ 29 h 100"/>
                <a:gd name="T28" fmla="*/ 56 w 68"/>
                <a:gd name="T29" fmla="*/ 26 h 100"/>
                <a:gd name="T30" fmla="*/ 34 w 68"/>
                <a:gd name="T31" fmla="*/ 11 h 100"/>
                <a:gd name="T32" fmla="*/ 16 w 68"/>
                <a:gd name="T33" fmla="*/ 16 h 100"/>
                <a:gd name="T34" fmla="*/ 12 w 68"/>
                <a:gd name="T35" fmla="*/ 25 h 100"/>
                <a:gd name="T36" fmla="*/ 23 w 68"/>
                <a:gd name="T37" fmla="*/ 39 h 100"/>
                <a:gd name="T38" fmla="*/ 47 w 68"/>
                <a:gd name="T39" fmla="*/ 46 h 100"/>
                <a:gd name="T40" fmla="*/ 66 w 68"/>
                <a:gd name="T41" fmla="*/ 70 h 100"/>
                <a:gd name="T42" fmla="*/ 52 w 68"/>
                <a:gd name="T43" fmla="*/ 96 h 100"/>
                <a:gd name="T44" fmla="*/ 33 w 68"/>
                <a:gd name="T45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8" h="100">
                  <a:moveTo>
                    <a:pt x="33" y="100"/>
                  </a:moveTo>
                  <a:cubicBezTo>
                    <a:pt x="23" y="100"/>
                    <a:pt x="11" y="96"/>
                    <a:pt x="1" y="84"/>
                  </a:cubicBezTo>
                  <a:cubicBezTo>
                    <a:pt x="0" y="82"/>
                    <a:pt x="0" y="78"/>
                    <a:pt x="3" y="77"/>
                  </a:cubicBezTo>
                  <a:cubicBezTo>
                    <a:pt x="5" y="75"/>
                    <a:pt x="8" y="75"/>
                    <a:pt x="10" y="78"/>
                  </a:cubicBezTo>
                  <a:cubicBezTo>
                    <a:pt x="25" y="97"/>
                    <a:pt x="47" y="86"/>
                    <a:pt x="47" y="86"/>
                  </a:cubicBezTo>
                  <a:cubicBezTo>
                    <a:pt x="48" y="86"/>
                    <a:pt x="48" y="86"/>
                    <a:pt x="48" y="86"/>
                  </a:cubicBezTo>
                  <a:cubicBezTo>
                    <a:pt x="49" y="85"/>
                    <a:pt x="56" y="82"/>
                    <a:pt x="56" y="71"/>
                  </a:cubicBezTo>
                  <a:cubicBezTo>
                    <a:pt x="55" y="60"/>
                    <a:pt x="44" y="57"/>
                    <a:pt x="44" y="57"/>
                  </a:cubicBezTo>
                  <a:cubicBezTo>
                    <a:pt x="44" y="57"/>
                    <a:pt x="32" y="53"/>
                    <a:pt x="20" y="50"/>
                  </a:cubicBezTo>
                  <a:cubicBezTo>
                    <a:pt x="7" y="46"/>
                    <a:pt x="1" y="38"/>
                    <a:pt x="1" y="25"/>
                  </a:cubicBezTo>
                  <a:cubicBezTo>
                    <a:pt x="1" y="18"/>
                    <a:pt x="4" y="12"/>
                    <a:pt x="9" y="8"/>
                  </a:cubicBezTo>
                  <a:cubicBezTo>
                    <a:pt x="14" y="3"/>
                    <a:pt x="23" y="0"/>
                    <a:pt x="34" y="0"/>
                  </a:cubicBezTo>
                  <a:cubicBezTo>
                    <a:pt x="55" y="1"/>
                    <a:pt x="64" y="15"/>
                    <a:pt x="67" y="23"/>
                  </a:cubicBezTo>
                  <a:cubicBezTo>
                    <a:pt x="67" y="26"/>
                    <a:pt x="66" y="29"/>
                    <a:pt x="63" y="29"/>
                  </a:cubicBezTo>
                  <a:cubicBezTo>
                    <a:pt x="60" y="30"/>
                    <a:pt x="57" y="29"/>
                    <a:pt x="56" y="26"/>
                  </a:cubicBezTo>
                  <a:cubicBezTo>
                    <a:pt x="56" y="25"/>
                    <a:pt x="51" y="12"/>
                    <a:pt x="34" y="11"/>
                  </a:cubicBezTo>
                  <a:cubicBezTo>
                    <a:pt x="26" y="11"/>
                    <a:pt x="20" y="13"/>
                    <a:pt x="16" y="16"/>
                  </a:cubicBezTo>
                  <a:cubicBezTo>
                    <a:pt x="13" y="18"/>
                    <a:pt x="12" y="22"/>
                    <a:pt x="12" y="25"/>
                  </a:cubicBezTo>
                  <a:cubicBezTo>
                    <a:pt x="12" y="31"/>
                    <a:pt x="13" y="36"/>
                    <a:pt x="23" y="39"/>
                  </a:cubicBezTo>
                  <a:cubicBezTo>
                    <a:pt x="35" y="43"/>
                    <a:pt x="47" y="46"/>
                    <a:pt x="47" y="46"/>
                  </a:cubicBezTo>
                  <a:cubicBezTo>
                    <a:pt x="47" y="46"/>
                    <a:pt x="65" y="52"/>
                    <a:pt x="66" y="70"/>
                  </a:cubicBezTo>
                  <a:cubicBezTo>
                    <a:pt x="68" y="85"/>
                    <a:pt x="58" y="93"/>
                    <a:pt x="52" y="96"/>
                  </a:cubicBezTo>
                  <a:cubicBezTo>
                    <a:pt x="48" y="98"/>
                    <a:pt x="41" y="100"/>
                    <a:pt x="33" y="10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6" name="Freeform 1449">
              <a:extLst>
                <a:ext uri="{FF2B5EF4-FFF2-40B4-BE49-F238E27FC236}">
                  <a16:creationId xmlns:a16="http://schemas.microsoft.com/office/drawing/2014/main" id="{D59751AC-986E-A420-66DE-08ABE5A7AEB3}"/>
                </a:ext>
              </a:extLst>
            </p:cNvPr>
            <p:cNvSpPr>
              <a:spLocks/>
            </p:cNvSpPr>
            <p:nvPr/>
          </p:nvSpPr>
          <p:spPr bwMode="auto">
            <a:xfrm>
              <a:off x="-3978276" y="3409326"/>
              <a:ext cx="11113" cy="30163"/>
            </a:xfrm>
            <a:custGeom>
              <a:avLst/>
              <a:gdLst>
                <a:gd name="T0" fmla="*/ 5 w 11"/>
                <a:gd name="T1" fmla="*/ 29 h 29"/>
                <a:gd name="T2" fmla="*/ 0 w 11"/>
                <a:gd name="T3" fmla="*/ 24 h 29"/>
                <a:gd name="T4" fmla="*/ 0 w 11"/>
                <a:gd name="T5" fmla="*/ 5 h 29"/>
                <a:gd name="T6" fmla="*/ 5 w 11"/>
                <a:gd name="T7" fmla="*/ 0 h 29"/>
                <a:gd name="T8" fmla="*/ 11 w 11"/>
                <a:gd name="T9" fmla="*/ 5 h 29"/>
                <a:gd name="T10" fmla="*/ 11 w 11"/>
                <a:gd name="T11" fmla="*/ 24 h 29"/>
                <a:gd name="T12" fmla="*/ 5 w 11"/>
                <a:gd name="T13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9">
                  <a:moveTo>
                    <a:pt x="5" y="29"/>
                  </a:moveTo>
                  <a:cubicBezTo>
                    <a:pt x="2" y="29"/>
                    <a:pt x="0" y="27"/>
                    <a:pt x="0" y="2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" y="0"/>
                    <a:pt x="11" y="2"/>
                    <a:pt x="11" y="5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1" y="27"/>
                    <a:pt x="8" y="29"/>
                    <a:pt x="5" y="2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7" name="Freeform 1450">
              <a:extLst>
                <a:ext uri="{FF2B5EF4-FFF2-40B4-BE49-F238E27FC236}">
                  <a16:creationId xmlns:a16="http://schemas.microsoft.com/office/drawing/2014/main" id="{0A434BCF-DA2A-F119-77FB-99D1424DCA0B}"/>
                </a:ext>
              </a:extLst>
            </p:cNvPr>
            <p:cNvSpPr>
              <a:spLocks/>
            </p:cNvSpPr>
            <p:nvPr/>
          </p:nvSpPr>
          <p:spPr bwMode="auto">
            <a:xfrm>
              <a:off x="-3978276" y="3522039"/>
              <a:ext cx="11113" cy="30163"/>
            </a:xfrm>
            <a:custGeom>
              <a:avLst/>
              <a:gdLst>
                <a:gd name="T0" fmla="*/ 5 w 11"/>
                <a:gd name="T1" fmla="*/ 30 h 30"/>
                <a:gd name="T2" fmla="*/ 0 w 11"/>
                <a:gd name="T3" fmla="*/ 24 h 30"/>
                <a:gd name="T4" fmla="*/ 0 w 11"/>
                <a:gd name="T5" fmla="*/ 6 h 30"/>
                <a:gd name="T6" fmla="*/ 5 w 11"/>
                <a:gd name="T7" fmla="*/ 0 h 30"/>
                <a:gd name="T8" fmla="*/ 11 w 11"/>
                <a:gd name="T9" fmla="*/ 6 h 30"/>
                <a:gd name="T10" fmla="*/ 11 w 11"/>
                <a:gd name="T11" fmla="*/ 24 h 30"/>
                <a:gd name="T12" fmla="*/ 5 w 11"/>
                <a:gd name="T13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30">
                  <a:moveTo>
                    <a:pt x="5" y="30"/>
                  </a:moveTo>
                  <a:cubicBezTo>
                    <a:pt x="2" y="30"/>
                    <a:pt x="0" y="27"/>
                    <a:pt x="0" y="2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8" y="0"/>
                    <a:pt x="11" y="3"/>
                    <a:pt x="11" y="6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1" y="27"/>
                    <a:pt x="8" y="30"/>
                    <a:pt x="5" y="3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8" name="Freeform 1451">
              <a:extLst>
                <a:ext uri="{FF2B5EF4-FFF2-40B4-BE49-F238E27FC236}">
                  <a16:creationId xmlns:a16="http://schemas.microsoft.com/office/drawing/2014/main" id="{C3A0655A-3351-DD83-CA51-96AC726D15B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313237" y="3477587"/>
              <a:ext cx="344488" cy="236537"/>
            </a:xfrm>
            <a:custGeom>
              <a:avLst/>
              <a:gdLst>
                <a:gd name="T0" fmla="*/ 328 w 333"/>
                <a:gd name="T1" fmla="*/ 228 h 228"/>
                <a:gd name="T2" fmla="*/ 5 w 333"/>
                <a:gd name="T3" fmla="*/ 228 h 228"/>
                <a:gd name="T4" fmla="*/ 0 w 333"/>
                <a:gd name="T5" fmla="*/ 222 h 228"/>
                <a:gd name="T6" fmla="*/ 0 w 333"/>
                <a:gd name="T7" fmla="*/ 6 h 228"/>
                <a:gd name="T8" fmla="*/ 3 w 333"/>
                <a:gd name="T9" fmla="*/ 1 h 228"/>
                <a:gd name="T10" fmla="*/ 9 w 333"/>
                <a:gd name="T11" fmla="*/ 2 h 228"/>
                <a:gd name="T12" fmla="*/ 166 w 333"/>
                <a:gd name="T13" fmla="*/ 146 h 228"/>
                <a:gd name="T14" fmla="*/ 252 w 333"/>
                <a:gd name="T15" fmla="*/ 68 h 228"/>
                <a:gd name="T16" fmla="*/ 260 w 333"/>
                <a:gd name="T17" fmla="*/ 68 h 228"/>
                <a:gd name="T18" fmla="*/ 328 w 333"/>
                <a:gd name="T19" fmla="*/ 98 h 228"/>
                <a:gd name="T20" fmla="*/ 333 w 333"/>
                <a:gd name="T21" fmla="*/ 104 h 228"/>
                <a:gd name="T22" fmla="*/ 333 w 333"/>
                <a:gd name="T23" fmla="*/ 222 h 228"/>
                <a:gd name="T24" fmla="*/ 328 w 333"/>
                <a:gd name="T25" fmla="*/ 228 h 228"/>
                <a:gd name="T26" fmla="*/ 18 w 333"/>
                <a:gd name="T27" fmla="*/ 217 h 228"/>
                <a:gd name="T28" fmla="*/ 314 w 333"/>
                <a:gd name="T29" fmla="*/ 217 h 228"/>
                <a:gd name="T30" fmla="*/ 210 w 333"/>
                <a:gd name="T31" fmla="*/ 121 h 228"/>
                <a:gd name="T32" fmla="*/ 170 w 333"/>
                <a:gd name="T33" fmla="*/ 157 h 228"/>
                <a:gd name="T34" fmla="*/ 163 w 333"/>
                <a:gd name="T35" fmla="*/ 157 h 228"/>
                <a:gd name="T36" fmla="*/ 123 w 333"/>
                <a:gd name="T37" fmla="*/ 121 h 228"/>
                <a:gd name="T38" fmla="*/ 18 w 333"/>
                <a:gd name="T39" fmla="*/ 217 h 228"/>
                <a:gd name="T40" fmla="*/ 11 w 333"/>
                <a:gd name="T41" fmla="*/ 19 h 228"/>
                <a:gd name="T42" fmla="*/ 11 w 333"/>
                <a:gd name="T43" fmla="*/ 209 h 228"/>
                <a:gd name="T44" fmla="*/ 115 w 333"/>
                <a:gd name="T45" fmla="*/ 114 h 228"/>
                <a:gd name="T46" fmla="*/ 11 w 333"/>
                <a:gd name="T47" fmla="*/ 19 h 228"/>
                <a:gd name="T48" fmla="*/ 218 w 333"/>
                <a:gd name="T49" fmla="*/ 114 h 228"/>
                <a:gd name="T50" fmla="*/ 322 w 333"/>
                <a:gd name="T51" fmla="*/ 209 h 228"/>
                <a:gd name="T52" fmla="*/ 322 w 333"/>
                <a:gd name="T53" fmla="*/ 109 h 228"/>
                <a:gd name="T54" fmla="*/ 256 w 333"/>
                <a:gd name="T55" fmla="*/ 80 h 228"/>
                <a:gd name="T56" fmla="*/ 218 w 333"/>
                <a:gd name="T57" fmla="*/ 114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33" h="228">
                  <a:moveTo>
                    <a:pt x="328" y="228"/>
                  </a:moveTo>
                  <a:cubicBezTo>
                    <a:pt x="5" y="228"/>
                    <a:pt x="5" y="228"/>
                    <a:pt x="5" y="228"/>
                  </a:cubicBezTo>
                  <a:cubicBezTo>
                    <a:pt x="2" y="228"/>
                    <a:pt x="0" y="225"/>
                    <a:pt x="0" y="22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1" y="2"/>
                    <a:pt x="3" y="1"/>
                  </a:cubicBezTo>
                  <a:cubicBezTo>
                    <a:pt x="5" y="0"/>
                    <a:pt x="7" y="1"/>
                    <a:pt x="9" y="2"/>
                  </a:cubicBezTo>
                  <a:cubicBezTo>
                    <a:pt x="166" y="146"/>
                    <a:pt x="166" y="146"/>
                    <a:pt x="166" y="146"/>
                  </a:cubicBezTo>
                  <a:cubicBezTo>
                    <a:pt x="252" y="68"/>
                    <a:pt x="252" y="68"/>
                    <a:pt x="252" y="68"/>
                  </a:cubicBezTo>
                  <a:cubicBezTo>
                    <a:pt x="254" y="66"/>
                    <a:pt x="258" y="66"/>
                    <a:pt x="260" y="68"/>
                  </a:cubicBezTo>
                  <a:cubicBezTo>
                    <a:pt x="277" y="87"/>
                    <a:pt x="302" y="98"/>
                    <a:pt x="328" y="98"/>
                  </a:cubicBezTo>
                  <a:cubicBezTo>
                    <a:pt x="331" y="98"/>
                    <a:pt x="333" y="101"/>
                    <a:pt x="333" y="104"/>
                  </a:cubicBezTo>
                  <a:cubicBezTo>
                    <a:pt x="333" y="222"/>
                    <a:pt x="333" y="222"/>
                    <a:pt x="333" y="222"/>
                  </a:cubicBezTo>
                  <a:cubicBezTo>
                    <a:pt x="333" y="225"/>
                    <a:pt x="331" y="228"/>
                    <a:pt x="328" y="228"/>
                  </a:cubicBezTo>
                  <a:close/>
                  <a:moveTo>
                    <a:pt x="18" y="217"/>
                  </a:moveTo>
                  <a:cubicBezTo>
                    <a:pt x="314" y="217"/>
                    <a:pt x="314" y="217"/>
                    <a:pt x="314" y="217"/>
                  </a:cubicBezTo>
                  <a:cubicBezTo>
                    <a:pt x="210" y="121"/>
                    <a:pt x="210" y="121"/>
                    <a:pt x="210" y="121"/>
                  </a:cubicBezTo>
                  <a:cubicBezTo>
                    <a:pt x="170" y="157"/>
                    <a:pt x="170" y="157"/>
                    <a:pt x="170" y="157"/>
                  </a:cubicBezTo>
                  <a:cubicBezTo>
                    <a:pt x="168" y="159"/>
                    <a:pt x="165" y="159"/>
                    <a:pt x="163" y="157"/>
                  </a:cubicBezTo>
                  <a:cubicBezTo>
                    <a:pt x="123" y="121"/>
                    <a:pt x="123" y="121"/>
                    <a:pt x="123" y="121"/>
                  </a:cubicBezTo>
                  <a:lnTo>
                    <a:pt x="18" y="217"/>
                  </a:lnTo>
                  <a:close/>
                  <a:moveTo>
                    <a:pt x="11" y="19"/>
                  </a:moveTo>
                  <a:cubicBezTo>
                    <a:pt x="11" y="209"/>
                    <a:pt x="11" y="209"/>
                    <a:pt x="11" y="209"/>
                  </a:cubicBezTo>
                  <a:cubicBezTo>
                    <a:pt x="115" y="114"/>
                    <a:pt x="115" y="114"/>
                    <a:pt x="115" y="114"/>
                  </a:cubicBezTo>
                  <a:lnTo>
                    <a:pt x="11" y="19"/>
                  </a:lnTo>
                  <a:close/>
                  <a:moveTo>
                    <a:pt x="218" y="114"/>
                  </a:moveTo>
                  <a:cubicBezTo>
                    <a:pt x="322" y="209"/>
                    <a:pt x="322" y="209"/>
                    <a:pt x="322" y="209"/>
                  </a:cubicBezTo>
                  <a:cubicBezTo>
                    <a:pt x="322" y="109"/>
                    <a:pt x="322" y="109"/>
                    <a:pt x="322" y="109"/>
                  </a:cubicBezTo>
                  <a:cubicBezTo>
                    <a:pt x="297" y="108"/>
                    <a:pt x="273" y="97"/>
                    <a:pt x="256" y="80"/>
                  </a:cubicBezTo>
                  <a:lnTo>
                    <a:pt x="218" y="11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9" name="Freeform 1452">
              <a:extLst>
                <a:ext uri="{FF2B5EF4-FFF2-40B4-BE49-F238E27FC236}">
                  <a16:creationId xmlns:a16="http://schemas.microsoft.com/office/drawing/2014/main" id="{59CD73E1-C774-B8E2-83AA-68908FCAC60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314827" y="3477591"/>
              <a:ext cx="271463" cy="165100"/>
            </a:xfrm>
            <a:custGeom>
              <a:avLst/>
              <a:gdLst>
                <a:gd name="T0" fmla="*/ 167 w 262"/>
                <a:gd name="T1" fmla="*/ 158 h 158"/>
                <a:gd name="T2" fmla="*/ 164 w 262"/>
                <a:gd name="T3" fmla="*/ 156 h 158"/>
                <a:gd name="T4" fmla="*/ 3 w 262"/>
                <a:gd name="T5" fmla="*/ 9 h 158"/>
                <a:gd name="T6" fmla="*/ 1 w 262"/>
                <a:gd name="T7" fmla="*/ 3 h 158"/>
                <a:gd name="T8" fmla="*/ 6 w 262"/>
                <a:gd name="T9" fmla="*/ 0 h 158"/>
                <a:gd name="T10" fmla="*/ 231 w 262"/>
                <a:gd name="T11" fmla="*/ 0 h 158"/>
                <a:gd name="T12" fmla="*/ 237 w 262"/>
                <a:gd name="T13" fmla="*/ 5 h 158"/>
                <a:gd name="T14" fmla="*/ 261 w 262"/>
                <a:gd name="T15" fmla="*/ 67 h 158"/>
                <a:gd name="T16" fmla="*/ 262 w 262"/>
                <a:gd name="T17" fmla="*/ 71 h 158"/>
                <a:gd name="T18" fmla="*/ 260 w 262"/>
                <a:gd name="T19" fmla="*/ 75 h 158"/>
                <a:gd name="T20" fmla="*/ 171 w 262"/>
                <a:gd name="T21" fmla="*/ 156 h 158"/>
                <a:gd name="T22" fmla="*/ 167 w 262"/>
                <a:gd name="T23" fmla="*/ 158 h 158"/>
                <a:gd name="T24" fmla="*/ 20 w 262"/>
                <a:gd name="T25" fmla="*/ 11 h 158"/>
                <a:gd name="T26" fmla="*/ 167 w 262"/>
                <a:gd name="T27" fmla="*/ 145 h 158"/>
                <a:gd name="T28" fmla="*/ 249 w 262"/>
                <a:gd name="T29" fmla="*/ 70 h 158"/>
                <a:gd name="T30" fmla="*/ 226 w 262"/>
                <a:gd name="T31" fmla="*/ 11 h 158"/>
                <a:gd name="T32" fmla="*/ 20 w 262"/>
                <a:gd name="T33" fmla="*/ 11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62" h="158">
                  <a:moveTo>
                    <a:pt x="167" y="158"/>
                  </a:moveTo>
                  <a:cubicBezTo>
                    <a:pt x="166" y="158"/>
                    <a:pt x="165" y="157"/>
                    <a:pt x="164" y="156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1" y="8"/>
                    <a:pt x="0" y="5"/>
                    <a:pt x="1" y="3"/>
                  </a:cubicBezTo>
                  <a:cubicBezTo>
                    <a:pt x="2" y="1"/>
                    <a:pt x="4" y="0"/>
                    <a:pt x="6" y="0"/>
                  </a:cubicBezTo>
                  <a:cubicBezTo>
                    <a:pt x="231" y="0"/>
                    <a:pt x="231" y="0"/>
                    <a:pt x="231" y="0"/>
                  </a:cubicBezTo>
                  <a:cubicBezTo>
                    <a:pt x="234" y="0"/>
                    <a:pt x="237" y="2"/>
                    <a:pt x="237" y="5"/>
                  </a:cubicBezTo>
                  <a:cubicBezTo>
                    <a:pt x="237" y="28"/>
                    <a:pt x="245" y="50"/>
                    <a:pt x="261" y="67"/>
                  </a:cubicBezTo>
                  <a:cubicBezTo>
                    <a:pt x="262" y="68"/>
                    <a:pt x="262" y="70"/>
                    <a:pt x="262" y="71"/>
                  </a:cubicBezTo>
                  <a:cubicBezTo>
                    <a:pt x="262" y="73"/>
                    <a:pt x="262" y="74"/>
                    <a:pt x="260" y="75"/>
                  </a:cubicBezTo>
                  <a:cubicBezTo>
                    <a:pt x="171" y="156"/>
                    <a:pt x="171" y="156"/>
                    <a:pt x="171" y="156"/>
                  </a:cubicBezTo>
                  <a:cubicBezTo>
                    <a:pt x="170" y="157"/>
                    <a:pt x="169" y="158"/>
                    <a:pt x="167" y="158"/>
                  </a:cubicBezTo>
                  <a:close/>
                  <a:moveTo>
                    <a:pt x="20" y="11"/>
                  </a:moveTo>
                  <a:cubicBezTo>
                    <a:pt x="167" y="145"/>
                    <a:pt x="167" y="145"/>
                    <a:pt x="167" y="145"/>
                  </a:cubicBezTo>
                  <a:cubicBezTo>
                    <a:pt x="249" y="70"/>
                    <a:pt x="249" y="70"/>
                    <a:pt x="249" y="70"/>
                  </a:cubicBezTo>
                  <a:cubicBezTo>
                    <a:pt x="235" y="53"/>
                    <a:pt x="227" y="33"/>
                    <a:pt x="226" y="11"/>
                  </a:cubicBezTo>
                  <a:lnTo>
                    <a:pt x="20" y="1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0" name="Freeform 1453">
              <a:extLst>
                <a:ext uri="{FF2B5EF4-FFF2-40B4-BE49-F238E27FC236}">
                  <a16:creationId xmlns:a16="http://schemas.microsoft.com/office/drawing/2014/main" id="{78DB935D-64CB-D25E-0E1B-3E3BD09CB5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079875" y="3377580"/>
              <a:ext cx="212725" cy="212725"/>
            </a:xfrm>
            <a:custGeom>
              <a:avLst/>
              <a:gdLst>
                <a:gd name="T0" fmla="*/ 103 w 205"/>
                <a:gd name="T1" fmla="*/ 205 h 205"/>
                <a:gd name="T2" fmla="*/ 27 w 205"/>
                <a:gd name="T3" fmla="*/ 172 h 205"/>
                <a:gd name="T4" fmla="*/ 0 w 205"/>
                <a:gd name="T5" fmla="*/ 102 h 205"/>
                <a:gd name="T6" fmla="*/ 103 w 205"/>
                <a:gd name="T7" fmla="*/ 0 h 205"/>
                <a:gd name="T8" fmla="*/ 205 w 205"/>
                <a:gd name="T9" fmla="*/ 102 h 205"/>
                <a:gd name="T10" fmla="*/ 103 w 205"/>
                <a:gd name="T11" fmla="*/ 205 h 205"/>
                <a:gd name="T12" fmla="*/ 103 w 205"/>
                <a:gd name="T13" fmla="*/ 11 h 205"/>
                <a:gd name="T14" fmla="*/ 11 w 205"/>
                <a:gd name="T15" fmla="*/ 102 h 205"/>
                <a:gd name="T16" fmla="*/ 35 w 205"/>
                <a:gd name="T17" fmla="*/ 164 h 205"/>
                <a:gd name="T18" fmla="*/ 103 w 205"/>
                <a:gd name="T19" fmla="*/ 194 h 205"/>
                <a:gd name="T20" fmla="*/ 194 w 205"/>
                <a:gd name="T21" fmla="*/ 102 h 205"/>
                <a:gd name="T22" fmla="*/ 103 w 205"/>
                <a:gd name="T23" fmla="*/ 11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05" h="205">
                  <a:moveTo>
                    <a:pt x="103" y="205"/>
                  </a:moveTo>
                  <a:cubicBezTo>
                    <a:pt x="74" y="205"/>
                    <a:pt x="46" y="193"/>
                    <a:pt x="27" y="172"/>
                  </a:cubicBezTo>
                  <a:cubicBezTo>
                    <a:pt x="9" y="153"/>
                    <a:pt x="0" y="128"/>
                    <a:pt x="0" y="102"/>
                  </a:cubicBezTo>
                  <a:cubicBezTo>
                    <a:pt x="0" y="46"/>
                    <a:pt x="46" y="0"/>
                    <a:pt x="103" y="0"/>
                  </a:cubicBezTo>
                  <a:cubicBezTo>
                    <a:pt x="159" y="0"/>
                    <a:pt x="205" y="46"/>
                    <a:pt x="205" y="102"/>
                  </a:cubicBezTo>
                  <a:cubicBezTo>
                    <a:pt x="205" y="159"/>
                    <a:pt x="159" y="205"/>
                    <a:pt x="103" y="205"/>
                  </a:cubicBezTo>
                  <a:close/>
                  <a:moveTo>
                    <a:pt x="103" y="11"/>
                  </a:moveTo>
                  <a:cubicBezTo>
                    <a:pt x="52" y="11"/>
                    <a:pt x="11" y="52"/>
                    <a:pt x="11" y="102"/>
                  </a:cubicBezTo>
                  <a:cubicBezTo>
                    <a:pt x="11" y="125"/>
                    <a:pt x="19" y="147"/>
                    <a:pt x="35" y="164"/>
                  </a:cubicBezTo>
                  <a:cubicBezTo>
                    <a:pt x="52" y="183"/>
                    <a:pt x="77" y="194"/>
                    <a:pt x="103" y="194"/>
                  </a:cubicBezTo>
                  <a:cubicBezTo>
                    <a:pt x="153" y="194"/>
                    <a:pt x="194" y="153"/>
                    <a:pt x="194" y="102"/>
                  </a:cubicBezTo>
                  <a:cubicBezTo>
                    <a:pt x="194" y="52"/>
                    <a:pt x="153" y="11"/>
                    <a:pt x="10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151" name="Shape54_20200717_142846">
            <a:extLst>
              <a:ext uri="{FF2B5EF4-FFF2-40B4-BE49-F238E27FC236}">
                <a16:creationId xmlns:a16="http://schemas.microsoft.com/office/drawing/2014/main" id="{386BE395-0EB2-C7E5-B69C-114A9C681B22}"/>
              </a:ext>
            </a:extLst>
          </p:cNvPr>
          <p:cNvGrpSpPr>
            <a:grpSpLocks noChangeAspect="1"/>
          </p:cNvGrpSpPr>
          <p:nvPr/>
        </p:nvGrpSpPr>
        <p:grpSpPr>
          <a:xfrm>
            <a:off x="608700" y="2565229"/>
            <a:ext cx="530131" cy="527748"/>
            <a:chOff x="-2055801" y="1783731"/>
            <a:chExt cx="350826" cy="349251"/>
          </a:xfrm>
          <a:solidFill>
            <a:schemeClr val="accent1"/>
          </a:solidFill>
        </p:grpSpPr>
        <p:sp>
          <p:nvSpPr>
            <p:cNvPr id="152" name="Freeform 1522">
              <a:extLst>
                <a:ext uri="{FF2B5EF4-FFF2-40B4-BE49-F238E27FC236}">
                  <a16:creationId xmlns:a16="http://schemas.microsoft.com/office/drawing/2014/main" id="{595528BF-A3B1-40E9-932C-B90D599C46AF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84363" y="2004394"/>
              <a:ext cx="11113" cy="107950"/>
            </a:xfrm>
            <a:custGeom>
              <a:avLst/>
              <a:gdLst>
                <a:gd name="T0" fmla="*/ 5 w 11"/>
                <a:gd name="T1" fmla="*/ 104 h 104"/>
                <a:gd name="T2" fmla="*/ 0 w 11"/>
                <a:gd name="T3" fmla="*/ 98 h 104"/>
                <a:gd name="T4" fmla="*/ 0 w 11"/>
                <a:gd name="T5" fmla="*/ 6 h 104"/>
                <a:gd name="T6" fmla="*/ 5 w 11"/>
                <a:gd name="T7" fmla="*/ 0 h 104"/>
                <a:gd name="T8" fmla="*/ 11 w 11"/>
                <a:gd name="T9" fmla="*/ 6 h 104"/>
                <a:gd name="T10" fmla="*/ 11 w 11"/>
                <a:gd name="T11" fmla="*/ 98 h 104"/>
                <a:gd name="T12" fmla="*/ 5 w 11"/>
                <a:gd name="T13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104">
                  <a:moveTo>
                    <a:pt x="5" y="104"/>
                  </a:moveTo>
                  <a:cubicBezTo>
                    <a:pt x="2" y="104"/>
                    <a:pt x="0" y="101"/>
                    <a:pt x="0" y="9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8" y="0"/>
                    <a:pt x="11" y="3"/>
                    <a:pt x="11" y="6"/>
                  </a:cubicBezTo>
                  <a:cubicBezTo>
                    <a:pt x="11" y="98"/>
                    <a:pt x="11" y="98"/>
                    <a:pt x="11" y="98"/>
                  </a:cubicBezTo>
                  <a:cubicBezTo>
                    <a:pt x="11" y="101"/>
                    <a:pt x="8" y="104"/>
                    <a:pt x="5" y="10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3" name="Freeform 1523">
              <a:extLst>
                <a:ext uri="{FF2B5EF4-FFF2-40B4-BE49-F238E27FC236}">
                  <a16:creationId xmlns:a16="http://schemas.microsoft.com/office/drawing/2014/main" id="{D63A8908-982E-DB3C-A415-6826B82793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055801" y="1858344"/>
              <a:ext cx="220662" cy="274638"/>
            </a:xfrm>
            <a:custGeom>
              <a:avLst/>
              <a:gdLst>
                <a:gd name="T0" fmla="*/ 93 w 214"/>
                <a:gd name="T1" fmla="*/ 263 h 264"/>
                <a:gd name="T2" fmla="*/ 77 w 214"/>
                <a:gd name="T3" fmla="*/ 257 h 264"/>
                <a:gd name="T4" fmla="*/ 74 w 214"/>
                <a:gd name="T5" fmla="*/ 254 h 264"/>
                <a:gd name="T6" fmla="*/ 71 w 214"/>
                <a:gd name="T7" fmla="*/ 257 h 264"/>
                <a:gd name="T8" fmla="*/ 52 w 214"/>
                <a:gd name="T9" fmla="*/ 263 h 264"/>
                <a:gd name="T10" fmla="*/ 30 w 214"/>
                <a:gd name="T11" fmla="*/ 238 h 264"/>
                <a:gd name="T12" fmla="*/ 30 w 214"/>
                <a:gd name="T13" fmla="*/ 135 h 264"/>
                <a:gd name="T14" fmla="*/ 23 w 214"/>
                <a:gd name="T15" fmla="*/ 137 h 264"/>
                <a:gd name="T16" fmla="*/ 7 w 214"/>
                <a:gd name="T17" fmla="*/ 132 h 264"/>
                <a:gd name="T18" fmla="*/ 0 w 214"/>
                <a:gd name="T19" fmla="*/ 116 h 264"/>
                <a:gd name="T20" fmla="*/ 0 w 214"/>
                <a:gd name="T21" fmla="*/ 36 h 264"/>
                <a:gd name="T22" fmla="*/ 36 w 214"/>
                <a:gd name="T23" fmla="*/ 0 h 264"/>
                <a:gd name="T24" fmla="*/ 112 w 214"/>
                <a:gd name="T25" fmla="*/ 0 h 264"/>
                <a:gd name="T26" fmla="*/ 133 w 214"/>
                <a:gd name="T27" fmla="*/ 8 h 264"/>
                <a:gd name="T28" fmla="*/ 166 w 214"/>
                <a:gd name="T29" fmla="*/ 33 h 264"/>
                <a:gd name="T30" fmla="*/ 200 w 214"/>
                <a:gd name="T31" fmla="*/ 44 h 264"/>
                <a:gd name="T32" fmla="*/ 211 w 214"/>
                <a:gd name="T33" fmla="*/ 54 h 264"/>
                <a:gd name="T34" fmla="*/ 212 w 214"/>
                <a:gd name="T35" fmla="*/ 69 h 264"/>
                <a:gd name="T36" fmla="*/ 190 w 214"/>
                <a:gd name="T37" fmla="*/ 81 h 264"/>
                <a:gd name="T38" fmla="*/ 170 w 214"/>
                <a:gd name="T39" fmla="*/ 77 h 264"/>
                <a:gd name="T40" fmla="*/ 133 w 214"/>
                <a:gd name="T41" fmla="*/ 65 h 264"/>
                <a:gd name="T42" fmla="*/ 118 w 214"/>
                <a:gd name="T43" fmla="*/ 58 h 264"/>
                <a:gd name="T44" fmla="*/ 118 w 214"/>
                <a:gd name="T45" fmla="*/ 115 h 264"/>
                <a:gd name="T46" fmla="*/ 118 w 214"/>
                <a:gd name="T47" fmla="*/ 116 h 264"/>
                <a:gd name="T48" fmla="*/ 118 w 214"/>
                <a:gd name="T49" fmla="*/ 238 h 264"/>
                <a:gd name="T50" fmla="*/ 96 w 214"/>
                <a:gd name="T51" fmla="*/ 263 h 264"/>
                <a:gd name="T52" fmla="*/ 93 w 214"/>
                <a:gd name="T53" fmla="*/ 263 h 264"/>
                <a:gd name="T54" fmla="*/ 80 w 214"/>
                <a:gd name="T55" fmla="*/ 238 h 264"/>
                <a:gd name="T56" fmla="*/ 84 w 214"/>
                <a:gd name="T57" fmla="*/ 249 h 264"/>
                <a:gd name="T58" fmla="*/ 95 w 214"/>
                <a:gd name="T59" fmla="*/ 252 h 264"/>
                <a:gd name="T60" fmla="*/ 107 w 214"/>
                <a:gd name="T61" fmla="*/ 238 h 264"/>
                <a:gd name="T62" fmla="*/ 107 w 214"/>
                <a:gd name="T63" fmla="*/ 116 h 264"/>
                <a:gd name="T64" fmla="*/ 107 w 214"/>
                <a:gd name="T65" fmla="*/ 116 h 264"/>
                <a:gd name="T66" fmla="*/ 107 w 214"/>
                <a:gd name="T67" fmla="*/ 50 h 264"/>
                <a:gd name="T68" fmla="*/ 109 w 214"/>
                <a:gd name="T69" fmla="*/ 45 h 264"/>
                <a:gd name="T70" fmla="*/ 115 w 214"/>
                <a:gd name="T71" fmla="*/ 45 h 264"/>
                <a:gd name="T72" fmla="*/ 137 w 214"/>
                <a:gd name="T73" fmla="*/ 55 h 264"/>
                <a:gd name="T74" fmla="*/ 172 w 214"/>
                <a:gd name="T75" fmla="*/ 66 h 264"/>
                <a:gd name="T76" fmla="*/ 193 w 214"/>
                <a:gd name="T77" fmla="*/ 70 h 264"/>
                <a:gd name="T78" fmla="*/ 202 w 214"/>
                <a:gd name="T79" fmla="*/ 65 h 264"/>
                <a:gd name="T80" fmla="*/ 201 w 214"/>
                <a:gd name="T81" fmla="*/ 59 h 264"/>
                <a:gd name="T82" fmla="*/ 197 w 214"/>
                <a:gd name="T83" fmla="*/ 54 h 264"/>
                <a:gd name="T84" fmla="*/ 161 w 214"/>
                <a:gd name="T85" fmla="*/ 43 h 264"/>
                <a:gd name="T86" fmla="*/ 160 w 214"/>
                <a:gd name="T87" fmla="*/ 42 h 264"/>
                <a:gd name="T88" fmla="*/ 126 w 214"/>
                <a:gd name="T89" fmla="*/ 16 h 264"/>
                <a:gd name="T90" fmla="*/ 112 w 214"/>
                <a:gd name="T91" fmla="*/ 11 h 264"/>
                <a:gd name="T92" fmla="*/ 36 w 214"/>
                <a:gd name="T93" fmla="*/ 11 h 264"/>
                <a:gd name="T94" fmla="*/ 11 w 214"/>
                <a:gd name="T95" fmla="*/ 36 h 264"/>
                <a:gd name="T96" fmla="*/ 11 w 214"/>
                <a:gd name="T97" fmla="*/ 116 h 264"/>
                <a:gd name="T98" fmla="*/ 14 w 214"/>
                <a:gd name="T99" fmla="*/ 124 h 264"/>
                <a:gd name="T100" fmla="*/ 22 w 214"/>
                <a:gd name="T101" fmla="*/ 126 h 264"/>
                <a:gd name="T102" fmla="*/ 30 w 214"/>
                <a:gd name="T103" fmla="*/ 116 h 264"/>
                <a:gd name="T104" fmla="*/ 36 w 214"/>
                <a:gd name="T105" fmla="*/ 110 h 264"/>
                <a:gd name="T106" fmla="*/ 41 w 214"/>
                <a:gd name="T107" fmla="*/ 116 h 264"/>
                <a:gd name="T108" fmla="*/ 41 w 214"/>
                <a:gd name="T109" fmla="*/ 238 h 264"/>
                <a:gd name="T110" fmla="*/ 54 w 214"/>
                <a:gd name="T111" fmla="*/ 252 h 264"/>
                <a:gd name="T112" fmla="*/ 64 w 214"/>
                <a:gd name="T113" fmla="*/ 249 h 264"/>
                <a:gd name="T114" fmla="*/ 69 w 214"/>
                <a:gd name="T115" fmla="*/ 238 h 264"/>
                <a:gd name="T116" fmla="*/ 74 w 214"/>
                <a:gd name="T117" fmla="*/ 233 h 264"/>
                <a:gd name="T118" fmla="*/ 80 w 214"/>
                <a:gd name="T119" fmla="*/ 238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14" h="264">
                  <a:moveTo>
                    <a:pt x="93" y="263"/>
                  </a:moveTo>
                  <a:cubicBezTo>
                    <a:pt x="87" y="263"/>
                    <a:pt x="81" y="261"/>
                    <a:pt x="77" y="257"/>
                  </a:cubicBezTo>
                  <a:cubicBezTo>
                    <a:pt x="76" y="256"/>
                    <a:pt x="75" y="255"/>
                    <a:pt x="74" y="254"/>
                  </a:cubicBezTo>
                  <a:cubicBezTo>
                    <a:pt x="73" y="255"/>
                    <a:pt x="72" y="256"/>
                    <a:pt x="71" y="257"/>
                  </a:cubicBezTo>
                  <a:cubicBezTo>
                    <a:pt x="66" y="261"/>
                    <a:pt x="59" y="264"/>
                    <a:pt x="52" y="263"/>
                  </a:cubicBezTo>
                  <a:cubicBezTo>
                    <a:pt x="40" y="262"/>
                    <a:pt x="30" y="251"/>
                    <a:pt x="30" y="238"/>
                  </a:cubicBezTo>
                  <a:cubicBezTo>
                    <a:pt x="30" y="135"/>
                    <a:pt x="30" y="135"/>
                    <a:pt x="30" y="135"/>
                  </a:cubicBezTo>
                  <a:cubicBezTo>
                    <a:pt x="28" y="136"/>
                    <a:pt x="25" y="137"/>
                    <a:pt x="23" y="137"/>
                  </a:cubicBezTo>
                  <a:cubicBezTo>
                    <a:pt x="17" y="138"/>
                    <a:pt x="11" y="136"/>
                    <a:pt x="7" y="132"/>
                  </a:cubicBezTo>
                  <a:cubicBezTo>
                    <a:pt x="2" y="128"/>
                    <a:pt x="0" y="122"/>
                    <a:pt x="0" y="11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20" y="0"/>
                    <a:pt x="127" y="3"/>
                    <a:pt x="133" y="8"/>
                  </a:cubicBezTo>
                  <a:cubicBezTo>
                    <a:pt x="166" y="33"/>
                    <a:pt x="166" y="33"/>
                    <a:pt x="166" y="33"/>
                  </a:cubicBezTo>
                  <a:cubicBezTo>
                    <a:pt x="200" y="44"/>
                    <a:pt x="200" y="44"/>
                    <a:pt x="200" y="44"/>
                  </a:cubicBezTo>
                  <a:cubicBezTo>
                    <a:pt x="205" y="46"/>
                    <a:pt x="209" y="49"/>
                    <a:pt x="211" y="54"/>
                  </a:cubicBezTo>
                  <a:cubicBezTo>
                    <a:pt x="214" y="59"/>
                    <a:pt x="214" y="64"/>
                    <a:pt x="212" y="69"/>
                  </a:cubicBezTo>
                  <a:cubicBezTo>
                    <a:pt x="209" y="78"/>
                    <a:pt x="200" y="83"/>
                    <a:pt x="190" y="81"/>
                  </a:cubicBezTo>
                  <a:cubicBezTo>
                    <a:pt x="170" y="77"/>
                    <a:pt x="170" y="77"/>
                    <a:pt x="170" y="77"/>
                  </a:cubicBezTo>
                  <a:cubicBezTo>
                    <a:pt x="157" y="75"/>
                    <a:pt x="145" y="71"/>
                    <a:pt x="133" y="65"/>
                  </a:cubicBezTo>
                  <a:cubicBezTo>
                    <a:pt x="118" y="58"/>
                    <a:pt x="118" y="58"/>
                    <a:pt x="118" y="58"/>
                  </a:cubicBezTo>
                  <a:cubicBezTo>
                    <a:pt x="118" y="115"/>
                    <a:pt x="118" y="115"/>
                    <a:pt x="118" y="115"/>
                  </a:cubicBezTo>
                  <a:cubicBezTo>
                    <a:pt x="118" y="116"/>
                    <a:pt x="118" y="116"/>
                    <a:pt x="118" y="116"/>
                  </a:cubicBezTo>
                  <a:cubicBezTo>
                    <a:pt x="118" y="238"/>
                    <a:pt x="118" y="238"/>
                    <a:pt x="118" y="238"/>
                  </a:cubicBezTo>
                  <a:cubicBezTo>
                    <a:pt x="118" y="251"/>
                    <a:pt x="108" y="262"/>
                    <a:pt x="96" y="263"/>
                  </a:cubicBezTo>
                  <a:cubicBezTo>
                    <a:pt x="95" y="263"/>
                    <a:pt x="94" y="263"/>
                    <a:pt x="93" y="263"/>
                  </a:cubicBezTo>
                  <a:close/>
                  <a:moveTo>
                    <a:pt x="80" y="238"/>
                  </a:moveTo>
                  <a:cubicBezTo>
                    <a:pt x="80" y="242"/>
                    <a:pt x="81" y="246"/>
                    <a:pt x="84" y="249"/>
                  </a:cubicBezTo>
                  <a:cubicBezTo>
                    <a:pt x="87" y="251"/>
                    <a:pt x="91" y="252"/>
                    <a:pt x="95" y="252"/>
                  </a:cubicBezTo>
                  <a:cubicBezTo>
                    <a:pt x="101" y="251"/>
                    <a:pt x="107" y="245"/>
                    <a:pt x="107" y="238"/>
                  </a:cubicBezTo>
                  <a:cubicBezTo>
                    <a:pt x="107" y="116"/>
                    <a:pt x="107" y="116"/>
                    <a:pt x="107" y="116"/>
                  </a:cubicBezTo>
                  <a:cubicBezTo>
                    <a:pt x="107" y="116"/>
                    <a:pt x="107" y="116"/>
                    <a:pt x="107" y="116"/>
                  </a:cubicBezTo>
                  <a:cubicBezTo>
                    <a:pt x="107" y="50"/>
                    <a:pt x="107" y="50"/>
                    <a:pt x="107" y="50"/>
                  </a:cubicBezTo>
                  <a:cubicBezTo>
                    <a:pt x="107" y="48"/>
                    <a:pt x="108" y="46"/>
                    <a:pt x="109" y="45"/>
                  </a:cubicBezTo>
                  <a:cubicBezTo>
                    <a:pt x="111" y="44"/>
                    <a:pt x="113" y="44"/>
                    <a:pt x="115" y="45"/>
                  </a:cubicBezTo>
                  <a:cubicBezTo>
                    <a:pt x="137" y="55"/>
                    <a:pt x="137" y="55"/>
                    <a:pt x="137" y="55"/>
                  </a:cubicBezTo>
                  <a:cubicBezTo>
                    <a:pt x="148" y="60"/>
                    <a:pt x="160" y="64"/>
                    <a:pt x="172" y="66"/>
                  </a:cubicBezTo>
                  <a:cubicBezTo>
                    <a:pt x="193" y="70"/>
                    <a:pt x="193" y="70"/>
                    <a:pt x="193" y="70"/>
                  </a:cubicBezTo>
                  <a:cubicBezTo>
                    <a:pt x="196" y="71"/>
                    <a:pt x="200" y="69"/>
                    <a:pt x="202" y="65"/>
                  </a:cubicBezTo>
                  <a:cubicBezTo>
                    <a:pt x="202" y="63"/>
                    <a:pt x="202" y="61"/>
                    <a:pt x="201" y="59"/>
                  </a:cubicBezTo>
                  <a:cubicBezTo>
                    <a:pt x="200" y="57"/>
                    <a:pt x="199" y="55"/>
                    <a:pt x="197" y="54"/>
                  </a:cubicBezTo>
                  <a:cubicBezTo>
                    <a:pt x="161" y="43"/>
                    <a:pt x="161" y="43"/>
                    <a:pt x="161" y="43"/>
                  </a:cubicBezTo>
                  <a:cubicBezTo>
                    <a:pt x="161" y="43"/>
                    <a:pt x="160" y="43"/>
                    <a:pt x="160" y="42"/>
                  </a:cubicBezTo>
                  <a:cubicBezTo>
                    <a:pt x="126" y="16"/>
                    <a:pt x="126" y="16"/>
                    <a:pt x="126" y="16"/>
                  </a:cubicBezTo>
                  <a:cubicBezTo>
                    <a:pt x="122" y="13"/>
                    <a:pt x="117" y="11"/>
                    <a:pt x="112" y="11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22" y="11"/>
                    <a:pt x="11" y="22"/>
                    <a:pt x="11" y="36"/>
                  </a:cubicBezTo>
                  <a:cubicBezTo>
                    <a:pt x="11" y="116"/>
                    <a:pt x="11" y="116"/>
                    <a:pt x="11" y="116"/>
                  </a:cubicBezTo>
                  <a:cubicBezTo>
                    <a:pt x="11" y="119"/>
                    <a:pt x="12" y="122"/>
                    <a:pt x="14" y="124"/>
                  </a:cubicBezTo>
                  <a:cubicBezTo>
                    <a:pt x="16" y="126"/>
                    <a:pt x="19" y="126"/>
                    <a:pt x="22" y="126"/>
                  </a:cubicBezTo>
                  <a:cubicBezTo>
                    <a:pt x="26" y="126"/>
                    <a:pt x="30" y="121"/>
                    <a:pt x="30" y="116"/>
                  </a:cubicBezTo>
                  <a:cubicBezTo>
                    <a:pt x="30" y="113"/>
                    <a:pt x="33" y="110"/>
                    <a:pt x="36" y="110"/>
                  </a:cubicBezTo>
                  <a:cubicBezTo>
                    <a:pt x="39" y="110"/>
                    <a:pt x="41" y="113"/>
                    <a:pt x="41" y="116"/>
                  </a:cubicBezTo>
                  <a:cubicBezTo>
                    <a:pt x="41" y="238"/>
                    <a:pt x="41" y="238"/>
                    <a:pt x="41" y="238"/>
                  </a:cubicBezTo>
                  <a:cubicBezTo>
                    <a:pt x="41" y="245"/>
                    <a:pt x="47" y="251"/>
                    <a:pt x="54" y="252"/>
                  </a:cubicBezTo>
                  <a:cubicBezTo>
                    <a:pt x="57" y="252"/>
                    <a:pt x="61" y="251"/>
                    <a:pt x="64" y="249"/>
                  </a:cubicBezTo>
                  <a:cubicBezTo>
                    <a:pt x="67" y="246"/>
                    <a:pt x="69" y="242"/>
                    <a:pt x="69" y="238"/>
                  </a:cubicBezTo>
                  <a:cubicBezTo>
                    <a:pt x="69" y="235"/>
                    <a:pt x="71" y="233"/>
                    <a:pt x="74" y="233"/>
                  </a:cubicBezTo>
                  <a:cubicBezTo>
                    <a:pt x="77" y="233"/>
                    <a:pt x="80" y="235"/>
                    <a:pt x="80" y="23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4" name="Freeform 1524">
              <a:extLst>
                <a:ext uri="{FF2B5EF4-FFF2-40B4-BE49-F238E27FC236}">
                  <a16:creationId xmlns:a16="http://schemas.microsoft.com/office/drawing/2014/main" id="{E9ECB3F0-83F3-D0BE-CFE7-035264F38262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25639" y="1858344"/>
              <a:ext cx="92074" cy="11113"/>
            </a:xfrm>
            <a:custGeom>
              <a:avLst/>
              <a:gdLst>
                <a:gd name="T0" fmla="*/ 82 w 88"/>
                <a:gd name="T1" fmla="*/ 11 h 11"/>
                <a:gd name="T2" fmla="*/ 6 w 88"/>
                <a:gd name="T3" fmla="*/ 11 h 11"/>
                <a:gd name="T4" fmla="*/ 0 w 88"/>
                <a:gd name="T5" fmla="*/ 6 h 11"/>
                <a:gd name="T6" fmla="*/ 6 w 88"/>
                <a:gd name="T7" fmla="*/ 0 h 11"/>
                <a:gd name="T8" fmla="*/ 82 w 88"/>
                <a:gd name="T9" fmla="*/ 0 h 11"/>
                <a:gd name="T10" fmla="*/ 88 w 88"/>
                <a:gd name="T11" fmla="*/ 6 h 11"/>
                <a:gd name="T12" fmla="*/ 82 w 88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8" h="11">
                  <a:moveTo>
                    <a:pt x="82" y="11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3" y="11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85" y="0"/>
                    <a:pt x="88" y="3"/>
                    <a:pt x="88" y="6"/>
                  </a:cubicBezTo>
                  <a:cubicBezTo>
                    <a:pt x="88" y="9"/>
                    <a:pt x="85" y="11"/>
                    <a:pt x="82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5" name="Freeform 1525">
              <a:extLst>
                <a:ext uri="{FF2B5EF4-FFF2-40B4-BE49-F238E27FC236}">
                  <a16:creationId xmlns:a16="http://schemas.microsoft.com/office/drawing/2014/main" id="{FBD21697-E4EE-3A33-28B4-7246EC9F1E5C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25637" y="1904380"/>
              <a:ext cx="11113" cy="79375"/>
            </a:xfrm>
            <a:custGeom>
              <a:avLst/>
              <a:gdLst>
                <a:gd name="T0" fmla="*/ 6 w 11"/>
                <a:gd name="T1" fmla="*/ 77 h 77"/>
                <a:gd name="T2" fmla="*/ 0 w 11"/>
                <a:gd name="T3" fmla="*/ 72 h 77"/>
                <a:gd name="T4" fmla="*/ 0 w 11"/>
                <a:gd name="T5" fmla="*/ 6 h 77"/>
                <a:gd name="T6" fmla="*/ 6 w 11"/>
                <a:gd name="T7" fmla="*/ 0 h 77"/>
                <a:gd name="T8" fmla="*/ 11 w 11"/>
                <a:gd name="T9" fmla="*/ 6 h 77"/>
                <a:gd name="T10" fmla="*/ 11 w 11"/>
                <a:gd name="T11" fmla="*/ 72 h 77"/>
                <a:gd name="T12" fmla="*/ 6 w 11"/>
                <a:gd name="T13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77">
                  <a:moveTo>
                    <a:pt x="6" y="77"/>
                  </a:moveTo>
                  <a:cubicBezTo>
                    <a:pt x="3" y="77"/>
                    <a:pt x="0" y="75"/>
                    <a:pt x="0" y="7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1" y="3"/>
                    <a:pt x="11" y="6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5"/>
                    <a:pt x="9" y="77"/>
                    <a:pt x="6" y="7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6" name="Freeform 1526">
              <a:extLst>
                <a:ext uri="{FF2B5EF4-FFF2-40B4-BE49-F238E27FC236}">
                  <a16:creationId xmlns:a16="http://schemas.microsoft.com/office/drawing/2014/main" id="{ED134134-F67B-10CC-1768-3C6F574452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011351" y="1783731"/>
              <a:ext cx="63500" cy="65088"/>
            </a:xfrm>
            <a:custGeom>
              <a:avLst/>
              <a:gdLst>
                <a:gd name="T0" fmla="*/ 31 w 62"/>
                <a:gd name="T1" fmla="*/ 63 h 63"/>
                <a:gd name="T2" fmla="*/ 0 w 62"/>
                <a:gd name="T3" fmla="*/ 31 h 63"/>
                <a:gd name="T4" fmla="*/ 31 w 62"/>
                <a:gd name="T5" fmla="*/ 0 h 63"/>
                <a:gd name="T6" fmla="*/ 62 w 62"/>
                <a:gd name="T7" fmla="*/ 31 h 63"/>
                <a:gd name="T8" fmla="*/ 31 w 62"/>
                <a:gd name="T9" fmla="*/ 63 h 63"/>
                <a:gd name="T10" fmla="*/ 31 w 62"/>
                <a:gd name="T11" fmla="*/ 11 h 63"/>
                <a:gd name="T12" fmla="*/ 11 w 62"/>
                <a:gd name="T13" fmla="*/ 31 h 63"/>
                <a:gd name="T14" fmla="*/ 31 w 62"/>
                <a:gd name="T15" fmla="*/ 52 h 63"/>
                <a:gd name="T16" fmla="*/ 51 w 62"/>
                <a:gd name="T17" fmla="*/ 31 h 63"/>
                <a:gd name="T18" fmla="*/ 31 w 62"/>
                <a:gd name="T19" fmla="*/ 1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2" h="63">
                  <a:moveTo>
                    <a:pt x="31" y="63"/>
                  </a:moveTo>
                  <a:cubicBezTo>
                    <a:pt x="14" y="63"/>
                    <a:pt x="0" y="49"/>
                    <a:pt x="0" y="31"/>
                  </a:cubicBezTo>
                  <a:cubicBezTo>
                    <a:pt x="0" y="14"/>
                    <a:pt x="14" y="0"/>
                    <a:pt x="31" y="0"/>
                  </a:cubicBezTo>
                  <a:cubicBezTo>
                    <a:pt x="48" y="0"/>
                    <a:pt x="62" y="14"/>
                    <a:pt x="62" y="31"/>
                  </a:cubicBezTo>
                  <a:cubicBezTo>
                    <a:pt x="62" y="49"/>
                    <a:pt x="48" y="63"/>
                    <a:pt x="31" y="63"/>
                  </a:cubicBezTo>
                  <a:close/>
                  <a:moveTo>
                    <a:pt x="31" y="11"/>
                  </a:moveTo>
                  <a:cubicBezTo>
                    <a:pt x="20" y="11"/>
                    <a:pt x="11" y="20"/>
                    <a:pt x="11" y="31"/>
                  </a:cubicBezTo>
                  <a:cubicBezTo>
                    <a:pt x="11" y="42"/>
                    <a:pt x="20" y="52"/>
                    <a:pt x="31" y="52"/>
                  </a:cubicBezTo>
                  <a:cubicBezTo>
                    <a:pt x="42" y="52"/>
                    <a:pt x="51" y="42"/>
                    <a:pt x="51" y="31"/>
                  </a:cubicBezTo>
                  <a:cubicBezTo>
                    <a:pt x="51" y="20"/>
                    <a:pt x="42" y="11"/>
                    <a:pt x="31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7" name="Freeform 1527">
              <a:extLst>
                <a:ext uri="{FF2B5EF4-FFF2-40B4-BE49-F238E27FC236}">
                  <a16:creationId xmlns:a16="http://schemas.microsoft.com/office/drawing/2014/main" id="{E0A8CCFE-BEBF-A1E1-3DC4-AD9C15D7BBB7}"/>
                </a:ext>
              </a:extLst>
            </p:cNvPr>
            <p:cNvSpPr>
              <a:spLocks/>
            </p:cNvSpPr>
            <p:nvPr/>
          </p:nvSpPr>
          <p:spPr bwMode="auto">
            <a:xfrm>
              <a:off x="-1760528" y="1918667"/>
              <a:ext cx="49213" cy="55563"/>
            </a:xfrm>
            <a:custGeom>
              <a:avLst/>
              <a:gdLst>
                <a:gd name="T0" fmla="*/ 34 w 47"/>
                <a:gd name="T1" fmla="*/ 54 h 54"/>
                <a:gd name="T2" fmla="*/ 33 w 47"/>
                <a:gd name="T3" fmla="*/ 54 h 54"/>
                <a:gd name="T4" fmla="*/ 28 w 47"/>
                <a:gd name="T5" fmla="*/ 48 h 54"/>
                <a:gd name="T6" fmla="*/ 35 w 47"/>
                <a:gd name="T7" fmla="*/ 18 h 54"/>
                <a:gd name="T8" fmla="*/ 5 w 47"/>
                <a:gd name="T9" fmla="*/ 12 h 54"/>
                <a:gd name="T10" fmla="*/ 1 w 47"/>
                <a:gd name="T11" fmla="*/ 5 h 54"/>
                <a:gd name="T12" fmla="*/ 7 w 47"/>
                <a:gd name="T13" fmla="*/ 1 h 54"/>
                <a:gd name="T14" fmla="*/ 42 w 47"/>
                <a:gd name="T15" fmla="*/ 9 h 54"/>
                <a:gd name="T16" fmla="*/ 47 w 47"/>
                <a:gd name="T17" fmla="*/ 15 h 54"/>
                <a:gd name="T18" fmla="*/ 39 w 47"/>
                <a:gd name="T19" fmla="*/ 50 h 54"/>
                <a:gd name="T20" fmla="*/ 34 w 47"/>
                <a:gd name="T21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7" h="54">
                  <a:moveTo>
                    <a:pt x="34" y="54"/>
                  </a:moveTo>
                  <a:cubicBezTo>
                    <a:pt x="33" y="54"/>
                    <a:pt x="33" y="54"/>
                    <a:pt x="33" y="54"/>
                  </a:cubicBezTo>
                  <a:cubicBezTo>
                    <a:pt x="30" y="53"/>
                    <a:pt x="28" y="51"/>
                    <a:pt x="28" y="48"/>
                  </a:cubicBezTo>
                  <a:cubicBezTo>
                    <a:pt x="35" y="18"/>
                    <a:pt x="35" y="18"/>
                    <a:pt x="35" y="18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2" y="11"/>
                    <a:pt x="0" y="8"/>
                    <a:pt x="1" y="5"/>
                  </a:cubicBezTo>
                  <a:cubicBezTo>
                    <a:pt x="2" y="2"/>
                    <a:pt x="5" y="0"/>
                    <a:pt x="7" y="1"/>
                  </a:cubicBezTo>
                  <a:cubicBezTo>
                    <a:pt x="42" y="9"/>
                    <a:pt x="42" y="9"/>
                    <a:pt x="42" y="9"/>
                  </a:cubicBezTo>
                  <a:cubicBezTo>
                    <a:pt x="45" y="9"/>
                    <a:pt x="47" y="12"/>
                    <a:pt x="47" y="15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8" y="52"/>
                    <a:pt x="36" y="54"/>
                    <a:pt x="34" y="5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8" name="Freeform 1528">
              <a:extLst>
                <a:ext uri="{FF2B5EF4-FFF2-40B4-BE49-F238E27FC236}">
                  <a16:creationId xmlns:a16="http://schemas.microsoft.com/office/drawing/2014/main" id="{6D3D636B-B2A5-F4E2-3886-7E38A31E9C4F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87529" y="1926602"/>
              <a:ext cx="176212" cy="115888"/>
            </a:xfrm>
            <a:custGeom>
              <a:avLst/>
              <a:gdLst>
                <a:gd name="T0" fmla="*/ 7 w 169"/>
                <a:gd name="T1" fmla="*/ 112 h 112"/>
                <a:gd name="T2" fmla="*/ 2 w 169"/>
                <a:gd name="T3" fmla="*/ 110 h 112"/>
                <a:gd name="T4" fmla="*/ 4 w 169"/>
                <a:gd name="T5" fmla="*/ 102 h 112"/>
                <a:gd name="T6" fmla="*/ 160 w 169"/>
                <a:gd name="T7" fmla="*/ 1 h 112"/>
                <a:gd name="T8" fmla="*/ 168 w 169"/>
                <a:gd name="T9" fmla="*/ 3 h 112"/>
                <a:gd name="T10" fmla="*/ 166 w 169"/>
                <a:gd name="T11" fmla="*/ 10 h 112"/>
                <a:gd name="T12" fmla="*/ 10 w 169"/>
                <a:gd name="T13" fmla="*/ 112 h 112"/>
                <a:gd name="T14" fmla="*/ 7 w 169"/>
                <a:gd name="T15" fmla="*/ 112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9" h="112">
                  <a:moveTo>
                    <a:pt x="7" y="112"/>
                  </a:moveTo>
                  <a:cubicBezTo>
                    <a:pt x="5" y="112"/>
                    <a:pt x="3" y="112"/>
                    <a:pt x="2" y="110"/>
                  </a:cubicBezTo>
                  <a:cubicBezTo>
                    <a:pt x="0" y="107"/>
                    <a:pt x="1" y="104"/>
                    <a:pt x="4" y="102"/>
                  </a:cubicBezTo>
                  <a:cubicBezTo>
                    <a:pt x="160" y="1"/>
                    <a:pt x="160" y="1"/>
                    <a:pt x="160" y="1"/>
                  </a:cubicBezTo>
                  <a:cubicBezTo>
                    <a:pt x="163" y="0"/>
                    <a:pt x="166" y="0"/>
                    <a:pt x="168" y="3"/>
                  </a:cubicBezTo>
                  <a:cubicBezTo>
                    <a:pt x="169" y="5"/>
                    <a:pt x="169" y="9"/>
                    <a:pt x="166" y="10"/>
                  </a:cubicBezTo>
                  <a:cubicBezTo>
                    <a:pt x="10" y="112"/>
                    <a:pt x="10" y="112"/>
                    <a:pt x="10" y="112"/>
                  </a:cubicBezTo>
                  <a:cubicBezTo>
                    <a:pt x="9" y="112"/>
                    <a:pt x="8" y="112"/>
                    <a:pt x="7" y="1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9" name="Freeform 1529">
              <a:extLst>
                <a:ext uri="{FF2B5EF4-FFF2-40B4-BE49-F238E27FC236}">
                  <a16:creationId xmlns:a16="http://schemas.microsoft.com/office/drawing/2014/main" id="{210BFF95-A656-4A4F-8960-58B211533AF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885939" y="2066302"/>
              <a:ext cx="50800" cy="50800"/>
            </a:xfrm>
            <a:custGeom>
              <a:avLst/>
              <a:gdLst>
                <a:gd name="T0" fmla="*/ 45 w 50"/>
                <a:gd name="T1" fmla="*/ 49 h 49"/>
                <a:gd name="T2" fmla="*/ 5 w 50"/>
                <a:gd name="T3" fmla="*/ 49 h 49"/>
                <a:gd name="T4" fmla="*/ 0 w 50"/>
                <a:gd name="T5" fmla="*/ 43 h 49"/>
                <a:gd name="T6" fmla="*/ 0 w 50"/>
                <a:gd name="T7" fmla="*/ 5 h 49"/>
                <a:gd name="T8" fmla="*/ 5 w 50"/>
                <a:gd name="T9" fmla="*/ 0 h 49"/>
                <a:gd name="T10" fmla="*/ 45 w 50"/>
                <a:gd name="T11" fmla="*/ 0 h 49"/>
                <a:gd name="T12" fmla="*/ 50 w 50"/>
                <a:gd name="T13" fmla="*/ 5 h 49"/>
                <a:gd name="T14" fmla="*/ 50 w 50"/>
                <a:gd name="T15" fmla="*/ 43 h 49"/>
                <a:gd name="T16" fmla="*/ 45 w 50"/>
                <a:gd name="T17" fmla="*/ 49 h 49"/>
                <a:gd name="T18" fmla="*/ 11 w 50"/>
                <a:gd name="T19" fmla="*/ 38 h 49"/>
                <a:gd name="T20" fmla="*/ 39 w 50"/>
                <a:gd name="T21" fmla="*/ 38 h 49"/>
                <a:gd name="T22" fmla="*/ 39 w 50"/>
                <a:gd name="T23" fmla="*/ 11 h 49"/>
                <a:gd name="T24" fmla="*/ 11 w 50"/>
                <a:gd name="T25" fmla="*/ 11 h 49"/>
                <a:gd name="T26" fmla="*/ 11 w 50"/>
                <a:gd name="T27" fmla="*/ 38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0" h="49">
                  <a:moveTo>
                    <a:pt x="45" y="49"/>
                  </a:moveTo>
                  <a:cubicBezTo>
                    <a:pt x="5" y="49"/>
                    <a:pt x="5" y="49"/>
                    <a:pt x="5" y="49"/>
                  </a:cubicBezTo>
                  <a:cubicBezTo>
                    <a:pt x="2" y="49"/>
                    <a:pt x="0" y="46"/>
                    <a:pt x="0" y="43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8" y="0"/>
                    <a:pt x="50" y="2"/>
                    <a:pt x="50" y="5"/>
                  </a:cubicBezTo>
                  <a:cubicBezTo>
                    <a:pt x="50" y="43"/>
                    <a:pt x="50" y="43"/>
                    <a:pt x="50" y="43"/>
                  </a:cubicBezTo>
                  <a:cubicBezTo>
                    <a:pt x="50" y="46"/>
                    <a:pt x="48" y="49"/>
                    <a:pt x="45" y="49"/>
                  </a:cubicBezTo>
                  <a:close/>
                  <a:moveTo>
                    <a:pt x="11" y="38"/>
                  </a:moveTo>
                  <a:cubicBezTo>
                    <a:pt x="39" y="38"/>
                    <a:pt x="39" y="38"/>
                    <a:pt x="39" y="38"/>
                  </a:cubicBezTo>
                  <a:cubicBezTo>
                    <a:pt x="39" y="11"/>
                    <a:pt x="39" y="11"/>
                    <a:pt x="39" y="11"/>
                  </a:cubicBezTo>
                  <a:cubicBezTo>
                    <a:pt x="11" y="11"/>
                    <a:pt x="11" y="11"/>
                    <a:pt x="11" y="11"/>
                  </a:cubicBezTo>
                  <a:lnTo>
                    <a:pt x="11" y="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0" name="Freeform 1530">
              <a:extLst>
                <a:ext uri="{FF2B5EF4-FFF2-40B4-BE49-F238E27FC236}">
                  <a16:creationId xmlns:a16="http://schemas.microsoft.com/office/drawing/2014/main" id="{2AC1F4A0-C22C-D517-9D8D-3AF85CECFD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822445" y="2032965"/>
              <a:ext cx="52388" cy="84138"/>
            </a:xfrm>
            <a:custGeom>
              <a:avLst/>
              <a:gdLst>
                <a:gd name="T0" fmla="*/ 45 w 50"/>
                <a:gd name="T1" fmla="*/ 82 h 82"/>
                <a:gd name="T2" fmla="*/ 5 w 50"/>
                <a:gd name="T3" fmla="*/ 82 h 82"/>
                <a:gd name="T4" fmla="*/ 0 w 50"/>
                <a:gd name="T5" fmla="*/ 76 h 82"/>
                <a:gd name="T6" fmla="*/ 0 w 50"/>
                <a:gd name="T7" fmla="*/ 5 h 82"/>
                <a:gd name="T8" fmla="*/ 5 w 50"/>
                <a:gd name="T9" fmla="*/ 0 h 82"/>
                <a:gd name="T10" fmla="*/ 45 w 50"/>
                <a:gd name="T11" fmla="*/ 0 h 82"/>
                <a:gd name="T12" fmla="*/ 50 w 50"/>
                <a:gd name="T13" fmla="*/ 5 h 82"/>
                <a:gd name="T14" fmla="*/ 50 w 50"/>
                <a:gd name="T15" fmla="*/ 76 h 82"/>
                <a:gd name="T16" fmla="*/ 45 w 50"/>
                <a:gd name="T17" fmla="*/ 82 h 82"/>
                <a:gd name="T18" fmla="*/ 10 w 50"/>
                <a:gd name="T19" fmla="*/ 71 h 82"/>
                <a:gd name="T20" fmla="*/ 39 w 50"/>
                <a:gd name="T21" fmla="*/ 71 h 82"/>
                <a:gd name="T22" fmla="*/ 39 w 50"/>
                <a:gd name="T23" fmla="*/ 10 h 82"/>
                <a:gd name="T24" fmla="*/ 10 w 50"/>
                <a:gd name="T25" fmla="*/ 10 h 82"/>
                <a:gd name="T26" fmla="*/ 10 w 50"/>
                <a:gd name="T27" fmla="*/ 71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0" h="82">
                  <a:moveTo>
                    <a:pt x="45" y="82"/>
                  </a:moveTo>
                  <a:cubicBezTo>
                    <a:pt x="5" y="82"/>
                    <a:pt x="5" y="82"/>
                    <a:pt x="5" y="82"/>
                  </a:cubicBezTo>
                  <a:cubicBezTo>
                    <a:pt x="2" y="82"/>
                    <a:pt x="0" y="79"/>
                    <a:pt x="0" y="76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8" y="0"/>
                    <a:pt x="50" y="2"/>
                    <a:pt x="50" y="5"/>
                  </a:cubicBezTo>
                  <a:cubicBezTo>
                    <a:pt x="50" y="76"/>
                    <a:pt x="50" y="76"/>
                    <a:pt x="50" y="76"/>
                  </a:cubicBezTo>
                  <a:cubicBezTo>
                    <a:pt x="50" y="79"/>
                    <a:pt x="48" y="82"/>
                    <a:pt x="45" y="82"/>
                  </a:cubicBezTo>
                  <a:close/>
                  <a:moveTo>
                    <a:pt x="10" y="71"/>
                  </a:moveTo>
                  <a:cubicBezTo>
                    <a:pt x="39" y="71"/>
                    <a:pt x="39" y="71"/>
                    <a:pt x="39" y="71"/>
                  </a:cubicBezTo>
                  <a:cubicBezTo>
                    <a:pt x="39" y="10"/>
                    <a:pt x="39" y="10"/>
                    <a:pt x="39" y="10"/>
                  </a:cubicBezTo>
                  <a:cubicBezTo>
                    <a:pt x="10" y="10"/>
                    <a:pt x="10" y="10"/>
                    <a:pt x="10" y="10"/>
                  </a:cubicBezTo>
                  <a:lnTo>
                    <a:pt x="10" y="7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1" name="Freeform 1531">
              <a:extLst>
                <a:ext uri="{FF2B5EF4-FFF2-40B4-BE49-F238E27FC236}">
                  <a16:creationId xmlns:a16="http://schemas.microsoft.com/office/drawing/2014/main" id="{B2AB56A5-D726-8936-B043-C26DCA12266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758950" y="1991693"/>
              <a:ext cx="53975" cy="125413"/>
            </a:xfrm>
            <a:custGeom>
              <a:avLst/>
              <a:gdLst>
                <a:gd name="T0" fmla="*/ 45 w 51"/>
                <a:gd name="T1" fmla="*/ 121 h 121"/>
                <a:gd name="T2" fmla="*/ 6 w 51"/>
                <a:gd name="T3" fmla="*/ 121 h 121"/>
                <a:gd name="T4" fmla="*/ 0 w 51"/>
                <a:gd name="T5" fmla="*/ 115 h 121"/>
                <a:gd name="T6" fmla="*/ 0 w 51"/>
                <a:gd name="T7" fmla="*/ 6 h 121"/>
                <a:gd name="T8" fmla="*/ 6 w 51"/>
                <a:gd name="T9" fmla="*/ 0 h 121"/>
                <a:gd name="T10" fmla="*/ 45 w 51"/>
                <a:gd name="T11" fmla="*/ 0 h 121"/>
                <a:gd name="T12" fmla="*/ 51 w 51"/>
                <a:gd name="T13" fmla="*/ 6 h 121"/>
                <a:gd name="T14" fmla="*/ 51 w 51"/>
                <a:gd name="T15" fmla="*/ 115 h 121"/>
                <a:gd name="T16" fmla="*/ 45 w 51"/>
                <a:gd name="T17" fmla="*/ 121 h 121"/>
                <a:gd name="T18" fmla="*/ 11 w 51"/>
                <a:gd name="T19" fmla="*/ 110 h 121"/>
                <a:gd name="T20" fmla="*/ 40 w 51"/>
                <a:gd name="T21" fmla="*/ 110 h 121"/>
                <a:gd name="T22" fmla="*/ 40 w 51"/>
                <a:gd name="T23" fmla="*/ 11 h 121"/>
                <a:gd name="T24" fmla="*/ 11 w 51"/>
                <a:gd name="T25" fmla="*/ 11 h 121"/>
                <a:gd name="T26" fmla="*/ 11 w 51"/>
                <a:gd name="T27" fmla="*/ 11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1" h="121">
                  <a:moveTo>
                    <a:pt x="45" y="121"/>
                  </a:moveTo>
                  <a:cubicBezTo>
                    <a:pt x="6" y="121"/>
                    <a:pt x="6" y="121"/>
                    <a:pt x="6" y="121"/>
                  </a:cubicBezTo>
                  <a:cubicBezTo>
                    <a:pt x="3" y="121"/>
                    <a:pt x="0" y="118"/>
                    <a:pt x="0" y="11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9" y="0"/>
                    <a:pt x="51" y="3"/>
                    <a:pt x="51" y="6"/>
                  </a:cubicBezTo>
                  <a:cubicBezTo>
                    <a:pt x="51" y="115"/>
                    <a:pt x="51" y="115"/>
                    <a:pt x="51" y="115"/>
                  </a:cubicBezTo>
                  <a:cubicBezTo>
                    <a:pt x="51" y="118"/>
                    <a:pt x="49" y="121"/>
                    <a:pt x="45" y="121"/>
                  </a:cubicBezTo>
                  <a:close/>
                  <a:moveTo>
                    <a:pt x="11" y="110"/>
                  </a:moveTo>
                  <a:cubicBezTo>
                    <a:pt x="40" y="110"/>
                    <a:pt x="40" y="110"/>
                    <a:pt x="40" y="110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11" y="11"/>
                    <a:pt x="11" y="11"/>
                    <a:pt x="11" y="11"/>
                  </a:cubicBezTo>
                  <a:lnTo>
                    <a:pt x="11" y="11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162" name="Shape66_20200717_142846">
            <a:extLst>
              <a:ext uri="{FF2B5EF4-FFF2-40B4-BE49-F238E27FC236}">
                <a16:creationId xmlns:a16="http://schemas.microsoft.com/office/drawing/2014/main" id="{FBCBA8B0-5FC5-D818-7771-6318C2B0CF44}"/>
              </a:ext>
            </a:extLst>
          </p:cNvPr>
          <p:cNvGrpSpPr>
            <a:grpSpLocks noChangeAspect="1"/>
          </p:cNvGrpSpPr>
          <p:nvPr/>
        </p:nvGrpSpPr>
        <p:grpSpPr>
          <a:xfrm>
            <a:off x="623094" y="5223118"/>
            <a:ext cx="501359" cy="434189"/>
            <a:chOff x="-568320" y="2182771"/>
            <a:chExt cx="331785" cy="287332"/>
          </a:xfrm>
          <a:solidFill>
            <a:schemeClr val="accent1"/>
          </a:solidFill>
        </p:grpSpPr>
        <p:sp>
          <p:nvSpPr>
            <p:cNvPr id="163" name="Freeform 462">
              <a:extLst>
                <a:ext uri="{FF2B5EF4-FFF2-40B4-BE49-F238E27FC236}">
                  <a16:creationId xmlns:a16="http://schemas.microsoft.com/office/drawing/2014/main" id="{31BFE4B7-24D9-0969-696D-0EDA403A8C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68319" y="2182771"/>
              <a:ext cx="331784" cy="287332"/>
            </a:xfrm>
            <a:custGeom>
              <a:avLst/>
              <a:gdLst>
                <a:gd name="T0" fmla="*/ 129 w 147"/>
                <a:gd name="T1" fmla="*/ 127 h 127"/>
                <a:gd name="T2" fmla="*/ 17 w 147"/>
                <a:gd name="T3" fmla="*/ 127 h 127"/>
                <a:gd name="T4" fmla="*/ 0 w 147"/>
                <a:gd name="T5" fmla="*/ 110 h 127"/>
                <a:gd name="T6" fmla="*/ 0 w 147"/>
                <a:gd name="T7" fmla="*/ 17 h 127"/>
                <a:gd name="T8" fmla="*/ 17 w 147"/>
                <a:gd name="T9" fmla="*/ 0 h 127"/>
                <a:gd name="T10" fmla="*/ 129 w 147"/>
                <a:gd name="T11" fmla="*/ 0 h 127"/>
                <a:gd name="T12" fmla="*/ 147 w 147"/>
                <a:gd name="T13" fmla="*/ 17 h 127"/>
                <a:gd name="T14" fmla="*/ 147 w 147"/>
                <a:gd name="T15" fmla="*/ 110 h 127"/>
                <a:gd name="T16" fmla="*/ 129 w 147"/>
                <a:gd name="T17" fmla="*/ 127 h 127"/>
                <a:gd name="T18" fmla="*/ 17 w 147"/>
                <a:gd name="T19" fmla="*/ 5 h 127"/>
                <a:gd name="T20" fmla="*/ 5 w 147"/>
                <a:gd name="T21" fmla="*/ 17 h 127"/>
                <a:gd name="T22" fmla="*/ 5 w 147"/>
                <a:gd name="T23" fmla="*/ 110 h 127"/>
                <a:gd name="T24" fmla="*/ 17 w 147"/>
                <a:gd name="T25" fmla="*/ 122 h 127"/>
                <a:gd name="T26" fmla="*/ 129 w 147"/>
                <a:gd name="T27" fmla="*/ 122 h 127"/>
                <a:gd name="T28" fmla="*/ 142 w 147"/>
                <a:gd name="T29" fmla="*/ 110 h 127"/>
                <a:gd name="T30" fmla="*/ 142 w 147"/>
                <a:gd name="T31" fmla="*/ 17 h 127"/>
                <a:gd name="T32" fmla="*/ 129 w 147"/>
                <a:gd name="T33" fmla="*/ 5 h 127"/>
                <a:gd name="T34" fmla="*/ 17 w 147"/>
                <a:gd name="T35" fmla="*/ 5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47" h="127">
                  <a:moveTo>
                    <a:pt x="129" y="127"/>
                  </a:moveTo>
                  <a:cubicBezTo>
                    <a:pt x="17" y="127"/>
                    <a:pt x="17" y="127"/>
                    <a:pt x="17" y="127"/>
                  </a:cubicBezTo>
                  <a:cubicBezTo>
                    <a:pt x="7" y="127"/>
                    <a:pt x="0" y="119"/>
                    <a:pt x="0" y="11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7" y="0"/>
                    <a:pt x="17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39" y="0"/>
                    <a:pt x="147" y="8"/>
                    <a:pt x="147" y="17"/>
                  </a:cubicBezTo>
                  <a:cubicBezTo>
                    <a:pt x="147" y="110"/>
                    <a:pt x="147" y="110"/>
                    <a:pt x="147" y="110"/>
                  </a:cubicBezTo>
                  <a:cubicBezTo>
                    <a:pt x="147" y="119"/>
                    <a:pt x="139" y="127"/>
                    <a:pt x="129" y="127"/>
                  </a:cubicBezTo>
                  <a:close/>
                  <a:moveTo>
                    <a:pt x="17" y="5"/>
                  </a:moveTo>
                  <a:cubicBezTo>
                    <a:pt x="10" y="5"/>
                    <a:pt x="5" y="11"/>
                    <a:pt x="5" y="17"/>
                  </a:cubicBezTo>
                  <a:cubicBezTo>
                    <a:pt x="5" y="110"/>
                    <a:pt x="5" y="110"/>
                    <a:pt x="5" y="110"/>
                  </a:cubicBezTo>
                  <a:cubicBezTo>
                    <a:pt x="5" y="116"/>
                    <a:pt x="10" y="122"/>
                    <a:pt x="17" y="122"/>
                  </a:cubicBezTo>
                  <a:cubicBezTo>
                    <a:pt x="129" y="122"/>
                    <a:pt x="129" y="122"/>
                    <a:pt x="129" y="122"/>
                  </a:cubicBezTo>
                  <a:cubicBezTo>
                    <a:pt x="136" y="122"/>
                    <a:pt x="142" y="116"/>
                    <a:pt x="142" y="110"/>
                  </a:cubicBezTo>
                  <a:cubicBezTo>
                    <a:pt x="142" y="17"/>
                    <a:pt x="142" y="17"/>
                    <a:pt x="142" y="17"/>
                  </a:cubicBezTo>
                  <a:cubicBezTo>
                    <a:pt x="142" y="11"/>
                    <a:pt x="136" y="5"/>
                    <a:pt x="129" y="5"/>
                  </a:cubicBezTo>
                  <a:lnTo>
                    <a:pt x="17" y="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4" name="Freeform 463">
              <a:extLst>
                <a:ext uri="{FF2B5EF4-FFF2-40B4-BE49-F238E27FC236}">
                  <a16:creationId xmlns:a16="http://schemas.microsoft.com/office/drawing/2014/main" id="{B35E8EC0-3238-E095-3AD7-E7E5829F4B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58771" y="2284369"/>
              <a:ext cx="122236" cy="84136"/>
            </a:xfrm>
            <a:custGeom>
              <a:avLst/>
              <a:gdLst>
                <a:gd name="T0" fmla="*/ 51 w 54"/>
                <a:gd name="T1" fmla="*/ 37 h 37"/>
                <a:gd name="T2" fmla="*/ 18 w 54"/>
                <a:gd name="T3" fmla="*/ 37 h 37"/>
                <a:gd name="T4" fmla="*/ 0 w 54"/>
                <a:gd name="T5" fmla="*/ 19 h 37"/>
                <a:gd name="T6" fmla="*/ 0 w 54"/>
                <a:gd name="T7" fmla="*/ 18 h 37"/>
                <a:gd name="T8" fmla="*/ 18 w 54"/>
                <a:gd name="T9" fmla="*/ 0 h 37"/>
                <a:gd name="T10" fmla="*/ 51 w 54"/>
                <a:gd name="T11" fmla="*/ 0 h 37"/>
                <a:gd name="T12" fmla="*/ 54 w 54"/>
                <a:gd name="T13" fmla="*/ 2 h 37"/>
                <a:gd name="T14" fmla="*/ 54 w 54"/>
                <a:gd name="T15" fmla="*/ 35 h 37"/>
                <a:gd name="T16" fmla="*/ 51 w 54"/>
                <a:gd name="T17" fmla="*/ 37 h 37"/>
                <a:gd name="T18" fmla="*/ 18 w 54"/>
                <a:gd name="T19" fmla="*/ 5 h 37"/>
                <a:gd name="T20" fmla="*/ 5 w 54"/>
                <a:gd name="T21" fmla="*/ 18 h 37"/>
                <a:gd name="T22" fmla="*/ 5 w 54"/>
                <a:gd name="T23" fmla="*/ 19 h 37"/>
                <a:gd name="T24" fmla="*/ 18 w 54"/>
                <a:gd name="T25" fmla="*/ 32 h 37"/>
                <a:gd name="T26" fmla="*/ 49 w 54"/>
                <a:gd name="T27" fmla="*/ 32 h 37"/>
                <a:gd name="T28" fmla="*/ 49 w 54"/>
                <a:gd name="T29" fmla="*/ 5 h 37"/>
                <a:gd name="T30" fmla="*/ 18 w 54"/>
                <a:gd name="T31" fmla="*/ 5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4" h="37">
                  <a:moveTo>
                    <a:pt x="51" y="37"/>
                  </a:moveTo>
                  <a:cubicBezTo>
                    <a:pt x="18" y="37"/>
                    <a:pt x="18" y="37"/>
                    <a:pt x="18" y="37"/>
                  </a:cubicBezTo>
                  <a:cubicBezTo>
                    <a:pt x="8" y="37"/>
                    <a:pt x="0" y="29"/>
                    <a:pt x="0" y="19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3" y="0"/>
                    <a:pt x="54" y="1"/>
                    <a:pt x="54" y="2"/>
                  </a:cubicBezTo>
                  <a:cubicBezTo>
                    <a:pt x="54" y="35"/>
                    <a:pt x="54" y="35"/>
                    <a:pt x="54" y="35"/>
                  </a:cubicBezTo>
                  <a:cubicBezTo>
                    <a:pt x="54" y="36"/>
                    <a:pt x="53" y="37"/>
                    <a:pt x="51" y="37"/>
                  </a:cubicBezTo>
                  <a:close/>
                  <a:moveTo>
                    <a:pt x="18" y="5"/>
                  </a:moveTo>
                  <a:cubicBezTo>
                    <a:pt x="10" y="5"/>
                    <a:pt x="5" y="11"/>
                    <a:pt x="5" y="18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5" y="26"/>
                    <a:pt x="10" y="32"/>
                    <a:pt x="18" y="32"/>
                  </a:cubicBezTo>
                  <a:cubicBezTo>
                    <a:pt x="49" y="32"/>
                    <a:pt x="49" y="32"/>
                    <a:pt x="49" y="32"/>
                  </a:cubicBezTo>
                  <a:cubicBezTo>
                    <a:pt x="49" y="5"/>
                    <a:pt x="49" y="5"/>
                    <a:pt x="49" y="5"/>
                  </a:cubicBezTo>
                  <a:lnTo>
                    <a:pt x="18" y="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5" name="Freeform 464">
              <a:extLst>
                <a:ext uri="{FF2B5EF4-FFF2-40B4-BE49-F238E27FC236}">
                  <a16:creationId xmlns:a16="http://schemas.microsoft.com/office/drawing/2014/main" id="{972611A9-52E2-AB19-CEC5-002C4A94DF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36547" y="2308181"/>
              <a:ext cx="41275" cy="38099"/>
            </a:xfrm>
            <a:custGeom>
              <a:avLst/>
              <a:gdLst>
                <a:gd name="T0" fmla="*/ 9 w 18"/>
                <a:gd name="T1" fmla="*/ 17 h 17"/>
                <a:gd name="T2" fmla="*/ 0 w 18"/>
                <a:gd name="T3" fmla="*/ 9 h 17"/>
                <a:gd name="T4" fmla="*/ 9 w 18"/>
                <a:gd name="T5" fmla="*/ 0 h 17"/>
                <a:gd name="T6" fmla="*/ 18 w 18"/>
                <a:gd name="T7" fmla="*/ 9 h 17"/>
                <a:gd name="T8" fmla="*/ 9 w 18"/>
                <a:gd name="T9" fmla="*/ 17 h 17"/>
                <a:gd name="T10" fmla="*/ 9 w 18"/>
                <a:gd name="T11" fmla="*/ 5 h 17"/>
                <a:gd name="T12" fmla="*/ 5 w 18"/>
                <a:gd name="T13" fmla="*/ 9 h 17"/>
                <a:gd name="T14" fmla="*/ 9 w 18"/>
                <a:gd name="T15" fmla="*/ 13 h 17"/>
                <a:gd name="T16" fmla="*/ 13 w 18"/>
                <a:gd name="T17" fmla="*/ 9 h 17"/>
                <a:gd name="T18" fmla="*/ 9 w 18"/>
                <a:gd name="T19" fmla="*/ 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17">
                  <a:moveTo>
                    <a:pt x="9" y="17"/>
                  </a:moveTo>
                  <a:cubicBezTo>
                    <a:pt x="4" y="17"/>
                    <a:pt x="0" y="13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14" y="0"/>
                    <a:pt x="18" y="4"/>
                    <a:pt x="18" y="9"/>
                  </a:cubicBezTo>
                  <a:cubicBezTo>
                    <a:pt x="18" y="13"/>
                    <a:pt x="14" y="17"/>
                    <a:pt x="9" y="17"/>
                  </a:cubicBezTo>
                  <a:close/>
                  <a:moveTo>
                    <a:pt x="9" y="5"/>
                  </a:moveTo>
                  <a:cubicBezTo>
                    <a:pt x="7" y="5"/>
                    <a:pt x="5" y="6"/>
                    <a:pt x="5" y="9"/>
                  </a:cubicBezTo>
                  <a:cubicBezTo>
                    <a:pt x="5" y="11"/>
                    <a:pt x="7" y="13"/>
                    <a:pt x="9" y="13"/>
                  </a:cubicBezTo>
                  <a:cubicBezTo>
                    <a:pt x="12" y="13"/>
                    <a:pt x="13" y="11"/>
                    <a:pt x="13" y="9"/>
                  </a:cubicBezTo>
                  <a:cubicBezTo>
                    <a:pt x="13" y="6"/>
                    <a:pt x="12" y="5"/>
                    <a:pt x="9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6" name="Freeform 465">
              <a:extLst>
                <a:ext uri="{FF2B5EF4-FFF2-40B4-BE49-F238E27FC236}">
                  <a16:creationId xmlns:a16="http://schemas.microsoft.com/office/drawing/2014/main" id="{FE4223D1-B3CE-9282-EAB6-A7B0E4321B5F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8319" y="2214524"/>
              <a:ext cx="20638" cy="11113"/>
            </a:xfrm>
            <a:custGeom>
              <a:avLst/>
              <a:gdLst>
                <a:gd name="T0" fmla="*/ 6 w 9"/>
                <a:gd name="T1" fmla="*/ 5 h 5"/>
                <a:gd name="T2" fmla="*/ 2 w 9"/>
                <a:gd name="T3" fmla="*/ 5 h 5"/>
                <a:gd name="T4" fmla="*/ 0 w 9"/>
                <a:gd name="T5" fmla="*/ 3 h 5"/>
                <a:gd name="T6" fmla="*/ 2 w 9"/>
                <a:gd name="T7" fmla="*/ 0 h 5"/>
                <a:gd name="T8" fmla="*/ 6 w 9"/>
                <a:gd name="T9" fmla="*/ 0 h 5"/>
                <a:gd name="T10" fmla="*/ 9 w 9"/>
                <a:gd name="T11" fmla="*/ 3 h 5"/>
                <a:gd name="T12" fmla="*/ 6 w 9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5">
                  <a:moveTo>
                    <a:pt x="6" y="5"/>
                  </a:move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0" y="4"/>
                    <a:pt x="0" y="3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8" y="0"/>
                    <a:pt x="9" y="1"/>
                    <a:pt x="9" y="3"/>
                  </a:cubicBezTo>
                  <a:cubicBezTo>
                    <a:pt x="9" y="4"/>
                    <a:pt x="8" y="5"/>
                    <a:pt x="6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7" name="Freeform 466">
              <a:extLst>
                <a:ext uri="{FF2B5EF4-FFF2-40B4-BE49-F238E27FC236}">
                  <a16:creationId xmlns:a16="http://schemas.microsoft.com/office/drawing/2014/main" id="{9E92F6E5-09C9-68BF-666B-95BA2E25057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23870" y="2214527"/>
              <a:ext cx="241297" cy="11113"/>
            </a:xfrm>
            <a:custGeom>
              <a:avLst/>
              <a:gdLst>
                <a:gd name="T0" fmla="*/ 104 w 107"/>
                <a:gd name="T1" fmla="*/ 5 h 5"/>
                <a:gd name="T2" fmla="*/ 97 w 107"/>
                <a:gd name="T3" fmla="*/ 5 h 5"/>
                <a:gd name="T4" fmla="*/ 94 w 107"/>
                <a:gd name="T5" fmla="*/ 3 h 5"/>
                <a:gd name="T6" fmla="*/ 97 w 107"/>
                <a:gd name="T7" fmla="*/ 0 h 5"/>
                <a:gd name="T8" fmla="*/ 104 w 107"/>
                <a:gd name="T9" fmla="*/ 0 h 5"/>
                <a:gd name="T10" fmla="*/ 107 w 107"/>
                <a:gd name="T11" fmla="*/ 3 h 5"/>
                <a:gd name="T12" fmla="*/ 104 w 107"/>
                <a:gd name="T13" fmla="*/ 5 h 5"/>
                <a:gd name="T14" fmla="*/ 81 w 107"/>
                <a:gd name="T15" fmla="*/ 5 h 5"/>
                <a:gd name="T16" fmla="*/ 73 w 107"/>
                <a:gd name="T17" fmla="*/ 5 h 5"/>
                <a:gd name="T18" fmla="*/ 70 w 107"/>
                <a:gd name="T19" fmla="*/ 3 h 5"/>
                <a:gd name="T20" fmla="*/ 73 w 107"/>
                <a:gd name="T21" fmla="*/ 0 h 5"/>
                <a:gd name="T22" fmla="*/ 81 w 107"/>
                <a:gd name="T23" fmla="*/ 0 h 5"/>
                <a:gd name="T24" fmla="*/ 83 w 107"/>
                <a:gd name="T25" fmla="*/ 3 h 5"/>
                <a:gd name="T26" fmla="*/ 81 w 107"/>
                <a:gd name="T27" fmla="*/ 5 h 5"/>
                <a:gd name="T28" fmla="*/ 57 w 107"/>
                <a:gd name="T29" fmla="*/ 5 h 5"/>
                <a:gd name="T30" fmla="*/ 49 w 107"/>
                <a:gd name="T31" fmla="*/ 5 h 5"/>
                <a:gd name="T32" fmla="*/ 47 w 107"/>
                <a:gd name="T33" fmla="*/ 3 h 5"/>
                <a:gd name="T34" fmla="*/ 49 w 107"/>
                <a:gd name="T35" fmla="*/ 0 h 5"/>
                <a:gd name="T36" fmla="*/ 57 w 107"/>
                <a:gd name="T37" fmla="*/ 0 h 5"/>
                <a:gd name="T38" fmla="*/ 60 w 107"/>
                <a:gd name="T39" fmla="*/ 3 h 5"/>
                <a:gd name="T40" fmla="*/ 57 w 107"/>
                <a:gd name="T41" fmla="*/ 5 h 5"/>
                <a:gd name="T42" fmla="*/ 34 w 107"/>
                <a:gd name="T43" fmla="*/ 5 h 5"/>
                <a:gd name="T44" fmla="*/ 26 w 107"/>
                <a:gd name="T45" fmla="*/ 5 h 5"/>
                <a:gd name="T46" fmla="*/ 23 w 107"/>
                <a:gd name="T47" fmla="*/ 3 h 5"/>
                <a:gd name="T48" fmla="*/ 26 w 107"/>
                <a:gd name="T49" fmla="*/ 0 h 5"/>
                <a:gd name="T50" fmla="*/ 34 w 107"/>
                <a:gd name="T51" fmla="*/ 0 h 5"/>
                <a:gd name="T52" fmla="*/ 36 w 107"/>
                <a:gd name="T53" fmla="*/ 3 h 5"/>
                <a:gd name="T54" fmla="*/ 34 w 107"/>
                <a:gd name="T55" fmla="*/ 5 h 5"/>
                <a:gd name="T56" fmla="*/ 10 w 107"/>
                <a:gd name="T57" fmla="*/ 5 h 5"/>
                <a:gd name="T58" fmla="*/ 2 w 107"/>
                <a:gd name="T59" fmla="*/ 5 h 5"/>
                <a:gd name="T60" fmla="*/ 0 w 107"/>
                <a:gd name="T61" fmla="*/ 3 h 5"/>
                <a:gd name="T62" fmla="*/ 2 w 107"/>
                <a:gd name="T63" fmla="*/ 0 h 5"/>
                <a:gd name="T64" fmla="*/ 10 w 107"/>
                <a:gd name="T65" fmla="*/ 0 h 5"/>
                <a:gd name="T66" fmla="*/ 12 w 107"/>
                <a:gd name="T67" fmla="*/ 3 h 5"/>
                <a:gd name="T68" fmla="*/ 10 w 107"/>
                <a:gd name="T6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7" h="5">
                  <a:moveTo>
                    <a:pt x="104" y="5"/>
                  </a:moveTo>
                  <a:cubicBezTo>
                    <a:pt x="97" y="5"/>
                    <a:pt x="97" y="5"/>
                    <a:pt x="97" y="5"/>
                  </a:cubicBezTo>
                  <a:cubicBezTo>
                    <a:pt x="95" y="5"/>
                    <a:pt x="94" y="4"/>
                    <a:pt x="94" y="3"/>
                  </a:cubicBezTo>
                  <a:cubicBezTo>
                    <a:pt x="94" y="1"/>
                    <a:pt x="95" y="0"/>
                    <a:pt x="97" y="0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106" y="0"/>
                    <a:pt x="107" y="1"/>
                    <a:pt x="107" y="3"/>
                  </a:cubicBezTo>
                  <a:cubicBezTo>
                    <a:pt x="107" y="4"/>
                    <a:pt x="106" y="5"/>
                    <a:pt x="104" y="5"/>
                  </a:cubicBezTo>
                  <a:close/>
                  <a:moveTo>
                    <a:pt x="81" y="5"/>
                  </a:moveTo>
                  <a:cubicBezTo>
                    <a:pt x="73" y="5"/>
                    <a:pt x="73" y="5"/>
                    <a:pt x="73" y="5"/>
                  </a:cubicBezTo>
                  <a:cubicBezTo>
                    <a:pt x="72" y="5"/>
                    <a:pt x="70" y="4"/>
                    <a:pt x="70" y="3"/>
                  </a:cubicBezTo>
                  <a:cubicBezTo>
                    <a:pt x="70" y="1"/>
                    <a:pt x="72" y="0"/>
                    <a:pt x="73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2" y="0"/>
                    <a:pt x="83" y="1"/>
                    <a:pt x="83" y="3"/>
                  </a:cubicBezTo>
                  <a:cubicBezTo>
                    <a:pt x="83" y="4"/>
                    <a:pt x="82" y="5"/>
                    <a:pt x="81" y="5"/>
                  </a:cubicBezTo>
                  <a:close/>
                  <a:moveTo>
                    <a:pt x="57" y="5"/>
                  </a:moveTo>
                  <a:cubicBezTo>
                    <a:pt x="49" y="5"/>
                    <a:pt x="49" y="5"/>
                    <a:pt x="49" y="5"/>
                  </a:cubicBezTo>
                  <a:cubicBezTo>
                    <a:pt x="48" y="5"/>
                    <a:pt x="47" y="4"/>
                    <a:pt x="47" y="3"/>
                  </a:cubicBezTo>
                  <a:cubicBezTo>
                    <a:pt x="47" y="1"/>
                    <a:pt x="48" y="0"/>
                    <a:pt x="49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9" y="0"/>
                    <a:pt x="60" y="1"/>
                    <a:pt x="60" y="3"/>
                  </a:cubicBezTo>
                  <a:cubicBezTo>
                    <a:pt x="60" y="4"/>
                    <a:pt x="59" y="5"/>
                    <a:pt x="57" y="5"/>
                  </a:cubicBezTo>
                  <a:close/>
                  <a:moveTo>
                    <a:pt x="34" y="5"/>
                  </a:moveTo>
                  <a:cubicBezTo>
                    <a:pt x="26" y="5"/>
                    <a:pt x="26" y="5"/>
                    <a:pt x="26" y="5"/>
                  </a:cubicBezTo>
                  <a:cubicBezTo>
                    <a:pt x="24" y="5"/>
                    <a:pt x="23" y="4"/>
                    <a:pt x="23" y="3"/>
                  </a:cubicBezTo>
                  <a:cubicBezTo>
                    <a:pt x="23" y="1"/>
                    <a:pt x="24" y="0"/>
                    <a:pt x="26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5" y="0"/>
                    <a:pt x="36" y="1"/>
                    <a:pt x="36" y="3"/>
                  </a:cubicBezTo>
                  <a:cubicBezTo>
                    <a:pt x="36" y="4"/>
                    <a:pt x="35" y="5"/>
                    <a:pt x="34" y="5"/>
                  </a:cubicBezTo>
                  <a:close/>
                  <a:moveTo>
                    <a:pt x="10" y="5"/>
                  </a:move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0" y="4"/>
                    <a:pt x="0" y="3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1" y="0"/>
                    <a:pt x="12" y="1"/>
                    <a:pt x="12" y="3"/>
                  </a:cubicBezTo>
                  <a:cubicBezTo>
                    <a:pt x="12" y="4"/>
                    <a:pt x="11" y="5"/>
                    <a:pt x="10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8" name="Freeform 467">
              <a:extLst>
                <a:ext uri="{FF2B5EF4-FFF2-40B4-BE49-F238E27FC236}">
                  <a16:creationId xmlns:a16="http://schemas.microsoft.com/office/drawing/2014/main" id="{734E773B-150C-6B54-A0BF-A9F1F4A5C5F7}"/>
                </a:ext>
              </a:extLst>
            </p:cNvPr>
            <p:cNvSpPr>
              <a:spLocks/>
            </p:cNvSpPr>
            <p:nvPr/>
          </p:nvSpPr>
          <p:spPr bwMode="auto">
            <a:xfrm>
              <a:off x="-257173" y="2214528"/>
              <a:ext cx="20638" cy="11113"/>
            </a:xfrm>
            <a:custGeom>
              <a:avLst/>
              <a:gdLst>
                <a:gd name="T0" fmla="*/ 6 w 9"/>
                <a:gd name="T1" fmla="*/ 5 h 5"/>
                <a:gd name="T2" fmla="*/ 2 w 9"/>
                <a:gd name="T3" fmla="*/ 5 h 5"/>
                <a:gd name="T4" fmla="*/ 0 w 9"/>
                <a:gd name="T5" fmla="*/ 3 h 5"/>
                <a:gd name="T6" fmla="*/ 2 w 9"/>
                <a:gd name="T7" fmla="*/ 0 h 5"/>
                <a:gd name="T8" fmla="*/ 6 w 9"/>
                <a:gd name="T9" fmla="*/ 0 h 5"/>
                <a:gd name="T10" fmla="*/ 9 w 9"/>
                <a:gd name="T11" fmla="*/ 3 h 5"/>
                <a:gd name="T12" fmla="*/ 6 w 9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5">
                  <a:moveTo>
                    <a:pt x="6" y="5"/>
                  </a:move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0" y="4"/>
                    <a:pt x="0" y="3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8" y="0"/>
                    <a:pt x="9" y="1"/>
                    <a:pt x="9" y="3"/>
                  </a:cubicBezTo>
                  <a:cubicBezTo>
                    <a:pt x="9" y="4"/>
                    <a:pt x="8" y="5"/>
                    <a:pt x="6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9" name="Freeform 468">
              <a:extLst>
                <a:ext uri="{FF2B5EF4-FFF2-40B4-BE49-F238E27FC236}">
                  <a16:creationId xmlns:a16="http://schemas.microsoft.com/office/drawing/2014/main" id="{D8B1BB15-5EBE-60CC-159E-30D578943594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8320" y="2427250"/>
              <a:ext cx="20638" cy="11113"/>
            </a:xfrm>
            <a:custGeom>
              <a:avLst/>
              <a:gdLst>
                <a:gd name="T0" fmla="*/ 6 w 9"/>
                <a:gd name="T1" fmla="*/ 5 h 5"/>
                <a:gd name="T2" fmla="*/ 2 w 9"/>
                <a:gd name="T3" fmla="*/ 5 h 5"/>
                <a:gd name="T4" fmla="*/ 0 w 9"/>
                <a:gd name="T5" fmla="*/ 2 h 5"/>
                <a:gd name="T6" fmla="*/ 2 w 9"/>
                <a:gd name="T7" fmla="*/ 0 h 5"/>
                <a:gd name="T8" fmla="*/ 6 w 9"/>
                <a:gd name="T9" fmla="*/ 0 h 5"/>
                <a:gd name="T10" fmla="*/ 9 w 9"/>
                <a:gd name="T11" fmla="*/ 2 h 5"/>
                <a:gd name="T12" fmla="*/ 6 w 9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5">
                  <a:moveTo>
                    <a:pt x="6" y="5"/>
                  </a:move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0" y="4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8" y="0"/>
                    <a:pt x="9" y="1"/>
                    <a:pt x="9" y="2"/>
                  </a:cubicBezTo>
                  <a:cubicBezTo>
                    <a:pt x="9" y="4"/>
                    <a:pt x="8" y="5"/>
                    <a:pt x="6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0" name="Freeform 469">
              <a:extLst>
                <a:ext uri="{FF2B5EF4-FFF2-40B4-BE49-F238E27FC236}">
                  <a16:creationId xmlns:a16="http://schemas.microsoft.com/office/drawing/2014/main" id="{1023C38D-D9EA-2544-A0BC-D51924C49FC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23870" y="2427231"/>
              <a:ext cx="241297" cy="11113"/>
            </a:xfrm>
            <a:custGeom>
              <a:avLst/>
              <a:gdLst>
                <a:gd name="T0" fmla="*/ 104 w 107"/>
                <a:gd name="T1" fmla="*/ 5 h 5"/>
                <a:gd name="T2" fmla="*/ 97 w 107"/>
                <a:gd name="T3" fmla="*/ 5 h 5"/>
                <a:gd name="T4" fmla="*/ 94 w 107"/>
                <a:gd name="T5" fmla="*/ 2 h 5"/>
                <a:gd name="T6" fmla="*/ 97 w 107"/>
                <a:gd name="T7" fmla="*/ 0 h 5"/>
                <a:gd name="T8" fmla="*/ 104 w 107"/>
                <a:gd name="T9" fmla="*/ 0 h 5"/>
                <a:gd name="T10" fmla="*/ 107 w 107"/>
                <a:gd name="T11" fmla="*/ 2 h 5"/>
                <a:gd name="T12" fmla="*/ 104 w 107"/>
                <a:gd name="T13" fmla="*/ 5 h 5"/>
                <a:gd name="T14" fmla="*/ 81 w 107"/>
                <a:gd name="T15" fmla="*/ 5 h 5"/>
                <a:gd name="T16" fmla="*/ 73 w 107"/>
                <a:gd name="T17" fmla="*/ 5 h 5"/>
                <a:gd name="T18" fmla="*/ 70 w 107"/>
                <a:gd name="T19" fmla="*/ 2 h 5"/>
                <a:gd name="T20" fmla="*/ 73 w 107"/>
                <a:gd name="T21" fmla="*/ 0 h 5"/>
                <a:gd name="T22" fmla="*/ 81 w 107"/>
                <a:gd name="T23" fmla="*/ 0 h 5"/>
                <a:gd name="T24" fmla="*/ 83 w 107"/>
                <a:gd name="T25" fmla="*/ 2 h 5"/>
                <a:gd name="T26" fmla="*/ 81 w 107"/>
                <a:gd name="T27" fmla="*/ 5 h 5"/>
                <a:gd name="T28" fmla="*/ 57 w 107"/>
                <a:gd name="T29" fmla="*/ 5 h 5"/>
                <a:gd name="T30" fmla="*/ 49 w 107"/>
                <a:gd name="T31" fmla="*/ 5 h 5"/>
                <a:gd name="T32" fmla="*/ 47 w 107"/>
                <a:gd name="T33" fmla="*/ 2 h 5"/>
                <a:gd name="T34" fmla="*/ 49 w 107"/>
                <a:gd name="T35" fmla="*/ 0 h 5"/>
                <a:gd name="T36" fmla="*/ 57 w 107"/>
                <a:gd name="T37" fmla="*/ 0 h 5"/>
                <a:gd name="T38" fmla="*/ 60 w 107"/>
                <a:gd name="T39" fmla="*/ 2 h 5"/>
                <a:gd name="T40" fmla="*/ 57 w 107"/>
                <a:gd name="T41" fmla="*/ 5 h 5"/>
                <a:gd name="T42" fmla="*/ 34 w 107"/>
                <a:gd name="T43" fmla="*/ 5 h 5"/>
                <a:gd name="T44" fmla="*/ 26 w 107"/>
                <a:gd name="T45" fmla="*/ 5 h 5"/>
                <a:gd name="T46" fmla="*/ 23 w 107"/>
                <a:gd name="T47" fmla="*/ 2 h 5"/>
                <a:gd name="T48" fmla="*/ 26 w 107"/>
                <a:gd name="T49" fmla="*/ 0 h 5"/>
                <a:gd name="T50" fmla="*/ 34 w 107"/>
                <a:gd name="T51" fmla="*/ 0 h 5"/>
                <a:gd name="T52" fmla="*/ 36 w 107"/>
                <a:gd name="T53" fmla="*/ 2 h 5"/>
                <a:gd name="T54" fmla="*/ 34 w 107"/>
                <a:gd name="T55" fmla="*/ 5 h 5"/>
                <a:gd name="T56" fmla="*/ 10 w 107"/>
                <a:gd name="T57" fmla="*/ 5 h 5"/>
                <a:gd name="T58" fmla="*/ 2 w 107"/>
                <a:gd name="T59" fmla="*/ 5 h 5"/>
                <a:gd name="T60" fmla="*/ 0 w 107"/>
                <a:gd name="T61" fmla="*/ 2 h 5"/>
                <a:gd name="T62" fmla="*/ 2 w 107"/>
                <a:gd name="T63" fmla="*/ 0 h 5"/>
                <a:gd name="T64" fmla="*/ 10 w 107"/>
                <a:gd name="T65" fmla="*/ 0 h 5"/>
                <a:gd name="T66" fmla="*/ 12 w 107"/>
                <a:gd name="T67" fmla="*/ 2 h 5"/>
                <a:gd name="T68" fmla="*/ 10 w 107"/>
                <a:gd name="T6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7" h="5">
                  <a:moveTo>
                    <a:pt x="104" y="5"/>
                  </a:moveTo>
                  <a:cubicBezTo>
                    <a:pt x="97" y="5"/>
                    <a:pt x="97" y="5"/>
                    <a:pt x="97" y="5"/>
                  </a:cubicBezTo>
                  <a:cubicBezTo>
                    <a:pt x="95" y="5"/>
                    <a:pt x="94" y="4"/>
                    <a:pt x="94" y="2"/>
                  </a:cubicBezTo>
                  <a:cubicBezTo>
                    <a:pt x="94" y="1"/>
                    <a:pt x="95" y="0"/>
                    <a:pt x="97" y="0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106" y="0"/>
                    <a:pt x="107" y="1"/>
                    <a:pt x="107" y="2"/>
                  </a:cubicBezTo>
                  <a:cubicBezTo>
                    <a:pt x="107" y="4"/>
                    <a:pt x="106" y="5"/>
                    <a:pt x="104" y="5"/>
                  </a:cubicBezTo>
                  <a:close/>
                  <a:moveTo>
                    <a:pt x="81" y="5"/>
                  </a:moveTo>
                  <a:cubicBezTo>
                    <a:pt x="73" y="5"/>
                    <a:pt x="73" y="5"/>
                    <a:pt x="73" y="5"/>
                  </a:cubicBezTo>
                  <a:cubicBezTo>
                    <a:pt x="72" y="5"/>
                    <a:pt x="70" y="4"/>
                    <a:pt x="70" y="2"/>
                  </a:cubicBezTo>
                  <a:cubicBezTo>
                    <a:pt x="70" y="1"/>
                    <a:pt x="72" y="0"/>
                    <a:pt x="73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2" y="0"/>
                    <a:pt x="83" y="1"/>
                    <a:pt x="83" y="2"/>
                  </a:cubicBezTo>
                  <a:cubicBezTo>
                    <a:pt x="83" y="4"/>
                    <a:pt x="82" y="5"/>
                    <a:pt x="81" y="5"/>
                  </a:cubicBezTo>
                  <a:close/>
                  <a:moveTo>
                    <a:pt x="57" y="5"/>
                  </a:moveTo>
                  <a:cubicBezTo>
                    <a:pt x="49" y="5"/>
                    <a:pt x="49" y="5"/>
                    <a:pt x="49" y="5"/>
                  </a:cubicBezTo>
                  <a:cubicBezTo>
                    <a:pt x="48" y="5"/>
                    <a:pt x="47" y="4"/>
                    <a:pt x="47" y="2"/>
                  </a:cubicBezTo>
                  <a:cubicBezTo>
                    <a:pt x="47" y="1"/>
                    <a:pt x="48" y="0"/>
                    <a:pt x="49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9" y="0"/>
                    <a:pt x="60" y="1"/>
                    <a:pt x="60" y="2"/>
                  </a:cubicBezTo>
                  <a:cubicBezTo>
                    <a:pt x="60" y="4"/>
                    <a:pt x="59" y="5"/>
                    <a:pt x="57" y="5"/>
                  </a:cubicBezTo>
                  <a:close/>
                  <a:moveTo>
                    <a:pt x="34" y="5"/>
                  </a:moveTo>
                  <a:cubicBezTo>
                    <a:pt x="26" y="5"/>
                    <a:pt x="26" y="5"/>
                    <a:pt x="26" y="5"/>
                  </a:cubicBezTo>
                  <a:cubicBezTo>
                    <a:pt x="24" y="5"/>
                    <a:pt x="23" y="4"/>
                    <a:pt x="23" y="2"/>
                  </a:cubicBezTo>
                  <a:cubicBezTo>
                    <a:pt x="23" y="1"/>
                    <a:pt x="24" y="0"/>
                    <a:pt x="26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5" y="0"/>
                    <a:pt x="36" y="1"/>
                    <a:pt x="36" y="2"/>
                  </a:cubicBezTo>
                  <a:cubicBezTo>
                    <a:pt x="36" y="4"/>
                    <a:pt x="35" y="5"/>
                    <a:pt x="34" y="5"/>
                  </a:cubicBezTo>
                  <a:close/>
                  <a:moveTo>
                    <a:pt x="10" y="5"/>
                  </a:move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0" y="4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1" y="0"/>
                    <a:pt x="12" y="1"/>
                    <a:pt x="12" y="2"/>
                  </a:cubicBezTo>
                  <a:cubicBezTo>
                    <a:pt x="12" y="4"/>
                    <a:pt x="11" y="5"/>
                    <a:pt x="10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1" name="Freeform 470">
              <a:extLst>
                <a:ext uri="{FF2B5EF4-FFF2-40B4-BE49-F238E27FC236}">
                  <a16:creationId xmlns:a16="http://schemas.microsoft.com/office/drawing/2014/main" id="{77E561ED-51F4-93AC-EAFC-863CE2D0240C}"/>
                </a:ext>
              </a:extLst>
            </p:cNvPr>
            <p:cNvSpPr>
              <a:spLocks/>
            </p:cNvSpPr>
            <p:nvPr/>
          </p:nvSpPr>
          <p:spPr bwMode="auto">
            <a:xfrm>
              <a:off x="-257176" y="2427288"/>
              <a:ext cx="20638" cy="11113"/>
            </a:xfrm>
            <a:custGeom>
              <a:avLst/>
              <a:gdLst>
                <a:gd name="T0" fmla="*/ 6 w 9"/>
                <a:gd name="T1" fmla="*/ 5 h 5"/>
                <a:gd name="T2" fmla="*/ 2 w 9"/>
                <a:gd name="T3" fmla="*/ 5 h 5"/>
                <a:gd name="T4" fmla="*/ 0 w 9"/>
                <a:gd name="T5" fmla="*/ 2 h 5"/>
                <a:gd name="T6" fmla="*/ 2 w 9"/>
                <a:gd name="T7" fmla="*/ 0 h 5"/>
                <a:gd name="T8" fmla="*/ 6 w 9"/>
                <a:gd name="T9" fmla="*/ 0 h 5"/>
                <a:gd name="T10" fmla="*/ 9 w 9"/>
                <a:gd name="T11" fmla="*/ 2 h 5"/>
                <a:gd name="T12" fmla="*/ 6 w 9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5">
                  <a:moveTo>
                    <a:pt x="6" y="5"/>
                  </a:move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0" y="4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8" y="0"/>
                    <a:pt x="9" y="1"/>
                    <a:pt x="9" y="2"/>
                  </a:cubicBezTo>
                  <a:cubicBezTo>
                    <a:pt x="9" y="4"/>
                    <a:pt x="8" y="5"/>
                    <a:pt x="6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177" name="Shape50_20200717_142846">
            <a:extLst>
              <a:ext uri="{FF2B5EF4-FFF2-40B4-BE49-F238E27FC236}">
                <a16:creationId xmlns:a16="http://schemas.microsoft.com/office/drawing/2014/main" id="{08FCA777-F68D-DAAB-D407-7B723B3BE778}"/>
              </a:ext>
            </a:extLst>
          </p:cNvPr>
          <p:cNvGrpSpPr>
            <a:grpSpLocks noChangeAspect="1"/>
          </p:cNvGrpSpPr>
          <p:nvPr/>
        </p:nvGrpSpPr>
        <p:grpSpPr>
          <a:xfrm>
            <a:off x="4557751" y="1247675"/>
            <a:ext cx="465375" cy="551739"/>
            <a:chOff x="-2035174" y="980455"/>
            <a:chExt cx="307975" cy="365130"/>
          </a:xfrm>
          <a:solidFill>
            <a:schemeClr val="accent1"/>
          </a:solidFill>
        </p:grpSpPr>
        <p:sp>
          <p:nvSpPr>
            <p:cNvPr id="178" name="Freeform 1477">
              <a:extLst>
                <a:ext uri="{FF2B5EF4-FFF2-40B4-BE49-F238E27FC236}">
                  <a16:creationId xmlns:a16="http://schemas.microsoft.com/office/drawing/2014/main" id="{CF4C32ED-26D7-5449-601E-73016B256B98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63735" y="1216995"/>
              <a:ext cx="11113" cy="107950"/>
            </a:xfrm>
            <a:custGeom>
              <a:avLst/>
              <a:gdLst>
                <a:gd name="T0" fmla="*/ 5 w 11"/>
                <a:gd name="T1" fmla="*/ 104 h 104"/>
                <a:gd name="T2" fmla="*/ 0 w 11"/>
                <a:gd name="T3" fmla="*/ 98 h 104"/>
                <a:gd name="T4" fmla="*/ 0 w 11"/>
                <a:gd name="T5" fmla="*/ 6 h 104"/>
                <a:gd name="T6" fmla="*/ 5 w 11"/>
                <a:gd name="T7" fmla="*/ 0 h 104"/>
                <a:gd name="T8" fmla="*/ 11 w 11"/>
                <a:gd name="T9" fmla="*/ 6 h 104"/>
                <a:gd name="T10" fmla="*/ 11 w 11"/>
                <a:gd name="T11" fmla="*/ 98 h 104"/>
                <a:gd name="T12" fmla="*/ 5 w 11"/>
                <a:gd name="T13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104">
                  <a:moveTo>
                    <a:pt x="5" y="104"/>
                  </a:moveTo>
                  <a:cubicBezTo>
                    <a:pt x="2" y="104"/>
                    <a:pt x="0" y="101"/>
                    <a:pt x="0" y="9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8" y="0"/>
                    <a:pt x="11" y="3"/>
                    <a:pt x="11" y="6"/>
                  </a:cubicBezTo>
                  <a:cubicBezTo>
                    <a:pt x="11" y="98"/>
                    <a:pt x="11" y="98"/>
                    <a:pt x="11" y="98"/>
                  </a:cubicBezTo>
                  <a:cubicBezTo>
                    <a:pt x="11" y="101"/>
                    <a:pt x="8" y="104"/>
                    <a:pt x="5" y="10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9" name="Freeform 1478">
              <a:extLst>
                <a:ext uri="{FF2B5EF4-FFF2-40B4-BE49-F238E27FC236}">
                  <a16:creationId xmlns:a16="http://schemas.microsoft.com/office/drawing/2014/main" id="{9CFEBC92-72E7-A814-726A-CE8EAD0EAC9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035174" y="1070946"/>
              <a:ext cx="222250" cy="274639"/>
            </a:xfrm>
            <a:custGeom>
              <a:avLst/>
              <a:gdLst>
                <a:gd name="T0" fmla="*/ 55 w 214"/>
                <a:gd name="T1" fmla="*/ 263 h 264"/>
                <a:gd name="T2" fmla="*/ 53 w 214"/>
                <a:gd name="T3" fmla="*/ 263 h 264"/>
                <a:gd name="T4" fmla="*/ 30 w 214"/>
                <a:gd name="T5" fmla="*/ 238 h 264"/>
                <a:gd name="T6" fmla="*/ 30 w 214"/>
                <a:gd name="T7" fmla="*/ 135 h 264"/>
                <a:gd name="T8" fmla="*/ 23 w 214"/>
                <a:gd name="T9" fmla="*/ 137 h 264"/>
                <a:gd name="T10" fmla="*/ 7 w 214"/>
                <a:gd name="T11" fmla="*/ 132 h 264"/>
                <a:gd name="T12" fmla="*/ 0 w 214"/>
                <a:gd name="T13" fmla="*/ 116 h 264"/>
                <a:gd name="T14" fmla="*/ 0 w 214"/>
                <a:gd name="T15" fmla="*/ 36 h 264"/>
                <a:gd name="T16" fmla="*/ 36 w 214"/>
                <a:gd name="T17" fmla="*/ 0 h 264"/>
                <a:gd name="T18" fmla="*/ 112 w 214"/>
                <a:gd name="T19" fmla="*/ 0 h 264"/>
                <a:gd name="T20" fmla="*/ 133 w 214"/>
                <a:gd name="T21" fmla="*/ 8 h 264"/>
                <a:gd name="T22" fmla="*/ 166 w 214"/>
                <a:gd name="T23" fmla="*/ 33 h 264"/>
                <a:gd name="T24" fmla="*/ 200 w 214"/>
                <a:gd name="T25" fmla="*/ 44 h 264"/>
                <a:gd name="T26" fmla="*/ 211 w 214"/>
                <a:gd name="T27" fmla="*/ 54 h 264"/>
                <a:gd name="T28" fmla="*/ 212 w 214"/>
                <a:gd name="T29" fmla="*/ 69 h 264"/>
                <a:gd name="T30" fmla="*/ 191 w 214"/>
                <a:gd name="T31" fmla="*/ 81 h 264"/>
                <a:gd name="T32" fmla="*/ 170 w 214"/>
                <a:gd name="T33" fmla="*/ 77 h 264"/>
                <a:gd name="T34" fmla="*/ 133 w 214"/>
                <a:gd name="T35" fmla="*/ 65 h 264"/>
                <a:gd name="T36" fmla="*/ 118 w 214"/>
                <a:gd name="T37" fmla="*/ 58 h 264"/>
                <a:gd name="T38" fmla="*/ 118 w 214"/>
                <a:gd name="T39" fmla="*/ 115 h 264"/>
                <a:gd name="T40" fmla="*/ 118 w 214"/>
                <a:gd name="T41" fmla="*/ 116 h 264"/>
                <a:gd name="T42" fmla="*/ 118 w 214"/>
                <a:gd name="T43" fmla="*/ 238 h 264"/>
                <a:gd name="T44" fmla="*/ 96 w 214"/>
                <a:gd name="T45" fmla="*/ 263 h 264"/>
                <a:gd name="T46" fmla="*/ 77 w 214"/>
                <a:gd name="T47" fmla="*/ 257 h 264"/>
                <a:gd name="T48" fmla="*/ 74 w 214"/>
                <a:gd name="T49" fmla="*/ 254 h 264"/>
                <a:gd name="T50" fmla="*/ 72 w 214"/>
                <a:gd name="T51" fmla="*/ 257 h 264"/>
                <a:gd name="T52" fmla="*/ 55 w 214"/>
                <a:gd name="T53" fmla="*/ 263 h 264"/>
                <a:gd name="T54" fmla="*/ 41 w 214"/>
                <a:gd name="T55" fmla="*/ 116 h 264"/>
                <a:gd name="T56" fmla="*/ 41 w 214"/>
                <a:gd name="T57" fmla="*/ 238 h 264"/>
                <a:gd name="T58" fmla="*/ 54 w 214"/>
                <a:gd name="T59" fmla="*/ 252 h 264"/>
                <a:gd name="T60" fmla="*/ 64 w 214"/>
                <a:gd name="T61" fmla="*/ 248 h 264"/>
                <a:gd name="T62" fmla="*/ 69 w 214"/>
                <a:gd name="T63" fmla="*/ 238 h 264"/>
                <a:gd name="T64" fmla="*/ 74 w 214"/>
                <a:gd name="T65" fmla="*/ 233 h 264"/>
                <a:gd name="T66" fmla="*/ 80 w 214"/>
                <a:gd name="T67" fmla="*/ 238 h 264"/>
                <a:gd name="T68" fmla="*/ 84 w 214"/>
                <a:gd name="T69" fmla="*/ 248 h 264"/>
                <a:gd name="T70" fmla="*/ 95 w 214"/>
                <a:gd name="T71" fmla="*/ 252 h 264"/>
                <a:gd name="T72" fmla="*/ 107 w 214"/>
                <a:gd name="T73" fmla="*/ 238 h 264"/>
                <a:gd name="T74" fmla="*/ 107 w 214"/>
                <a:gd name="T75" fmla="*/ 116 h 264"/>
                <a:gd name="T76" fmla="*/ 107 w 214"/>
                <a:gd name="T77" fmla="*/ 116 h 264"/>
                <a:gd name="T78" fmla="*/ 107 w 214"/>
                <a:gd name="T79" fmla="*/ 50 h 264"/>
                <a:gd name="T80" fmla="*/ 109 w 214"/>
                <a:gd name="T81" fmla="*/ 45 h 264"/>
                <a:gd name="T82" fmla="*/ 115 w 214"/>
                <a:gd name="T83" fmla="*/ 45 h 264"/>
                <a:gd name="T84" fmla="*/ 137 w 214"/>
                <a:gd name="T85" fmla="*/ 55 h 264"/>
                <a:gd name="T86" fmla="*/ 172 w 214"/>
                <a:gd name="T87" fmla="*/ 66 h 264"/>
                <a:gd name="T88" fmla="*/ 193 w 214"/>
                <a:gd name="T89" fmla="*/ 70 h 264"/>
                <a:gd name="T90" fmla="*/ 202 w 214"/>
                <a:gd name="T91" fmla="*/ 65 h 264"/>
                <a:gd name="T92" fmla="*/ 202 w 214"/>
                <a:gd name="T93" fmla="*/ 59 h 264"/>
                <a:gd name="T94" fmla="*/ 197 w 214"/>
                <a:gd name="T95" fmla="*/ 54 h 264"/>
                <a:gd name="T96" fmla="*/ 161 w 214"/>
                <a:gd name="T97" fmla="*/ 43 h 264"/>
                <a:gd name="T98" fmla="*/ 160 w 214"/>
                <a:gd name="T99" fmla="*/ 42 h 264"/>
                <a:gd name="T100" fmla="*/ 127 w 214"/>
                <a:gd name="T101" fmla="*/ 16 h 264"/>
                <a:gd name="T102" fmla="*/ 113 w 214"/>
                <a:gd name="T103" fmla="*/ 11 h 264"/>
                <a:gd name="T104" fmla="*/ 36 w 214"/>
                <a:gd name="T105" fmla="*/ 11 h 264"/>
                <a:gd name="T106" fmla="*/ 11 w 214"/>
                <a:gd name="T107" fmla="*/ 36 h 264"/>
                <a:gd name="T108" fmla="*/ 11 w 214"/>
                <a:gd name="T109" fmla="*/ 116 h 264"/>
                <a:gd name="T110" fmla="*/ 14 w 214"/>
                <a:gd name="T111" fmla="*/ 124 h 264"/>
                <a:gd name="T112" fmla="*/ 22 w 214"/>
                <a:gd name="T113" fmla="*/ 126 h 264"/>
                <a:gd name="T114" fmla="*/ 30 w 214"/>
                <a:gd name="T115" fmla="*/ 116 h 264"/>
                <a:gd name="T116" fmla="*/ 36 w 214"/>
                <a:gd name="T117" fmla="*/ 110 h 264"/>
                <a:gd name="T118" fmla="*/ 41 w 214"/>
                <a:gd name="T119" fmla="*/ 116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14" h="264">
                  <a:moveTo>
                    <a:pt x="55" y="263"/>
                  </a:moveTo>
                  <a:cubicBezTo>
                    <a:pt x="54" y="263"/>
                    <a:pt x="53" y="263"/>
                    <a:pt x="53" y="263"/>
                  </a:cubicBezTo>
                  <a:cubicBezTo>
                    <a:pt x="40" y="262"/>
                    <a:pt x="30" y="251"/>
                    <a:pt x="30" y="238"/>
                  </a:cubicBezTo>
                  <a:cubicBezTo>
                    <a:pt x="30" y="135"/>
                    <a:pt x="30" y="135"/>
                    <a:pt x="30" y="135"/>
                  </a:cubicBezTo>
                  <a:cubicBezTo>
                    <a:pt x="28" y="136"/>
                    <a:pt x="25" y="137"/>
                    <a:pt x="23" y="137"/>
                  </a:cubicBezTo>
                  <a:cubicBezTo>
                    <a:pt x="17" y="137"/>
                    <a:pt x="11" y="136"/>
                    <a:pt x="7" y="132"/>
                  </a:cubicBezTo>
                  <a:cubicBezTo>
                    <a:pt x="2" y="128"/>
                    <a:pt x="0" y="122"/>
                    <a:pt x="0" y="11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20" y="0"/>
                    <a:pt x="127" y="3"/>
                    <a:pt x="133" y="8"/>
                  </a:cubicBezTo>
                  <a:cubicBezTo>
                    <a:pt x="166" y="33"/>
                    <a:pt x="166" y="33"/>
                    <a:pt x="166" y="33"/>
                  </a:cubicBezTo>
                  <a:cubicBezTo>
                    <a:pt x="200" y="44"/>
                    <a:pt x="200" y="44"/>
                    <a:pt x="200" y="44"/>
                  </a:cubicBezTo>
                  <a:cubicBezTo>
                    <a:pt x="205" y="45"/>
                    <a:pt x="209" y="49"/>
                    <a:pt x="211" y="54"/>
                  </a:cubicBezTo>
                  <a:cubicBezTo>
                    <a:pt x="214" y="59"/>
                    <a:pt x="214" y="64"/>
                    <a:pt x="212" y="69"/>
                  </a:cubicBezTo>
                  <a:cubicBezTo>
                    <a:pt x="209" y="78"/>
                    <a:pt x="200" y="83"/>
                    <a:pt x="191" y="81"/>
                  </a:cubicBezTo>
                  <a:cubicBezTo>
                    <a:pt x="170" y="77"/>
                    <a:pt x="170" y="77"/>
                    <a:pt x="170" y="77"/>
                  </a:cubicBezTo>
                  <a:cubicBezTo>
                    <a:pt x="157" y="75"/>
                    <a:pt x="145" y="71"/>
                    <a:pt x="133" y="65"/>
                  </a:cubicBezTo>
                  <a:cubicBezTo>
                    <a:pt x="118" y="58"/>
                    <a:pt x="118" y="58"/>
                    <a:pt x="118" y="58"/>
                  </a:cubicBezTo>
                  <a:cubicBezTo>
                    <a:pt x="118" y="115"/>
                    <a:pt x="118" y="115"/>
                    <a:pt x="118" y="115"/>
                  </a:cubicBezTo>
                  <a:cubicBezTo>
                    <a:pt x="118" y="115"/>
                    <a:pt x="118" y="116"/>
                    <a:pt x="118" y="116"/>
                  </a:cubicBezTo>
                  <a:cubicBezTo>
                    <a:pt x="118" y="238"/>
                    <a:pt x="118" y="238"/>
                    <a:pt x="118" y="238"/>
                  </a:cubicBezTo>
                  <a:cubicBezTo>
                    <a:pt x="118" y="251"/>
                    <a:pt x="108" y="262"/>
                    <a:pt x="96" y="263"/>
                  </a:cubicBezTo>
                  <a:cubicBezTo>
                    <a:pt x="89" y="264"/>
                    <a:pt x="82" y="261"/>
                    <a:pt x="77" y="257"/>
                  </a:cubicBezTo>
                  <a:cubicBezTo>
                    <a:pt x="76" y="256"/>
                    <a:pt x="75" y="255"/>
                    <a:pt x="74" y="254"/>
                  </a:cubicBezTo>
                  <a:cubicBezTo>
                    <a:pt x="73" y="255"/>
                    <a:pt x="72" y="256"/>
                    <a:pt x="72" y="257"/>
                  </a:cubicBezTo>
                  <a:cubicBezTo>
                    <a:pt x="67" y="261"/>
                    <a:pt x="61" y="263"/>
                    <a:pt x="55" y="263"/>
                  </a:cubicBezTo>
                  <a:close/>
                  <a:moveTo>
                    <a:pt x="41" y="116"/>
                  </a:moveTo>
                  <a:cubicBezTo>
                    <a:pt x="41" y="238"/>
                    <a:pt x="41" y="238"/>
                    <a:pt x="41" y="238"/>
                  </a:cubicBezTo>
                  <a:cubicBezTo>
                    <a:pt x="41" y="245"/>
                    <a:pt x="47" y="251"/>
                    <a:pt x="54" y="252"/>
                  </a:cubicBezTo>
                  <a:cubicBezTo>
                    <a:pt x="58" y="252"/>
                    <a:pt x="61" y="251"/>
                    <a:pt x="64" y="248"/>
                  </a:cubicBezTo>
                  <a:cubicBezTo>
                    <a:pt x="67" y="246"/>
                    <a:pt x="69" y="242"/>
                    <a:pt x="69" y="238"/>
                  </a:cubicBezTo>
                  <a:cubicBezTo>
                    <a:pt x="69" y="235"/>
                    <a:pt x="71" y="233"/>
                    <a:pt x="74" y="233"/>
                  </a:cubicBezTo>
                  <a:cubicBezTo>
                    <a:pt x="77" y="233"/>
                    <a:pt x="80" y="235"/>
                    <a:pt x="80" y="238"/>
                  </a:cubicBezTo>
                  <a:cubicBezTo>
                    <a:pt x="80" y="242"/>
                    <a:pt x="81" y="246"/>
                    <a:pt x="84" y="248"/>
                  </a:cubicBezTo>
                  <a:cubicBezTo>
                    <a:pt x="87" y="251"/>
                    <a:pt x="91" y="252"/>
                    <a:pt x="95" y="252"/>
                  </a:cubicBezTo>
                  <a:cubicBezTo>
                    <a:pt x="102" y="251"/>
                    <a:pt x="107" y="245"/>
                    <a:pt x="107" y="238"/>
                  </a:cubicBezTo>
                  <a:cubicBezTo>
                    <a:pt x="107" y="116"/>
                    <a:pt x="107" y="116"/>
                    <a:pt x="107" y="116"/>
                  </a:cubicBezTo>
                  <a:cubicBezTo>
                    <a:pt x="107" y="116"/>
                    <a:pt x="107" y="116"/>
                    <a:pt x="107" y="116"/>
                  </a:cubicBezTo>
                  <a:cubicBezTo>
                    <a:pt x="107" y="50"/>
                    <a:pt x="107" y="50"/>
                    <a:pt x="107" y="50"/>
                  </a:cubicBezTo>
                  <a:cubicBezTo>
                    <a:pt x="107" y="48"/>
                    <a:pt x="108" y="46"/>
                    <a:pt x="109" y="45"/>
                  </a:cubicBezTo>
                  <a:cubicBezTo>
                    <a:pt x="111" y="44"/>
                    <a:pt x="113" y="44"/>
                    <a:pt x="115" y="45"/>
                  </a:cubicBezTo>
                  <a:cubicBezTo>
                    <a:pt x="137" y="55"/>
                    <a:pt x="137" y="55"/>
                    <a:pt x="137" y="55"/>
                  </a:cubicBezTo>
                  <a:cubicBezTo>
                    <a:pt x="149" y="60"/>
                    <a:pt x="160" y="64"/>
                    <a:pt x="172" y="66"/>
                  </a:cubicBezTo>
                  <a:cubicBezTo>
                    <a:pt x="193" y="70"/>
                    <a:pt x="193" y="70"/>
                    <a:pt x="193" y="70"/>
                  </a:cubicBezTo>
                  <a:cubicBezTo>
                    <a:pt x="197" y="71"/>
                    <a:pt x="200" y="69"/>
                    <a:pt x="202" y="65"/>
                  </a:cubicBezTo>
                  <a:cubicBezTo>
                    <a:pt x="203" y="63"/>
                    <a:pt x="203" y="61"/>
                    <a:pt x="202" y="59"/>
                  </a:cubicBezTo>
                  <a:cubicBezTo>
                    <a:pt x="201" y="56"/>
                    <a:pt x="199" y="55"/>
                    <a:pt x="197" y="54"/>
                  </a:cubicBezTo>
                  <a:cubicBezTo>
                    <a:pt x="161" y="43"/>
                    <a:pt x="161" y="43"/>
                    <a:pt x="161" y="43"/>
                  </a:cubicBezTo>
                  <a:cubicBezTo>
                    <a:pt x="161" y="43"/>
                    <a:pt x="160" y="43"/>
                    <a:pt x="160" y="42"/>
                  </a:cubicBezTo>
                  <a:cubicBezTo>
                    <a:pt x="127" y="16"/>
                    <a:pt x="127" y="16"/>
                    <a:pt x="127" y="16"/>
                  </a:cubicBezTo>
                  <a:cubicBezTo>
                    <a:pt x="122" y="13"/>
                    <a:pt x="117" y="11"/>
                    <a:pt x="113" y="11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22" y="11"/>
                    <a:pt x="11" y="22"/>
                    <a:pt x="11" y="36"/>
                  </a:cubicBezTo>
                  <a:cubicBezTo>
                    <a:pt x="11" y="116"/>
                    <a:pt x="11" y="116"/>
                    <a:pt x="11" y="116"/>
                  </a:cubicBezTo>
                  <a:cubicBezTo>
                    <a:pt x="11" y="119"/>
                    <a:pt x="12" y="122"/>
                    <a:pt x="14" y="124"/>
                  </a:cubicBezTo>
                  <a:cubicBezTo>
                    <a:pt x="16" y="125"/>
                    <a:pt x="19" y="126"/>
                    <a:pt x="22" y="126"/>
                  </a:cubicBezTo>
                  <a:cubicBezTo>
                    <a:pt x="27" y="126"/>
                    <a:pt x="30" y="121"/>
                    <a:pt x="30" y="116"/>
                  </a:cubicBezTo>
                  <a:cubicBezTo>
                    <a:pt x="30" y="113"/>
                    <a:pt x="33" y="110"/>
                    <a:pt x="36" y="110"/>
                  </a:cubicBezTo>
                  <a:cubicBezTo>
                    <a:pt x="39" y="110"/>
                    <a:pt x="41" y="113"/>
                    <a:pt x="41" y="11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0" name="Freeform 1479">
              <a:extLst>
                <a:ext uri="{FF2B5EF4-FFF2-40B4-BE49-F238E27FC236}">
                  <a16:creationId xmlns:a16="http://schemas.microsoft.com/office/drawing/2014/main" id="{B50E93FC-D476-20B0-A63D-151909842BB9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05013" y="1070946"/>
              <a:ext cx="92075" cy="11113"/>
            </a:xfrm>
            <a:custGeom>
              <a:avLst/>
              <a:gdLst>
                <a:gd name="T0" fmla="*/ 82 w 88"/>
                <a:gd name="T1" fmla="*/ 11 h 11"/>
                <a:gd name="T2" fmla="*/ 6 w 88"/>
                <a:gd name="T3" fmla="*/ 11 h 11"/>
                <a:gd name="T4" fmla="*/ 0 w 88"/>
                <a:gd name="T5" fmla="*/ 6 h 11"/>
                <a:gd name="T6" fmla="*/ 6 w 88"/>
                <a:gd name="T7" fmla="*/ 0 h 11"/>
                <a:gd name="T8" fmla="*/ 82 w 88"/>
                <a:gd name="T9" fmla="*/ 0 h 11"/>
                <a:gd name="T10" fmla="*/ 88 w 88"/>
                <a:gd name="T11" fmla="*/ 6 h 11"/>
                <a:gd name="T12" fmla="*/ 82 w 88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8" h="11">
                  <a:moveTo>
                    <a:pt x="82" y="11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3" y="11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85" y="0"/>
                    <a:pt x="88" y="3"/>
                    <a:pt x="88" y="6"/>
                  </a:cubicBezTo>
                  <a:cubicBezTo>
                    <a:pt x="88" y="9"/>
                    <a:pt x="85" y="11"/>
                    <a:pt x="82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1" name="Freeform 1480">
              <a:extLst>
                <a:ext uri="{FF2B5EF4-FFF2-40B4-BE49-F238E27FC236}">
                  <a16:creationId xmlns:a16="http://schemas.microsoft.com/office/drawing/2014/main" id="{E89FFF07-F084-D170-9575-6A44B5AEF500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05012" y="1116983"/>
              <a:ext cx="11113" cy="79375"/>
            </a:xfrm>
            <a:custGeom>
              <a:avLst/>
              <a:gdLst>
                <a:gd name="T0" fmla="*/ 6 w 11"/>
                <a:gd name="T1" fmla="*/ 77 h 77"/>
                <a:gd name="T2" fmla="*/ 0 w 11"/>
                <a:gd name="T3" fmla="*/ 72 h 77"/>
                <a:gd name="T4" fmla="*/ 0 w 11"/>
                <a:gd name="T5" fmla="*/ 6 h 77"/>
                <a:gd name="T6" fmla="*/ 6 w 11"/>
                <a:gd name="T7" fmla="*/ 0 h 77"/>
                <a:gd name="T8" fmla="*/ 11 w 11"/>
                <a:gd name="T9" fmla="*/ 6 h 77"/>
                <a:gd name="T10" fmla="*/ 11 w 11"/>
                <a:gd name="T11" fmla="*/ 72 h 77"/>
                <a:gd name="T12" fmla="*/ 6 w 11"/>
                <a:gd name="T13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77">
                  <a:moveTo>
                    <a:pt x="6" y="77"/>
                  </a:moveTo>
                  <a:cubicBezTo>
                    <a:pt x="3" y="77"/>
                    <a:pt x="0" y="75"/>
                    <a:pt x="0" y="7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1" y="3"/>
                    <a:pt x="11" y="6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5"/>
                    <a:pt x="9" y="77"/>
                    <a:pt x="6" y="7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2" name="Freeform 1481">
              <a:extLst>
                <a:ext uri="{FF2B5EF4-FFF2-40B4-BE49-F238E27FC236}">
                  <a16:creationId xmlns:a16="http://schemas.microsoft.com/office/drawing/2014/main" id="{089FDEC6-BD3D-A558-7991-05E437F93B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990724" y="996332"/>
              <a:ext cx="63500" cy="63500"/>
            </a:xfrm>
            <a:custGeom>
              <a:avLst/>
              <a:gdLst>
                <a:gd name="T0" fmla="*/ 31 w 62"/>
                <a:gd name="T1" fmla="*/ 62 h 62"/>
                <a:gd name="T2" fmla="*/ 0 w 62"/>
                <a:gd name="T3" fmla="*/ 31 h 62"/>
                <a:gd name="T4" fmla="*/ 31 w 62"/>
                <a:gd name="T5" fmla="*/ 0 h 62"/>
                <a:gd name="T6" fmla="*/ 62 w 62"/>
                <a:gd name="T7" fmla="*/ 31 h 62"/>
                <a:gd name="T8" fmla="*/ 31 w 62"/>
                <a:gd name="T9" fmla="*/ 62 h 62"/>
                <a:gd name="T10" fmla="*/ 31 w 62"/>
                <a:gd name="T11" fmla="*/ 11 h 62"/>
                <a:gd name="T12" fmla="*/ 11 w 62"/>
                <a:gd name="T13" fmla="*/ 31 h 62"/>
                <a:gd name="T14" fmla="*/ 31 w 62"/>
                <a:gd name="T15" fmla="*/ 51 h 62"/>
                <a:gd name="T16" fmla="*/ 51 w 62"/>
                <a:gd name="T17" fmla="*/ 31 h 62"/>
                <a:gd name="T18" fmla="*/ 31 w 62"/>
                <a:gd name="T19" fmla="*/ 11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2" h="62">
                  <a:moveTo>
                    <a:pt x="31" y="62"/>
                  </a:moveTo>
                  <a:cubicBezTo>
                    <a:pt x="14" y="62"/>
                    <a:pt x="0" y="48"/>
                    <a:pt x="0" y="31"/>
                  </a:cubicBezTo>
                  <a:cubicBezTo>
                    <a:pt x="0" y="14"/>
                    <a:pt x="14" y="0"/>
                    <a:pt x="31" y="0"/>
                  </a:cubicBezTo>
                  <a:cubicBezTo>
                    <a:pt x="48" y="0"/>
                    <a:pt x="62" y="14"/>
                    <a:pt x="62" y="31"/>
                  </a:cubicBezTo>
                  <a:cubicBezTo>
                    <a:pt x="62" y="48"/>
                    <a:pt x="48" y="62"/>
                    <a:pt x="31" y="62"/>
                  </a:cubicBezTo>
                  <a:close/>
                  <a:moveTo>
                    <a:pt x="31" y="11"/>
                  </a:moveTo>
                  <a:cubicBezTo>
                    <a:pt x="20" y="11"/>
                    <a:pt x="11" y="20"/>
                    <a:pt x="11" y="31"/>
                  </a:cubicBezTo>
                  <a:cubicBezTo>
                    <a:pt x="11" y="42"/>
                    <a:pt x="20" y="51"/>
                    <a:pt x="31" y="51"/>
                  </a:cubicBezTo>
                  <a:cubicBezTo>
                    <a:pt x="42" y="51"/>
                    <a:pt x="51" y="42"/>
                    <a:pt x="51" y="31"/>
                  </a:cubicBezTo>
                  <a:cubicBezTo>
                    <a:pt x="51" y="20"/>
                    <a:pt x="42" y="11"/>
                    <a:pt x="31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3" name="Freeform 1482">
              <a:extLst>
                <a:ext uri="{FF2B5EF4-FFF2-40B4-BE49-F238E27FC236}">
                  <a16:creationId xmlns:a16="http://schemas.microsoft.com/office/drawing/2014/main" id="{386A394B-F70E-54F6-41BB-96FFBD1EB9CC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43086" y="1143970"/>
              <a:ext cx="11113" cy="200025"/>
            </a:xfrm>
            <a:custGeom>
              <a:avLst/>
              <a:gdLst>
                <a:gd name="T0" fmla="*/ 6 w 11"/>
                <a:gd name="T1" fmla="*/ 193 h 193"/>
                <a:gd name="T2" fmla="*/ 0 w 11"/>
                <a:gd name="T3" fmla="*/ 187 h 193"/>
                <a:gd name="T4" fmla="*/ 0 w 11"/>
                <a:gd name="T5" fmla="*/ 6 h 193"/>
                <a:gd name="T6" fmla="*/ 6 w 11"/>
                <a:gd name="T7" fmla="*/ 0 h 193"/>
                <a:gd name="T8" fmla="*/ 11 w 11"/>
                <a:gd name="T9" fmla="*/ 6 h 193"/>
                <a:gd name="T10" fmla="*/ 11 w 11"/>
                <a:gd name="T11" fmla="*/ 187 h 193"/>
                <a:gd name="T12" fmla="*/ 6 w 11"/>
                <a:gd name="T13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193">
                  <a:moveTo>
                    <a:pt x="6" y="193"/>
                  </a:moveTo>
                  <a:cubicBezTo>
                    <a:pt x="3" y="193"/>
                    <a:pt x="0" y="191"/>
                    <a:pt x="0" y="187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1" y="2"/>
                    <a:pt x="11" y="6"/>
                  </a:cubicBezTo>
                  <a:cubicBezTo>
                    <a:pt x="11" y="187"/>
                    <a:pt x="11" y="187"/>
                    <a:pt x="11" y="187"/>
                  </a:cubicBezTo>
                  <a:cubicBezTo>
                    <a:pt x="11" y="191"/>
                    <a:pt x="9" y="193"/>
                    <a:pt x="6" y="19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4" name="Freeform 1483">
              <a:extLst>
                <a:ext uri="{FF2B5EF4-FFF2-40B4-BE49-F238E27FC236}">
                  <a16:creationId xmlns:a16="http://schemas.microsoft.com/office/drawing/2014/main" id="{93816CF7-BC9E-74DD-0F35-3A7C67099901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43086" y="985219"/>
              <a:ext cx="11113" cy="139700"/>
            </a:xfrm>
            <a:custGeom>
              <a:avLst/>
              <a:gdLst>
                <a:gd name="T0" fmla="*/ 6 w 11"/>
                <a:gd name="T1" fmla="*/ 135 h 135"/>
                <a:gd name="T2" fmla="*/ 0 w 11"/>
                <a:gd name="T3" fmla="*/ 130 h 135"/>
                <a:gd name="T4" fmla="*/ 0 w 11"/>
                <a:gd name="T5" fmla="*/ 6 h 135"/>
                <a:gd name="T6" fmla="*/ 6 w 11"/>
                <a:gd name="T7" fmla="*/ 0 h 135"/>
                <a:gd name="T8" fmla="*/ 11 w 11"/>
                <a:gd name="T9" fmla="*/ 6 h 135"/>
                <a:gd name="T10" fmla="*/ 11 w 11"/>
                <a:gd name="T11" fmla="*/ 130 h 135"/>
                <a:gd name="T12" fmla="*/ 6 w 11"/>
                <a:gd name="T13" fmla="*/ 135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135">
                  <a:moveTo>
                    <a:pt x="6" y="135"/>
                  </a:moveTo>
                  <a:cubicBezTo>
                    <a:pt x="3" y="135"/>
                    <a:pt x="0" y="133"/>
                    <a:pt x="0" y="1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1" y="3"/>
                    <a:pt x="11" y="6"/>
                  </a:cubicBezTo>
                  <a:cubicBezTo>
                    <a:pt x="11" y="130"/>
                    <a:pt x="11" y="130"/>
                    <a:pt x="11" y="130"/>
                  </a:cubicBezTo>
                  <a:cubicBezTo>
                    <a:pt x="11" y="133"/>
                    <a:pt x="9" y="135"/>
                    <a:pt x="6" y="13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5" name="Freeform 1484">
              <a:extLst>
                <a:ext uri="{FF2B5EF4-FFF2-40B4-BE49-F238E27FC236}">
                  <a16:creationId xmlns:a16="http://schemas.microsoft.com/office/drawing/2014/main" id="{1DF89166-1428-7BAA-9524-8772B97017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843087" y="980455"/>
              <a:ext cx="115888" cy="85725"/>
            </a:xfrm>
            <a:custGeom>
              <a:avLst/>
              <a:gdLst>
                <a:gd name="T0" fmla="*/ 27 w 113"/>
                <a:gd name="T1" fmla="*/ 82 h 82"/>
                <a:gd name="T2" fmla="*/ 3 w 113"/>
                <a:gd name="T3" fmla="*/ 75 h 82"/>
                <a:gd name="T4" fmla="*/ 0 w 113"/>
                <a:gd name="T5" fmla="*/ 71 h 82"/>
                <a:gd name="T6" fmla="*/ 0 w 113"/>
                <a:gd name="T7" fmla="*/ 17 h 82"/>
                <a:gd name="T8" fmla="*/ 3 w 113"/>
                <a:gd name="T9" fmla="*/ 12 h 82"/>
                <a:gd name="T10" fmla="*/ 8 w 113"/>
                <a:gd name="T11" fmla="*/ 12 h 82"/>
                <a:gd name="T12" fmla="*/ 55 w 113"/>
                <a:gd name="T13" fmla="*/ 12 h 82"/>
                <a:gd name="T14" fmla="*/ 110 w 113"/>
                <a:gd name="T15" fmla="*/ 12 h 82"/>
                <a:gd name="T16" fmla="*/ 113 w 113"/>
                <a:gd name="T17" fmla="*/ 17 h 82"/>
                <a:gd name="T18" fmla="*/ 113 w 113"/>
                <a:gd name="T19" fmla="*/ 71 h 82"/>
                <a:gd name="T20" fmla="*/ 110 w 113"/>
                <a:gd name="T21" fmla="*/ 76 h 82"/>
                <a:gd name="T22" fmla="*/ 104 w 113"/>
                <a:gd name="T23" fmla="*/ 75 h 82"/>
                <a:gd name="T24" fmla="*/ 58 w 113"/>
                <a:gd name="T25" fmla="*/ 76 h 82"/>
                <a:gd name="T26" fmla="*/ 27 w 113"/>
                <a:gd name="T27" fmla="*/ 82 h 82"/>
                <a:gd name="T28" fmla="*/ 11 w 113"/>
                <a:gd name="T29" fmla="*/ 68 h 82"/>
                <a:gd name="T30" fmla="*/ 55 w 113"/>
                <a:gd name="T31" fmla="*/ 66 h 82"/>
                <a:gd name="T32" fmla="*/ 102 w 113"/>
                <a:gd name="T33" fmla="*/ 62 h 82"/>
                <a:gd name="T34" fmla="*/ 102 w 113"/>
                <a:gd name="T35" fmla="*/ 20 h 82"/>
                <a:gd name="T36" fmla="*/ 58 w 113"/>
                <a:gd name="T37" fmla="*/ 22 h 82"/>
                <a:gd name="T38" fmla="*/ 11 w 113"/>
                <a:gd name="T39" fmla="*/ 26 h 82"/>
                <a:gd name="T40" fmla="*/ 11 w 113"/>
                <a:gd name="T41" fmla="*/ 68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3" h="82">
                  <a:moveTo>
                    <a:pt x="27" y="82"/>
                  </a:moveTo>
                  <a:cubicBezTo>
                    <a:pt x="19" y="82"/>
                    <a:pt x="11" y="81"/>
                    <a:pt x="3" y="75"/>
                  </a:cubicBezTo>
                  <a:cubicBezTo>
                    <a:pt x="1" y="74"/>
                    <a:pt x="0" y="73"/>
                    <a:pt x="0" y="71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5"/>
                    <a:pt x="1" y="13"/>
                    <a:pt x="3" y="12"/>
                  </a:cubicBezTo>
                  <a:cubicBezTo>
                    <a:pt x="5" y="11"/>
                    <a:pt x="7" y="11"/>
                    <a:pt x="8" y="12"/>
                  </a:cubicBezTo>
                  <a:cubicBezTo>
                    <a:pt x="23" y="22"/>
                    <a:pt x="39" y="17"/>
                    <a:pt x="55" y="12"/>
                  </a:cubicBezTo>
                  <a:cubicBezTo>
                    <a:pt x="72" y="6"/>
                    <a:pt x="91" y="0"/>
                    <a:pt x="110" y="12"/>
                  </a:cubicBezTo>
                  <a:cubicBezTo>
                    <a:pt x="112" y="13"/>
                    <a:pt x="113" y="15"/>
                    <a:pt x="113" y="17"/>
                  </a:cubicBezTo>
                  <a:cubicBezTo>
                    <a:pt x="113" y="71"/>
                    <a:pt x="113" y="71"/>
                    <a:pt x="113" y="71"/>
                  </a:cubicBezTo>
                  <a:cubicBezTo>
                    <a:pt x="113" y="73"/>
                    <a:pt x="112" y="75"/>
                    <a:pt x="110" y="76"/>
                  </a:cubicBezTo>
                  <a:cubicBezTo>
                    <a:pt x="108" y="77"/>
                    <a:pt x="106" y="77"/>
                    <a:pt x="104" y="75"/>
                  </a:cubicBezTo>
                  <a:cubicBezTo>
                    <a:pt x="90" y="66"/>
                    <a:pt x="74" y="71"/>
                    <a:pt x="58" y="76"/>
                  </a:cubicBezTo>
                  <a:cubicBezTo>
                    <a:pt x="48" y="79"/>
                    <a:pt x="38" y="82"/>
                    <a:pt x="27" y="82"/>
                  </a:cubicBezTo>
                  <a:close/>
                  <a:moveTo>
                    <a:pt x="11" y="68"/>
                  </a:moveTo>
                  <a:cubicBezTo>
                    <a:pt x="25" y="75"/>
                    <a:pt x="40" y="70"/>
                    <a:pt x="55" y="66"/>
                  </a:cubicBezTo>
                  <a:cubicBezTo>
                    <a:pt x="69" y="61"/>
                    <a:pt x="86" y="56"/>
                    <a:pt x="102" y="62"/>
                  </a:cubicBezTo>
                  <a:cubicBezTo>
                    <a:pt x="102" y="20"/>
                    <a:pt x="102" y="20"/>
                    <a:pt x="102" y="20"/>
                  </a:cubicBezTo>
                  <a:cubicBezTo>
                    <a:pt x="88" y="13"/>
                    <a:pt x="73" y="18"/>
                    <a:pt x="58" y="22"/>
                  </a:cubicBezTo>
                  <a:cubicBezTo>
                    <a:pt x="44" y="27"/>
                    <a:pt x="27" y="32"/>
                    <a:pt x="11" y="26"/>
                  </a:cubicBezTo>
                  <a:lnTo>
                    <a:pt x="11" y="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186" name="Shape46_20200717_142846">
            <a:extLst>
              <a:ext uri="{FF2B5EF4-FFF2-40B4-BE49-F238E27FC236}">
                <a16:creationId xmlns:a16="http://schemas.microsoft.com/office/drawing/2014/main" id="{77656A89-A87E-A73F-BFAD-A06568721B58}"/>
              </a:ext>
            </a:extLst>
          </p:cNvPr>
          <p:cNvGrpSpPr>
            <a:grpSpLocks noChangeAspect="1"/>
          </p:cNvGrpSpPr>
          <p:nvPr/>
        </p:nvGrpSpPr>
        <p:grpSpPr>
          <a:xfrm>
            <a:off x="4578161" y="3880379"/>
            <a:ext cx="311850" cy="508554"/>
            <a:chOff x="-1984375" y="3377579"/>
            <a:chExt cx="206375" cy="336550"/>
          </a:xfrm>
          <a:solidFill>
            <a:schemeClr val="accent1"/>
          </a:solidFill>
        </p:grpSpPr>
        <p:sp>
          <p:nvSpPr>
            <p:cNvPr id="187" name="Freeform 1443">
              <a:extLst>
                <a:ext uri="{FF2B5EF4-FFF2-40B4-BE49-F238E27FC236}">
                  <a16:creationId xmlns:a16="http://schemas.microsoft.com/office/drawing/2014/main" id="{90286704-F447-3092-5B9F-70409D7E7CE2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22462" y="3482354"/>
              <a:ext cx="82550" cy="123825"/>
            </a:xfrm>
            <a:custGeom>
              <a:avLst/>
              <a:gdLst>
                <a:gd name="T0" fmla="*/ 39 w 80"/>
                <a:gd name="T1" fmla="*/ 118 h 118"/>
                <a:gd name="T2" fmla="*/ 2 w 80"/>
                <a:gd name="T3" fmla="*/ 99 h 118"/>
                <a:gd name="T4" fmla="*/ 3 w 80"/>
                <a:gd name="T5" fmla="*/ 92 h 118"/>
                <a:gd name="T6" fmla="*/ 11 w 80"/>
                <a:gd name="T7" fmla="*/ 93 h 118"/>
                <a:gd name="T8" fmla="*/ 57 w 80"/>
                <a:gd name="T9" fmla="*/ 103 h 118"/>
                <a:gd name="T10" fmla="*/ 58 w 80"/>
                <a:gd name="T11" fmla="*/ 103 h 118"/>
                <a:gd name="T12" fmla="*/ 68 w 80"/>
                <a:gd name="T13" fmla="*/ 84 h 118"/>
                <a:gd name="T14" fmla="*/ 52 w 80"/>
                <a:gd name="T15" fmla="*/ 66 h 118"/>
                <a:gd name="T16" fmla="*/ 24 w 80"/>
                <a:gd name="T17" fmla="*/ 57 h 118"/>
                <a:gd name="T18" fmla="*/ 2 w 80"/>
                <a:gd name="T19" fmla="*/ 29 h 118"/>
                <a:gd name="T20" fmla="*/ 11 w 80"/>
                <a:gd name="T21" fmla="*/ 9 h 118"/>
                <a:gd name="T22" fmla="*/ 41 w 80"/>
                <a:gd name="T23" fmla="*/ 0 h 118"/>
                <a:gd name="T24" fmla="*/ 79 w 80"/>
                <a:gd name="T25" fmla="*/ 26 h 118"/>
                <a:gd name="T26" fmla="*/ 75 w 80"/>
                <a:gd name="T27" fmla="*/ 33 h 118"/>
                <a:gd name="T28" fmla="*/ 68 w 80"/>
                <a:gd name="T29" fmla="*/ 29 h 118"/>
                <a:gd name="T30" fmla="*/ 41 w 80"/>
                <a:gd name="T31" fmla="*/ 11 h 118"/>
                <a:gd name="T32" fmla="*/ 18 w 80"/>
                <a:gd name="T33" fmla="*/ 17 h 118"/>
                <a:gd name="T34" fmla="*/ 13 w 80"/>
                <a:gd name="T35" fmla="*/ 29 h 118"/>
                <a:gd name="T36" fmla="*/ 27 w 80"/>
                <a:gd name="T37" fmla="*/ 47 h 118"/>
                <a:gd name="T38" fmla="*/ 56 w 80"/>
                <a:gd name="T39" fmla="*/ 55 h 118"/>
                <a:gd name="T40" fmla="*/ 78 w 80"/>
                <a:gd name="T41" fmla="*/ 83 h 118"/>
                <a:gd name="T42" fmla="*/ 62 w 80"/>
                <a:gd name="T43" fmla="*/ 113 h 118"/>
                <a:gd name="T44" fmla="*/ 39 w 80"/>
                <a:gd name="T45" fmla="*/ 1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0" h="118">
                  <a:moveTo>
                    <a:pt x="39" y="118"/>
                  </a:moveTo>
                  <a:cubicBezTo>
                    <a:pt x="27" y="118"/>
                    <a:pt x="13" y="114"/>
                    <a:pt x="2" y="99"/>
                  </a:cubicBezTo>
                  <a:cubicBezTo>
                    <a:pt x="0" y="97"/>
                    <a:pt x="1" y="93"/>
                    <a:pt x="3" y="92"/>
                  </a:cubicBezTo>
                  <a:cubicBezTo>
                    <a:pt x="6" y="90"/>
                    <a:pt x="9" y="90"/>
                    <a:pt x="11" y="93"/>
                  </a:cubicBezTo>
                  <a:cubicBezTo>
                    <a:pt x="30" y="117"/>
                    <a:pt x="56" y="103"/>
                    <a:pt x="57" y="103"/>
                  </a:cubicBezTo>
                  <a:cubicBezTo>
                    <a:pt x="57" y="103"/>
                    <a:pt x="58" y="103"/>
                    <a:pt x="58" y="103"/>
                  </a:cubicBezTo>
                  <a:cubicBezTo>
                    <a:pt x="59" y="102"/>
                    <a:pt x="69" y="98"/>
                    <a:pt x="68" y="84"/>
                  </a:cubicBezTo>
                  <a:cubicBezTo>
                    <a:pt x="66" y="70"/>
                    <a:pt x="53" y="66"/>
                    <a:pt x="52" y="66"/>
                  </a:cubicBezTo>
                  <a:cubicBezTo>
                    <a:pt x="52" y="66"/>
                    <a:pt x="38" y="61"/>
                    <a:pt x="24" y="57"/>
                  </a:cubicBezTo>
                  <a:cubicBezTo>
                    <a:pt x="9" y="53"/>
                    <a:pt x="2" y="43"/>
                    <a:pt x="2" y="29"/>
                  </a:cubicBezTo>
                  <a:cubicBezTo>
                    <a:pt x="2" y="21"/>
                    <a:pt x="5" y="14"/>
                    <a:pt x="11" y="9"/>
                  </a:cubicBezTo>
                  <a:cubicBezTo>
                    <a:pt x="17" y="3"/>
                    <a:pt x="28" y="0"/>
                    <a:pt x="41" y="0"/>
                  </a:cubicBezTo>
                  <a:cubicBezTo>
                    <a:pt x="65" y="0"/>
                    <a:pt x="76" y="17"/>
                    <a:pt x="79" y="26"/>
                  </a:cubicBezTo>
                  <a:cubicBezTo>
                    <a:pt x="79" y="29"/>
                    <a:pt x="78" y="32"/>
                    <a:pt x="75" y="33"/>
                  </a:cubicBezTo>
                  <a:cubicBezTo>
                    <a:pt x="72" y="34"/>
                    <a:pt x="69" y="32"/>
                    <a:pt x="68" y="29"/>
                  </a:cubicBezTo>
                  <a:cubicBezTo>
                    <a:pt x="68" y="28"/>
                    <a:pt x="62" y="11"/>
                    <a:pt x="41" y="11"/>
                  </a:cubicBezTo>
                  <a:cubicBezTo>
                    <a:pt x="30" y="11"/>
                    <a:pt x="23" y="13"/>
                    <a:pt x="18" y="17"/>
                  </a:cubicBezTo>
                  <a:cubicBezTo>
                    <a:pt x="14" y="20"/>
                    <a:pt x="13" y="24"/>
                    <a:pt x="13" y="29"/>
                  </a:cubicBezTo>
                  <a:cubicBezTo>
                    <a:pt x="13" y="38"/>
                    <a:pt x="17" y="44"/>
                    <a:pt x="27" y="47"/>
                  </a:cubicBezTo>
                  <a:cubicBezTo>
                    <a:pt x="41" y="51"/>
                    <a:pt x="56" y="55"/>
                    <a:pt x="56" y="55"/>
                  </a:cubicBezTo>
                  <a:cubicBezTo>
                    <a:pt x="56" y="55"/>
                    <a:pt x="76" y="61"/>
                    <a:pt x="78" y="83"/>
                  </a:cubicBezTo>
                  <a:cubicBezTo>
                    <a:pt x="80" y="100"/>
                    <a:pt x="69" y="110"/>
                    <a:pt x="62" y="113"/>
                  </a:cubicBezTo>
                  <a:cubicBezTo>
                    <a:pt x="57" y="116"/>
                    <a:pt x="48" y="118"/>
                    <a:pt x="39" y="1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8" name="Freeform 1444">
              <a:extLst>
                <a:ext uri="{FF2B5EF4-FFF2-40B4-BE49-F238E27FC236}">
                  <a16:creationId xmlns:a16="http://schemas.microsoft.com/office/drawing/2014/main" id="{0A3D0C8B-3B45-EFD4-5844-AA7C6095B499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85950" y="3460130"/>
              <a:ext cx="11113" cy="34925"/>
            </a:xfrm>
            <a:custGeom>
              <a:avLst/>
              <a:gdLst>
                <a:gd name="T0" fmla="*/ 6 w 11"/>
                <a:gd name="T1" fmla="*/ 33 h 33"/>
                <a:gd name="T2" fmla="*/ 0 w 11"/>
                <a:gd name="T3" fmla="*/ 27 h 33"/>
                <a:gd name="T4" fmla="*/ 0 w 11"/>
                <a:gd name="T5" fmla="*/ 5 h 33"/>
                <a:gd name="T6" fmla="*/ 6 w 11"/>
                <a:gd name="T7" fmla="*/ 0 h 33"/>
                <a:gd name="T8" fmla="*/ 11 w 11"/>
                <a:gd name="T9" fmla="*/ 5 h 33"/>
                <a:gd name="T10" fmla="*/ 11 w 11"/>
                <a:gd name="T11" fmla="*/ 27 h 33"/>
                <a:gd name="T12" fmla="*/ 6 w 11"/>
                <a:gd name="T13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33">
                  <a:moveTo>
                    <a:pt x="6" y="33"/>
                  </a:moveTo>
                  <a:cubicBezTo>
                    <a:pt x="3" y="33"/>
                    <a:pt x="0" y="30"/>
                    <a:pt x="0" y="27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1" y="2"/>
                    <a:pt x="11" y="5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30"/>
                    <a:pt x="9" y="33"/>
                    <a:pt x="6" y="3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9" name="Freeform 1445">
              <a:extLst>
                <a:ext uri="{FF2B5EF4-FFF2-40B4-BE49-F238E27FC236}">
                  <a16:creationId xmlns:a16="http://schemas.microsoft.com/office/drawing/2014/main" id="{096FDED4-7D10-8D49-3417-AA2B0042672C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85950" y="3596655"/>
              <a:ext cx="11113" cy="33338"/>
            </a:xfrm>
            <a:custGeom>
              <a:avLst/>
              <a:gdLst>
                <a:gd name="T0" fmla="*/ 6 w 11"/>
                <a:gd name="T1" fmla="*/ 33 h 33"/>
                <a:gd name="T2" fmla="*/ 0 w 11"/>
                <a:gd name="T3" fmla="*/ 27 h 33"/>
                <a:gd name="T4" fmla="*/ 0 w 11"/>
                <a:gd name="T5" fmla="*/ 5 h 33"/>
                <a:gd name="T6" fmla="*/ 6 w 11"/>
                <a:gd name="T7" fmla="*/ 0 h 33"/>
                <a:gd name="T8" fmla="*/ 11 w 11"/>
                <a:gd name="T9" fmla="*/ 5 h 33"/>
                <a:gd name="T10" fmla="*/ 11 w 11"/>
                <a:gd name="T11" fmla="*/ 27 h 33"/>
                <a:gd name="T12" fmla="*/ 6 w 11"/>
                <a:gd name="T13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33">
                  <a:moveTo>
                    <a:pt x="6" y="33"/>
                  </a:moveTo>
                  <a:cubicBezTo>
                    <a:pt x="3" y="33"/>
                    <a:pt x="0" y="30"/>
                    <a:pt x="0" y="27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1" y="2"/>
                    <a:pt x="11" y="5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30"/>
                    <a:pt x="9" y="33"/>
                    <a:pt x="6" y="3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0" name="Freeform 1446">
              <a:extLst>
                <a:ext uri="{FF2B5EF4-FFF2-40B4-BE49-F238E27FC236}">
                  <a16:creationId xmlns:a16="http://schemas.microsoft.com/office/drawing/2014/main" id="{E51E08D5-74FE-D970-F3FB-6E99DC04D2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984375" y="3377579"/>
              <a:ext cx="206375" cy="336550"/>
            </a:xfrm>
            <a:custGeom>
              <a:avLst/>
              <a:gdLst>
                <a:gd name="T0" fmla="*/ 166 w 198"/>
                <a:gd name="T1" fmla="*/ 324 h 324"/>
                <a:gd name="T2" fmla="*/ 32 w 198"/>
                <a:gd name="T3" fmla="*/ 324 h 324"/>
                <a:gd name="T4" fmla="*/ 0 w 198"/>
                <a:gd name="T5" fmla="*/ 292 h 324"/>
                <a:gd name="T6" fmla="*/ 0 w 198"/>
                <a:gd name="T7" fmla="*/ 31 h 324"/>
                <a:gd name="T8" fmla="*/ 32 w 198"/>
                <a:gd name="T9" fmla="*/ 0 h 324"/>
                <a:gd name="T10" fmla="*/ 166 w 198"/>
                <a:gd name="T11" fmla="*/ 0 h 324"/>
                <a:gd name="T12" fmla="*/ 198 w 198"/>
                <a:gd name="T13" fmla="*/ 31 h 324"/>
                <a:gd name="T14" fmla="*/ 198 w 198"/>
                <a:gd name="T15" fmla="*/ 292 h 324"/>
                <a:gd name="T16" fmla="*/ 166 w 198"/>
                <a:gd name="T17" fmla="*/ 324 h 324"/>
                <a:gd name="T18" fmla="*/ 32 w 198"/>
                <a:gd name="T19" fmla="*/ 11 h 324"/>
                <a:gd name="T20" fmla="*/ 11 w 198"/>
                <a:gd name="T21" fmla="*/ 31 h 324"/>
                <a:gd name="T22" fmla="*/ 11 w 198"/>
                <a:gd name="T23" fmla="*/ 292 h 324"/>
                <a:gd name="T24" fmla="*/ 32 w 198"/>
                <a:gd name="T25" fmla="*/ 313 h 324"/>
                <a:gd name="T26" fmla="*/ 166 w 198"/>
                <a:gd name="T27" fmla="*/ 313 h 324"/>
                <a:gd name="T28" fmla="*/ 187 w 198"/>
                <a:gd name="T29" fmla="*/ 292 h 324"/>
                <a:gd name="T30" fmla="*/ 187 w 198"/>
                <a:gd name="T31" fmla="*/ 31 h 324"/>
                <a:gd name="T32" fmla="*/ 166 w 198"/>
                <a:gd name="T33" fmla="*/ 11 h 324"/>
                <a:gd name="T34" fmla="*/ 32 w 198"/>
                <a:gd name="T35" fmla="*/ 11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8" h="324">
                  <a:moveTo>
                    <a:pt x="166" y="324"/>
                  </a:moveTo>
                  <a:cubicBezTo>
                    <a:pt x="32" y="324"/>
                    <a:pt x="32" y="324"/>
                    <a:pt x="32" y="324"/>
                  </a:cubicBezTo>
                  <a:cubicBezTo>
                    <a:pt x="14" y="324"/>
                    <a:pt x="0" y="310"/>
                    <a:pt x="0" y="292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14"/>
                    <a:pt x="14" y="0"/>
                    <a:pt x="32" y="0"/>
                  </a:cubicBezTo>
                  <a:cubicBezTo>
                    <a:pt x="166" y="0"/>
                    <a:pt x="166" y="0"/>
                    <a:pt x="166" y="0"/>
                  </a:cubicBezTo>
                  <a:cubicBezTo>
                    <a:pt x="184" y="0"/>
                    <a:pt x="198" y="14"/>
                    <a:pt x="198" y="31"/>
                  </a:cubicBezTo>
                  <a:cubicBezTo>
                    <a:pt x="198" y="292"/>
                    <a:pt x="198" y="292"/>
                    <a:pt x="198" y="292"/>
                  </a:cubicBezTo>
                  <a:cubicBezTo>
                    <a:pt x="198" y="310"/>
                    <a:pt x="184" y="324"/>
                    <a:pt x="166" y="324"/>
                  </a:cubicBezTo>
                  <a:close/>
                  <a:moveTo>
                    <a:pt x="32" y="11"/>
                  </a:moveTo>
                  <a:cubicBezTo>
                    <a:pt x="20" y="11"/>
                    <a:pt x="11" y="20"/>
                    <a:pt x="11" y="31"/>
                  </a:cubicBezTo>
                  <a:cubicBezTo>
                    <a:pt x="11" y="292"/>
                    <a:pt x="11" y="292"/>
                    <a:pt x="11" y="292"/>
                  </a:cubicBezTo>
                  <a:cubicBezTo>
                    <a:pt x="11" y="304"/>
                    <a:pt x="20" y="313"/>
                    <a:pt x="32" y="313"/>
                  </a:cubicBezTo>
                  <a:cubicBezTo>
                    <a:pt x="166" y="313"/>
                    <a:pt x="166" y="313"/>
                    <a:pt x="166" y="313"/>
                  </a:cubicBezTo>
                  <a:cubicBezTo>
                    <a:pt x="178" y="313"/>
                    <a:pt x="187" y="304"/>
                    <a:pt x="187" y="292"/>
                  </a:cubicBezTo>
                  <a:cubicBezTo>
                    <a:pt x="187" y="31"/>
                    <a:pt x="187" y="31"/>
                    <a:pt x="187" y="31"/>
                  </a:cubicBezTo>
                  <a:cubicBezTo>
                    <a:pt x="187" y="20"/>
                    <a:pt x="178" y="11"/>
                    <a:pt x="166" y="11"/>
                  </a:cubicBezTo>
                  <a:lnTo>
                    <a:pt x="32" y="1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1" name="Freeform 1447">
              <a:extLst>
                <a:ext uri="{FF2B5EF4-FFF2-40B4-BE49-F238E27FC236}">
                  <a16:creationId xmlns:a16="http://schemas.microsoft.com/office/drawing/2014/main" id="{B218452B-FC65-EFED-A5ED-D02581FA3FA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984375" y="3417268"/>
              <a:ext cx="206375" cy="255588"/>
            </a:xfrm>
            <a:custGeom>
              <a:avLst/>
              <a:gdLst>
                <a:gd name="T0" fmla="*/ 192 w 198"/>
                <a:gd name="T1" fmla="*/ 247 h 247"/>
                <a:gd name="T2" fmla="*/ 5 w 198"/>
                <a:gd name="T3" fmla="*/ 247 h 247"/>
                <a:gd name="T4" fmla="*/ 0 w 198"/>
                <a:gd name="T5" fmla="*/ 242 h 247"/>
                <a:gd name="T6" fmla="*/ 0 w 198"/>
                <a:gd name="T7" fmla="*/ 6 h 247"/>
                <a:gd name="T8" fmla="*/ 5 w 198"/>
                <a:gd name="T9" fmla="*/ 0 h 247"/>
                <a:gd name="T10" fmla="*/ 192 w 198"/>
                <a:gd name="T11" fmla="*/ 0 h 247"/>
                <a:gd name="T12" fmla="*/ 198 w 198"/>
                <a:gd name="T13" fmla="*/ 6 h 247"/>
                <a:gd name="T14" fmla="*/ 198 w 198"/>
                <a:gd name="T15" fmla="*/ 242 h 247"/>
                <a:gd name="T16" fmla="*/ 192 w 198"/>
                <a:gd name="T17" fmla="*/ 247 h 247"/>
                <a:gd name="T18" fmla="*/ 11 w 198"/>
                <a:gd name="T19" fmla="*/ 236 h 247"/>
                <a:gd name="T20" fmla="*/ 187 w 198"/>
                <a:gd name="T21" fmla="*/ 236 h 247"/>
                <a:gd name="T22" fmla="*/ 187 w 198"/>
                <a:gd name="T23" fmla="*/ 11 h 247"/>
                <a:gd name="T24" fmla="*/ 11 w 198"/>
                <a:gd name="T25" fmla="*/ 11 h 247"/>
                <a:gd name="T26" fmla="*/ 11 w 198"/>
                <a:gd name="T27" fmla="*/ 236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8" h="247">
                  <a:moveTo>
                    <a:pt x="192" y="247"/>
                  </a:moveTo>
                  <a:cubicBezTo>
                    <a:pt x="5" y="247"/>
                    <a:pt x="5" y="247"/>
                    <a:pt x="5" y="247"/>
                  </a:cubicBezTo>
                  <a:cubicBezTo>
                    <a:pt x="2" y="247"/>
                    <a:pt x="0" y="245"/>
                    <a:pt x="0" y="2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195" y="0"/>
                    <a:pt x="198" y="3"/>
                    <a:pt x="198" y="6"/>
                  </a:cubicBezTo>
                  <a:cubicBezTo>
                    <a:pt x="198" y="242"/>
                    <a:pt x="198" y="242"/>
                    <a:pt x="198" y="242"/>
                  </a:cubicBezTo>
                  <a:cubicBezTo>
                    <a:pt x="198" y="245"/>
                    <a:pt x="195" y="247"/>
                    <a:pt x="192" y="247"/>
                  </a:cubicBezTo>
                  <a:close/>
                  <a:moveTo>
                    <a:pt x="11" y="236"/>
                  </a:moveTo>
                  <a:cubicBezTo>
                    <a:pt x="187" y="236"/>
                    <a:pt x="187" y="236"/>
                    <a:pt x="187" y="236"/>
                  </a:cubicBezTo>
                  <a:cubicBezTo>
                    <a:pt x="187" y="11"/>
                    <a:pt x="187" y="11"/>
                    <a:pt x="187" y="11"/>
                  </a:cubicBezTo>
                  <a:cubicBezTo>
                    <a:pt x="11" y="11"/>
                    <a:pt x="11" y="11"/>
                    <a:pt x="11" y="11"/>
                  </a:cubicBezTo>
                  <a:lnTo>
                    <a:pt x="11" y="23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192" name="Shape57_20200717_142846">
            <a:extLst>
              <a:ext uri="{FF2B5EF4-FFF2-40B4-BE49-F238E27FC236}">
                <a16:creationId xmlns:a16="http://schemas.microsoft.com/office/drawing/2014/main" id="{A61DDA88-2F5A-6D2D-E028-40BA5B4D5758}"/>
              </a:ext>
            </a:extLst>
          </p:cNvPr>
          <p:cNvGrpSpPr>
            <a:grpSpLocks noChangeAspect="1"/>
          </p:cNvGrpSpPr>
          <p:nvPr/>
        </p:nvGrpSpPr>
        <p:grpSpPr>
          <a:xfrm>
            <a:off x="4546955" y="2573628"/>
            <a:ext cx="486957" cy="510957"/>
            <a:chOff x="-4251317" y="2582238"/>
            <a:chExt cx="322255" cy="338139"/>
          </a:xfrm>
          <a:solidFill>
            <a:schemeClr val="accent1"/>
          </a:solidFill>
        </p:grpSpPr>
        <p:sp>
          <p:nvSpPr>
            <p:cNvPr id="193" name="Freeform 1570">
              <a:extLst>
                <a:ext uri="{FF2B5EF4-FFF2-40B4-BE49-F238E27FC236}">
                  <a16:creationId xmlns:a16="http://schemas.microsoft.com/office/drawing/2014/main" id="{262B3323-C825-B11F-B428-752D3A5D80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211627" y="2582238"/>
              <a:ext cx="65088" cy="65088"/>
            </a:xfrm>
            <a:custGeom>
              <a:avLst/>
              <a:gdLst>
                <a:gd name="T0" fmla="*/ 32 w 63"/>
                <a:gd name="T1" fmla="*/ 63 h 63"/>
                <a:gd name="T2" fmla="*/ 0 w 63"/>
                <a:gd name="T3" fmla="*/ 32 h 63"/>
                <a:gd name="T4" fmla="*/ 32 w 63"/>
                <a:gd name="T5" fmla="*/ 0 h 63"/>
                <a:gd name="T6" fmla="*/ 63 w 63"/>
                <a:gd name="T7" fmla="*/ 32 h 63"/>
                <a:gd name="T8" fmla="*/ 32 w 63"/>
                <a:gd name="T9" fmla="*/ 63 h 63"/>
                <a:gd name="T10" fmla="*/ 32 w 63"/>
                <a:gd name="T11" fmla="*/ 11 h 63"/>
                <a:gd name="T12" fmla="*/ 11 w 63"/>
                <a:gd name="T13" fmla="*/ 32 h 63"/>
                <a:gd name="T14" fmla="*/ 32 w 63"/>
                <a:gd name="T15" fmla="*/ 53 h 63"/>
                <a:gd name="T16" fmla="*/ 52 w 63"/>
                <a:gd name="T17" fmla="*/ 32 h 63"/>
                <a:gd name="T18" fmla="*/ 32 w 63"/>
                <a:gd name="T19" fmla="*/ 1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3" h="63">
                  <a:moveTo>
                    <a:pt x="32" y="63"/>
                  </a:moveTo>
                  <a:cubicBezTo>
                    <a:pt x="14" y="63"/>
                    <a:pt x="0" y="49"/>
                    <a:pt x="0" y="32"/>
                  </a:cubicBezTo>
                  <a:cubicBezTo>
                    <a:pt x="0" y="14"/>
                    <a:pt x="14" y="0"/>
                    <a:pt x="32" y="0"/>
                  </a:cubicBezTo>
                  <a:cubicBezTo>
                    <a:pt x="49" y="0"/>
                    <a:pt x="63" y="14"/>
                    <a:pt x="63" y="32"/>
                  </a:cubicBezTo>
                  <a:cubicBezTo>
                    <a:pt x="63" y="49"/>
                    <a:pt x="49" y="63"/>
                    <a:pt x="32" y="63"/>
                  </a:cubicBezTo>
                  <a:close/>
                  <a:moveTo>
                    <a:pt x="32" y="11"/>
                  </a:moveTo>
                  <a:cubicBezTo>
                    <a:pt x="20" y="11"/>
                    <a:pt x="11" y="20"/>
                    <a:pt x="11" y="32"/>
                  </a:cubicBezTo>
                  <a:cubicBezTo>
                    <a:pt x="11" y="43"/>
                    <a:pt x="20" y="53"/>
                    <a:pt x="32" y="53"/>
                  </a:cubicBezTo>
                  <a:cubicBezTo>
                    <a:pt x="43" y="53"/>
                    <a:pt x="52" y="43"/>
                    <a:pt x="52" y="32"/>
                  </a:cubicBezTo>
                  <a:cubicBezTo>
                    <a:pt x="52" y="20"/>
                    <a:pt x="43" y="11"/>
                    <a:pt x="32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4" name="Freeform 1571">
              <a:extLst>
                <a:ext uri="{FF2B5EF4-FFF2-40B4-BE49-F238E27FC236}">
                  <a16:creationId xmlns:a16="http://schemas.microsoft.com/office/drawing/2014/main" id="{67DE10A4-A71E-1BDD-9CE0-648EDB9BCB4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219565" y="2656851"/>
              <a:ext cx="188912" cy="260350"/>
            </a:xfrm>
            <a:custGeom>
              <a:avLst/>
              <a:gdLst>
                <a:gd name="T0" fmla="*/ 132 w 182"/>
                <a:gd name="T1" fmla="*/ 251 h 251"/>
                <a:gd name="T2" fmla="*/ 112 w 182"/>
                <a:gd name="T3" fmla="*/ 234 h 251"/>
                <a:gd name="T4" fmla="*/ 105 w 182"/>
                <a:gd name="T5" fmla="*/ 185 h 251"/>
                <a:gd name="T6" fmla="*/ 94 w 182"/>
                <a:gd name="T7" fmla="*/ 174 h 251"/>
                <a:gd name="T8" fmla="*/ 70 w 182"/>
                <a:gd name="T9" fmla="*/ 175 h 251"/>
                <a:gd name="T10" fmla="*/ 51 w 182"/>
                <a:gd name="T11" fmla="*/ 175 h 251"/>
                <a:gd name="T12" fmla="*/ 5 w 182"/>
                <a:gd name="T13" fmla="*/ 132 h 251"/>
                <a:gd name="T14" fmla="*/ 1 w 182"/>
                <a:gd name="T15" fmla="*/ 38 h 251"/>
                <a:gd name="T16" fmla="*/ 10 w 182"/>
                <a:gd name="T17" fmla="*/ 12 h 251"/>
                <a:gd name="T18" fmla="*/ 36 w 182"/>
                <a:gd name="T19" fmla="*/ 0 h 251"/>
                <a:gd name="T20" fmla="*/ 47 w 182"/>
                <a:gd name="T21" fmla="*/ 0 h 251"/>
                <a:gd name="T22" fmla="*/ 91 w 182"/>
                <a:gd name="T23" fmla="*/ 16 h 251"/>
                <a:gd name="T24" fmla="*/ 104 w 182"/>
                <a:gd name="T25" fmla="*/ 25 h 251"/>
                <a:gd name="T26" fmla="*/ 143 w 182"/>
                <a:gd name="T27" fmla="*/ 40 h 251"/>
                <a:gd name="T28" fmla="*/ 165 w 182"/>
                <a:gd name="T29" fmla="*/ 42 h 251"/>
                <a:gd name="T30" fmla="*/ 181 w 182"/>
                <a:gd name="T31" fmla="*/ 61 h 251"/>
                <a:gd name="T32" fmla="*/ 165 w 182"/>
                <a:gd name="T33" fmla="*/ 78 h 251"/>
                <a:gd name="T34" fmla="*/ 136 w 182"/>
                <a:gd name="T35" fmla="*/ 80 h 251"/>
                <a:gd name="T36" fmla="*/ 95 w 182"/>
                <a:gd name="T37" fmla="*/ 72 h 251"/>
                <a:gd name="T38" fmla="*/ 75 w 182"/>
                <a:gd name="T39" fmla="*/ 63 h 251"/>
                <a:gd name="T40" fmla="*/ 71 w 182"/>
                <a:gd name="T41" fmla="*/ 124 h 251"/>
                <a:gd name="T42" fmla="*/ 122 w 182"/>
                <a:gd name="T43" fmla="*/ 140 h 251"/>
                <a:gd name="T44" fmla="*/ 143 w 182"/>
                <a:gd name="T45" fmla="*/ 165 h 251"/>
                <a:gd name="T46" fmla="*/ 152 w 182"/>
                <a:gd name="T47" fmla="*/ 228 h 251"/>
                <a:gd name="T48" fmla="*/ 135 w 182"/>
                <a:gd name="T49" fmla="*/ 251 h 251"/>
                <a:gd name="T50" fmla="*/ 132 w 182"/>
                <a:gd name="T51" fmla="*/ 251 h 251"/>
                <a:gd name="T52" fmla="*/ 94 w 182"/>
                <a:gd name="T53" fmla="*/ 163 h 251"/>
                <a:gd name="T54" fmla="*/ 95 w 182"/>
                <a:gd name="T55" fmla="*/ 164 h 251"/>
                <a:gd name="T56" fmla="*/ 115 w 182"/>
                <a:gd name="T57" fmla="*/ 184 h 251"/>
                <a:gd name="T58" fmla="*/ 123 w 182"/>
                <a:gd name="T59" fmla="*/ 232 h 251"/>
                <a:gd name="T60" fmla="*/ 133 w 182"/>
                <a:gd name="T61" fmla="*/ 240 h 251"/>
                <a:gd name="T62" fmla="*/ 141 w 182"/>
                <a:gd name="T63" fmla="*/ 230 h 251"/>
                <a:gd name="T64" fmla="*/ 133 w 182"/>
                <a:gd name="T65" fmla="*/ 167 h 251"/>
                <a:gd name="T66" fmla="*/ 119 w 182"/>
                <a:gd name="T67" fmla="*/ 150 h 251"/>
                <a:gd name="T68" fmla="*/ 63 w 182"/>
                <a:gd name="T69" fmla="*/ 134 h 251"/>
                <a:gd name="T70" fmla="*/ 59 w 182"/>
                <a:gd name="T71" fmla="*/ 128 h 251"/>
                <a:gd name="T72" fmla="*/ 64 w 182"/>
                <a:gd name="T73" fmla="*/ 54 h 251"/>
                <a:gd name="T74" fmla="*/ 67 w 182"/>
                <a:gd name="T75" fmla="*/ 50 h 251"/>
                <a:gd name="T76" fmla="*/ 72 w 182"/>
                <a:gd name="T77" fmla="*/ 50 h 251"/>
                <a:gd name="T78" fmla="*/ 99 w 182"/>
                <a:gd name="T79" fmla="*/ 62 h 251"/>
                <a:gd name="T80" fmla="*/ 136 w 182"/>
                <a:gd name="T81" fmla="*/ 69 h 251"/>
                <a:gd name="T82" fmla="*/ 164 w 182"/>
                <a:gd name="T83" fmla="*/ 67 h 251"/>
                <a:gd name="T84" fmla="*/ 170 w 182"/>
                <a:gd name="T85" fmla="*/ 61 h 251"/>
                <a:gd name="T86" fmla="*/ 164 w 182"/>
                <a:gd name="T87" fmla="*/ 53 h 251"/>
                <a:gd name="T88" fmla="*/ 142 w 182"/>
                <a:gd name="T89" fmla="*/ 51 h 251"/>
                <a:gd name="T90" fmla="*/ 97 w 182"/>
                <a:gd name="T91" fmla="*/ 34 h 251"/>
                <a:gd name="T92" fmla="*/ 85 w 182"/>
                <a:gd name="T93" fmla="*/ 24 h 251"/>
                <a:gd name="T94" fmla="*/ 47 w 182"/>
                <a:gd name="T95" fmla="*/ 11 h 251"/>
                <a:gd name="T96" fmla="*/ 36 w 182"/>
                <a:gd name="T97" fmla="*/ 11 h 251"/>
                <a:gd name="T98" fmla="*/ 18 w 182"/>
                <a:gd name="T99" fmla="*/ 19 h 251"/>
                <a:gd name="T100" fmla="*/ 11 w 182"/>
                <a:gd name="T101" fmla="*/ 37 h 251"/>
                <a:gd name="T102" fmla="*/ 16 w 182"/>
                <a:gd name="T103" fmla="*/ 132 h 251"/>
                <a:gd name="T104" fmla="*/ 51 w 182"/>
                <a:gd name="T105" fmla="*/ 164 h 251"/>
                <a:gd name="T106" fmla="*/ 70 w 182"/>
                <a:gd name="T107" fmla="*/ 164 h 251"/>
                <a:gd name="T108" fmla="*/ 94 w 182"/>
                <a:gd name="T109" fmla="*/ 163 h 251"/>
                <a:gd name="T110" fmla="*/ 94 w 182"/>
                <a:gd name="T111" fmla="*/ 163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82" h="251">
                  <a:moveTo>
                    <a:pt x="132" y="251"/>
                  </a:moveTo>
                  <a:cubicBezTo>
                    <a:pt x="122" y="251"/>
                    <a:pt x="114" y="244"/>
                    <a:pt x="112" y="234"/>
                  </a:cubicBezTo>
                  <a:cubicBezTo>
                    <a:pt x="105" y="185"/>
                    <a:pt x="105" y="185"/>
                    <a:pt x="105" y="185"/>
                  </a:cubicBezTo>
                  <a:cubicBezTo>
                    <a:pt x="104" y="180"/>
                    <a:pt x="99" y="175"/>
                    <a:pt x="94" y="174"/>
                  </a:cubicBezTo>
                  <a:cubicBezTo>
                    <a:pt x="70" y="175"/>
                    <a:pt x="70" y="175"/>
                    <a:pt x="70" y="175"/>
                  </a:cubicBezTo>
                  <a:cubicBezTo>
                    <a:pt x="51" y="175"/>
                    <a:pt x="51" y="175"/>
                    <a:pt x="51" y="175"/>
                  </a:cubicBezTo>
                  <a:cubicBezTo>
                    <a:pt x="26" y="175"/>
                    <a:pt x="6" y="156"/>
                    <a:pt x="5" y="132"/>
                  </a:cubicBezTo>
                  <a:cubicBezTo>
                    <a:pt x="1" y="38"/>
                    <a:pt x="1" y="38"/>
                    <a:pt x="1" y="38"/>
                  </a:cubicBezTo>
                  <a:cubicBezTo>
                    <a:pt x="0" y="28"/>
                    <a:pt x="4" y="19"/>
                    <a:pt x="10" y="12"/>
                  </a:cubicBezTo>
                  <a:cubicBezTo>
                    <a:pt x="17" y="4"/>
                    <a:pt x="26" y="0"/>
                    <a:pt x="36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63" y="0"/>
                    <a:pt x="79" y="6"/>
                    <a:pt x="91" y="16"/>
                  </a:cubicBezTo>
                  <a:cubicBezTo>
                    <a:pt x="104" y="25"/>
                    <a:pt x="104" y="25"/>
                    <a:pt x="104" y="25"/>
                  </a:cubicBezTo>
                  <a:cubicBezTo>
                    <a:pt x="115" y="34"/>
                    <a:pt x="129" y="39"/>
                    <a:pt x="143" y="40"/>
                  </a:cubicBezTo>
                  <a:cubicBezTo>
                    <a:pt x="165" y="42"/>
                    <a:pt x="165" y="42"/>
                    <a:pt x="165" y="42"/>
                  </a:cubicBezTo>
                  <a:cubicBezTo>
                    <a:pt x="175" y="43"/>
                    <a:pt x="182" y="51"/>
                    <a:pt x="181" y="61"/>
                  </a:cubicBezTo>
                  <a:cubicBezTo>
                    <a:pt x="181" y="70"/>
                    <a:pt x="174" y="78"/>
                    <a:pt x="165" y="78"/>
                  </a:cubicBezTo>
                  <a:cubicBezTo>
                    <a:pt x="136" y="80"/>
                    <a:pt x="136" y="80"/>
                    <a:pt x="136" y="80"/>
                  </a:cubicBezTo>
                  <a:cubicBezTo>
                    <a:pt x="122" y="81"/>
                    <a:pt x="108" y="78"/>
                    <a:pt x="95" y="72"/>
                  </a:cubicBezTo>
                  <a:cubicBezTo>
                    <a:pt x="75" y="63"/>
                    <a:pt x="75" y="63"/>
                    <a:pt x="75" y="63"/>
                  </a:cubicBezTo>
                  <a:cubicBezTo>
                    <a:pt x="71" y="124"/>
                    <a:pt x="71" y="124"/>
                    <a:pt x="71" y="124"/>
                  </a:cubicBezTo>
                  <a:cubicBezTo>
                    <a:pt x="122" y="140"/>
                    <a:pt x="122" y="140"/>
                    <a:pt x="122" y="140"/>
                  </a:cubicBezTo>
                  <a:cubicBezTo>
                    <a:pt x="133" y="143"/>
                    <a:pt x="142" y="153"/>
                    <a:pt x="143" y="165"/>
                  </a:cubicBezTo>
                  <a:cubicBezTo>
                    <a:pt x="152" y="228"/>
                    <a:pt x="152" y="228"/>
                    <a:pt x="152" y="228"/>
                  </a:cubicBezTo>
                  <a:cubicBezTo>
                    <a:pt x="154" y="239"/>
                    <a:pt x="146" y="249"/>
                    <a:pt x="135" y="251"/>
                  </a:cubicBezTo>
                  <a:cubicBezTo>
                    <a:pt x="134" y="251"/>
                    <a:pt x="133" y="251"/>
                    <a:pt x="132" y="251"/>
                  </a:cubicBezTo>
                  <a:close/>
                  <a:moveTo>
                    <a:pt x="94" y="163"/>
                  </a:moveTo>
                  <a:cubicBezTo>
                    <a:pt x="94" y="163"/>
                    <a:pt x="95" y="164"/>
                    <a:pt x="95" y="164"/>
                  </a:cubicBezTo>
                  <a:cubicBezTo>
                    <a:pt x="105" y="165"/>
                    <a:pt x="114" y="173"/>
                    <a:pt x="115" y="184"/>
                  </a:cubicBezTo>
                  <a:cubicBezTo>
                    <a:pt x="123" y="232"/>
                    <a:pt x="123" y="232"/>
                    <a:pt x="123" y="232"/>
                  </a:cubicBezTo>
                  <a:cubicBezTo>
                    <a:pt x="124" y="237"/>
                    <a:pt x="128" y="241"/>
                    <a:pt x="133" y="240"/>
                  </a:cubicBezTo>
                  <a:cubicBezTo>
                    <a:pt x="138" y="239"/>
                    <a:pt x="142" y="235"/>
                    <a:pt x="141" y="230"/>
                  </a:cubicBezTo>
                  <a:cubicBezTo>
                    <a:pt x="133" y="167"/>
                    <a:pt x="133" y="167"/>
                    <a:pt x="133" y="167"/>
                  </a:cubicBezTo>
                  <a:cubicBezTo>
                    <a:pt x="132" y="159"/>
                    <a:pt x="126" y="153"/>
                    <a:pt x="119" y="150"/>
                  </a:cubicBezTo>
                  <a:cubicBezTo>
                    <a:pt x="63" y="134"/>
                    <a:pt x="63" y="134"/>
                    <a:pt x="63" y="134"/>
                  </a:cubicBezTo>
                  <a:cubicBezTo>
                    <a:pt x="61" y="133"/>
                    <a:pt x="59" y="131"/>
                    <a:pt x="59" y="128"/>
                  </a:cubicBezTo>
                  <a:cubicBezTo>
                    <a:pt x="64" y="54"/>
                    <a:pt x="64" y="54"/>
                    <a:pt x="64" y="54"/>
                  </a:cubicBezTo>
                  <a:cubicBezTo>
                    <a:pt x="65" y="52"/>
                    <a:pt x="66" y="51"/>
                    <a:pt x="67" y="50"/>
                  </a:cubicBezTo>
                  <a:cubicBezTo>
                    <a:pt x="69" y="49"/>
                    <a:pt x="71" y="49"/>
                    <a:pt x="72" y="50"/>
                  </a:cubicBezTo>
                  <a:cubicBezTo>
                    <a:pt x="99" y="62"/>
                    <a:pt x="99" y="62"/>
                    <a:pt x="99" y="62"/>
                  </a:cubicBezTo>
                  <a:cubicBezTo>
                    <a:pt x="111" y="68"/>
                    <a:pt x="123" y="70"/>
                    <a:pt x="136" y="69"/>
                  </a:cubicBezTo>
                  <a:cubicBezTo>
                    <a:pt x="164" y="67"/>
                    <a:pt x="164" y="67"/>
                    <a:pt x="164" y="67"/>
                  </a:cubicBezTo>
                  <a:cubicBezTo>
                    <a:pt x="167" y="67"/>
                    <a:pt x="170" y="64"/>
                    <a:pt x="170" y="61"/>
                  </a:cubicBezTo>
                  <a:cubicBezTo>
                    <a:pt x="171" y="57"/>
                    <a:pt x="168" y="53"/>
                    <a:pt x="164" y="53"/>
                  </a:cubicBezTo>
                  <a:cubicBezTo>
                    <a:pt x="142" y="51"/>
                    <a:pt x="142" y="51"/>
                    <a:pt x="142" y="51"/>
                  </a:cubicBezTo>
                  <a:cubicBezTo>
                    <a:pt x="126" y="50"/>
                    <a:pt x="110" y="44"/>
                    <a:pt x="97" y="34"/>
                  </a:cubicBezTo>
                  <a:cubicBezTo>
                    <a:pt x="85" y="24"/>
                    <a:pt x="85" y="24"/>
                    <a:pt x="85" y="24"/>
                  </a:cubicBezTo>
                  <a:cubicBezTo>
                    <a:pt x="74" y="16"/>
                    <a:pt x="60" y="11"/>
                    <a:pt x="47" y="11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29" y="11"/>
                    <a:pt x="23" y="14"/>
                    <a:pt x="18" y="19"/>
                  </a:cubicBezTo>
                  <a:cubicBezTo>
                    <a:pt x="14" y="24"/>
                    <a:pt x="11" y="31"/>
                    <a:pt x="11" y="37"/>
                  </a:cubicBezTo>
                  <a:cubicBezTo>
                    <a:pt x="16" y="132"/>
                    <a:pt x="16" y="132"/>
                    <a:pt x="16" y="132"/>
                  </a:cubicBezTo>
                  <a:cubicBezTo>
                    <a:pt x="17" y="150"/>
                    <a:pt x="32" y="164"/>
                    <a:pt x="51" y="164"/>
                  </a:cubicBezTo>
                  <a:cubicBezTo>
                    <a:pt x="70" y="164"/>
                    <a:pt x="70" y="164"/>
                    <a:pt x="70" y="164"/>
                  </a:cubicBezTo>
                  <a:cubicBezTo>
                    <a:pt x="94" y="163"/>
                    <a:pt x="94" y="163"/>
                    <a:pt x="94" y="163"/>
                  </a:cubicBezTo>
                  <a:cubicBezTo>
                    <a:pt x="94" y="163"/>
                    <a:pt x="94" y="163"/>
                    <a:pt x="94" y="16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5" name="Freeform 1572">
              <a:extLst>
                <a:ext uri="{FF2B5EF4-FFF2-40B4-BE49-F238E27FC236}">
                  <a16:creationId xmlns:a16="http://schemas.microsoft.com/office/drawing/2014/main" id="{06F997CA-3F8E-E3D6-D3E1-4F5C0FD5BAD0}"/>
                </a:ext>
              </a:extLst>
            </p:cNvPr>
            <p:cNvSpPr>
              <a:spLocks/>
            </p:cNvSpPr>
            <p:nvPr/>
          </p:nvSpPr>
          <p:spPr bwMode="auto">
            <a:xfrm>
              <a:off x="-4251317" y="2661615"/>
              <a:ext cx="136525" cy="200025"/>
            </a:xfrm>
            <a:custGeom>
              <a:avLst/>
              <a:gdLst>
                <a:gd name="T0" fmla="*/ 126 w 132"/>
                <a:gd name="T1" fmla="*/ 192 h 192"/>
                <a:gd name="T2" fmla="*/ 126 w 132"/>
                <a:gd name="T3" fmla="*/ 192 h 192"/>
                <a:gd name="T4" fmla="*/ 26 w 132"/>
                <a:gd name="T5" fmla="*/ 190 h 192"/>
                <a:gd name="T6" fmla="*/ 21 w 132"/>
                <a:gd name="T7" fmla="*/ 185 h 192"/>
                <a:gd name="T8" fmla="*/ 1 w 132"/>
                <a:gd name="T9" fmla="*/ 6 h 192"/>
                <a:gd name="T10" fmla="*/ 5 w 132"/>
                <a:gd name="T11" fmla="*/ 0 h 192"/>
                <a:gd name="T12" fmla="*/ 11 w 132"/>
                <a:gd name="T13" fmla="*/ 5 h 192"/>
                <a:gd name="T14" fmla="*/ 31 w 132"/>
                <a:gd name="T15" fmla="*/ 179 h 192"/>
                <a:gd name="T16" fmla="*/ 126 w 132"/>
                <a:gd name="T17" fmla="*/ 181 h 192"/>
                <a:gd name="T18" fmla="*/ 131 w 132"/>
                <a:gd name="T19" fmla="*/ 186 h 192"/>
                <a:gd name="T20" fmla="*/ 126 w 132"/>
                <a:gd name="T21" fmla="*/ 192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2" h="192">
                  <a:moveTo>
                    <a:pt x="126" y="192"/>
                  </a:moveTo>
                  <a:cubicBezTo>
                    <a:pt x="126" y="192"/>
                    <a:pt x="126" y="192"/>
                    <a:pt x="126" y="192"/>
                  </a:cubicBezTo>
                  <a:cubicBezTo>
                    <a:pt x="26" y="190"/>
                    <a:pt x="26" y="190"/>
                    <a:pt x="26" y="190"/>
                  </a:cubicBezTo>
                  <a:cubicBezTo>
                    <a:pt x="24" y="190"/>
                    <a:pt x="21" y="188"/>
                    <a:pt x="21" y="18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3"/>
                    <a:pt x="2" y="1"/>
                    <a:pt x="5" y="0"/>
                  </a:cubicBezTo>
                  <a:cubicBezTo>
                    <a:pt x="8" y="0"/>
                    <a:pt x="11" y="2"/>
                    <a:pt x="11" y="5"/>
                  </a:cubicBezTo>
                  <a:cubicBezTo>
                    <a:pt x="31" y="179"/>
                    <a:pt x="31" y="179"/>
                    <a:pt x="31" y="179"/>
                  </a:cubicBezTo>
                  <a:cubicBezTo>
                    <a:pt x="126" y="181"/>
                    <a:pt x="126" y="181"/>
                    <a:pt x="126" y="181"/>
                  </a:cubicBezTo>
                  <a:cubicBezTo>
                    <a:pt x="129" y="181"/>
                    <a:pt x="132" y="183"/>
                    <a:pt x="131" y="186"/>
                  </a:cubicBezTo>
                  <a:cubicBezTo>
                    <a:pt x="131" y="189"/>
                    <a:pt x="129" y="192"/>
                    <a:pt x="126" y="19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6" name="Freeform 1573">
              <a:extLst>
                <a:ext uri="{FF2B5EF4-FFF2-40B4-BE49-F238E27FC236}">
                  <a16:creationId xmlns:a16="http://schemas.microsoft.com/office/drawing/2014/main" id="{211EBCFB-4FA2-6B5E-8AE6-7B320AFC2810}"/>
                </a:ext>
              </a:extLst>
            </p:cNvPr>
            <p:cNvSpPr>
              <a:spLocks/>
            </p:cNvSpPr>
            <p:nvPr/>
          </p:nvSpPr>
          <p:spPr bwMode="auto">
            <a:xfrm>
              <a:off x="-4175117" y="2848939"/>
              <a:ext cx="11113" cy="71438"/>
            </a:xfrm>
            <a:custGeom>
              <a:avLst/>
              <a:gdLst>
                <a:gd name="T0" fmla="*/ 6 w 11"/>
                <a:gd name="T1" fmla="*/ 69 h 69"/>
                <a:gd name="T2" fmla="*/ 0 w 11"/>
                <a:gd name="T3" fmla="*/ 64 h 69"/>
                <a:gd name="T4" fmla="*/ 0 w 11"/>
                <a:gd name="T5" fmla="*/ 5 h 69"/>
                <a:gd name="T6" fmla="*/ 6 w 11"/>
                <a:gd name="T7" fmla="*/ 0 h 69"/>
                <a:gd name="T8" fmla="*/ 11 w 11"/>
                <a:gd name="T9" fmla="*/ 5 h 69"/>
                <a:gd name="T10" fmla="*/ 11 w 11"/>
                <a:gd name="T11" fmla="*/ 64 h 69"/>
                <a:gd name="T12" fmla="*/ 6 w 11"/>
                <a:gd name="T13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69">
                  <a:moveTo>
                    <a:pt x="6" y="69"/>
                  </a:moveTo>
                  <a:cubicBezTo>
                    <a:pt x="3" y="69"/>
                    <a:pt x="0" y="67"/>
                    <a:pt x="0" y="6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1" y="2"/>
                    <a:pt x="11" y="5"/>
                  </a:cubicBezTo>
                  <a:cubicBezTo>
                    <a:pt x="11" y="64"/>
                    <a:pt x="11" y="64"/>
                    <a:pt x="11" y="64"/>
                  </a:cubicBezTo>
                  <a:cubicBezTo>
                    <a:pt x="11" y="67"/>
                    <a:pt x="9" y="69"/>
                    <a:pt x="6" y="6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7" name="Freeform 1574">
              <a:extLst>
                <a:ext uri="{FF2B5EF4-FFF2-40B4-BE49-F238E27FC236}">
                  <a16:creationId xmlns:a16="http://schemas.microsoft.com/office/drawing/2014/main" id="{C4D2C966-CC0E-99BF-6ECF-FD16D91FD619}"/>
                </a:ext>
              </a:extLst>
            </p:cNvPr>
            <p:cNvSpPr>
              <a:spLocks/>
            </p:cNvSpPr>
            <p:nvPr/>
          </p:nvSpPr>
          <p:spPr bwMode="auto">
            <a:xfrm>
              <a:off x="-4203690" y="2909262"/>
              <a:ext cx="68263" cy="11113"/>
            </a:xfrm>
            <a:custGeom>
              <a:avLst/>
              <a:gdLst>
                <a:gd name="T0" fmla="*/ 60 w 66"/>
                <a:gd name="T1" fmla="*/ 11 h 11"/>
                <a:gd name="T2" fmla="*/ 5 w 66"/>
                <a:gd name="T3" fmla="*/ 11 h 11"/>
                <a:gd name="T4" fmla="*/ 0 w 66"/>
                <a:gd name="T5" fmla="*/ 6 h 11"/>
                <a:gd name="T6" fmla="*/ 5 w 66"/>
                <a:gd name="T7" fmla="*/ 0 h 11"/>
                <a:gd name="T8" fmla="*/ 60 w 66"/>
                <a:gd name="T9" fmla="*/ 0 h 11"/>
                <a:gd name="T10" fmla="*/ 66 w 66"/>
                <a:gd name="T11" fmla="*/ 6 h 11"/>
                <a:gd name="T12" fmla="*/ 60 w 66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11">
                  <a:moveTo>
                    <a:pt x="60" y="11"/>
                  </a:moveTo>
                  <a:cubicBezTo>
                    <a:pt x="5" y="11"/>
                    <a:pt x="5" y="11"/>
                    <a:pt x="5" y="11"/>
                  </a:cubicBezTo>
                  <a:cubicBezTo>
                    <a:pt x="2" y="11"/>
                    <a:pt x="0" y="9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63" y="0"/>
                    <a:pt x="66" y="3"/>
                    <a:pt x="66" y="6"/>
                  </a:cubicBezTo>
                  <a:cubicBezTo>
                    <a:pt x="66" y="9"/>
                    <a:pt x="63" y="11"/>
                    <a:pt x="60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8" name="Freeform 1575">
              <a:extLst>
                <a:ext uri="{FF2B5EF4-FFF2-40B4-BE49-F238E27FC236}">
                  <a16:creationId xmlns:a16="http://schemas.microsoft.com/office/drawing/2014/main" id="{77589C35-8665-BD7C-F2B3-F24D04150C65}"/>
                </a:ext>
              </a:extLst>
            </p:cNvPr>
            <p:cNvSpPr>
              <a:spLocks/>
            </p:cNvSpPr>
            <p:nvPr/>
          </p:nvSpPr>
          <p:spPr bwMode="auto">
            <a:xfrm>
              <a:off x="-4087802" y="2771150"/>
              <a:ext cx="11113" cy="49213"/>
            </a:xfrm>
            <a:custGeom>
              <a:avLst/>
              <a:gdLst>
                <a:gd name="T0" fmla="*/ 6 w 11"/>
                <a:gd name="T1" fmla="*/ 47 h 47"/>
                <a:gd name="T2" fmla="*/ 0 w 11"/>
                <a:gd name="T3" fmla="*/ 41 h 47"/>
                <a:gd name="T4" fmla="*/ 0 w 11"/>
                <a:gd name="T5" fmla="*/ 6 h 47"/>
                <a:gd name="T6" fmla="*/ 6 w 11"/>
                <a:gd name="T7" fmla="*/ 0 h 47"/>
                <a:gd name="T8" fmla="*/ 11 w 11"/>
                <a:gd name="T9" fmla="*/ 6 h 47"/>
                <a:gd name="T10" fmla="*/ 11 w 11"/>
                <a:gd name="T11" fmla="*/ 41 h 47"/>
                <a:gd name="T12" fmla="*/ 6 w 11"/>
                <a:gd name="T13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47">
                  <a:moveTo>
                    <a:pt x="6" y="47"/>
                  </a:moveTo>
                  <a:cubicBezTo>
                    <a:pt x="3" y="47"/>
                    <a:pt x="0" y="44"/>
                    <a:pt x="0" y="41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1" y="3"/>
                    <a:pt x="11" y="6"/>
                  </a:cubicBezTo>
                  <a:cubicBezTo>
                    <a:pt x="11" y="41"/>
                    <a:pt x="11" y="41"/>
                    <a:pt x="11" y="41"/>
                  </a:cubicBezTo>
                  <a:cubicBezTo>
                    <a:pt x="11" y="44"/>
                    <a:pt x="9" y="47"/>
                    <a:pt x="6" y="4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9" name="Freeform 1576">
              <a:extLst>
                <a:ext uri="{FF2B5EF4-FFF2-40B4-BE49-F238E27FC236}">
                  <a16:creationId xmlns:a16="http://schemas.microsoft.com/office/drawing/2014/main" id="{62EF3977-7B0E-F8C1-429B-DFE6594D8857}"/>
                </a:ext>
              </a:extLst>
            </p:cNvPr>
            <p:cNvSpPr>
              <a:spLocks/>
            </p:cNvSpPr>
            <p:nvPr/>
          </p:nvSpPr>
          <p:spPr bwMode="auto">
            <a:xfrm>
              <a:off x="-4087802" y="2771148"/>
              <a:ext cx="141288" cy="146049"/>
            </a:xfrm>
            <a:custGeom>
              <a:avLst/>
              <a:gdLst>
                <a:gd name="T0" fmla="*/ 130 w 135"/>
                <a:gd name="T1" fmla="*/ 141 h 141"/>
                <a:gd name="T2" fmla="*/ 124 w 135"/>
                <a:gd name="T3" fmla="*/ 136 h 141"/>
                <a:gd name="T4" fmla="*/ 124 w 135"/>
                <a:gd name="T5" fmla="*/ 11 h 141"/>
                <a:gd name="T6" fmla="*/ 6 w 135"/>
                <a:gd name="T7" fmla="*/ 11 h 141"/>
                <a:gd name="T8" fmla="*/ 0 w 135"/>
                <a:gd name="T9" fmla="*/ 6 h 141"/>
                <a:gd name="T10" fmla="*/ 6 w 135"/>
                <a:gd name="T11" fmla="*/ 0 h 141"/>
                <a:gd name="T12" fmla="*/ 130 w 135"/>
                <a:gd name="T13" fmla="*/ 0 h 141"/>
                <a:gd name="T14" fmla="*/ 135 w 135"/>
                <a:gd name="T15" fmla="*/ 6 h 141"/>
                <a:gd name="T16" fmla="*/ 135 w 135"/>
                <a:gd name="T17" fmla="*/ 136 h 141"/>
                <a:gd name="T18" fmla="*/ 130 w 135"/>
                <a:gd name="T19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5" h="141">
                  <a:moveTo>
                    <a:pt x="130" y="141"/>
                  </a:moveTo>
                  <a:cubicBezTo>
                    <a:pt x="127" y="141"/>
                    <a:pt x="124" y="139"/>
                    <a:pt x="124" y="136"/>
                  </a:cubicBezTo>
                  <a:cubicBezTo>
                    <a:pt x="124" y="11"/>
                    <a:pt x="124" y="11"/>
                    <a:pt x="124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3" y="11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30" y="0"/>
                    <a:pt x="130" y="0"/>
                    <a:pt x="130" y="0"/>
                  </a:cubicBezTo>
                  <a:cubicBezTo>
                    <a:pt x="133" y="0"/>
                    <a:pt x="135" y="3"/>
                    <a:pt x="135" y="6"/>
                  </a:cubicBezTo>
                  <a:cubicBezTo>
                    <a:pt x="135" y="136"/>
                    <a:pt x="135" y="136"/>
                    <a:pt x="135" y="136"/>
                  </a:cubicBezTo>
                  <a:cubicBezTo>
                    <a:pt x="135" y="139"/>
                    <a:pt x="133" y="141"/>
                    <a:pt x="130" y="14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0" name="Freeform 1577">
              <a:extLst>
                <a:ext uri="{FF2B5EF4-FFF2-40B4-BE49-F238E27FC236}">
                  <a16:creationId xmlns:a16="http://schemas.microsoft.com/office/drawing/2014/main" id="{5B7C35EE-437F-7B55-8E51-37B843061875}"/>
                </a:ext>
              </a:extLst>
            </p:cNvPr>
            <p:cNvSpPr>
              <a:spLocks/>
            </p:cNvSpPr>
            <p:nvPr/>
          </p:nvSpPr>
          <p:spPr bwMode="auto">
            <a:xfrm>
              <a:off x="-4097333" y="2771148"/>
              <a:ext cx="161925" cy="11113"/>
            </a:xfrm>
            <a:custGeom>
              <a:avLst/>
              <a:gdLst>
                <a:gd name="T0" fmla="*/ 150 w 155"/>
                <a:gd name="T1" fmla="*/ 11 h 11"/>
                <a:gd name="T2" fmla="*/ 5 w 155"/>
                <a:gd name="T3" fmla="*/ 11 h 11"/>
                <a:gd name="T4" fmla="*/ 0 w 155"/>
                <a:gd name="T5" fmla="*/ 6 h 11"/>
                <a:gd name="T6" fmla="*/ 5 w 155"/>
                <a:gd name="T7" fmla="*/ 0 h 11"/>
                <a:gd name="T8" fmla="*/ 150 w 155"/>
                <a:gd name="T9" fmla="*/ 0 h 11"/>
                <a:gd name="T10" fmla="*/ 155 w 155"/>
                <a:gd name="T11" fmla="*/ 6 h 11"/>
                <a:gd name="T12" fmla="*/ 150 w 155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5" h="11">
                  <a:moveTo>
                    <a:pt x="150" y="11"/>
                  </a:moveTo>
                  <a:cubicBezTo>
                    <a:pt x="5" y="11"/>
                    <a:pt x="5" y="11"/>
                    <a:pt x="5" y="11"/>
                  </a:cubicBezTo>
                  <a:cubicBezTo>
                    <a:pt x="2" y="11"/>
                    <a:pt x="0" y="9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150" y="0"/>
                    <a:pt x="150" y="0"/>
                    <a:pt x="150" y="0"/>
                  </a:cubicBezTo>
                  <a:cubicBezTo>
                    <a:pt x="153" y="0"/>
                    <a:pt x="155" y="3"/>
                    <a:pt x="155" y="6"/>
                  </a:cubicBezTo>
                  <a:cubicBezTo>
                    <a:pt x="155" y="9"/>
                    <a:pt x="153" y="11"/>
                    <a:pt x="150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1" name="Freeform 1578">
              <a:extLst>
                <a:ext uri="{FF2B5EF4-FFF2-40B4-BE49-F238E27FC236}">
                  <a16:creationId xmlns:a16="http://schemas.microsoft.com/office/drawing/2014/main" id="{B33CE519-1451-F6AD-6A9C-6A2F5460BCE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049712" y="2709243"/>
              <a:ext cx="120650" cy="73025"/>
            </a:xfrm>
            <a:custGeom>
              <a:avLst/>
              <a:gdLst>
                <a:gd name="T0" fmla="*/ 82 w 116"/>
                <a:gd name="T1" fmla="*/ 71 h 71"/>
                <a:gd name="T2" fmla="*/ 6 w 116"/>
                <a:gd name="T3" fmla="*/ 71 h 71"/>
                <a:gd name="T4" fmla="*/ 1 w 116"/>
                <a:gd name="T5" fmla="*/ 69 h 71"/>
                <a:gd name="T6" fmla="*/ 1 w 116"/>
                <a:gd name="T7" fmla="*/ 63 h 71"/>
                <a:gd name="T8" fmla="*/ 29 w 116"/>
                <a:gd name="T9" fmla="*/ 3 h 71"/>
                <a:gd name="T10" fmla="*/ 34 w 116"/>
                <a:gd name="T11" fmla="*/ 0 h 71"/>
                <a:gd name="T12" fmla="*/ 110 w 116"/>
                <a:gd name="T13" fmla="*/ 0 h 71"/>
                <a:gd name="T14" fmla="*/ 115 w 116"/>
                <a:gd name="T15" fmla="*/ 3 h 71"/>
                <a:gd name="T16" fmla="*/ 115 w 116"/>
                <a:gd name="T17" fmla="*/ 8 h 71"/>
                <a:gd name="T18" fmla="*/ 87 w 116"/>
                <a:gd name="T19" fmla="*/ 68 h 71"/>
                <a:gd name="T20" fmla="*/ 82 w 116"/>
                <a:gd name="T21" fmla="*/ 71 h 71"/>
                <a:gd name="T22" fmla="*/ 15 w 116"/>
                <a:gd name="T23" fmla="*/ 60 h 71"/>
                <a:gd name="T24" fmla="*/ 78 w 116"/>
                <a:gd name="T25" fmla="*/ 60 h 71"/>
                <a:gd name="T26" fmla="*/ 101 w 116"/>
                <a:gd name="T27" fmla="*/ 11 h 71"/>
                <a:gd name="T28" fmla="*/ 38 w 116"/>
                <a:gd name="T29" fmla="*/ 11 h 71"/>
                <a:gd name="T30" fmla="*/ 15 w 116"/>
                <a:gd name="T31" fmla="*/ 6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6" h="71">
                  <a:moveTo>
                    <a:pt x="82" y="71"/>
                  </a:moveTo>
                  <a:cubicBezTo>
                    <a:pt x="6" y="71"/>
                    <a:pt x="6" y="71"/>
                    <a:pt x="6" y="71"/>
                  </a:cubicBezTo>
                  <a:cubicBezTo>
                    <a:pt x="4" y="71"/>
                    <a:pt x="2" y="70"/>
                    <a:pt x="1" y="69"/>
                  </a:cubicBezTo>
                  <a:cubicBezTo>
                    <a:pt x="0" y="67"/>
                    <a:pt x="0" y="65"/>
                    <a:pt x="1" y="6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30" y="1"/>
                    <a:pt x="32" y="0"/>
                    <a:pt x="34" y="0"/>
                  </a:cubicBezTo>
                  <a:cubicBezTo>
                    <a:pt x="110" y="0"/>
                    <a:pt x="110" y="0"/>
                    <a:pt x="110" y="0"/>
                  </a:cubicBezTo>
                  <a:cubicBezTo>
                    <a:pt x="112" y="0"/>
                    <a:pt x="114" y="1"/>
                    <a:pt x="115" y="3"/>
                  </a:cubicBezTo>
                  <a:cubicBezTo>
                    <a:pt x="116" y="4"/>
                    <a:pt x="116" y="6"/>
                    <a:pt x="115" y="8"/>
                  </a:cubicBezTo>
                  <a:cubicBezTo>
                    <a:pt x="87" y="68"/>
                    <a:pt x="87" y="68"/>
                    <a:pt x="87" y="68"/>
                  </a:cubicBezTo>
                  <a:cubicBezTo>
                    <a:pt x="86" y="70"/>
                    <a:pt x="84" y="71"/>
                    <a:pt x="82" y="71"/>
                  </a:cubicBezTo>
                  <a:close/>
                  <a:moveTo>
                    <a:pt x="15" y="60"/>
                  </a:moveTo>
                  <a:cubicBezTo>
                    <a:pt x="78" y="60"/>
                    <a:pt x="78" y="60"/>
                    <a:pt x="78" y="60"/>
                  </a:cubicBezTo>
                  <a:cubicBezTo>
                    <a:pt x="101" y="11"/>
                    <a:pt x="101" y="11"/>
                    <a:pt x="101" y="11"/>
                  </a:cubicBezTo>
                  <a:cubicBezTo>
                    <a:pt x="38" y="11"/>
                    <a:pt x="38" y="11"/>
                    <a:pt x="38" y="11"/>
                  </a:cubicBezTo>
                  <a:lnTo>
                    <a:pt x="15" y="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202" name="Shape67_20200717_142846">
            <a:extLst>
              <a:ext uri="{FF2B5EF4-FFF2-40B4-BE49-F238E27FC236}">
                <a16:creationId xmlns:a16="http://schemas.microsoft.com/office/drawing/2014/main" id="{99DD04BB-6E12-9D8D-FFBE-A5C2062D80D3}"/>
              </a:ext>
            </a:extLst>
          </p:cNvPr>
          <p:cNvGrpSpPr>
            <a:grpSpLocks noChangeAspect="1"/>
          </p:cNvGrpSpPr>
          <p:nvPr/>
        </p:nvGrpSpPr>
        <p:grpSpPr>
          <a:xfrm>
            <a:off x="4536088" y="5164346"/>
            <a:ext cx="508632" cy="551739"/>
            <a:chOff x="-2724151" y="2889246"/>
            <a:chExt cx="336595" cy="365128"/>
          </a:xfrm>
          <a:solidFill>
            <a:schemeClr val="accent1"/>
          </a:solidFill>
        </p:grpSpPr>
        <p:sp>
          <p:nvSpPr>
            <p:cNvPr id="203" name="Freeform 471">
              <a:extLst>
                <a:ext uri="{FF2B5EF4-FFF2-40B4-BE49-F238E27FC236}">
                  <a16:creationId xmlns:a16="http://schemas.microsoft.com/office/drawing/2014/main" id="{4B4D7488-9271-9039-6B54-271F3E3C1EF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600278" y="3044823"/>
              <a:ext cx="212721" cy="133350"/>
            </a:xfrm>
            <a:custGeom>
              <a:avLst/>
              <a:gdLst>
                <a:gd name="T0" fmla="*/ 47 w 94"/>
                <a:gd name="T1" fmla="*/ 59 h 59"/>
                <a:gd name="T2" fmla="*/ 14 w 94"/>
                <a:gd name="T3" fmla="*/ 51 h 59"/>
                <a:gd name="T4" fmla="*/ 0 w 94"/>
                <a:gd name="T5" fmla="*/ 30 h 59"/>
                <a:gd name="T6" fmla="*/ 14 w 94"/>
                <a:gd name="T7" fmla="*/ 10 h 59"/>
                <a:gd name="T8" fmla="*/ 80 w 94"/>
                <a:gd name="T9" fmla="*/ 10 h 59"/>
                <a:gd name="T10" fmla="*/ 94 w 94"/>
                <a:gd name="T11" fmla="*/ 30 h 59"/>
                <a:gd name="T12" fmla="*/ 80 w 94"/>
                <a:gd name="T13" fmla="*/ 51 h 59"/>
                <a:gd name="T14" fmla="*/ 47 w 94"/>
                <a:gd name="T15" fmla="*/ 59 h 59"/>
                <a:gd name="T16" fmla="*/ 47 w 94"/>
                <a:gd name="T17" fmla="*/ 7 h 59"/>
                <a:gd name="T18" fmla="*/ 17 w 94"/>
                <a:gd name="T19" fmla="*/ 14 h 59"/>
                <a:gd name="T20" fmla="*/ 5 w 94"/>
                <a:gd name="T21" fmla="*/ 30 h 59"/>
                <a:gd name="T22" fmla="*/ 17 w 94"/>
                <a:gd name="T23" fmla="*/ 47 h 59"/>
                <a:gd name="T24" fmla="*/ 78 w 94"/>
                <a:gd name="T25" fmla="*/ 47 h 59"/>
                <a:gd name="T26" fmla="*/ 89 w 94"/>
                <a:gd name="T27" fmla="*/ 30 h 59"/>
                <a:gd name="T28" fmla="*/ 78 w 94"/>
                <a:gd name="T29" fmla="*/ 14 h 59"/>
                <a:gd name="T30" fmla="*/ 47 w 94"/>
                <a:gd name="T31" fmla="*/ 7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4" h="59">
                  <a:moveTo>
                    <a:pt x="47" y="59"/>
                  </a:moveTo>
                  <a:cubicBezTo>
                    <a:pt x="35" y="59"/>
                    <a:pt x="23" y="56"/>
                    <a:pt x="14" y="51"/>
                  </a:cubicBezTo>
                  <a:cubicBezTo>
                    <a:pt x="5" y="46"/>
                    <a:pt x="0" y="38"/>
                    <a:pt x="0" y="30"/>
                  </a:cubicBezTo>
                  <a:cubicBezTo>
                    <a:pt x="0" y="23"/>
                    <a:pt x="5" y="15"/>
                    <a:pt x="14" y="10"/>
                  </a:cubicBezTo>
                  <a:cubicBezTo>
                    <a:pt x="32" y="0"/>
                    <a:pt x="62" y="0"/>
                    <a:pt x="80" y="10"/>
                  </a:cubicBezTo>
                  <a:cubicBezTo>
                    <a:pt x="89" y="15"/>
                    <a:pt x="94" y="23"/>
                    <a:pt x="94" y="30"/>
                  </a:cubicBezTo>
                  <a:cubicBezTo>
                    <a:pt x="94" y="38"/>
                    <a:pt x="89" y="46"/>
                    <a:pt x="80" y="51"/>
                  </a:cubicBezTo>
                  <a:cubicBezTo>
                    <a:pt x="71" y="56"/>
                    <a:pt x="59" y="59"/>
                    <a:pt x="47" y="59"/>
                  </a:cubicBezTo>
                  <a:close/>
                  <a:moveTo>
                    <a:pt x="47" y="7"/>
                  </a:moveTo>
                  <a:cubicBezTo>
                    <a:pt x="36" y="7"/>
                    <a:pt x="25" y="10"/>
                    <a:pt x="17" y="14"/>
                  </a:cubicBezTo>
                  <a:cubicBezTo>
                    <a:pt x="9" y="19"/>
                    <a:pt x="5" y="24"/>
                    <a:pt x="5" y="30"/>
                  </a:cubicBezTo>
                  <a:cubicBezTo>
                    <a:pt x="5" y="36"/>
                    <a:pt x="9" y="42"/>
                    <a:pt x="17" y="47"/>
                  </a:cubicBezTo>
                  <a:cubicBezTo>
                    <a:pt x="33" y="56"/>
                    <a:pt x="61" y="56"/>
                    <a:pt x="78" y="47"/>
                  </a:cubicBezTo>
                  <a:cubicBezTo>
                    <a:pt x="85" y="42"/>
                    <a:pt x="89" y="36"/>
                    <a:pt x="89" y="30"/>
                  </a:cubicBezTo>
                  <a:cubicBezTo>
                    <a:pt x="89" y="24"/>
                    <a:pt x="85" y="19"/>
                    <a:pt x="78" y="14"/>
                  </a:cubicBezTo>
                  <a:cubicBezTo>
                    <a:pt x="69" y="10"/>
                    <a:pt x="58" y="7"/>
                    <a:pt x="47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4" name="Freeform 472">
              <a:extLst>
                <a:ext uri="{FF2B5EF4-FFF2-40B4-BE49-F238E27FC236}">
                  <a16:creationId xmlns:a16="http://schemas.microsoft.com/office/drawing/2014/main" id="{ACC43BF7-36F4-2748-9BE5-E2853DF445D6}"/>
                </a:ext>
              </a:extLst>
            </p:cNvPr>
            <p:cNvSpPr>
              <a:spLocks/>
            </p:cNvSpPr>
            <p:nvPr/>
          </p:nvSpPr>
          <p:spPr bwMode="auto">
            <a:xfrm>
              <a:off x="-2600278" y="3146423"/>
              <a:ext cx="212721" cy="69850"/>
            </a:xfrm>
            <a:custGeom>
              <a:avLst/>
              <a:gdLst>
                <a:gd name="T0" fmla="*/ 47 w 94"/>
                <a:gd name="T1" fmla="*/ 31 h 31"/>
                <a:gd name="T2" fmla="*/ 14 w 94"/>
                <a:gd name="T3" fmla="*/ 23 h 31"/>
                <a:gd name="T4" fmla="*/ 0 w 94"/>
                <a:gd name="T5" fmla="*/ 2 h 31"/>
                <a:gd name="T6" fmla="*/ 2 w 94"/>
                <a:gd name="T7" fmla="*/ 0 h 31"/>
                <a:gd name="T8" fmla="*/ 5 w 94"/>
                <a:gd name="T9" fmla="*/ 2 h 31"/>
                <a:gd name="T10" fmla="*/ 17 w 94"/>
                <a:gd name="T11" fmla="*/ 19 h 31"/>
                <a:gd name="T12" fmla="*/ 78 w 94"/>
                <a:gd name="T13" fmla="*/ 19 h 31"/>
                <a:gd name="T14" fmla="*/ 89 w 94"/>
                <a:gd name="T15" fmla="*/ 3 h 31"/>
                <a:gd name="T16" fmla="*/ 92 w 94"/>
                <a:gd name="T17" fmla="*/ 0 h 31"/>
                <a:gd name="T18" fmla="*/ 94 w 94"/>
                <a:gd name="T19" fmla="*/ 3 h 31"/>
                <a:gd name="T20" fmla="*/ 80 w 94"/>
                <a:gd name="T21" fmla="*/ 23 h 31"/>
                <a:gd name="T22" fmla="*/ 47 w 94"/>
                <a:gd name="T23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31">
                  <a:moveTo>
                    <a:pt x="47" y="31"/>
                  </a:moveTo>
                  <a:cubicBezTo>
                    <a:pt x="35" y="31"/>
                    <a:pt x="23" y="28"/>
                    <a:pt x="14" y="23"/>
                  </a:cubicBezTo>
                  <a:cubicBezTo>
                    <a:pt x="5" y="18"/>
                    <a:pt x="0" y="10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4" y="0"/>
                    <a:pt x="5" y="1"/>
                    <a:pt x="5" y="2"/>
                  </a:cubicBezTo>
                  <a:cubicBezTo>
                    <a:pt x="5" y="8"/>
                    <a:pt x="9" y="14"/>
                    <a:pt x="17" y="19"/>
                  </a:cubicBezTo>
                  <a:cubicBezTo>
                    <a:pt x="33" y="29"/>
                    <a:pt x="61" y="29"/>
                    <a:pt x="78" y="19"/>
                  </a:cubicBezTo>
                  <a:cubicBezTo>
                    <a:pt x="85" y="14"/>
                    <a:pt x="89" y="9"/>
                    <a:pt x="89" y="3"/>
                  </a:cubicBezTo>
                  <a:cubicBezTo>
                    <a:pt x="89" y="1"/>
                    <a:pt x="91" y="0"/>
                    <a:pt x="92" y="0"/>
                  </a:cubicBezTo>
                  <a:cubicBezTo>
                    <a:pt x="93" y="0"/>
                    <a:pt x="94" y="1"/>
                    <a:pt x="94" y="3"/>
                  </a:cubicBezTo>
                  <a:cubicBezTo>
                    <a:pt x="94" y="11"/>
                    <a:pt x="89" y="18"/>
                    <a:pt x="80" y="23"/>
                  </a:cubicBezTo>
                  <a:cubicBezTo>
                    <a:pt x="71" y="28"/>
                    <a:pt x="59" y="31"/>
                    <a:pt x="47" y="3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5" name="Freeform 473">
              <a:extLst>
                <a:ext uri="{FF2B5EF4-FFF2-40B4-BE49-F238E27FC236}">
                  <a16:creationId xmlns:a16="http://schemas.microsoft.com/office/drawing/2014/main" id="{86FFDB39-0544-7197-DBE8-81822F9E5863}"/>
                </a:ext>
              </a:extLst>
            </p:cNvPr>
            <p:cNvSpPr>
              <a:spLocks/>
            </p:cNvSpPr>
            <p:nvPr/>
          </p:nvSpPr>
          <p:spPr bwMode="auto">
            <a:xfrm>
              <a:off x="-2600278" y="3108323"/>
              <a:ext cx="11113" cy="49213"/>
            </a:xfrm>
            <a:custGeom>
              <a:avLst/>
              <a:gdLst>
                <a:gd name="T0" fmla="*/ 2 w 5"/>
                <a:gd name="T1" fmla="*/ 22 h 22"/>
                <a:gd name="T2" fmla="*/ 0 w 5"/>
                <a:gd name="T3" fmla="*/ 20 h 22"/>
                <a:gd name="T4" fmla="*/ 0 w 5"/>
                <a:gd name="T5" fmla="*/ 3 h 22"/>
                <a:gd name="T6" fmla="*/ 2 w 5"/>
                <a:gd name="T7" fmla="*/ 0 h 22"/>
                <a:gd name="T8" fmla="*/ 5 w 5"/>
                <a:gd name="T9" fmla="*/ 3 h 22"/>
                <a:gd name="T10" fmla="*/ 5 w 5"/>
                <a:gd name="T11" fmla="*/ 20 h 22"/>
                <a:gd name="T12" fmla="*/ 2 w 5"/>
                <a:gd name="T1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22">
                  <a:moveTo>
                    <a:pt x="2" y="22"/>
                  </a:moveTo>
                  <a:cubicBezTo>
                    <a:pt x="1" y="22"/>
                    <a:pt x="0" y="21"/>
                    <a:pt x="0" y="2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4" y="0"/>
                    <a:pt x="5" y="1"/>
                    <a:pt x="5" y="3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21"/>
                    <a:pt x="4" y="22"/>
                    <a:pt x="2" y="2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6" name="Freeform 474">
              <a:extLst>
                <a:ext uri="{FF2B5EF4-FFF2-40B4-BE49-F238E27FC236}">
                  <a16:creationId xmlns:a16="http://schemas.microsoft.com/office/drawing/2014/main" id="{CBE1EE76-C8F9-276C-CDE3-5B87D3CD702C}"/>
                </a:ext>
              </a:extLst>
            </p:cNvPr>
            <p:cNvSpPr>
              <a:spLocks/>
            </p:cNvSpPr>
            <p:nvPr/>
          </p:nvSpPr>
          <p:spPr bwMode="auto">
            <a:xfrm>
              <a:off x="-2398669" y="3108323"/>
              <a:ext cx="11113" cy="49213"/>
            </a:xfrm>
            <a:custGeom>
              <a:avLst/>
              <a:gdLst>
                <a:gd name="T0" fmla="*/ 3 w 5"/>
                <a:gd name="T1" fmla="*/ 22 h 22"/>
                <a:gd name="T2" fmla="*/ 0 w 5"/>
                <a:gd name="T3" fmla="*/ 20 h 22"/>
                <a:gd name="T4" fmla="*/ 0 w 5"/>
                <a:gd name="T5" fmla="*/ 3 h 22"/>
                <a:gd name="T6" fmla="*/ 3 w 5"/>
                <a:gd name="T7" fmla="*/ 0 h 22"/>
                <a:gd name="T8" fmla="*/ 5 w 5"/>
                <a:gd name="T9" fmla="*/ 3 h 22"/>
                <a:gd name="T10" fmla="*/ 5 w 5"/>
                <a:gd name="T11" fmla="*/ 20 h 22"/>
                <a:gd name="T12" fmla="*/ 3 w 5"/>
                <a:gd name="T1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22">
                  <a:moveTo>
                    <a:pt x="3" y="22"/>
                  </a:moveTo>
                  <a:cubicBezTo>
                    <a:pt x="2" y="22"/>
                    <a:pt x="0" y="21"/>
                    <a:pt x="0" y="2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4" y="0"/>
                    <a:pt x="5" y="1"/>
                    <a:pt x="5" y="3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21"/>
                    <a:pt x="4" y="22"/>
                    <a:pt x="3" y="2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7" name="Freeform 475">
              <a:extLst>
                <a:ext uri="{FF2B5EF4-FFF2-40B4-BE49-F238E27FC236}">
                  <a16:creationId xmlns:a16="http://schemas.microsoft.com/office/drawing/2014/main" id="{B54523C0-4AAA-670E-23FD-03132FACCC4A}"/>
                </a:ext>
              </a:extLst>
            </p:cNvPr>
            <p:cNvSpPr>
              <a:spLocks/>
            </p:cNvSpPr>
            <p:nvPr/>
          </p:nvSpPr>
          <p:spPr bwMode="auto">
            <a:xfrm>
              <a:off x="-2600278" y="3184524"/>
              <a:ext cx="212721" cy="69850"/>
            </a:xfrm>
            <a:custGeom>
              <a:avLst/>
              <a:gdLst>
                <a:gd name="T0" fmla="*/ 47 w 94"/>
                <a:gd name="T1" fmla="*/ 31 h 31"/>
                <a:gd name="T2" fmla="*/ 14 w 94"/>
                <a:gd name="T3" fmla="*/ 23 h 31"/>
                <a:gd name="T4" fmla="*/ 0 w 94"/>
                <a:gd name="T5" fmla="*/ 2 h 31"/>
                <a:gd name="T6" fmla="*/ 2 w 94"/>
                <a:gd name="T7" fmla="*/ 0 h 31"/>
                <a:gd name="T8" fmla="*/ 5 w 94"/>
                <a:gd name="T9" fmla="*/ 2 h 31"/>
                <a:gd name="T10" fmla="*/ 17 w 94"/>
                <a:gd name="T11" fmla="*/ 19 h 31"/>
                <a:gd name="T12" fmla="*/ 78 w 94"/>
                <a:gd name="T13" fmla="*/ 19 h 31"/>
                <a:gd name="T14" fmla="*/ 89 w 94"/>
                <a:gd name="T15" fmla="*/ 3 h 31"/>
                <a:gd name="T16" fmla="*/ 92 w 94"/>
                <a:gd name="T17" fmla="*/ 0 h 31"/>
                <a:gd name="T18" fmla="*/ 94 w 94"/>
                <a:gd name="T19" fmla="*/ 3 h 31"/>
                <a:gd name="T20" fmla="*/ 80 w 94"/>
                <a:gd name="T21" fmla="*/ 23 h 31"/>
                <a:gd name="T22" fmla="*/ 47 w 94"/>
                <a:gd name="T23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31">
                  <a:moveTo>
                    <a:pt x="47" y="31"/>
                  </a:moveTo>
                  <a:cubicBezTo>
                    <a:pt x="35" y="31"/>
                    <a:pt x="23" y="29"/>
                    <a:pt x="14" y="23"/>
                  </a:cubicBezTo>
                  <a:cubicBezTo>
                    <a:pt x="5" y="18"/>
                    <a:pt x="0" y="10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4" y="0"/>
                    <a:pt x="5" y="1"/>
                    <a:pt x="5" y="2"/>
                  </a:cubicBezTo>
                  <a:cubicBezTo>
                    <a:pt x="5" y="9"/>
                    <a:pt x="9" y="15"/>
                    <a:pt x="17" y="19"/>
                  </a:cubicBezTo>
                  <a:cubicBezTo>
                    <a:pt x="33" y="29"/>
                    <a:pt x="61" y="29"/>
                    <a:pt x="78" y="19"/>
                  </a:cubicBezTo>
                  <a:cubicBezTo>
                    <a:pt x="85" y="15"/>
                    <a:pt x="89" y="9"/>
                    <a:pt x="89" y="3"/>
                  </a:cubicBezTo>
                  <a:cubicBezTo>
                    <a:pt x="89" y="2"/>
                    <a:pt x="91" y="0"/>
                    <a:pt x="92" y="0"/>
                  </a:cubicBezTo>
                  <a:cubicBezTo>
                    <a:pt x="93" y="0"/>
                    <a:pt x="94" y="2"/>
                    <a:pt x="94" y="3"/>
                  </a:cubicBezTo>
                  <a:cubicBezTo>
                    <a:pt x="94" y="11"/>
                    <a:pt x="89" y="18"/>
                    <a:pt x="80" y="23"/>
                  </a:cubicBezTo>
                  <a:cubicBezTo>
                    <a:pt x="71" y="29"/>
                    <a:pt x="59" y="31"/>
                    <a:pt x="47" y="3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8" name="Freeform 476">
              <a:extLst>
                <a:ext uri="{FF2B5EF4-FFF2-40B4-BE49-F238E27FC236}">
                  <a16:creationId xmlns:a16="http://schemas.microsoft.com/office/drawing/2014/main" id="{2281298B-3678-7EBB-2535-DFE0F8E1E478}"/>
                </a:ext>
              </a:extLst>
            </p:cNvPr>
            <p:cNvSpPr>
              <a:spLocks/>
            </p:cNvSpPr>
            <p:nvPr/>
          </p:nvSpPr>
          <p:spPr bwMode="auto">
            <a:xfrm>
              <a:off x="-2600278" y="3148011"/>
              <a:ext cx="11113" cy="50800"/>
            </a:xfrm>
            <a:custGeom>
              <a:avLst/>
              <a:gdLst>
                <a:gd name="T0" fmla="*/ 2 w 5"/>
                <a:gd name="T1" fmla="*/ 22 h 22"/>
                <a:gd name="T2" fmla="*/ 0 w 5"/>
                <a:gd name="T3" fmla="*/ 19 h 22"/>
                <a:gd name="T4" fmla="*/ 0 w 5"/>
                <a:gd name="T5" fmla="*/ 2 h 22"/>
                <a:gd name="T6" fmla="*/ 2 w 5"/>
                <a:gd name="T7" fmla="*/ 0 h 22"/>
                <a:gd name="T8" fmla="*/ 5 w 5"/>
                <a:gd name="T9" fmla="*/ 2 h 22"/>
                <a:gd name="T10" fmla="*/ 5 w 5"/>
                <a:gd name="T11" fmla="*/ 19 h 22"/>
                <a:gd name="T12" fmla="*/ 2 w 5"/>
                <a:gd name="T1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22">
                  <a:moveTo>
                    <a:pt x="2" y="22"/>
                  </a:moveTo>
                  <a:cubicBezTo>
                    <a:pt x="1" y="22"/>
                    <a:pt x="0" y="21"/>
                    <a:pt x="0" y="1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4" y="0"/>
                    <a:pt x="5" y="1"/>
                    <a:pt x="5" y="2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5" y="21"/>
                    <a:pt x="4" y="22"/>
                    <a:pt x="2" y="2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9" name="Freeform 477">
              <a:extLst>
                <a:ext uri="{FF2B5EF4-FFF2-40B4-BE49-F238E27FC236}">
                  <a16:creationId xmlns:a16="http://schemas.microsoft.com/office/drawing/2014/main" id="{8FAEEC82-D7E4-8974-02D3-89EE919853B2}"/>
                </a:ext>
              </a:extLst>
            </p:cNvPr>
            <p:cNvSpPr>
              <a:spLocks/>
            </p:cNvSpPr>
            <p:nvPr/>
          </p:nvSpPr>
          <p:spPr bwMode="auto">
            <a:xfrm>
              <a:off x="-2398669" y="3148011"/>
              <a:ext cx="11113" cy="50800"/>
            </a:xfrm>
            <a:custGeom>
              <a:avLst/>
              <a:gdLst>
                <a:gd name="T0" fmla="*/ 3 w 5"/>
                <a:gd name="T1" fmla="*/ 22 h 22"/>
                <a:gd name="T2" fmla="*/ 0 w 5"/>
                <a:gd name="T3" fmla="*/ 19 h 22"/>
                <a:gd name="T4" fmla="*/ 0 w 5"/>
                <a:gd name="T5" fmla="*/ 2 h 22"/>
                <a:gd name="T6" fmla="*/ 3 w 5"/>
                <a:gd name="T7" fmla="*/ 0 h 22"/>
                <a:gd name="T8" fmla="*/ 5 w 5"/>
                <a:gd name="T9" fmla="*/ 2 h 22"/>
                <a:gd name="T10" fmla="*/ 5 w 5"/>
                <a:gd name="T11" fmla="*/ 19 h 22"/>
                <a:gd name="T12" fmla="*/ 3 w 5"/>
                <a:gd name="T1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22">
                  <a:moveTo>
                    <a:pt x="3" y="22"/>
                  </a:moveTo>
                  <a:cubicBezTo>
                    <a:pt x="2" y="22"/>
                    <a:pt x="0" y="21"/>
                    <a:pt x="0" y="1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4" y="0"/>
                    <a:pt x="5" y="1"/>
                    <a:pt x="5" y="2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5" y="21"/>
                    <a:pt x="4" y="22"/>
                    <a:pt x="3" y="2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0" name="Freeform 478">
              <a:extLst>
                <a:ext uri="{FF2B5EF4-FFF2-40B4-BE49-F238E27FC236}">
                  <a16:creationId xmlns:a16="http://schemas.microsoft.com/office/drawing/2014/main" id="{7CF5A342-59AD-6A85-0EB1-5E680BE4AB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724101" y="2889246"/>
              <a:ext cx="214309" cy="133350"/>
            </a:xfrm>
            <a:custGeom>
              <a:avLst/>
              <a:gdLst>
                <a:gd name="T0" fmla="*/ 48 w 95"/>
                <a:gd name="T1" fmla="*/ 59 h 59"/>
                <a:gd name="T2" fmla="*/ 15 w 95"/>
                <a:gd name="T3" fmla="*/ 51 h 59"/>
                <a:gd name="T4" fmla="*/ 0 w 95"/>
                <a:gd name="T5" fmla="*/ 31 h 59"/>
                <a:gd name="T6" fmla="*/ 15 w 95"/>
                <a:gd name="T7" fmla="*/ 10 h 59"/>
                <a:gd name="T8" fmla="*/ 80 w 95"/>
                <a:gd name="T9" fmla="*/ 10 h 59"/>
                <a:gd name="T10" fmla="*/ 95 w 95"/>
                <a:gd name="T11" fmla="*/ 31 h 59"/>
                <a:gd name="T12" fmla="*/ 80 w 95"/>
                <a:gd name="T13" fmla="*/ 51 h 59"/>
                <a:gd name="T14" fmla="*/ 48 w 95"/>
                <a:gd name="T15" fmla="*/ 59 h 59"/>
                <a:gd name="T16" fmla="*/ 48 w 95"/>
                <a:gd name="T17" fmla="*/ 7 h 59"/>
                <a:gd name="T18" fmla="*/ 17 w 95"/>
                <a:gd name="T19" fmla="*/ 15 h 59"/>
                <a:gd name="T20" fmla="*/ 5 w 95"/>
                <a:gd name="T21" fmla="*/ 31 h 59"/>
                <a:gd name="T22" fmla="*/ 17 w 95"/>
                <a:gd name="T23" fmla="*/ 47 h 59"/>
                <a:gd name="T24" fmla="*/ 78 w 95"/>
                <a:gd name="T25" fmla="*/ 47 h 59"/>
                <a:gd name="T26" fmla="*/ 90 w 95"/>
                <a:gd name="T27" fmla="*/ 31 h 59"/>
                <a:gd name="T28" fmla="*/ 78 w 95"/>
                <a:gd name="T29" fmla="*/ 15 h 59"/>
                <a:gd name="T30" fmla="*/ 78 w 95"/>
                <a:gd name="T31" fmla="*/ 15 h 59"/>
                <a:gd name="T32" fmla="*/ 48 w 95"/>
                <a:gd name="T33" fmla="*/ 7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5" h="59">
                  <a:moveTo>
                    <a:pt x="48" y="59"/>
                  </a:moveTo>
                  <a:cubicBezTo>
                    <a:pt x="36" y="59"/>
                    <a:pt x="24" y="56"/>
                    <a:pt x="15" y="51"/>
                  </a:cubicBezTo>
                  <a:cubicBezTo>
                    <a:pt x="5" y="46"/>
                    <a:pt x="0" y="39"/>
                    <a:pt x="0" y="31"/>
                  </a:cubicBezTo>
                  <a:cubicBezTo>
                    <a:pt x="0" y="23"/>
                    <a:pt x="5" y="16"/>
                    <a:pt x="15" y="10"/>
                  </a:cubicBezTo>
                  <a:cubicBezTo>
                    <a:pt x="33" y="0"/>
                    <a:pt x="62" y="0"/>
                    <a:pt x="80" y="10"/>
                  </a:cubicBezTo>
                  <a:cubicBezTo>
                    <a:pt x="90" y="16"/>
                    <a:pt x="95" y="23"/>
                    <a:pt x="95" y="31"/>
                  </a:cubicBezTo>
                  <a:cubicBezTo>
                    <a:pt x="95" y="39"/>
                    <a:pt x="90" y="46"/>
                    <a:pt x="80" y="51"/>
                  </a:cubicBezTo>
                  <a:cubicBezTo>
                    <a:pt x="71" y="56"/>
                    <a:pt x="59" y="59"/>
                    <a:pt x="48" y="59"/>
                  </a:cubicBezTo>
                  <a:close/>
                  <a:moveTo>
                    <a:pt x="48" y="7"/>
                  </a:moveTo>
                  <a:cubicBezTo>
                    <a:pt x="37" y="7"/>
                    <a:pt x="26" y="10"/>
                    <a:pt x="17" y="15"/>
                  </a:cubicBezTo>
                  <a:cubicBezTo>
                    <a:pt x="9" y="19"/>
                    <a:pt x="5" y="25"/>
                    <a:pt x="5" y="31"/>
                  </a:cubicBezTo>
                  <a:cubicBezTo>
                    <a:pt x="5" y="37"/>
                    <a:pt x="9" y="43"/>
                    <a:pt x="17" y="47"/>
                  </a:cubicBezTo>
                  <a:cubicBezTo>
                    <a:pt x="34" y="57"/>
                    <a:pt x="61" y="57"/>
                    <a:pt x="78" y="47"/>
                  </a:cubicBezTo>
                  <a:cubicBezTo>
                    <a:pt x="86" y="43"/>
                    <a:pt x="90" y="37"/>
                    <a:pt x="90" y="31"/>
                  </a:cubicBezTo>
                  <a:cubicBezTo>
                    <a:pt x="90" y="25"/>
                    <a:pt x="86" y="19"/>
                    <a:pt x="78" y="15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70" y="10"/>
                    <a:pt x="59" y="7"/>
                    <a:pt x="48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1" name="Freeform 479">
              <a:extLst>
                <a:ext uri="{FF2B5EF4-FFF2-40B4-BE49-F238E27FC236}">
                  <a16:creationId xmlns:a16="http://schemas.microsoft.com/office/drawing/2014/main" id="{E1F56FDC-044E-B5C6-88C5-7FD22464696C}"/>
                </a:ext>
              </a:extLst>
            </p:cNvPr>
            <p:cNvSpPr>
              <a:spLocks/>
            </p:cNvSpPr>
            <p:nvPr/>
          </p:nvSpPr>
          <p:spPr bwMode="auto">
            <a:xfrm>
              <a:off x="-2724101" y="2990845"/>
              <a:ext cx="214309" cy="69850"/>
            </a:xfrm>
            <a:custGeom>
              <a:avLst/>
              <a:gdLst>
                <a:gd name="T0" fmla="*/ 48 w 95"/>
                <a:gd name="T1" fmla="*/ 31 h 31"/>
                <a:gd name="T2" fmla="*/ 15 w 95"/>
                <a:gd name="T3" fmla="*/ 23 h 31"/>
                <a:gd name="T4" fmla="*/ 0 w 95"/>
                <a:gd name="T5" fmla="*/ 2 h 31"/>
                <a:gd name="T6" fmla="*/ 3 w 95"/>
                <a:gd name="T7" fmla="*/ 0 h 31"/>
                <a:gd name="T8" fmla="*/ 5 w 95"/>
                <a:gd name="T9" fmla="*/ 3 h 31"/>
                <a:gd name="T10" fmla="*/ 17 w 95"/>
                <a:gd name="T11" fmla="*/ 19 h 31"/>
                <a:gd name="T12" fmla="*/ 78 w 95"/>
                <a:gd name="T13" fmla="*/ 19 h 31"/>
                <a:gd name="T14" fmla="*/ 90 w 95"/>
                <a:gd name="T15" fmla="*/ 3 h 31"/>
                <a:gd name="T16" fmla="*/ 92 w 95"/>
                <a:gd name="T17" fmla="*/ 1 h 31"/>
                <a:gd name="T18" fmla="*/ 95 w 95"/>
                <a:gd name="T19" fmla="*/ 3 h 31"/>
                <a:gd name="T20" fmla="*/ 80 w 95"/>
                <a:gd name="T21" fmla="*/ 23 h 31"/>
                <a:gd name="T22" fmla="*/ 48 w 95"/>
                <a:gd name="T23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5" h="31">
                  <a:moveTo>
                    <a:pt x="48" y="31"/>
                  </a:moveTo>
                  <a:cubicBezTo>
                    <a:pt x="36" y="31"/>
                    <a:pt x="24" y="29"/>
                    <a:pt x="15" y="23"/>
                  </a:cubicBezTo>
                  <a:cubicBezTo>
                    <a:pt x="5" y="18"/>
                    <a:pt x="0" y="11"/>
                    <a:pt x="0" y="2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5" y="1"/>
                    <a:pt x="5" y="3"/>
                  </a:cubicBezTo>
                  <a:cubicBezTo>
                    <a:pt x="5" y="9"/>
                    <a:pt x="9" y="15"/>
                    <a:pt x="17" y="19"/>
                  </a:cubicBezTo>
                  <a:cubicBezTo>
                    <a:pt x="34" y="29"/>
                    <a:pt x="61" y="29"/>
                    <a:pt x="78" y="19"/>
                  </a:cubicBezTo>
                  <a:cubicBezTo>
                    <a:pt x="86" y="15"/>
                    <a:pt x="90" y="9"/>
                    <a:pt x="90" y="3"/>
                  </a:cubicBezTo>
                  <a:cubicBezTo>
                    <a:pt x="90" y="2"/>
                    <a:pt x="91" y="1"/>
                    <a:pt x="92" y="1"/>
                  </a:cubicBezTo>
                  <a:cubicBezTo>
                    <a:pt x="94" y="1"/>
                    <a:pt x="95" y="2"/>
                    <a:pt x="95" y="3"/>
                  </a:cubicBezTo>
                  <a:cubicBezTo>
                    <a:pt x="95" y="11"/>
                    <a:pt x="90" y="18"/>
                    <a:pt x="80" y="23"/>
                  </a:cubicBezTo>
                  <a:cubicBezTo>
                    <a:pt x="71" y="29"/>
                    <a:pt x="59" y="31"/>
                    <a:pt x="48" y="3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2" name="Freeform 480">
              <a:extLst>
                <a:ext uri="{FF2B5EF4-FFF2-40B4-BE49-F238E27FC236}">
                  <a16:creationId xmlns:a16="http://schemas.microsoft.com/office/drawing/2014/main" id="{1914583E-830F-74AB-8FF5-AADDA9A8725A}"/>
                </a:ext>
              </a:extLst>
            </p:cNvPr>
            <p:cNvSpPr>
              <a:spLocks/>
            </p:cNvSpPr>
            <p:nvPr/>
          </p:nvSpPr>
          <p:spPr bwMode="auto">
            <a:xfrm>
              <a:off x="-2724101" y="2954333"/>
              <a:ext cx="11113" cy="49213"/>
            </a:xfrm>
            <a:custGeom>
              <a:avLst/>
              <a:gdLst>
                <a:gd name="T0" fmla="*/ 3 w 5"/>
                <a:gd name="T1" fmla="*/ 22 h 22"/>
                <a:gd name="T2" fmla="*/ 0 w 5"/>
                <a:gd name="T3" fmla="*/ 19 h 22"/>
                <a:gd name="T4" fmla="*/ 0 w 5"/>
                <a:gd name="T5" fmla="*/ 2 h 22"/>
                <a:gd name="T6" fmla="*/ 3 w 5"/>
                <a:gd name="T7" fmla="*/ 0 h 22"/>
                <a:gd name="T8" fmla="*/ 5 w 5"/>
                <a:gd name="T9" fmla="*/ 2 h 22"/>
                <a:gd name="T10" fmla="*/ 5 w 5"/>
                <a:gd name="T11" fmla="*/ 19 h 22"/>
                <a:gd name="T12" fmla="*/ 3 w 5"/>
                <a:gd name="T1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22">
                  <a:moveTo>
                    <a:pt x="3" y="22"/>
                  </a:moveTo>
                  <a:cubicBezTo>
                    <a:pt x="1" y="22"/>
                    <a:pt x="0" y="21"/>
                    <a:pt x="0" y="1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5" y="1"/>
                    <a:pt x="5" y="2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5" y="21"/>
                    <a:pt x="4" y="22"/>
                    <a:pt x="3" y="2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3" name="Freeform 481">
              <a:extLst>
                <a:ext uri="{FF2B5EF4-FFF2-40B4-BE49-F238E27FC236}">
                  <a16:creationId xmlns:a16="http://schemas.microsoft.com/office/drawing/2014/main" id="{6F5A3039-E28E-BDB1-B383-6AA2173D59EB}"/>
                </a:ext>
              </a:extLst>
            </p:cNvPr>
            <p:cNvSpPr>
              <a:spLocks/>
            </p:cNvSpPr>
            <p:nvPr/>
          </p:nvSpPr>
          <p:spPr bwMode="auto">
            <a:xfrm>
              <a:off x="-2520904" y="2954330"/>
              <a:ext cx="11113" cy="49213"/>
            </a:xfrm>
            <a:custGeom>
              <a:avLst/>
              <a:gdLst>
                <a:gd name="T0" fmla="*/ 2 w 5"/>
                <a:gd name="T1" fmla="*/ 22 h 22"/>
                <a:gd name="T2" fmla="*/ 0 w 5"/>
                <a:gd name="T3" fmla="*/ 19 h 22"/>
                <a:gd name="T4" fmla="*/ 0 w 5"/>
                <a:gd name="T5" fmla="*/ 2 h 22"/>
                <a:gd name="T6" fmla="*/ 2 w 5"/>
                <a:gd name="T7" fmla="*/ 0 h 22"/>
                <a:gd name="T8" fmla="*/ 5 w 5"/>
                <a:gd name="T9" fmla="*/ 2 h 22"/>
                <a:gd name="T10" fmla="*/ 5 w 5"/>
                <a:gd name="T11" fmla="*/ 19 h 22"/>
                <a:gd name="T12" fmla="*/ 2 w 5"/>
                <a:gd name="T1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22">
                  <a:moveTo>
                    <a:pt x="2" y="22"/>
                  </a:moveTo>
                  <a:cubicBezTo>
                    <a:pt x="1" y="22"/>
                    <a:pt x="0" y="21"/>
                    <a:pt x="0" y="1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4" y="0"/>
                    <a:pt x="5" y="1"/>
                    <a:pt x="5" y="2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5" y="21"/>
                    <a:pt x="4" y="22"/>
                    <a:pt x="2" y="2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4" name="Freeform 482">
              <a:extLst>
                <a:ext uri="{FF2B5EF4-FFF2-40B4-BE49-F238E27FC236}">
                  <a16:creationId xmlns:a16="http://schemas.microsoft.com/office/drawing/2014/main" id="{56C5B65B-2BFE-3938-E43A-4CFDE1B84FB5}"/>
                </a:ext>
              </a:extLst>
            </p:cNvPr>
            <p:cNvSpPr>
              <a:spLocks/>
            </p:cNvSpPr>
            <p:nvPr/>
          </p:nvSpPr>
          <p:spPr bwMode="auto">
            <a:xfrm>
              <a:off x="-2724101" y="3028942"/>
              <a:ext cx="142872" cy="71438"/>
            </a:xfrm>
            <a:custGeom>
              <a:avLst/>
              <a:gdLst>
                <a:gd name="T0" fmla="*/ 48 w 63"/>
                <a:gd name="T1" fmla="*/ 32 h 32"/>
                <a:gd name="T2" fmla="*/ 15 w 63"/>
                <a:gd name="T3" fmla="*/ 24 h 32"/>
                <a:gd name="T4" fmla="*/ 0 w 63"/>
                <a:gd name="T5" fmla="*/ 3 h 32"/>
                <a:gd name="T6" fmla="*/ 3 w 63"/>
                <a:gd name="T7" fmla="*/ 0 h 32"/>
                <a:gd name="T8" fmla="*/ 5 w 63"/>
                <a:gd name="T9" fmla="*/ 3 h 32"/>
                <a:gd name="T10" fmla="*/ 17 w 63"/>
                <a:gd name="T11" fmla="*/ 19 h 32"/>
                <a:gd name="T12" fmla="*/ 59 w 63"/>
                <a:gd name="T13" fmla="*/ 26 h 32"/>
                <a:gd name="T14" fmla="*/ 62 w 63"/>
                <a:gd name="T15" fmla="*/ 28 h 32"/>
                <a:gd name="T16" fmla="*/ 60 w 63"/>
                <a:gd name="T17" fmla="*/ 31 h 32"/>
                <a:gd name="T18" fmla="*/ 48 w 63"/>
                <a:gd name="T19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3" h="32">
                  <a:moveTo>
                    <a:pt x="48" y="32"/>
                  </a:moveTo>
                  <a:cubicBezTo>
                    <a:pt x="35" y="32"/>
                    <a:pt x="24" y="29"/>
                    <a:pt x="15" y="24"/>
                  </a:cubicBezTo>
                  <a:cubicBezTo>
                    <a:pt x="5" y="18"/>
                    <a:pt x="0" y="11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5" y="2"/>
                    <a:pt x="5" y="3"/>
                  </a:cubicBezTo>
                  <a:cubicBezTo>
                    <a:pt x="5" y="9"/>
                    <a:pt x="9" y="15"/>
                    <a:pt x="17" y="19"/>
                  </a:cubicBezTo>
                  <a:cubicBezTo>
                    <a:pt x="28" y="26"/>
                    <a:pt x="44" y="28"/>
                    <a:pt x="59" y="26"/>
                  </a:cubicBezTo>
                  <a:cubicBezTo>
                    <a:pt x="61" y="26"/>
                    <a:pt x="62" y="26"/>
                    <a:pt x="62" y="28"/>
                  </a:cubicBezTo>
                  <a:cubicBezTo>
                    <a:pt x="63" y="29"/>
                    <a:pt x="62" y="30"/>
                    <a:pt x="60" y="31"/>
                  </a:cubicBezTo>
                  <a:cubicBezTo>
                    <a:pt x="56" y="31"/>
                    <a:pt x="52" y="32"/>
                    <a:pt x="48" y="3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5" name="Freeform 483">
              <a:extLst>
                <a:ext uri="{FF2B5EF4-FFF2-40B4-BE49-F238E27FC236}">
                  <a16:creationId xmlns:a16="http://schemas.microsoft.com/office/drawing/2014/main" id="{72B9D142-C5D8-558D-FCBE-18EE1E7D4A18}"/>
                </a:ext>
              </a:extLst>
            </p:cNvPr>
            <p:cNvSpPr>
              <a:spLocks/>
            </p:cNvSpPr>
            <p:nvPr/>
          </p:nvSpPr>
          <p:spPr bwMode="auto">
            <a:xfrm>
              <a:off x="-2530429" y="3030530"/>
              <a:ext cx="20638" cy="31750"/>
            </a:xfrm>
            <a:custGeom>
              <a:avLst/>
              <a:gdLst>
                <a:gd name="T0" fmla="*/ 3 w 9"/>
                <a:gd name="T1" fmla="*/ 14 h 14"/>
                <a:gd name="T2" fmla="*/ 2 w 9"/>
                <a:gd name="T3" fmla="*/ 14 h 14"/>
                <a:gd name="T4" fmla="*/ 1 w 9"/>
                <a:gd name="T5" fmla="*/ 10 h 14"/>
                <a:gd name="T6" fmla="*/ 4 w 9"/>
                <a:gd name="T7" fmla="*/ 2 h 14"/>
                <a:gd name="T8" fmla="*/ 6 w 9"/>
                <a:gd name="T9" fmla="*/ 0 h 14"/>
                <a:gd name="T10" fmla="*/ 9 w 9"/>
                <a:gd name="T11" fmla="*/ 2 h 14"/>
                <a:gd name="T12" fmla="*/ 5 w 9"/>
                <a:gd name="T13" fmla="*/ 13 h 14"/>
                <a:gd name="T14" fmla="*/ 3 w 9"/>
                <a:gd name="T1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14">
                  <a:moveTo>
                    <a:pt x="3" y="14"/>
                  </a:moveTo>
                  <a:cubicBezTo>
                    <a:pt x="3" y="14"/>
                    <a:pt x="2" y="14"/>
                    <a:pt x="2" y="14"/>
                  </a:cubicBezTo>
                  <a:cubicBezTo>
                    <a:pt x="1" y="13"/>
                    <a:pt x="0" y="11"/>
                    <a:pt x="1" y="10"/>
                  </a:cubicBezTo>
                  <a:cubicBezTo>
                    <a:pt x="3" y="8"/>
                    <a:pt x="4" y="5"/>
                    <a:pt x="4" y="2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8" y="0"/>
                    <a:pt x="9" y="1"/>
                    <a:pt x="9" y="2"/>
                  </a:cubicBezTo>
                  <a:cubicBezTo>
                    <a:pt x="9" y="6"/>
                    <a:pt x="8" y="10"/>
                    <a:pt x="5" y="13"/>
                  </a:cubicBezTo>
                  <a:cubicBezTo>
                    <a:pt x="5" y="14"/>
                    <a:pt x="4" y="14"/>
                    <a:pt x="3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6" name="Freeform 484">
              <a:extLst>
                <a:ext uri="{FF2B5EF4-FFF2-40B4-BE49-F238E27FC236}">
                  <a16:creationId xmlns:a16="http://schemas.microsoft.com/office/drawing/2014/main" id="{BB8106BC-7843-5E77-210E-1E7AC648F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-2724101" y="2992431"/>
              <a:ext cx="11113" cy="49213"/>
            </a:xfrm>
            <a:custGeom>
              <a:avLst/>
              <a:gdLst>
                <a:gd name="T0" fmla="*/ 3 w 5"/>
                <a:gd name="T1" fmla="*/ 22 h 22"/>
                <a:gd name="T2" fmla="*/ 0 w 5"/>
                <a:gd name="T3" fmla="*/ 20 h 22"/>
                <a:gd name="T4" fmla="*/ 0 w 5"/>
                <a:gd name="T5" fmla="*/ 2 h 22"/>
                <a:gd name="T6" fmla="*/ 3 w 5"/>
                <a:gd name="T7" fmla="*/ 0 h 22"/>
                <a:gd name="T8" fmla="*/ 5 w 5"/>
                <a:gd name="T9" fmla="*/ 2 h 22"/>
                <a:gd name="T10" fmla="*/ 5 w 5"/>
                <a:gd name="T11" fmla="*/ 20 h 22"/>
                <a:gd name="T12" fmla="*/ 3 w 5"/>
                <a:gd name="T1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22">
                  <a:moveTo>
                    <a:pt x="3" y="22"/>
                  </a:moveTo>
                  <a:cubicBezTo>
                    <a:pt x="1" y="22"/>
                    <a:pt x="0" y="21"/>
                    <a:pt x="0" y="2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5" y="1"/>
                    <a:pt x="5" y="2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21"/>
                    <a:pt x="4" y="22"/>
                    <a:pt x="3" y="2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7" name="Freeform 485">
              <a:extLst>
                <a:ext uri="{FF2B5EF4-FFF2-40B4-BE49-F238E27FC236}">
                  <a16:creationId xmlns:a16="http://schemas.microsoft.com/office/drawing/2014/main" id="{57EAA6B1-6402-D89E-4B43-EB840782125F}"/>
                </a:ext>
              </a:extLst>
            </p:cNvPr>
            <p:cNvSpPr>
              <a:spLocks/>
            </p:cNvSpPr>
            <p:nvPr/>
          </p:nvSpPr>
          <p:spPr bwMode="auto">
            <a:xfrm>
              <a:off x="-2520904" y="2992428"/>
              <a:ext cx="11113" cy="49213"/>
            </a:xfrm>
            <a:custGeom>
              <a:avLst/>
              <a:gdLst>
                <a:gd name="T0" fmla="*/ 2 w 5"/>
                <a:gd name="T1" fmla="*/ 22 h 22"/>
                <a:gd name="T2" fmla="*/ 0 w 5"/>
                <a:gd name="T3" fmla="*/ 20 h 22"/>
                <a:gd name="T4" fmla="*/ 0 w 5"/>
                <a:gd name="T5" fmla="*/ 2 h 22"/>
                <a:gd name="T6" fmla="*/ 2 w 5"/>
                <a:gd name="T7" fmla="*/ 0 h 22"/>
                <a:gd name="T8" fmla="*/ 5 w 5"/>
                <a:gd name="T9" fmla="*/ 2 h 22"/>
                <a:gd name="T10" fmla="*/ 5 w 5"/>
                <a:gd name="T11" fmla="*/ 20 h 22"/>
                <a:gd name="T12" fmla="*/ 2 w 5"/>
                <a:gd name="T1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22">
                  <a:moveTo>
                    <a:pt x="2" y="22"/>
                  </a:moveTo>
                  <a:cubicBezTo>
                    <a:pt x="1" y="22"/>
                    <a:pt x="0" y="21"/>
                    <a:pt x="0" y="2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4" y="0"/>
                    <a:pt x="5" y="1"/>
                    <a:pt x="5" y="2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21"/>
                    <a:pt x="4" y="22"/>
                    <a:pt x="2" y="2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8" name="Freeform 486">
              <a:extLst>
                <a:ext uri="{FF2B5EF4-FFF2-40B4-BE49-F238E27FC236}">
                  <a16:creationId xmlns:a16="http://schemas.microsoft.com/office/drawing/2014/main" id="{E57A0090-A64C-B196-694F-86352B19AE05}"/>
                </a:ext>
              </a:extLst>
            </p:cNvPr>
            <p:cNvSpPr>
              <a:spLocks/>
            </p:cNvSpPr>
            <p:nvPr/>
          </p:nvSpPr>
          <p:spPr bwMode="auto">
            <a:xfrm>
              <a:off x="-2724101" y="3065452"/>
              <a:ext cx="134935" cy="69850"/>
            </a:xfrm>
            <a:custGeom>
              <a:avLst/>
              <a:gdLst>
                <a:gd name="T0" fmla="*/ 48 w 60"/>
                <a:gd name="T1" fmla="*/ 31 h 31"/>
                <a:gd name="T2" fmla="*/ 15 w 60"/>
                <a:gd name="T3" fmla="*/ 24 h 31"/>
                <a:gd name="T4" fmla="*/ 0 w 60"/>
                <a:gd name="T5" fmla="*/ 2 h 31"/>
                <a:gd name="T6" fmla="*/ 3 w 60"/>
                <a:gd name="T7" fmla="*/ 0 h 31"/>
                <a:gd name="T8" fmla="*/ 5 w 60"/>
                <a:gd name="T9" fmla="*/ 3 h 31"/>
                <a:gd name="T10" fmla="*/ 17 w 60"/>
                <a:gd name="T11" fmla="*/ 19 h 31"/>
                <a:gd name="T12" fmla="*/ 57 w 60"/>
                <a:gd name="T13" fmla="*/ 26 h 31"/>
                <a:gd name="T14" fmla="*/ 60 w 60"/>
                <a:gd name="T15" fmla="*/ 28 h 31"/>
                <a:gd name="T16" fmla="*/ 58 w 60"/>
                <a:gd name="T17" fmla="*/ 31 h 31"/>
                <a:gd name="T18" fmla="*/ 48 w 60"/>
                <a:gd name="T1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31">
                  <a:moveTo>
                    <a:pt x="48" y="31"/>
                  </a:moveTo>
                  <a:cubicBezTo>
                    <a:pt x="35" y="31"/>
                    <a:pt x="24" y="29"/>
                    <a:pt x="15" y="24"/>
                  </a:cubicBezTo>
                  <a:cubicBezTo>
                    <a:pt x="5" y="18"/>
                    <a:pt x="0" y="11"/>
                    <a:pt x="0" y="2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5" y="1"/>
                    <a:pt x="5" y="3"/>
                  </a:cubicBezTo>
                  <a:cubicBezTo>
                    <a:pt x="5" y="9"/>
                    <a:pt x="9" y="15"/>
                    <a:pt x="17" y="19"/>
                  </a:cubicBezTo>
                  <a:cubicBezTo>
                    <a:pt x="28" y="25"/>
                    <a:pt x="42" y="28"/>
                    <a:pt x="57" y="26"/>
                  </a:cubicBezTo>
                  <a:cubicBezTo>
                    <a:pt x="58" y="26"/>
                    <a:pt x="60" y="27"/>
                    <a:pt x="60" y="28"/>
                  </a:cubicBezTo>
                  <a:cubicBezTo>
                    <a:pt x="60" y="29"/>
                    <a:pt x="59" y="31"/>
                    <a:pt x="58" y="31"/>
                  </a:cubicBezTo>
                  <a:cubicBezTo>
                    <a:pt x="54" y="31"/>
                    <a:pt x="51" y="31"/>
                    <a:pt x="48" y="3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9" name="Freeform 487">
              <a:extLst>
                <a:ext uri="{FF2B5EF4-FFF2-40B4-BE49-F238E27FC236}">
                  <a16:creationId xmlns:a16="http://schemas.microsoft.com/office/drawing/2014/main" id="{5F70B852-4CAA-2B32-AB70-247D23736DAE}"/>
                </a:ext>
              </a:extLst>
            </p:cNvPr>
            <p:cNvSpPr>
              <a:spLocks/>
            </p:cNvSpPr>
            <p:nvPr/>
          </p:nvSpPr>
          <p:spPr bwMode="auto">
            <a:xfrm>
              <a:off x="-2724101" y="3028940"/>
              <a:ext cx="11113" cy="49213"/>
            </a:xfrm>
            <a:custGeom>
              <a:avLst/>
              <a:gdLst>
                <a:gd name="T0" fmla="*/ 3 w 5"/>
                <a:gd name="T1" fmla="*/ 22 h 22"/>
                <a:gd name="T2" fmla="*/ 0 w 5"/>
                <a:gd name="T3" fmla="*/ 19 h 22"/>
                <a:gd name="T4" fmla="*/ 0 w 5"/>
                <a:gd name="T5" fmla="*/ 2 h 22"/>
                <a:gd name="T6" fmla="*/ 3 w 5"/>
                <a:gd name="T7" fmla="*/ 0 h 22"/>
                <a:gd name="T8" fmla="*/ 5 w 5"/>
                <a:gd name="T9" fmla="*/ 2 h 22"/>
                <a:gd name="T10" fmla="*/ 5 w 5"/>
                <a:gd name="T11" fmla="*/ 19 h 22"/>
                <a:gd name="T12" fmla="*/ 3 w 5"/>
                <a:gd name="T1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22">
                  <a:moveTo>
                    <a:pt x="3" y="22"/>
                  </a:moveTo>
                  <a:cubicBezTo>
                    <a:pt x="1" y="22"/>
                    <a:pt x="0" y="21"/>
                    <a:pt x="0" y="1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5" y="1"/>
                    <a:pt x="5" y="2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5" y="21"/>
                    <a:pt x="4" y="22"/>
                    <a:pt x="3" y="2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0" name="Freeform 488">
              <a:extLst>
                <a:ext uri="{FF2B5EF4-FFF2-40B4-BE49-F238E27FC236}">
                  <a16:creationId xmlns:a16="http://schemas.microsoft.com/office/drawing/2014/main" id="{CEDF846B-B954-8ED4-070E-6F4425E8C18A}"/>
                </a:ext>
              </a:extLst>
            </p:cNvPr>
            <p:cNvSpPr>
              <a:spLocks/>
            </p:cNvSpPr>
            <p:nvPr/>
          </p:nvSpPr>
          <p:spPr bwMode="auto">
            <a:xfrm>
              <a:off x="-2520901" y="3028935"/>
              <a:ext cx="11113" cy="33338"/>
            </a:xfrm>
            <a:custGeom>
              <a:avLst/>
              <a:gdLst>
                <a:gd name="T0" fmla="*/ 2 w 5"/>
                <a:gd name="T1" fmla="*/ 15 h 15"/>
                <a:gd name="T2" fmla="*/ 0 w 5"/>
                <a:gd name="T3" fmla="*/ 12 h 15"/>
                <a:gd name="T4" fmla="*/ 0 w 5"/>
                <a:gd name="T5" fmla="*/ 2 h 15"/>
                <a:gd name="T6" fmla="*/ 2 w 5"/>
                <a:gd name="T7" fmla="*/ 0 h 15"/>
                <a:gd name="T8" fmla="*/ 5 w 5"/>
                <a:gd name="T9" fmla="*/ 2 h 15"/>
                <a:gd name="T10" fmla="*/ 5 w 5"/>
                <a:gd name="T11" fmla="*/ 12 h 15"/>
                <a:gd name="T12" fmla="*/ 2 w 5"/>
                <a:gd name="T13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15">
                  <a:moveTo>
                    <a:pt x="2" y="15"/>
                  </a:moveTo>
                  <a:cubicBezTo>
                    <a:pt x="1" y="15"/>
                    <a:pt x="0" y="14"/>
                    <a:pt x="0" y="1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4" y="0"/>
                    <a:pt x="5" y="1"/>
                    <a:pt x="5" y="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5" y="14"/>
                    <a:pt x="4" y="15"/>
                    <a:pt x="2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1" name="Freeform 489">
              <a:extLst>
                <a:ext uri="{FF2B5EF4-FFF2-40B4-BE49-F238E27FC236}">
                  <a16:creationId xmlns:a16="http://schemas.microsoft.com/office/drawing/2014/main" id="{56891312-6758-3E4A-9297-C13659DDE5E2}"/>
                </a:ext>
              </a:extLst>
            </p:cNvPr>
            <p:cNvSpPr>
              <a:spLocks/>
            </p:cNvSpPr>
            <p:nvPr/>
          </p:nvSpPr>
          <p:spPr bwMode="auto">
            <a:xfrm>
              <a:off x="-2724097" y="3100372"/>
              <a:ext cx="134935" cy="71438"/>
            </a:xfrm>
            <a:custGeom>
              <a:avLst/>
              <a:gdLst>
                <a:gd name="T0" fmla="*/ 48 w 60"/>
                <a:gd name="T1" fmla="*/ 31 h 31"/>
                <a:gd name="T2" fmla="*/ 15 w 60"/>
                <a:gd name="T3" fmla="*/ 23 h 31"/>
                <a:gd name="T4" fmla="*/ 0 w 60"/>
                <a:gd name="T5" fmla="*/ 2 h 31"/>
                <a:gd name="T6" fmla="*/ 3 w 60"/>
                <a:gd name="T7" fmla="*/ 0 h 31"/>
                <a:gd name="T8" fmla="*/ 5 w 60"/>
                <a:gd name="T9" fmla="*/ 2 h 31"/>
                <a:gd name="T10" fmla="*/ 17 w 60"/>
                <a:gd name="T11" fmla="*/ 19 h 31"/>
                <a:gd name="T12" fmla="*/ 57 w 60"/>
                <a:gd name="T13" fmla="*/ 26 h 31"/>
                <a:gd name="T14" fmla="*/ 60 w 60"/>
                <a:gd name="T15" fmla="*/ 28 h 31"/>
                <a:gd name="T16" fmla="*/ 58 w 60"/>
                <a:gd name="T17" fmla="*/ 31 h 31"/>
                <a:gd name="T18" fmla="*/ 48 w 60"/>
                <a:gd name="T1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31">
                  <a:moveTo>
                    <a:pt x="48" y="31"/>
                  </a:moveTo>
                  <a:cubicBezTo>
                    <a:pt x="35" y="31"/>
                    <a:pt x="24" y="28"/>
                    <a:pt x="15" y="23"/>
                  </a:cubicBezTo>
                  <a:cubicBezTo>
                    <a:pt x="5" y="18"/>
                    <a:pt x="0" y="10"/>
                    <a:pt x="0" y="2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5" y="1"/>
                    <a:pt x="5" y="2"/>
                  </a:cubicBezTo>
                  <a:cubicBezTo>
                    <a:pt x="5" y="9"/>
                    <a:pt x="9" y="15"/>
                    <a:pt x="17" y="19"/>
                  </a:cubicBezTo>
                  <a:cubicBezTo>
                    <a:pt x="28" y="25"/>
                    <a:pt x="42" y="28"/>
                    <a:pt x="57" y="26"/>
                  </a:cubicBezTo>
                  <a:cubicBezTo>
                    <a:pt x="58" y="26"/>
                    <a:pt x="60" y="26"/>
                    <a:pt x="60" y="28"/>
                  </a:cubicBezTo>
                  <a:cubicBezTo>
                    <a:pt x="60" y="29"/>
                    <a:pt x="59" y="30"/>
                    <a:pt x="58" y="31"/>
                  </a:cubicBezTo>
                  <a:cubicBezTo>
                    <a:pt x="54" y="31"/>
                    <a:pt x="51" y="31"/>
                    <a:pt x="48" y="3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2" name="Freeform 490">
              <a:extLst>
                <a:ext uri="{FF2B5EF4-FFF2-40B4-BE49-F238E27FC236}">
                  <a16:creationId xmlns:a16="http://schemas.microsoft.com/office/drawing/2014/main" id="{C06C912A-9E01-1092-D1C6-E98B9FBC1FD9}"/>
                </a:ext>
              </a:extLst>
            </p:cNvPr>
            <p:cNvSpPr>
              <a:spLocks/>
            </p:cNvSpPr>
            <p:nvPr/>
          </p:nvSpPr>
          <p:spPr bwMode="auto">
            <a:xfrm>
              <a:off x="-2724097" y="3065450"/>
              <a:ext cx="11113" cy="49213"/>
            </a:xfrm>
            <a:custGeom>
              <a:avLst/>
              <a:gdLst>
                <a:gd name="T0" fmla="*/ 3 w 5"/>
                <a:gd name="T1" fmla="*/ 22 h 22"/>
                <a:gd name="T2" fmla="*/ 0 w 5"/>
                <a:gd name="T3" fmla="*/ 19 h 22"/>
                <a:gd name="T4" fmla="*/ 0 w 5"/>
                <a:gd name="T5" fmla="*/ 2 h 22"/>
                <a:gd name="T6" fmla="*/ 3 w 5"/>
                <a:gd name="T7" fmla="*/ 0 h 22"/>
                <a:gd name="T8" fmla="*/ 5 w 5"/>
                <a:gd name="T9" fmla="*/ 2 h 22"/>
                <a:gd name="T10" fmla="*/ 5 w 5"/>
                <a:gd name="T11" fmla="*/ 19 h 22"/>
                <a:gd name="T12" fmla="*/ 3 w 5"/>
                <a:gd name="T1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22">
                  <a:moveTo>
                    <a:pt x="3" y="22"/>
                  </a:moveTo>
                  <a:cubicBezTo>
                    <a:pt x="1" y="22"/>
                    <a:pt x="0" y="21"/>
                    <a:pt x="0" y="1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5" y="1"/>
                    <a:pt x="5" y="2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5" y="21"/>
                    <a:pt x="4" y="22"/>
                    <a:pt x="3" y="2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3" name="Freeform 491">
              <a:extLst>
                <a:ext uri="{FF2B5EF4-FFF2-40B4-BE49-F238E27FC236}">
                  <a16:creationId xmlns:a16="http://schemas.microsoft.com/office/drawing/2014/main" id="{BD3C5BEC-0928-1353-C1DB-6FC6C939A256}"/>
                </a:ext>
              </a:extLst>
            </p:cNvPr>
            <p:cNvSpPr>
              <a:spLocks/>
            </p:cNvSpPr>
            <p:nvPr/>
          </p:nvSpPr>
          <p:spPr bwMode="auto">
            <a:xfrm>
              <a:off x="-2724094" y="3136896"/>
              <a:ext cx="134935" cy="69850"/>
            </a:xfrm>
            <a:custGeom>
              <a:avLst/>
              <a:gdLst>
                <a:gd name="T0" fmla="*/ 48 w 60"/>
                <a:gd name="T1" fmla="*/ 31 h 31"/>
                <a:gd name="T2" fmla="*/ 15 w 60"/>
                <a:gd name="T3" fmla="*/ 23 h 31"/>
                <a:gd name="T4" fmla="*/ 0 w 60"/>
                <a:gd name="T5" fmla="*/ 2 h 31"/>
                <a:gd name="T6" fmla="*/ 3 w 60"/>
                <a:gd name="T7" fmla="*/ 0 h 31"/>
                <a:gd name="T8" fmla="*/ 5 w 60"/>
                <a:gd name="T9" fmla="*/ 2 h 31"/>
                <a:gd name="T10" fmla="*/ 17 w 60"/>
                <a:gd name="T11" fmla="*/ 19 h 31"/>
                <a:gd name="T12" fmla="*/ 57 w 60"/>
                <a:gd name="T13" fmla="*/ 25 h 31"/>
                <a:gd name="T14" fmla="*/ 60 w 60"/>
                <a:gd name="T15" fmla="*/ 28 h 31"/>
                <a:gd name="T16" fmla="*/ 58 w 60"/>
                <a:gd name="T17" fmla="*/ 30 h 31"/>
                <a:gd name="T18" fmla="*/ 48 w 60"/>
                <a:gd name="T1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31">
                  <a:moveTo>
                    <a:pt x="48" y="31"/>
                  </a:moveTo>
                  <a:cubicBezTo>
                    <a:pt x="35" y="31"/>
                    <a:pt x="24" y="28"/>
                    <a:pt x="15" y="23"/>
                  </a:cubicBezTo>
                  <a:cubicBezTo>
                    <a:pt x="5" y="18"/>
                    <a:pt x="0" y="10"/>
                    <a:pt x="0" y="2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5" y="1"/>
                    <a:pt x="5" y="2"/>
                  </a:cubicBezTo>
                  <a:cubicBezTo>
                    <a:pt x="5" y="8"/>
                    <a:pt x="9" y="14"/>
                    <a:pt x="17" y="19"/>
                  </a:cubicBezTo>
                  <a:cubicBezTo>
                    <a:pt x="28" y="25"/>
                    <a:pt x="42" y="27"/>
                    <a:pt x="57" y="25"/>
                  </a:cubicBezTo>
                  <a:cubicBezTo>
                    <a:pt x="58" y="25"/>
                    <a:pt x="60" y="26"/>
                    <a:pt x="60" y="28"/>
                  </a:cubicBezTo>
                  <a:cubicBezTo>
                    <a:pt x="60" y="29"/>
                    <a:pt x="59" y="30"/>
                    <a:pt x="58" y="30"/>
                  </a:cubicBezTo>
                  <a:cubicBezTo>
                    <a:pt x="54" y="31"/>
                    <a:pt x="51" y="31"/>
                    <a:pt x="48" y="3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4" name="Freeform 492">
              <a:extLst>
                <a:ext uri="{FF2B5EF4-FFF2-40B4-BE49-F238E27FC236}">
                  <a16:creationId xmlns:a16="http://schemas.microsoft.com/office/drawing/2014/main" id="{AC10F301-600C-27A7-40AC-632FEFF5585D}"/>
                </a:ext>
              </a:extLst>
            </p:cNvPr>
            <p:cNvSpPr>
              <a:spLocks/>
            </p:cNvSpPr>
            <p:nvPr/>
          </p:nvSpPr>
          <p:spPr bwMode="auto">
            <a:xfrm>
              <a:off x="-2724151" y="3098800"/>
              <a:ext cx="11113" cy="49213"/>
            </a:xfrm>
            <a:custGeom>
              <a:avLst/>
              <a:gdLst>
                <a:gd name="T0" fmla="*/ 3 w 5"/>
                <a:gd name="T1" fmla="*/ 22 h 22"/>
                <a:gd name="T2" fmla="*/ 0 w 5"/>
                <a:gd name="T3" fmla="*/ 20 h 22"/>
                <a:gd name="T4" fmla="*/ 0 w 5"/>
                <a:gd name="T5" fmla="*/ 3 h 22"/>
                <a:gd name="T6" fmla="*/ 3 w 5"/>
                <a:gd name="T7" fmla="*/ 0 h 22"/>
                <a:gd name="T8" fmla="*/ 5 w 5"/>
                <a:gd name="T9" fmla="*/ 3 h 22"/>
                <a:gd name="T10" fmla="*/ 5 w 5"/>
                <a:gd name="T11" fmla="*/ 20 h 22"/>
                <a:gd name="T12" fmla="*/ 3 w 5"/>
                <a:gd name="T1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22">
                  <a:moveTo>
                    <a:pt x="3" y="22"/>
                  </a:moveTo>
                  <a:cubicBezTo>
                    <a:pt x="1" y="22"/>
                    <a:pt x="0" y="21"/>
                    <a:pt x="0" y="2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5" y="1"/>
                    <a:pt x="5" y="3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21"/>
                    <a:pt x="4" y="22"/>
                    <a:pt x="3" y="2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230" name="Shape49_20200717_142846">
            <a:extLst>
              <a:ext uri="{FF2B5EF4-FFF2-40B4-BE49-F238E27FC236}">
                <a16:creationId xmlns:a16="http://schemas.microsoft.com/office/drawing/2014/main" id="{2A21B163-39EE-13EF-0DBF-9F6100AE59B9}"/>
              </a:ext>
            </a:extLst>
          </p:cNvPr>
          <p:cNvGrpSpPr>
            <a:grpSpLocks noChangeAspect="1"/>
          </p:cNvGrpSpPr>
          <p:nvPr/>
        </p:nvGrpSpPr>
        <p:grpSpPr>
          <a:xfrm>
            <a:off x="5949668" y="1259672"/>
            <a:ext cx="292665" cy="527744"/>
            <a:chOff x="-1241429" y="989982"/>
            <a:chExt cx="193680" cy="349251"/>
          </a:xfrm>
          <a:solidFill>
            <a:schemeClr val="accent1"/>
          </a:solidFill>
        </p:grpSpPr>
        <p:sp>
          <p:nvSpPr>
            <p:cNvPr id="231" name="Freeform 1470">
              <a:extLst>
                <a:ext uri="{FF2B5EF4-FFF2-40B4-BE49-F238E27FC236}">
                  <a16:creationId xmlns:a16="http://schemas.microsoft.com/office/drawing/2014/main" id="{06B23ED8-9376-61B7-AFE8-A4E6B44BD7BC}"/>
                </a:ext>
              </a:extLst>
            </p:cNvPr>
            <p:cNvSpPr>
              <a:spLocks/>
            </p:cNvSpPr>
            <p:nvPr/>
          </p:nvSpPr>
          <p:spPr bwMode="auto">
            <a:xfrm>
              <a:off x="-1169991" y="1210646"/>
              <a:ext cx="11113" cy="107950"/>
            </a:xfrm>
            <a:custGeom>
              <a:avLst/>
              <a:gdLst>
                <a:gd name="T0" fmla="*/ 5 w 11"/>
                <a:gd name="T1" fmla="*/ 103 h 103"/>
                <a:gd name="T2" fmla="*/ 0 w 11"/>
                <a:gd name="T3" fmla="*/ 98 h 103"/>
                <a:gd name="T4" fmla="*/ 0 w 11"/>
                <a:gd name="T5" fmla="*/ 5 h 103"/>
                <a:gd name="T6" fmla="*/ 5 w 11"/>
                <a:gd name="T7" fmla="*/ 0 h 103"/>
                <a:gd name="T8" fmla="*/ 11 w 11"/>
                <a:gd name="T9" fmla="*/ 5 h 103"/>
                <a:gd name="T10" fmla="*/ 11 w 11"/>
                <a:gd name="T11" fmla="*/ 98 h 103"/>
                <a:gd name="T12" fmla="*/ 5 w 11"/>
                <a:gd name="T13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103">
                  <a:moveTo>
                    <a:pt x="5" y="103"/>
                  </a:moveTo>
                  <a:cubicBezTo>
                    <a:pt x="2" y="103"/>
                    <a:pt x="0" y="101"/>
                    <a:pt x="0" y="98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" y="0"/>
                    <a:pt x="11" y="2"/>
                    <a:pt x="11" y="5"/>
                  </a:cubicBezTo>
                  <a:cubicBezTo>
                    <a:pt x="11" y="98"/>
                    <a:pt x="11" y="98"/>
                    <a:pt x="11" y="98"/>
                  </a:cubicBezTo>
                  <a:cubicBezTo>
                    <a:pt x="11" y="101"/>
                    <a:pt x="8" y="103"/>
                    <a:pt x="5" y="10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2" name="Freeform 1471">
              <a:extLst>
                <a:ext uri="{FF2B5EF4-FFF2-40B4-BE49-F238E27FC236}">
                  <a16:creationId xmlns:a16="http://schemas.microsoft.com/office/drawing/2014/main" id="{AD8FF3E2-7B85-3D4E-CDAE-3C0164F652F1}"/>
                </a:ext>
              </a:extLst>
            </p:cNvPr>
            <p:cNvSpPr>
              <a:spLocks/>
            </p:cNvSpPr>
            <p:nvPr/>
          </p:nvSpPr>
          <p:spPr bwMode="auto">
            <a:xfrm>
              <a:off x="-1241429" y="1066182"/>
              <a:ext cx="153988" cy="273051"/>
            </a:xfrm>
            <a:custGeom>
              <a:avLst/>
              <a:gdLst>
                <a:gd name="T0" fmla="*/ 94 w 149"/>
                <a:gd name="T1" fmla="*/ 263 h 263"/>
                <a:gd name="T2" fmla="*/ 74 w 149"/>
                <a:gd name="T3" fmla="*/ 253 h 263"/>
                <a:gd name="T4" fmla="*/ 55 w 149"/>
                <a:gd name="T5" fmla="*/ 263 h 263"/>
                <a:gd name="T6" fmla="*/ 31 w 149"/>
                <a:gd name="T7" fmla="*/ 238 h 263"/>
                <a:gd name="T8" fmla="*/ 31 w 149"/>
                <a:gd name="T9" fmla="*/ 134 h 263"/>
                <a:gd name="T10" fmla="*/ 23 w 149"/>
                <a:gd name="T11" fmla="*/ 137 h 263"/>
                <a:gd name="T12" fmla="*/ 7 w 149"/>
                <a:gd name="T13" fmla="*/ 131 h 263"/>
                <a:gd name="T14" fmla="*/ 0 w 149"/>
                <a:gd name="T15" fmla="*/ 116 h 263"/>
                <a:gd name="T16" fmla="*/ 0 w 149"/>
                <a:gd name="T17" fmla="*/ 36 h 263"/>
                <a:gd name="T18" fmla="*/ 36 w 149"/>
                <a:gd name="T19" fmla="*/ 0 h 263"/>
                <a:gd name="T20" fmla="*/ 113 w 149"/>
                <a:gd name="T21" fmla="*/ 0 h 263"/>
                <a:gd name="T22" fmla="*/ 149 w 149"/>
                <a:gd name="T23" fmla="*/ 36 h 263"/>
                <a:gd name="T24" fmla="*/ 149 w 149"/>
                <a:gd name="T25" fmla="*/ 116 h 263"/>
                <a:gd name="T26" fmla="*/ 148 w 149"/>
                <a:gd name="T27" fmla="*/ 121 h 263"/>
                <a:gd name="T28" fmla="*/ 141 w 149"/>
                <a:gd name="T29" fmla="*/ 125 h 263"/>
                <a:gd name="T30" fmla="*/ 137 w 149"/>
                <a:gd name="T31" fmla="*/ 118 h 263"/>
                <a:gd name="T32" fmla="*/ 138 w 149"/>
                <a:gd name="T33" fmla="*/ 116 h 263"/>
                <a:gd name="T34" fmla="*/ 138 w 149"/>
                <a:gd name="T35" fmla="*/ 36 h 263"/>
                <a:gd name="T36" fmla="*/ 113 w 149"/>
                <a:gd name="T37" fmla="*/ 11 h 263"/>
                <a:gd name="T38" fmla="*/ 36 w 149"/>
                <a:gd name="T39" fmla="*/ 11 h 263"/>
                <a:gd name="T40" fmla="*/ 11 w 149"/>
                <a:gd name="T41" fmla="*/ 36 h 263"/>
                <a:gd name="T42" fmla="*/ 11 w 149"/>
                <a:gd name="T43" fmla="*/ 116 h 263"/>
                <a:gd name="T44" fmla="*/ 14 w 149"/>
                <a:gd name="T45" fmla="*/ 123 h 263"/>
                <a:gd name="T46" fmla="*/ 22 w 149"/>
                <a:gd name="T47" fmla="*/ 126 h 263"/>
                <a:gd name="T48" fmla="*/ 31 w 149"/>
                <a:gd name="T49" fmla="*/ 115 h 263"/>
                <a:gd name="T50" fmla="*/ 36 w 149"/>
                <a:gd name="T51" fmla="*/ 110 h 263"/>
                <a:gd name="T52" fmla="*/ 42 w 149"/>
                <a:gd name="T53" fmla="*/ 115 h 263"/>
                <a:gd name="T54" fmla="*/ 42 w 149"/>
                <a:gd name="T55" fmla="*/ 238 h 263"/>
                <a:gd name="T56" fmla="*/ 55 w 149"/>
                <a:gd name="T57" fmla="*/ 252 h 263"/>
                <a:gd name="T58" fmla="*/ 69 w 149"/>
                <a:gd name="T59" fmla="*/ 238 h 263"/>
                <a:gd name="T60" fmla="*/ 74 w 149"/>
                <a:gd name="T61" fmla="*/ 232 h 263"/>
                <a:gd name="T62" fmla="*/ 80 w 149"/>
                <a:gd name="T63" fmla="*/ 238 h 263"/>
                <a:gd name="T64" fmla="*/ 94 w 149"/>
                <a:gd name="T65" fmla="*/ 252 h 263"/>
                <a:gd name="T66" fmla="*/ 107 w 149"/>
                <a:gd name="T67" fmla="*/ 238 h 263"/>
                <a:gd name="T68" fmla="*/ 107 w 149"/>
                <a:gd name="T69" fmla="*/ 186 h 263"/>
                <a:gd name="T70" fmla="*/ 113 w 149"/>
                <a:gd name="T71" fmla="*/ 181 h 263"/>
                <a:gd name="T72" fmla="*/ 118 w 149"/>
                <a:gd name="T73" fmla="*/ 186 h 263"/>
                <a:gd name="T74" fmla="*/ 118 w 149"/>
                <a:gd name="T75" fmla="*/ 238 h 263"/>
                <a:gd name="T76" fmla="*/ 94 w 149"/>
                <a:gd name="T77" fmla="*/ 263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49" h="263">
                  <a:moveTo>
                    <a:pt x="94" y="263"/>
                  </a:moveTo>
                  <a:cubicBezTo>
                    <a:pt x="86" y="263"/>
                    <a:pt x="79" y="259"/>
                    <a:pt x="74" y="253"/>
                  </a:cubicBezTo>
                  <a:cubicBezTo>
                    <a:pt x="70" y="259"/>
                    <a:pt x="63" y="263"/>
                    <a:pt x="55" y="263"/>
                  </a:cubicBezTo>
                  <a:cubicBezTo>
                    <a:pt x="42" y="263"/>
                    <a:pt x="31" y="251"/>
                    <a:pt x="31" y="238"/>
                  </a:cubicBezTo>
                  <a:cubicBezTo>
                    <a:pt x="31" y="134"/>
                    <a:pt x="31" y="134"/>
                    <a:pt x="31" y="134"/>
                  </a:cubicBezTo>
                  <a:cubicBezTo>
                    <a:pt x="28" y="135"/>
                    <a:pt x="26" y="136"/>
                    <a:pt x="23" y="137"/>
                  </a:cubicBezTo>
                  <a:cubicBezTo>
                    <a:pt x="17" y="137"/>
                    <a:pt x="11" y="135"/>
                    <a:pt x="7" y="131"/>
                  </a:cubicBezTo>
                  <a:cubicBezTo>
                    <a:pt x="3" y="127"/>
                    <a:pt x="0" y="122"/>
                    <a:pt x="0" y="11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32" y="0"/>
                    <a:pt x="149" y="16"/>
                    <a:pt x="149" y="36"/>
                  </a:cubicBezTo>
                  <a:cubicBezTo>
                    <a:pt x="149" y="116"/>
                    <a:pt x="149" y="116"/>
                    <a:pt x="149" y="116"/>
                  </a:cubicBezTo>
                  <a:cubicBezTo>
                    <a:pt x="149" y="118"/>
                    <a:pt x="148" y="119"/>
                    <a:pt x="148" y="121"/>
                  </a:cubicBezTo>
                  <a:cubicBezTo>
                    <a:pt x="147" y="124"/>
                    <a:pt x="144" y="125"/>
                    <a:pt x="141" y="125"/>
                  </a:cubicBezTo>
                  <a:cubicBezTo>
                    <a:pt x="138" y="124"/>
                    <a:pt x="137" y="121"/>
                    <a:pt x="137" y="118"/>
                  </a:cubicBezTo>
                  <a:cubicBezTo>
                    <a:pt x="137" y="117"/>
                    <a:pt x="138" y="117"/>
                    <a:pt x="138" y="116"/>
                  </a:cubicBezTo>
                  <a:cubicBezTo>
                    <a:pt x="138" y="36"/>
                    <a:pt x="138" y="36"/>
                    <a:pt x="138" y="36"/>
                  </a:cubicBezTo>
                  <a:cubicBezTo>
                    <a:pt x="138" y="22"/>
                    <a:pt x="126" y="11"/>
                    <a:pt x="113" y="11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22" y="11"/>
                    <a:pt x="11" y="22"/>
                    <a:pt x="11" y="36"/>
                  </a:cubicBezTo>
                  <a:cubicBezTo>
                    <a:pt x="11" y="116"/>
                    <a:pt x="11" y="116"/>
                    <a:pt x="11" y="116"/>
                  </a:cubicBezTo>
                  <a:cubicBezTo>
                    <a:pt x="11" y="119"/>
                    <a:pt x="12" y="121"/>
                    <a:pt x="14" y="123"/>
                  </a:cubicBezTo>
                  <a:cubicBezTo>
                    <a:pt x="16" y="125"/>
                    <a:pt x="19" y="126"/>
                    <a:pt x="22" y="126"/>
                  </a:cubicBezTo>
                  <a:cubicBezTo>
                    <a:pt x="27" y="125"/>
                    <a:pt x="31" y="121"/>
                    <a:pt x="31" y="115"/>
                  </a:cubicBezTo>
                  <a:cubicBezTo>
                    <a:pt x="31" y="112"/>
                    <a:pt x="33" y="110"/>
                    <a:pt x="36" y="110"/>
                  </a:cubicBezTo>
                  <a:cubicBezTo>
                    <a:pt x="39" y="110"/>
                    <a:pt x="42" y="112"/>
                    <a:pt x="42" y="115"/>
                  </a:cubicBezTo>
                  <a:cubicBezTo>
                    <a:pt x="42" y="238"/>
                    <a:pt x="42" y="238"/>
                    <a:pt x="42" y="238"/>
                  </a:cubicBezTo>
                  <a:cubicBezTo>
                    <a:pt x="42" y="245"/>
                    <a:pt x="48" y="252"/>
                    <a:pt x="55" y="252"/>
                  </a:cubicBezTo>
                  <a:cubicBezTo>
                    <a:pt x="63" y="252"/>
                    <a:pt x="69" y="245"/>
                    <a:pt x="69" y="238"/>
                  </a:cubicBezTo>
                  <a:cubicBezTo>
                    <a:pt x="69" y="235"/>
                    <a:pt x="71" y="232"/>
                    <a:pt x="74" y="232"/>
                  </a:cubicBezTo>
                  <a:cubicBezTo>
                    <a:pt x="77" y="232"/>
                    <a:pt x="80" y="235"/>
                    <a:pt x="80" y="238"/>
                  </a:cubicBezTo>
                  <a:cubicBezTo>
                    <a:pt x="80" y="245"/>
                    <a:pt x="86" y="252"/>
                    <a:pt x="94" y="252"/>
                  </a:cubicBezTo>
                  <a:cubicBezTo>
                    <a:pt x="101" y="252"/>
                    <a:pt x="107" y="245"/>
                    <a:pt x="107" y="238"/>
                  </a:cubicBezTo>
                  <a:cubicBezTo>
                    <a:pt x="107" y="186"/>
                    <a:pt x="107" y="186"/>
                    <a:pt x="107" y="186"/>
                  </a:cubicBezTo>
                  <a:cubicBezTo>
                    <a:pt x="107" y="183"/>
                    <a:pt x="110" y="181"/>
                    <a:pt x="113" y="181"/>
                  </a:cubicBezTo>
                  <a:cubicBezTo>
                    <a:pt x="116" y="181"/>
                    <a:pt x="118" y="183"/>
                    <a:pt x="118" y="186"/>
                  </a:cubicBezTo>
                  <a:cubicBezTo>
                    <a:pt x="118" y="238"/>
                    <a:pt x="118" y="238"/>
                    <a:pt x="118" y="238"/>
                  </a:cubicBezTo>
                  <a:cubicBezTo>
                    <a:pt x="118" y="251"/>
                    <a:pt x="107" y="263"/>
                    <a:pt x="94" y="26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3" name="Freeform 1472">
              <a:extLst>
                <a:ext uri="{FF2B5EF4-FFF2-40B4-BE49-F238E27FC236}">
                  <a16:creationId xmlns:a16="http://schemas.microsoft.com/office/drawing/2014/main" id="{03998E5C-CF09-4A59-E40D-A62DC1D4D2BE}"/>
                </a:ext>
              </a:extLst>
            </p:cNvPr>
            <p:cNvSpPr>
              <a:spLocks/>
            </p:cNvSpPr>
            <p:nvPr/>
          </p:nvSpPr>
          <p:spPr bwMode="auto">
            <a:xfrm>
              <a:off x="-1209679" y="1066182"/>
              <a:ext cx="90489" cy="11113"/>
            </a:xfrm>
            <a:custGeom>
              <a:avLst/>
              <a:gdLst>
                <a:gd name="T0" fmla="*/ 82 w 87"/>
                <a:gd name="T1" fmla="*/ 11 h 11"/>
                <a:gd name="T2" fmla="*/ 5 w 87"/>
                <a:gd name="T3" fmla="*/ 11 h 11"/>
                <a:gd name="T4" fmla="*/ 0 w 87"/>
                <a:gd name="T5" fmla="*/ 5 h 11"/>
                <a:gd name="T6" fmla="*/ 5 w 87"/>
                <a:gd name="T7" fmla="*/ 0 h 11"/>
                <a:gd name="T8" fmla="*/ 82 w 87"/>
                <a:gd name="T9" fmla="*/ 0 h 11"/>
                <a:gd name="T10" fmla="*/ 87 w 87"/>
                <a:gd name="T11" fmla="*/ 5 h 11"/>
                <a:gd name="T12" fmla="*/ 82 w 87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11">
                  <a:moveTo>
                    <a:pt x="82" y="11"/>
                  </a:moveTo>
                  <a:cubicBezTo>
                    <a:pt x="5" y="11"/>
                    <a:pt x="5" y="11"/>
                    <a:pt x="5" y="11"/>
                  </a:cubicBezTo>
                  <a:cubicBezTo>
                    <a:pt x="2" y="11"/>
                    <a:pt x="0" y="8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85" y="0"/>
                    <a:pt x="87" y="2"/>
                    <a:pt x="87" y="5"/>
                  </a:cubicBezTo>
                  <a:cubicBezTo>
                    <a:pt x="87" y="8"/>
                    <a:pt x="85" y="11"/>
                    <a:pt x="82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4" name="Freeform 1473">
              <a:extLst>
                <a:ext uri="{FF2B5EF4-FFF2-40B4-BE49-F238E27FC236}">
                  <a16:creationId xmlns:a16="http://schemas.microsoft.com/office/drawing/2014/main" id="{86428A8D-3CC9-3622-35C9-48E002CA66D6}"/>
                </a:ext>
              </a:extLst>
            </p:cNvPr>
            <p:cNvSpPr>
              <a:spLocks/>
            </p:cNvSpPr>
            <p:nvPr/>
          </p:nvSpPr>
          <p:spPr bwMode="auto">
            <a:xfrm>
              <a:off x="-1209680" y="1123332"/>
              <a:ext cx="11113" cy="68263"/>
            </a:xfrm>
            <a:custGeom>
              <a:avLst/>
              <a:gdLst>
                <a:gd name="T0" fmla="*/ 5 w 11"/>
                <a:gd name="T1" fmla="*/ 66 h 66"/>
                <a:gd name="T2" fmla="*/ 0 w 11"/>
                <a:gd name="T3" fmla="*/ 60 h 66"/>
                <a:gd name="T4" fmla="*/ 0 w 11"/>
                <a:gd name="T5" fmla="*/ 5 h 66"/>
                <a:gd name="T6" fmla="*/ 5 w 11"/>
                <a:gd name="T7" fmla="*/ 0 h 66"/>
                <a:gd name="T8" fmla="*/ 11 w 11"/>
                <a:gd name="T9" fmla="*/ 5 h 66"/>
                <a:gd name="T10" fmla="*/ 11 w 11"/>
                <a:gd name="T11" fmla="*/ 60 h 66"/>
                <a:gd name="T12" fmla="*/ 5 w 11"/>
                <a:gd name="T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66">
                  <a:moveTo>
                    <a:pt x="5" y="66"/>
                  </a:moveTo>
                  <a:cubicBezTo>
                    <a:pt x="2" y="66"/>
                    <a:pt x="0" y="63"/>
                    <a:pt x="0" y="6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" y="0"/>
                    <a:pt x="11" y="2"/>
                    <a:pt x="11" y="5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11" y="63"/>
                    <a:pt x="8" y="66"/>
                    <a:pt x="5" y="6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5" name="Freeform 1474">
              <a:extLst>
                <a:ext uri="{FF2B5EF4-FFF2-40B4-BE49-F238E27FC236}">
                  <a16:creationId xmlns:a16="http://schemas.microsoft.com/office/drawing/2014/main" id="{60C2EA35-D13E-2D4B-D2AB-1A24EA786EC5}"/>
                </a:ext>
              </a:extLst>
            </p:cNvPr>
            <p:cNvSpPr>
              <a:spLocks/>
            </p:cNvSpPr>
            <p:nvPr/>
          </p:nvSpPr>
          <p:spPr bwMode="auto">
            <a:xfrm>
              <a:off x="-1130305" y="1123332"/>
              <a:ext cx="11113" cy="68263"/>
            </a:xfrm>
            <a:custGeom>
              <a:avLst/>
              <a:gdLst>
                <a:gd name="T0" fmla="*/ 6 w 11"/>
                <a:gd name="T1" fmla="*/ 66 h 66"/>
                <a:gd name="T2" fmla="*/ 0 w 11"/>
                <a:gd name="T3" fmla="*/ 60 h 66"/>
                <a:gd name="T4" fmla="*/ 0 w 11"/>
                <a:gd name="T5" fmla="*/ 5 h 66"/>
                <a:gd name="T6" fmla="*/ 6 w 11"/>
                <a:gd name="T7" fmla="*/ 0 h 66"/>
                <a:gd name="T8" fmla="*/ 11 w 11"/>
                <a:gd name="T9" fmla="*/ 5 h 66"/>
                <a:gd name="T10" fmla="*/ 11 w 11"/>
                <a:gd name="T11" fmla="*/ 60 h 66"/>
                <a:gd name="T12" fmla="*/ 6 w 11"/>
                <a:gd name="T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66">
                  <a:moveTo>
                    <a:pt x="6" y="66"/>
                  </a:moveTo>
                  <a:cubicBezTo>
                    <a:pt x="3" y="66"/>
                    <a:pt x="0" y="63"/>
                    <a:pt x="0" y="6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1" y="2"/>
                    <a:pt x="11" y="5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11" y="63"/>
                    <a:pt x="9" y="66"/>
                    <a:pt x="6" y="6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6" name="Freeform 1475">
              <a:extLst>
                <a:ext uri="{FF2B5EF4-FFF2-40B4-BE49-F238E27FC236}">
                  <a16:creationId xmlns:a16="http://schemas.microsoft.com/office/drawing/2014/main" id="{880E6137-1D88-7D44-7E7C-EAB98EB62EF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196978" y="989982"/>
              <a:ext cx="65088" cy="65088"/>
            </a:xfrm>
            <a:custGeom>
              <a:avLst/>
              <a:gdLst>
                <a:gd name="T0" fmla="*/ 31 w 63"/>
                <a:gd name="T1" fmla="*/ 62 h 62"/>
                <a:gd name="T2" fmla="*/ 0 w 63"/>
                <a:gd name="T3" fmla="*/ 31 h 62"/>
                <a:gd name="T4" fmla="*/ 31 w 63"/>
                <a:gd name="T5" fmla="*/ 0 h 62"/>
                <a:gd name="T6" fmla="*/ 63 w 63"/>
                <a:gd name="T7" fmla="*/ 31 h 62"/>
                <a:gd name="T8" fmla="*/ 31 w 63"/>
                <a:gd name="T9" fmla="*/ 62 h 62"/>
                <a:gd name="T10" fmla="*/ 31 w 63"/>
                <a:gd name="T11" fmla="*/ 11 h 62"/>
                <a:gd name="T12" fmla="*/ 11 w 63"/>
                <a:gd name="T13" fmla="*/ 31 h 62"/>
                <a:gd name="T14" fmla="*/ 31 w 63"/>
                <a:gd name="T15" fmla="*/ 51 h 62"/>
                <a:gd name="T16" fmla="*/ 52 w 63"/>
                <a:gd name="T17" fmla="*/ 31 h 62"/>
                <a:gd name="T18" fmla="*/ 31 w 63"/>
                <a:gd name="T19" fmla="*/ 11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3" h="62">
                  <a:moveTo>
                    <a:pt x="31" y="62"/>
                  </a:moveTo>
                  <a:cubicBezTo>
                    <a:pt x="14" y="62"/>
                    <a:pt x="0" y="48"/>
                    <a:pt x="0" y="31"/>
                  </a:cubicBezTo>
                  <a:cubicBezTo>
                    <a:pt x="0" y="14"/>
                    <a:pt x="14" y="0"/>
                    <a:pt x="31" y="0"/>
                  </a:cubicBezTo>
                  <a:cubicBezTo>
                    <a:pt x="49" y="0"/>
                    <a:pt x="63" y="14"/>
                    <a:pt x="63" y="31"/>
                  </a:cubicBezTo>
                  <a:cubicBezTo>
                    <a:pt x="63" y="48"/>
                    <a:pt x="49" y="62"/>
                    <a:pt x="31" y="62"/>
                  </a:cubicBezTo>
                  <a:close/>
                  <a:moveTo>
                    <a:pt x="31" y="11"/>
                  </a:moveTo>
                  <a:cubicBezTo>
                    <a:pt x="20" y="11"/>
                    <a:pt x="11" y="20"/>
                    <a:pt x="11" y="31"/>
                  </a:cubicBezTo>
                  <a:cubicBezTo>
                    <a:pt x="11" y="42"/>
                    <a:pt x="20" y="51"/>
                    <a:pt x="31" y="51"/>
                  </a:cubicBezTo>
                  <a:cubicBezTo>
                    <a:pt x="43" y="51"/>
                    <a:pt x="52" y="42"/>
                    <a:pt x="52" y="31"/>
                  </a:cubicBezTo>
                  <a:cubicBezTo>
                    <a:pt x="52" y="20"/>
                    <a:pt x="43" y="11"/>
                    <a:pt x="31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7" name="Freeform 1476">
              <a:extLst>
                <a:ext uri="{FF2B5EF4-FFF2-40B4-BE49-F238E27FC236}">
                  <a16:creationId xmlns:a16="http://schemas.microsoft.com/office/drawing/2014/main" id="{D85012CB-350E-4BBB-5060-672EEBD9A3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169987" y="1186830"/>
              <a:ext cx="122238" cy="76200"/>
            </a:xfrm>
            <a:custGeom>
              <a:avLst/>
              <a:gdLst>
                <a:gd name="T0" fmla="*/ 102 w 117"/>
                <a:gd name="T1" fmla="*/ 74 h 74"/>
                <a:gd name="T2" fmla="*/ 15 w 117"/>
                <a:gd name="T3" fmla="*/ 74 h 74"/>
                <a:gd name="T4" fmla="*/ 0 w 117"/>
                <a:gd name="T5" fmla="*/ 60 h 74"/>
                <a:gd name="T6" fmla="*/ 0 w 117"/>
                <a:gd name="T7" fmla="*/ 15 h 74"/>
                <a:gd name="T8" fmla="*/ 15 w 117"/>
                <a:gd name="T9" fmla="*/ 0 h 74"/>
                <a:gd name="T10" fmla="*/ 102 w 117"/>
                <a:gd name="T11" fmla="*/ 0 h 74"/>
                <a:gd name="T12" fmla="*/ 117 w 117"/>
                <a:gd name="T13" fmla="*/ 15 h 74"/>
                <a:gd name="T14" fmla="*/ 117 w 117"/>
                <a:gd name="T15" fmla="*/ 60 h 74"/>
                <a:gd name="T16" fmla="*/ 102 w 117"/>
                <a:gd name="T17" fmla="*/ 74 h 74"/>
                <a:gd name="T18" fmla="*/ 15 w 117"/>
                <a:gd name="T19" fmla="*/ 11 h 74"/>
                <a:gd name="T20" fmla="*/ 11 w 117"/>
                <a:gd name="T21" fmla="*/ 15 h 74"/>
                <a:gd name="T22" fmla="*/ 11 w 117"/>
                <a:gd name="T23" fmla="*/ 60 h 74"/>
                <a:gd name="T24" fmla="*/ 15 w 117"/>
                <a:gd name="T25" fmla="*/ 63 h 74"/>
                <a:gd name="T26" fmla="*/ 102 w 117"/>
                <a:gd name="T27" fmla="*/ 63 h 74"/>
                <a:gd name="T28" fmla="*/ 106 w 117"/>
                <a:gd name="T29" fmla="*/ 60 h 74"/>
                <a:gd name="T30" fmla="*/ 106 w 117"/>
                <a:gd name="T31" fmla="*/ 15 h 74"/>
                <a:gd name="T32" fmla="*/ 102 w 117"/>
                <a:gd name="T33" fmla="*/ 11 h 74"/>
                <a:gd name="T34" fmla="*/ 15 w 117"/>
                <a:gd name="T35" fmla="*/ 11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7" h="74">
                  <a:moveTo>
                    <a:pt x="102" y="74"/>
                  </a:moveTo>
                  <a:cubicBezTo>
                    <a:pt x="15" y="74"/>
                    <a:pt x="15" y="74"/>
                    <a:pt x="15" y="74"/>
                  </a:cubicBezTo>
                  <a:cubicBezTo>
                    <a:pt x="7" y="74"/>
                    <a:pt x="0" y="68"/>
                    <a:pt x="0" y="60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6"/>
                    <a:pt x="7" y="0"/>
                    <a:pt x="15" y="0"/>
                  </a:cubicBezTo>
                  <a:cubicBezTo>
                    <a:pt x="102" y="0"/>
                    <a:pt x="102" y="0"/>
                    <a:pt x="102" y="0"/>
                  </a:cubicBezTo>
                  <a:cubicBezTo>
                    <a:pt x="111" y="0"/>
                    <a:pt x="117" y="6"/>
                    <a:pt x="117" y="15"/>
                  </a:cubicBezTo>
                  <a:cubicBezTo>
                    <a:pt x="117" y="60"/>
                    <a:pt x="117" y="60"/>
                    <a:pt x="117" y="60"/>
                  </a:cubicBezTo>
                  <a:cubicBezTo>
                    <a:pt x="117" y="68"/>
                    <a:pt x="111" y="74"/>
                    <a:pt x="102" y="74"/>
                  </a:cubicBezTo>
                  <a:close/>
                  <a:moveTo>
                    <a:pt x="15" y="11"/>
                  </a:moveTo>
                  <a:cubicBezTo>
                    <a:pt x="13" y="11"/>
                    <a:pt x="11" y="12"/>
                    <a:pt x="11" y="15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11" y="62"/>
                    <a:pt x="13" y="63"/>
                    <a:pt x="15" y="63"/>
                  </a:cubicBezTo>
                  <a:cubicBezTo>
                    <a:pt x="102" y="63"/>
                    <a:pt x="102" y="63"/>
                    <a:pt x="102" y="63"/>
                  </a:cubicBezTo>
                  <a:cubicBezTo>
                    <a:pt x="105" y="63"/>
                    <a:pt x="106" y="62"/>
                    <a:pt x="106" y="60"/>
                  </a:cubicBezTo>
                  <a:cubicBezTo>
                    <a:pt x="106" y="15"/>
                    <a:pt x="106" y="15"/>
                    <a:pt x="106" y="15"/>
                  </a:cubicBezTo>
                  <a:cubicBezTo>
                    <a:pt x="106" y="12"/>
                    <a:pt x="105" y="11"/>
                    <a:pt x="102" y="11"/>
                  </a:cubicBezTo>
                  <a:lnTo>
                    <a:pt x="15" y="1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238" name="Shape52_20200717_142846">
            <a:extLst>
              <a:ext uri="{FF2B5EF4-FFF2-40B4-BE49-F238E27FC236}">
                <a16:creationId xmlns:a16="http://schemas.microsoft.com/office/drawing/2014/main" id="{8241E3E9-DDF0-5055-DD3A-C5E9AD0ECDB9}"/>
              </a:ext>
            </a:extLst>
          </p:cNvPr>
          <p:cNvGrpSpPr>
            <a:grpSpLocks noChangeAspect="1"/>
          </p:cNvGrpSpPr>
          <p:nvPr/>
        </p:nvGrpSpPr>
        <p:grpSpPr>
          <a:xfrm>
            <a:off x="5767328" y="3915169"/>
            <a:ext cx="664479" cy="438985"/>
            <a:chOff x="-628649" y="3399789"/>
            <a:chExt cx="439737" cy="290508"/>
          </a:xfrm>
          <a:solidFill>
            <a:schemeClr val="accent1"/>
          </a:solidFill>
        </p:grpSpPr>
        <p:sp>
          <p:nvSpPr>
            <p:cNvPr id="239" name="Freeform 1503">
              <a:extLst>
                <a:ext uri="{FF2B5EF4-FFF2-40B4-BE49-F238E27FC236}">
                  <a16:creationId xmlns:a16="http://schemas.microsoft.com/office/drawing/2014/main" id="{6940B6F8-8F6F-D5F7-5F2D-9AE9EDB3DFDC}"/>
                </a:ext>
              </a:extLst>
            </p:cNvPr>
            <p:cNvSpPr>
              <a:spLocks/>
            </p:cNvSpPr>
            <p:nvPr/>
          </p:nvSpPr>
          <p:spPr bwMode="auto">
            <a:xfrm>
              <a:off x="-628649" y="3568059"/>
              <a:ext cx="219075" cy="122237"/>
            </a:xfrm>
            <a:custGeom>
              <a:avLst/>
              <a:gdLst>
                <a:gd name="T0" fmla="*/ 205 w 210"/>
                <a:gd name="T1" fmla="*/ 117 h 117"/>
                <a:gd name="T2" fmla="*/ 199 w 210"/>
                <a:gd name="T3" fmla="*/ 112 h 117"/>
                <a:gd name="T4" fmla="*/ 199 w 210"/>
                <a:gd name="T5" fmla="*/ 50 h 117"/>
                <a:gd name="T6" fmla="*/ 160 w 210"/>
                <a:gd name="T7" fmla="*/ 11 h 117"/>
                <a:gd name="T8" fmla="*/ 49 w 210"/>
                <a:gd name="T9" fmla="*/ 11 h 117"/>
                <a:gd name="T10" fmla="*/ 11 w 210"/>
                <a:gd name="T11" fmla="*/ 50 h 117"/>
                <a:gd name="T12" fmla="*/ 11 w 210"/>
                <a:gd name="T13" fmla="*/ 112 h 117"/>
                <a:gd name="T14" fmla="*/ 5 w 210"/>
                <a:gd name="T15" fmla="*/ 117 h 117"/>
                <a:gd name="T16" fmla="*/ 0 w 210"/>
                <a:gd name="T17" fmla="*/ 112 h 117"/>
                <a:gd name="T18" fmla="*/ 0 w 210"/>
                <a:gd name="T19" fmla="*/ 50 h 117"/>
                <a:gd name="T20" fmla="*/ 49 w 210"/>
                <a:gd name="T21" fmla="*/ 0 h 117"/>
                <a:gd name="T22" fmla="*/ 160 w 210"/>
                <a:gd name="T23" fmla="*/ 0 h 117"/>
                <a:gd name="T24" fmla="*/ 210 w 210"/>
                <a:gd name="T25" fmla="*/ 50 h 117"/>
                <a:gd name="T26" fmla="*/ 210 w 210"/>
                <a:gd name="T27" fmla="*/ 112 h 117"/>
                <a:gd name="T28" fmla="*/ 205 w 210"/>
                <a:gd name="T29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0" h="117">
                  <a:moveTo>
                    <a:pt x="205" y="117"/>
                  </a:moveTo>
                  <a:cubicBezTo>
                    <a:pt x="202" y="117"/>
                    <a:pt x="199" y="115"/>
                    <a:pt x="199" y="112"/>
                  </a:cubicBezTo>
                  <a:cubicBezTo>
                    <a:pt x="199" y="50"/>
                    <a:pt x="199" y="50"/>
                    <a:pt x="199" y="50"/>
                  </a:cubicBezTo>
                  <a:cubicBezTo>
                    <a:pt x="199" y="29"/>
                    <a:pt x="182" y="11"/>
                    <a:pt x="160" y="11"/>
                  </a:cubicBezTo>
                  <a:cubicBezTo>
                    <a:pt x="49" y="11"/>
                    <a:pt x="49" y="11"/>
                    <a:pt x="49" y="11"/>
                  </a:cubicBezTo>
                  <a:cubicBezTo>
                    <a:pt x="28" y="11"/>
                    <a:pt x="11" y="29"/>
                    <a:pt x="11" y="50"/>
                  </a:cubicBezTo>
                  <a:cubicBezTo>
                    <a:pt x="11" y="112"/>
                    <a:pt x="11" y="112"/>
                    <a:pt x="11" y="112"/>
                  </a:cubicBezTo>
                  <a:cubicBezTo>
                    <a:pt x="11" y="115"/>
                    <a:pt x="8" y="117"/>
                    <a:pt x="5" y="117"/>
                  </a:cubicBezTo>
                  <a:cubicBezTo>
                    <a:pt x="2" y="117"/>
                    <a:pt x="0" y="115"/>
                    <a:pt x="0" y="112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22"/>
                    <a:pt x="22" y="0"/>
                    <a:pt x="49" y="0"/>
                  </a:cubicBezTo>
                  <a:cubicBezTo>
                    <a:pt x="160" y="0"/>
                    <a:pt x="160" y="0"/>
                    <a:pt x="160" y="0"/>
                  </a:cubicBezTo>
                  <a:cubicBezTo>
                    <a:pt x="188" y="0"/>
                    <a:pt x="210" y="22"/>
                    <a:pt x="210" y="50"/>
                  </a:cubicBezTo>
                  <a:cubicBezTo>
                    <a:pt x="210" y="112"/>
                    <a:pt x="210" y="112"/>
                    <a:pt x="210" y="112"/>
                  </a:cubicBezTo>
                  <a:cubicBezTo>
                    <a:pt x="210" y="115"/>
                    <a:pt x="208" y="117"/>
                    <a:pt x="205" y="1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0" name="Freeform 1504">
              <a:extLst>
                <a:ext uri="{FF2B5EF4-FFF2-40B4-BE49-F238E27FC236}">
                  <a16:creationId xmlns:a16="http://schemas.microsoft.com/office/drawing/2014/main" id="{C5C993B7-7D00-0387-3542-7F13BDE719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63561" y="3460110"/>
              <a:ext cx="88900" cy="88900"/>
            </a:xfrm>
            <a:custGeom>
              <a:avLst/>
              <a:gdLst>
                <a:gd name="T0" fmla="*/ 43 w 86"/>
                <a:gd name="T1" fmla="*/ 85 h 85"/>
                <a:gd name="T2" fmla="*/ 0 w 86"/>
                <a:gd name="T3" fmla="*/ 42 h 85"/>
                <a:gd name="T4" fmla="*/ 43 w 86"/>
                <a:gd name="T5" fmla="*/ 0 h 85"/>
                <a:gd name="T6" fmla="*/ 86 w 86"/>
                <a:gd name="T7" fmla="*/ 42 h 85"/>
                <a:gd name="T8" fmla="*/ 43 w 86"/>
                <a:gd name="T9" fmla="*/ 85 h 85"/>
                <a:gd name="T10" fmla="*/ 43 w 86"/>
                <a:gd name="T11" fmla="*/ 11 h 85"/>
                <a:gd name="T12" fmla="*/ 11 w 86"/>
                <a:gd name="T13" fmla="*/ 42 h 85"/>
                <a:gd name="T14" fmla="*/ 43 w 86"/>
                <a:gd name="T15" fmla="*/ 74 h 85"/>
                <a:gd name="T16" fmla="*/ 75 w 86"/>
                <a:gd name="T17" fmla="*/ 42 h 85"/>
                <a:gd name="T18" fmla="*/ 43 w 86"/>
                <a:gd name="T19" fmla="*/ 11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6" h="85">
                  <a:moveTo>
                    <a:pt x="43" y="85"/>
                  </a:moveTo>
                  <a:cubicBezTo>
                    <a:pt x="19" y="85"/>
                    <a:pt x="0" y="66"/>
                    <a:pt x="0" y="42"/>
                  </a:cubicBezTo>
                  <a:cubicBezTo>
                    <a:pt x="0" y="19"/>
                    <a:pt x="19" y="0"/>
                    <a:pt x="43" y="0"/>
                  </a:cubicBezTo>
                  <a:cubicBezTo>
                    <a:pt x="67" y="0"/>
                    <a:pt x="86" y="19"/>
                    <a:pt x="86" y="42"/>
                  </a:cubicBezTo>
                  <a:cubicBezTo>
                    <a:pt x="86" y="66"/>
                    <a:pt x="67" y="85"/>
                    <a:pt x="43" y="85"/>
                  </a:cubicBezTo>
                  <a:close/>
                  <a:moveTo>
                    <a:pt x="43" y="11"/>
                  </a:moveTo>
                  <a:cubicBezTo>
                    <a:pt x="25" y="11"/>
                    <a:pt x="11" y="25"/>
                    <a:pt x="11" y="42"/>
                  </a:cubicBezTo>
                  <a:cubicBezTo>
                    <a:pt x="11" y="60"/>
                    <a:pt x="25" y="74"/>
                    <a:pt x="43" y="74"/>
                  </a:cubicBezTo>
                  <a:cubicBezTo>
                    <a:pt x="60" y="74"/>
                    <a:pt x="75" y="60"/>
                    <a:pt x="75" y="42"/>
                  </a:cubicBezTo>
                  <a:cubicBezTo>
                    <a:pt x="75" y="25"/>
                    <a:pt x="60" y="11"/>
                    <a:pt x="4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1" name="Freeform 1505">
              <a:extLst>
                <a:ext uri="{FF2B5EF4-FFF2-40B4-BE49-F238E27FC236}">
                  <a16:creationId xmlns:a16="http://schemas.microsoft.com/office/drawing/2014/main" id="{D9E972CD-0480-CE06-AF4D-B23A8640DC57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5787" y="3622034"/>
              <a:ext cx="11113" cy="68262"/>
            </a:xfrm>
            <a:custGeom>
              <a:avLst/>
              <a:gdLst>
                <a:gd name="T0" fmla="*/ 6 w 11"/>
                <a:gd name="T1" fmla="*/ 66 h 66"/>
                <a:gd name="T2" fmla="*/ 0 w 11"/>
                <a:gd name="T3" fmla="*/ 61 h 66"/>
                <a:gd name="T4" fmla="*/ 0 w 11"/>
                <a:gd name="T5" fmla="*/ 6 h 66"/>
                <a:gd name="T6" fmla="*/ 6 w 11"/>
                <a:gd name="T7" fmla="*/ 0 h 66"/>
                <a:gd name="T8" fmla="*/ 11 w 11"/>
                <a:gd name="T9" fmla="*/ 6 h 66"/>
                <a:gd name="T10" fmla="*/ 11 w 11"/>
                <a:gd name="T11" fmla="*/ 61 h 66"/>
                <a:gd name="T12" fmla="*/ 6 w 11"/>
                <a:gd name="T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66">
                  <a:moveTo>
                    <a:pt x="6" y="66"/>
                  </a:moveTo>
                  <a:cubicBezTo>
                    <a:pt x="3" y="66"/>
                    <a:pt x="0" y="64"/>
                    <a:pt x="0" y="61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1" y="3"/>
                    <a:pt x="11" y="6"/>
                  </a:cubicBezTo>
                  <a:cubicBezTo>
                    <a:pt x="11" y="61"/>
                    <a:pt x="11" y="61"/>
                    <a:pt x="11" y="61"/>
                  </a:cubicBezTo>
                  <a:cubicBezTo>
                    <a:pt x="11" y="64"/>
                    <a:pt x="9" y="66"/>
                    <a:pt x="6" y="6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2" name="Freeform 1506">
              <a:extLst>
                <a:ext uri="{FF2B5EF4-FFF2-40B4-BE49-F238E27FC236}">
                  <a16:creationId xmlns:a16="http://schemas.microsoft.com/office/drawing/2014/main" id="{080E4C5B-9243-E871-1666-6F2277863E55}"/>
                </a:ext>
              </a:extLst>
            </p:cNvPr>
            <p:cNvSpPr>
              <a:spLocks/>
            </p:cNvSpPr>
            <p:nvPr/>
          </p:nvSpPr>
          <p:spPr bwMode="auto">
            <a:xfrm>
              <a:off x="-463549" y="3622035"/>
              <a:ext cx="11113" cy="68262"/>
            </a:xfrm>
            <a:custGeom>
              <a:avLst/>
              <a:gdLst>
                <a:gd name="T0" fmla="*/ 5 w 11"/>
                <a:gd name="T1" fmla="*/ 66 h 66"/>
                <a:gd name="T2" fmla="*/ 0 w 11"/>
                <a:gd name="T3" fmla="*/ 61 h 66"/>
                <a:gd name="T4" fmla="*/ 0 w 11"/>
                <a:gd name="T5" fmla="*/ 6 h 66"/>
                <a:gd name="T6" fmla="*/ 5 w 11"/>
                <a:gd name="T7" fmla="*/ 0 h 66"/>
                <a:gd name="T8" fmla="*/ 11 w 11"/>
                <a:gd name="T9" fmla="*/ 6 h 66"/>
                <a:gd name="T10" fmla="*/ 11 w 11"/>
                <a:gd name="T11" fmla="*/ 61 h 66"/>
                <a:gd name="T12" fmla="*/ 5 w 11"/>
                <a:gd name="T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66">
                  <a:moveTo>
                    <a:pt x="5" y="66"/>
                  </a:moveTo>
                  <a:cubicBezTo>
                    <a:pt x="2" y="66"/>
                    <a:pt x="0" y="64"/>
                    <a:pt x="0" y="61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8" y="0"/>
                    <a:pt x="11" y="3"/>
                    <a:pt x="11" y="6"/>
                  </a:cubicBezTo>
                  <a:cubicBezTo>
                    <a:pt x="11" y="61"/>
                    <a:pt x="11" y="61"/>
                    <a:pt x="11" y="61"/>
                  </a:cubicBezTo>
                  <a:cubicBezTo>
                    <a:pt x="11" y="64"/>
                    <a:pt x="8" y="66"/>
                    <a:pt x="5" y="6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3" name="Freeform 1507">
              <a:extLst>
                <a:ext uri="{FF2B5EF4-FFF2-40B4-BE49-F238E27FC236}">
                  <a16:creationId xmlns:a16="http://schemas.microsoft.com/office/drawing/2014/main" id="{2CC2CBA8-7683-2140-FA06-C34569B91F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28625" y="3399789"/>
              <a:ext cx="239713" cy="177799"/>
            </a:xfrm>
            <a:custGeom>
              <a:avLst/>
              <a:gdLst>
                <a:gd name="T0" fmla="*/ 37 w 231"/>
                <a:gd name="T1" fmla="*/ 171 h 171"/>
                <a:gd name="T2" fmla="*/ 31 w 231"/>
                <a:gd name="T3" fmla="*/ 170 h 171"/>
                <a:gd name="T4" fmla="*/ 23 w 231"/>
                <a:gd name="T5" fmla="*/ 157 h 171"/>
                <a:gd name="T6" fmla="*/ 23 w 231"/>
                <a:gd name="T7" fmla="*/ 140 h 171"/>
                <a:gd name="T8" fmla="*/ 0 w 231"/>
                <a:gd name="T9" fmla="*/ 112 h 171"/>
                <a:gd name="T10" fmla="*/ 0 w 231"/>
                <a:gd name="T11" fmla="*/ 29 h 171"/>
                <a:gd name="T12" fmla="*/ 29 w 231"/>
                <a:gd name="T13" fmla="*/ 0 h 171"/>
                <a:gd name="T14" fmla="*/ 202 w 231"/>
                <a:gd name="T15" fmla="*/ 0 h 171"/>
                <a:gd name="T16" fmla="*/ 231 w 231"/>
                <a:gd name="T17" fmla="*/ 29 h 171"/>
                <a:gd name="T18" fmla="*/ 231 w 231"/>
                <a:gd name="T19" fmla="*/ 112 h 171"/>
                <a:gd name="T20" fmla="*/ 202 w 231"/>
                <a:gd name="T21" fmla="*/ 141 h 171"/>
                <a:gd name="T22" fmla="*/ 79 w 231"/>
                <a:gd name="T23" fmla="*/ 141 h 171"/>
                <a:gd name="T24" fmla="*/ 46 w 231"/>
                <a:gd name="T25" fmla="*/ 168 h 171"/>
                <a:gd name="T26" fmla="*/ 37 w 231"/>
                <a:gd name="T27" fmla="*/ 171 h 171"/>
                <a:gd name="T28" fmla="*/ 29 w 231"/>
                <a:gd name="T29" fmla="*/ 11 h 171"/>
                <a:gd name="T30" fmla="*/ 11 w 231"/>
                <a:gd name="T31" fmla="*/ 29 h 171"/>
                <a:gd name="T32" fmla="*/ 11 w 231"/>
                <a:gd name="T33" fmla="*/ 112 h 171"/>
                <a:gd name="T34" fmla="*/ 29 w 231"/>
                <a:gd name="T35" fmla="*/ 130 h 171"/>
                <a:gd name="T36" fmla="*/ 34 w 231"/>
                <a:gd name="T37" fmla="*/ 135 h 171"/>
                <a:gd name="T38" fmla="*/ 34 w 231"/>
                <a:gd name="T39" fmla="*/ 157 h 171"/>
                <a:gd name="T40" fmla="*/ 36 w 231"/>
                <a:gd name="T41" fmla="*/ 160 h 171"/>
                <a:gd name="T42" fmla="*/ 39 w 231"/>
                <a:gd name="T43" fmla="*/ 159 h 171"/>
                <a:gd name="T44" fmla="*/ 74 w 231"/>
                <a:gd name="T45" fmla="*/ 131 h 171"/>
                <a:gd name="T46" fmla="*/ 77 w 231"/>
                <a:gd name="T47" fmla="*/ 130 h 171"/>
                <a:gd name="T48" fmla="*/ 202 w 231"/>
                <a:gd name="T49" fmla="*/ 130 h 171"/>
                <a:gd name="T50" fmla="*/ 220 w 231"/>
                <a:gd name="T51" fmla="*/ 112 h 171"/>
                <a:gd name="T52" fmla="*/ 220 w 231"/>
                <a:gd name="T53" fmla="*/ 29 h 171"/>
                <a:gd name="T54" fmla="*/ 202 w 231"/>
                <a:gd name="T55" fmla="*/ 11 h 171"/>
                <a:gd name="T56" fmla="*/ 29 w 231"/>
                <a:gd name="T57" fmla="*/ 11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31" h="171">
                  <a:moveTo>
                    <a:pt x="37" y="171"/>
                  </a:moveTo>
                  <a:cubicBezTo>
                    <a:pt x="35" y="171"/>
                    <a:pt x="33" y="171"/>
                    <a:pt x="31" y="170"/>
                  </a:cubicBezTo>
                  <a:cubicBezTo>
                    <a:pt x="26" y="167"/>
                    <a:pt x="23" y="163"/>
                    <a:pt x="23" y="157"/>
                  </a:cubicBezTo>
                  <a:cubicBezTo>
                    <a:pt x="23" y="140"/>
                    <a:pt x="23" y="140"/>
                    <a:pt x="23" y="140"/>
                  </a:cubicBezTo>
                  <a:cubicBezTo>
                    <a:pt x="10" y="138"/>
                    <a:pt x="0" y="126"/>
                    <a:pt x="0" y="112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13"/>
                    <a:pt x="13" y="0"/>
                    <a:pt x="29" y="0"/>
                  </a:cubicBezTo>
                  <a:cubicBezTo>
                    <a:pt x="202" y="0"/>
                    <a:pt x="202" y="0"/>
                    <a:pt x="202" y="0"/>
                  </a:cubicBezTo>
                  <a:cubicBezTo>
                    <a:pt x="218" y="0"/>
                    <a:pt x="231" y="13"/>
                    <a:pt x="231" y="29"/>
                  </a:cubicBezTo>
                  <a:cubicBezTo>
                    <a:pt x="231" y="112"/>
                    <a:pt x="231" y="112"/>
                    <a:pt x="231" y="112"/>
                  </a:cubicBezTo>
                  <a:cubicBezTo>
                    <a:pt x="231" y="128"/>
                    <a:pt x="218" y="141"/>
                    <a:pt x="202" y="141"/>
                  </a:cubicBezTo>
                  <a:cubicBezTo>
                    <a:pt x="79" y="141"/>
                    <a:pt x="79" y="141"/>
                    <a:pt x="79" y="141"/>
                  </a:cubicBezTo>
                  <a:cubicBezTo>
                    <a:pt x="46" y="168"/>
                    <a:pt x="46" y="168"/>
                    <a:pt x="46" y="168"/>
                  </a:cubicBezTo>
                  <a:cubicBezTo>
                    <a:pt x="44" y="170"/>
                    <a:pt x="41" y="171"/>
                    <a:pt x="37" y="171"/>
                  </a:cubicBezTo>
                  <a:close/>
                  <a:moveTo>
                    <a:pt x="29" y="11"/>
                  </a:moveTo>
                  <a:cubicBezTo>
                    <a:pt x="19" y="11"/>
                    <a:pt x="11" y="19"/>
                    <a:pt x="11" y="29"/>
                  </a:cubicBezTo>
                  <a:cubicBezTo>
                    <a:pt x="11" y="112"/>
                    <a:pt x="11" y="112"/>
                    <a:pt x="11" y="112"/>
                  </a:cubicBezTo>
                  <a:cubicBezTo>
                    <a:pt x="11" y="122"/>
                    <a:pt x="19" y="130"/>
                    <a:pt x="29" y="130"/>
                  </a:cubicBezTo>
                  <a:cubicBezTo>
                    <a:pt x="32" y="130"/>
                    <a:pt x="34" y="132"/>
                    <a:pt x="34" y="135"/>
                  </a:cubicBezTo>
                  <a:cubicBezTo>
                    <a:pt x="34" y="157"/>
                    <a:pt x="34" y="157"/>
                    <a:pt x="34" y="157"/>
                  </a:cubicBezTo>
                  <a:cubicBezTo>
                    <a:pt x="34" y="159"/>
                    <a:pt x="35" y="160"/>
                    <a:pt x="36" y="160"/>
                  </a:cubicBezTo>
                  <a:cubicBezTo>
                    <a:pt x="37" y="160"/>
                    <a:pt x="38" y="161"/>
                    <a:pt x="39" y="159"/>
                  </a:cubicBezTo>
                  <a:cubicBezTo>
                    <a:pt x="74" y="131"/>
                    <a:pt x="74" y="131"/>
                    <a:pt x="74" y="131"/>
                  </a:cubicBezTo>
                  <a:cubicBezTo>
                    <a:pt x="75" y="130"/>
                    <a:pt x="76" y="130"/>
                    <a:pt x="77" y="130"/>
                  </a:cubicBezTo>
                  <a:cubicBezTo>
                    <a:pt x="202" y="130"/>
                    <a:pt x="202" y="130"/>
                    <a:pt x="202" y="130"/>
                  </a:cubicBezTo>
                  <a:cubicBezTo>
                    <a:pt x="212" y="130"/>
                    <a:pt x="220" y="122"/>
                    <a:pt x="220" y="112"/>
                  </a:cubicBezTo>
                  <a:cubicBezTo>
                    <a:pt x="220" y="29"/>
                    <a:pt x="220" y="29"/>
                    <a:pt x="220" y="29"/>
                  </a:cubicBezTo>
                  <a:cubicBezTo>
                    <a:pt x="220" y="19"/>
                    <a:pt x="212" y="11"/>
                    <a:pt x="202" y="11"/>
                  </a:cubicBezTo>
                  <a:lnTo>
                    <a:pt x="29" y="1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4" name="Freeform 1508">
              <a:extLst>
                <a:ext uri="{FF2B5EF4-FFF2-40B4-BE49-F238E27FC236}">
                  <a16:creationId xmlns:a16="http://schemas.microsoft.com/office/drawing/2014/main" id="{CBD25756-E79A-D05B-685E-778BDEB5110C}"/>
                </a:ext>
              </a:extLst>
            </p:cNvPr>
            <p:cNvSpPr>
              <a:spLocks/>
            </p:cNvSpPr>
            <p:nvPr/>
          </p:nvSpPr>
          <p:spPr bwMode="auto">
            <a:xfrm>
              <a:off x="-390526" y="3450566"/>
              <a:ext cx="93663" cy="11113"/>
            </a:xfrm>
            <a:custGeom>
              <a:avLst/>
              <a:gdLst>
                <a:gd name="T0" fmla="*/ 85 w 90"/>
                <a:gd name="T1" fmla="*/ 11 h 11"/>
                <a:gd name="T2" fmla="*/ 6 w 90"/>
                <a:gd name="T3" fmla="*/ 11 h 11"/>
                <a:gd name="T4" fmla="*/ 0 w 90"/>
                <a:gd name="T5" fmla="*/ 6 h 11"/>
                <a:gd name="T6" fmla="*/ 6 w 90"/>
                <a:gd name="T7" fmla="*/ 0 h 11"/>
                <a:gd name="T8" fmla="*/ 85 w 90"/>
                <a:gd name="T9" fmla="*/ 0 h 11"/>
                <a:gd name="T10" fmla="*/ 90 w 90"/>
                <a:gd name="T11" fmla="*/ 6 h 11"/>
                <a:gd name="T12" fmla="*/ 85 w 90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0" h="11">
                  <a:moveTo>
                    <a:pt x="85" y="11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3" y="11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88" y="0"/>
                    <a:pt x="90" y="3"/>
                    <a:pt x="90" y="6"/>
                  </a:cubicBezTo>
                  <a:cubicBezTo>
                    <a:pt x="90" y="9"/>
                    <a:pt x="88" y="11"/>
                    <a:pt x="85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5" name="Freeform 1509">
              <a:extLst>
                <a:ext uri="{FF2B5EF4-FFF2-40B4-BE49-F238E27FC236}">
                  <a16:creationId xmlns:a16="http://schemas.microsoft.com/office/drawing/2014/main" id="{49220EFC-E934-6196-9EFE-F050EA418D81}"/>
                </a:ext>
              </a:extLst>
            </p:cNvPr>
            <p:cNvSpPr>
              <a:spLocks/>
            </p:cNvSpPr>
            <p:nvPr/>
          </p:nvSpPr>
          <p:spPr bwMode="auto">
            <a:xfrm>
              <a:off x="-390525" y="3482355"/>
              <a:ext cx="163513" cy="12700"/>
            </a:xfrm>
            <a:custGeom>
              <a:avLst/>
              <a:gdLst>
                <a:gd name="T0" fmla="*/ 151 w 157"/>
                <a:gd name="T1" fmla="*/ 11 h 11"/>
                <a:gd name="T2" fmla="*/ 6 w 157"/>
                <a:gd name="T3" fmla="*/ 11 h 11"/>
                <a:gd name="T4" fmla="*/ 0 w 157"/>
                <a:gd name="T5" fmla="*/ 5 h 11"/>
                <a:gd name="T6" fmla="*/ 6 w 157"/>
                <a:gd name="T7" fmla="*/ 0 h 11"/>
                <a:gd name="T8" fmla="*/ 151 w 157"/>
                <a:gd name="T9" fmla="*/ 0 h 11"/>
                <a:gd name="T10" fmla="*/ 157 w 157"/>
                <a:gd name="T11" fmla="*/ 5 h 11"/>
                <a:gd name="T12" fmla="*/ 151 w 157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7" h="11">
                  <a:moveTo>
                    <a:pt x="151" y="11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3" y="11"/>
                    <a:pt x="0" y="9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51" y="0"/>
                    <a:pt x="151" y="0"/>
                    <a:pt x="151" y="0"/>
                  </a:cubicBezTo>
                  <a:cubicBezTo>
                    <a:pt x="154" y="0"/>
                    <a:pt x="157" y="2"/>
                    <a:pt x="157" y="5"/>
                  </a:cubicBezTo>
                  <a:cubicBezTo>
                    <a:pt x="157" y="9"/>
                    <a:pt x="154" y="11"/>
                    <a:pt x="151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246" name="Shape56_20200717_142846">
            <a:extLst>
              <a:ext uri="{FF2B5EF4-FFF2-40B4-BE49-F238E27FC236}">
                <a16:creationId xmlns:a16="http://schemas.microsoft.com/office/drawing/2014/main" id="{0A1B3D75-25E8-1A59-7A56-A90567EE9AA5}"/>
              </a:ext>
            </a:extLst>
          </p:cNvPr>
          <p:cNvGrpSpPr>
            <a:grpSpLocks noChangeAspect="1"/>
          </p:cNvGrpSpPr>
          <p:nvPr/>
        </p:nvGrpSpPr>
        <p:grpSpPr>
          <a:xfrm>
            <a:off x="5766674" y="2588015"/>
            <a:ext cx="626093" cy="482162"/>
            <a:chOff x="-3560767" y="2591783"/>
            <a:chExt cx="414335" cy="319086"/>
          </a:xfrm>
          <a:solidFill>
            <a:schemeClr val="accent1"/>
          </a:solidFill>
        </p:grpSpPr>
        <p:sp>
          <p:nvSpPr>
            <p:cNvPr id="247" name="Freeform 1558">
              <a:extLst>
                <a:ext uri="{FF2B5EF4-FFF2-40B4-BE49-F238E27FC236}">
                  <a16:creationId xmlns:a16="http://schemas.microsoft.com/office/drawing/2014/main" id="{721AE87A-F851-E4F2-E753-B68844B03EFA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60767" y="2745772"/>
              <a:ext cx="153988" cy="87313"/>
            </a:xfrm>
            <a:custGeom>
              <a:avLst/>
              <a:gdLst>
                <a:gd name="T0" fmla="*/ 142 w 148"/>
                <a:gd name="T1" fmla="*/ 84 h 84"/>
                <a:gd name="T2" fmla="*/ 137 w 148"/>
                <a:gd name="T3" fmla="*/ 79 h 84"/>
                <a:gd name="T4" fmla="*/ 137 w 148"/>
                <a:gd name="T5" fmla="*/ 36 h 84"/>
                <a:gd name="T6" fmla="*/ 112 w 148"/>
                <a:gd name="T7" fmla="*/ 11 h 84"/>
                <a:gd name="T8" fmla="*/ 35 w 148"/>
                <a:gd name="T9" fmla="*/ 11 h 84"/>
                <a:gd name="T10" fmla="*/ 10 w 148"/>
                <a:gd name="T11" fmla="*/ 36 h 84"/>
                <a:gd name="T12" fmla="*/ 10 w 148"/>
                <a:gd name="T13" fmla="*/ 79 h 84"/>
                <a:gd name="T14" fmla="*/ 5 w 148"/>
                <a:gd name="T15" fmla="*/ 84 h 84"/>
                <a:gd name="T16" fmla="*/ 0 w 148"/>
                <a:gd name="T17" fmla="*/ 79 h 84"/>
                <a:gd name="T18" fmla="*/ 0 w 148"/>
                <a:gd name="T19" fmla="*/ 36 h 84"/>
                <a:gd name="T20" fmla="*/ 35 w 148"/>
                <a:gd name="T21" fmla="*/ 0 h 84"/>
                <a:gd name="T22" fmla="*/ 112 w 148"/>
                <a:gd name="T23" fmla="*/ 0 h 84"/>
                <a:gd name="T24" fmla="*/ 148 w 148"/>
                <a:gd name="T25" fmla="*/ 36 h 84"/>
                <a:gd name="T26" fmla="*/ 148 w 148"/>
                <a:gd name="T27" fmla="*/ 79 h 84"/>
                <a:gd name="T28" fmla="*/ 142 w 148"/>
                <a:gd name="T29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8" h="84">
                  <a:moveTo>
                    <a:pt x="142" y="84"/>
                  </a:moveTo>
                  <a:cubicBezTo>
                    <a:pt x="139" y="84"/>
                    <a:pt x="137" y="82"/>
                    <a:pt x="137" y="79"/>
                  </a:cubicBezTo>
                  <a:cubicBezTo>
                    <a:pt x="137" y="36"/>
                    <a:pt x="137" y="36"/>
                    <a:pt x="137" y="36"/>
                  </a:cubicBezTo>
                  <a:cubicBezTo>
                    <a:pt x="137" y="22"/>
                    <a:pt x="125" y="11"/>
                    <a:pt x="112" y="11"/>
                  </a:cubicBezTo>
                  <a:cubicBezTo>
                    <a:pt x="35" y="11"/>
                    <a:pt x="35" y="11"/>
                    <a:pt x="35" y="11"/>
                  </a:cubicBezTo>
                  <a:cubicBezTo>
                    <a:pt x="22" y="11"/>
                    <a:pt x="10" y="22"/>
                    <a:pt x="10" y="36"/>
                  </a:cubicBezTo>
                  <a:cubicBezTo>
                    <a:pt x="10" y="79"/>
                    <a:pt x="10" y="79"/>
                    <a:pt x="10" y="79"/>
                  </a:cubicBezTo>
                  <a:cubicBezTo>
                    <a:pt x="10" y="82"/>
                    <a:pt x="8" y="84"/>
                    <a:pt x="5" y="84"/>
                  </a:cubicBezTo>
                  <a:cubicBezTo>
                    <a:pt x="2" y="84"/>
                    <a:pt x="0" y="82"/>
                    <a:pt x="0" y="79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31" y="0"/>
                    <a:pt x="148" y="16"/>
                    <a:pt x="148" y="36"/>
                  </a:cubicBezTo>
                  <a:cubicBezTo>
                    <a:pt x="148" y="79"/>
                    <a:pt x="148" y="79"/>
                    <a:pt x="148" y="79"/>
                  </a:cubicBezTo>
                  <a:cubicBezTo>
                    <a:pt x="148" y="82"/>
                    <a:pt x="145" y="84"/>
                    <a:pt x="142" y="8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8" name="Freeform 1559">
              <a:extLst>
                <a:ext uri="{FF2B5EF4-FFF2-40B4-BE49-F238E27FC236}">
                  <a16:creationId xmlns:a16="http://schemas.microsoft.com/office/drawing/2014/main" id="{1867B556-2BFC-78C3-8A6B-657CF788485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517905" y="2669572"/>
              <a:ext cx="66675" cy="65088"/>
            </a:xfrm>
            <a:custGeom>
              <a:avLst/>
              <a:gdLst>
                <a:gd name="T0" fmla="*/ 32 w 63"/>
                <a:gd name="T1" fmla="*/ 62 h 62"/>
                <a:gd name="T2" fmla="*/ 0 w 63"/>
                <a:gd name="T3" fmla="*/ 31 h 62"/>
                <a:gd name="T4" fmla="*/ 32 w 63"/>
                <a:gd name="T5" fmla="*/ 0 h 62"/>
                <a:gd name="T6" fmla="*/ 63 w 63"/>
                <a:gd name="T7" fmla="*/ 31 h 62"/>
                <a:gd name="T8" fmla="*/ 32 w 63"/>
                <a:gd name="T9" fmla="*/ 62 h 62"/>
                <a:gd name="T10" fmla="*/ 32 w 63"/>
                <a:gd name="T11" fmla="*/ 11 h 62"/>
                <a:gd name="T12" fmla="*/ 11 w 63"/>
                <a:gd name="T13" fmla="*/ 31 h 62"/>
                <a:gd name="T14" fmla="*/ 32 w 63"/>
                <a:gd name="T15" fmla="*/ 51 h 62"/>
                <a:gd name="T16" fmla="*/ 52 w 63"/>
                <a:gd name="T17" fmla="*/ 31 h 62"/>
                <a:gd name="T18" fmla="*/ 32 w 63"/>
                <a:gd name="T19" fmla="*/ 11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3" h="62">
                  <a:moveTo>
                    <a:pt x="32" y="62"/>
                  </a:moveTo>
                  <a:cubicBezTo>
                    <a:pt x="14" y="62"/>
                    <a:pt x="0" y="48"/>
                    <a:pt x="0" y="31"/>
                  </a:cubicBezTo>
                  <a:cubicBezTo>
                    <a:pt x="0" y="14"/>
                    <a:pt x="14" y="0"/>
                    <a:pt x="32" y="0"/>
                  </a:cubicBezTo>
                  <a:cubicBezTo>
                    <a:pt x="49" y="0"/>
                    <a:pt x="63" y="14"/>
                    <a:pt x="63" y="31"/>
                  </a:cubicBezTo>
                  <a:cubicBezTo>
                    <a:pt x="63" y="48"/>
                    <a:pt x="49" y="62"/>
                    <a:pt x="32" y="62"/>
                  </a:cubicBezTo>
                  <a:close/>
                  <a:moveTo>
                    <a:pt x="32" y="11"/>
                  </a:moveTo>
                  <a:cubicBezTo>
                    <a:pt x="20" y="11"/>
                    <a:pt x="11" y="20"/>
                    <a:pt x="11" y="31"/>
                  </a:cubicBezTo>
                  <a:cubicBezTo>
                    <a:pt x="11" y="42"/>
                    <a:pt x="20" y="51"/>
                    <a:pt x="32" y="51"/>
                  </a:cubicBezTo>
                  <a:cubicBezTo>
                    <a:pt x="43" y="51"/>
                    <a:pt x="52" y="42"/>
                    <a:pt x="52" y="31"/>
                  </a:cubicBezTo>
                  <a:cubicBezTo>
                    <a:pt x="52" y="20"/>
                    <a:pt x="43" y="11"/>
                    <a:pt x="32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9" name="Freeform 1560">
              <a:extLst>
                <a:ext uri="{FF2B5EF4-FFF2-40B4-BE49-F238E27FC236}">
                  <a16:creationId xmlns:a16="http://schemas.microsoft.com/office/drawing/2014/main" id="{BD69C908-FCEE-26A6-E6A8-1C46B18EA03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32193" y="2782285"/>
              <a:ext cx="11113" cy="50800"/>
            </a:xfrm>
            <a:custGeom>
              <a:avLst/>
              <a:gdLst>
                <a:gd name="T0" fmla="*/ 5 w 11"/>
                <a:gd name="T1" fmla="*/ 49 h 49"/>
                <a:gd name="T2" fmla="*/ 0 w 11"/>
                <a:gd name="T3" fmla="*/ 44 h 49"/>
                <a:gd name="T4" fmla="*/ 0 w 11"/>
                <a:gd name="T5" fmla="*/ 6 h 49"/>
                <a:gd name="T6" fmla="*/ 5 w 11"/>
                <a:gd name="T7" fmla="*/ 0 h 49"/>
                <a:gd name="T8" fmla="*/ 11 w 11"/>
                <a:gd name="T9" fmla="*/ 6 h 49"/>
                <a:gd name="T10" fmla="*/ 11 w 11"/>
                <a:gd name="T11" fmla="*/ 44 h 49"/>
                <a:gd name="T12" fmla="*/ 5 w 11"/>
                <a:gd name="T13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49">
                  <a:moveTo>
                    <a:pt x="5" y="49"/>
                  </a:moveTo>
                  <a:cubicBezTo>
                    <a:pt x="2" y="49"/>
                    <a:pt x="0" y="47"/>
                    <a:pt x="0" y="4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8" y="0"/>
                    <a:pt x="11" y="3"/>
                    <a:pt x="11" y="6"/>
                  </a:cubicBezTo>
                  <a:cubicBezTo>
                    <a:pt x="11" y="44"/>
                    <a:pt x="11" y="44"/>
                    <a:pt x="11" y="44"/>
                  </a:cubicBezTo>
                  <a:cubicBezTo>
                    <a:pt x="11" y="47"/>
                    <a:pt x="8" y="49"/>
                    <a:pt x="5" y="4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0" name="Freeform 1561">
              <a:extLst>
                <a:ext uri="{FF2B5EF4-FFF2-40B4-BE49-F238E27FC236}">
                  <a16:creationId xmlns:a16="http://schemas.microsoft.com/office/drawing/2014/main" id="{7E7F8A0C-0EE2-14B3-143D-6E51C905B8F2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49643" y="2782285"/>
              <a:ext cx="12700" cy="50800"/>
            </a:xfrm>
            <a:custGeom>
              <a:avLst/>
              <a:gdLst>
                <a:gd name="T0" fmla="*/ 6 w 11"/>
                <a:gd name="T1" fmla="*/ 49 h 49"/>
                <a:gd name="T2" fmla="*/ 0 w 11"/>
                <a:gd name="T3" fmla="*/ 44 h 49"/>
                <a:gd name="T4" fmla="*/ 0 w 11"/>
                <a:gd name="T5" fmla="*/ 6 h 49"/>
                <a:gd name="T6" fmla="*/ 6 w 11"/>
                <a:gd name="T7" fmla="*/ 0 h 49"/>
                <a:gd name="T8" fmla="*/ 11 w 11"/>
                <a:gd name="T9" fmla="*/ 6 h 49"/>
                <a:gd name="T10" fmla="*/ 11 w 11"/>
                <a:gd name="T11" fmla="*/ 44 h 49"/>
                <a:gd name="T12" fmla="*/ 6 w 11"/>
                <a:gd name="T13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49">
                  <a:moveTo>
                    <a:pt x="6" y="49"/>
                  </a:moveTo>
                  <a:cubicBezTo>
                    <a:pt x="3" y="49"/>
                    <a:pt x="0" y="47"/>
                    <a:pt x="0" y="4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1" y="3"/>
                    <a:pt x="11" y="6"/>
                  </a:cubicBezTo>
                  <a:cubicBezTo>
                    <a:pt x="11" y="44"/>
                    <a:pt x="11" y="44"/>
                    <a:pt x="11" y="44"/>
                  </a:cubicBezTo>
                  <a:cubicBezTo>
                    <a:pt x="11" y="47"/>
                    <a:pt x="9" y="49"/>
                    <a:pt x="6" y="4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1" name="Freeform 1562">
              <a:extLst>
                <a:ext uri="{FF2B5EF4-FFF2-40B4-BE49-F238E27FC236}">
                  <a16:creationId xmlns:a16="http://schemas.microsoft.com/office/drawing/2014/main" id="{5B99ED2A-9FFB-167F-724B-2E735C2E6B2D}"/>
                </a:ext>
              </a:extLst>
            </p:cNvPr>
            <p:cNvSpPr>
              <a:spLocks/>
            </p:cNvSpPr>
            <p:nvPr/>
          </p:nvSpPr>
          <p:spPr bwMode="auto">
            <a:xfrm>
              <a:off x="-3300420" y="2745772"/>
              <a:ext cx="153988" cy="87313"/>
            </a:xfrm>
            <a:custGeom>
              <a:avLst/>
              <a:gdLst>
                <a:gd name="T0" fmla="*/ 143 w 148"/>
                <a:gd name="T1" fmla="*/ 84 h 84"/>
                <a:gd name="T2" fmla="*/ 137 w 148"/>
                <a:gd name="T3" fmla="*/ 79 h 84"/>
                <a:gd name="T4" fmla="*/ 137 w 148"/>
                <a:gd name="T5" fmla="*/ 36 h 84"/>
                <a:gd name="T6" fmla="*/ 112 w 148"/>
                <a:gd name="T7" fmla="*/ 11 h 84"/>
                <a:gd name="T8" fmla="*/ 36 w 148"/>
                <a:gd name="T9" fmla="*/ 11 h 84"/>
                <a:gd name="T10" fmla="*/ 11 w 148"/>
                <a:gd name="T11" fmla="*/ 36 h 84"/>
                <a:gd name="T12" fmla="*/ 11 w 148"/>
                <a:gd name="T13" fmla="*/ 79 h 84"/>
                <a:gd name="T14" fmla="*/ 6 w 148"/>
                <a:gd name="T15" fmla="*/ 84 h 84"/>
                <a:gd name="T16" fmla="*/ 0 w 148"/>
                <a:gd name="T17" fmla="*/ 79 h 84"/>
                <a:gd name="T18" fmla="*/ 0 w 148"/>
                <a:gd name="T19" fmla="*/ 36 h 84"/>
                <a:gd name="T20" fmla="*/ 36 w 148"/>
                <a:gd name="T21" fmla="*/ 0 h 84"/>
                <a:gd name="T22" fmla="*/ 112 w 148"/>
                <a:gd name="T23" fmla="*/ 0 h 84"/>
                <a:gd name="T24" fmla="*/ 148 w 148"/>
                <a:gd name="T25" fmla="*/ 36 h 84"/>
                <a:gd name="T26" fmla="*/ 148 w 148"/>
                <a:gd name="T27" fmla="*/ 79 h 84"/>
                <a:gd name="T28" fmla="*/ 143 w 148"/>
                <a:gd name="T29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8" h="84">
                  <a:moveTo>
                    <a:pt x="143" y="84"/>
                  </a:moveTo>
                  <a:cubicBezTo>
                    <a:pt x="140" y="84"/>
                    <a:pt x="137" y="82"/>
                    <a:pt x="137" y="79"/>
                  </a:cubicBezTo>
                  <a:cubicBezTo>
                    <a:pt x="137" y="36"/>
                    <a:pt x="137" y="36"/>
                    <a:pt x="137" y="36"/>
                  </a:cubicBezTo>
                  <a:cubicBezTo>
                    <a:pt x="137" y="22"/>
                    <a:pt x="126" y="11"/>
                    <a:pt x="112" y="11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22" y="11"/>
                    <a:pt x="11" y="22"/>
                    <a:pt x="11" y="36"/>
                  </a:cubicBezTo>
                  <a:cubicBezTo>
                    <a:pt x="11" y="79"/>
                    <a:pt x="11" y="79"/>
                    <a:pt x="11" y="79"/>
                  </a:cubicBezTo>
                  <a:cubicBezTo>
                    <a:pt x="11" y="82"/>
                    <a:pt x="9" y="84"/>
                    <a:pt x="6" y="84"/>
                  </a:cubicBezTo>
                  <a:cubicBezTo>
                    <a:pt x="3" y="84"/>
                    <a:pt x="0" y="82"/>
                    <a:pt x="0" y="79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32" y="0"/>
                    <a:pt x="148" y="16"/>
                    <a:pt x="148" y="36"/>
                  </a:cubicBezTo>
                  <a:cubicBezTo>
                    <a:pt x="148" y="79"/>
                    <a:pt x="148" y="79"/>
                    <a:pt x="148" y="79"/>
                  </a:cubicBezTo>
                  <a:cubicBezTo>
                    <a:pt x="148" y="82"/>
                    <a:pt x="146" y="84"/>
                    <a:pt x="143" y="8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2" name="Freeform 1563">
              <a:extLst>
                <a:ext uri="{FF2B5EF4-FFF2-40B4-BE49-F238E27FC236}">
                  <a16:creationId xmlns:a16="http://schemas.microsoft.com/office/drawing/2014/main" id="{9E9EBBBC-ADBD-3DB1-189C-B8FBCA82A7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55970" y="2669572"/>
              <a:ext cx="65088" cy="65088"/>
            </a:xfrm>
            <a:custGeom>
              <a:avLst/>
              <a:gdLst>
                <a:gd name="T0" fmla="*/ 31 w 62"/>
                <a:gd name="T1" fmla="*/ 62 h 62"/>
                <a:gd name="T2" fmla="*/ 0 w 62"/>
                <a:gd name="T3" fmla="*/ 31 h 62"/>
                <a:gd name="T4" fmla="*/ 31 w 62"/>
                <a:gd name="T5" fmla="*/ 0 h 62"/>
                <a:gd name="T6" fmla="*/ 62 w 62"/>
                <a:gd name="T7" fmla="*/ 31 h 62"/>
                <a:gd name="T8" fmla="*/ 31 w 62"/>
                <a:gd name="T9" fmla="*/ 62 h 62"/>
                <a:gd name="T10" fmla="*/ 31 w 62"/>
                <a:gd name="T11" fmla="*/ 11 h 62"/>
                <a:gd name="T12" fmla="*/ 11 w 62"/>
                <a:gd name="T13" fmla="*/ 31 h 62"/>
                <a:gd name="T14" fmla="*/ 31 w 62"/>
                <a:gd name="T15" fmla="*/ 51 h 62"/>
                <a:gd name="T16" fmla="*/ 51 w 62"/>
                <a:gd name="T17" fmla="*/ 31 h 62"/>
                <a:gd name="T18" fmla="*/ 31 w 62"/>
                <a:gd name="T19" fmla="*/ 11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2" h="62">
                  <a:moveTo>
                    <a:pt x="31" y="62"/>
                  </a:moveTo>
                  <a:cubicBezTo>
                    <a:pt x="14" y="62"/>
                    <a:pt x="0" y="48"/>
                    <a:pt x="0" y="31"/>
                  </a:cubicBezTo>
                  <a:cubicBezTo>
                    <a:pt x="0" y="14"/>
                    <a:pt x="14" y="0"/>
                    <a:pt x="31" y="0"/>
                  </a:cubicBezTo>
                  <a:cubicBezTo>
                    <a:pt x="48" y="0"/>
                    <a:pt x="62" y="14"/>
                    <a:pt x="62" y="31"/>
                  </a:cubicBezTo>
                  <a:cubicBezTo>
                    <a:pt x="62" y="48"/>
                    <a:pt x="48" y="62"/>
                    <a:pt x="31" y="62"/>
                  </a:cubicBezTo>
                  <a:close/>
                  <a:moveTo>
                    <a:pt x="31" y="11"/>
                  </a:moveTo>
                  <a:cubicBezTo>
                    <a:pt x="20" y="11"/>
                    <a:pt x="11" y="20"/>
                    <a:pt x="11" y="31"/>
                  </a:cubicBezTo>
                  <a:cubicBezTo>
                    <a:pt x="11" y="42"/>
                    <a:pt x="20" y="51"/>
                    <a:pt x="31" y="51"/>
                  </a:cubicBezTo>
                  <a:cubicBezTo>
                    <a:pt x="42" y="51"/>
                    <a:pt x="51" y="42"/>
                    <a:pt x="51" y="31"/>
                  </a:cubicBezTo>
                  <a:cubicBezTo>
                    <a:pt x="51" y="20"/>
                    <a:pt x="42" y="11"/>
                    <a:pt x="31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3" name="Freeform 1564">
              <a:extLst>
                <a:ext uri="{FF2B5EF4-FFF2-40B4-BE49-F238E27FC236}">
                  <a16:creationId xmlns:a16="http://schemas.microsoft.com/office/drawing/2014/main" id="{7B0A42D1-B534-CF39-4974-2AE68A86807C}"/>
                </a:ext>
              </a:extLst>
            </p:cNvPr>
            <p:cNvSpPr>
              <a:spLocks/>
            </p:cNvSpPr>
            <p:nvPr/>
          </p:nvSpPr>
          <p:spPr bwMode="auto">
            <a:xfrm>
              <a:off x="-3271845" y="2782285"/>
              <a:ext cx="11113" cy="50800"/>
            </a:xfrm>
            <a:custGeom>
              <a:avLst/>
              <a:gdLst>
                <a:gd name="T0" fmla="*/ 6 w 11"/>
                <a:gd name="T1" fmla="*/ 49 h 49"/>
                <a:gd name="T2" fmla="*/ 0 w 11"/>
                <a:gd name="T3" fmla="*/ 44 h 49"/>
                <a:gd name="T4" fmla="*/ 0 w 11"/>
                <a:gd name="T5" fmla="*/ 6 h 49"/>
                <a:gd name="T6" fmla="*/ 6 w 11"/>
                <a:gd name="T7" fmla="*/ 0 h 49"/>
                <a:gd name="T8" fmla="*/ 11 w 11"/>
                <a:gd name="T9" fmla="*/ 6 h 49"/>
                <a:gd name="T10" fmla="*/ 11 w 11"/>
                <a:gd name="T11" fmla="*/ 44 h 49"/>
                <a:gd name="T12" fmla="*/ 6 w 11"/>
                <a:gd name="T13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49">
                  <a:moveTo>
                    <a:pt x="6" y="49"/>
                  </a:moveTo>
                  <a:cubicBezTo>
                    <a:pt x="3" y="49"/>
                    <a:pt x="0" y="47"/>
                    <a:pt x="0" y="4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1" y="3"/>
                    <a:pt x="11" y="6"/>
                  </a:cubicBezTo>
                  <a:cubicBezTo>
                    <a:pt x="11" y="44"/>
                    <a:pt x="11" y="44"/>
                    <a:pt x="11" y="44"/>
                  </a:cubicBezTo>
                  <a:cubicBezTo>
                    <a:pt x="11" y="47"/>
                    <a:pt x="9" y="49"/>
                    <a:pt x="6" y="4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4" name="Freeform 1565">
              <a:extLst>
                <a:ext uri="{FF2B5EF4-FFF2-40B4-BE49-F238E27FC236}">
                  <a16:creationId xmlns:a16="http://schemas.microsoft.com/office/drawing/2014/main" id="{30EF849A-0F29-0232-5AAF-8C4328F08A48}"/>
                </a:ext>
              </a:extLst>
            </p:cNvPr>
            <p:cNvSpPr>
              <a:spLocks/>
            </p:cNvSpPr>
            <p:nvPr/>
          </p:nvSpPr>
          <p:spPr bwMode="auto">
            <a:xfrm>
              <a:off x="-3187708" y="2782285"/>
              <a:ext cx="11113" cy="50800"/>
            </a:xfrm>
            <a:custGeom>
              <a:avLst/>
              <a:gdLst>
                <a:gd name="T0" fmla="*/ 5 w 11"/>
                <a:gd name="T1" fmla="*/ 49 h 49"/>
                <a:gd name="T2" fmla="*/ 0 w 11"/>
                <a:gd name="T3" fmla="*/ 44 h 49"/>
                <a:gd name="T4" fmla="*/ 0 w 11"/>
                <a:gd name="T5" fmla="*/ 6 h 49"/>
                <a:gd name="T6" fmla="*/ 5 w 11"/>
                <a:gd name="T7" fmla="*/ 0 h 49"/>
                <a:gd name="T8" fmla="*/ 11 w 11"/>
                <a:gd name="T9" fmla="*/ 6 h 49"/>
                <a:gd name="T10" fmla="*/ 11 w 11"/>
                <a:gd name="T11" fmla="*/ 44 h 49"/>
                <a:gd name="T12" fmla="*/ 5 w 11"/>
                <a:gd name="T13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49">
                  <a:moveTo>
                    <a:pt x="5" y="49"/>
                  </a:moveTo>
                  <a:cubicBezTo>
                    <a:pt x="2" y="49"/>
                    <a:pt x="0" y="47"/>
                    <a:pt x="0" y="4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8" y="0"/>
                    <a:pt x="11" y="3"/>
                    <a:pt x="11" y="6"/>
                  </a:cubicBezTo>
                  <a:cubicBezTo>
                    <a:pt x="11" y="44"/>
                    <a:pt x="11" y="44"/>
                    <a:pt x="11" y="44"/>
                  </a:cubicBezTo>
                  <a:cubicBezTo>
                    <a:pt x="11" y="47"/>
                    <a:pt x="8" y="49"/>
                    <a:pt x="5" y="4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5" name="Freeform 1566">
              <a:extLst>
                <a:ext uri="{FF2B5EF4-FFF2-40B4-BE49-F238E27FC236}">
                  <a16:creationId xmlns:a16="http://schemas.microsoft.com/office/drawing/2014/main" id="{7BC6E58E-E0F6-4C11-A996-702DE02A17AD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52821" y="2591783"/>
              <a:ext cx="201613" cy="47625"/>
            </a:xfrm>
            <a:custGeom>
              <a:avLst/>
              <a:gdLst>
                <a:gd name="T0" fmla="*/ 6 w 195"/>
                <a:gd name="T1" fmla="*/ 46 h 47"/>
                <a:gd name="T2" fmla="*/ 2 w 195"/>
                <a:gd name="T3" fmla="*/ 44 h 47"/>
                <a:gd name="T4" fmla="*/ 2 w 195"/>
                <a:gd name="T5" fmla="*/ 37 h 47"/>
                <a:gd name="T6" fmla="*/ 97 w 195"/>
                <a:gd name="T7" fmla="*/ 0 h 47"/>
                <a:gd name="T8" fmla="*/ 192 w 195"/>
                <a:gd name="T9" fmla="*/ 37 h 47"/>
                <a:gd name="T10" fmla="*/ 193 w 195"/>
                <a:gd name="T11" fmla="*/ 44 h 47"/>
                <a:gd name="T12" fmla="*/ 185 w 195"/>
                <a:gd name="T13" fmla="*/ 45 h 47"/>
                <a:gd name="T14" fmla="*/ 97 w 195"/>
                <a:gd name="T15" fmla="*/ 11 h 47"/>
                <a:gd name="T16" fmla="*/ 9 w 195"/>
                <a:gd name="T17" fmla="*/ 45 h 47"/>
                <a:gd name="T18" fmla="*/ 6 w 195"/>
                <a:gd name="T19" fmla="*/ 46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5" h="47">
                  <a:moveTo>
                    <a:pt x="6" y="46"/>
                  </a:moveTo>
                  <a:cubicBezTo>
                    <a:pt x="4" y="46"/>
                    <a:pt x="3" y="46"/>
                    <a:pt x="2" y="44"/>
                  </a:cubicBezTo>
                  <a:cubicBezTo>
                    <a:pt x="0" y="42"/>
                    <a:pt x="0" y="39"/>
                    <a:pt x="2" y="37"/>
                  </a:cubicBezTo>
                  <a:cubicBezTo>
                    <a:pt x="28" y="13"/>
                    <a:pt x="62" y="0"/>
                    <a:pt x="97" y="0"/>
                  </a:cubicBezTo>
                  <a:cubicBezTo>
                    <a:pt x="132" y="0"/>
                    <a:pt x="166" y="13"/>
                    <a:pt x="192" y="37"/>
                  </a:cubicBezTo>
                  <a:cubicBezTo>
                    <a:pt x="194" y="39"/>
                    <a:pt x="195" y="42"/>
                    <a:pt x="193" y="44"/>
                  </a:cubicBezTo>
                  <a:cubicBezTo>
                    <a:pt x="190" y="47"/>
                    <a:pt x="187" y="47"/>
                    <a:pt x="185" y="45"/>
                  </a:cubicBezTo>
                  <a:cubicBezTo>
                    <a:pt x="161" y="23"/>
                    <a:pt x="129" y="11"/>
                    <a:pt x="97" y="11"/>
                  </a:cubicBezTo>
                  <a:cubicBezTo>
                    <a:pt x="65" y="11"/>
                    <a:pt x="34" y="23"/>
                    <a:pt x="9" y="45"/>
                  </a:cubicBezTo>
                  <a:cubicBezTo>
                    <a:pt x="8" y="46"/>
                    <a:pt x="7" y="46"/>
                    <a:pt x="6" y="4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6" name="Freeform 1567">
              <a:extLst>
                <a:ext uri="{FF2B5EF4-FFF2-40B4-BE49-F238E27FC236}">
                  <a16:creationId xmlns:a16="http://schemas.microsoft.com/office/drawing/2014/main" id="{56722A45-C614-8F01-5B06-D4E2B6C0A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54408" y="2861656"/>
              <a:ext cx="204788" cy="49213"/>
            </a:xfrm>
            <a:custGeom>
              <a:avLst/>
              <a:gdLst>
                <a:gd name="T0" fmla="*/ 99 w 198"/>
                <a:gd name="T1" fmla="*/ 48 h 48"/>
                <a:gd name="T2" fmla="*/ 3 w 198"/>
                <a:gd name="T3" fmla="*/ 11 h 48"/>
                <a:gd name="T4" fmla="*/ 2 w 198"/>
                <a:gd name="T5" fmla="*/ 3 h 48"/>
                <a:gd name="T6" fmla="*/ 10 w 198"/>
                <a:gd name="T7" fmla="*/ 2 h 48"/>
                <a:gd name="T8" fmla="*/ 99 w 198"/>
                <a:gd name="T9" fmla="*/ 37 h 48"/>
                <a:gd name="T10" fmla="*/ 188 w 198"/>
                <a:gd name="T11" fmla="*/ 2 h 48"/>
                <a:gd name="T12" fmla="*/ 196 w 198"/>
                <a:gd name="T13" fmla="*/ 3 h 48"/>
                <a:gd name="T14" fmla="*/ 195 w 198"/>
                <a:gd name="T15" fmla="*/ 11 h 48"/>
                <a:gd name="T16" fmla="*/ 99 w 198"/>
                <a:gd name="T17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8" h="48">
                  <a:moveTo>
                    <a:pt x="99" y="48"/>
                  </a:moveTo>
                  <a:cubicBezTo>
                    <a:pt x="63" y="48"/>
                    <a:pt x="29" y="35"/>
                    <a:pt x="3" y="11"/>
                  </a:cubicBezTo>
                  <a:cubicBezTo>
                    <a:pt x="1" y="9"/>
                    <a:pt x="0" y="5"/>
                    <a:pt x="2" y="3"/>
                  </a:cubicBezTo>
                  <a:cubicBezTo>
                    <a:pt x="5" y="1"/>
                    <a:pt x="8" y="0"/>
                    <a:pt x="10" y="2"/>
                  </a:cubicBezTo>
                  <a:cubicBezTo>
                    <a:pt x="35" y="25"/>
                    <a:pt x="66" y="37"/>
                    <a:pt x="99" y="37"/>
                  </a:cubicBezTo>
                  <a:cubicBezTo>
                    <a:pt x="132" y="37"/>
                    <a:pt x="164" y="25"/>
                    <a:pt x="188" y="2"/>
                  </a:cubicBezTo>
                  <a:cubicBezTo>
                    <a:pt x="190" y="0"/>
                    <a:pt x="194" y="1"/>
                    <a:pt x="196" y="3"/>
                  </a:cubicBezTo>
                  <a:cubicBezTo>
                    <a:pt x="198" y="5"/>
                    <a:pt x="198" y="9"/>
                    <a:pt x="195" y="11"/>
                  </a:cubicBezTo>
                  <a:cubicBezTo>
                    <a:pt x="169" y="35"/>
                    <a:pt x="135" y="48"/>
                    <a:pt x="99" y="4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7" name="Freeform 1568">
              <a:extLst>
                <a:ext uri="{FF2B5EF4-FFF2-40B4-BE49-F238E27FC236}">
                  <a16:creationId xmlns:a16="http://schemas.microsoft.com/office/drawing/2014/main" id="{23EED935-ACCF-D10A-153E-D4B8F3485C25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60756" y="2599714"/>
              <a:ext cx="47625" cy="46038"/>
            </a:xfrm>
            <a:custGeom>
              <a:avLst/>
              <a:gdLst>
                <a:gd name="T0" fmla="*/ 40 w 45"/>
                <a:gd name="T1" fmla="*/ 45 h 45"/>
                <a:gd name="T2" fmla="*/ 6 w 45"/>
                <a:gd name="T3" fmla="*/ 45 h 45"/>
                <a:gd name="T4" fmla="*/ 2 w 45"/>
                <a:gd name="T5" fmla="*/ 43 h 45"/>
                <a:gd name="T6" fmla="*/ 1 w 45"/>
                <a:gd name="T7" fmla="*/ 38 h 45"/>
                <a:gd name="T8" fmla="*/ 7 w 45"/>
                <a:gd name="T9" fmla="*/ 5 h 45"/>
                <a:gd name="T10" fmla="*/ 14 w 45"/>
                <a:gd name="T11" fmla="*/ 0 h 45"/>
                <a:gd name="T12" fmla="*/ 18 w 45"/>
                <a:gd name="T13" fmla="*/ 7 h 45"/>
                <a:gd name="T14" fmla="*/ 13 w 45"/>
                <a:gd name="T15" fmla="*/ 34 h 45"/>
                <a:gd name="T16" fmla="*/ 40 w 45"/>
                <a:gd name="T17" fmla="*/ 34 h 45"/>
                <a:gd name="T18" fmla="*/ 45 w 45"/>
                <a:gd name="T19" fmla="*/ 39 h 45"/>
                <a:gd name="T20" fmla="*/ 40 w 45"/>
                <a:gd name="T21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5" h="45">
                  <a:moveTo>
                    <a:pt x="40" y="45"/>
                  </a:moveTo>
                  <a:cubicBezTo>
                    <a:pt x="6" y="45"/>
                    <a:pt x="6" y="45"/>
                    <a:pt x="6" y="45"/>
                  </a:cubicBezTo>
                  <a:cubicBezTo>
                    <a:pt x="4" y="45"/>
                    <a:pt x="3" y="44"/>
                    <a:pt x="2" y="43"/>
                  </a:cubicBezTo>
                  <a:cubicBezTo>
                    <a:pt x="1" y="41"/>
                    <a:pt x="0" y="40"/>
                    <a:pt x="1" y="38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2"/>
                    <a:pt x="11" y="0"/>
                    <a:pt x="14" y="0"/>
                  </a:cubicBezTo>
                  <a:cubicBezTo>
                    <a:pt x="17" y="1"/>
                    <a:pt x="19" y="4"/>
                    <a:pt x="18" y="7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43" y="34"/>
                    <a:pt x="45" y="36"/>
                    <a:pt x="45" y="39"/>
                  </a:cubicBezTo>
                  <a:cubicBezTo>
                    <a:pt x="45" y="42"/>
                    <a:pt x="43" y="45"/>
                    <a:pt x="40" y="4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8" name="Freeform 1569">
              <a:extLst>
                <a:ext uri="{FF2B5EF4-FFF2-40B4-BE49-F238E27FC236}">
                  <a16:creationId xmlns:a16="http://schemas.microsoft.com/office/drawing/2014/main" id="{0D77FF41-E252-8707-5D5C-989C25783E91}"/>
                </a:ext>
              </a:extLst>
            </p:cNvPr>
            <p:cNvSpPr>
              <a:spLocks/>
            </p:cNvSpPr>
            <p:nvPr/>
          </p:nvSpPr>
          <p:spPr bwMode="auto">
            <a:xfrm>
              <a:off x="-3290887" y="2856880"/>
              <a:ext cx="46038" cy="47625"/>
            </a:xfrm>
            <a:custGeom>
              <a:avLst/>
              <a:gdLst>
                <a:gd name="T0" fmla="*/ 33 w 45"/>
                <a:gd name="T1" fmla="*/ 45 h 45"/>
                <a:gd name="T2" fmla="*/ 32 w 45"/>
                <a:gd name="T3" fmla="*/ 44 h 45"/>
                <a:gd name="T4" fmla="*/ 27 w 45"/>
                <a:gd name="T5" fmla="*/ 38 h 45"/>
                <a:gd name="T6" fmla="*/ 33 w 45"/>
                <a:gd name="T7" fmla="*/ 11 h 45"/>
                <a:gd name="T8" fmla="*/ 6 w 45"/>
                <a:gd name="T9" fmla="*/ 11 h 45"/>
                <a:gd name="T10" fmla="*/ 0 w 45"/>
                <a:gd name="T11" fmla="*/ 6 h 45"/>
                <a:gd name="T12" fmla="*/ 6 w 45"/>
                <a:gd name="T13" fmla="*/ 0 h 45"/>
                <a:gd name="T14" fmla="*/ 40 w 45"/>
                <a:gd name="T15" fmla="*/ 0 h 45"/>
                <a:gd name="T16" fmla="*/ 44 w 45"/>
                <a:gd name="T17" fmla="*/ 2 h 45"/>
                <a:gd name="T18" fmla="*/ 45 w 45"/>
                <a:gd name="T19" fmla="*/ 7 h 45"/>
                <a:gd name="T20" fmla="*/ 38 w 45"/>
                <a:gd name="T21" fmla="*/ 40 h 45"/>
                <a:gd name="T22" fmla="*/ 33 w 45"/>
                <a:gd name="T23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5" h="45">
                  <a:moveTo>
                    <a:pt x="33" y="45"/>
                  </a:moveTo>
                  <a:cubicBezTo>
                    <a:pt x="32" y="45"/>
                    <a:pt x="32" y="45"/>
                    <a:pt x="32" y="44"/>
                  </a:cubicBezTo>
                  <a:cubicBezTo>
                    <a:pt x="29" y="44"/>
                    <a:pt x="27" y="41"/>
                    <a:pt x="27" y="38"/>
                  </a:cubicBezTo>
                  <a:cubicBezTo>
                    <a:pt x="33" y="11"/>
                    <a:pt x="33" y="11"/>
                    <a:pt x="33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3" y="11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1" y="0"/>
                    <a:pt x="43" y="1"/>
                    <a:pt x="44" y="2"/>
                  </a:cubicBezTo>
                  <a:cubicBezTo>
                    <a:pt x="45" y="3"/>
                    <a:pt x="45" y="5"/>
                    <a:pt x="45" y="7"/>
                  </a:cubicBezTo>
                  <a:cubicBezTo>
                    <a:pt x="38" y="40"/>
                    <a:pt x="38" y="40"/>
                    <a:pt x="38" y="40"/>
                  </a:cubicBezTo>
                  <a:cubicBezTo>
                    <a:pt x="38" y="43"/>
                    <a:pt x="35" y="45"/>
                    <a:pt x="33" y="4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259" name="Shape68_20200717_142846">
            <a:extLst>
              <a:ext uri="{FF2B5EF4-FFF2-40B4-BE49-F238E27FC236}">
                <a16:creationId xmlns:a16="http://schemas.microsoft.com/office/drawing/2014/main" id="{B5C58CB2-9FA9-E382-4904-2E81933467E7}"/>
              </a:ext>
            </a:extLst>
          </p:cNvPr>
          <p:cNvGrpSpPr>
            <a:grpSpLocks noChangeAspect="1"/>
          </p:cNvGrpSpPr>
          <p:nvPr/>
        </p:nvGrpSpPr>
        <p:grpSpPr>
          <a:xfrm>
            <a:off x="5742165" y="5166749"/>
            <a:ext cx="707663" cy="546927"/>
            <a:chOff x="-2071650" y="2892436"/>
            <a:chExt cx="468306" cy="361945"/>
          </a:xfrm>
          <a:solidFill>
            <a:schemeClr val="accent1"/>
          </a:solidFill>
        </p:grpSpPr>
        <p:sp>
          <p:nvSpPr>
            <p:cNvPr id="260" name="Freeform 493">
              <a:extLst>
                <a:ext uri="{FF2B5EF4-FFF2-40B4-BE49-F238E27FC236}">
                  <a16:creationId xmlns:a16="http://schemas.microsoft.com/office/drawing/2014/main" id="{B5EAEA39-1DE0-16F4-B055-2EC38DE9195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941476" y="2963873"/>
              <a:ext cx="69849" cy="44450"/>
            </a:xfrm>
            <a:custGeom>
              <a:avLst/>
              <a:gdLst>
                <a:gd name="T0" fmla="*/ 17 w 31"/>
                <a:gd name="T1" fmla="*/ 20 h 20"/>
                <a:gd name="T2" fmla="*/ 16 w 31"/>
                <a:gd name="T3" fmla="*/ 20 h 20"/>
                <a:gd name="T4" fmla="*/ 13 w 31"/>
                <a:gd name="T5" fmla="*/ 18 h 20"/>
                <a:gd name="T6" fmla="*/ 16 w 31"/>
                <a:gd name="T7" fmla="*/ 15 h 20"/>
                <a:gd name="T8" fmla="*/ 25 w 31"/>
                <a:gd name="T9" fmla="*/ 13 h 20"/>
                <a:gd name="T10" fmla="*/ 25 w 31"/>
                <a:gd name="T11" fmla="*/ 12 h 20"/>
                <a:gd name="T12" fmla="*/ 19 w 31"/>
                <a:gd name="T13" fmla="*/ 12 h 20"/>
                <a:gd name="T14" fmla="*/ 12 w 31"/>
                <a:gd name="T15" fmla="*/ 14 h 20"/>
                <a:gd name="T16" fmla="*/ 3 w 31"/>
                <a:gd name="T17" fmla="*/ 13 h 20"/>
                <a:gd name="T18" fmla="*/ 0 w 31"/>
                <a:gd name="T19" fmla="*/ 9 h 20"/>
                <a:gd name="T20" fmla="*/ 5 w 31"/>
                <a:gd name="T21" fmla="*/ 3 h 20"/>
                <a:gd name="T22" fmla="*/ 16 w 31"/>
                <a:gd name="T23" fmla="*/ 2 h 20"/>
                <a:gd name="T24" fmla="*/ 18 w 31"/>
                <a:gd name="T25" fmla="*/ 5 h 20"/>
                <a:gd name="T26" fmla="*/ 15 w 31"/>
                <a:gd name="T27" fmla="*/ 7 h 20"/>
                <a:gd name="T28" fmla="*/ 7 w 31"/>
                <a:gd name="T29" fmla="*/ 8 h 20"/>
                <a:gd name="T30" fmla="*/ 5 w 31"/>
                <a:gd name="T31" fmla="*/ 9 h 20"/>
                <a:gd name="T32" fmla="*/ 5 w 31"/>
                <a:gd name="T33" fmla="*/ 9 h 20"/>
                <a:gd name="T34" fmla="*/ 11 w 31"/>
                <a:gd name="T35" fmla="*/ 9 h 20"/>
                <a:gd name="T36" fmla="*/ 17 w 31"/>
                <a:gd name="T37" fmla="*/ 7 h 20"/>
                <a:gd name="T38" fmla="*/ 27 w 31"/>
                <a:gd name="T39" fmla="*/ 8 h 20"/>
                <a:gd name="T40" fmla="*/ 30 w 31"/>
                <a:gd name="T41" fmla="*/ 12 h 20"/>
                <a:gd name="T42" fmla="*/ 30 w 31"/>
                <a:gd name="T43" fmla="*/ 15 h 20"/>
                <a:gd name="T44" fmla="*/ 17 w 31"/>
                <a:gd name="T45" fmla="*/ 20 h 20"/>
                <a:gd name="T46" fmla="*/ 26 w 31"/>
                <a:gd name="T47" fmla="*/ 12 h 20"/>
                <a:gd name="T48" fmla="*/ 26 w 31"/>
                <a:gd name="T49" fmla="*/ 12 h 20"/>
                <a:gd name="T50" fmla="*/ 26 w 31"/>
                <a:gd name="T51" fmla="*/ 1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1" h="20">
                  <a:moveTo>
                    <a:pt x="17" y="20"/>
                  </a:moveTo>
                  <a:cubicBezTo>
                    <a:pt x="17" y="20"/>
                    <a:pt x="16" y="20"/>
                    <a:pt x="16" y="20"/>
                  </a:cubicBezTo>
                  <a:cubicBezTo>
                    <a:pt x="14" y="20"/>
                    <a:pt x="13" y="19"/>
                    <a:pt x="13" y="18"/>
                  </a:cubicBezTo>
                  <a:cubicBezTo>
                    <a:pt x="13" y="16"/>
                    <a:pt x="15" y="15"/>
                    <a:pt x="16" y="15"/>
                  </a:cubicBezTo>
                  <a:cubicBezTo>
                    <a:pt x="22" y="16"/>
                    <a:pt x="25" y="14"/>
                    <a:pt x="25" y="13"/>
                  </a:cubicBezTo>
                  <a:cubicBezTo>
                    <a:pt x="25" y="13"/>
                    <a:pt x="25" y="13"/>
                    <a:pt x="25" y="12"/>
                  </a:cubicBezTo>
                  <a:cubicBezTo>
                    <a:pt x="22" y="11"/>
                    <a:pt x="19" y="12"/>
                    <a:pt x="19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9" y="15"/>
                    <a:pt x="5" y="15"/>
                    <a:pt x="3" y="13"/>
                  </a:cubicBezTo>
                  <a:cubicBezTo>
                    <a:pt x="0" y="12"/>
                    <a:pt x="0" y="10"/>
                    <a:pt x="0" y="9"/>
                  </a:cubicBezTo>
                  <a:cubicBezTo>
                    <a:pt x="0" y="6"/>
                    <a:pt x="3" y="4"/>
                    <a:pt x="5" y="3"/>
                  </a:cubicBezTo>
                  <a:cubicBezTo>
                    <a:pt x="10" y="0"/>
                    <a:pt x="16" y="2"/>
                    <a:pt x="16" y="2"/>
                  </a:cubicBezTo>
                  <a:cubicBezTo>
                    <a:pt x="18" y="3"/>
                    <a:pt x="18" y="4"/>
                    <a:pt x="18" y="5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5" y="7"/>
                    <a:pt x="11" y="6"/>
                    <a:pt x="7" y="8"/>
                  </a:cubicBezTo>
                  <a:cubicBezTo>
                    <a:pt x="6" y="8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6" y="10"/>
                    <a:pt x="8" y="10"/>
                    <a:pt x="11" y="9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7"/>
                    <a:pt x="22" y="6"/>
                    <a:pt x="27" y="8"/>
                  </a:cubicBezTo>
                  <a:cubicBezTo>
                    <a:pt x="29" y="9"/>
                    <a:pt x="30" y="10"/>
                    <a:pt x="30" y="12"/>
                  </a:cubicBezTo>
                  <a:cubicBezTo>
                    <a:pt x="31" y="13"/>
                    <a:pt x="30" y="15"/>
                    <a:pt x="30" y="15"/>
                  </a:cubicBezTo>
                  <a:cubicBezTo>
                    <a:pt x="29" y="16"/>
                    <a:pt x="26" y="20"/>
                    <a:pt x="17" y="20"/>
                  </a:cubicBezTo>
                  <a:close/>
                  <a:moveTo>
                    <a:pt x="26" y="12"/>
                  </a:moveTo>
                  <a:cubicBezTo>
                    <a:pt x="26" y="12"/>
                    <a:pt x="26" y="12"/>
                    <a:pt x="26" y="12"/>
                  </a:cubicBezTo>
                  <a:cubicBezTo>
                    <a:pt x="26" y="12"/>
                    <a:pt x="26" y="12"/>
                    <a:pt x="26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1" name="Freeform 494">
              <a:extLst>
                <a:ext uri="{FF2B5EF4-FFF2-40B4-BE49-F238E27FC236}">
                  <a16:creationId xmlns:a16="http://schemas.microsoft.com/office/drawing/2014/main" id="{35159247-7F9F-1A0E-7F77-C48CFA8074E8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43063" y="2965460"/>
              <a:ext cx="22225" cy="15875"/>
            </a:xfrm>
            <a:custGeom>
              <a:avLst/>
              <a:gdLst>
                <a:gd name="T0" fmla="*/ 7 w 10"/>
                <a:gd name="T1" fmla="*/ 7 h 7"/>
                <a:gd name="T2" fmla="*/ 6 w 10"/>
                <a:gd name="T3" fmla="*/ 7 h 7"/>
                <a:gd name="T4" fmla="*/ 2 w 10"/>
                <a:gd name="T5" fmla="*/ 5 h 7"/>
                <a:gd name="T6" fmla="*/ 1 w 10"/>
                <a:gd name="T7" fmla="*/ 1 h 7"/>
                <a:gd name="T8" fmla="*/ 4 w 10"/>
                <a:gd name="T9" fmla="*/ 0 h 7"/>
                <a:gd name="T10" fmla="*/ 8 w 10"/>
                <a:gd name="T11" fmla="*/ 2 h 7"/>
                <a:gd name="T12" fmla="*/ 9 w 10"/>
                <a:gd name="T13" fmla="*/ 6 h 7"/>
                <a:gd name="T14" fmla="*/ 7 w 10"/>
                <a:gd name="T15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7">
                  <a:moveTo>
                    <a:pt x="7" y="7"/>
                  </a:moveTo>
                  <a:cubicBezTo>
                    <a:pt x="6" y="7"/>
                    <a:pt x="6" y="7"/>
                    <a:pt x="6" y="7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0" y="4"/>
                    <a:pt x="0" y="2"/>
                    <a:pt x="1" y="1"/>
                  </a:cubicBezTo>
                  <a:cubicBezTo>
                    <a:pt x="1" y="0"/>
                    <a:pt x="3" y="0"/>
                    <a:pt x="4" y="0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9" y="3"/>
                    <a:pt x="10" y="5"/>
                    <a:pt x="9" y="6"/>
                  </a:cubicBezTo>
                  <a:cubicBezTo>
                    <a:pt x="8" y="7"/>
                    <a:pt x="8" y="7"/>
                    <a:pt x="7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2" name="Freeform 495">
              <a:extLst>
                <a:ext uri="{FF2B5EF4-FFF2-40B4-BE49-F238E27FC236}">
                  <a16:creationId xmlns:a16="http://schemas.microsoft.com/office/drawing/2014/main" id="{230CF4D5-4E94-1235-C97A-55905419C587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92264" y="2995623"/>
              <a:ext cx="22225" cy="14288"/>
            </a:xfrm>
            <a:custGeom>
              <a:avLst/>
              <a:gdLst>
                <a:gd name="T0" fmla="*/ 7 w 10"/>
                <a:gd name="T1" fmla="*/ 7 h 7"/>
                <a:gd name="T2" fmla="*/ 6 w 10"/>
                <a:gd name="T3" fmla="*/ 7 h 7"/>
                <a:gd name="T4" fmla="*/ 2 w 10"/>
                <a:gd name="T5" fmla="*/ 4 h 7"/>
                <a:gd name="T6" fmla="*/ 1 w 10"/>
                <a:gd name="T7" fmla="*/ 1 h 7"/>
                <a:gd name="T8" fmla="*/ 4 w 10"/>
                <a:gd name="T9" fmla="*/ 0 h 7"/>
                <a:gd name="T10" fmla="*/ 8 w 10"/>
                <a:gd name="T11" fmla="*/ 2 h 7"/>
                <a:gd name="T12" fmla="*/ 9 w 10"/>
                <a:gd name="T13" fmla="*/ 6 h 7"/>
                <a:gd name="T14" fmla="*/ 7 w 10"/>
                <a:gd name="T15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7">
                  <a:moveTo>
                    <a:pt x="7" y="7"/>
                  </a:moveTo>
                  <a:cubicBezTo>
                    <a:pt x="7" y="7"/>
                    <a:pt x="6" y="7"/>
                    <a:pt x="6" y="7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2"/>
                    <a:pt x="1" y="1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10" y="3"/>
                    <a:pt x="10" y="5"/>
                    <a:pt x="9" y="6"/>
                  </a:cubicBezTo>
                  <a:cubicBezTo>
                    <a:pt x="9" y="7"/>
                    <a:pt x="8" y="7"/>
                    <a:pt x="7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3" name="Freeform 496">
              <a:extLst>
                <a:ext uri="{FF2B5EF4-FFF2-40B4-BE49-F238E27FC236}">
                  <a16:creationId xmlns:a16="http://schemas.microsoft.com/office/drawing/2014/main" id="{4611D6B8-560D-4F3C-A9BF-92785F378C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049423" y="2906722"/>
              <a:ext cx="284158" cy="163514"/>
            </a:xfrm>
            <a:custGeom>
              <a:avLst/>
              <a:gdLst>
                <a:gd name="T0" fmla="*/ 47 w 126"/>
                <a:gd name="T1" fmla="*/ 72 h 72"/>
                <a:gd name="T2" fmla="*/ 46 w 126"/>
                <a:gd name="T3" fmla="*/ 72 h 72"/>
                <a:gd name="T4" fmla="*/ 46 w 126"/>
                <a:gd name="T5" fmla="*/ 72 h 72"/>
                <a:gd name="T6" fmla="*/ 27 w 126"/>
                <a:gd name="T7" fmla="*/ 72 h 72"/>
                <a:gd name="T8" fmla="*/ 25 w 126"/>
                <a:gd name="T9" fmla="*/ 71 h 72"/>
                <a:gd name="T10" fmla="*/ 1 w 126"/>
                <a:gd name="T11" fmla="*/ 58 h 72"/>
                <a:gd name="T12" fmla="*/ 0 w 126"/>
                <a:gd name="T13" fmla="*/ 56 h 72"/>
                <a:gd name="T14" fmla="*/ 1 w 126"/>
                <a:gd name="T15" fmla="*/ 54 h 72"/>
                <a:gd name="T16" fmla="*/ 4 w 126"/>
                <a:gd name="T17" fmla="*/ 51 h 72"/>
                <a:gd name="T18" fmla="*/ 1 w 126"/>
                <a:gd name="T19" fmla="*/ 47 h 72"/>
                <a:gd name="T20" fmla="*/ 0 w 126"/>
                <a:gd name="T21" fmla="*/ 45 h 72"/>
                <a:gd name="T22" fmla="*/ 1 w 126"/>
                <a:gd name="T23" fmla="*/ 43 h 72"/>
                <a:gd name="T24" fmla="*/ 78 w 126"/>
                <a:gd name="T25" fmla="*/ 1 h 72"/>
                <a:gd name="T26" fmla="*/ 80 w 126"/>
                <a:gd name="T27" fmla="*/ 1 h 72"/>
                <a:gd name="T28" fmla="*/ 99 w 126"/>
                <a:gd name="T29" fmla="*/ 0 h 72"/>
                <a:gd name="T30" fmla="*/ 101 w 126"/>
                <a:gd name="T31" fmla="*/ 0 h 72"/>
                <a:gd name="T32" fmla="*/ 125 w 126"/>
                <a:gd name="T33" fmla="*/ 14 h 72"/>
                <a:gd name="T34" fmla="*/ 126 w 126"/>
                <a:gd name="T35" fmla="*/ 16 h 72"/>
                <a:gd name="T36" fmla="*/ 125 w 126"/>
                <a:gd name="T37" fmla="*/ 18 h 72"/>
                <a:gd name="T38" fmla="*/ 122 w 126"/>
                <a:gd name="T39" fmla="*/ 21 h 72"/>
                <a:gd name="T40" fmla="*/ 125 w 126"/>
                <a:gd name="T41" fmla="*/ 25 h 72"/>
                <a:gd name="T42" fmla="*/ 126 w 126"/>
                <a:gd name="T43" fmla="*/ 27 h 72"/>
                <a:gd name="T44" fmla="*/ 125 w 126"/>
                <a:gd name="T45" fmla="*/ 29 h 72"/>
                <a:gd name="T46" fmla="*/ 48 w 126"/>
                <a:gd name="T47" fmla="*/ 72 h 72"/>
                <a:gd name="T48" fmla="*/ 47 w 126"/>
                <a:gd name="T49" fmla="*/ 72 h 72"/>
                <a:gd name="T50" fmla="*/ 37 w 126"/>
                <a:gd name="T51" fmla="*/ 65 h 72"/>
                <a:gd name="T52" fmla="*/ 47 w 126"/>
                <a:gd name="T53" fmla="*/ 67 h 72"/>
                <a:gd name="T54" fmla="*/ 119 w 126"/>
                <a:gd name="T55" fmla="*/ 27 h 72"/>
                <a:gd name="T56" fmla="*/ 117 w 126"/>
                <a:gd name="T57" fmla="*/ 21 h 72"/>
                <a:gd name="T58" fmla="*/ 119 w 126"/>
                <a:gd name="T59" fmla="*/ 16 h 72"/>
                <a:gd name="T60" fmla="*/ 100 w 126"/>
                <a:gd name="T61" fmla="*/ 5 h 72"/>
                <a:gd name="T62" fmla="*/ 79 w 126"/>
                <a:gd name="T63" fmla="*/ 5 h 72"/>
                <a:gd name="T64" fmla="*/ 7 w 126"/>
                <a:gd name="T65" fmla="*/ 45 h 72"/>
                <a:gd name="T66" fmla="*/ 9 w 126"/>
                <a:gd name="T67" fmla="*/ 51 h 72"/>
                <a:gd name="T68" fmla="*/ 7 w 126"/>
                <a:gd name="T69" fmla="*/ 56 h 72"/>
                <a:gd name="T70" fmla="*/ 26 w 126"/>
                <a:gd name="T71" fmla="*/ 67 h 72"/>
                <a:gd name="T72" fmla="*/ 37 w 126"/>
                <a:gd name="T73" fmla="*/ 6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6" h="72">
                  <a:moveTo>
                    <a:pt x="47" y="72"/>
                  </a:moveTo>
                  <a:cubicBezTo>
                    <a:pt x="47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1" y="69"/>
                    <a:pt x="33" y="69"/>
                    <a:pt x="27" y="72"/>
                  </a:cubicBezTo>
                  <a:cubicBezTo>
                    <a:pt x="27" y="72"/>
                    <a:pt x="26" y="72"/>
                    <a:pt x="25" y="71"/>
                  </a:cubicBezTo>
                  <a:cubicBezTo>
                    <a:pt x="1" y="58"/>
                    <a:pt x="1" y="58"/>
                    <a:pt x="1" y="58"/>
                  </a:cubicBezTo>
                  <a:cubicBezTo>
                    <a:pt x="1" y="58"/>
                    <a:pt x="0" y="57"/>
                    <a:pt x="0" y="56"/>
                  </a:cubicBezTo>
                  <a:cubicBezTo>
                    <a:pt x="0" y="55"/>
                    <a:pt x="0" y="55"/>
                    <a:pt x="1" y="54"/>
                  </a:cubicBezTo>
                  <a:cubicBezTo>
                    <a:pt x="3" y="53"/>
                    <a:pt x="4" y="52"/>
                    <a:pt x="4" y="51"/>
                  </a:cubicBezTo>
                  <a:cubicBezTo>
                    <a:pt x="4" y="49"/>
                    <a:pt x="3" y="48"/>
                    <a:pt x="1" y="47"/>
                  </a:cubicBezTo>
                  <a:cubicBezTo>
                    <a:pt x="0" y="47"/>
                    <a:pt x="0" y="46"/>
                    <a:pt x="0" y="45"/>
                  </a:cubicBezTo>
                  <a:cubicBezTo>
                    <a:pt x="0" y="44"/>
                    <a:pt x="1" y="43"/>
                    <a:pt x="1" y="43"/>
                  </a:cubicBezTo>
                  <a:cubicBezTo>
                    <a:pt x="78" y="1"/>
                    <a:pt x="78" y="1"/>
                    <a:pt x="78" y="1"/>
                  </a:cubicBezTo>
                  <a:cubicBezTo>
                    <a:pt x="79" y="0"/>
                    <a:pt x="80" y="0"/>
                    <a:pt x="80" y="1"/>
                  </a:cubicBezTo>
                  <a:cubicBezTo>
                    <a:pt x="86" y="3"/>
                    <a:pt x="94" y="3"/>
                    <a:pt x="99" y="0"/>
                  </a:cubicBezTo>
                  <a:cubicBezTo>
                    <a:pt x="100" y="0"/>
                    <a:pt x="100" y="0"/>
                    <a:pt x="101" y="0"/>
                  </a:cubicBezTo>
                  <a:cubicBezTo>
                    <a:pt x="125" y="14"/>
                    <a:pt x="125" y="14"/>
                    <a:pt x="125" y="14"/>
                  </a:cubicBezTo>
                  <a:cubicBezTo>
                    <a:pt x="126" y="14"/>
                    <a:pt x="126" y="15"/>
                    <a:pt x="126" y="16"/>
                  </a:cubicBezTo>
                  <a:cubicBezTo>
                    <a:pt x="126" y="17"/>
                    <a:pt x="126" y="17"/>
                    <a:pt x="125" y="18"/>
                  </a:cubicBezTo>
                  <a:cubicBezTo>
                    <a:pt x="123" y="19"/>
                    <a:pt x="122" y="20"/>
                    <a:pt x="122" y="21"/>
                  </a:cubicBezTo>
                  <a:cubicBezTo>
                    <a:pt x="122" y="23"/>
                    <a:pt x="123" y="24"/>
                    <a:pt x="125" y="25"/>
                  </a:cubicBezTo>
                  <a:cubicBezTo>
                    <a:pt x="126" y="26"/>
                    <a:pt x="126" y="26"/>
                    <a:pt x="126" y="27"/>
                  </a:cubicBezTo>
                  <a:cubicBezTo>
                    <a:pt x="126" y="28"/>
                    <a:pt x="126" y="29"/>
                    <a:pt x="125" y="29"/>
                  </a:cubicBezTo>
                  <a:cubicBezTo>
                    <a:pt x="48" y="72"/>
                    <a:pt x="48" y="72"/>
                    <a:pt x="48" y="72"/>
                  </a:cubicBezTo>
                  <a:cubicBezTo>
                    <a:pt x="48" y="72"/>
                    <a:pt x="48" y="72"/>
                    <a:pt x="47" y="72"/>
                  </a:cubicBezTo>
                  <a:close/>
                  <a:moveTo>
                    <a:pt x="37" y="65"/>
                  </a:moveTo>
                  <a:cubicBezTo>
                    <a:pt x="40" y="65"/>
                    <a:pt x="44" y="65"/>
                    <a:pt x="47" y="67"/>
                  </a:cubicBezTo>
                  <a:cubicBezTo>
                    <a:pt x="119" y="27"/>
                    <a:pt x="119" y="27"/>
                    <a:pt x="119" y="27"/>
                  </a:cubicBezTo>
                  <a:cubicBezTo>
                    <a:pt x="118" y="25"/>
                    <a:pt x="117" y="23"/>
                    <a:pt x="117" y="21"/>
                  </a:cubicBezTo>
                  <a:cubicBezTo>
                    <a:pt x="117" y="20"/>
                    <a:pt x="118" y="18"/>
                    <a:pt x="119" y="16"/>
                  </a:cubicBezTo>
                  <a:cubicBezTo>
                    <a:pt x="100" y="5"/>
                    <a:pt x="100" y="5"/>
                    <a:pt x="100" y="5"/>
                  </a:cubicBezTo>
                  <a:cubicBezTo>
                    <a:pt x="94" y="8"/>
                    <a:pt x="86" y="8"/>
                    <a:pt x="79" y="5"/>
                  </a:cubicBezTo>
                  <a:cubicBezTo>
                    <a:pt x="7" y="45"/>
                    <a:pt x="7" y="45"/>
                    <a:pt x="7" y="45"/>
                  </a:cubicBezTo>
                  <a:cubicBezTo>
                    <a:pt x="8" y="47"/>
                    <a:pt x="9" y="49"/>
                    <a:pt x="9" y="51"/>
                  </a:cubicBezTo>
                  <a:cubicBezTo>
                    <a:pt x="9" y="53"/>
                    <a:pt x="8" y="54"/>
                    <a:pt x="7" y="56"/>
                  </a:cubicBezTo>
                  <a:cubicBezTo>
                    <a:pt x="26" y="67"/>
                    <a:pt x="26" y="67"/>
                    <a:pt x="26" y="67"/>
                  </a:cubicBezTo>
                  <a:cubicBezTo>
                    <a:pt x="29" y="65"/>
                    <a:pt x="33" y="65"/>
                    <a:pt x="37" y="6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4" name="Freeform 497">
              <a:extLst>
                <a:ext uri="{FF2B5EF4-FFF2-40B4-BE49-F238E27FC236}">
                  <a16:creationId xmlns:a16="http://schemas.microsoft.com/office/drawing/2014/main" id="{4D1B516A-BF12-7A8F-8617-C7E593D4CA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071648" y="3001973"/>
              <a:ext cx="42862" cy="38100"/>
            </a:xfrm>
            <a:custGeom>
              <a:avLst/>
              <a:gdLst>
                <a:gd name="T0" fmla="*/ 12 w 19"/>
                <a:gd name="T1" fmla="*/ 17 h 17"/>
                <a:gd name="T2" fmla="*/ 11 w 19"/>
                <a:gd name="T3" fmla="*/ 16 h 17"/>
                <a:gd name="T4" fmla="*/ 1 w 19"/>
                <a:gd name="T5" fmla="*/ 11 h 17"/>
                <a:gd name="T6" fmla="*/ 0 w 19"/>
                <a:gd name="T7" fmla="*/ 9 h 17"/>
                <a:gd name="T8" fmla="*/ 1 w 19"/>
                <a:gd name="T9" fmla="*/ 6 h 17"/>
                <a:gd name="T10" fmla="*/ 11 w 19"/>
                <a:gd name="T11" fmla="*/ 1 h 17"/>
                <a:gd name="T12" fmla="*/ 14 w 19"/>
                <a:gd name="T13" fmla="*/ 1 h 17"/>
                <a:gd name="T14" fmla="*/ 19 w 19"/>
                <a:gd name="T15" fmla="*/ 9 h 17"/>
                <a:gd name="T16" fmla="*/ 14 w 19"/>
                <a:gd name="T17" fmla="*/ 16 h 17"/>
                <a:gd name="T18" fmla="*/ 12 w 19"/>
                <a:gd name="T19" fmla="*/ 17 h 17"/>
                <a:gd name="T20" fmla="*/ 7 w 19"/>
                <a:gd name="T21" fmla="*/ 9 h 17"/>
                <a:gd name="T22" fmla="*/ 12 w 19"/>
                <a:gd name="T23" fmla="*/ 11 h 17"/>
                <a:gd name="T24" fmla="*/ 14 w 19"/>
                <a:gd name="T25" fmla="*/ 9 h 17"/>
                <a:gd name="T26" fmla="*/ 12 w 19"/>
                <a:gd name="T27" fmla="*/ 6 h 17"/>
                <a:gd name="T28" fmla="*/ 7 w 19"/>
                <a:gd name="T2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9" h="17">
                  <a:moveTo>
                    <a:pt x="12" y="17"/>
                  </a:moveTo>
                  <a:cubicBezTo>
                    <a:pt x="12" y="17"/>
                    <a:pt x="12" y="17"/>
                    <a:pt x="11" y="16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0" y="10"/>
                    <a:pt x="0" y="10"/>
                    <a:pt x="0" y="9"/>
                  </a:cubicBezTo>
                  <a:cubicBezTo>
                    <a:pt x="0" y="8"/>
                    <a:pt x="0" y="7"/>
                    <a:pt x="1" y="6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2" y="0"/>
                    <a:pt x="13" y="0"/>
                    <a:pt x="14" y="1"/>
                  </a:cubicBezTo>
                  <a:cubicBezTo>
                    <a:pt x="17" y="3"/>
                    <a:pt x="19" y="6"/>
                    <a:pt x="19" y="9"/>
                  </a:cubicBezTo>
                  <a:cubicBezTo>
                    <a:pt x="19" y="12"/>
                    <a:pt x="17" y="14"/>
                    <a:pt x="14" y="16"/>
                  </a:cubicBezTo>
                  <a:cubicBezTo>
                    <a:pt x="13" y="17"/>
                    <a:pt x="13" y="17"/>
                    <a:pt x="12" y="17"/>
                  </a:cubicBezTo>
                  <a:close/>
                  <a:moveTo>
                    <a:pt x="7" y="9"/>
                  </a:moveTo>
                  <a:cubicBezTo>
                    <a:pt x="12" y="11"/>
                    <a:pt x="12" y="11"/>
                    <a:pt x="12" y="11"/>
                  </a:cubicBezTo>
                  <a:cubicBezTo>
                    <a:pt x="13" y="10"/>
                    <a:pt x="14" y="10"/>
                    <a:pt x="14" y="9"/>
                  </a:cubicBezTo>
                  <a:cubicBezTo>
                    <a:pt x="14" y="8"/>
                    <a:pt x="13" y="7"/>
                    <a:pt x="12" y="6"/>
                  </a:cubicBezTo>
                  <a:lnTo>
                    <a:pt x="7" y="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5" name="Freeform 498">
              <a:extLst>
                <a:ext uri="{FF2B5EF4-FFF2-40B4-BE49-F238E27FC236}">
                  <a16:creationId xmlns:a16="http://schemas.microsoft.com/office/drawing/2014/main" id="{FE8A0567-3FC1-665B-1E14-05D3CB08D01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995449" y="3051185"/>
              <a:ext cx="58737" cy="31750"/>
            </a:xfrm>
            <a:custGeom>
              <a:avLst/>
              <a:gdLst>
                <a:gd name="T0" fmla="*/ 13 w 26"/>
                <a:gd name="T1" fmla="*/ 14 h 14"/>
                <a:gd name="T2" fmla="*/ 12 w 26"/>
                <a:gd name="T3" fmla="*/ 13 h 14"/>
                <a:gd name="T4" fmla="*/ 1 w 26"/>
                <a:gd name="T5" fmla="*/ 7 h 14"/>
                <a:gd name="T6" fmla="*/ 0 w 26"/>
                <a:gd name="T7" fmla="*/ 5 h 14"/>
                <a:gd name="T8" fmla="*/ 1 w 26"/>
                <a:gd name="T9" fmla="*/ 3 h 14"/>
                <a:gd name="T10" fmla="*/ 24 w 26"/>
                <a:gd name="T11" fmla="*/ 3 h 14"/>
                <a:gd name="T12" fmla="*/ 24 w 26"/>
                <a:gd name="T13" fmla="*/ 3 h 14"/>
                <a:gd name="T14" fmla="*/ 26 w 26"/>
                <a:gd name="T15" fmla="*/ 6 h 14"/>
                <a:gd name="T16" fmla="*/ 24 w 26"/>
                <a:gd name="T17" fmla="*/ 8 h 14"/>
                <a:gd name="T18" fmla="*/ 14 w 26"/>
                <a:gd name="T19" fmla="*/ 13 h 14"/>
                <a:gd name="T20" fmla="*/ 13 w 26"/>
                <a:gd name="T21" fmla="*/ 14 h 14"/>
                <a:gd name="T22" fmla="*/ 8 w 26"/>
                <a:gd name="T23" fmla="*/ 6 h 14"/>
                <a:gd name="T24" fmla="*/ 13 w 26"/>
                <a:gd name="T25" fmla="*/ 8 h 14"/>
                <a:gd name="T26" fmla="*/ 17 w 26"/>
                <a:gd name="T27" fmla="*/ 6 h 14"/>
                <a:gd name="T28" fmla="*/ 8 w 26"/>
                <a:gd name="T29" fmla="*/ 6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14">
                  <a:moveTo>
                    <a:pt x="13" y="14"/>
                  </a:moveTo>
                  <a:cubicBezTo>
                    <a:pt x="12" y="14"/>
                    <a:pt x="12" y="14"/>
                    <a:pt x="12" y="13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6"/>
                    <a:pt x="0" y="5"/>
                  </a:cubicBezTo>
                  <a:cubicBezTo>
                    <a:pt x="0" y="4"/>
                    <a:pt x="0" y="4"/>
                    <a:pt x="1" y="3"/>
                  </a:cubicBezTo>
                  <a:cubicBezTo>
                    <a:pt x="8" y="0"/>
                    <a:pt x="18" y="0"/>
                    <a:pt x="24" y="3"/>
                  </a:cubicBezTo>
                  <a:cubicBezTo>
                    <a:pt x="24" y="3"/>
                    <a:pt x="24" y="3"/>
                    <a:pt x="24" y="3"/>
                  </a:cubicBezTo>
                  <a:cubicBezTo>
                    <a:pt x="25" y="4"/>
                    <a:pt x="26" y="5"/>
                    <a:pt x="26" y="6"/>
                  </a:cubicBezTo>
                  <a:cubicBezTo>
                    <a:pt x="26" y="6"/>
                    <a:pt x="25" y="7"/>
                    <a:pt x="24" y="8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4" y="14"/>
                    <a:pt x="13" y="14"/>
                    <a:pt x="13" y="14"/>
                  </a:cubicBezTo>
                  <a:close/>
                  <a:moveTo>
                    <a:pt x="8" y="6"/>
                  </a:moveTo>
                  <a:cubicBezTo>
                    <a:pt x="13" y="8"/>
                    <a:pt x="13" y="8"/>
                    <a:pt x="13" y="8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4" y="5"/>
                    <a:pt x="11" y="5"/>
                    <a:pt x="8" y="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6" name="Freeform 499">
              <a:extLst>
                <a:ext uri="{FF2B5EF4-FFF2-40B4-BE49-F238E27FC236}">
                  <a16:creationId xmlns:a16="http://schemas.microsoft.com/office/drawing/2014/main" id="{BE1CEEAA-F925-AD0E-90BB-62D434005A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876390" y="2892436"/>
              <a:ext cx="57149" cy="30163"/>
            </a:xfrm>
            <a:custGeom>
              <a:avLst/>
              <a:gdLst>
                <a:gd name="T0" fmla="*/ 13 w 25"/>
                <a:gd name="T1" fmla="*/ 13 h 13"/>
                <a:gd name="T2" fmla="*/ 1 w 25"/>
                <a:gd name="T3" fmla="*/ 11 h 13"/>
                <a:gd name="T4" fmla="*/ 0 w 25"/>
                <a:gd name="T5" fmla="*/ 9 h 13"/>
                <a:gd name="T6" fmla="*/ 1 w 25"/>
                <a:gd name="T7" fmla="*/ 7 h 13"/>
                <a:gd name="T8" fmla="*/ 12 w 25"/>
                <a:gd name="T9" fmla="*/ 1 h 13"/>
                <a:gd name="T10" fmla="*/ 14 w 25"/>
                <a:gd name="T11" fmla="*/ 1 h 13"/>
                <a:gd name="T12" fmla="*/ 24 w 25"/>
                <a:gd name="T13" fmla="*/ 6 h 13"/>
                <a:gd name="T14" fmla="*/ 25 w 25"/>
                <a:gd name="T15" fmla="*/ 9 h 13"/>
                <a:gd name="T16" fmla="*/ 24 w 25"/>
                <a:gd name="T17" fmla="*/ 11 h 13"/>
                <a:gd name="T18" fmla="*/ 13 w 25"/>
                <a:gd name="T19" fmla="*/ 13 h 13"/>
                <a:gd name="T20" fmla="*/ 8 w 25"/>
                <a:gd name="T21" fmla="*/ 8 h 13"/>
                <a:gd name="T22" fmla="*/ 17 w 25"/>
                <a:gd name="T23" fmla="*/ 8 h 13"/>
                <a:gd name="T24" fmla="*/ 13 w 25"/>
                <a:gd name="T25" fmla="*/ 6 h 13"/>
                <a:gd name="T26" fmla="*/ 8 w 25"/>
                <a:gd name="T27" fmla="*/ 8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" h="13">
                  <a:moveTo>
                    <a:pt x="13" y="13"/>
                  </a:moveTo>
                  <a:cubicBezTo>
                    <a:pt x="9" y="13"/>
                    <a:pt x="4" y="13"/>
                    <a:pt x="1" y="11"/>
                  </a:cubicBezTo>
                  <a:cubicBezTo>
                    <a:pt x="0" y="10"/>
                    <a:pt x="0" y="10"/>
                    <a:pt x="0" y="9"/>
                  </a:cubicBezTo>
                  <a:cubicBezTo>
                    <a:pt x="0" y="8"/>
                    <a:pt x="0" y="7"/>
                    <a:pt x="1" y="7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0"/>
                    <a:pt x="13" y="0"/>
                    <a:pt x="14" y="1"/>
                  </a:cubicBezTo>
                  <a:cubicBezTo>
                    <a:pt x="24" y="6"/>
                    <a:pt x="24" y="6"/>
                    <a:pt x="24" y="6"/>
                  </a:cubicBezTo>
                  <a:cubicBezTo>
                    <a:pt x="25" y="7"/>
                    <a:pt x="25" y="8"/>
                    <a:pt x="25" y="9"/>
                  </a:cubicBezTo>
                  <a:cubicBezTo>
                    <a:pt x="25" y="10"/>
                    <a:pt x="25" y="10"/>
                    <a:pt x="24" y="11"/>
                  </a:cubicBezTo>
                  <a:cubicBezTo>
                    <a:pt x="21" y="13"/>
                    <a:pt x="17" y="13"/>
                    <a:pt x="13" y="13"/>
                  </a:cubicBezTo>
                  <a:close/>
                  <a:moveTo>
                    <a:pt x="8" y="8"/>
                  </a:moveTo>
                  <a:cubicBezTo>
                    <a:pt x="11" y="9"/>
                    <a:pt x="14" y="9"/>
                    <a:pt x="17" y="8"/>
                  </a:cubicBezTo>
                  <a:cubicBezTo>
                    <a:pt x="13" y="6"/>
                    <a:pt x="13" y="6"/>
                    <a:pt x="13" y="6"/>
                  </a:cubicBezTo>
                  <a:lnTo>
                    <a:pt x="8" y="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7" name="Freeform 500">
              <a:extLst>
                <a:ext uri="{FF2B5EF4-FFF2-40B4-BE49-F238E27FC236}">
                  <a16:creationId xmlns:a16="http://schemas.microsoft.com/office/drawing/2014/main" id="{E2A01096-30DD-A5D1-AC77-00CF2B3143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785904" y="2935298"/>
              <a:ext cx="44449" cy="39688"/>
            </a:xfrm>
            <a:custGeom>
              <a:avLst/>
              <a:gdLst>
                <a:gd name="T0" fmla="*/ 7 w 20"/>
                <a:gd name="T1" fmla="*/ 17 h 17"/>
                <a:gd name="T2" fmla="*/ 6 w 20"/>
                <a:gd name="T3" fmla="*/ 16 h 17"/>
                <a:gd name="T4" fmla="*/ 0 w 20"/>
                <a:gd name="T5" fmla="*/ 8 h 17"/>
                <a:gd name="T6" fmla="*/ 6 w 20"/>
                <a:gd name="T7" fmla="*/ 1 h 17"/>
                <a:gd name="T8" fmla="*/ 8 w 20"/>
                <a:gd name="T9" fmla="*/ 1 h 17"/>
                <a:gd name="T10" fmla="*/ 19 w 20"/>
                <a:gd name="T11" fmla="*/ 6 h 17"/>
                <a:gd name="T12" fmla="*/ 20 w 20"/>
                <a:gd name="T13" fmla="*/ 9 h 17"/>
                <a:gd name="T14" fmla="*/ 19 w 20"/>
                <a:gd name="T15" fmla="*/ 11 h 17"/>
                <a:gd name="T16" fmla="*/ 8 w 20"/>
                <a:gd name="T17" fmla="*/ 16 h 17"/>
                <a:gd name="T18" fmla="*/ 7 w 20"/>
                <a:gd name="T19" fmla="*/ 17 h 17"/>
                <a:gd name="T20" fmla="*/ 7 w 20"/>
                <a:gd name="T21" fmla="*/ 6 h 17"/>
                <a:gd name="T22" fmla="*/ 5 w 20"/>
                <a:gd name="T23" fmla="*/ 8 h 17"/>
                <a:gd name="T24" fmla="*/ 7 w 20"/>
                <a:gd name="T25" fmla="*/ 11 h 17"/>
                <a:gd name="T26" fmla="*/ 12 w 20"/>
                <a:gd name="T27" fmla="*/ 9 h 17"/>
                <a:gd name="T28" fmla="*/ 7 w 20"/>
                <a:gd name="T29" fmla="*/ 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" h="17">
                  <a:moveTo>
                    <a:pt x="7" y="17"/>
                  </a:moveTo>
                  <a:cubicBezTo>
                    <a:pt x="7" y="17"/>
                    <a:pt x="6" y="17"/>
                    <a:pt x="6" y="16"/>
                  </a:cubicBezTo>
                  <a:cubicBezTo>
                    <a:pt x="2" y="14"/>
                    <a:pt x="0" y="12"/>
                    <a:pt x="0" y="8"/>
                  </a:cubicBezTo>
                  <a:cubicBezTo>
                    <a:pt x="0" y="5"/>
                    <a:pt x="2" y="3"/>
                    <a:pt x="6" y="1"/>
                  </a:cubicBezTo>
                  <a:cubicBezTo>
                    <a:pt x="6" y="0"/>
                    <a:pt x="7" y="0"/>
                    <a:pt x="8" y="1"/>
                  </a:cubicBezTo>
                  <a:cubicBezTo>
                    <a:pt x="19" y="6"/>
                    <a:pt x="19" y="6"/>
                    <a:pt x="19" y="6"/>
                  </a:cubicBezTo>
                  <a:cubicBezTo>
                    <a:pt x="19" y="7"/>
                    <a:pt x="20" y="8"/>
                    <a:pt x="20" y="9"/>
                  </a:cubicBezTo>
                  <a:cubicBezTo>
                    <a:pt x="20" y="9"/>
                    <a:pt x="19" y="10"/>
                    <a:pt x="19" y="11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7"/>
                    <a:pt x="7" y="17"/>
                    <a:pt x="7" y="17"/>
                  </a:cubicBezTo>
                  <a:close/>
                  <a:moveTo>
                    <a:pt x="7" y="6"/>
                  </a:moveTo>
                  <a:cubicBezTo>
                    <a:pt x="6" y="6"/>
                    <a:pt x="5" y="7"/>
                    <a:pt x="5" y="8"/>
                  </a:cubicBezTo>
                  <a:cubicBezTo>
                    <a:pt x="5" y="9"/>
                    <a:pt x="6" y="10"/>
                    <a:pt x="7" y="11"/>
                  </a:cubicBezTo>
                  <a:cubicBezTo>
                    <a:pt x="12" y="9"/>
                    <a:pt x="12" y="9"/>
                    <a:pt x="12" y="9"/>
                  </a:cubicBezTo>
                  <a:lnTo>
                    <a:pt x="7" y="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8" name="Freeform 501">
              <a:extLst>
                <a:ext uri="{FF2B5EF4-FFF2-40B4-BE49-F238E27FC236}">
                  <a16:creationId xmlns:a16="http://schemas.microsoft.com/office/drawing/2014/main" id="{DB36AEC3-D711-FA2D-0EC8-7623020172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984338" y="2940057"/>
              <a:ext cx="153985" cy="93664"/>
            </a:xfrm>
            <a:custGeom>
              <a:avLst/>
              <a:gdLst>
                <a:gd name="T0" fmla="*/ 34 w 68"/>
                <a:gd name="T1" fmla="*/ 41 h 41"/>
                <a:gd name="T2" fmla="*/ 11 w 68"/>
                <a:gd name="T3" fmla="*/ 36 h 41"/>
                <a:gd name="T4" fmla="*/ 0 w 68"/>
                <a:gd name="T5" fmla="*/ 21 h 41"/>
                <a:gd name="T6" fmla="*/ 11 w 68"/>
                <a:gd name="T7" fmla="*/ 7 h 41"/>
                <a:gd name="T8" fmla="*/ 58 w 68"/>
                <a:gd name="T9" fmla="*/ 7 h 41"/>
                <a:gd name="T10" fmla="*/ 58 w 68"/>
                <a:gd name="T11" fmla="*/ 7 h 41"/>
                <a:gd name="T12" fmla="*/ 68 w 68"/>
                <a:gd name="T13" fmla="*/ 21 h 41"/>
                <a:gd name="T14" fmla="*/ 58 w 68"/>
                <a:gd name="T15" fmla="*/ 36 h 41"/>
                <a:gd name="T16" fmla="*/ 34 w 68"/>
                <a:gd name="T17" fmla="*/ 41 h 41"/>
                <a:gd name="T18" fmla="*/ 34 w 68"/>
                <a:gd name="T19" fmla="*/ 6 h 41"/>
                <a:gd name="T20" fmla="*/ 13 w 68"/>
                <a:gd name="T21" fmla="*/ 11 h 41"/>
                <a:gd name="T22" fmla="*/ 5 w 68"/>
                <a:gd name="T23" fmla="*/ 21 h 41"/>
                <a:gd name="T24" fmla="*/ 13 w 68"/>
                <a:gd name="T25" fmla="*/ 31 h 41"/>
                <a:gd name="T26" fmla="*/ 55 w 68"/>
                <a:gd name="T27" fmla="*/ 31 h 41"/>
                <a:gd name="T28" fmla="*/ 63 w 68"/>
                <a:gd name="T29" fmla="*/ 21 h 41"/>
                <a:gd name="T30" fmla="*/ 55 w 68"/>
                <a:gd name="T31" fmla="*/ 11 h 41"/>
                <a:gd name="T32" fmla="*/ 55 w 68"/>
                <a:gd name="T33" fmla="*/ 11 h 41"/>
                <a:gd name="T34" fmla="*/ 34 w 68"/>
                <a:gd name="T35" fmla="*/ 6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8" h="41">
                  <a:moveTo>
                    <a:pt x="34" y="41"/>
                  </a:moveTo>
                  <a:cubicBezTo>
                    <a:pt x="26" y="41"/>
                    <a:pt x="17" y="39"/>
                    <a:pt x="11" y="36"/>
                  </a:cubicBezTo>
                  <a:cubicBezTo>
                    <a:pt x="4" y="32"/>
                    <a:pt x="0" y="27"/>
                    <a:pt x="0" y="21"/>
                  </a:cubicBezTo>
                  <a:cubicBezTo>
                    <a:pt x="0" y="16"/>
                    <a:pt x="4" y="10"/>
                    <a:pt x="11" y="7"/>
                  </a:cubicBezTo>
                  <a:cubicBezTo>
                    <a:pt x="24" y="0"/>
                    <a:pt x="45" y="0"/>
                    <a:pt x="58" y="7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65" y="10"/>
                    <a:pt x="68" y="16"/>
                    <a:pt x="68" y="21"/>
                  </a:cubicBezTo>
                  <a:cubicBezTo>
                    <a:pt x="68" y="27"/>
                    <a:pt x="65" y="32"/>
                    <a:pt x="58" y="36"/>
                  </a:cubicBezTo>
                  <a:cubicBezTo>
                    <a:pt x="51" y="39"/>
                    <a:pt x="43" y="41"/>
                    <a:pt x="34" y="41"/>
                  </a:cubicBezTo>
                  <a:close/>
                  <a:moveTo>
                    <a:pt x="34" y="6"/>
                  </a:moveTo>
                  <a:cubicBezTo>
                    <a:pt x="27" y="6"/>
                    <a:pt x="19" y="8"/>
                    <a:pt x="13" y="11"/>
                  </a:cubicBezTo>
                  <a:cubicBezTo>
                    <a:pt x="8" y="14"/>
                    <a:pt x="5" y="17"/>
                    <a:pt x="5" y="21"/>
                  </a:cubicBezTo>
                  <a:cubicBezTo>
                    <a:pt x="5" y="25"/>
                    <a:pt x="8" y="28"/>
                    <a:pt x="13" y="31"/>
                  </a:cubicBezTo>
                  <a:cubicBezTo>
                    <a:pt x="25" y="38"/>
                    <a:pt x="44" y="38"/>
                    <a:pt x="55" y="31"/>
                  </a:cubicBezTo>
                  <a:cubicBezTo>
                    <a:pt x="61" y="28"/>
                    <a:pt x="63" y="25"/>
                    <a:pt x="63" y="21"/>
                  </a:cubicBezTo>
                  <a:cubicBezTo>
                    <a:pt x="63" y="17"/>
                    <a:pt x="61" y="14"/>
                    <a:pt x="55" y="11"/>
                  </a:cubicBezTo>
                  <a:cubicBezTo>
                    <a:pt x="55" y="11"/>
                    <a:pt x="55" y="11"/>
                    <a:pt x="55" y="11"/>
                  </a:cubicBezTo>
                  <a:cubicBezTo>
                    <a:pt x="50" y="8"/>
                    <a:pt x="42" y="6"/>
                    <a:pt x="34" y="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9" name="Freeform 502">
              <a:extLst>
                <a:ext uri="{FF2B5EF4-FFF2-40B4-BE49-F238E27FC236}">
                  <a16:creationId xmlns:a16="http://schemas.microsoft.com/office/drawing/2014/main" id="{2C072F05-E139-ABD3-A27C-B3834988D130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71650" y="2949579"/>
              <a:ext cx="330194" cy="166688"/>
            </a:xfrm>
            <a:custGeom>
              <a:avLst/>
              <a:gdLst>
                <a:gd name="T0" fmla="*/ 47 w 147"/>
                <a:gd name="T1" fmla="*/ 74 h 74"/>
                <a:gd name="T2" fmla="*/ 46 w 147"/>
                <a:gd name="T3" fmla="*/ 74 h 74"/>
                <a:gd name="T4" fmla="*/ 1 w 147"/>
                <a:gd name="T5" fmla="*/ 49 h 74"/>
                <a:gd name="T6" fmla="*/ 0 w 147"/>
                <a:gd name="T7" fmla="*/ 47 h 74"/>
                <a:gd name="T8" fmla="*/ 0 w 147"/>
                <a:gd name="T9" fmla="*/ 32 h 74"/>
                <a:gd name="T10" fmla="*/ 2 w 147"/>
                <a:gd name="T11" fmla="*/ 29 h 74"/>
                <a:gd name="T12" fmla="*/ 5 w 147"/>
                <a:gd name="T13" fmla="*/ 32 h 74"/>
                <a:gd name="T14" fmla="*/ 5 w 147"/>
                <a:gd name="T15" fmla="*/ 45 h 74"/>
                <a:gd name="T16" fmla="*/ 47 w 147"/>
                <a:gd name="T17" fmla="*/ 69 h 74"/>
                <a:gd name="T18" fmla="*/ 142 w 147"/>
                <a:gd name="T19" fmla="*/ 16 h 74"/>
                <a:gd name="T20" fmla="*/ 142 w 147"/>
                <a:gd name="T21" fmla="*/ 3 h 74"/>
                <a:gd name="T22" fmla="*/ 144 w 147"/>
                <a:gd name="T23" fmla="*/ 0 h 74"/>
                <a:gd name="T24" fmla="*/ 147 w 147"/>
                <a:gd name="T25" fmla="*/ 3 h 74"/>
                <a:gd name="T26" fmla="*/ 147 w 147"/>
                <a:gd name="T27" fmla="*/ 18 h 74"/>
                <a:gd name="T28" fmla="*/ 146 w 147"/>
                <a:gd name="T29" fmla="*/ 20 h 74"/>
                <a:gd name="T30" fmla="*/ 48 w 147"/>
                <a:gd name="T31" fmla="*/ 74 h 74"/>
                <a:gd name="T32" fmla="*/ 47 w 147"/>
                <a:gd name="T33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47" h="74">
                  <a:moveTo>
                    <a:pt x="47" y="74"/>
                  </a:moveTo>
                  <a:cubicBezTo>
                    <a:pt x="46" y="74"/>
                    <a:pt x="46" y="74"/>
                    <a:pt x="46" y="74"/>
                  </a:cubicBezTo>
                  <a:cubicBezTo>
                    <a:pt x="1" y="49"/>
                    <a:pt x="1" y="49"/>
                    <a:pt x="1" y="49"/>
                  </a:cubicBezTo>
                  <a:cubicBezTo>
                    <a:pt x="0" y="49"/>
                    <a:pt x="0" y="48"/>
                    <a:pt x="0" y="47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0"/>
                    <a:pt x="1" y="29"/>
                    <a:pt x="2" y="29"/>
                  </a:cubicBezTo>
                  <a:cubicBezTo>
                    <a:pt x="4" y="29"/>
                    <a:pt x="5" y="30"/>
                    <a:pt x="5" y="32"/>
                  </a:cubicBezTo>
                  <a:cubicBezTo>
                    <a:pt x="5" y="45"/>
                    <a:pt x="5" y="45"/>
                    <a:pt x="5" y="45"/>
                  </a:cubicBezTo>
                  <a:cubicBezTo>
                    <a:pt x="47" y="69"/>
                    <a:pt x="47" y="69"/>
                    <a:pt x="47" y="69"/>
                  </a:cubicBezTo>
                  <a:cubicBezTo>
                    <a:pt x="142" y="16"/>
                    <a:pt x="142" y="16"/>
                    <a:pt x="142" y="16"/>
                  </a:cubicBezTo>
                  <a:cubicBezTo>
                    <a:pt x="142" y="3"/>
                    <a:pt x="142" y="3"/>
                    <a:pt x="142" y="3"/>
                  </a:cubicBezTo>
                  <a:cubicBezTo>
                    <a:pt x="142" y="1"/>
                    <a:pt x="143" y="0"/>
                    <a:pt x="144" y="0"/>
                  </a:cubicBezTo>
                  <a:cubicBezTo>
                    <a:pt x="146" y="0"/>
                    <a:pt x="147" y="1"/>
                    <a:pt x="147" y="3"/>
                  </a:cubicBezTo>
                  <a:cubicBezTo>
                    <a:pt x="147" y="18"/>
                    <a:pt x="147" y="18"/>
                    <a:pt x="147" y="18"/>
                  </a:cubicBezTo>
                  <a:cubicBezTo>
                    <a:pt x="147" y="19"/>
                    <a:pt x="146" y="20"/>
                    <a:pt x="146" y="20"/>
                  </a:cubicBezTo>
                  <a:cubicBezTo>
                    <a:pt x="48" y="74"/>
                    <a:pt x="48" y="74"/>
                    <a:pt x="48" y="74"/>
                  </a:cubicBezTo>
                  <a:cubicBezTo>
                    <a:pt x="48" y="74"/>
                    <a:pt x="47" y="74"/>
                    <a:pt x="47" y="7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0" name="Freeform 503">
              <a:extLst>
                <a:ext uri="{FF2B5EF4-FFF2-40B4-BE49-F238E27FC236}">
                  <a16:creationId xmlns:a16="http://schemas.microsoft.com/office/drawing/2014/main" id="{A53D5DFD-249A-24F9-3CE8-0180BF1653C6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73227" y="3071817"/>
              <a:ext cx="11113" cy="44450"/>
            </a:xfrm>
            <a:custGeom>
              <a:avLst/>
              <a:gdLst>
                <a:gd name="T0" fmla="*/ 3 w 5"/>
                <a:gd name="T1" fmla="*/ 20 h 20"/>
                <a:gd name="T2" fmla="*/ 0 w 5"/>
                <a:gd name="T3" fmla="*/ 17 h 20"/>
                <a:gd name="T4" fmla="*/ 0 w 5"/>
                <a:gd name="T5" fmla="*/ 2 h 20"/>
                <a:gd name="T6" fmla="*/ 3 w 5"/>
                <a:gd name="T7" fmla="*/ 0 h 20"/>
                <a:gd name="T8" fmla="*/ 5 w 5"/>
                <a:gd name="T9" fmla="*/ 2 h 20"/>
                <a:gd name="T10" fmla="*/ 5 w 5"/>
                <a:gd name="T11" fmla="*/ 17 h 20"/>
                <a:gd name="T12" fmla="*/ 3 w 5"/>
                <a:gd name="T13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20">
                  <a:moveTo>
                    <a:pt x="3" y="20"/>
                  </a:moveTo>
                  <a:cubicBezTo>
                    <a:pt x="2" y="20"/>
                    <a:pt x="0" y="19"/>
                    <a:pt x="0" y="17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4" y="0"/>
                    <a:pt x="5" y="1"/>
                    <a:pt x="5" y="2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5" y="19"/>
                    <a:pt x="4" y="20"/>
                    <a:pt x="3" y="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1" name="Freeform 504">
              <a:extLst>
                <a:ext uri="{FF2B5EF4-FFF2-40B4-BE49-F238E27FC236}">
                  <a16:creationId xmlns:a16="http://schemas.microsoft.com/office/drawing/2014/main" id="{45C04D19-8D01-E873-2F14-B0F625839703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03368" y="3103567"/>
              <a:ext cx="69849" cy="44450"/>
            </a:xfrm>
            <a:custGeom>
              <a:avLst/>
              <a:gdLst>
                <a:gd name="T0" fmla="*/ 18 w 31"/>
                <a:gd name="T1" fmla="*/ 20 h 20"/>
                <a:gd name="T2" fmla="*/ 16 w 31"/>
                <a:gd name="T3" fmla="*/ 20 h 20"/>
                <a:gd name="T4" fmla="*/ 14 w 31"/>
                <a:gd name="T5" fmla="*/ 17 h 20"/>
                <a:gd name="T6" fmla="*/ 16 w 31"/>
                <a:gd name="T7" fmla="*/ 15 h 20"/>
                <a:gd name="T8" fmla="*/ 26 w 31"/>
                <a:gd name="T9" fmla="*/ 12 h 20"/>
                <a:gd name="T10" fmla="*/ 25 w 31"/>
                <a:gd name="T11" fmla="*/ 12 h 20"/>
                <a:gd name="T12" fmla="*/ 19 w 31"/>
                <a:gd name="T13" fmla="*/ 11 h 20"/>
                <a:gd name="T14" fmla="*/ 12 w 31"/>
                <a:gd name="T15" fmla="*/ 13 h 20"/>
                <a:gd name="T16" fmla="*/ 3 w 31"/>
                <a:gd name="T17" fmla="*/ 13 h 20"/>
                <a:gd name="T18" fmla="*/ 0 w 31"/>
                <a:gd name="T19" fmla="*/ 8 h 20"/>
                <a:gd name="T20" fmla="*/ 5 w 31"/>
                <a:gd name="T21" fmla="*/ 3 h 20"/>
                <a:gd name="T22" fmla="*/ 17 w 31"/>
                <a:gd name="T23" fmla="*/ 2 h 20"/>
                <a:gd name="T24" fmla="*/ 18 w 31"/>
                <a:gd name="T25" fmla="*/ 5 h 20"/>
                <a:gd name="T26" fmla="*/ 15 w 31"/>
                <a:gd name="T27" fmla="*/ 6 h 20"/>
                <a:gd name="T28" fmla="*/ 7 w 31"/>
                <a:gd name="T29" fmla="*/ 7 h 20"/>
                <a:gd name="T30" fmla="*/ 5 w 31"/>
                <a:gd name="T31" fmla="*/ 8 h 20"/>
                <a:gd name="T32" fmla="*/ 5 w 31"/>
                <a:gd name="T33" fmla="*/ 8 h 20"/>
                <a:gd name="T34" fmla="*/ 11 w 31"/>
                <a:gd name="T35" fmla="*/ 9 h 20"/>
                <a:gd name="T36" fmla="*/ 18 w 31"/>
                <a:gd name="T37" fmla="*/ 7 h 20"/>
                <a:gd name="T38" fmla="*/ 27 w 31"/>
                <a:gd name="T39" fmla="*/ 7 h 20"/>
                <a:gd name="T40" fmla="*/ 30 w 31"/>
                <a:gd name="T41" fmla="*/ 11 h 20"/>
                <a:gd name="T42" fmla="*/ 30 w 31"/>
                <a:gd name="T43" fmla="*/ 15 h 20"/>
                <a:gd name="T44" fmla="*/ 18 w 31"/>
                <a:gd name="T4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20">
                  <a:moveTo>
                    <a:pt x="18" y="20"/>
                  </a:moveTo>
                  <a:cubicBezTo>
                    <a:pt x="17" y="20"/>
                    <a:pt x="17" y="20"/>
                    <a:pt x="16" y="20"/>
                  </a:cubicBezTo>
                  <a:cubicBezTo>
                    <a:pt x="15" y="20"/>
                    <a:pt x="14" y="18"/>
                    <a:pt x="14" y="17"/>
                  </a:cubicBezTo>
                  <a:cubicBezTo>
                    <a:pt x="14" y="16"/>
                    <a:pt x="15" y="15"/>
                    <a:pt x="16" y="15"/>
                  </a:cubicBezTo>
                  <a:cubicBezTo>
                    <a:pt x="22" y="15"/>
                    <a:pt x="25" y="13"/>
                    <a:pt x="26" y="12"/>
                  </a:cubicBezTo>
                  <a:cubicBezTo>
                    <a:pt x="25" y="12"/>
                    <a:pt x="25" y="12"/>
                    <a:pt x="25" y="12"/>
                  </a:cubicBezTo>
                  <a:cubicBezTo>
                    <a:pt x="22" y="11"/>
                    <a:pt x="19" y="11"/>
                    <a:pt x="19" y="11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9" y="14"/>
                    <a:pt x="6" y="14"/>
                    <a:pt x="3" y="13"/>
                  </a:cubicBezTo>
                  <a:cubicBezTo>
                    <a:pt x="0" y="11"/>
                    <a:pt x="0" y="9"/>
                    <a:pt x="0" y="8"/>
                  </a:cubicBezTo>
                  <a:cubicBezTo>
                    <a:pt x="0" y="5"/>
                    <a:pt x="4" y="3"/>
                    <a:pt x="5" y="3"/>
                  </a:cubicBezTo>
                  <a:cubicBezTo>
                    <a:pt x="10" y="0"/>
                    <a:pt x="16" y="2"/>
                    <a:pt x="17" y="2"/>
                  </a:cubicBezTo>
                  <a:cubicBezTo>
                    <a:pt x="18" y="2"/>
                    <a:pt x="19" y="3"/>
                    <a:pt x="18" y="5"/>
                  </a:cubicBezTo>
                  <a:cubicBezTo>
                    <a:pt x="18" y="6"/>
                    <a:pt x="16" y="7"/>
                    <a:pt x="15" y="6"/>
                  </a:cubicBezTo>
                  <a:cubicBezTo>
                    <a:pt x="15" y="6"/>
                    <a:pt x="11" y="5"/>
                    <a:pt x="7" y="7"/>
                  </a:cubicBezTo>
                  <a:cubicBezTo>
                    <a:pt x="6" y="8"/>
                    <a:pt x="6" y="8"/>
                    <a:pt x="5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6" y="9"/>
                    <a:pt x="8" y="10"/>
                    <a:pt x="11" y="9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22" y="5"/>
                    <a:pt x="27" y="7"/>
                  </a:cubicBezTo>
                  <a:cubicBezTo>
                    <a:pt x="29" y="8"/>
                    <a:pt x="30" y="9"/>
                    <a:pt x="30" y="11"/>
                  </a:cubicBezTo>
                  <a:cubicBezTo>
                    <a:pt x="31" y="13"/>
                    <a:pt x="30" y="14"/>
                    <a:pt x="30" y="15"/>
                  </a:cubicBezTo>
                  <a:cubicBezTo>
                    <a:pt x="29" y="15"/>
                    <a:pt x="26" y="20"/>
                    <a:pt x="18" y="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2" name="Freeform 505">
              <a:extLst>
                <a:ext uri="{FF2B5EF4-FFF2-40B4-BE49-F238E27FC236}">
                  <a16:creationId xmlns:a16="http://schemas.microsoft.com/office/drawing/2014/main" id="{2B09E6CB-DDC7-F577-1894-87B48276BD9C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06543" y="3103567"/>
              <a:ext cx="22225" cy="15875"/>
            </a:xfrm>
            <a:custGeom>
              <a:avLst/>
              <a:gdLst>
                <a:gd name="T0" fmla="*/ 7 w 10"/>
                <a:gd name="T1" fmla="*/ 7 h 7"/>
                <a:gd name="T2" fmla="*/ 6 w 10"/>
                <a:gd name="T3" fmla="*/ 7 h 7"/>
                <a:gd name="T4" fmla="*/ 2 w 10"/>
                <a:gd name="T5" fmla="*/ 5 h 7"/>
                <a:gd name="T6" fmla="*/ 1 w 10"/>
                <a:gd name="T7" fmla="*/ 2 h 7"/>
                <a:gd name="T8" fmla="*/ 4 w 10"/>
                <a:gd name="T9" fmla="*/ 1 h 7"/>
                <a:gd name="T10" fmla="*/ 8 w 10"/>
                <a:gd name="T11" fmla="*/ 3 h 7"/>
                <a:gd name="T12" fmla="*/ 9 w 10"/>
                <a:gd name="T13" fmla="*/ 6 h 7"/>
                <a:gd name="T14" fmla="*/ 7 w 10"/>
                <a:gd name="T15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7">
                  <a:moveTo>
                    <a:pt x="7" y="7"/>
                  </a:moveTo>
                  <a:cubicBezTo>
                    <a:pt x="7" y="7"/>
                    <a:pt x="6" y="7"/>
                    <a:pt x="6" y="7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1" y="4"/>
                    <a:pt x="0" y="3"/>
                    <a:pt x="1" y="2"/>
                  </a:cubicBezTo>
                  <a:cubicBezTo>
                    <a:pt x="2" y="0"/>
                    <a:pt x="3" y="0"/>
                    <a:pt x="4" y="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9" y="3"/>
                    <a:pt x="10" y="5"/>
                    <a:pt x="9" y="6"/>
                  </a:cubicBezTo>
                  <a:cubicBezTo>
                    <a:pt x="9" y="7"/>
                    <a:pt x="8" y="7"/>
                    <a:pt x="7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3" name="Freeform 506">
              <a:extLst>
                <a:ext uri="{FF2B5EF4-FFF2-40B4-BE49-F238E27FC236}">
                  <a16:creationId xmlns:a16="http://schemas.microsoft.com/office/drawing/2014/main" id="{CB169178-3094-1C5B-9032-08836E352DE9}"/>
                </a:ext>
              </a:extLst>
            </p:cNvPr>
            <p:cNvSpPr>
              <a:spLocks/>
            </p:cNvSpPr>
            <p:nvPr/>
          </p:nvSpPr>
          <p:spPr bwMode="auto">
            <a:xfrm>
              <a:off x="-1752569" y="3132142"/>
              <a:ext cx="20638" cy="15875"/>
            </a:xfrm>
            <a:custGeom>
              <a:avLst/>
              <a:gdLst>
                <a:gd name="T0" fmla="*/ 7 w 9"/>
                <a:gd name="T1" fmla="*/ 7 h 7"/>
                <a:gd name="T2" fmla="*/ 5 w 9"/>
                <a:gd name="T3" fmla="*/ 7 h 7"/>
                <a:gd name="T4" fmla="*/ 1 w 9"/>
                <a:gd name="T5" fmla="*/ 5 h 7"/>
                <a:gd name="T6" fmla="*/ 0 w 9"/>
                <a:gd name="T7" fmla="*/ 1 h 7"/>
                <a:gd name="T8" fmla="*/ 4 w 9"/>
                <a:gd name="T9" fmla="*/ 1 h 7"/>
                <a:gd name="T10" fmla="*/ 8 w 9"/>
                <a:gd name="T11" fmla="*/ 3 h 7"/>
                <a:gd name="T12" fmla="*/ 9 w 9"/>
                <a:gd name="T13" fmla="*/ 6 h 7"/>
                <a:gd name="T14" fmla="*/ 7 w 9"/>
                <a:gd name="T15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7">
                  <a:moveTo>
                    <a:pt x="7" y="7"/>
                  </a:moveTo>
                  <a:cubicBezTo>
                    <a:pt x="6" y="7"/>
                    <a:pt x="6" y="7"/>
                    <a:pt x="5" y="7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0" y="4"/>
                    <a:pt x="0" y="3"/>
                    <a:pt x="0" y="1"/>
                  </a:cubicBezTo>
                  <a:cubicBezTo>
                    <a:pt x="1" y="0"/>
                    <a:pt x="3" y="0"/>
                    <a:pt x="4" y="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9" y="3"/>
                    <a:pt x="9" y="5"/>
                    <a:pt x="9" y="6"/>
                  </a:cubicBezTo>
                  <a:cubicBezTo>
                    <a:pt x="8" y="7"/>
                    <a:pt x="7" y="7"/>
                    <a:pt x="7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4" name="Freeform 507">
              <a:extLst>
                <a:ext uri="{FF2B5EF4-FFF2-40B4-BE49-F238E27FC236}">
                  <a16:creationId xmlns:a16="http://schemas.microsoft.com/office/drawing/2014/main" id="{337B52F8-EA88-B476-6449-3B44C17C74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911315" y="3044829"/>
              <a:ext cx="285745" cy="161925"/>
            </a:xfrm>
            <a:custGeom>
              <a:avLst/>
              <a:gdLst>
                <a:gd name="T0" fmla="*/ 47 w 127"/>
                <a:gd name="T1" fmla="*/ 72 h 72"/>
                <a:gd name="T2" fmla="*/ 46 w 127"/>
                <a:gd name="T3" fmla="*/ 72 h 72"/>
                <a:gd name="T4" fmla="*/ 46 w 127"/>
                <a:gd name="T5" fmla="*/ 72 h 72"/>
                <a:gd name="T6" fmla="*/ 28 w 127"/>
                <a:gd name="T7" fmla="*/ 72 h 72"/>
                <a:gd name="T8" fmla="*/ 25 w 127"/>
                <a:gd name="T9" fmla="*/ 72 h 72"/>
                <a:gd name="T10" fmla="*/ 2 w 127"/>
                <a:gd name="T11" fmla="*/ 59 h 72"/>
                <a:gd name="T12" fmla="*/ 0 w 127"/>
                <a:gd name="T13" fmla="*/ 57 h 72"/>
                <a:gd name="T14" fmla="*/ 2 w 127"/>
                <a:gd name="T15" fmla="*/ 54 h 72"/>
                <a:gd name="T16" fmla="*/ 4 w 127"/>
                <a:gd name="T17" fmla="*/ 51 h 72"/>
                <a:gd name="T18" fmla="*/ 2 w 127"/>
                <a:gd name="T19" fmla="*/ 47 h 72"/>
                <a:gd name="T20" fmla="*/ 0 w 127"/>
                <a:gd name="T21" fmla="*/ 45 h 72"/>
                <a:gd name="T22" fmla="*/ 2 w 127"/>
                <a:gd name="T23" fmla="*/ 43 h 72"/>
                <a:gd name="T24" fmla="*/ 78 w 127"/>
                <a:gd name="T25" fmla="*/ 1 h 72"/>
                <a:gd name="T26" fmla="*/ 81 w 127"/>
                <a:gd name="T27" fmla="*/ 1 h 72"/>
                <a:gd name="T28" fmla="*/ 99 w 127"/>
                <a:gd name="T29" fmla="*/ 1 h 72"/>
                <a:gd name="T30" fmla="*/ 101 w 127"/>
                <a:gd name="T31" fmla="*/ 1 h 72"/>
                <a:gd name="T32" fmla="*/ 125 w 127"/>
                <a:gd name="T33" fmla="*/ 14 h 72"/>
                <a:gd name="T34" fmla="*/ 127 w 127"/>
                <a:gd name="T35" fmla="*/ 16 h 72"/>
                <a:gd name="T36" fmla="*/ 125 w 127"/>
                <a:gd name="T37" fmla="*/ 18 h 72"/>
                <a:gd name="T38" fmla="*/ 122 w 127"/>
                <a:gd name="T39" fmla="*/ 22 h 72"/>
                <a:gd name="T40" fmla="*/ 125 w 127"/>
                <a:gd name="T41" fmla="*/ 25 h 72"/>
                <a:gd name="T42" fmla="*/ 127 w 127"/>
                <a:gd name="T43" fmla="*/ 28 h 72"/>
                <a:gd name="T44" fmla="*/ 125 w 127"/>
                <a:gd name="T45" fmla="*/ 30 h 72"/>
                <a:gd name="T46" fmla="*/ 49 w 127"/>
                <a:gd name="T47" fmla="*/ 72 h 72"/>
                <a:gd name="T48" fmla="*/ 47 w 127"/>
                <a:gd name="T49" fmla="*/ 72 h 72"/>
                <a:gd name="T50" fmla="*/ 37 w 127"/>
                <a:gd name="T51" fmla="*/ 65 h 72"/>
                <a:gd name="T52" fmla="*/ 47 w 127"/>
                <a:gd name="T53" fmla="*/ 67 h 72"/>
                <a:gd name="T54" fmla="*/ 120 w 127"/>
                <a:gd name="T55" fmla="*/ 27 h 72"/>
                <a:gd name="T56" fmla="*/ 117 w 127"/>
                <a:gd name="T57" fmla="*/ 22 h 72"/>
                <a:gd name="T58" fmla="*/ 120 w 127"/>
                <a:gd name="T59" fmla="*/ 16 h 72"/>
                <a:gd name="T60" fmla="*/ 100 w 127"/>
                <a:gd name="T61" fmla="*/ 6 h 72"/>
                <a:gd name="T62" fmla="*/ 80 w 127"/>
                <a:gd name="T63" fmla="*/ 6 h 72"/>
                <a:gd name="T64" fmla="*/ 7 w 127"/>
                <a:gd name="T65" fmla="*/ 46 h 72"/>
                <a:gd name="T66" fmla="*/ 9 w 127"/>
                <a:gd name="T67" fmla="*/ 51 h 72"/>
                <a:gd name="T68" fmla="*/ 7 w 127"/>
                <a:gd name="T69" fmla="*/ 56 h 72"/>
                <a:gd name="T70" fmla="*/ 27 w 127"/>
                <a:gd name="T71" fmla="*/ 67 h 72"/>
                <a:gd name="T72" fmla="*/ 37 w 127"/>
                <a:gd name="T73" fmla="*/ 6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7" h="72">
                  <a:moveTo>
                    <a:pt x="47" y="72"/>
                  </a:moveTo>
                  <a:cubicBezTo>
                    <a:pt x="47" y="72"/>
                    <a:pt x="47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1" y="69"/>
                    <a:pt x="33" y="69"/>
                    <a:pt x="28" y="72"/>
                  </a:cubicBezTo>
                  <a:cubicBezTo>
                    <a:pt x="27" y="72"/>
                    <a:pt x="26" y="72"/>
                    <a:pt x="25" y="72"/>
                  </a:cubicBezTo>
                  <a:cubicBezTo>
                    <a:pt x="2" y="59"/>
                    <a:pt x="2" y="59"/>
                    <a:pt x="2" y="59"/>
                  </a:cubicBezTo>
                  <a:cubicBezTo>
                    <a:pt x="1" y="58"/>
                    <a:pt x="0" y="58"/>
                    <a:pt x="0" y="57"/>
                  </a:cubicBezTo>
                  <a:cubicBezTo>
                    <a:pt x="0" y="56"/>
                    <a:pt x="1" y="55"/>
                    <a:pt x="2" y="54"/>
                  </a:cubicBezTo>
                  <a:cubicBezTo>
                    <a:pt x="3" y="53"/>
                    <a:pt x="4" y="52"/>
                    <a:pt x="4" y="51"/>
                  </a:cubicBezTo>
                  <a:cubicBezTo>
                    <a:pt x="4" y="50"/>
                    <a:pt x="3" y="49"/>
                    <a:pt x="2" y="47"/>
                  </a:cubicBezTo>
                  <a:cubicBezTo>
                    <a:pt x="1" y="47"/>
                    <a:pt x="0" y="46"/>
                    <a:pt x="0" y="45"/>
                  </a:cubicBezTo>
                  <a:cubicBezTo>
                    <a:pt x="0" y="44"/>
                    <a:pt x="1" y="44"/>
                    <a:pt x="2" y="43"/>
                  </a:cubicBezTo>
                  <a:cubicBezTo>
                    <a:pt x="78" y="1"/>
                    <a:pt x="78" y="1"/>
                    <a:pt x="78" y="1"/>
                  </a:cubicBezTo>
                  <a:cubicBezTo>
                    <a:pt x="79" y="1"/>
                    <a:pt x="80" y="0"/>
                    <a:pt x="81" y="1"/>
                  </a:cubicBezTo>
                  <a:cubicBezTo>
                    <a:pt x="86" y="4"/>
                    <a:pt x="94" y="3"/>
                    <a:pt x="99" y="1"/>
                  </a:cubicBezTo>
                  <a:cubicBezTo>
                    <a:pt x="100" y="0"/>
                    <a:pt x="101" y="0"/>
                    <a:pt x="101" y="1"/>
                  </a:cubicBezTo>
                  <a:cubicBezTo>
                    <a:pt x="125" y="14"/>
                    <a:pt x="125" y="14"/>
                    <a:pt x="125" y="14"/>
                  </a:cubicBezTo>
                  <a:cubicBezTo>
                    <a:pt x="126" y="14"/>
                    <a:pt x="127" y="15"/>
                    <a:pt x="127" y="16"/>
                  </a:cubicBezTo>
                  <a:cubicBezTo>
                    <a:pt x="127" y="17"/>
                    <a:pt x="126" y="18"/>
                    <a:pt x="125" y="18"/>
                  </a:cubicBezTo>
                  <a:cubicBezTo>
                    <a:pt x="123" y="19"/>
                    <a:pt x="122" y="21"/>
                    <a:pt x="122" y="22"/>
                  </a:cubicBezTo>
                  <a:cubicBezTo>
                    <a:pt x="122" y="23"/>
                    <a:pt x="123" y="24"/>
                    <a:pt x="125" y="25"/>
                  </a:cubicBezTo>
                  <a:cubicBezTo>
                    <a:pt x="126" y="26"/>
                    <a:pt x="127" y="27"/>
                    <a:pt x="127" y="28"/>
                  </a:cubicBezTo>
                  <a:cubicBezTo>
                    <a:pt x="127" y="28"/>
                    <a:pt x="126" y="29"/>
                    <a:pt x="125" y="30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8" y="72"/>
                    <a:pt x="48" y="72"/>
                    <a:pt x="47" y="72"/>
                  </a:cubicBezTo>
                  <a:close/>
                  <a:moveTo>
                    <a:pt x="37" y="65"/>
                  </a:moveTo>
                  <a:cubicBezTo>
                    <a:pt x="41" y="65"/>
                    <a:pt x="44" y="66"/>
                    <a:pt x="47" y="67"/>
                  </a:cubicBezTo>
                  <a:cubicBezTo>
                    <a:pt x="120" y="27"/>
                    <a:pt x="120" y="27"/>
                    <a:pt x="120" y="27"/>
                  </a:cubicBezTo>
                  <a:cubicBezTo>
                    <a:pt x="118" y="26"/>
                    <a:pt x="117" y="24"/>
                    <a:pt x="117" y="22"/>
                  </a:cubicBezTo>
                  <a:cubicBezTo>
                    <a:pt x="117" y="20"/>
                    <a:pt x="118" y="18"/>
                    <a:pt x="120" y="16"/>
                  </a:cubicBezTo>
                  <a:cubicBezTo>
                    <a:pt x="100" y="6"/>
                    <a:pt x="100" y="6"/>
                    <a:pt x="100" y="6"/>
                  </a:cubicBezTo>
                  <a:cubicBezTo>
                    <a:pt x="94" y="8"/>
                    <a:pt x="86" y="8"/>
                    <a:pt x="80" y="6"/>
                  </a:cubicBezTo>
                  <a:cubicBezTo>
                    <a:pt x="7" y="46"/>
                    <a:pt x="7" y="46"/>
                    <a:pt x="7" y="46"/>
                  </a:cubicBezTo>
                  <a:cubicBezTo>
                    <a:pt x="9" y="47"/>
                    <a:pt x="9" y="49"/>
                    <a:pt x="9" y="51"/>
                  </a:cubicBezTo>
                  <a:cubicBezTo>
                    <a:pt x="9" y="53"/>
                    <a:pt x="9" y="55"/>
                    <a:pt x="7" y="56"/>
                  </a:cubicBezTo>
                  <a:cubicBezTo>
                    <a:pt x="27" y="67"/>
                    <a:pt x="27" y="67"/>
                    <a:pt x="27" y="67"/>
                  </a:cubicBezTo>
                  <a:cubicBezTo>
                    <a:pt x="30" y="66"/>
                    <a:pt x="33" y="65"/>
                    <a:pt x="37" y="6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5" name="Freeform 508">
              <a:extLst>
                <a:ext uri="{FF2B5EF4-FFF2-40B4-BE49-F238E27FC236}">
                  <a16:creationId xmlns:a16="http://schemas.microsoft.com/office/drawing/2014/main" id="{4C2DFF2F-F86F-0918-95C9-FAB22F69FBD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935127" y="3141667"/>
              <a:ext cx="42862" cy="36513"/>
            </a:xfrm>
            <a:custGeom>
              <a:avLst/>
              <a:gdLst>
                <a:gd name="T0" fmla="*/ 13 w 19"/>
                <a:gd name="T1" fmla="*/ 16 h 16"/>
                <a:gd name="T2" fmla="*/ 12 w 19"/>
                <a:gd name="T3" fmla="*/ 16 h 16"/>
                <a:gd name="T4" fmla="*/ 1 w 19"/>
                <a:gd name="T5" fmla="*/ 10 h 16"/>
                <a:gd name="T6" fmla="*/ 0 w 19"/>
                <a:gd name="T7" fmla="*/ 8 h 16"/>
                <a:gd name="T8" fmla="*/ 1 w 19"/>
                <a:gd name="T9" fmla="*/ 6 h 16"/>
                <a:gd name="T10" fmla="*/ 12 w 19"/>
                <a:gd name="T11" fmla="*/ 0 h 16"/>
                <a:gd name="T12" fmla="*/ 14 w 19"/>
                <a:gd name="T13" fmla="*/ 0 h 16"/>
                <a:gd name="T14" fmla="*/ 19 w 19"/>
                <a:gd name="T15" fmla="*/ 8 h 16"/>
                <a:gd name="T16" fmla="*/ 14 w 19"/>
                <a:gd name="T17" fmla="*/ 16 h 16"/>
                <a:gd name="T18" fmla="*/ 13 w 19"/>
                <a:gd name="T19" fmla="*/ 16 h 16"/>
                <a:gd name="T20" fmla="*/ 8 w 19"/>
                <a:gd name="T21" fmla="*/ 8 h 16"/>
                <a:gd name="T22" fmla="*/ 13 w 19"/>
                <a:gd name="T23" fmla="*/ 11 h 16"/>
                <a:gd name="T24" fmla="*/ 14 w 19"/>
                <a:gd name="T25" fmla="*/ 8 h 16"/>
                <a:gd name="T26" fmla="*/ 13 w 19"/>
                <a:gd name="T27" fmla="*/ 5 h 16"/>
                <a:gd name="T28" fmla="*/ 8 w 19"/>
                <a:gd name="T29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9" h="16">
                  <a:moveTo>
                    <a:pt x="13" y="16"/>
                  </a:moveTo>
                  <a:cubicBezTo>
                    <a:pt x="12" y="16"/>
                    <a:pt x="12" y="16"/>
                    <a:pt x="12" y="16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10"/>
                    <a:pt x="0" y="9"/>
                    <a:pt x="0" y="8"/>
                  </a:cubicBezTo>
                  <a:cubicBezTo>
                    <a:pt x="0" y="7"/>
                    <a:pt x="1" y="6"/>
                    <a:pt x="1" y="6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7" y="2"/>
                    <a:pt x="19" y="5"/>
                    <a:pt x="19" y="8"/>
                  </a:cubicBezTo>
                  <a:cubicBezTo>
                    <a:pt x="19" y="11"/>
                    <a:pt x="17" y="14"/>
                    <a:pt x="14" y="16"/>
                  </a:cubicBezTo>
                  <a:cubicBezTo>
                    <a:pt x="14" y="16"/>
                    <a:pt x="13" y="16"/>
                    <a:pt x="13" y="16"/>
                  </a:cubicBezTo>
                  <a:close/>
                  <a:moveTo>
                    <a:pt x="8" y="8"/>
                  </a:moveTo>
                  <a:cubicBezTo>
                    <a:pt x="13" y="11"/>
                    <a:pt x="13" y="11"/>
                    <a:pt x="13" y="11"/>
                  </a:cubicBezTo>
                  <a:cubicBezTo>
                    <a:pt x="14" y="10"/>
                    <a:pt x="14" y="9"/>
                    <a:pt x="14" y="8"/>
                  </a:cubicBezTo>
                  <a:cubicBezTo>
                    <a:pt x="14" y="7"/>
                    <a:pt x="14" y="6"/>
                    <a:pt x="13" y="5"/>
                  </a:cubicBezTo>
                  <a:lnTo>
                    <a:pt x="8" y="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6" name="Freeform 509">
              <a:extLst>
                <a:ext uri="{FF2B5EF4-FFF2-40B4-BE49-F238E27FC236}">
                  <a16:creationId xmlns:a16="http://schemas.microsoft.com/office/drawing/2014/main" id="{3DA53FCB-5D4E-E32D-8E7F-CFF159D9E46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857342" y="3189292"/>
              <a:ext cx="58737" cy="31750"/>
            </a:xfrm>
            <a:custGeom>
              <a:avLst/>
              <a:gdLst>
                <a:gd name="T0" fmla="*/ 13 w 26"/>
                <a:gd name="T1" fmla="*/ 14 h 14"/>
                <a:gd name="T2" fmla="*/ 12 w 26"/>
                <a:gd name="T3" fmla="*/ 14 h 14"/>
                <a:gd name="T4" fmla="*/ 1 w 26"/>
                <a:gd name="T5" fmla="*/ 8 h 14"/>
                <a:gd name="T6" fmla="*/ 0 w 26"/>
                <a:gd name="T7" fmla="*/ 6 h 14"/>
                <a:gd name="T8" fmla="*/ 1 w 26"/>
                <a:gd name="T9" fmla="*/ 3 h 14"/>
                <a:gd name="T10" fmla="*/ 25 w 26"/>
                <a:gd name="T11" fmla="*/ 4 h 14"/>
                <a:gd name="T12" fmla="*/ 25 w 26"/>
                <a:gd name="T13" fmla="*/ 4 h 14"/>
                <a:gd name="T14" fmla="*/ 26 w 26"/>
                <a:gd name="T15" fmla="*/ 6 h 14"/>
                <a:gd name="T16" fmla="*/ 25 w 26"/>
                <a:gd name="T17" fmla="*/ 8 h 14"/>
                <a:gd name="T18" fmla="*/ 14 w 26"/>
                <a:gd name="T19" fmla="*/ 14 h 14"/>
                <a:gd name="T20" fmla="*/ 13 w 26"/>
                <a:gd name="T21" fmla="*/ 14 h 14"/>
                <a:gd name="T22" fmla="*/ 9 w 26"/>
                <a:gd name="T23" fmla="*/ 6 h 14"/>
                <a:gd name="T24" fmla="*/ 13 w 26"/>
                <a:gd name="T25" fmla="*/ 9 h 14"/>
                <a:gd name="T26" fmla="*/ 17 w 26"/>
                <a:gd name="T27" fmla="*/ 6 h 14"/>
                <a:gd name="T28" fmla="*/ 9 w 26"/>
                <a:gd name="T29" fmla="*/ 6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14">
                  <a:moveTo>
                    <a:pt x="13" y="14"/>
                  </a:moveTo>
                  <a:cubicBezTo>
                    <a:pt x="13" y="14"/>
                    <a:pt x="12" y="14"/>
                    <a:pt x="12" y="14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7"/>
                    <a:pt x="0" y="7"/>
                    <a:pt x="0" y="6"/>
                  </a:cubicBezTo>
                  <a:cubicBezTo>
                    <a:pt x="0" y="5"/>
                    <a:pt x="1" y="4"/>
                    <a:pt x="1" y="3"/>
                  </a:cubicBezTo>
                  <a:cubicBezTo>
                    <a:pt x="8" y="0"/>
                    <a:pt x="18" y="0"/>
                    <a:pt x="25" y="4"/>
                  </a:cubicBezTo>
                  <a:cubicBezTo>
                    <a:pt x="25" y="4"/>
                    <a:pt x="25" y="4"/>
                    <a:pt x="25" y="4"/>
                  </a:cubicBezTo>
                  <a:cubicBezTo>
                    <a:pt x="26" y="4"/>
                    <a:pt x="26" y="5"/>
                    <a:pt x="26" y="6"/>
                  </a:cubicBezTo>
                  <a:cubicBezTo>
                    <a:pt x="26" y="7"/>
                    <a:pt x="25" y="8"/>
                    <a:pt x="25" y="8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4" y="14"/>
                    <a:pt x="14" y="14"/>
                    <a:pt x="13" y="14"/>
                  </a:cubicBezTo>
                  <a:close/>
                  <a:moveTo>
                    <a:pt x="9" y="6"/>
                  </a:moveTo>
                  <a:cubicBezTo>
                    <a:pt x="13" y="9"/>
                    <a:pt x="13" y="9"/>
                    <a:pt x="13" y="9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5" y="6"/>
                    <a:pt x="12" y="6"/>
                    <a:pt x="9" y="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7" name="Freeform 510">
              <a:extLst>
                <a:ext uri="{FF2B5EF4-FFF2-40B4-BE49-F238E27FC236}">
                  <a16:creationId xmlns:a16="http://schemas.microsoft.com/office/drawing/2014/main" id="{58E3DF13-CB06-790A-CC66-180C7E403DE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738281" y="3033717"/>
              <a:ext cx="58737" cy="28575"/>
            </a:xfrm>
            <a:custGeom>
              <a:avLst/>
              <a:gdLst>
                <a:gd name="T0" fmla="*/ 13 w 26"/>
                <a:gd name="T1" fmla="*/ 13 h 13"/>
                <a:gd name="T2" fmla="*/ 2 w 26"/>
                <a:gd name="T3" fmla="*/ 10 h 13"/>
                <a:gd name="T4" fmla="*/ 0 w 26"/>
                <a:gd name="T5" fmla="*/ 8 h 13"/>
                <a:gd name="T6" fmla="*/ 1 w 26"/>
                <a:gd name="T7" fmla="*/ 6 h 13"/>
                <a:gd name="T8" fmla="*/ 12 w 26"/>
                <a:gd name="T9" fmla="*/ 0 h 13"/>
                <a:gd name="T10" fmla="*/ 14 w 26"/>
                <a:gd name="T11" fmla="*/ 0 h 13"/>
                <a:gd name="T12" fmla="*/ 24 w 26"/>
                <a:gd name="T13" fmla="*/ 6 h 13"/>
                <a:gd name="T14" fmla="*/ 26 w 26"/>
                <a:gd name="T15" fmla="*/ 8 h 13"/>
                <a:gd name="T16" fmla="*/ 24 w 26"/>
                <a:gd name="T17" fmla="*/ 10 h 13"/>
                <a:gd name="T18" fmla="*/ 13 w 26"/>
                <a:gd name="T19" fmla="*/ 13 h 13"/>
                <a:gd name="T20" fmla="*/ 9 w 26"/>
                <a:gd name="T21" fmla="*/ 7 h 13"/>
                <a:gd name="T22" fmla="*/ 17 w 26"/>
                <a:gd name="T23" fmla="*/ 7 h 13"/>
                <a:gd name="T24" fmla="*/ 13 w 26"/>
                <a:gd name="T25" fmla="*/ 5 h 13"/>
                <a:gd name="T26" fmla="*/ 9 w 26"/>
                <a:gd name="T27" fmla="*/ 7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" h="13">
                  <a:moveTo>
                    <a:pt x="13" y="13"/>
                  </a:moveTo>
                  <a:cubicBezTo>
                    <a:pt x="9" y="13"/>
                    <a:pt x="5" y="12"/>
                    <a:pt x="2" y="10"/>
                  </a:cubicBezTo>
                  <a:cubicBezTo>
                    <a:pt x="1" y="10"/>
                    <a:pt x="0" y="9"/>
                    <a:pt x="0" y="8"/>
                  </a:cubicBezTo>
                  <a:cubicBezTo>
                    <a:pt x="0" y="7"/>
                    <a:pt x="1" y="6"/>
                    <a:pt x="1" y="6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3" y="0"/>
                    <a:pt x="14" y="0"/>
                    <a:pt x="14" y="0"/>
                  </a:cubicBezTo>
                  <a:cubicBezTo>
                    <a:pt x="24" y="6"/>
                    <a:pt x="24" y="6"/>
                    <a:pt x="24" y="6"/>
                  </a:cubicBezTo>
                  <a:cubicBezTo>
                    <a:pt x="25" y="6"/>
                    <a:pt x="26" y="7"/>
                    <a:pt x="26" y="8"/>
                  </a:cubicBezTo>
                  <a:cubicBezTo>
                    <a:pt x="26" y="9"/>
                    <a:pt x="25" y="10"/>
                    <a:pt x="24" y="10"/>
                  </a:cubicBezTo>
                  <a:cubicBezTo>
                    <a:pt x="21" y="12"/>
                    <a:pt x="17" y="13"/>
                    <a:pt x="13" y="13"/>
                  </a:cubicBezTo>
                  <a:close/>
                  <a:moveTo>
                    <a:pt x="9" y="7"/>
                  </a:moveTo>
                  <a:cubicBezTo>
                    <a:pt x="12" y="8"/>
                    <a:pt x="15" y="8"/>
                    <a:pt x="17" y="7"/>
                  </a:cubicBezTo>
                  <a:cubicBezTo>
                    <a:pt x="13" y="5"/>
                    <a:pt x="13" y="5"/>
                    <a:pt x="13" y="5"/>
                  </a:cubicBezTo>
                  <a:lnTo>
                    <a:pt x="9" y="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8" name="Freeform 511">
              <a:extLst>
                <a:ext uri="{FF2B5EF4-FFF2-40B4-BE49-F238E27FC236}">
                  <a16:creationId xmlns:a16="http://schemas.microsoft.com/office/drawing/2014/main" id="{F2F713BE-591C-0F5B-3B3C-DEDEAE0C7C9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647795" y="3073404"/>
              <a:ext cx="44449" cy="39688"/>
            </a:xfrm>
            <a:custGeom>
              <a:avLst/>
              <a:gdLst>
                <a:gd name="T0" fmla="*/ 7 w 20"/>
                <a:gd name="T1" fmla="*/ 17 h 17"/>
                <a:gd name="T2" fmla="*/ 6 w 20"/>
                <a:gd name="T3" fmla="*/ 17 h 17"/>
                <a:gd name="T4" fmla="*/ 0 w 20"/>
                <a:gd name="T5" fmla="*/ 9 h 17"/>
                <a:gd name="T6" fmla="*/ 6 w 20"/>
                <a:gd name="T7" fmla="*/ 1 h 17"/>
                <a:gd name="T8" fmla="*/ 8 w 20"/>
                <a:gd name="T9" fmla="*/ 1 h 17"/>
                <a:gd name="T10" fmla="*/ 19 w 20"/>
                <a:gd name="T11" fmla="*/ 7 h 17"/>
                <a:gd name="T12" fmla="*/ 20 w 20"/>
                <a:gd name="T13" fmla="*/ 9 h 17"/>
                <a:gd name="T14" fmla="*/ 19 w 20"/>
                <a:gd name="T15" fmla="*/ 11 h 17"/>
                <a:gd name="T16" fmla="*/ 8 w 20"/>
                <a:gd name="T17" fmla="*/ 17 h 17"/>
                <a:gd name="T18" fmla="*/ 7 w 20"/>
                <a:gd name="T19" fmla="*/ 17 h 17"/>
                <a:gd name="T20" fmla="*/ 7 w 20"/>
                <a:gd name="T21" fmla="*/ 6 h 17"/>
                <a:gd name="T22" fmla="*/ 5 w 20"/>
                <a:gd name="T23" fmla="*/ 9 h 17"/>
                <a:gd name="T24" fmla="*/ 7 w 20"/>
                <a:gd name="T25" fmla="*/ 12 h 17"/>
                <a:gd name="T26" fmla="*/ 13 w 20"/>
                <a:gd name="T27" fmla="*/ 9 h 17"/>
                <a:gd name="T28" fmla="*/ 7 w 20"/>
                <a:gd name="T29" fmla="*/ 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" h="17">
                  <a:moveTo>
                    <a:pt x="7" y="17"/>
                  </a:moveTo>
                  <a:cubicBezTo>
                    <a:pt x="7" y="17"/>
                    <a:pt x="6" y="17"/>
                    <a:pt x="6" y="17"/>
                  </a:cubicBezTo>
                  <a:cubicBezTo>
                    <a:pt x="2" y="15"/>
                    <a:pt x="0" y="12"/>
                    <a:pt x="0" y="9"/>
                  </a:cubicBezTo>
                  <a:cubicBezTo>
                    <a:pt x="0" y="6"/>
                    <a:pt x="2" y="3"/>
                    <a:pt x="6" y="1"/>
                  </a:cubicBezTo>
                  <a:cubicBezTo>
                    <a:pt x="7" y="0"/>
                    <a:pt x="8" y="0"/>
                    <a:pt x="8" y="1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20" y="7"/>
                    <a:pt x="20" y="8"/>
                    <a:pt x="20" y="9"/>
                  </a:cubicBezTo>
                  <a:cubicBezTo>
                    <a:pt x="20" y="10"/>
                    <a:pt x="20" y="11"/>
                    <a:pt x="19" y="11"/>
                  </a:cubicBezTo>
                  <a:cubicBezTo>
                    <a:pt x="8" y="17"/>
                    <a:pt x="8" y="17"/>
                    <a:pt x="8" y="17"/>
                  </a:cubicBezTo>
                  <a:cubicBezTo>
                    <a:pt x="8" y="17"/>
                    <a:pt x="8" y="17"/>
                    <a:pt x="7" y="17"/>
                  </a:cubicBezTo>
                  <a:close/>
                  <a:moveTo>
                    <a:pt x="7" y="6"/>
                  </a:moveTo>
                  <a:cubicBezTo>
                    <a:pt x="6" y="7"/>
                    <a:pt x="5" y="8"/>
                    <a:pt x="5" y="9"/>
                  </a:cubicBezTo>
                  <a:cubicBezTo>
                    <a:pt x="5" y="10"/>
                    <a:pt x="6" y="11"/>
                    <a:pt x="7" y="12"/>
                  </a:cubicBezTo>
                  <a:cubicBezTo>
                    <a:pt x="13" y="9"/>
                    <a:pt x="13" y="9"/>
                    <a:pt x="13" y="9"/>
                  </a:cubicBezTo>
                  <a:lnTo>
                    <a:pt x="7" y="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9" name="Freeform 512">
              <a:extLst>
                <a:ext uri="{FF2B5EF4-FFF2-40B4-BE49-F238E27FC236}">
                  <a16:creationId xmlns:a16="http://schemas.microsoft.com/office/drawing/2014/main" id="{D991A6CD-610F-7B7F-E26C-B1787C29A63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844642" y="3078167"/>
              <a:ext cx="153985" cy="93663"/>
            </a:xfrm>
            <a:custGeom>
              <a:avLst/>
              <a:gdLst>
                <a:gd name="T0" fmla="*/ 34 w 68"/>
                <a:gd name="T1" fmla="*/ 41 h 41"/>
                <a:gd name="T2" fmla="*/ 10 w 68"/>
                <a:gd name="T3" fmla="*/ 36 h 41"/>
                <a:gd name="T4" fmla="*/ 0 w 68"/>
                <a:gd name="T5" fmla="*/ 21 h 41"/>
                <a:gd name="T6" fmla="*/ 10 w 68"/>
                <a:gd name="T7" fmla="*/ 7 h 41"/>
                <a:gd name="T8" fmla="*/ 57 w 68"/>
                <a:gd name="T9" fmla="*/ 7 h 41"/>
                <a:gd name="T10" fmla="*/ 57 w 68"/>
                <a:gd name="T11" fmla="*/ 7 h 41"/>
                <a:gd name="T12" fmla="*/ 68 w 68"/>
                <a:gd name="T13" fmla="*/ 21 h 41"/>
                <a:gd name="T14" fmla="*/ 57 w 68"/>
                <a:gd name="T15" fmla="*/ 36 h 41"/>
                <a:gd name="T16" fmla="*/ 34 w 68"/>
                <a:gd name="T17" fmla="*/ 41 h 41"/>
                <a:gd name="T18" fmla="*/ 34 w 68"/>
                <a:gd name="T19" fmla="*/ 6 h 41"/>
                <a:gd name="T20" fmla="*/ 12 w 68"/>
                <a:gd name="T21" fmla="*/ 11 h 41"/>
                <a:gd name="T22" fmla="*/ 5 w 68"/>
                <a:gd name="T23" fmla="*/ 21 h 41"/>
                <a:gd name="T24" fmla="*/ 12 w 68"/>
                <a:gd name="T25" fmla="*/ 32 h 41"/>
                <a:gd name="T26" fmla="*/ 55 w 68"/>
                <a:gd name="T27" fmla="*/ 32 h 41"/>
                <a:gd name="T28" fmla="*/ 63 w 68"/>
                <a:gd name="T29" fmla="*/ 21 h 41"/>
                <a:gd name="T30" fmla="*/ 55 w 68"/>
                <a:gd name="T31" fmla="*/ 11 h 41"/>
                <a:gd name="T32" fmla="*/ 34 w 68"/>
                <a:gd name="T33" fmla="*/ 6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8" h="41">
                  <a:moveTo>
                    <a:pt x="34" y="41"/>
                  </a:moveTo>
                  <a:cubicBezTo>
                    <a:pt x="25" y="41"/>
                    <a:pt x="17" y="39"/>
                    <a:pt x="10" y="36"/>
                  </a:cubicBezTo>
                  <a:cubicBezTo>
                    <a:pt x="3" y="32"/>
                    <a:pt x="0" y="27"/>
                    <a:pt x="0" y="21"/>
                  </a:cubicBezTo>
                  <a:cubicBezTo>
                    <a:pt x="0" y="16"/>
                    <a:pt x="3" y="11"/>
                    <a:pt x="10" y="7"/>
                  </a:cubicBezTo>
                  <a:cubicBezTo>
                    <a:pt x="23" y="0"/>
                    <a:pt x="44" y="0"/>
                    <a:pt x="57" y="7"/>
                  </a:cubicBezTo>
                  <a:cubicBezTo>
                    <a:pt x="57" y="7"/>
                    <a:pt x="57" y="7"/>
                    <a:pt x="57" y="7"/>
                  </a:cubicBezTo>
                  <a:cubicBezTo>
                    <a:pt x="64" y="11"/>
                    <a:pt x="68" y="16"/>
                    <a:pt x="68" y="21"/>
                  </a:cubicBezTo>
                  <a:cubicBezTo>
                    <a:pt x="68" y="27"/>
                    <a:pt x="64" y="32"/>
                    <a:pt x="57" y="36"/>
                  </a:cubicBezTo>
                  <a:cubicBezTo>
                    <a:pt x="51" y="39"/>
                    <a:pt x="42" y="41"/>
                    <a:pt x="34" y="41"/>
                  </a:cubicBezTo>
                  <a:close/>
                  <a:moveTo>
                    <a:pt x="34" y="6"/>
                  </a:moveTo>
                  <a:cubicBezTo>
                    <a:pt x="26" y="6"/>
                    <a:pt x="18" y="8"/>
                    <a:pt x="12" y="11"/>
                  </a:cubicBezTo>
                  <a:cubicBezTo>
                    <a:pt x="7" y="14"/>
                    <a:pt x="5" y="18"/>
                    <a:pt x="5" y="21"/>
                  </a:cubicBezTo>
                  <a:cubicBezTo>
                    <a:pt x="5" y="25"/>
                    <a:pt x="7" y="29"/>
                    <a:pt x="12" y="32"/>
                  </a:cubicBezTo>
                  <a:cubicBezTo>
                    <a:pt x="24" y="38"/>
                    <a:pt x="43" y="38"/>
                    <a:pt x="55" y="32"/>
                  </a:cubicBezTo>
                  <a:cubicBezTo>
                    <a:pt x="60" y="29"/>
                    <a:pt x="63" y="25"/>
                    <a:pt x="63" y="21"/>
                  </a:cubicBezTo>
                  <a:cubicBezTo>
                    <a:pt x="63" y="18"/>
                    <a:pt x="60" y="14"/>
                    <a:pt x="55" y="11"/>
                  </a:cubicBezTo>
                  <a:cubicBezTo>
                    <a:pt x="49" y="8"/>
                    <a:pt x="41" y="6"/>
                    <a:pt x="34" y="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0" name="Freeform 513">
              <a:extLst>
                <a:ext uri="{FF2B5EF4-FFF2-40B4-BE49-F238E27FC236}">
                  <a16:creationId xmlns:a16="http://schemas.microsoft.com/office/drawing/2014/main" id="{1E485156-9EDE-EF3C-A8B5-F9913662C807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35126" y="3087692"/>
              <a:ext cx="331782" cy="166688"/>
            </a:xfrm>
            <a:custGeom>
              <a:avLst/>
              <a:gdLst>
                <a:gd name="T0" fmla="*/ 47 w 147"/>
                <a:gd name="T1" fmla="*/ 74 h 74"/>
                <a:gd name="T2" fmla="*/ 46 w 147"/>
                <a:gd name="T3" fmla="*/ 74 h 74"/>
                <a:gd name="T4" fmla="*/ 1 w 147"/>
                <a:gd name="T5" fmla="*/ 49 h 74"/>
                <a:gd name="T6" fmla="*/ 0 w 147"/>
                <a:gd name="T7" fmla="*/ 47 h 74"/>
                <a:gd name="T8" fmla="*/ 0 w 147"/>
                <a:gd name="T9" fmla="*/ 32 h 74"/>
                <a:gd name="T10" fmla="*/ 3 w 147"/>
                <a:gd name="T11" fmla="*/ 30 h 74"/>
                <a:gd name="T12" fmla="*/ 5 w 147"/>
                <a:gd name="T13" fmla="*/ 32 h 74"/>
                <a:gd name="T14" fmla="*/ 5 w 147"/>
                <a:gd name="T15" fmla="*/ 46 h 74"/>
                <a:gd name="T16" fmla="*/ 47 w 147"/>
                <a:gd name="T17" fmla="*/ 69 h 74"/>
                <a:gd name="T18" fmla="*/ 142 w 147"/>
                <a:gd name="T19" fmla="*/ 17 h 74"/>
                <a:gd name="T20" fmla="*/ 142 w 147"/>
                <a:gd name="T21" fmla="*/ 3 h 74"/>
                <a:gd name="T22" fmla="*/ 145 w 147"/>
                <a:gd name="T23" fmla="*/ 0 h 74"/>
                <a:gd name="T24" fmla="*/ 147 w 147"/>
                <a:gd name="T25" fmla="*/ 3 h 74"/>
                <a:gd name="T26" fmla="*/ 147 w 147"/>
                <a:gd name="T27" fmla="*/ 18 h 74"/>
                <a:gd name="T28" fmla="*/ 146 w 147"/>
                <a:gd name="T29" fmla="*/ 20 h 74"/>
                <a:gd name="T30" fmla="*/ 48 w 147"/>
                <a:gd name="T31" fmla="*/ 74 h 74"/>
                <a:gd name="T32" fmla="*/ 47 w 147"/>
                <a:gd name="T33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47" h="74">
                  <a:moveTo>
                    <a:pt x="47" y="74"/>
                  </a:moveTo>
                  <a:cubicBezTo>
                    <a:pt x="47" y="74"/>
                    <a:pt x="46" y="74"/>
                    <a:pt x="46" y="74"/>
                  </a:cubicBezTo>
                  <a:cubicBezTo>
                    <a:pt x="1" y="49"/>
                    <a:pt x="1" y="49"/>
                    <a:pt x="1" y="49"/>
                  </a:cubicBezTo>
                  <a:cubicBezTo>
                    <a:pt x="1" y="49"/>
                    <a:pt x="0" y="48"/>
                    <a:pt x="0" y="47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1"/>
                    <a:pt x="1" y="30"/>
                    <a:pt x="3" y="30"/>
                  </a:cubicBezTo>
                  <a:cubicBezTo>
                    <a:pt x="4" y="30"/>
                    <a:pt x="5" y="31"/>
                    <a:pt x="5" y="32"/>
                  </a:cubicBezTo>
                  <a:cubicBezTo>
                    <a:pt x="5" y="46"/>
                    <a:pt x="5" y="46"/>
                    <a:pt x="5" y="46"/>
                  </a:cubicBezTo>
                  <a:cubicBezTo>
                    <a:pt x="47" y="69"/>
                    <a:pt x="47" y="69"/>
                    <a:pt x="47" y="69"/>
                  </a:cubicBezTo>
                  <a:cubicBezTo>
                    <a:pt x="142" y="17"/>
                    <a:pt x="142" y="17"/>
                    <a:pt x="142" y="17"/>
                  </a:cubicBezTo>
                  <a:cubicBezTo>
                    <a:pt x="142" y="3"/>
                    <a:pt x="142" y="3"/>
                    <a:pt x="142" y="3"/>
                  </a:cubicBezTo>
                  <a:cubicBezTo>
                    <a:pt x="142" y="2"/>
                    <a:pt x="143" y="0"/>
                    <a:pt x="145" y="0"/>
                  </a:cubicBezTo>
                  <a:cubicBezTo>
                    <a:pt x="146" y="0"/>
                    <a:pt x="147" y="2"/>
                    <a:pt x="147" y="3"/>
                  </a:cubicBezTo>
                  <a:cubicBezTo>
                    <a:pt x="147" y="18"/>
                    <a:pt x="147" y="18"/>
                    <a:pt x="147" y="18"/>
                  </a:cubicBezTo>
                  <a:cubicBezTo>
                    <a:pt x="147" y="19"/>
                    <a:pt x="147" y="20"/>
                    <a:pt x="146" y="20"/>
                  </a:cubicBezTo>
                  <a:cubicBezTo>
                    <a:pt x="48" y="74"/>
                    <a:pt x="48" y="74"/>
                    <a:pt x="48" y="74"/>
                  </a:cubicBezTo>
                  <a:cubicBezTo>
                    <a:pt x="48" y="74"/>
                    <a:pt x="48" y="74"/>
                    <a:pt x="47" y="7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1" name="Freeform 514">
              <a:extLst>
                <a:ext uri="{FF2B5EF4-FFF2-40B4-BE49-F238E27FC236}">
                  <a16:creationId xmlns:a16="http://schemas.microsoft.com/office/drawing/2014/main" id="{C1AD5F01-BC45-493B-5A93-91AB7ABAFEE9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33528" y="3209931"/>
              <a:ext cx="11113" cy="44450"/>
            </a:xfrm>
            <a:custGeom>
              <a:avLst/>
              <a:gdLst>
                <a:gd name="T0" fmla="*/ 2 w 5"/>
                <a:gd name="T1" fmla="*/ 20 h 20"/>
                <a:gd name="T2" fmla="*/ 0 w 5"/>
                <a:gd name="T3" fmla="*/ 18 h 20"/>
                <a:gd name="T4" fmla="*/ 0 w 5"/>
                <a:gd name="T5" fmla="*/ 3 h 20"/>
                <a:gd name="T6" fmla="*/ 2 w 5"/>
                <a:gd name="T7" fmla="*/ 0 h 20"/>
                <a:gd name="T8" fmla="*/ 5 w 5"/>
                <a:gd name="T9" fmla="*/ 3 h 20"/>
                <a:gd name="T10" fmla="*/ 5 w 5"/>
                <a:gd name="T11" fmla="*/ 18 h 20"/>
                <a:gd name="T12" fmla="*/ 2 w 5"/>
                <a:gd name="T13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20">
                  <a:moveTo>
                    <a:pt x="2" y="20"/>
                  </a:moveTo>
                  <a:cubicBezTo>
                    <a:pt x="1" y="20"/>
                    <a:pt x="0" y="19"/>
                    <a:pt x="0" y="1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4" y="0"/>
                    <a:pt x="5" y="1"/>
                    <a:pt x="5" y="3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2" name="Freeform 515">
              <a:extLst>
                <a:ext uri="{FF2B5EF4-FFF2-40B4-BE49-F238E27FC236}">
                  <a16:creationId xmlns:a16="http://schemas.microsoft.com/office/drawing/2014/main" id="{7EB5B87C-EE23-4035-DD05-5E2753B732E3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71649" y="3019431"/>
              <a:ext cx="330194" cy="168275"/>
            </a:xfrm>
            <a:custGeom>
              <a:avLst/>
              <a:gdLst>
                <a:gd name="T0" fmla="*/ 47 w 147"/>
                <a:gd name="T1" fmla="*/ 74 h 74"/>
                <a:gd name="T2" fmla="*/ 46 w 147"/>
                <a:gd name="T3" fmla="*/ 73 h 74"/>
                <a:gd name="T4" fmla="*/ 1 w 147"/>
                <a:gd name="T5" fmla="*/ 49 h 74"/>
                <a:gd name="T6" fmla="*/ 0 w 147"/>
                <a:gd name="T7" fmla="*/ 47 h 74"/>
                <a:gd name="T8" fmla="*/ 0 w 147"/>
                <a:gd name="T9" fmla="*/ 31 h 74"/>
                <a:gd name="T10" fmla="*/ 2 w 147"/>
                <a:gd name="T11" fmla="*/ 29 h 74"/>
                <a:gd name="T12" fmla="*/ 5 w 147"/>
                <a:gd name="T13" fmla="*/ 31 h 74"/>
                <a:gd name="T14" fmla="*/ 5 w 147"/>
                <a:gd name="T15" fmla="*/ 45 h 74"/>
                <a:gd name="T16" fmla="*/ 47 w 147"/>
                <a:gd name="T17" fmla="*/ 68 h 74"/>
                <a:gd name="T18" fmla="*/ 142 w 147"/>
                <a:gd name="T19" fmla="*/ 16 h 74"/>
                <a:gd name="T20" fmla="*/ 142 w 147"/>
                <a:gd name="T21" fmla="*/ 2 h 74"/>
                <a:gd name="T22" fmla="*/ 144 w 147"/>
                <a:gd name="T23" fmla="*/ 0 h 74"/>
                <a:gd name="T24" fmla="*/ 147 w 147"/>
                <a:gd name="T25" fmla="*/ 2 h 74"/>
                <a:gd name="T26" fmla="*/ 147 w 147"/>
                <a:gd name="T27" fmla="*/ 17 h 74"/>
                <a:gd name="T28" fmla="*/ 146 w 147"/>
                <a:gd name="T29" fmla="*/ 20 h 74"/>
                <a:gd name="T30" fmla="*/ 48 w 147"/>
                <a:gd name="T31" fmla="*/ 73 h 74"/>
                <a:gd name="T32" fmla="*/ 47 w 147"/>
                <a:gd name="T33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47" h="74">
                  <a:moveTo>
                    <a:pt x="47" y="74"/>
                  </a:moveTo>
                  <a:cubicBezTo>
                    <a:pt x="46" y="74"/>
                    <a:pt x="46" y="73"/>
                    <a:pt x="46" y="73"/>
                  </a:cubicBezTo>
                  <a:cubicBezTo>
                    <a:pt x="1" y="49"/>
                    <a:pt x="1" y="49"/>
                    <a:pt x="1" y="49"/>
                  </a:cubicBezTo>
                  <a:cubicBezTo>
                    <a:pt x="0" y="48"/>
                    <a:pt x="0" y="47"/>
                    <a:pt x="0" y="47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0"/>
                    <a:pt x="1" y="29"/>
                    <a:pt x="2" y="29"/>
                  </a:cubicBezTo>
                  <a:cubicBezTo>
                    <a:pt x="4" y="29"/>
                    <a:pt x="5" y="30"/>
                    <a:pt x="5" y="31"/>
                  </a:cubicBezTo>
                  <a:cubicBezTo>
                    <a:pt x="5" y="45"/>
                    <a:pt x="5" y="45"/>
                    <a:pt x="5" y="45"/>
                  </a:cubicBezTo>
                  <a:cubicBezTo>
                    <a:pt x="47" y="68"/>
                    <a:pt x="47" y="68"/>
                    <a:pt x="47" y="68"/>
                  </a:cubicBezTo>
                  <a:cubicBezTo>
                    <a:pt x="142" y="16"/>
                    <a:pt x="142" y="16"/>
                    <a:pt x="142" y="16"/>
                  </a:cubicBezTo>
                  <a:cubicBezTo>
                    <a:pt x="142" y="2"/>
                    <a:pt x="142" y="2"/>
                    <a:pt x="142" y="2"/>
                  </a:cubicBezTo>
                  <a:cubicBezTo>
                    <a:pt x="142" y="1"/>
                    <a:pt x="143" y="0"/>
                    <a:pt x="144" y="0"/>
                  </a:cubicBezTo>
                  <a:cubicBezTo>
                    <a:pt x="146" y="0"/>
                    <a:pt x="147" y="1"/>
                    <a:pt x="147" y="2"/>
                  </a:cubicBezTo>
                  <a:cubicBezTo>
                    <a:pt x="147" y="17"/>
                    <a:pt x="147" y="17"/>
                    <a:pt x="147" y="17"/>
                  </a:cubicBezTo>
                  <a:cubicBezTo>
                    <a:pt x="147" y="18"/>
                    <a:pt x="146" y="19"/>
                    <a:pt x="146" y="20"/>
                  </a:cubicBezTo>
                  <a:cubicBezTo>
                    <a:pt x="48" y="73"/>
                    <a:pt x="48" y="73"/>
                    <a:pt x="48" y="73"/>
                  </a:cubicBezTo>
                  <a:cubicBezTo>
                    <a:pt x="48" y="73"/>
                    <a:pt x="47" y="74"/>
                    <a:pt x="47" y="7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3" name="Freeform 516">
              <a:extLst>
                <a:ext uri="{FF2B5EF4-FFF2-40B4-BE49-F238E27FC236}">
                  <a16:creationId xmlns:a16="http://schemas.microsoft.com/office/drawing/2014/main" id="{FC138533-D03F-B299-9358-3CE0F9D8C9AB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73226" y="3140081"/>
              <a:ext cx="11113" cy="47625"/>
            </a:xfrm>
            <a:custGeom>
              <a:avLst/>
              <a:gdLst>
                <a:gd name="T0" fmla="*/ 3 w 5"/>
                <a:gd name="T1" fmla="*/ 21 h 21"/>
                <a:gd name="T2" fmla="*/ 0 w 5"/>
                <a:gd name="T3" fmla="*/ 18 h 21"/>
                <a:gd name="T4" fmla="*/ 0 w 5"/>
                <a:gd name="T5" fmla="*/ 3 h 21"/>
                <a:gd name="T6" fmla="*/ 3 w 5"/>
                <a:gd name="T7" fmla="*/ 0 h 21"/>
                <a:gd name="T8" fmla="*/ 5 w 5"/>
                <a:gd name="T9" fmla="*/ 3 h 21"/>
                <a:gd name="T10" fmla="*/ 5 w 5"/>
                <a:gd name="T11" fmla="*/ 18 h 21"/>
                <a:gd name="T12" fmla="*/ 3 w 5"/>
                <a:gd name="T13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21">
                  <a:moveTo>
                    <a:pt x="3" y="21"/>
                  </a:moveTo>
                  <a:cubicBezTo>
                    <a:pt x="2" y="21"/>
                    <a:pt x="0" y="19"/>
                    <a:pt x="0" y="1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4" y="0"/>
                    <a:pt x="5" y="1"/>
                    <a:pt x="5" y="3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1"/>
                    <a:pt x="3" y="2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4" name="Freeform 517">
              <a:extLst>
                <a:ext uri="{FF2B5EF4-FFF2-40B4-BE49-F238E27FC236}">
                  <a16:creationId xmlns:a16="http://schemas.microsoft.com/office/drawing/2014/main" id="{8BF23DB7-E5E8-3A02-0C0C-B0DD7752D498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71649" y="2982921"/>
              <a:ext cx="330194" cy="168275"/>
            </a:xfrm>
            <a:custGeom>
              <a:avLst/>
              <a:gdLst>
                <a:gd name="T0" fmla="*/ 47 w 147"/>
                <a:gd name="T1" fmla="*/ 74 h 74"/>
                <a:gd name="T2" fmla="*/ 46 w 147"/>
                <a:gd name="T3" fmla="*/ 74 h 74"/>
                <a:gd name="T4" fmla="*/ 1 w 147"/>
                <a:gd name="T5" fmla="*/ 49 h 74"/>
                <a:gd name="T6" fmla="*/ 0 w 147"/>
                <a:gd name="T7" fmla="*/ 47 h 74"/>
                <a:gd name="T8" fmla="*/ 0 w 147"/>
                <a:gd name="T9" fmla="*/ 32 h 74"/>
                <a:gd name="T10" fmla="*/ 2 w 147"/>
                <a:gd name="T11" fmla="*/ 29 h 74"/>
                <a:gd name="T12" fmla="*/ 5 w 147"/>
                <a:gd name="T13" fmla="*/ 32 h 74"/>
                <a:gd name="T14" fmla="*/ 5 w 147"/>
                <a:gd name="T15" fmla="*/ 46 h 74"/>
                <a:gd name="T16" fmla="*/ 47 w 147"/>
                <a:gd name="T17" fmla="*/ 69 h 74"/>
                <a:gd name="T18" fmla="*/ 142 w 147"/>
                <a:gd name="T19" fmla="*/ 17 h 74"/>
                <a:gd name="T20" fmla="*/ 142 w 147"/>
                <a:gd name="T21" fmla="*/ 3 h 74"/>
                <a:gd name="T22" fmla="*/ 144 w 147"/>
                <a:gd name="T23" fmla="*/ 0 h 74"/>
                <a:gd name="T24" fmla="*/ 147 w 147"/>
                <a:gd name="T25" fmla="*/ 3 h 74"/>
                <a:gd name="T26" fmla="*/ 147 w 147"/>
                <a:gd name="T27" fmla="*/ 18 h 74"/>
                <a:gd name="T28" fmla="*/ 146 w 147"/>
                <a:gd name="T29" fmla="*/ 20 h 74"/>
                <a:gd name="T30" fmla="*/ 48 w 147"/>
                <a:gd name="T31" fmla="*/ 74 h 74"/>
                <a:gd name="T32" fmla="*/ 47 w 147"/>
                <a:gd name="T33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47" h="74">
                  <a:moveTo>
                    <a:pt x="47" y="74"/>
                  </a:moveTo>
                  <a:cubicBezTo>
                    <a:pt x="46" y="74"/>
                    <a:pt x="46" y="74"/>
                    <a:pt x="46" y="74"/>
                  </a:cubicBezTo>
                  <a:cubicBezTo>
                    <a:pt x="1" y="49"/>
                    <a:pt x="1" y="49"/>
                    <a:pt x="1" y="49"/>
                  </a:cubicBezTo>
                  <a:cubicBezTo>
                    <a:pt x="0" y="49"/>
                    <a:pt x="0" y="48"/>
                    <a:pt x="0" y="47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1"/>
                    <a:pt x="1" y="29"/>
                    <a:pt x="2" y="29"/>
                  </a:cubicBezTo>
                  <a:cubicBezTo>
                    <a:pt x="4" y="29"/>
                    <a:pt x="5" y="31"/>
                    <a:pt x="5" y="32"/>
                  </a:cubicBezTo>
                  <a:cubicBezTo>
                    <a:pt x="5" y="46"/>
                    <a:pt x="5" y="46"/>
                    <a:pt x="5" y="46"/>
                  </a:cubicBezTo>
                  <a:cubicBezTo>
                    <a:pt x="47" y="69"/>
                    <a:pt x="47" y="69"/>
                    <a:pt x="47" y="69"/>
                  </a:cubicBezTo>
                  <a:cubicBezTo>
                    <a:pt x="142" y="17"/>
                    <a:pt x="142" y="17"/>
                    <a:pt x="142" y="17"/>
                  </a:cubicBezTo>
                  <a:cubicBezTo>
                    <a:pt x="142" y="3"/>
                    <a:pt x="142" y="3"/>
                    <a:pt x="142" y="3"/>
                  </a:cubicBezTo>
                  <a:cubicBezTo>
                    <a:pt x="142" y="1"/>
                    <a:pt x="143" y="0"/>
                    <a:pt x="144" y="0"/>
                  </a:cubicBezTo>
                  <a:cubicBezTo>
                    <a:pt x="146" y="0"/>
                    <a:pt x="147" y="1"/>
                    <a:pt x="147" y="3"/>
                  </a:cubicBezTo>
                  <a:cubicBezTo>
                    <a:pt x="147" y="18"/>
                    <a:pt x="147" y="18"/>
                    <a:pt x="147" y="18"/>
                  </a:cubicBezTo>
                  <a:cubicBezTo>
                    <a:pt x="147" y="19"/>
                    <a:pt x="146" y="20"/>
                    <a:pt x="146" y="20"/>
                  </a:cubicBezTo>
                  <a:cubicBezTo>
                    <a:pt x="48" y="74"/>
                    <a:pt x="48" y="74"/>
                    <a:pt x="48" y="74"/>
                  </a:cubicBezTo>
                  <a:cubicBezTo>
                    <a:pt x="48" y="74"/>
                    <a:pt x="47" y="74"/>
                    <a:pt x="47" y="7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5" name="Freeform 518">
              <a:extLst>
                <a:ext uri="{FF2B5EF4-FFF2-40B4-BE49-F238E27FC236}">
                  <a16:creationId xmlns:a16="http://schemas.microsoft.com/office/drawing/2014/main" id="{A96B4603-A3D3-FEC4-2E9D-F3387A03DEA0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73226" y="3105150"/>
              <a:ext cx="11113" cy="46038"/>
            </a:xfrm>
            <a:custGeom>
              <a:avLst/>
              <a:gdLst>
                <a:gd name="T0" fmla="*/ 3 w 5"/>
                <a:gd name="T1" fmla="*/ 20 h 20"/>
                <a:gd name="T2" fmla="*/ 0 w 5"/>
                <a:gd name="T3" fmla="*/ 18 h 20"/>
                <a:gd name="T4" fmla="*/ 0 w 5"/>
                <a:gd name="T5" fmla="*/ 2 h 20"/>
                <a:gd name="T6" fmla="*/ 3 w 5"/>
                <a:gd name="T7" fmla="*/ 0 h 20"/>
                <a:gd name="T8" fmla="*/ 5 w 5"/>
                <a:gd name="T9" fmla="*/ 2 h 20"/>
                <a:gd name="T10" fmla="*/ 5 w 5"/>
                <a:gd name="T11" fmla="*/ 18 h 20"/>
                <a:gd name="T12" fmla="*/ 3 w 5"/>
                <a:gd name="T13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20">
                  <a:moveTo>
                    <a:pt x="3" y="20"/>
                  </a:moveTo>
                  <a:cubicBezTo>
                    <a:pt x="2" y="20"/>
                    <a:pt x="0" y="19"/>
                    <a:pt x="0" y="18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4" y="0"/>
                    <a:pt x="5" y="1"/>
                    <a:pt x="5" y="2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3" y="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6" name="Freeform 519">
              <a:extLst>
                <a:ext uri="{FF2B5EF4-FFF2-40B4-BE49-F238E27FC236}">
                  <a16:creationId xmlns:a16="http://schemas.microsoft.com/office/drawing/2014/main" id="{780086C5-78FF-91ED-979F-DF45CDB9B715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71647" y="3119448"/>
              <a:ext cx="147635" cy="101600"/>
            </a:xfrm>
            <a:custGeom>
              <a:avLst/>
              <a:gdLst>
                <a:gd name="T0" fmla="*/ 47 w 66"/>
                <a:gd name="T1" fmla="*/ 45 h 45"/>
                <a:gd name="T2" fmla="*/ 46 w 66"/>
                <a:gd name="T3" fmla="*/ 45 h 45"/>
                <a:gd name="T4" fmla="*/ 1 w 66"/>
                <a:gd name="T5" fmla="*/ 20 h 45"/>
                <a:gd name="T6" fmla="*/ 0 w 66"/>
                <a:gd name="T7" fmla="*/ 18 h 45"/>
                <a:gd name="T8" fmla="*/ 0 w 66"/>
                <a:gd name="T9" fmla="*/ 3 h 45"/>
                <a:gd name="T10" fmla="*/ 2 w 66"/>
                <a:gd name="T11" fmla="*/ 0 h 45"/>
                <a:gd name="T12" fmla="*/ 5 w 66"/>
                <a:gd name="T13" fmla="*/ 3 h 45"/>
                <a:gd name="T14" fmla="*/ 5 w 66"/>
                <a:gd name="T15" fmla="*/ 16 h 45"/>
                <a:gd name="T16" fmla="*/ 47 w 66"/>
                <a:gd name="T17" fmla="*/ 40 h 45"/>
                <a:gd name="T18" fmla="*/ 62 w 66"/>
                <a:gd name="T19" fmla="*/ 31 h 45"/>
                <a:gd name="T20" fmla="*/ 66 w 66"/>
                <a:gd name="T21" fmla="*/ 32 h 45"/>
                <a:gd name="T22" fmla="*/ 65 w 66"/>
                <a:gd name="T23" fmla="*/ 35 h 45"/>
                <a:gd name="T24" fmla="*/ 48 w 66"/>
                <a:gd name="T25" fmla="*/ 45 h 45"/>
                <a:gd name="T26" fmla="*/ 47 w 66"/>
                <a:gd name="T27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6" h="45">
                  <a:moveTo>
                    <a:pt x="47" y="45"/>
                  </a:moveTo>
                  <a:cubicBezTo>
                    <a:pt x="46" y="45"/>
                    <a:pt x="46" y="45"/>
                    <a:pt x="46" y="45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20"/>
                    <a:pt x="0" y="19"/>
                    <a:pt x="0" y="1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4" y="0"/>
                    <a:pt x="5" y="1"/>
                    <a:pt x="5" y="3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47" y="40"/>
                    <a:pt x="47" y="40"/>
                    <a:pt x="47" y="40"/>
                  </a:cubicBezTo>
                  <a:cubicBezTo>
                    <a:pt x="62" y="31"/>
                    <a:pt x="62" y="31"/>
                    <a:pt x="62" y="31"/>
                  </a:cubicBezTo>
                  <a:cubicBezTo>
                    <a:pt x="64" y="30"/>
                    <a:pt x="65" y="31"/>
                    <a:pt x="66" y="32"/>
                  </a:cubicBezTo>
                  <a:cubicBezTo>
                    <a:pt x="66" y="33"/>
                    <a:pt x="66" y="35"/>
                    <a:pt x="65" y="35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48" y="45"/>
                    <a:pt x="47" y="45"/>
                    <a:pt x="47" y="4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7" name="Freeform 520">
              <a:extLst>
                <a:ext uri="{FF2B5EF4-FFF2-40B4-BE49-F238E27FC236}">
                  <a16:creationId xmlns:a16="http://schemas.microsoft.com/office/drawing/2014/main" id="{83BBADF5-2623-552E-1CF6-D6E0FAC79A1F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73263" y="3175000"/>
              <a:ext cx="11113" cy="46038"/>
            </a:xfrm>
            <a:custGeom>
              <a:avLst/>
              <a:gdLst>
                <a:gd name="T0" fmla="*/ 3 w 5"/>
                <a:gd name="T1" fmla="*/ 20 h 20"/>
                <a:gd name="T2" fmla="*/ 0 w 5"/>
                <a:gd name="T3" fmla="*/ 17 h 20"/>
                <a:gd name="T4" fmla="*/ 0 w 5"/>
                <a:gd name="T5" fmla="*/ 2 h 20"/>
                <a:gd name="T6" fmla="*/ 3 w 5"/>
                <a:gd name="T7" fmla="*/ 0 h 20"/>
                <a:gd name="T8" fmla="*/ 5 w 5"/>
                <a:gd name="T9" fmla="*/ 2 h 20"/>
                <a:gd name="T10" fmla="*/ 5 w 5"/>
                <a:gd name="T11" fmla="*/ 17 h 20"/>
                <a:gd name="T12" fmla="*/ 3 w 5"/>
                <a:gd name="T13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20">
                  <a:moveTo>
                    <a:pt x="3" y="20"/>
                  </a:moveTo>
                  <a:cubicBezTo>
                    <a:pt x="2" y="20"/>
                    <a:pt x="0" y="19"/>
                    <a:pt x="0" y="17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4" y="0"/>
                    <a:pt x="5" y="1"/>
                    <a:pt x="5" y="2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5" y="19"/>
                    <a:pt x="4" y="20"/>
                    <a:pt x="3" y="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293" name="Shape51_20200717_142846">
            <a:extLst>
              <a:ext uri="{FF2B5EF4-FFF2-40B4-BE49-F238E27FC236}">
                <a16:creationId xmlns:a16="http://schemas.microsoft.com/office/drawing/2014/main" id="{13DA4FCE-D513-7E1D-0DC7-11F4023EBD80}"/>
              </a:ext>
            </a:extLst>
          </p:cNvPr>
          <p:cNvGrpSpPr>
            <a:grpSpLocks noChangeAspect="1"/>
          </p:cNvGrpSpPr>
          <p:nvPr/>
        </p:nvGrpSpPr>
        <p:grpSpPr>
          <a:xfrm>
            <a:off x="8413254" y="1272867"/>
            <a:ext cx="587727" cy="501356"/>
            <a:chOff x="-4284670" y="1791654"/>
            <a:chExt cx="388946" cy="331783"/>
          </a:xfrm>
          <a:solidFill>
            <a:schemeClr val="accent1"/>
          </a:solidFill>
        </p:grpSpPr>
        <p:sp>
          <p:nvSpPr>
            <p:cNvPr id="294" name="Freeform 1485">
              <a:extLst>
                <a:ext uri="{FF2B5EF4-FFF2-40B4-BE49-F238E27FC236}">
                  <a16:creationId xmlns:a16="http://schemas.microsoft.com/office/drawing/2014/main" id="{F9B248EF-3899-5F8A-B48E-3DE52CFAE0B3}"/>
                </a:ext>
              </a:extLst>
            </p:cNvPr>
            <p:cNvSpPr>
              <a:spLocks/>
            </p:cNvSpPr>
            <p:nvPr/>
          </p:nvSpPr>
          <p:spPr bwMode="auto">
            <a:xfrm>
              <a:off x="-4095758" y="2002789"/>
              <a:ext cx="11113" cy="101599"/>
            </a:xfrm>
            <a:custGeom>
              <a:avLst/>
              <a:gdLst>
                <a:gd name="T0" fmla="*/ 5 w 11"/>
                <a:gd name="T1" fmla="*/ 99 h 99"/>
                <a:gd name="T2" fmla="*/ 0 w 11"/>
                <a:gd name="T3" fmla="*/ 94 h 99"/>
                <a:gd name="T4" fmla="*/ 0 w 11"/>
                <a:gd name="T5" fmla="*/ 5 h 99"/>
                <a:gd name="T6" fmla="*/ 5 w 11"/>
                <a:gd name="T7" fmla="*/ 0 h 99"/>
                <a:gd name="T8" fmla="*/ 11 w 11"/>
                <a:gd name="T9" fmla="*/ 5 h 99"/>
                <a:gd name="T10" fmla="*/ 11 w 11"/>
                <a:gd name="T11" fmla="*/ 94 h 99"/>
                <a:gd name="T12" fmla="*/ 5 w 11"/>
                <a:gd name="T13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99">
                  <a:moveTo>
                    <a:pt x="5" y="99"/>
                  </a:moveTo>
                  <a:cubicBezTo>
                    <a:pt x="2" y="99"/>
                    <a:pt x="0" y="97"/>
                    <a:pt x="0" y="9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" y="0"/>
                    <a:pt x="11" y="2"/>
                    <a:pt x="11" y="5"/>
                  </a:cubicBezTo>
                  <a:cubicBezTo>
                    <a:pt x="11" y="94"/>
                    <a:pt x="11" y="94"/>
                    <a:pt x="11" y="94"/>
                  </a:cubicBezTo>
                  <a:cubicBezTo>
                    <a:pt x="11" y="97"/>
                    <a:pt x="8" y="99"/>
                    <a:pt x="5" y="9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95" name="Freeform 1486">
              <a:extLst>
                <a:ext uri="{FF2B5EF4-FFF2-40B4-BE49-F238E27FC236}">
                  <a16:creationId xmlns:a16="http://schemas.microsoft.com/office/drawing/2014/main" id="{8C9D1691-1370-F029-4E65-FA59039205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164020" y="1863089"/>
              <a:ext cx="147638" cy="260348"/>
            </a:xfrm>
            <a:custGeom>
              <a:avLst/>
              <a:gdLst>
                <a:gd name="T0" fmla="*/ 89 w 142"/>
                <a:gd name="T1" fmla="*/ 250 h 250"/>
                <a:gd name="T2" fmla="*/ 71 w 142"/>
                <a:gd name="T3" fmla="*/ 242 h 250"/>
                <a:gd name="T4" fmla="*/ 53 w 142"/>
                <a:gd name="T5" fmla="*/ 250 h 250"/>
                <a:gd name="T6" fmla="*/ 29 w 142"/>
                <a:gd name="T7" fmla="*/ 227 h 250"/>
                <a:gd name="T8" fmla="*/ 29 w 142"/>
                <a:gd name="T9" fmla="*/ 128 h 250"/>
                <a:gd name="T10" fmla="*/ 22 w 142"/>
                <a:gd name="T11" fmla="*/ 130 h 250"/>
                <a:gd name="T12" fmla="*/ 7 w 142"/>
                <a:gd name="T13" fmla="*/ 125 h 250"/>
                <a:gd name="T14" fmla="*/ 0 w 142"/>
                <a:gd name="T15" fmla="*/ 110 h 250"/>
                <a:gd name="T16" fmla="*/ 0 w 142"/>
                <a:gd name="T17" fmla="*/ 34 h 250"/>
                <a:gd name="T18" fmla="*/ 35 w 142"/>
                <a:gd name="T19" fmla="*/ 0 h 250"/>
                <a:gd name="T20" fmla="*/ 107 w 142"/>
                <a:gd name="T21" fmla="*/ 0 h 250"/>
                <a:gd name="T22" fmla="*/ 142 w 142"/>
                <a:gd name="T23" fmla="*/ 34 h 250"/>
                <a:gd name="T24" fmla="*/ 142 w 142"/>
                <a:gd name="T25" fmla="*/ 110 h 250"/>
                <a:gd name="T26" fmla="*/ 135 w 142"/>
                <a:gd name="T27" fmla="*/ 125 h 250"/>
                <a:gd name="T28" fmla="*/ 120 w 142"/>
                <a:gd name="T29" fmla="*/ 130 h 250"/>
                <a:gd name="T30" fmla="*/ 113 w 142"/>
                <a:gd name="T31" fmla="*/ 128 h 250"/>
                <a:gd name="T32" fmla="*/ 113 w 142"/>
                <a:gd name="T33" fmla="*/ 227 h 250"/>
                <a:gd name="T34" fmla="*/ 89 w 142"/>
                <a:gd name="T35" fmla="*/ 250 h 250"/>
                <a:gd name="T36" fmla="*/ 71 w 142"/>
                <a:gd name="T37" fmla="*/ 221 h 250"/>
                <a:gd name="T38" fmla="*/ 77 w 142"/>
                <a:gd name="T39" fmla="*/ 227 h 250"/>
                <a:gd name="T40" fmla="*/ 89 w 142"/>
                <a:gd name="T41" fmla="*/ 239 h 250"/>
                <a:gd name="T42" fmla="*/ 102 w 142"/>
                <a:gd name="T43" fmla="*/ 227 h 250"/>
                <a:gd name="T44" fmla="*/ 102 w 142"/>
                <a:gd name="T45" fmla="*/ 110 h 250"/>
                <a:gd name="T46" fmla="*/ 107 w 142"/>
                <a:gd name="T47" fmla="*/ 104 h 250"/>
                <a:gd name="T48" fmla="*/ 107 w 142"/>
                <a:gd name="T49" fmla="*/ 104 h 250"/>
                <a:gd name="T50" fmla="*/ 113 w 142"/>
                <a:gd name="T51" fmla="*/ 110 h 250"/>
                <a:gd name="T52" fmla="*/ 121 w 142"/>
                <a:gd name="T53" fmla="*/ 119 h 250"/>
                <a:gd name="T54" fmla="*/ 128 w 142"/>
                <a:gd name="T55" fmla="*/ 117 h 250"/>
                <a:gd name="T56" fmla="*/ 131 w 142"/>
                <a:gd name="T57" fmla="*/ 110 h 250"/>
                <a:gd name="T58" fmla="*/ 131 w 142"/>
                <a:gd name="T59" fmla="*/ 34 h 250"/>
                <a:gd name="T60" fmla="*/ 107 w 142"/>
                <a:gd name="T61" fmla="*/ 11 h 250"/>
                <a:gd name="T62" fmla="*/ 35 w 142"/>
                <a:gd name="T63" fmla="*/ 11 h 250"/>
                <a:gd name="T64" fmla="*/ 11 w 142"/>
                <a:gd name="T65" fmla="*/ 34 h 250"/>
                <a:gd name="T66" fmla="*/ 11 w 142"/>
                <a:gd name="T67" fmla="*/ 110 h 250"/>
                <a:gd name="T68" fmla="*/ 14 w 142"/>
                <a:gd name="T69" fmla="*/ 117 h 250"/>
                <a:gd name="T70" fmla="*/ 21 w 142"/>
                <a:gd name="T71" fmla="*/ 119 h 250"/>
                <a:gd name="T72" fmla="*/ 29 w 142"/>
                <a:gd name="T73" fmla="*/ 110 h 250"/>
                <a:gd name="T74" fmla="*/ 35 w 142"/>
                <a:gd name="T75" fmla="*/ 104 h 250"/>
                <a:gd name="T76" fmla="*/ 40 w 142"/>
                <a:gd name="T77" fmla="*/ 110 h 250"/>
                <a:gd name="T78" fmla="*/ 40 w 142"/>
                <a:gd name="T79" fmla="*/ 227 h 250"/>
                <a:gd name="T80" fmla="*/ 53 w 142"/>
                <a:gd name="T81" fmla="*/ 239 h 250"/>
                <a:gd name="T82" fmla="*/ 66 w 142"/>
                <a:gd name="T83" fmla="*/ 227 h 250"/>
                <a:gd name="T84" fmla="*/ 71 w 142"/>
                <a:gd name="T85" fmla="*/ 221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2" h="250">
                  <a:moveTo>
                    <a:pt x="89" y="250"/>
                  </a:moveTo>
                  <a:cubicBezTo>
                    <a:pt x="82" y="250"/>
                    <a:pt x="75" y="247"/>
                    <a:pt x="71" y="242"/>
                  </a:cubicBezTo>
                  <a:cubicBezTo>
                    <a:pt x="67" y="247"/>
                    <a:pt x="60" y="250"/>
                    <a:pt x="53" y="250"/>
                  </a:cubicBezTo>
                  <a:cubicBezTo>
                    <a:pt x="40" y="250"/>
                    <a:pt x="29" y="240"/>
                    <a:pt x="29" y="227"/>
                  </a:cubicBezTo>
                  <a:cubicBezTo>
                    <a:pt x="29" y="128"/>
                    <a:pt x="29" y="128"/>
                    <a:pt x="29" y="128"/>
                  </a:cubicBezTo>
                  <a:cubicBezTo>
                    <a:pt x="27" y="129"/>
                    <a:pt x="25" y="130"/>
                    <a:pt x="22" y="130"/>
                  </a:cubicBezTo>
                  <a:cubicBezTo>
                    <a:pt x="16" y="131"/>
                    <a:pt x="11" y="129"/>
                    <a:pt x="7" y="125"/>
                  </a:cubicBezTo>
                  <a:cubicBezTo>
                    <a:pt x="3" y="121"/>
                    <a:pt x="0" y="116"/>
                    <a:pt x="0" y="110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15"/>
                    <a:pt x="16" y="0"/>
                    <a:pt x="35" y="0"/>
                  </a:cubicBezTo>
                  <a:cubicBezTo>
                    <a:pt x="107" y="0"/>
                    <a:pt x="107" y="0"/>
                    <a:pt x="107" y="0"/>
                  </a:cubicBezTo>
                  <a:cubicBezTo>
                    <a:pt x="126" y="0"/>
                    <a:pt x="142" y="15"/>
                    <a:pt x="142" y="34"/>
                  </a:cubicBezTo>
                  <a:cubicBezTo>
                    <a:pt x="142" y="110"/>
                    <a:pt x="142" y="110"/>
                    <a:pt x="142" y="110"/>
                  </a:cubicBezTo>
                  <a:cubicBezTo>
                    <a:pt x="142" y="116"/>
                    <a:pt x="140" y="121"/>
                    <a:pt x="135" y="125"/>
                  </a:cubicBezTo>
                  <a:cubicBezTo>
                    <a:pt x="131" y="129"/>
                    <a:pt x="126" y="131"/>
                    <a:pt x="120" y="130"/>
                  </a:cubicBezTo>
                  <a:cubicBezTo>
                    <a:pt x="118" y="130"/>
                    <a:pt x="115" y="129"/>
                    <a:pt x="113" y="128"/>
                  </a:cubicBezTo>
                  <a:cubicBezTo>
                    <a:pt x="113" y="227"/>
                    <a:pt x="113" y="227"/>
                    <a:pt x="113" y="227"/>
                  </a:cubicBezTo>
                  <a:cubicBezTo>
                    <a:pt x="113" y="240"/>
                    <a:pt x="102" y="250"/>
                    <a:pt x="89" y="250"/>
                  </a:cubicBezTo>
                  <a:close/>
                  <a:moveTo>
                    <a:pt x="71" y="221"/>
                  </a:moveTo>
                  <a:cubicBezTo>
                    <a:pt x="74" y="221"/>
                    <a:pt x="77" y="224"/>
                    <a:pt x="77" y="227"/>
                  </a:cubicBezTo>
                  <a:cubicBezTo>
                    <a:pt x="77" y="234"/>
                    <a:pt x="82" y="239"/>
                    <a:pt x="89" y="239"/>
                  </a:cubicBezTo>
                  <a:cubicBezTo>
                    <a:pt x="96" y="239"/>
                    <a:pt x="102" y="234"/>
                    <a:pt x="102" y="227"/>
                  </a:cubicBezTo>
                  <a:cubicBezTo>
                    <a:pt x="102" y="110"/>
                    <a:pt x="102" y="110"/>
                    <a:pt x="102" y="110"/>
                  </a:cubicBezTo>
                  <a:cubicBezTo>
                    <a:pt x="102" y="107"/>
                    <a:pt x="104" y="104"/>
                    <a:pt x="107" y="104"/>
                  </a:cubicBezTo>
                  <a:cubicBezTo>
                    <a:pt x="107" y="104"/>
                    <a:pt x="107" y="104"/>
                    <a:pt x="107" y="104"/>
                  </a:cubicBezTo>
                  <a:cubicBezTo>
                    <a:pt x="110" y="104"/>
                    <a:pt x="113" y="107"/>
                    <a:pt x="113" y="110"/>
                  </a:cubicBezTo>
                  <a:cubicBezTo>
                    <a:pt x="113" y="115"/>
                    <a:pt x="117" y="119"/>
                    <a:pt x="121" y="119"/>
                  </a:cubicBezTo>
                  <a:cubicBezTo>
                    <a:pt x="124" y="120"/>
                    <a:pt x="126" y="119"/>
                    <a:pt x="128" y="117"/>
                  </a:cubicBezTo>
                  <a:cubicBezTo>
                    <a:pt x="130" y="115"/>
                    <a:pt x="131" y="113"/>
                    <a:pt x="131" y="110"/>
                  </a:cubicBezTo>
                  <a:cubicBezTo>
                    <a:pt x="131" y="34"/>
                    <a:pt x="131" y="34"/>
                    <a:pt x="131" y="34"/>
                  </a:cubicBezTo>
                  <a:cubicBezTo>
                    <a:pt x="131" y="21"/>
                    <a:pt x="120" y="11"/>
                    <a:pt x="107" y="11"/>
                  </a:cubicBezTo>
                  <a:cubicBezTo>
                    <a:pt x="35" y="11"/>
                    <a:pt x="35" y="11"/>
                    <a:pt x="35" y="11"/>
                  </a:cubicBezTo>
                  <a:cubicBezTo>
                    <a:pt x="22" y="11"/>
                    <a:pt x="11" y="21"/>
                    <a:pt x="11" y="34"/>
                  </a:cubicBezTo>
                  <a:cubicBezTo>
                    <a:pt x="11" y="110"/>
                    <a:pt x="11" y="110"/>
                    <a:pt x="11" y="110"/>
                  </a:cubicBezTo>
                  <a:cubicBezTo>
                    <a:pt x="11" y="113"/>
                    <a:pt x="12" y="115"/>
                    <a:pt x="14" y="117"/>
                  </a:cubicBezTo>
                  <a:cubicBezTo>
                    <a:pt x="16" y="119"/>
                    <a:pt x="18" y="120"/>
                    <a:pt x="21" y="119"/>
                  </a:cubicBezTo>
                  <a:cubicBezTo>
                    <a:pt x="26" y="119"/>
                    <a:pt x="29" y="115"/>
                    <a:pt x="29" y="110"/>
                  </a:cubicBezTo>
                  <a:cubicBezTo>
                    <a:pt x="29" y="107"/>
                    <a:pt x="32" y="104"/>
                    <a:pt x="35" y="104"/>
                  </a:cubicBezTo>
                  <a:cubicBezTo>
                    <a:pt x="38" y="104"/>
                    <a:pt x="40" y="107"/>
                    <a:pt x="40" y="110"/>
                  </a:cubicBezTo>
                  <a:cubicBezTo>
                    <a:pt x="40" y="227"/>
                    <a:pt x="40" y="227"/>
                    <a:pt x="40" y="227"/>
                  </a:cubicBezTo>
                  <a:cubicBezTo>
                    <a:pt x="40" y="234"/>
                    <a:pt x="46" y="239"/>
                    <a:pt x="53" y="239"/>
                  </a:cubicBezTo>
                  <a:cubicBezTo>
                    <a:pt x="60" y="239"/>
                    <a:pt x="66" y="234"/>
                    <a:pt x="66" y="227"/>
                  </a:cubicBezTo>
                  <a:cubicBezTo>
                    <a:pt x="66" y="224"/>
                    <a:pt x="68" y="221"/>
                    <a:pt x="71" y="22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96" name="Freeform 1487">
              <a:extLst>
                <a:ext uri="{FF2B5EF4-FFF2-40B4-BE49-F238E27FC236}">
                  <a16:creationId xmlns:a16="http://schemas.microsoft.com/office/drawing/2014/main" id="{ECECC730-EE58-9ABF-7F8C-E1F21F3C13FB}"/>
                </a:ext>
              </a:extLst>
            </p:cNvPr>
            <p:cNvSpPr>
              <a:spLocks/>
            </p:cNvSpPr>
            <p:nvPr/>
          </p:nvSpPr>
          <p:spPr bwMode="auto">
            <a:xfrm>
              <a:off x="-4133858" y="1863089"/>
              <a:ext cx="87313" cy="12700"/>
            </a:xfrm>
            <a:custGeom>
              <a:avLst/>
              <a:gdLst>
                <a:gd name="T0" fmla="*/ 78 w 84"/>
                <a:gd name="T1" fmla="*/ 11 h 11"/>
                <a:gd name="T2" fmla="*/ 6 w 84"/>
                <a:gd name="T3" fmla="*/ 11 h 11"/>
                <a:gd name="T4" fmla="*/ 0 w 84"/>
                <a:gd name="T5" fmla="*/ 5 h 11"/>
                <a:gd name="T6" fmla="*/ 6 w 84"/>
                <a:gd name="T7" fmla="*/ 0 h 11"/>
                <a:gd name="T8" fmla="*/ 78 w 84"/>
                <a:gd name="T9" fmla="*/ 0 h 11"/>
                <a:gd name="T10" fmla="*/ 84 w 84"/>
                <a:gd name="T11" fmla="*/ 5 h 11"/>
                <a:gd name="T12" fmla="*/ 78 w 84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11">
                  <a:moveTo>
                    <a:pt x="78" y="11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3" y="11"/>
                    <a:pt x="0" y="8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82" y="0"/>
                    <a:pt x="84" y="2"/>
                    <a:pt x="84" y="5"/>
                  </a:cubicBezTo>
                  <a:cubicBezTo>
                    <a:pt x="84" y="8"/>
                    <a:pt x="82" y="11"/>
                    <a:pt x="78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97" name="Freeform 1488">
              <a:extLst>
                <a:ext uri="{FF2B5EF4-FFF2-40B4-BE49-F238E27FC236}">
                  <a16:creationId xmlns:a16="http://schemas.microsoft.com/office/drawing/2014/main" id="{C953D1BE-020D-600C-E616-93CBDB5697FA}"/>
                </a:ext>
              </a:extLst>
            </p:cNvPr>
            <p:cNvSpPr>
              <a:spLocks/>
            </p:cNvSpPr>
            <p:nvPr/>
          </p:nvSpPr>
          <p:spPr bwMode="auto">
            <a:xfrm>
              <a:off x="-4133858" y="1918652"/>
              <a:ext cx="11113" cy="65087"/>
            </a:xfrm>
            <a:custGeom>
              <a:avLst/>
              <a:gdLst>
                <a:gd name="T0" fmla="*/ 6 w 11"/>
                <a:gd name="T1" fmla="*/ 63 h 63"/>
                <a:gd name="T2" fmla="*/ 0 w 11"/>
                <a:gd name="T3" fmla="*/ 58 h 63"/>
                <a:gd name="T4" fmla="*/ 0 w 11"/>
                <a:gd name="T5" fmla="*/ 5 h 63"/>
                <a:gd name="T6" fmla="*/ 6 w 11"/>
                <a:gd name="T7" fmla="*/ 0 h 63"/>
                <a:gd name="T8" fmla="*/ 11 w 11"/>
                <a:gd name="T9" fmla="*/ 5 h 63"/>
                <a:gd name="T10" fmla="*/ 11 w 11"/>
                <a:gd name="T11" fmla="*/ 58 h 63"/>
                <a:gd name="T12" fmla="*/ 6 w 11"/>
                <a:gd name="T13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63">
                  <a:moveTo>
                    <a:pt x="6" y="63"/>
                  </a:moveTo>
                  <a:cubicBezTo>
                    <a:pt x="3" y="63"/>
                    <a:pt x="0" y="61"/>
                    <a:pt x="0" y="58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1" y="2"/>
                    <a:pt x="11" y="5"/>
                  </a:cubicBezTo>
                  <a:cubicBezTo>
                    <a:pt x="11" y="58"/>
                    <a:pt x="11" y="58"/>
                    <a:pt x="11" y="58"/>
                  </a:cubicBezTo>
                  <a:cubicBezTo>
                    <a:pt x="11" y="61"/>
                    <a:pt x="9" y="63"/>
                    <a:pt x="6" y="6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98" name="Freeform 1489">
              <a:extLst>
                <a:ext uri="{FF2B5EF4-FFF2-40B4-BE49-F238E27FC236}">
                  <a16:creationId xmlns:a16="http://schemas.microsoft.com/office/drawing/2014/main" id="{BFE972C9-47C2-DEC5-48C3-DD5ADBE99504}"/>
                </a:ext>
              </a:extLst>
            </p:cNvPr>
            <p:cNvSpPr>
              <a:spLocks/>
            </p:cNvSpPr>
            <p:nvPr/>
          </p:nvSpPr>
          <p:spPr bwMode="auto">
            <a:xfrm>
              <a:off x="-4057658" y="1918652"/>
              <a:ext cx="11113" cy="65087"/>
            </a:xfrm>
            <a:custGeom>
              <a:avLst/>
              <a:gdLst>
                <a:gd name="T0" fmla="*/ 5 w 11"/>
                <a:gd name="T1" fmla="*/ 63 h 63"/>
                <a:gd name="T2" fmla="*/ 0 w 11"/>
                <a:gd name="T3" fmla="*/ 58 h 63"/>
                <a:gd name="T4" fmla="*/ 0 w 11"/>
                <a:gd name="T5" fmla="*/ 5 h 63"/>
                <a:gd name="T6" fmla="*/ 5 w 11"/>
                <a:gd name="T7" fmla="*/ 0 h 63"/>
                <a:gd name="T8" fmla="*/ 11 w 11"/>
                <a:gd name="T9" fmla="*/ 5 h 63"/>
                <a:gd name="T10" fmla="*/ 11 w 11"/>
                <a:gd name="T11" fmla="*/ 58 h 63"/>
                <a:gd name="T12" fmla="*/ 5 w 11"/>
                <a:gd name="T13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63">
                  <a:moveTo>
                    <a:pt x="5" y="63"/>
                  </a:moveTo>
                  <a:cubicBezTo>
                    <a:pt x="2" y="63"/>
                    <a:pt x="0" y="61"/>
                    <a:pt x="0" y="58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" y="0"/>
                    <a:pt x="11" y="2"/>
                    <a:pt x="11" y="5"/>
                  </a:cubicBezTo>
                  <a:cubicBezTo>
                    <a:pt x="11" y="58"/>
                    <a:pt x="11" y="58"/>
                    <a:pt x="11" y="58"/>
                  </a:cubicBezTo>
                  <a:cubicBezTo>
                    <a:pt x="11" y="61"/>
                    <a:pt x="8" y="63"/>
                    <a:pt x="5" y="6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99" name="Freeform 1490">
              <a:extLst>
                <a:ext uri="{FF2B5EF4-FFF2-40B4-BE49-F238E27FC236}">
                  <a16:creationId xmlns:a16="http://schemas.microsoft.com/office/drawing/2014/main" id="{2FF4D8AB-0A9B-77FB-3161-6A347970DD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121157" y="1791654"/>
              <a:ext cx="61913" cy="63500"/>
            </a:xfrm>
            <a:custGeom>
              <a:avLst/>
              <a:gdLst>
                <a:gd name="T0" fmla="*/ 30 w 60"/>
                <a:gd name="T1" fmla="*/ 60 h 60"/>
                <a:gd name="T2" fmla="*/ 0 w 60"/>
                <a:gd name="T3" fmla="*/ 30 h 60"/>
                <a:gd name="T4" fmla="*/ 30 w 60"/>
                <a:gd name="T5" fmla="*/ 0 h 60"/>
                <a:gd name="T6" fmla="*/ 60 w 60"/>
                <a:gd name="T7" fmla="*/ 30 h 60"/>
                <a:gd name="T8" fmla="*/ 30 w 60"/>
                <a:gd name="T9" fmla="*/ 60 h 60"/>
                <a:gd name="T10" fmla="*/ 30 w 60"/>
                <a:gd name="T11" fmla="*/ 11 h 60"/>
                <a:gd name="T12" fmla="*/ 11 w 60"/>
                <a:gd name="T13" fmla="*/ 30 h 60"/>
                <a:gd name="T14" fmla="*/ 30 w 60"/>
                <a:gd name="T15" fmla="*/ 49 h 60"/>
                <a:gd name="T16" fmla="*/ 49 w 60"/>
                <a:gd name="T17" fmla="*/ 30 h 60"/>
                <a:gd name="T18" fmla="*/ 30 w 60"/>
                <a:gd name="T19" fmla="*/ 11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60">
                  <a:moveTo>
                    <a:pt x="30" y="60"/>
                  </a:moveTo>
                  <a:cubicBezTo>
                    <a:pt x="14" y="60"/>
                    <a:pt x="0" y="46"/>
                    <a:pt x="0" y="30"/>
                  </a:cubicBezTo>
                  <a:cubicBezTo>
                    <a:pt x="0" y="13"/>
                    <a:pt x="14" y="0"/>
                    <a:pt x="30" y="0"/>
                  </a:cubicBezTo>
                  <a:cubicBezTo>
                    <a:pt x="47" y="0"/>
                    <a:pt x="60" y="13"/>
                    <a:pt x="60" y="30"/>
                  </a:cubicBezTo>
                  <a:cubicBezTo>
                    <a:pt x="60" y="46"/>
                    <a:pt x="47" y="60"/>
                    <a:pt x="30" y="60"/>
                  </a:cubicBezTo>
                  <a:close/>
                  <a:moveTo>
                    <a:pt x="30" y="11"/>
                  </a:moveTo>
                  <a:cubicBezTo>
                    <a:pt x="20" y="11"/>
                    <a:pt x="11" y="19"/>
                    <a:pt x="11" y="30"/>
                  </a:cubicBezTo>
                  <a:cubicBezTo>
                    <a:pt x="11" y="40"/>
                    <a:pt x="20" y="49"/>
                    <a:pt x="30" y="49"/>
                  </a:cubicBezTo>
                  <a:cubicBezTo>
                    <a:pt x="41" y="49"/>
                    <a:pt x="49" y="40"/>
                    <a:pt x="49" y="30"/>
                  </a:cubicBezTo>
                  <a:cubicBezTo>
                    <a:pt x="49" y="19"/>
                    <a:pt x="41" y="11"/>
                    <a:pt x="30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00" name="Freeform 1491">
              <a:extLst>
                <a:ext uri="{FF2B5EF4-FFF2-40B4-BE49-F238E27FC236}">
                  <a16:creationId xmlns:a16="http://schemas.microsoft.com/office/drawing/2014/main" id="{AD31DE3F-D4B5-43F2-1382-76AC9A9D60AC}"/>
                </a:ext>
              </a:extLst>
            </p:cNvPr>
            <p:cNvSpPr>
              <a:spLocks/>
            </p:cNvSpPr>
            <p:nvPr/>
          </p:nvSpPr>
          <p:spPr bwMode="auto">
            <a:xfrm>
              <a:off x="-4284670" y="1905954"/>
              <a:ext cx="38100" cy="65087"/>
            </a:xfrm>
            <a:custGeom>
              <a:avLst/>
              <a:gdLst>
                <a:gd name="T0" fmla="*/ 31 w 37"/>
                <a:gd name="T1" fmla="*/ 62 h 62"/>
                <a:gd name="T2" fmla="*/ 27 w 37"/>
                <a:gd name="T3" fmla="*/ 60 h 62"/>
                <a:gd name="T4" fmla="*/ 1 w 37"/>
                <a:gd name="T5" fmla="*/ 35 h 62"/>
                <a:gd name="T6" fmla="*/ 0 w 37"/>
                <a:gd name="T7" fmla="*/ 31 h 62"/>
                <a:gd name="T8" fmla="*/ 1 w 37"/>
                <a:gd name="T9" fmla="*/ 27 h 62"/>
                <a:gd name="T10" fmla="*/ 27 w 37"/>
                <a:gd name="T11" fmla="*/ 2 h 62"/>
                <a:gd name="T12" fmla="*/ 34 w 37"/>
                <a:gd name="T13" fmla="*/ 2 h 62"/>
                <a:gd name="T14" fmla="*/ 34 w 37"/>
                <a:gd name="T15" fmla="*/ 10 h 62"/>
                <a:gd name="T16" fmla="*/ 13 w 37"/>
                <a:gd name="T17" fmla="*/ 31 h 62"/>
                <a:gd name="T18" fmla="*/ 34 w 37"/>
                <a:gd name="T19" fmla="*/ 52 h 62"/>
                <a:gd name="T20" fmla="*/ 34 w 37"/>
                <a:gd name="T21" fmla="*/ 60 h 62"/>
                <a:gd name="T22" fmla="*/ 31 w 37"/>
                <a:gd name="T23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7" h="62">
                  <a:moveTo>
                    <a:pt x="31" y="62"/>
                  </a:moveTo>
                  <a:cubicBezTo>
                    <a:pt x="29" y="62"/>
                    <a:pt x="28" y="61"/>
                    <a:pt x="27" y="60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0" y="34"/>
                    <a:pt x="0" y="32"/>
                    <a:pt x="0" y="31"/>
                  </a:cubicBezTo>
                  <a:cubicBezTo>
                    <a:pt x="0" y="30"/>
                    <a:pt x="0" y="28"/>
                    <a:pt x="1" y="27"/>
                  </a:cubicBezTo>
                  <a:cubicBezTo>
                    <a:pt x="27" y="2"/>
                    <a:pt x="27" y="2"/>
                    <a:pt x="27" y="2"/>
                  </a:cubicBezTo>
                  <a:cubicBezTo>
                    <a:pt x="29" y="0"/>
                    <a:pt x="32" y="0"/>
                    <a:pt x="34" y="2"/>
                  </a:cubicBezTo>
                  <a:cubicBezTo>
                    <a:pt x="37" y="4"/>
                    <a:pt x="37" y="8"/>
                    <a:pt x="34" y="10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34" y="52"/>
                    <a:pt x="34" y="52"/>
                    <a:pt x="34" y="52"/>
                  </a:cubicBezTo>
                  <a:cubicBezTo>
                    <a:pt x="37" y="55"/>
                    <a:pt x="37" y="58"/>
                    <a:pt x="34" y="60"/>
                  </a:cubicBezTo>
                  <a:cubicBezTo>
                    <a:pt x="33" y="61"/>
                    <a:pt x="32" y="62"/>
                    <a:pt x="31" y="6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01" name="Freeform 1492">
              <a:extLst>
                <a:ext uri="{FF2B5EF4-FFF2-40B4-BE49-F238E27FC236}">
                  <a16:creationId xmlns:a16="http://schemas.microsoft.com/office/drawing/2014/main" id="{59745E0F-CF88-F816-9252-CD7FDACC4A82}"/>
                </a:ext>
              </a:extLst>
            </p:cNvPr>
            <p:cNvSpPr>
              <a:spLocks/>
            </p:cNvSpPr>
            <p:nvPr/>
          </p:nvSpPr>
          <p:spPr bwMode="auto">
            <a:xfrm>
              <a:off x="-4284666" y="1932941"/>
              <a:ext cx="84138" cy="12700"/>
            </a:xfrm>
            <a:custGeom>
              <a:avLst/>
              <a:gdLst>
                <a:gd name="T0" fmla="*/ 76 w 81"/>
                <a:gd name="T1" fmla="*/ 11 h 11"/>
                <a:gd name="T2" fmla="*/ 5 w 81"/>
                <a:gd name="T3" fmla="*/ 11 h 11"/>
                <a:gd name="T4" fmla="*/ 0 w 81"/>
                <a:gd name="T5" fmla="*/ 5 h 11"/>
                <a:gd name="T6" fmla="*/ 5 w 81"/>
                <a:gd name="T7" fmla="*/ 0 h 11"/>
                <a:gd name="T8" fmla="*/ 76 w 81"/>
                <a:gd name="T9" fmla="*/ 0 h 11"/>
                <a:gd name="T10" fmla="*/ 81 w 81"/>
                <a:gd name="T11" fmla="*/ 5 h 11"/>
                <a:gd name="T12" fmla="*/ 76 w 81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" h="11">
                  <a:moveTo>
                    <a:pt x="76" y="11"/>
                  </a:moveTo>
                  <a:cubicBezTo>
                    <a:pt x="5" y="11"/>
                    <a:pt x="5" y="11"/>
                    <a:pt x="5" y="11"/>
                  </a:cubicBezTo>
                  <a:cubicBezTo>
                    <a:pt x="2" y="11"/>
                    <a:pt x="0" y="8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79" y="0"/>
                    <a:pt x="81" y="2"/>
                    <a:pt x="81" y="5"/>
                  </a:cubicBezTo>
                  <a:cubicBezTo>
                    <a:pt x="81" y="8"/>
                    <a:pt x="79" y="11"/>
                    <a:pt x="76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02" name="Freeform 1493">
              <a:extLst>
                <a:ext uri="{FF2B5EF4-FFF2-40B4-BE49-F238E27FC236}">
                  <a16:creationId xmlns:a16="http://schemas.microsoft.com/office/drawing/2014/main" id="{2FEC1498-7A2E-D9CF-787C-6D8E222B9504}"/>
                </a:ext>
              </a:extLst>
            </p:cNvPr>
            <p:cNvSpPr>
              <a:spLocks/>
            </p:cNvSpPr>
            <p:nvPr/>
          </p:nvSpPr>
          <p:spPr bwMode="auto">
            <a:xfrm>
              <a:off x="-3935416" y="1905954"/>
              <a:ext cx="39688" cy="65087"/>
            </a:xfrm>
            <a:custGeom>
              <a:avLst/>
              <a:gdLst>
                <a:gd name="T0" fmla="*/ 6 w 38"/>
                <a:gd name="T1" fmla="*/ 62 h 62"/>
                <a:gd name="T2" fmla="*/ 3 w 38"/>
                <a:gd name="T3" fmla="*/ 60 h 62"/>
                <a:gd name="T4" fmla="*/ 3 w 38"/>
                <a:gd name="T5" fmla="*/ 52 h 62"/>
                <a:gd name="T6" fmla="*/ 24 w 38"/>
                <a:gd name="T7" fmla="*/ 31 h 62"/>
                <a:gd name="T8" fmla="*/ 3 w 38"/>
                <a:gd name="T9" fmla="*/ 10 h 62"/>
                <a:gd name="T10" fmla="*/ 3 w 38"/>
                <a:gd name="T11" fmla="*/ 2 h 62"/>
                <a:gd name="T12" fmla="*/ 10 w 38"/>
                <a:gd name="T13" fmla="*/ 2 h 62"/>
                <a:gd name="T14" fmla="*/ 36 w 38"/>
                <a:gd name="T15" fmla="*/ 27 h 62"/>
                <a:gd name="T16" fmla="*/ 36 w 38"/>
                <a:gd name="T17" fmla="*/ 35 h 62"/>
                <a:gd name="T18" fmla="*/ 10 w 38"/>
                <a:gd name="T19" fmla="*/ 60 h 62"/>
                <a:gd name="T20" fmla="*/ 6 w 38"/>
                <a:gd name="T21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8" h="62">
                  <a:moveTo>
                    <a:pt x="6" y="62"/>
                  </a:moveTo>
                  <a:cubicBezTo>
                    <a:pt x="5" y="62"/>
                    <a:pt x="4" y="61"/>
                    <a:pt x="3" y="60"/>
                  </a:cubicBezTo>
                  <a:cubicBezTo>
                    <a:pt x="0" y="58"/>
                    <a:pt x="0" y="55"/>
                    <a:pt x="3" y="52"/>
                  </a:cubicBezTo>
                  <a:cubicBezTo>
                    <a:pt x="24" y="31"/>
                    <a:pt x="24" y="31"/>
                    <a:pt x="24" y="31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0" y="8"/>
                    <a:pt x="0" y="4"/>
                    <a:pt x="3" y="2"/>
                  </a:cubicBezTo>
                  <a:cubicBezTo>
                    <a:pt x="5" y="0"/>
                    <a:pt x="8" y="0"/>
                    <a:pt x="10" y="2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8" y="29"/>
                    <a:pt x="38" y="33"/>
                    <a:pt x="36" y="35"/>
                  </a:cubicBezTo>
                  <a:cubicBezTo>
                    <a:pt x="10" y="60"/>
                    <a:pt x="10" y="60"/>
                    <a:pt x="10" y="60"/>
                  </a:cubicBezTo>
                  <a:cubicBezTo>
                    <a:pt x="9" y="61"/>
                    <a:pt x="8" y="62"/>
                    <a:pt x="6" y="6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03" name="Freeform 1494">
              <a:extLst>
                <a:ext uri="{FF2B5EF4-FFF2-40B4-BE49-F238E27FC236}">
                  <a16:creationId xmlns:a16="http://schemas.microsoft.com/office/drawing/2014/main" id="{071F285C-F586-EE9D-EA1C-6E746801B26C}"/>
                </a:ext>
              </a:extLst>
            </p:cNvPr>
            <p:cNvSpPr>
              <a:spLocks/>
            </p:cNvSpPr>
            <p:nvPr/>
          </p:nvSpPr>
          <p:spPr bwMode="auto">
            <a:xfrm>
              <a:off x="-3979862" y="1932941"/>
              <a:ext cx="84138" cy="12700"/>
            </a:xfrm>
            <a:custGeom>
              <a:avLst/>
              <a:gdLst>
                <a:gd name="T0" fmla="*/ 76 w 81"/>
                <a:gd name="T1" fmla="*/ 11 h 11"/>
                <a:gd name="T2" fmla="*/ 5 w 81"/>
                <a:gd name="T3" fmla="*/ 11 h 11"/>
                <a:gd name="T4" fmla="*/ 0 w 81"/>
                <a:gd name="T5" fmla="*/ 5 h 11"/>
                <a:gd name="T6" fmla="*/ 5 w 81"/>
                <a:gd name="T7" fmla="*/ 0 h 11"/>
                <a:gd name="T8" fmla="*/ 76 w 81"/>
                <a:gd name="T9" fmla="*/ 0 h 11"/>
                <a:gd name="T10" fmla="*/ 81 w 81"/>
                <a:gd name="T11" fmla="*/ 5 h 11"/>
                <a:gd name="T12" fmla="*/ 76 w 81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" h="11">
                  <a:moveTo>
                    <a:pt x="76" y="11"/>
                  </a:moveTo>
                  <a:cubicBezTo>
                    <a:pt x="5" y="11"/>
                    <a:pt x="5" y="11"/>
                    <a:pt x="5" y="11"/>
                  </a:cubicBezTo>
                  <a:cubicBezTo>
                    <a:pt x="2" y="11"/>
                    <a:pt x="0" y="8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79" y="0"/>
                    <a:pt x="81" y="2"/>
                    <a:pt x="81" y="5"/>
                  </a:cubicBezTo>
                  <a:cubicBezTo>
                    <a:pt x="81" y="8"/>
                    <a:pt x="79" y="11"/>
                    <a:pt x="76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04" name="Freeform 1495">
              <a:extLst>
                <a:ext uri="{FF2B5EF4-FFF2-40B4-BE49-F238E27FC236}">
                  <a16:creationId xmlns:a16="http://schemas.microsoft.com/office/drawing/2014/main" id="{E944325D-C0D7-987D-658D-995E22D51EB0}"/>
                </a:ext>
              </a:extLst>
            </p:cNvPr>
            <p:cNvSpPr>
              <a:spLocks/>
            </p:cNvSpPr>
            <p:nvPr/>
          </p:nvSpPr>
          <p:spPr bwMode="auto">
            <a:xfrm>
              <a:off x="-4229100" y="1799591"/>
              <a:ext cx="47625" cy="49213"/>
            </a:xfrm>
            <a:custGeom>
              <a:avLst/>
              <a:gdLst>
                <a:gd name="T0" fmla="*/ 6 w 47"/>
                <a:gd name="T1" fmla="*/ 47 h 47"/>
                <a:gd name="T2" fmla="*/ 0 w 47"/>
                <a:gd name="T3" fmla="*/ 41 h 47"/>
                <a:gd name="T4" fmla="*/ 0 w 47"/>
                <a:gd name="T5" fmla="*/ 6 h 47"/>
                <a:gd name="T6" fmla="*/ 6 w 47"/>
                <a:gd name="T7" fmla="*/ 0 h 47"/>
                <a:gd name="T8" fmla="*/ 41 w 47"/>
                <a:gd name="T9" fmla="*/ 0 h 47"/>
                <a:gd name="T10" fmla="*/ 47 w 47"/>
                <a:gd name="T11" fmla="*/ 6 h 47"/>
                <a:gd name="T12" fmla="*/ 41 w 47"/>
                <a:gd name="T13" fmla="*/ 11 h 47"/>
                <a:gd name="T14" fmla="*/ 11 w 47"/>
                <a:gd name="T15" fmla="*/ 11 h 47"/>
                <a:gd name="T16" fmla="*/ 11 w 47"/>
                <a:gd name="T17" fmla="*/ 41 h 47"/>
                <a:gd name="T18" fmla="*/ 6 w 47"/>
                <a:gd name="T19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" h="47">
                  <a:moveTo>
                    <a:pt x="6" y="47"/>
                  </a:moveTo>
                  <a:cubicBezTo>
                    <a:pt x="3" y="47"/>
                    <a:pt x="0" y="44"/>
                    <a:pt x="0" y="41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4" y="0"/>
                    <a:pt x="47" y="3"/>
                    <a:pt x="47" y="6"/>
                  </a:cubicBezTo>
                  <a:cubicBezTo>
                    <a:pt x="47" y="9"/>
                    <a:pt x="44" y="11"/>
                    <a:pt x="4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41"/>
                    <a:pt x="11" y="41"/>
                    <a:pt x="11" y="41"/>
                  </a:cubicBezTo>
                  <a:cubicBezTo>
                    <a:pt x="11" y="44"/>
                    <a:pt x="9" y="47"/>
                    <a:pt x="6" y="4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05" name="Freeform 1496">
              <a:extLst>
                <a:ext uri="{FF2B5EF4-FFF2-40B4-BE49-F238E27FC236}">
                  <a16:creationId xmlns:a16="http://schemas.microsoft.com/office/drawing/2014/main" id="{6EFEC54D-7C70-DB8E-9C62-790975F36B97}"/>
                </a:ext>
              </a:extLst>
            </p:cNvPr>
            <p:cNvSpPr>
              <a:spLocks/>
            </p:cNvSpPr>
            <p:nvPr/>
          </p:nvSpPr>
          <p:spPr bwMode="auto">
            <a:xfrm>
              <a:off x="-4229100" y="1799593"/>
              <a:ext cx="63500" cy="63500"/>
            </a:xfrm>
            <a:custGeom>
              <a:avLst/>
              <a:gdLst>
                <a:gd name="T0" fmla="*/ 56 w 62"/>
                <a:gd name="T1" fmla="*/ 61 h 61"/>
                <a:gd name="T2" fmla="*/ 52 w 62"/>
                <a:gd name="T3" fmla="*/ 59 h 61"/>
                <a:gd name="T4" fmla="*/ 2 w 62"/>
                <a:gd name="T5" fmla="*/ 9 h 61"/>
                <a:gd name="T6" fmla="*/ 2 w 62"/>
                <a:gd name="T7" fmla="*/ 2 h 61"/>
                <a:gd name="T8" fmla="*/ 9 w 62"/>
                <a:gd name="T9" fmla="*/ 2 h 61"/>
                <a:gd name="T10" fmla="*/ 59 w 62"/>
                <a:gd name="T11" fmla="*/ 52 h 61"/>
                <a:gd name="T12" fmla="*/ 59 w 62"/>
                <a:gd name="T13" fmla="*/ 59 h 61"/>
                <a:gd name="T14" fmla="*/ 56 w 62"/>
                <a:gd name="T15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2" h="61">
                  <a:moveTo>
                    <a:pt x="56" y="61"/>
                  </a:moveTo>
                  <a:cubicBezTo>
                    <a:pt x="54" y="61"/>
                    <a:pt x="53" y="60"/>
                    <a:pt x="52" y="59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0" y="7"/>
                    <a:pt x="0" y="4"/>
                    <a:pt x="2" y="2"/>
                  </a:cubicBezTo>
                  <a:cubicBezTo>
                    <a:pt x="4" y="0"/>
                    <a:pt x="7" y="0"/>
                    <a:pt x="9" y="2"/>
                  </a:cubicBezTo>
                  <a:cubicBezTo>
                    <a:pt x="59" y="52"/>
                    <a:pt x="59" y="52"/>
                    <a:pt x="59" y="52"/>
                  </a:cubicBezTo>
                  <a:cubicBezTo>
                    <a:pt x="62" y="54"/>
                    <a:pt x="62" y="57"/>
                    <a:pt x="59" y="59"/>
                  </a:cubicBezTo>
                  <a:cubicBezTo>
                    <a:pt x="58" y="60"/>
                    <a:pt x="57" y="61"/>
                    <a:pt x="56" y="6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06" name="Freeform 1497">
              <a:extLst>
                <a:ext uri="{FF2B5EF4-FFF2-40B4-BE49-F238E27FC236}">
                  <a16:creationId xmlns:a16="http://schemas.microsoft.com/office/drawing/2014/main" id="{8AF639BB-D538-C4FF-E99E-304CA9ADB0AF}"/>
                </a:ext>
              </a:extLst>
            </p:cNvPr>
            <p:cNvSpPr>
              <a:spLocks/>
            </p:cNvSpPr>
            <p:nvPr/>
          </p:nvSpPr>
          <p:spPr bwMode="auto">
            <a:xfrm>
              <a:off x="-4000500" y="2029780"/>
              <a:ext cx="49213" cy="47624"/>
            </a:xfrm>
            <a:custGeom>
              <a:avLst/>
              <a:gdLst>
                <a:gd name="T0" fmla="*/ 41 w 47"/>
                <a:gd name="T1" fmla="*/ 47 h 47"/>
                <a:gd name="T2" fmla="*/ 6 w 47"/>
                <a:gd name="T3" fmla="*/ 47 h 47"/>
                <a:gd name="T4" fmla="*/ 0 w 47"/>
                <a:gd name="T5" fmla="*/ 41 h 47"/>
                <a:gd name="T6" fmla="*/ 6 w 47"/>
                <a:gd name="T7" fmla="*/ 36 h 47"/>
                <a:gd name="T8" fmla="*/ 36 w 47"/>
                <a:gd name="T9" fmla="*/ 36 h 47"/>
                <a:gd name="T10" fmla="*/ 36 w 47"/>
                <a:gd name="T11" fmla="*/ 6 h 47"/>
                <a:gd name="T12" fmla="*/ 41 w 47"/>
                <a:gd name="T13" fmla="*/ 0 h 47"/>
                <a:gd name="T14" fmla="*/ 47 w 47"/>
                <a:gd name="T15" fmla="*/ 6 h 47"/>
                <a:gd name="T16" fmla="*/ 47 w 47"/>
                <a:gd name="T17" fmla="*/ 41 h 47"/>
                <a:gd name="T18" fmla="*/ 41 w 47"/>
                <a:gd name="T19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" h="47">
                  <a:moveTo>
                    <a:pt x="41" y="47"/>
                  </a:moveTo>
                  <a:cubicBezTo>
                    <a:pt x="6" y="47"/>
                    <a:pt x="6" y="47"/>
                    <a:pt x="6" y="47"/>
                  </a:cubicBezTo>
                  <a:cubicBezTo>
                    <a:pt x="3" y="47"/>
                    <a:pt x="0" y="45"/>
                    <a:pt x="0" y="41"/>
                  </a:cubicBezTo>
                  <a:cubicBezTo>
                    <a:pt x="0" y="38"/>
                    <a:pt x="3" y="36"/>
                    <a:pt x="6" y="36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36" y="6"/>
                    <a:pt x="36" y="6"/>
                    <a:pt x="36" y="6"/>
                  </a:cubicBezTo>
                  <a:cubicBezTo>
                    <a:pt x="36" y="3"/>
                    <a:pt x="38" y="0"/>
                    <a:pt x="41" y="0"/>
                  </a:cubicBezTo>
                  <a:cubicBezTo>
                    <a:pt x="45" y="0"/>
                    <a:pt x="47" y="3"/>
                    <a:pt x="47" y="6"/>
                  </a:cubicBezTo>
                  <a:cubicBezTo>
                    <a:pt x="47" y="41"/>
                    <a:pt x="47" y="41"/>
                    <a:pt x="47" y="41"/>
                  </a:cubicBezTo>
                  <a:cubicBezTo>
                    <a:pt x="47" y="45"/>
                    <a:pt x="45" y="47"/>
                    <a:pt x="41" y="4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07" name="Freeform 1498">
              <a:extLst>
                <a:ext uri="{FF2B5EF4-FFF2-40B4-BE49-F238E27FC236}">
                  <a16:creationId xmlns:a16="http://schemas.microsoft.com/office/drawing/2014/main" id="{996738A8-C24D-3643-9235-875C48AFACCE}"/>
                </a:ext>
              </a:extLst>
            </p:cNvPr>
            <p:cNvSpPr>
              <a:spLocks/>
            </p:cNvSpPr>
            <p:nvPr/>
          </p:nvSpPr>
          <p:spPr bwMode="auto">
            <a:xfrm>
              <a:off x="-4014788" y="2013904"/>
              <a:ext cx="65088" cy="63500"/>
            </a:xfrm>
            <a:custGeom>
              <a:avLst/>
              <a:gdLst>
                <a:gd name="T0" fmla="*/ 55 w 62"/>
                <a:gd name="T1" fmla="*/ 61 h 61"/>
                <a:gd name="T2" fmla="*/ 52 w 62"/>
                <a:gd name="T3" fmla="*/ 59 h 61"/>
                <a:gd name="T4" fmla="*/ 2 w 62"/>
                <a:gd name="T5" fmla="*/ 9 h 61"/>
                <a:gd name="T6" fmla="*/ 2 w 62"/>
                <a:gd name="T7" fmla="*/ 2 h 61"/>
                <a:gd name="T8" fmla="*/ 9 w 62"/>
                <a:gd name="T9" fmla="*/ 2 h 61"/>
                <a:gd name="T10" fmla="*/ 59 w 62"/>
                <a:gd name="T11" fmla="*/ 52 h 61"/>
                <a:gd name="T12" fmla="*/ 59 w 62"/>
                <a:gd name="T13" fmla="*/ 59 h 61"/>
                <a:gd name="T14" fmla="*/ 55 w 62"/>
                <a:gd name="T15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2" h="61">
                  <a:moveTo>
                    <a:pt x="55" y="61"/>
                  </a:moveTo>
                  <a:cubicBezTo>
                    <a:pt x="54" y="61"/>
                    <a:pt x="53" y="60"/>
                    <a:pt x="52" y="59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0" y="7"/>
                    <a:pt x="0" y="4"/>
                    <a:pt x="2" y="2"/>
                  </a:cubicBezTo>
                  <a:cubicBezTo>
                    <a:pt x="4" y="0"/>
                    <a:pt x="7" y="0"/>
                    <a:pt x="9" y="2"/>
                  </a:cubicBezTo>
                  <a:cubicBezTo>
                    <a:pt x="59" y="52"/>
                    <a:pt x="59" y="52"/>
                    <a:pt x="59" y="52"/>
                  </a:cubicBezTo>
                  <a:cubicBezTo>
                    <a:pt x="62" y="54"/>
                    <a:pt x="62" y="57"/>
                    <a:pt x="59" y="59"/>
                  </a:cubicBezTo>
                  <a:cubicBezTo>
                    <a:pt x="58" y="60"/>
                    <a:pt x="57" y="61"/>
                    <a:pt x="55" y="6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08" name="Freeform 1499">
              <a:extLst>
                <a:ext uri="{FF2B5EF4-FFF2-40B4-BE49-F238E27FC236}">
                  <a16:creationId xmlns:a16="http://schemas.microsoft.com/office/drawing/2014/main" id="{90804839-C2C1-3AC4-C364-8DFEF849E0DB}"/>
                </a:ext>
              </a:extLst>
            </p:cNvPr>
            <p:cNvSpPr>
              <a:spLocks/>
            </p:cNvSpPr>
            <p:nvPr/>
          </p:nvSpPr>
          <p:spPr bwMode="auto">
            <a:xfrm>
              <a:off x="-4229100" y="2029780"/>
              <a:ext cx="47625" cy="47624"/>
            </a:xfrm>
            <a:custGeom>
              <a:avLst/>
              <a:gdLst>
                <a:gd name="T0" fmla="*/ 41 w 47"/>
                <a:gd name="T1" fmla="*/ 47 h 47"/>
                <a:gd name="T2" fmla="*/ 6 w 47"/>
                <a:gd name="T3" fmla="*/ 47 h 47"/>
                <a:gd name="T4" fmla="*/ 0 w 47"/>
                <a:gd name="T5" fmla="*/ 41 h 47"/>
                <a:gd name="T6" fmla="*/ 0 w 47"/>
                <a:gd name="T7" fmla="*/ 6 h 47"/>
                <a:gd name="T8" fmla="*/ 6 w 47"/>
                <a:gd name="T9" fmla="*/ 0 h 47"/>
                <a:gd name="T10" fmla="*/ 11 w 47"/>
                <a:gd name="T11" fmla="*/ 6 h 47"/>
                <a:gd name="T12" fmla="*/ 11 w 47"/>
                <a:gd name="T13" fmla="*/ 36 h 47"/>
                <a:gd name="T14" fmla="*/ 41 w 47"/>
                <a:gd name="T15" fmla="*/ 36 h 47"/>
                <a:gd name="T16" fmla="*/ 47 w 47"/>
                <a:gd name="T17" fmla="*/ 41 h 47"/>
                <a:gd name="T18" fmla="*/ 41 w 47"/>
                <a:gd name="T19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" h="47">
                  <a:moveTo>
                    <a:pt x="41" y="47"/>
                  </a:moveTo>
                  <a:cubicBezTo>
                    <a:pt x="6" y="47"/>
                    <a:pt x="6" y="47"/>
                    <a:pt x="6" y="47"/>
                  </a:cubicBezTo>
                  <a:cubicBezTo>
                    <a:pt x="3" y="47"/>
                    <a:pt x="0" y="45"/>
                    <a:pt x="0" y="41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1" y="3"/>
                    <a:pt x="11" y="6"/>
                  </a:cubicBezTo>
                  <a:cubicBezTo>
                    <a:pt x="11" y="36"/>
                    <a:pt x="11" y="36"/>
                    <a:pt x="1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4" y="36"/>
                    <a:pt x="47" y="38"/>
                    <a:pt x="47" y="41"/>
                  </a:cubicBezTo>
                  <a:cubicBezTo>
                    <a:pt x="47" y="45"/>
                    <a:pt x="44" y="47"/>
                    <a:pt x="41" y="4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09" name="Freeform 1500">
              <a:extLst>
                <a:ext uri="{FF2B5EF4-FFF2-40B4-BE49-F238E27FC236}">
                  <a16:creationId xmlns:a16="http://schemas.microsoft.com/office/drawing/2014/main" id="{CD0FA37A-2D1E-61F4-1E94-ACB8E0F050D5}"/>
                </a:ext>
              </a:extLst>
            </p:cNvPr>
            <p:cNvSpPr>
              <a:spLocks/>
            </p:cNvSpPr>
            <p:nvPr/>
          </p:nvSpPr>
          <p:spPr bwMode="auto">
            <a:xfrm>
              <a:off x="-4229104" y="2013904"/>
              <a:ext cx="63500" cy="63500"/>
            </a:xfrm>
            <a:custGeom>
              <a:avLst/>
              <a:gdLst>
                <a:gd name="T0" fmla="*/ 6 w 62"/>
                <a:gd name="T1" fmla="*/ 61 h 61"/>
                <a:gd name="T2" fmla="*/ 2 w 62"/>
                <a:gd name="T3" fmla="*/ 59 h 61"/>
                <a:gd name="T4" fmla="*/ 2 w 62"/>
                <a:gd name="T5" fmla="*/ 52 h 61"/>
                <a:gd name="T6" fmla="*/ 52 w 62"/>
                <a:gd name="T7" fmla="*/ 2 h 61"/>
                <a:gd name="T8" fmla="*/ 59 w 62"/>
                <a:gd name="T9" fmla="*/ 2 h 61"/>
                <a:gd name="T10" fmla="*/ 59 w 62"/>
                <a:gd name="T11" fmla="*/ 9 h 61"/>
                <a:gd name="T12" fmla="*/ 9 w 62"/>
                <a:gd name="T13" fmla="*/ 59 h 61"/>
                <a:gd name="T14" fmla="*/ 6 w 62"/>
                <a:gd name="T15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2" h="61">
                  <a:moveTo>
                    <a:pt x="6" y="61"/>
                  </a:moveTo>
                  <a:cubicBezTo>
                    <a:pt x="4" y="61"/>
                    <a:pt x="3" y="60"/>
                    <a:pt x="2" y="59"/>
                  </a:cubicBezTo>
                  <a:cubicBezTo>
                    <a:pt x="0" y="57"/>
                    <a:pt x="0" y="54"/>
                    <a:pt x="2" y="52"/>
                  </a:cubicBezTo>
                  <a:cubicBezTo>
                    <a:pt x="52" y="2"/>
                    <a:pt x="52" y="2"/>
                    <a:pt x="52" y="2"/>
                  </a:cubicBezTo>
                  <a:cubicBezTo>
                    <a:pt x="54" y="0"/>
                    <a:pt x="57" y="0"/>
                    <a:pt x="59" y="2"/>
                  </a:cubicBezTo>
                  <a:cubicBezTo>
                    <a:pt x="62" y="4"/>
                    <a:pt x="62" y="7"/>
                    <a:pt x="59" y="9"/>
                  </a:cubicBezTo>
                  <a:cubicBezTo>
                    <a:pt x="9" y="59"/>
                    <a:pt x="9" y="59"/>
                    <a:pt x="9" y="59"/>
                  </a:cubicBezTo>
                  <a:cubicBezTo>
                    <a:pt x="8" y="60"/>
                    <a:pt x="7" y="61"/>
                    <a:pt x="6" y="6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10" name="Freeform 1501">
              <a:extLst>
                <a:ext uri="{FF2B5EF4-FFF2-40B4-BE49-F238E27FC236}">
                  <a16:creationId xmlns:a16="http://schemas.microsoft.com/office/drawing/2014/main" id="{CA44222E-77A6-8078-0C7E-63AC2CCA626F}"/>
                </a:ext>
              </a:extLst>
            </p:cNvPr>
            <p:cNvSpPr>
              <a:spLocks/>
            </p:cNvSpPr>
            <p:nvPr/>
          </p:nvSpPr>
          <p:spPr bwMode="auto">
            <a:xfrm>
              <a:off x="-4000504" y="1799602"/>
              <a:ext cx="49213" cy="49213"/>
            </a:xfrm>
            <a:custGeom>
              <a:avLst/>
              <a:gdLst>
                <a:gd name="T0" fmla="*/ 41 w 47"/>
                <a:gd name="T1" fmla="*/ 47 h 47"/>
                <a:gd name="T2" fmla="*/ 36 w 47"/>
                <a:gd name="T3" fmla="*/ 41 h 47"/>
                <a:gd name="T4" fmla="*/ 36 w 47"/>
                <a:gd name="T5" fmla="*/ 11 h 47"/>
                <a:gd name="T6" fmla="*/ 6 w 47"/>
                <a:gd name="T7" fmla="*/ 11 h 47"/>
                <a:gd name="T8" fmla="*/ 0 w 47"/>
                <a:gd name="T9" fmla="*/ 6 h 47"/>
                <a:gd name="T10" fmla="*/ 6 w 47"/>
                <a:gd name="T11" fmla="*/ 0 h 47"/>
                <a:gd name="T12" fmla="*/ 41 w 47"/>
                <a:gd name="T13" fmla="*/ 0 h 47"/>
                <a:gd name="T14" fmla="*/ 47 w 47"/>
                <a:gd name="T15" fmla="*/ 6 h 47"/>
                <a:gd name="T16" fmla="*/ 47 w 47"/>
                <a:gd name="T17" fmla="*/ 41 h 47"/>
                <a:gd name="T18" fmla="*/ 41 w 47"/>
                <a:gd name="T19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" h="47">
                  <a:moveTo>
                    <a:pt x="41" y="47"/>
                  </a:moveTo>
                  <a:cubicBezTo>
                    <a:pt x="38" y="47"/>
                    <a:pt x="36" y="44"/>
                    <a:pt x="36" y="41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3" y="11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5" y="0"/>
                    <a:pt x="47" y="3"/>
                    <a:pt x="47" y="6"/>
                  </a:cubicBezTo>
                  <a:cubicBezTo>
                    <a:pt x="47" y="41"/>
                    <a:pt x="47" y="41"/>
                    <a:pt x="47" y="41"/>
                  </a:cubicBezTo>
                  <a:cubicBezTo>
                    <a:pt x="47" y="44"/>
                    <a:pt x="45" y="47"/>
                    <a:pt x="41" y="4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11" name="Freeform 1502">
              <a:extLst>
                <a:ext uri="{FF2B5EF4-FFF2-40B4-BE49-F238E27FC236}">
                  <a16:creationId xmlns:a16="http://schemas.microsoft.com/office/drawing/2014/main" id="{0599690E-D1FB-0D1E-CD7B-ABD50605BD58}"/>
                </a:ext>
              </a:extLst>
            </p:cNvPr>
            <p:cNvSpPr>
              <a:spLocks/>
            </p:cNvSpPr>
            <p:nvPr/>
          </p:nvSpPr>
          <p:spPr bwMode="auto">
            <a:xfrm>
              <a:off x="-4014787" y="1799605"/>
              <a:ext cx="65088" cy="63500"/>
            </a:xfrm>
            <a:custGeom>
              <a:avLst/>
              <a:gdLst>
                <a:gd name="T0" fmla="*/ 6 w 62"/>
                <a:gd name="T1" fmla="*/ 61 h 61"/>
                <a:gd name="T2" fmla="*/ 2 w 62"/>
                <a:gd name="T3" fmla="*/ 59 h 61"/>
                <a:gd name="T4" fmla="*/ 2 w 62"/>
                <a:gd name="T5" fmla="*/ 52 h 61"/>
                <a:gd name="T6" fmla="*/ 52 w 62"/>
                <a:gd name="T7" fmla="*/ 2 h 61"/>
                <a:gd name="T8" fmla="*/ 59 w 62"/>
                <a:gd name="T9" fmla="*/ 2 h 61"/>
                <a:gd name="T10" fmla="*/ 59 w 62"/>
                <a:gd name="T11" fmla="*/ 9 h 61"/>
                <a:gd name="T12" fmla="*/ 9 w 62"/>
                <a:gd name="T13" fmla="*/ 59 h 61"/>
                <a:gd name="T14" fmla="*/ 6 w 62"/>
                <a:gd name="T15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2" h="61">
                  <a:moveTo>
                    <a:pt x="6" y="61"/>
                  </a:moveTo>
                  <a:cubicBezTo>
                    <a:pt x="4" y="61"/>
                    <a:pt x="3" y="60"/>
                    <a:pt x="2" y="59"/>
                  </a:cubicBezTo>
                  <a:cubicBezTo>
                    <a:pt x="0" y="57"/>
                    <a:pt x="0" y="54"/>
                    <a:pt x="2" y="52"/>
                  </a:cubicBezTo>
                  <a:cubicBezTo>
                    <a:pt x="52" y="2"/>
                    <a:pt x="52" y="2"/>
                    <a:pt x="52" y="2"/>
                  </a:cubicBezTo>
                  <a:cubicBezTo>
                    <a:pt x="54" y="0"/>
                    <a:pt x="57" y="0"/>
                    <a:pt x="59" y="2"/>
                  </a:cubicBezTo>
                  <a:cubicBezTo>
                    <a:pt x="62" y="4"/>
                    <a:pt x="62" y="7"/>
                    <a:pt x="59" y="9"/>
                  </a:cubicBezTo>
                  <a:cubicBezTo>
                    <a:pt x="9" y="59"/>
                    <a:pt x="9" y="59"/>
                    <a:pt x="9" y="59"/>
                  </a:cubicBezTo>
                  <a:cubicBezTo>
                    <a:pt x="8" y="60"/>
                    <a:pt x="7" y="61"/>
                    <a:pt x="6" y="6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12" name="Shape53_20200717_142846">
            <a:extLst>
              <a:ext uri="{FF2B5EF4-FFF2-40B4-BE49-F238E27FC236}">
                <a16:creationId xmlns:a16="http://schemas.microsoft.com/office/drawing/2014/main" id="{4FA8970F-7301-5B47-F95A-0CD80A758024}"/>
              </a:ext>
            </a:extLst>
          </p:cNvPr>
          <p:cNvGrpSpPr>
            <a:grpSpLocks noChangeAspect="1"/>
          </p:cNvGrpSpPr>
          <p:nvPr/>
        </p:nvGrpSpPr>
        <p:grpSpPr>
          <a:xfrm>
            <a:off x="8337690" y="2561632"/>
            <a:ext cx="738843" cy="534940"/>
            <a:chOff x="-2125661" y="2574311"/>
            <a:chExt cx="488949" cy="354011"/>
          </a:xfrm>
          <a:solidFill>
            <a:schemeClr val="accent1"/>
          </a:solidFill>
        </p:grpSpPr>
        <p:sp>
          <p:nvSpPr>
            <p:cNvPr id="313" name="Freeform 1510">
              <a:extLst>
                <a:ext uri="{FF2B5EF4-FFF2-40B4-BE49-F238E27FC236}">
                  <a16:creationId xmlns:a16="http://schemas.microsoft.com/office/drawing/2014/main" id="{04A7819F-376A-B8ED-C518-F2B7CA6A43D0}"/>
                </a:ext>
              </a:extLst>
            </p:cNvPr>
            <p:cNvSpPr>
              <a:spLocks/>
            </p:cNvSpPr>
            <p:nvPr/>
          </p:nvSpPr>
          <p:spPr bwMode="auto">
            <a:xfrm>
              <a:off x="-1725611" y="2726710"/>
              <a:ext cx="11113" cy="163513"/>
            </a:xfrm>
            <a:custGeom>
              <a:avLst/>
              <a:gdLst>
                <a:gd name="T0" fmla="*/ 6 w 11"/>
                <a:gd name="T1" fmla="*/ 156 h 156"/>
                <a:gd name="T2" fmla="*/ 0 w 11"/>
                <a:gd name="T3" fmla="*/ 150 h 156"/>
                <a:gd name="T4" fmla="*/ 0 w 11"/>
                <a:gd name="T5" fmla="*/ 6 h 156"/>
                <a:gd name="T6" fmla="*/ 6 w 11"/>
                <a:gd name="T7" fmla="*/ 0 h 156"/>
                <a:gd name="T8" fmla="*/ 11 w 11"/>
                <a:gd name="T9" fmla="*/ 6 h 156"/>
                <a:gd name="T10" fmla="*/ 11 w 11"/>
                <a:gd name="T11" fmla="*/ 150 h 156"/>
                <a:gd name="T12" fmla="*/ 6 w 11"/>
                <a:gd name="T13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156">
                  <a:moveTo>
                    <a:pt x="6" y="156"/>
                  </a:moveTo>
                  <a:cubicBezTo>
                    <a:pt x="3" y="156"/>
                    <a:pt x="0" y="153"/>
                    <a:pt x="0" y="15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1" y="3"/>
                    <a:pt x="11" y="6"/>
                  </a:cubicBezTo>
                  <a:cubicBezTo>
                    <a:pt x="11" y="150"/>
                    <a:pt x="11" y="150"/>
                    <a:pt x="11" y="150"/>
                  </a:cubicBezTo>
                  <a:cubicBezTo>
                    <a:pt x="11" y="153"/>
                    <a:pt x="9" y="156"/>
                    <a:pt x="6" y="15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14" name="Freeform 1511">
              <a:extLst>
                <a:ext uri="{FF2B5EF4-FFF2-40B4-BE49-F238E27FC236}">
                  <a16:creationId xmlns:a16="http://schemas.microsoft.com/office/drawing/2014/main" id="{5796693F-49CA-CAA2-036B-B46ECBFBE3B9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82799" y="2648923"/>
              <a:ext cx="290513" cy="241300"/>
            </a:xfrm>
            <a:custGeom>
              <a:avLst/>
              <a:gdLst>
                <a:gd name="T0" fmla="*/ 6 w 280"/>
                <a:gd name="T1" fmla="*/ 231 h 231"/>
                <a:gd name="T2" fmla="*/ 0 w 280"/>
                <a:gd name="T3" fmla="*/ 225 h 231"/>
                <a:gd name="T4" fmla="*/ 0 w 280"/>
                <a:gd name="T5" fmla="*/ 31 h 231"/>
                <a:gd name="T6" fmla="*/ 31 w 280"/>
                <a:gd name="T7" fmla="*/ 0 h 231"/>
                <a:gd name="T8" fmla="*/ 275 w 280"/>
                <a:gd name="T9" fmla="*/ 0 h 231"/>
                <a:gd name="T10" fmla="*/ 280 w 280"/>
                <a:gd name="T11" fmla="*/ 6 h 231"/>
                <a:gd name="T12" fmla="*/ 275 w 280"/>
                <a:gd name="T13" fmla="*/ 11 h 231"/>
                <a:gd name="T14" fmla="*/ 31 w 280"/>
                <a:gd name="T15" fmla="*/ 11 h 231"/>
                <a:gd name="T16" fmla="*/ 11 w 280"/>
                <a:gd name="T17" fmla="*/ 31 h 231"/>
                <a:gd name="T18" fmla="*/ 11 w 280"/>
                <a:gd name="T19" fmla="*/ 225 h 231"/>
                <a:gd name="T20" fmla="*/ 6 w 280"/>
                <a:gd name="T21" fmla="*/ 231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0" h="231">
                  <a:moveTo>
                    <a:pt x="6" y="231"/>
                  </a:moveTo>
                  <a:cubicBezTo>
                    <a:pt x="3" y="231"/>
                    <a:pt x="0" y="228"/>
                    <a:pt x="0" y="225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14"/>
                    <a:pt x="14" y="0"/>
                    <a:pt x="31" y="0"/>
                  </a:cubicBezTo>
                  <a:cubicBezTo>
                    <a:pt x="275" y="0"/>
                    <a:pt x="275" y="0"/>
                    <a:pt x="275" y="0"/>
                  </a:cubicBezTo>
                  <a:cubicBezTo>
                    <a:pt x="278" y="0"/>
                    <a:pt x="280" y="3"/>
                    <a:pt x="280" y="6"/>
                  </a:cubicBezTo>
                  <a:cubicBezTo>
                    <a:pt x="280" y="9"/>
                    <a:pt x="278" y="11"/>
                    <a:pt x="275" y="11"/>
                  </a:cubicBezTo>
                  <a:cubicBezTo>
                    <a:pt x="31" y="11"/>
                    <a:pt x="31" y="11"/>
                    <a:pt x="31" y="11"/>
                  </a:cubicBezTo>
                  <a:cubicBezTo>
                    <a:pt x="20" y="11"/>
                    <a:pt x="11" y="20"/>
                    <a:pt x="11" y="31"/>
                  </a:cubicBezTo>
                  <a:cubicBezTo>
                    <a:pt x="11" y="225"/>
                    <a:pt x="11" y="225"/>
                    <a:pt x="11" y="225"/>
                  </a:cubicBezTo>
                  <a:cubicBezTo>
                    <a:pt x="11" y="228"/>
                    <a:pt x="9" y="231"/>
                    <a:pt x="6" y="23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15" name="Freeform 1512">
              <a:extLst>
                <a:ext uri="{FF2B5EF4-FFF2-40B4-BE49-F238E27FC236}">
                  <a16:creationId xmlns:a16="http://schemas.microsoft.com/office/drawing/2014/main" id="{5CC10070-E452-8DF6-440E-536AA218C0B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125661" y="2880697"/>
              <a:ext cx="454024" cy="47625"/>
            </a:xfrm>
            <a:custGeom>
              <a:avLst/>
              <a:gdLst>
                <a:gd name="T0" fmla="*/ 396 w 437"/>
                <a:gd name="T1" fmla="*/ 47 h 47"/>
                <a:gd name="T2" fmla="*/ 42 w 437"/>
                <a:gd name="T3" fmla="*/ 47 h 47"/>
                <a:gd name="T4" fmla="*/ 0 w 437"/>
                <a:gd name="T5" fmla="*/ 6 h 47"/>
                <a:gd name="T6" fmla="*/ 6 w 437"/>
                <a:gd name="T7" fmla="*/ 0 h 47"/>
                <a:gd name="T8" fmla="*/ 160 w 437"/>
                <a:gd name="T9" fmla="*/ 0 h 47"/>
                <a:gd name="T10" fmla="*/ 172 w 437"/>
                <a:gd name="T11" fmla="*/ 8 h 47"/>
                <a:gd name="T12" fmla="*/ 174 w 437"/>
                <a:gd name="T13" fmla="*/ 9 h 47"/>
                <a:gd name="T14" fmla="*/ 263 w 437"/>
                <a:gd name="T15" fmla="*/ 9 h 47"/>
                <a:gd name="T16" fmla="*/ 265 w 437"/>
                <a:gd name="T17" fmla="*/ 8 h 47"/>
                <a:gd name="T18" fmla="*/ 277 w 437"/>
                <a:gd name="T19" fmla="*/ 0 h 47"/>
                <a:gd name="T20" fmla="*/ 432 w 437"/>
                <a:gd name="T21" fmla="*/ 0 h 47"/>
                <a:gd name="T22" fmla="*/ 437 w 437"/>
                <a:gd name="T23" fmla="*/ 6 h 47"/>
                <a:gd name="T24" fmla="*/ 396 w 437"/>
                <a:gd name="T25" fmla="*/ 47 h 47"/>
                <a:gd name="T26" fmla="*/ 12 w 437"/>
                <a:gd name="T27" fmla="*/ 11 h 47"/>
                <a:gd name="T28" fmla="*/ 42 w 437"/>
                <a:gd name="T29" fmla="*/ 36 h 47"/>
                <a:gd name="T30" fmla="*/ 396 w 437"/>
                <a:gd name="T31" fmla="*/ 36 h 47"/>
                <a:gd name="T32" fmla="*/ 426 w 437"/>
                <a:gd name="T33" fmla="*/ 11 h 47"/>
                <a:gd name="T34" fmla="*/ 277 w 437"/>
                <a:gd name="T35" fmla="*/ 11 h 47"/>
                <a:gd name="T36" fmla="*/ 275 w 437"/>
                <a:gd name="T37" fmla="*/ 12 h 47"/>
                <a:gd name="T38" fmla="*/ 275 w 437"/>
                <a:gd name="T39" fmla="*/ 12 h 47"/>
                <a:gd name="T40" fmla="*/ 263 w 437"/>
                <a:gd name="T41" fmla="*/ 20 h 47"/>
                <a:gd name="T42" fmla="*/ 174 w 437"/>
                <a:gd name="T43" fmla="*/ 20 h 47"/>
                <a:gd name="T44" fmla="*/ 162 w 437"/>
                <a:gd name="T45" fmla="*/ 12 h 47"/>
                <a:gd name="T46" fmla="*/ 160 w 437"/>
                <a:gd name="T47" fmla="*/ 11 h 47"/>
                <a:gd name="T48" fmla="*/ 12 w 437"/>
                <a:gd name="T49" fmla="*/ 11 h 47"/>
                <a:gd name="T50" fmla="*/ 270 w 437"/>
                <a:gd name="T51" fmla="*/ 10 h 47"/>
                <a:gd name="T52" fmla="*/ 270 w 437"/>
                <a:gd name="T53" fmla="*/ 1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37" h="47">
                  <a:moveTo>
                    <a:pt x="396" y="47"/>
                  </a:moveTo>
                  <a:cubicBezTo>
                    <a:pt x="42" y="47"/>
                    <a:pt x="42" y="47"/>
                    <a:pt x="42" y="47"/>
                  </a:cubicBezTo>
                  <a:cubicBezTo>
                    <a:pt x="19" y="47"/>
                    <a:pt x="0" y="2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60" y="0"/>
                    <a:pt x="160" y="0"/>
                    <a:pt x="160" y="0"/>
                  </a:cubicBezTo>
                  <a:cubicBezTo>
                    <a:pt x="165" y="0"/>
                    <a:pt x="170" y="3"/>
                    <a:pt x="172" y="8"/>
                  </a:cubicBezTo>
                  <a:cubicBezTo>
                    <a:pt x="172" y="9"/>
                    <a:pt x="173" y="9"/>
                    <a:pt x="174" y="9"/>
                  </a:cubicBezTo>
                  <a:cubicBezTo>
                    <a:pt x="263" y="9"/>
                    <a:pt x="263" y="9"/>
                    <a:pt x="263" y="9"/>
                  </a:cubicBezTo>
                  <a:cubicBezTo>
                    <a:pt x="264" y="9"/>
                    <a:pt x="265" y="9"/>
                    <a:pt x="265" y="8"/>
                  </a:cubicBezTo>
                  <a:cubicBezTo>
                    <a:pt x="267" y="3"/>
                    <a:pt x="272" y="0"/>
                    <a:pt x="277" y="0"/>
                  </a:cubicBezTo>
                  <a:cubicBezTo>
                    <a:pt x="432" y="0"/>
                    <a:pt x="432" y="0"/>
                    <a:pt x="432" y="0"/>
                  </a:cubicBezTo>
                  <a:cubicBezTo>
                    <a:pt x="435" y="0"/>
                    <a:pt x="437" y="3"/>
                    <a:pt x="437" y="6"/>
                  </a:cubicBezTo>
                  <a:cubicBezTo>
                    <a:pt x="437" y="29"/>
                    <a:pt x="418" y="47"/>
                    <a:pt x="396" y="47"/>
                  </a:cubicBezTo>
                  <a:close/>
                  <a:moveTo>
                    <a:pt x="12" y="11"/>
                  </a:moveTo>
                  <a:cubicBezTo>
                    <a:pt x="14" y="25"/>
                    <a:pt x="27" y="36"/>
                    <a:pt x="42" y="36"/>
                  </a:cubicBezTo>
                  <a:cubicBezTo>
                    <a:pt x="396" y="36"/>
                    <a:pt x="396" y="36"/>
                    <a:pt x="396" y="36"/>
                  </a:cubicBezTo>
                  <a:cubicBezTo>
                    <a:pt x="411" y="36"/>
                    <a:pt x="423" y="25"/>
                    <a:pt x="426" y="11"/>
                  </a:cubicBezTo>
                  <a:cubicBezTo>
                    <a:pt x="277" y="11"/>
                    <a:pt x="277" y="11"/>
                    <a:pt x="277" y="11"/>
                  </a:cubicBezTo>
                  <a:cubicBezTo>
                    <a:pt x="276" y="11"/>
                    <a:pt x="275" y="12"/>
                    <a:pt x="275" y="12"/>
                  </a:cubicBezTo>
                  <a:cubicBezTo>
                    <a:pt x="275" y="12"/>
                    <a:pt x="275" y="12"/>
                    <a:pt x="275" y="12"/>
                  </a:cubicBezTo>
                  <a:cubicBezTo>
                    <a:pt x="273" y="17"/>
                    <a:pt x="268" y="20"/>
                    <a:pt x="263" y="20"/>
                  </a:cubicBezTo>
                  <a:cubicBezTo>
                    <a:pt x="174" y="20"/>
                    <a:pt x="174" y="20"/>
                    <a:pt x="174" y="20"/>
                  </a:cubicBezTo>
                  <a:cubicBezTo>
                    <a:pt x="169" y="20"/>
                    <a:pt x="164" y="17"/>
                    <a:pt x="162" y="12"/>
                  </a:cubicBezTo>
                  <a:cubicBezTo>
                    <a:pt x="162" y="12"/>
                    <a:pt x="161" y="11"/>
                    <a:pt x="160" y="11"/>
                  </a:cubicBezTo>
                  <a:lnTo>
                    <a:pt x="12" y="11"/>
                  </a:lnTo>
                  <a:close/>
                  <a:moveTo>
                    <a:pt x="270" y="10"/>
                  </a:moveTo>
                  <a:cubicBezTo>
                    <a:pt x="270" y="10"/>
                    <a:pt x="270" y="10"/>
                    <a:pt x="270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16" name="Freeform 1513">
              <a:extLst>
                <a:ext uri="{FF2B5EF4-FFF2-40B4-BE49-F238E27FC236}">
                  <a16:creationId xmlns:a16="http://schemas.microsoft.com/office/drawing/2014/main" id="{B71C6DA1-CA62-5150-D907-0AAA19499FEE}"/>
                </a:ext>
              </a:extLst>
            </p:cNvPr>
            <p:cNvSpPr>
              <a:spLocks/>
            </p:cNvSpPr>
            <p:nvPr/>
          </p:nvSpPr>
          <p:spPr bwMode="auto">
            <a:xfrm>
              <a:off x="-1747836" y="2612408"/>
              <a:ext cx="57150" cy="82550"/>
            </a:xfrm>
            <a:custGeom>
              <a:avLst/>
              <a:gdLst>
                <a:gd name="T0" fmla="*/ 26 w 54"/>
                <a:gd name="T1" fmla="*/ 78 h 78"/>
                <a:gd name="T2" fmla="*/ 1 w 54"/>
                <a:gd name="T3" fmla="*/ 65 h 78"/>
                <a:gd name="T4" fmla="*/ 2 w 54"/>
                <a:gd name="T5" fmla="*/ 57 h 78"/>
                <a:gd name="T6" fmla="*/ 10 w 54"/>
                <a:gd name="T7" fmla="*/ 58 h 78"/>
                <a:gd name="T8" fmla="*/ 37 w 54"/>
                <a:gd name="T9" fmla="*/ 64 h 78"/>
                <a:gd name="T10" fmla="*/ 37 w 54"/>
                <a:gd name="T11" fmla="*/ 64 h 78"/>
                <a:gd name="T12" fmla="*/ 42 w 54"/>
                <a:gd name="T13" fmla="*/ 55 h 78"/>
                <a:gd name="T14" fmla="*/ 34 w 54"/>
                <a:gd name="T15" fmla="*/ 45 h 78"/>
                <a:gd name="T16" fmla="*/ 16 w 54"/>
                <a:gd name="T17" fmla="*/ 39 h 78"/>
                <a:gd name="T18" fmla="*/ 1 w 54"/>
                <a:gd name="T19" fmla="*/ 20 h 78"/>
                <a:gd name="T20" fmla="*/ 7 w 54"/>
                <a:gd name="T21" fmla="*/ 6 h 78"/>
                <a:gd name="T22" fmla="*/ 27 w 54"/>
                <a:gd name="T23" fmla="*/ 0 h 78"/>
                <a:gd name="T24" fmla="*/ 53 w 54"/>
                <a:gd name="T25" fmla="*/ 17 h 78"/>
                <a:gd name="T26" fmla="*/ 49 w 54"/>
                <a:gd name="T27" fmla="*/ 24 h 78"/>
                <a:gd name="T28" fmla="*/ 42 w 54"/>
                <a:gd name="T29" fmla="*/ 20 h 78"/>
                <a:gd name="T30" fmla="*/ 27 w 54"/>
                <a:gd name="T31" fmla="*/ 11 h 78"/>
                <a:gd name="T32" fmla="*/ 14 w 54"/>
                <a:gd name="T33" fmla="*/ 14 h 78"/>
                <a:gd name="T34" fmla="*/ 12 w 54"/>
                <a:gd name="T35" fmla="*/ 20 h 78"/>
                <a:gd name="T36" fmla="*/ 19 w 54"/>
                <a:gd name="T37" fmla="*/ 29 h 78"/>
                <a:gd name="T38" fmla="*/ 37 w 54"/>
                <a:gd name="T39" fmla="*/ 34 h 78"/>
                <a:gd name="T40" fmla="*/ 53 w 54"/>
                <a:gd name="T41" fmla="*/ 54 h 78"/>
                <a:gd name="T42" fmla="*/ 41 w 54"/>
                <a:gd name="T43" fmla="*/ 74 h 78"/>
                <a:gd name="T44" fmla="*/ 26 w 54"/>
                <a:gd name="T4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4" h="78">
                  <a:moveTo>
                    <a:pt x="26" y="78"/>
                  </a:moveTo>
                  <a:cubicBezTo>
                    <a:pt x="18" y="78"/>
                    <a:pt x="9" y="75"/>
                    <a:pt x="1" y="65"/>
                  </a:cubicBezTo>
                  <a:cubicBezTo>
                    <a:pt x="0" y="63"/>
                    <a:pt x="0" y="59"/>
                    <a:pt x="2" y="57"/>
                  </a:cubicBezTo>
                  <a:cubicBezTo>
                    <a:pt x="5" y="56"/>
                    <a:pt x="8" y="56"/>
                    <a:pt x="10" y="58"/>
                  </a:cubicBezTo>
                  <a:cubicBezTo>
                    <a:pt x="21" y="72"/>
                    <a:pt x="35" y="65"/>
                    <a:pt x="37" y="64"/>
                  </a:cubicBezTo>
                  <a:cubicBezTo>
                    <a:pt x="37" y="64"/>
                    <a:pt x="37" y="64"/>
                    <a:pt x="37" y="64"/>
                  </a:cubicBezTo>
                  <a:cubicBezTo>
                    <a:pt x="38" y="64"/>
                    <a:pt x="43" y="61"/>
                    <a:pt x="42" y="55"/>
                  </a:cubicBezTo>
                  <a:cubicBezTo>
                    <a:pt x="41" y="47"/>
                    <a:pt x="34" y="45"/>
                    <a:pt x="34" y="45"/>
                  </a:cubicBezTo>
                  <a:cubicBezTo>
                    <a:pt x="34" y="45"/>
                    <a:pt x="25" y="42"/>
                    <a:pt x="16" y="39"/>
                  </a:cubicBezTo>
                  <a:cubicBezTo>
                    <a:pt x="3" y="36"/>
                    <a:pt x="1" y="27"/>
                    <a:pt x="1" y="20"/>
                  </a:cubicBezTo>
                  <a:cubicBezTo>
                    <a:pt x="1" y="14"/>
                    <a:pt x="3" y="9"/>
                    <a:pt x="7" y="6"/>
                  </a:cubicBezTo>
                  <a:cubicBezTo>
                    <a:pt x="12" y="2"/>
                    <a:pt x="18" y="0"/>
                    <a:pt x="27" y="0"/>
                  </a:cubicBezTo>
                  <a:cubicBezTo>
                    <a:pt x="44" y="0"/>
                    <a:pt x="51" y="11"/>
                    <a:pt x="53" y="17"/>
                  </a:cubicBezTo>
                  <a:cubicBezTo>
                    <a:pt x="54" y="20"/>
                    <a:pt x="52" y="23"/>
                    <a:pt x="49" y="24"/>
                  </a:cubicBezTo>
                  <a:cubicBezTo>
                    <a:pt x="46" y="25"/>
                    <a:pt x="43" y="23"/>
                    <a:pt x="42" y="20"/>
                  </a:cubicBezTo>
                  <a:cubicBezTo>
                    <a:pt x="42" y="19"/>
                    <a:pt x="39" y="11"/>
                    <a:pt x="27" y="11"/>
                  </a:cubicBezTo>
                  <a:cubicBezTo>
                    <a:pt x="21" y="11"/>
                    <a:pt x="17" y="12"/>
                    <a:pt x="14" y="14"/>
                  </a:cubicBezTo>
                  <a:cubicBezTo>
                    <a:pt x="13" y="15"/>
                    <a:pt x="12" y="17"/>
                    <a:pt x="12" y="20"/>
                  </a:cubicBezTo>
                  <a:cubicBezTo>
                    <a:pt x="12" y="23"/>
                    <a:pt x="13" y="27"/>
                    <a:pt x="19" y="29"/>
                  </a:cubicBezTo>
                  <a:cubicBezTo>
                    <a:pt x="28" y="32"/>
                    <a:pt x="37" y="34"/>
                    <a:pt x="37" y="34"/>
                  </a:cubicBezTo>
                  <a:cubicBezTo>
                    <a:pt x="38" y="34"/>
                    <a:pt x="51" y="39"/>
                    <a:pt x="53" y="54"/>
                  </a:cubicBezTo>
                  <a:cubicBezTo>
                    <a:pt x="54" y="65"/>
                    <a:pt x="46" y="72"/>
                    <a:pt x="41" y="74"/>
                  </a:cubicBezTo>
                  <a:cubicBezTo>
                    <a:pt x="38" y="76"/>
                    <a:pt x="32" y="78"/>
                    <a:pt x="26" y="7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17" name="Freeform 1514">
              <a:extLst>
                <a:ext uri="{FF2B5EF4-FFF2-40B4-BE49-F238E27FC236}">
                  <a16:creationId xmlns:a16="http://schemas.microsoft.com/office/drawing/2014/main" id="{79616823-18CE-4E75-742A-95C91E696DF7}"/>
                </a:ext>
              </a:extLst>
            </p:cNvPr>
            <p:cNvSpPr>
              <a:spLocks/>
            </p:cNvSpPr>
            <p:nvPr/>
          </p:nvSpPr>
          <p:spPr bwMode="auto">
            <a:xfrm>
              <a:off x="-1724024" y="2598121"/>
              <a:ext cx="11113" cy="26988"/>
            </a:xfrm>
            <a:custGeom>
              <a:avLst/>
              <a:gdLst>
                <a:gd name="T0" fmla="*/ 5 w 11"/>
                <a:gd name="T1" fmla="*/ 25 h 25"/>
                <a:gd name="T2" fmla="*/ 0 w 11"/>
                <a:gd name="T3" fmla="*/ 19 h 25"/>
                <a:gd name="T4" fmla="*/ 0 w 11"/>
                <a:gd name="T5" fmla="*/ 5 h 25"/>
                <a:gd name="T6" fmla="*/ 5 w 11"/>
                <a:gd name="T7" fmla="*/ 0 h 25"/>
                <a:gd name="T8" fmla="*/ 11 w 11"/>
                <a:gd name="T9" fmla="*/ 5 h 25"/>
                <a:gd name="T10" fmla="*/ 11 w 11"/>
                <a:gd name="T11" fmla="*/ 19 h 25"/>
                <a:gd name="T12" fmla="*/ 5 w 11"/>
                <a:gd name="T13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5">
                  <a:moveTo>
                    <a:pt x="5" y="25"/>
                  </a:moveTo>
                  <a:cubicBezTo>
                    <a:pt x="2" y="25"/>
                    <a:pt x="0" y="22"/>
                    <a:pt x="0" y="19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" y="0"/>
                    <a:pt x="11" y="2"/>
                    <a:pt x="11" y="5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11" y="22"/>
                    <a:pt x="8" y="25"/>
                    <a:pt x="5" y="2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18" name="Freeform 1515">
              <a:extLst>
                <a:ext uri="{FF2B5EF4-FFF2-40B4-BE49-F238E27FC236}">
                  <a16:creationId xmlns:a16="http://schemas.microsoft.com/office/drawing/2014/main" id="{EE789774-BC72-67DB-D10F-43925ACB9AEC}"/>
                </a:ext>
              </a:extLst>
            </p:cNvPr>
            <p:cNvSpPr>
              <a:spLocks/>
            </p:cNvSpPr>
            <p:nvPr/>
          </p:nvSpPr>
          <p:spPr bwMode="auto">
            <a:xfrm>
              <a:off x="-1724024" y="2683846"/>
              <a:ext cx="11113" cy="25400"/>
            </a:xfrm>
            <a:custGeom>
              <a:avLst/>
              <a:gdLst>
                <a:gd name="T0" fmla="*/ 5 w 11"/>
                <a:gd name="T1" fmla="*/ 24 h 24"/>
                <a:gd name="T2" fmla="*/ 0 w 11"/>
                <a:gd name="T3" fmla="*/ 19 h 24"/>
                <a:gd name="T4" fmla="*/ 0 w 11"/>
                <a:gd name="T5" fmla="*/ 5 h 24"/>
                <a:gd name="T6" fmla="*/ 5 w 11"/>
                <a:gd name="T7" fmla="*/ 0 h 24"/>
                <a:gd name="T8" fmla="*/ 11 w 11"/>
                <a:gd name="T9" fmla="*/ 5 h 24"/>
                <a:gd name="T10" fmla="*/ 11 w 11"/>
                <a:gd name="T11" fmla="*/ 19 h 24"/>
                <a:gd name="T12" fmla="*/ 5 w 11"/>
                <a:gd name="T13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4">
                  <a:moveTo>
                    <a:pt x="5" y="24"/>
                  </a:moveTo>
                  <a:cubicBezTo>
                    <a:pt x="2" y="24"/>
                    <a:pt x="0" y="22"/>
                    <a:pt x="0" y="19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" y="0"/>
                    <a:pt x="11" y="2"/>
                    <a:pt x="11" y="5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11" y="22"/>
                    <a:pt x="8" y="24"/>
                    <a:pt x="5" y="2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19" name="Freeform 1516">
              <a:extLst>
                <a:ext uri="{FF2B5EF4-FFF2-40B4-BE49-F238E27FC236}">
                  <a16:creationId xmlns:a16="http://schemas.microsoft.com/office/drawing/2014/main" id="{C4A0565F-531F-5F75-309F-36C7E3A167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801812" y="2574311"/>
              <a:ext cx="165100" cy="163513"/>
            </a:xfrm>
            <a:custGeom>
              <a:avLst/>
              <a:gdLst>
                <a:gd name="T0" fmla="*/ 79 w 158"/>
                <a:gd name="T1" fmla="*/ 158 h 158"/>
                <a:gd name="T2" fmla="*/ 0 w 158"/>
                <a:gd name="T3" fmla="*/ 79 h 158"/>
                <a:gd name="T4" fmla="*/ 79 w 158"/>
                <a:gd name="T5" fmla="*/ 0 h 158"/>
                <a:gd name="T6" fmla="*/ 158 w 158"/>
                <a:gd name="T7" fmla="*/ 79 h 158"/>
                <a:gd name="T8" fmla="*/ 79 w 158"/>
                <a:gd name="T9" fmla="*/ 158 h 158"/>
                <a:gd name="T10" fmla="*/ 79 w 158"/>
                <a:gd name="T11" fmla="*/ 11 h 158"/>
                <a:gd name="T12" fmla="*/ 11 w 158"/>
                <a:gd name="T13" fmla="*/ 79 h 158"/>
                <a:gd name="T14" fmla="*/ 79 w 158"/>
                <a:gd name="T15" fmla="*/ 147 h 158"/>
                <a:gd name="T16" fmla="*/ 147 w 158"/>
                <a:gd name="T17" fmla="*/ 79 h 158"/>
                <a:gd name="T18" fmla="*/ 79 w 158"/>
                <a:gd name="T19" fmla="*/ 11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8" h="158">
                  <a:moveTo>
                    <a:pt x="79" y="158"/>
                  </a:moveTo>
                  <a:cubicBezTo>
                    <a:pt x="35" y="158"/>
                    <a:pt x="0" y="122"/>
                    <a:pt x="0" y="79"/>
                  </a:cubicBezTo>
                  <a:cubicBezTo>
                    <a:pt x="0" y="35"/>
                    <a:pt x="35" y="0"/>
                    <a:pt x="79" y="0"/>
                  </a:cubicBezTo>
                  <a:cubicBezTo>
                    <a:pt x="122" y="0"/>
                    <a:pt x="158" y="35"/>
                    <a:pt x="158" y="79"/>
                  </a:cubicBezTo>
                  <a:cubicBezTo>
                    <a:pt x="158" y="122"/>
                    <a:pt x="122" y="158"/>
                    <a:pt x="79" y="158"/>
                  </a:cubicBezTo>
                  <a:close/>
                  <a:moveTo>
                    <a:pt x="79" y="11"/>
                  </a:moveTo>
                  <a:cubicBezTo>
                    <a:pt x="41" y="11"/>
                    <a:pt x="11" y="42"/>
                    <a:pt x="11" y="79"/>
                  </a:cubicBezTo>
                  <a:cubicBezTo>
                    <a:pt x="11" y="116"/>
                    <a:pt x="41" y="147"/>
                    <a:pt x="79" y="147"/>
                  </a:cubicBezTo>
                  <a:cubicBezTo>
                    <a:pt x="116" y="147"/>
                    <a:pt x="147" y="116"/>
                    <a:pt x="147" y="79"/>
                  </a:cubicBezTo>
                  <a:cubicBezTo>
                    <a:pt x="147" y="42"/>
                    <a:pt x="116" y="11"/>
                    <a:pt x="79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20" name="Freeform 1517">
              <a:extLst>
                <a:ext uri="{FF2B5EF4-FFF2-40B4-BE49-F238E27FC236}">
                  <a16:creationId xmlns:a16="http://schemas.microsoft.com/office/drawing/2014/main" id="{FD1B52AA-1A6A-8EE3-7758-71E767F3C7FB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09762" y="2679082"/>
              <a:ext cx="44450" cy="50800"/>
            </a:xfrm>
            <a:custGeom>
              <a:avLst/>
              <a:gdLst>
                <a:gd name="T0" fmla="*/ 30 w 42"/>
                <a:gd name="T1" fmla="*/ 48 h 48"/>
                <a:gd name="T2" fmla="*/ 29 w 42"/>
                <a:gd name="T3" fmla="*/ 48 h 48"/>
                <a:gd name="T4" fmla="*/ 24 w 42"/>
                <a:gd name="T5" fmla="*/ 41 h 48"/>
                <a:gd name="T6" fmla="*/ 30 w 42"/>
                <a:gd name="T7" fmla="*/ 16 h 48"/>
                <a:gd name="T8" fmla="*/ 5 w 42"/>
                <a:gd name="T9" fmla="*/ 11 h 48"/>
                <a:gd name="T10" fmla="*/ 1 w 42"/>
                <a:gd name="T11" fmla="*/ 5 h 48"/>
                <a:gd name="T12" fmla="*/ 7 w 42"/>
                <a:gd name="T13" fmla="*/ 1 h 48"/>
                <a:gd name="T14" fmla="*/ 37 w 42"/>
                <a:gd name="T15" fmla="*/ 7 h 48"/>
                <a:gd name="T16" fmla="*/ 41 w 42"/>
                <a:gd name="T17" fmla="*/ 13 h 48"/>
                <a:gd name="T18" fmla="*/ 35 w 42"/>
                <a:gd name="T19" fmla="*/ 43 h 48"/>
                <a:gd name="T20" fmla="*/ 30 w 42"/>
                <a:gd name="T21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2" h="48">
                  <a:moveTo>
                    <a:pt x="30" y="48"/>
                  </a:moveTo>
                  <a:cubicBezTo>
                    <a:pt x="29" y="48"/>
                    <a:pt x="29" y="48"/>
                    <a:pt x="29" y="48"/>
                  </a:cubicBezTo>
                  <a:cubicBezTo>
                    <a:pt x="26" y="47"/>
                    <a:pt x="24" y="44"/>
                    <a:pt x="24" y="4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2" y="11"/>
                    <a:pt x="0" y="8"/>
                    <a:pt x="1" y="5"/>
                  </a:cubicBezTo>
                  <a:cubicBezTo>
                    <a:pt x="1" y="2"/>
                    <a:pt x="4" y="0"/>
                    <a:pt x="7" y="1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40" y="7"/>
                    <a:pt x="42" y="10"/>
                    <a:pt x="41" y="13"/>
                  </a:cubicBezTo>
                  <a:cubicBezTo>
                    <a:pt x="35" y="43"/>
                    <a:pt x="35" y="43"/>
                    <a:pt x="35" y="43"/>
                  </a:cubicBezTo>
                  <a:cubicBezTo>
                    <a:pt x="35" y="46"/>
                    <a:pt x="32" y="48"/>
                    <a:pt x="30" y="4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21" name="Freeform 1518">
              <a:extLst>
                <a:ext uri="{FF2B5EF4-FFF2-40B4-BE49-F238E27FC236}">
                  <a16:creationId xmlns:a16="http://schemas.microsoft.com/office/drawing/2014/main" id="{8DC2F00A-B02E-CE7B-4278-0EB75DF61A71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08187" y="2685430"/>
              <a:ext cx="142875" cy="98425"/>
            </a:xfrm>
            <a:custGeom>
              <a:avLst/>
              <a:gdLst>
                <a:gd name="T0" fmla="*/ 6 w 138"/>
                <a:gd name="T1" fmla="*/ 94 h 94"/>
                <a:gd name="T2" fmla="*/ 2 w 138"/>
                <a:gd name="T3" fmla="*/ 92 h 94"/>
                <a:gd name="T4" fmla="*/ 3 w 138"/>
                <a:gd name="T5" fmla="*/ 84 h 94"/>
                <a:gd name="T6" fmla="*/ 129 w 138"/>
                <a:gd name="T7" fmla="*/ 2 h 94"/>
                <a:gd name="T8" fmla="*/ 137 w 138"/>
                <a:gd name="T9" fmla="*/ 3 h 94"/>
                <a:gd name="T10" fmla="*/ 135 w 138"/>
                <a:gd name="T11" fmla="*/ 11 h 94"/>
                <a:gd name="T12" fmla="*/ 9 w 138"/>
                <a:gd name="T13" fmla="*/ 93 h 94"/>
                <a:gd name="T14" fmla="*/ 6 w 138"/>
                <a:gd name="T15" fmla="*/ 94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8" h="94">
                  <a:moveTo>
                    <a:pt x="6" y="94"/>
                  </a:moveTo>
                  <a:cubicBezTo>
                    <a:pt x="5" y="94"/>
                    <a:pt x="3" y="93"/>
                    <a:pt x="2" y="92"/>
                  </a:cubicBezTo>
                  <a:cubicBezTo>
                    <a:pt x="0" y="89"/>
                    <a:pt x="1" y="86"/>
                    <a:pt x="3" y="84"/>
                  </a:cubicBezTo>
                  <a:cubicBezTo>
                    <a:pt x="129" y="2"/>
                    <a:pt x="129" y="2"/>
                    <a:pt x="129" y="2"/>
                  </a:cubicBezTo>
                  <a:cubicBezTo>
                    <a:pt x="132" y="0"/>
                    <a:pt x="135" y="1"/>
                    <a:pt x="137" y="3"/>
                  </a:cubicBezTo>
                  <a:cubicBezTo>
                    <a:pt x="138" y="6"/>
                    <a:pt x="138" y="9"/>
                    <a:pt x="135" y="11"/>
                  </a:cubicBezTo>
                  <a:cubicBezTo>
                    <a:pt x="9" y="93"/>
                    <a:pt x="9" y="93"/>
                    <a:pt x="9" y="93"/>
                  </a:cubicBezTo>
                  <a:cubicBezTo>
                    <a:pt x="8" y="94"/>
                    <a:pt x="7" y="94"/>
                    <a:pt x="6" y="9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22" name="Freeform 1519">
              <a:extLst>
                <a:ext uri="{FF2B5EF4-FFF2-40B4-BE49-F238E27FC236}">
                  <a16:creationId xmlns:a16="http://schemas.microsoft.com/office/drawing/2014/main" id="{7F0014E2-99C9-334A-347F-AEAE293C2F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009772" y="2802905"/>
              <a:ext cx="63500" cy="63500"/>
            </a:xfrm>
            <a:custGeom>
              <a:avLst/>
              <a:gdLst>
                <a:gd name="T0" fmla="*/ 55 w 61"/>
                <a:gd name="T1" fmla="*/ 60 h 60"/>
                <a:gd name="T2" fmla="*/ 6 w 61"/>
                <a:gd name="T3" fmla="*/ 60 h 60"/>
                <a:gd name="T4" fmla="*/ 0 w 61"/>
                <a:gd name="T5" fmla="*/ 55 h 60"/>
                <a:gd name="T6" fmla="*/ 0 w 61"/>
                <a:gd name="T7" fmla="*/ 5 h 60"/>
                <a:gd name="T8" fmla="*/ 6 w 61"/>
                <a:gd name="T9" fmla="*/ 0 h 60"/>
                <a:gd name="T10" fmla="*/ 55 w 61"/>
                <a:gd name="T11" fmla="*/ 0 h 60"/>
                <a:gd name="T12" fmla="*/ 61 w 61"/>
                <a:gd name="T13" fmla="*/ 5 h 60"/>
                <a:gd name="T14" fmla="*/ 61 w 61"/>
                <a:gd name="T15" fmla="*/ 55 h 60"/>
                <a:gd name="T16" fmla="*/ 55 w 61"/>
                <a:gd name="T17" fmla="*/ 60 h 60"/>
                <a:gd name="T18" fmla="*/ 11 w 61"/>
                <a:gd name="T19" fmla="*/ 49 h 60"/>
                <a:gd name="T20" fmla="*/ 50 w 61"/>
                <a:gd name="T21" fmla="*/ 49 h 60"/>
                <a:gd name="T22" fmla="*/ 50 w 61"/>
                <a:gd name="T23" fmla="*/ 11 h 60"/>
                <a:gd name="T24" fmla="*/ 11 w 61"/>
                <a:gd name="T25" fmla="*/ 11 h 60"/>
                <a:gd name="T26" fmla="*/ 11 w 61"/>
                <a:gd name="T27" fmla="*/ 49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1" h="60">
                  <a:moveTo>
                    <a:pt x="55" y="60"/>
                  </a:moveTo>
                  <a:cubicBezTo>
                    <a:pt x="6" y="60"/>
                    <a:pt x="6" y="60"/>
                    <a:pt x="6" y="60"/>
                  </a:cubicBezTo>
                  <a:cubicBezTo>
                    <a:pt x="3" y="60"/>
                    <a:pt x="0" y="58"/>
                    <a:pt x="0" y="5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8" y="0"/>
                    <a:pt x="61" y="2"/>
                    <a:pt x="61" y="5"/>
                  </a:cubicBezTo>
                  <a:cubicBezTo>
                    <a:pt x="61" y="55"/>
                    <a:pt x="61" y="55"/>
                    <a:pt x="61" y="55"/>
                  </a:cubicBezTo>
                  <a:cubicBezTo>
                    <a:pt x="61" y="58"/>
                    <a:pt x="58" y="60"/>
                    <a:pt x="55" y="60"/>
                  </a:cubicBezTo>
                  <a:close/>
                  <a:moveTo>
                    <a:pt x="11" y="49"/>
                  </a:moveTo>
                  <a:cubicBezTo>
                    <a:pt x="50" y="49"/>
                    <a:pt x="50" y="49"/>
                    <a:pt x="50" y="49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11" y="11"/>
                    <a:pt x="11" y="11"/>
                    <a:pt x="11" y="11"/>
                  </a:cubicBezTo>
                  <a:lnTo>
                    <a:pt x="11" y="4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23" name="Freeform 1520">
              <a:extLst>
                <a:ext uri="{FF2B5EF4-FFF2-40B4-BE49-F238E27FC236}">
                  <a16:creationId xmlns:a16="http://schemas.microsoft.com/office/drawing/2014/main" id="{875CB86A-CE2A-76E4-D4EB-47FE268084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931980" y="2763218"/>
              <a:ext cx="61913" cy="103188"/>
            </a:xfrm>
            <a:custGeom>
              <a:avLst/>
              <a:gdLst>
                <a:gd name="T0" fmla="*/ 55 w 60"/>
                <a:gd name="T1" fmla="*/ 98 h 98"/>
                <a:gd name="T2" fmla="*/ 6 w 60"/>
                <a:gd name="T3" fmla="*/ 98 h 98"/>
                <a:gd name="T4" fmla="*/ 0 w 60"/>
                <a:gd name="T5" fmla="*/ 93 h 98"/>
                <a:gd name="T6" fmla="*/ 0 w 60"/>
                <a:gd name="T7" fmla="*/ 6 h 98"/>
                <a:gd name="T8" fmla="*/ 6 w 60"/>
                <a:gd name="T9" fmla="*/ 0 h 98"/>
                <a:gd name="T10" fmla="*/ 55 w 60"/>
                <a:gd name="T11" fmla="*/ 0 h 98"/>
                <a:gd name="T12" fmla="*/ 60 w 60"/>
                <a:gd name="T13" fmla="*/ 6 h 98"/>
                <a:gd name="T14" fmla="*/ 60 w 60"/>
                <a:gd name="T15" fmla="*/ 93 h 98"/>
                <a:gd name="T16" fmla="*/ 55 w 60"/>
                <a:gd name="T17" fmla="*/ 98 h 98"/>
                <a:gd name="T18" fmla="*/ 11 w 60"/>
                <a:gd name="T19" fmla="*/ 87 h 98"/>
                <a:gd name="T20" fmla="*/ 49 w 60"/>
                <a:gd name="T21" fmla="*/ 87 h 98"/>
                <a:gd name="T22" fmla="*/ 49 w 60"/>
                <a:gd name="T23" fmla="*/ 11 h 98"/>
                <a:gd name="T24" fmla="*/ 11 w 60"/>
                <a:gd name="T25" fmla="*/ 11 h 98"/>
                <a:gd name="T26" fmla="*/ 11 w 60"/>
                <a:gd name="T27" fmla="*/ 87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98">
                  <a:moveTo>
                    <a:pt x="55" y="98"/>
                  </a:moveTo>
                  <a:cubicBezTo>
                    <a:pt x="6" y="98"/>
                    <a:pt x="6" y="98"/>
                    <a:pt x="6" y="98"/>
                  </a:cubicBezTo>
                  <a:cubicBezTo>
                    <a:pt x="3" y="98"/>
                    <a:pt x="0" y="96"/>
                    <a:pt x="0" y="9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8" y="0"/>
                    <a:pt x="60" y="3"/>
                    <a:pt x="60" y="6"/>
                  </a:cubicBezTo>
                  <a:cubicBezTo>
                    <a:pt x="60" y="93"/>
                    <a:pt x="60" y="93"/>
                    <a:pt x="60" y="93"/>
                  </a:cubicBezTo>
                  <a:cubicBezTo>
                    <a:pt x="60" y="96"/>
                    <a:pt x="58" y="98"/>
                    <a:pt x="55" y="98"/>
                  </a:cubicBezTo>
                  <a:close/>
                  <a:moveTo>
                    <a:pt x="11" y="87"/>
                  </a:moveTo>
                  <a:cubicBezTo>
                    <a:pt x="49" y="87"/>
                    <a:pt x="49" y="87"/>
                    <a:pt x="49" y="87"/>
                  </a:cubicBezTo>
                  <a:cubicBezTo>
                    <a:pt x="49" y="11"/>
                    <a:pt x="49" y="11"/>
                    <a:pt x="49" y="11"/>
                  </a:cubicBezTo>
                  <a:cubicBezTo>
                    <a:pt x="11" y="11"/>
                    <a:pt x="11" y="11"/>
                    <a:pt x="11" y="11"/>
                  </a:cubicBezTo>
                  <a:lnTo>
                    <a:pt x="11" y="8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24" name="Freeform 1521">
              <a:extLst>
                <a:ext uri="{FF2B5EF4-FFF2-40B4-BE49-F238E27FC236}">
                  <a16:creationId xmlns:a16="http://schemas.microsoft.com/office/drawing/2014/main" id="{1D2596E8-6478-A988-DA1A-A91DEF73F23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854200" y="2721943"/>
              <a:ext cx="61913" cy="144463"/>
            </a:xfrm>
            <a:custGeom>
              <a:avLst/>
              <a:gdLst>
                <a:gd name="T0" fmla="*/ 55 w 60"/>
                <a:gd name="T1" fmla="*/ 138 h 138"/>
                <a:gd name="T2" fmla="*/ 5 w 60"/>
                <a:gd name="T3" fmla="*/ 138 h 138"/>
                <a:gd name="T4" fmla="*/ 0 w 60"/>
                <a:gd name="T5" fmla="*/ 133 h 138"/>
                <a:gd name="T6" fmla="*/ 0 w 60"/>
                <a:gd name="T7" fmla="*/ 5 h 138"/>
                <a:gd name="T8" fmla="*/ 5 w 60"/>
                <a:gd name="T9" fmla="*/ 0 h 138"/>
                <a:gd name="T10" fmla="*/ 55 w 60"/>
                <a:gd name="T11" fmla="*/ 0 h 138"/>
                <a:gd name="T12" fmla="*/ 60 w 60"/>
                <a:gd name="T13" fmla="*/ 5 h 138"/>
                <a:gd name="T14" fmla="*/ 60 w 60"/>
                <a:gd name="T15" fmla="*/ 133 h 138"/>
                <a:gd name="T16" fmla="*/ 55 w 60"/>
                <a:gd name="T17" fmla="*/ 138 h 138"/>
                <a:gd name="T18" fmla="*/ 11 w 60"/>
                <a:gd name="T19" fmla="*/ 127 h 138"/>
                <a:gd name="T20" fmla="*/ 49 w 60"/>
                <a:gd name="T21" fmla="*/ 127 h 138"/>
                <a:gd name="T22" fmla="*/ 49 w 60"/>
                <a:gd name="T23" fmla="*/ 11 h 138"/>
                <a:gd name="T24" fmla="*/ 11 w 60"/>
                <a:gd name="T25" fmla="*/ 11 h 138"/>
                <a:gd name="T26" fmla="*/ 11 w 60"/>
                <a:gd name="T27" fmla="*/ 127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38">
                  <a:moveTo>
                    <a:pt x="55" y="138"/>
                  </a:moveTo>
                  <a:cubicBezTo>
                    <a:pt x="5" y="138"/>
                    <a:pt x="5" y="138"/>
                    <a:pt x="5" y="138"/>
                  </a:cubicBezTo>
                  <a:cubicBezTo>
                    <a:pt x="2" y="138"/>
                    <a:pt x="0" y="136"/>
                    <a:pt x="0" y="133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8" y="0"/>
                    <a:pt x="60" y="2"/>
                    <a:pt x="60" y="5"/>
                  </a:cubicBezTo>
                  <a:cubicBezTo>
                    <a:pt x="60" y="133"/>
                    <a:pt x="60" y="133"/>
                    <a:pt x="60" y="133"/>
                  </a:cubicBezTo>
                  <a:cubicBezTo>
                    <a:pt x="60" y="136"/>
                    <a:pt x="58" y="138"/>
                    <a:pt x="55" y="138"/>
                  </a:cubicBezTo>
                  <a:close/>
                  <a:moveTo>
                    <a:pt x="11" y="127"/>
                  </a:moveTo>
                  <a:cubicBezTo>
                    <a:pt x="49" y="127"/>
                    <a:pt x="49" y="127"/>
                    <a:pt x="49" y="127"/>
                  </a:cubicBezTo>
                  <a:cubicBezTo>
                    <a:pt x="49" y="11"/>
                    <a:pt x="49" y="11"/>
                    <a:pt x="49" y="11"/>
                  </a:cubicBezTo>
                  <a:cubicBezTo>
                    <a:pt x="11" y="11"/>
                    <a:pt x="11" y="11"/>
                    <a:pt x="11" y="11"/>
                  </a:cubicBezTo>
                  <a:lnTo>
                    <a:pt x="11" y="12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25" name="Shape62_20200717_142846">
            <a:extLst>
              <a:ext uri="{FF2B5EF4-FFF2-40B4-BE49-F238E27FC236}">
                <a16:creationId xmlns:a16="http://schemas.microsoft.com/office/drawing/2014/main" id="{F71F5752-4C99-FD0F-6DBE-F0A440840A85}"/>
              </a:ext>
            </a:extLst>
          </p:cNvPr>
          <p:cNvGrpSpPr>
            <a:grpSpLocks noChangeAspect="1"/>
          </p:cNvGrpSpPr>
          <p:nvPr/>
        </p:nvGrpSpPr>
        <p:grpSpPr>
          <a:xfrm>
            <a:off x="8439642" y="5171548"/>
            <a:ext cx="534944" cy="537340"/>
            <a:chOff x="-579430" y="2897198"/>
            <a:chExt cx="354009" cy="355601"/>
          </a:xfrm>
          <a:solidFill>
            <a:schemeClr val="accent1"/>
          </a:solidFill>
        </p:grpSpPr>
        <p:sp>
          <p:nvSpPr>
            <p:cNvPr id="326" name="Freeform 423">
              <a:extLst>
                <a:ext uri="{FF2B5EF4-FFF2-40B4-BE49-F238E27FC236}">
                  <a16:creationId xmlns:a16="http://schemas.microsoft.com/office/drawing/2014/main" id="{2291E20C-4B5A-5B90-78AC-3E44E9A247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79430" y="2897198"/>
              <a:ext cx="354009" cy="355601"/>
            </a:xfrm>
            <a:custGeom>
              <a:avLst/>
              <a:gdLst>
                <a:gd name="T0" fmla="*/ 74 w 157"/>
                <a:gd name="T1" fmla="*/ 157 h 157"/>
                <a:gd name="T2" fmla="*/ 62 w 157"/>
                <a:gd name="T3" fmla="*/ 137 h 157"/>
                <a:gd name="T4" fmla="*/ 42 w 157"/>
                <a:gd name="T5" fmla="*/ 137 h 157"/>
                <a:gd name="T6" fmla="*/ 20 w 157"/>
                <a:gd name="T7" fmla="*/ 131 h 157"/>
                <a:gd name="T8" fmla="*/ 25 w 157"/>
                <a:gd name="T9" fmla="*/ 109 h 157"/>
                <a:gd name="T10" fmla="*/ 11 w 157"/>
                <a:gd name="T11" fmla="*/ 94 h 157"/>
                <a:gd name="T12" fmla="*/ 0 w 157"/>
                <a:gd name="T13" fmla="*/ 74 h 157"/>
                <a:gd name="T14" fmla="*/ 19 w 157"/>
                <a:gd name="T15" fmla="*/ 62 h 157"/>
                <a:gd name="T16" fmla="*/ 20 w 157"/>
                <a:gd name="T17" fmla="*/ 43 h 157"/>
                <a:gd name="T18" fmla="*/ 26 w 157"/>
                <a:gd name="T19" fmla="*/ 20 h 157"/>
                <a:gd name="T20" fmla="*/ 48 w 157"/>
                <a:gd name="T21" fmla="*/ 25 h 157"/>
                <a:gd name="T22" fmla="*/ 62 w 157"/>
                <a:gd name="T23" fmla="*/ 12 h 157"/>
                <a:gd name="T24" fmla="*/ 83 w 157"/>
                <a:gd name="T25" fmla="*/ 0 h 157"/>
                <a:gd name="T26" fmla="*/ 94 w 157"/>
                <a:gd name="T27" fmla="*/ 19 h 157"/>
                <a:gd name="T28" fmla="*/ 114 w 157"/>
                <a:gd name="T29" fmla="*/ 20 h 157"/>
                <a:gd name="T30" fmla="*/ 130 w 157"/>
                <a:gd name="T31" fmla="*/ 20 h 157"/>
                <a:gd name="T32" fmla="*/ 137 w 157"/>
                <a:gd name="T33" fmla="*/ 43 h 157"/>
                <a:gd name="T34" fmla="*/ 137 w 157"/>
                <a:gd name="T35" fmla="*/ 62 h 157"/>
                <a:gd name="T36" fmla="*/ 157 w 157"/>
                <a:gd name="T37" fmla="*/ 74 h 157"/>
                <a:gd name="T38" fmla="*/ 145 w 157"/>
                <a:gd name="T39" fmla="*/ 94 h 157"/>
                <a:gd name="T40" fmla="*/ 131 w 157"/>
                <a:gd name="T41" fmla="*/ 109 h 157"/>
                <a:gd name="T42" fmla="*/ 137 w 157"/>
                <a:gd name="T43" fmla="*/ 131 h 157"/>
                <a:gd name="T44" fmla="*/ 122 w 157"/>
                <a:gd name="T45" fmla="*/ 140 h 157"/>
                <a:gd name="T46" fmla="*/ 109 w 157"/>
                <a:gd name="T47" fmla="*/ 132 h 157"/>
                <a:gd name="T48" fmla="*/ 94 w 157"/>
                <a:gd name="T49" fmla="*/ 145 h 157"/>
                <a:gd name="T50" fmla="*/ 49 w 157"/>
                <a:gd name="T51" fmla="*/ 126 h 157"/>
                <a:gd name="T52" fmla="*/ 67 w 157"/>
                <a:gd name="T53" fmla="*/ 136 h 157"/>
                <a:gd name="T54" fmla="*/ 74 w 157"/>
                <a:gd name="T55" fmla="*/ 152 h 157"/>
                <a:gd name="T56" fmla="*/ 89 w 157"/>
                <a:gd name="T57" fmla="*/ 145 h 157"/>
                <a:gd name="T58" fmla="*/ 91 w 157"/>
                <a:gd name="T59" fmla="*/ 133 h 157"/>
                <a:gd name="T60" fmla="*/ 111 w 157"/>
                <a:gd name="T61" fmla="*/ 127 h 157"/>
                <a:gd name="T62" fmla="*/ 122 w 157"/>
                <a:gd name="T63" fmla="*/ 135 h 157"/>
                <a:gd name="T64" fmla="*/ 133 w 157"/>
                <a:gd name="T65" fmla="*/ 127 h 157"/>
                <a:gd name="T66" fmla="*/ 127 w 157"/>
                <a:gd name="T67" fmla="*/ 111 h 157"/>
                <a:gd name="T68" fmla="*/ 126 w 157"/>
                <a:gd name="T69" fmla="*/ 108 h 157"/>
                <a:gd name="T70" fmla="*/ 135 w 157"/>
                <a:gd name="T71" fmla="*/ 90 h 157"/>
                <a:gd name="T72" fmla="*/ 152 w 157"/>
                <a:gd name="T73" fmla="*/ 83 h 157"/>
                <a:gd name="T74" fmla="*/ 145 w 157"/>
                <a:gd name="T75" fmla="*/ 67 h 157"/>
                <a:gd name="T76" fmla="*/ 133 w 157"/>
                <a:gd name="T77" fmla="*/ 65 h 157"/>
                <a:gd name="T78" fmla="*/ 127 w 157"/>
                <a:gd name="T79" fmla="*/ 46 h 157"/>
                <a:gd name="T80" fmla="*/ 133 w 157"/>
                <a:gd name="T81" fmla="*/ 30 h 157"/>
                <a:gd name="T82" fmla="*/ 122 w 157"/>
                <a:gd name="T83" fmla="*/ 21 h 157"/>
                <a:gd name="T84" fmla="*/ 111 w 157"/>
                <a:gd name="T85" fmla="*/ 30 h 157"/>
                <a:gd name="T86" fmla="*/ 91 w 157"/>
                <a:gd name="T87" fmla="*/ 24 h 157"/>
                <a:gd name="T88" fmla="*/ 89 w 157"/>
                <a:gd name="T89" fmla="*/ 12 h 157"/>
                <a:gd name="T90" fmla="*/ 74 w 157"/>
                <a:gd name="T91" fmla="*/ 5 h 157"/>
                <a:gd name="T92" fmla="*/ 67 w 157"/>
                <a:gd name="T93" fmla="*/ 21 h 157"/>
                <a:gd name="T94" fmla="*/ 49 w 157"/>
                <a:gd name="T95" fmla="*/ 30 h 157"/>
                <a:gd name="T96" fmla="*/ 39 w 157"/>
                <a:gd name="T97" fmla="*/ 23 h 157"/>
                <a:gd name="T98" fmla="*/ 23 w 157"/>
                <a:gd name="T99" fmla="*/ 30 h 157"/>
                <a:gd name="T100" fmla="*/ 30 w 157"/>
                <a:gd name="T101" fmla="*/ 46 h 157"/>
                <a:gd name="T102" fmla="*/ 23 w 157"/>
                <a:gd name="T103" fmla="*/ 65 h 157"/>
                <a:gd name="T104" fmla="*/ 11 w 157"/>
                <a:gd name="T105" fmla="*/ 67 h 157"/>
                <a:gd name="T106" fmla="*/ 5 w 157"/>
                <a:gd name="T107" fmla="*/ 83 h 157"/>
                <a:gd name="T108" fmla="*/ 21 w 157"/>
                <a:gd name="T109" fmla="*/ 90 h 157"/>
                <a:gd name="T110" fmla="*/ 30 w 157"/>
                <a:gd name="T111" fmla="*/ 108 h 157"/>
                <a:gd name="T112" fmla="*/ 23 w 157"/>
                <a:gd name="T113" fmla="*/ 118 h 157"/>
                <a:gd name="T114" fmla="*/ 29 w 157"/>
                <a:gd name="T115" fmla="*/ 134 h 157"/>
                <a:gd name="T116" fmla="*/ 46 w 157"/>
                <a:gd name="T117" fmla="*/ 127 h 157"/>
                <a:gd name="T118" fmla="*/ 49 w 157"/>
                <a:gd name="T119" fmla="*/ 126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57" h="157">
                  <a:moveTo>
                    <a:pt x="83" y="157"/>
                  </a:moveTo>
                  <a:cubicBezTo>
                    <a:pt x="74" y="157"/>
                    <a:pt x="74" y="157"/>
                    <a:pt x="74" y="157"/>
                  </a:cubicBezTo>
                  <a:cubicBezTo>
                    <a:pt x="67" y="157"/>
                    <a:pt x="62" y="152"/>
                    <a:pt x="62" y="145"/>
                  </a:cubicBezTo>
                  <a:cubicBezTo>
                    <a:pt x="62" y="137"/>
                    <a:pt x="62" y="137"/>
                    <a:pt x="62" y="137"/>
                  </a:cubicBezTo>
                  <a:cubicBezTo>
                    <a:pt x="57" y="136"/>
                    <a:pt x="52" y="134"/>
                    <a:pt x="48" y="132"/>
                  </a:cubicBezTo>
                  <a:cubicBezTo>
                    <a:pt x="42" y="137"/>
                    <a:pt x="42" y="137"/>
                    <a:pt x="42" y="137"/>
                  </a:cubicBezTo>
                  <a:cubicBezTo>
                    <a:pt x="38" y="142"/>
                    <a:pt x="30" y="142"/>
                    <a:pt x="26" y="137"/>
                  </a:cubicBezTo>
                  <a:cubicBezTo>
                    <a:pt x="20" y="131"/>
                    <a:pt x="20" y="131"/>
                    <a:pt x="20" y="131"/>
                  </a:cubicBezTo>
                  <a:cubicBezTo>
                    <a:pt x="15" y="126"/>
                    <a:pt x="15" y="119"/>
                    <a:pt x="20" y="114"/>
                  </a:cubicBezTo>
                  <a:cubicBezTo>
                    <a:pt x="25" y="109"/>
                    <a:pt x="25" y="109"/>
                    <a:pt x="25" y="109"/>
                  </a:cubicBezTo>
                  <a:cubicBezTo>
                    <a:pt x="23" y="104"/>
                    <a:pt x="21" y="99"/>
                    <a:pt x="19" y="94"/>
                  </a:cubicBezTo>
                  <a:cubicBezTo>
                    <a:pt x="11" y="94"/>
                    <a:pt x="11" y="94"/>
                    <a:pt x="11" y="94"/>
                  </a:cubicBezTo>
                  <a:cubicBezTo>
                    <a:pt x="5" y="94"/>
                    <a:pt x="0" y="89"/>
                    <a:pt x="0" y="83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0" y="68"/>
                    <a:pt x="5" y="62"/>
                    <a:pt x="11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21" y="57"/>
                    <a:pt x="23" y="53"/>
                    <a:pt x="25" y="48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15" y="38"/>
                    <a:pt x="15" y="31"/>
                    <a:pt x="20" y="26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30" y="15"/>
                    <a:pt x="38" y="15"/>
                    <a:pt x="42" y="20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52" y="23"/>
                    <a:pt x="57" y="21"/>
                    <a:pt x="62" y="19"/>
                  </a:cubicBezTo>
                  <a:cubicBezTo>
                    <a:pt x="62" y="12"/>
                    <a:pt x="62" y="12"/>
                    <a:pt x="62" y="12"/>
                  </a:cubicBezTo>
                  <a:cubicBezTo>
                    <a:pt x="62" y="5"/>
                    <a:pt x="67" y="0"/>
                    <a:pt x="74" y="0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9" y="0"/>
                    <a:pt x="94" y="5"/>
                    <a:pt x="94" y="12"/>
                  </a:cubicBezTo>
                  <a:cubicBezTo>
                    <a:pt x="94" y="19"/>
                    <a:pt x="94" y="19"/>
                    <a:pt x="94" y="19"/>
                  </a:cubicBezTo>
                  <a:cubicBezTo>
                    <a:pt x="99" y="21"/>
                    <a:pt x="104" y="23"/>
                    <a:pt x="109" y="25"/>
                  </a:cubicBezTo>
                  <a:cubicBezTo>
                    <a:pt x="114" y="20"/>
                    <a:pt x="114" y="20"/>
                    <a:pt x="114" y="20"/>
                  </a:cubicBezTo>
                  <a:cubicBezTo>
                    <a:pt x="116" y="18"/>
                    <a:pt x="119" y="16"/>
                    <a:pt x="122" y="16"/>
                  </a:cubicBezTo>
                  <a:cubicBezTo>
                    <a:pt x="125" y="16"/>
                    <a:pt x="128" y="18"/>
                    <a:pt x="130" y="20"/>
                  </a:cubicBezTo>
                  <a:cubicBezTo>
                    <a:pt x="137" y="26"/>
                    <a:pt x="137" y="26"/>
                    <a:pt x="137" y="26"/>
                  </a:cubicBezTo>
                  <a:cubicBezTo>
                    <a:pt x="141" y="31"/>
                    <a:pt x="141" y="38"/>
                    <a:pt x="137" y="43"/>
                  </a:cubicBezTo>
                  <a:cubicBezTo>
                    <a:pt x="131" y="48"/>
                    <a:pt x="131" y="48"/>
                    <a:pt x="131" y="48"/>
                  </a:cubicBezTo>
                  <a:cubicBezTo>
                    <a:pt x="134" y="53"/>
                    <a:pt x="136" y="57"/>
                    <a:pt x="137" y="62"/>
                  </a:cubicBezTo>
                  <a:cubicBezTo>
                    <a:pt x="145" y="62"/>
                    <a:pt x="145" y="62"/>
                    <a:pt x="145" y="62"/>
                  </a:cubicBezTo>
                  <a:cubicBezTo>
                    <a:pt x="151" y="62"/>
                    <a:pt x="157" y="68"/>
                    <a:pt x="157" y="74"/>
                  </a:cubicBezTo>
                  <a:cubicBezTo>
                    <a:pt x="157" y="83"/>
                    <a:pt x="157" y="83"/>
                    <a:pt x="157" y="83"/>
                  </a:cubicBezTo>
                  <a:cubicBezTo>
                    <a:pt x="157" y="89"/>
                    <a:pt x="151" y="94"/>
                    <a:pt x="145" y="94"/>
                  </a:cubicBezTo>
                  <a:cubicBezTo>
                    <a:pt x="137" y="94"/>
                    <a:pt x="137" y="94"/>
                    <a:pt x="137" y="94"/>
                  </a:cubicBezTo>
                  <a:cubicBezTo>
                    <a:pt x="136" y="99"/>
                    <a:pt x="134" y="104"/>
                    <a:pt x="131" y="109"/>
                  </a:cubicBezTo>
                  <a:cubicBezTo>
                    <a:pt x="137" y="114"/>
                    <a:pt x="137" y="114"/>
                    <a:pt x="137" y="114"/>
                  </a:cubicBezTo>
                  <a:cubicBezTo>
                    <a:pt x="141" y="119"/>
                    <a:pt x="141" y="126"/>
                    <a:pt x="137" y="131"/>
                  </a:cubicBezTo>
                  <a:cubicBezTo>
                    <a:pt x="130" y="137"/>
                    <a:pt x="130" y="137"/>
                    <a:pt x="130" y="137"/>
                  </a:cubicBezTo>
                  <a:cubicBezTo>
                    <a:pt x="128" y="139"/>
                    <a:pt x="125" y="140"/>
                    <a:pt x="122" y="140"/>
                  </a:cubicBezTo>
                  <a:cubicBezTo>
                    <a:pt x="119" y="140"/>
                    <a:pt x="116" y="139"/>
                    <a:pt x="114" y="137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104" y="134"/>
                    <a:pt x="99" y="136"/>
                    <a:pt x="94" y="137"/>
                  </a:cubicBezTo>
                  <a:cubicBezTo>
                    <a:pt x="94" y="145"/>
                    <a:pt x="94" y="145"/>
                    <a:pt x="94" y="145"/>
                  </a:cubicBezTo>
                  <a:cubicBezTo>
                    <a:pt x="94" y="152"/>
                    <a:pt x="89" y="157"/>
                    <a:pt x="83" y="157"/>
                  </a:cubicBezTo>
                  <a:close/>
                  <a:moveTo>
                    <a:pt x="49" y="126"/>
                  </a:moveTo>
                  <a:cubicBezTo>
                    <a:pt x="54" y="129"/>
                    <a:pt x="59" y="132"/>
                    <a:pt x="65" y="133"/>
                  </a:cubicBezTo>
                  <a:cubicBezTo>
                    <a:pt x="66" y="133"/>
                    <a:pt x="67" y="134"/>
                    <a:pt x="67" y="136"/>
                  </a:cubicBezTo>
                  <a:cubicBezTo>
                    <a:pt x="67" y="145"/>
                    <a:pt x="67" y="145"/>
                    <a:pt x="67" y="145"/>
                  </a:cubicBezTo>
                  <a:cubicBezTo>
                    <a:pt x="67" y="149"/>
                    <a:pt x="70" y="152"/>
                    <a:pt x="74" y="152"/>
                  </a:cubicBezTo>
                  <a:cubicBezTo>
                    <a:pt x="83" y="152"/>
                    <a:pt x="83" y="152"/>
                    <a:pt x="83" y="152"/>
                  </a:cubicBezTo>
                  <a:cubicBezTo>
                    <a:pt x="86" y="152"/>
                    <a:pt x="89" y="149"/>
                    <a:pt x="89" y="145"/>
                  </a:cubicBezTo>
                  <a:cubicBezTo>
                    <a:pt x="89" y="136"/>
                    <a:pt x="89" y="136"/>
                    <a:pt x="89" y="136"/>
                  </a:cubicBezTo>
                  <a:cubicBezTo>
                    <a:pt x="89" y="134"/>
                    <a:pt x="90" y="133"/>
                    <a:pt x="91" y="133"/>
                  </a:cubicBezTo>
                  <a:cubicBezTo>
                    <a:pt x="97" y="132"/>
                    <a:pt x="103" y="129"/>
                    <a:pt x="108" y="126"/>
                  </a:cubicBezTo>
                  <a:cubicBezTo>
                    <a:pt x="109" y="126"/>
                    <a:pt x="110" y="126"/>
                    <a:pt x="111" y="127"/>
                  </a:cubicBezTo>
                  <a:cubicBezTo>
                    <a:pt x="118" y="134"/>
                    <a:pt x="118" y="134"/>
                    <a:pt x="118" y="134"/>
                  </a:cubicBezTo>
                  <a:cubicBezTo>
                    <a:pt x="119" y="135"/>
                    <a:pt x="121" y="135"/>
                    <a:pt x="122" y="135"/>
                  </a:cubicBezTo>
                  <a:cubicBezTo>
                    <a:pt x="124" y="135"/>
                    <a:pt x="126" y="135"/>
                    <a:pt x="127" y="134"/>
                  </a:cubicBezTo>
                  <a:cubicBezTo>
                    <a:pt x="133" y="127"/>
                    <a:pt x="133" y="127"/>
                    <a:pt x="133" y="127"/>
                  </a:cubicBezTo>
                  <a:cubicBezTo>
                    <a:pt x="136" y="125"/>
                    <a:pt x="136" y="120"/>
                    <a:pt x="133" y="118"/>
                  </a:cubicBezTo>
                  <a:cubicBezTo>
                    <a:pt x="127" y="111"/>
                    <a:pt x="127" y="111"/>
                    <a:pt x="127" y="111"/>
                  </a:cubicBezTo>
                  <a:cubicBezTo>
                    <a:pt x="126" y="110"/>
                    <a:pt x="126" y="109"/>
                    <a:pt x="126" y="108"/>
                  </a:cubicBezTo>
                  <a:cubicBezTo>
                    <a:pt x="126" y="108"/>
                    <a:pt x="126" y="108"/>
                    <a:pt x="126" y="108"/>
                  </a:cubicBezTo>
                  <a:cubicBezTo>
                    <a:pt x="129" y="103"/>
                    <a:pt x="132" y="97"/>
                    <a:pt x="133" y="91"/>
                  </a:cubicBezTo>
                  <a:cubicBezTo>
                    <a:pt x="133" y="90"/>
                    <a:pt x="134" y="90"/>
                    <a:pt x="135" y="90"/>
                  </a:cubicBezTo>
                  <a:cubicBezTo>
                    <a:pt x="145" y="90"/>
                    <a:pt x="145" y="90"/>
                    <a:pt x="145" y="90"/>
                  </a:cubicBezTo>
                  <a:cubicBezTo>
                    <a:pt x="149" y="90"/>
                    <a:pt x="152" y="87"/>
                    <a:pt x="152" y="83"/>
                  </a:cubicBezTo>
                  <a:cubicBezTo>
                    <a:pt x="152" y="74"/>
                    <a:pt x="152" y="74"/>
                    <a:pt x="152" y="74"/>
                  </a:cubicBezTo>
                  <a:cubicBezTo>
                    <a:pt x="152" y="70"/>
                    <a:pt x="149" y="67"/>
                    <a:pt x="145" y="67"/>
                  </a:cubicBezTo>
                  <a:cubicBezTo>
                    <a:pt x="135" y="67"/>
                    <a:pt x="135" y="67"/>
                    <a:pt x="135" y="67"/>
                  </a:cubicBezTo>
                  <a:cubicBezTo>
                    <a:pt x="134" y="67"/>
                    <a:pt x="133" y="66"/>
                    <a:pt x="133" y="65"/>
                  </a:cubicBezTo>
                  <a:cubicBezTo>
                    <a:pt x="132" y="60"/>
                    <a:pt x="129" y="54"/>
                    <a:pt x="126" y="49"/>
                  </a:cubicBezTo>
                  <a:cubicBezTo>
                    <a:pt x="126" y="48"/>
                    <a:pt x="126" y="47"/>
                    <a:pt x="127" y="46"/>
                  </a:cubicBezTo>
                  <a:cubicBezTo>
                    <a:pt x="133" y="39"/>
                    <a:pt x="133" y="39"/>
                    <a:pt x="133" y="39"/>
                  </a:cubicBezTo>
                  <a:cubicBezTo>
                    <a:pt x="136" y="36"/>
                    <a:pt x="136" y="32"/>
                    <a:pt x="133" y="30"/>
                  </a:cubicBezTo>
                  <a:cubicBezTo>
                    <a:pt x="127" y="23"/>
                    <a:pt x="127" y="23"/>
                    <a:pt x="127" y="23"/>
                  </a:cubicBezTo>
                  <a:cubicBezTo>
                    <a:pt x="126" y="22"/>
                    <a:pt x="124" y="21"/>
                    <a:pt x="122" y="21"/>
                  </a:cubicBezTo>
                  <a:cubicBezTo>
                    <a:pt x="121" y="21"/>
                    <a:pt x="119" y="22"/>
                    <a:pt x="118" y="23"/>
                  </a:cubicBezTo>
                  <a:cubicBezTo>
                    <a:pt x="111" y="30"/>
                    <a:pt x="111" y="30"/>
                    <a:pt x="111" y="30"/>
                  </a:cubicBezTo>
                  <a:cubicBezTo>
                    <a:pt x="110" y="31"/>
                    <a:pt x="109" y="31"/>
                    <a:pt x="108" y="30"/>
                  </a:cubicBezTo>
                  <a:cubicBezTo>
                    <a:pt x="103" y="27"/>
                    <a:pt x="97" y="25"/>
                    <a:pt x="91" y="24"/>
                  </a:cubicBezTo>
                  <a:cubicBezTo>
                    <a:pt x="90" y="23"/>
                    <a:pt x="89" y="22"/>
                    <a:pt x="89" y="21"/>
                  </a:cubicBezTo>
                  <a:cubicBezTo>
                    <a:pt x="89" y="12"/>
                    <a:pt x="89" y="12"/>
                    <a:pt x="89" y="12"/>
                  </a:cubicBezTo>
                  <a:cubicBezTo>
                    <a:pt x="89" y="8"/>
                    <a:pt x="86" y="5"/>
                    <a:pt x="83" y="5"/>
                  </a:cubicBezTo>
                  <a:cubicBezTo>
                    <a:pt x="74" y="5"/>
                    <a:pt x="74" y="5"/>
                    <a:pt x="74" y="5"/>
                  </a:cubicBezTo>
                  <a:cubicBezTo>
                    <a:pt x="70" y="5"/>
                    <a:pt x="67" y="8"/>
                    <a:pt x="67" y="12"/>
                  </a:cubicBezTo>
                  <a:cubicBezTo>
                    <a:pt x="67" y="21"/>
                    <a:pt x="67" y="21"/>
                    <a:pt x="67" y="21"/>
                  </a:cubicBezTo>
                  <a:cubicBezTo>
                    <a:pt x="67" y="22"/>
                    <a:pt x="66" y="23"/>
                    <a:pt x="65" y="24"/>
                  </a:cubicBezTo>
                  <a:cubicBezTo>
                    <a:pt x="59" y="25"/>
                    <a:pt x="54" y="27"/>
                    <a:pt x="49" y="30"/>
                  </a:cubicBezTo>
                  <a:cubicBezTo>
                    <a:pt x="48" y="31"/>
                    <a:pt x="46" y="31"/>
                    <a:pt x="46" y="30"/>
                  </a:cubicBezTo>
                  <a:cubicBezTo>
                    <a:pt x="39" y="23"/>
                    <a:pt x="39" y="23"/>
                    <a:pt x="39" y="23"/>
                  </a:cubicBezTo>
                  <a:cubicBezTo>
                    <a:pt x="36" y="21"/>
                    <a:pt x="32" y="21"/>
                    <a:pt x="29" y="23"/>
                  </a:cubicBezTo>
                  <a:cubicBezTo>
                    <a:pt x="23" y="30"/>
                    <a:pt x="23" y="30"/>
                    <a:pt x="23" y="30"/>
                  </a:cubicBezTo>
                  <a:cubicBezTo>
                    <a:pt x="20" y="32"/>
                    <a:pt x="20" y="36"/>
                    <a:pt x="23" y="39"/>
                  </a:cubicBezTo>
                  <a:cubicBezTo>
                    <a:pt x="30" y="46"/>
                    <a:pt x="30" y="46"/>
                    <a:pt x="30" y="46"/>
                  </a:cubicBezTo>
                  <a:cubicBezTo>
                    <a:pt x="31" y="47"/>
                    <a:pt x="31" y="48"/>
                    <a:pt x="30" y="49"/>
                  </a:cubicBezTo>
                  <a:cubicBezTo>
                    <a:pt x="27" y="54"/>
                    <a:pt x="25" y="60"/>
                    <a:pt x="23" y="65"/>
                  </a:cubicBezTo>
                  <a:cubicBezTo>
                    <a:pt x="23" y="66"/>
                    <a:pt x="22" y="67"/>
                    <a:pt x="21" y="67"/>
                  </a:cubicBezTo>
                  <a:cubicBezTo>
                    <a:pt x="11" y="67"/>
                    <a:pt x="11" y="67"/>
                    <a:pt x="11" y="67"/>
                  </a:cubicBezTo>
                  <a:cubicBezTo>
                    <a:pt x="8" y="67"/>
                    <a:pt x="5" y="70"/>
                    <a:pt x="5" y="74"/>
                  </a:cubicBezTo>
                  <a:cubicBezTo>
                    <a:pt x="5" y="83"/>
                    <a:pt x="5" y="83"/>
                    <a:pt x="5" y="83"/>
                  </a:cubicBezTo>
                  <a:cubicBezTo>
                    <a:pt x="5" y="87"/>
                    <a:pt x="8" y="90"/>
                    <a:pt x="11" y="90"/>
                  </a:cubicBezTo>
                  <a:cubicBezTo>
                    <a:pt x="21" y="90"/>
                    <a:pt x="21" y="90"/>
                    <a:pt x="21" y="90"/>
                  </a:cubicBezTo>
                  <a:cubicBezTo>
                    <a:pt x="22" y="90"/>
                    <a:pt x="23" y="90"/>
                    <a:pt x="23" y="91"/>
                  </a:cubicBezTo>
                  <a:cubicBezTo>
                    <a:pt x="25" y="97"/>
                    <a:pt x="27" y="103"/>
                    <a:pt x="30" y="108"/>
                  </a:cubicBezTo>
                  <a:cubicBezTo>
                    <a:pt x="31" y="109"/>
                    <a:pt x="31" y="110"/>
                    <a:pt x="30" y="111"/>
                  </a:cubicBezTo>
                  <a:cubicBezTo>
                    <a:pt x="23" y="118"/>
                    <a:pt x="23" y="118"/>
                    <a:pt x="23" y="118"/>
                  </a:cubicBezTo>
                  <a:cubicBezTo>
                    <a:pt x="20" y="120"/>
                    <a:pt x="20" y="125"/>
                    <a:pt x="23" y="127"/>
                  </a:cubicBezTo>
                  <a:cubicBezTo>
                    <a:pt x="29" y="134"/>
                    <a:pt x="29" y="134"/>
                    <a:pt x="29" y="134"/>
                  </a:cubicBezTo>
                  <a:cubicBezTo>
                    <a:pt x="32" y="136"/>
                    <a:pt x="36" y="136"/>
                    <a:pt x="39" y="134"/>
                  </a:cubicBezTo>
                  <a:cubicBezTo>
                    <a:pt x="46" y="127"/>
                    <a:pt x="46" y="127"/>
                    <a:pt x="46" y="127"/>
                  </a:cubicBezTo>
                  <a:cubicBezTo>
                    <a:pt x="46" y="126"/>
                    <a:pt x="47" y="126"/>
                    <a:pt x="49" y="126"/>
                  </a:cubicBezTo>
                  <a:cubicBezTo>
                    <a:pt x="49" y="126"/>
                    <a:pt x="49" y="126"/>
                    <a:pt x="49" y="12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27" name="Freeform 424">
              <a:extLst>
                <a:ext uri="{FF2B5EF4-FFF2-40B4-BE49-F238E27FC236}">
                  <a16:creationId xmlns:a16="http://schemas.microsoft.com/office/drawing/2014/main" id="{C52F05B5-9009-0015-19BD-0792E3411911}"/>
                </a:ext>
              </a:extLst>
            </p:cNvPr>
            <p:cNvSpPr>
              <a:spLocks/>
            </p:cNvSpPr>
            <p:nvPr/>
          </p:nvSpPr>
          <p:spPr bwMode="auto">
            <a:xfrm>
              <a:off x="-450845" y="3003560"/>
              <a:ext cx="93662" cy="142876"/>
            </a:xfrm>
            <a:custGeom>
              <a:avLst/>
              <a:gdLst>
                <a:gd name="T0" fmla="*/ 21 w 42"/>
                <a:gd name="T1" fmla="*/ 62 h 63"/>
                <a:gd name="T2" fmla="*/ 1 w 42"/>
                <a:gd name="T3" fmla="*/ 52 h 63"/>
                <a:gd name="T4" fmla="*/ 2 w 42"/>
                <a:gd name="T5" fmla="*/ 49 h 63"/>
                <a:gd name="T6" fmla="*/ 5 w 42"/>
                <a:gd name="T7" fmla="*/ 49 h 63"/>
                <a:gd name="T8" fmla="*/ 31 w 42"/>
                <a:gd name="T9" fmla="*/ 55 h 63"/>
                <a:gd name="T10" fmla="*/ 31 w 42"/>
                <a:gd name="T11" fmla="*/ 55 h 63"/>
                <a:gd name="T12" fmla="*/ 37 w 42"/>
                <a:gd name="T13" fmla="*/ 45 h 63"/>
                <a:gd name="T14" fmla="*/ 28 w 42"/>
                <a:gd name="T15" fmla="*/ 34 h 63"/>
                <a:gd name="T16" fmla="*/ 13 w 42"/>
                <a:gd name="T17" fmla="*/ 30 h 63"/>
                <a:gd name="T18" fmla="*/ 1 w 42"/>
                <a:gd name="T19" fmla="*/ 15 h 63"/>
                <a:gd name="T20" fmla="*/ 6 w 42"/>
                <a:gd name="T21" fmla="*/ 4 h 63"/>
                <a:gd name="T22" fmla="*/ 22 w 42"/>
                <a:gd name="T23" fmla="*/ 0 h 63"/>
                <a:gd name="T24" fmla="*/ 42 w 42"/>
                <a:gd name="T25" fmla="*/ 13 h 63"/>
                <a:gd name="T26" fmla="*/ 40 w 42"/>
                <a:gd name="T27" fmla="*/ 16 h 63"/>
                <a:gd name="T28" fmla="*/ 37 w 42"/>
                <a:gd name="T29" fmla="*/ 15 h 63"/>
                <a:gd name="T30" fmla="*/ 22 w 42"/>
                <a:gd name="T31" fmla="*/ 5 h 63"/>
                <a:gd name="T32" fmla="*/ 9 w 42"/>
                <a:gd name="T33" fmla="*/ 8 h 63"/>
                <a:gd name="T34" fmla="*/ 6 w 42"/>
                <a:gd name="T35" fmla="*/ 15 h 63"/>
                <a:gd name="T36" fmla="*/ 14 w 42"/>
                <a:gd name="T37" fmla="*/ 25 h 63"/>
                <a:gd name="T38" fmla="*/ 29 w 42"/>
                <a:gd name="T39" fmla="*/ 29 h 63"/>
                <a:gd name="T40" fmla="*/ 42 w 42"/>
                <a:gd name="T41" fmla="*/ 44 h 63"/>
                <a:gd name="T42" fmla="*/ 33 w 42"/>
                <a:gd name="T43" fmla="*/ 60 h 63"/>
                <a:gd name="T44" fmla="*/ 21 w 42"/>
                <a:gd name="T45" fmla="*/ 62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2" h="63">
                  <a:moveTo>
                    <a:pt x="21" y="62"/>
                  </a:moveTo>
                  <a:cubicBezTo>
                    <a:pt x="14" y="62"/>
                    <a:pt x="7" y="60"/>
                    <a:pt x="1" y="52"/>
                  </a:cubicBezTo>
                  <a:cubicBezTo>
                    <a:pt x="0" y="51"/>
                    <a:pt x="1" y="50"/>
                    <a:pt x="2" y="49"/>
                  </a:cubicBezTo>
                  <a:cubicBezTo>
                    <a:pt x="3" y="48"/>
                    <a:pt x="4" y="48"/>
                    <a:pt x="5" y="49"/>
                  </a:cubicBezTo>
                  <a:cubicBezTo>
                    <a:pt x="15" y="63"/>
                    <a:pt x="30" y="55"/>
                    <a:pt x="31" y="55"/>
                  </a:cubicBezTo>
                  <a:cubicBezTo>
                    <a:pt x="31" y="55"/>
                    <a:pt x="31" y="55"/>
                    <a:pt x="31" y="55"/>
                  </a:cubicBezTo>
                  <a:cubicBezTo>
                    <a:pt x="31" y="55"/>
                    <a:pt x="37" y="52"/>
                    <a:pt x="37" y="45"/>
                  </a:cubicBezTo>
                  <a:cubicBezTo>
                    <a:pt x="36" y="37"/>
                    <a:pt x="28" y="34"/>
                    <a:pt x="28" y="34"/>
                  </a:cubicBezTo>
                  <a:cubicBezTo>
                    <a:pt x="28" y="34"/>
                    <a:pt x="20" y="32"/>
                    <a:pt x="13" y="30"/>
                  </a:cubicBezTo>
                  <a:cubicBezTo>
                    <a:pt x="5" y="27"/>
                    <a:pt x="1" y="22"/>
                    <a:pt x="1" y="15"/>
                  </a:cubicBezTo>
                  <a:cubicBezTo>
                    <a:pt x="1" y="11"/>
                    <a:pt x="3" y="7"/>
                    <a:pt x="6" y="4"/>
                  </a:cubicBezTo>
                  <a:cubicBezTo>
                    <a:pt x="9" y="1"/>
                    <a:pt x="15" y="0"/>
                    <a:pt x="22" y="0"/>
                  </a:cubicBezTo>
                  <a:cubicBezTo>
                    <a:pt x="34" y="0"/>
                    <a:pt x="40" y="9"/>
                    <a:pt x="42" y="13"/>
                  </a:cubicBezTo>
                  <a:cubicBezTo>
                    <a:pt x="42" y="15"/>
                    <a:pt x="41" y="16"/>
                    <a:pt x="40" y="16"/>
                  </a:cubicBezTo>
                  <a:cubicBezTo>
                    <a:pt x="39" y="17"/>
                    <a:pt x="37" y="16"/>
                    <a:pt x="37" y="15"/>
                  </a:cubicBezTo>
                  <a:cubicBezTo>
                    <a:pt x="37" y="14"/>
                    <a:pt x="34" y="5"/>
                    <a:pt x="22" y="5"/>
                  </a:cubicBezTo>
                  <a:cubicBezTo>
                    <a:pt x="16" y="5"/>
                    <a:pt x="12" y="6"/>
                    <a:pt x="9" y="8"/>
                  </a:cubicBezTo>
                  <a:cubicBezTo>
                    <a:pt x="7" y="10"/>
                    <a:pt x="6" y="12"/>
                    <a:pt x="6" y="15"/>
                  </a:cubicBezTo>
                  <a:cubicBezTo>
                    <a:pt x="6" y="20"/>
                    <a:pt x="9" y="23"/>
                    <a:pt x="14" y="25"/>
                  </a:cubicBezTo>
                  <a:cubicBezTo>
                    <a:pt x="22" y="27"/>
                    <a:pt x="29" y="29"/>
                    <a:pt x="29" y="29"/>
                  </a:cubicBezTo>
                  <a:cubicBezTo>
                    <a:pt x="30" y="30"/>
                    <a:pt x="40" y="33"/>
                    <a:pt x="42" y="44"/>
                  </a:cubicBezTo>
                  <a:cubicBezTo>
                    <a:pt x="42" y="53"/>
                    <a:pt x="36" y="58"/>
                    <a:pt x="33" y="60"/>
                  </a:cubicBezTo>
                  <a:cubicBezTo>
                    <a:pt x="32" y="60"/>
                    <a:pt x="27" y="62"/>
                    <a:pt x="21" y="6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28" name="Freeform 425">
              <a:extLst>
                <a:ext uri="{FF2B5EF4-FFF2-40B4-BE49-F238E27FC236}">
                  <a16:creationId xmlns:a16="http://schemas.microsoft.com/office/drawing/2014/main" id="{52A14256-038D-472C-0223-2093E20CD4FD}"/>
                </a:ext>
              </a:extLst>
            </p:cNvPr>
            <p:cNvSpPr>
              <a:spLocks/>
            </p:cNvSpPr>
            <p:nvPr/>
          </p:nvSpPr>
          <p:spPr bwMode="auto">
            <a:xfrm>
              <a:off x="-407980" y="2976571"/>
              <a:ext cx="11113" cy="38100"/>
            </a:xfrm>
            <a:custGeom>
              <a:avLst/>
              <a:gdLst>
                <a:gd name="T0" fmla="*/ 3 w 5"/>
                <a:gd name="T1" fmla="*/ 17 h 17"/>
                <a:gd name="T2" fmla="*/ 0 w 5"/>
                <a:gd name="T3" fmla="*/ 14 h 17"/>
                <a:gd name="T4" fmla="*/ 0 w 5"/>
                <a:gd name="T5" fmla="*/ 2 h 17"/>
                <a:gd name="T6" fmla="*/ 3 w 5"/>
                <a:gd name="T7" fmla="*/ 0 h 17"/>
                <a:gd name="T8" fmla="*/ 5 w 5"/>
                <a:gd name="T9" fmla="*/ 2 h 17"/>
                <a:gd name="T10" fmla="*/ 5 w 5"/>
                <a:gd name="T11" fmla="*/ 14 h 17"/>
                <a:gd name="T12" fmla="*/ 3 w 5"/>
                <a:gd name="T13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17">
                  <a:moveTo>
                    <a:pt x="3" y="17"/>
                  </a:moveTo>
                  <a:cubicBezTo>
                    <a:pt x="1" y="17"/>
                    <a:pt x="0" y="15"/>
                    <a:pt x="0" y="1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5" y="1"/>
                    <a:pt x="5" y="2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5"/>
                    <a:pt x="4" y="17"/>
                    <a:pt x="3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29" name="Freeform 426">
              <a:extLst>
                <a:ext uri="{FF2B5EF4-FFF2-40B4-BE49-F238E27FC236}">
                  <a16:creationId xmlns:a16="http://schemas.microsoft.com/office/drawing/2014/main" id="{B6CB00C6-73DE-0357-F519-2CD1020B770B}"/>
                </a:ext>
              </a:extLst>
            </p:cNvPr>
            <p:cNvSpPr>
              <a:spLocks/>
            </p:cNvSpPr>
            <p:nvPr/>
          </p:nvSpPr>
          <p:spPr bwMode="auto">
            <a:xfrm>
              <a:off x="-407988" y="3135313"/>
              <a:ext cx="11113" cy="38100"/>
            </a:xfrm>
            <a:custGeom>
              <a:avLst/>
              <a:gdLst>
                <a:gd name="T0" fmla="*/ 3 w 5"/>
                <a:gd name="T1" fmla="*/ 17 h 17"/>
                <a:gd name="T2" fmla="*/ 0 w 5"/>
                <a:gd name="T3" fmla="*/ 15 h 17"/>
                <a:gd name="T4" fmla="*/ 0 w 5"/>
                <a:gd name="T5" fmla="*/ 3 h 17"/>
                <a:gd name="T6" fmla="*/ 3 w 5"/>
                <a:gd name="T7" fmla="*/ 0 h 17"/>
                <a:gd name="T8" fmla="*/ 5 w 5"/>
                <a:gd name="T9" fmla="*/ 3 h 17"/>
                <a:gd name="T10" fmla="*/ 5 w 5"/>
                <a:gd name="T11" fmla="*/ 15 h 17"/>
                <a:gd name="T12" fmla="*/ 3 w 5"/>
                <a:gd name="T13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17">
                  <a:moveTo>
                    <a:pt x="3" y="17"/>
                  </a:moveTo>
                  <a:cubicBezTo>
                    <a:pt x="1" y="17"/>
                    <a:pt x="0" y="16"/>
                    <a:pt x="0" y="1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5" y="1"/>
                    <a:pt x="5" y="3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16"/>
                    <a:pt x="4" y="17"/>
                    <a:pt x="3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30" name="Shape70_20200717_142846">
            <a:extLst>
              <a:ext uri="{FF2B5EF4-FFF2-40B4-BE49-F238E27FC236}">
                <a16:creationId xmlns:a16="http://schemas.microsoft.com/office/drawing/2014/main" id="{E262C925-11C4-24F3-FCF3-DBBBBE5A10D8}"/>
              </a:ext>
            </a:extLst>
          </p:cNvPr>
          <p:cNvGrpSpPr>
            <a:grpSpLocks noChangeAspect="1"/>
          </p:cNvGrpSpPr>
          <p:nvPr/>
        </p:nvGrpSpPr>
        <p:grpSpPr>
          <a:xfrm>
            <a:off x="8455234" y="3856398"/>
            <a:ext cx="503758" cy="556525"/>
            <a:chOff x="-2720976" y="2143125"/>
            <a:chExt cx="333375" cy="368296"/>
          </a:xfrm>
          <a:solidFill>
            <a:schemeClr val="accent1"/>
          </a:solidFill>
        </p:grpSpPr>
        <p:sp>
          <p:nvSpPr>
            <p:cNvPr id="331" name="Freeform 548">
              <a:extLst>
                <a:ext uri="{FF2B5EF4-FFF2-40B4-BE49-F238E27FC236}">
                  <a16:creationId xmlns:a16="http://schemas.microsoft.com/office/drawing/2014/main" id="{73F6A1C8-EBC6-4D4A-7839-4E6A8B3C1E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701926" y="2197096"/>
              <a:ext cx="293688" cy="314325"/>
            </a:xfrm>
            <a:custGeom>
              <a:avLst/>
              <a:gdLst>
                <a:gd name="T0" fmla="*/ 120 w 130"/>
                <a:gd name="T1" fmla="*/ 139 h 139"/>
                <a:gd name="T2" fmla="*/ 10 w 130"/>
                <a:gd name="T3" fmla="*/ 139 h 139"/>
                <a:gd name="T4" fmla="*/ 3 w 130"/>
                <a:gd name="T5" fmla="*/ 135 h 139"/>
                <a:gd name="T6" fmla="*/ 0 w 130"/>
                <a:gd name="T7" fmla="*/ 128 h 139"/>
                <a:gd name="T8" fmla="*/ 17 w 130"/>
                <a:gd name="T9" fmla="*/ 7 h 139"/>
                <a:gd name="T10" fmla="*/ 26 w 130"/>
                <a:gd name="T11" fmla="*/ 0 h 139"/>
                <a:gd name="T12" fmla="*/ 103 w 130"/>
                <a:gd name="T13" fmla="*/ 0 h 139"/>
                <a:gd name="T14" fmla="*/ 112 w 130"/>
                <a:gd name="T15" fmla="*/ 7 h 139"/>
                <a:gd name="T16" fmla="*/ 129 w 130"/>
                <a:gd name="T17" fmla="*/ 128 h 139"/>
                <a:gd name="T18" fmla="*/ 127 w 130"/>
                <a:gd name="T19" fmla="*/ 135 h 139"/>
                <a:gd name="T20" fmla="*/ 120 w 130"/>
                <a:gd name="T21" fmla="*/ 139 h 139"/>
                <a:gd name="T22" fmla="*/ 26 w 130"/>
                <a:gd name="T23" fmla="*/ 5 h 139"/>
                <a:gd name="T24" fmla="*/ 22 w 130"/>
                <a:gd name="T25" fmla="*/ 8 h 139"/>
                <a:gd name="T26" fmla="*/ 5 w 130"/>
                <a:gd name="T27" fmla="*/ 128 h 139"/>
                <a:gd name="T28" fmla="*/ 6 w 130"/>
                <a:gd name="T29" fmla="*/ 132 h 139"/>
                <a:gd name="T30" fmla="*/ 10 w 130"/>
                <a:gd name="T31" fmla="*/ 134 h 139"/>
                <a:gd name="T32" fmla="*/ 120 w 130"/>
                <a:gd name="T33" fmla="*/ 134 h 139"/>
                <a:gd name="T34" fmla="*/ 123 w 130"/>
                <a:gd name="T35" fmla="*/ 132 h 139"/>
                <a:gd name="T36" fmla="*/ 124 w 130"/>
                <a:gd name="T37" fmla="*/ 128 h 139"/>
                <a:gd name="T38" fmla="*/ 107 w 130"/>
                <a:gd name="T39" fmla="*/ 8 h 139"/>
                <a:gd name="T40" fmla="*/ 107 w 130"/>
                <a:gd name="T41" fmla="*/ 8 h 139"/>
                <a:gd name="T42" fmla="*/ 103 w 130"/>
                <a:gd name="T43" fmla="*/ 5 h 139"/>
                <a:gd name="T44" fmla="*/ 26 w 130"/>
                <a:gd name="T45" fmla="*/ 5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30" h="139">
                  <a:moveTo>
                    <a:pt x="120" y="139"/>
                  </a:moveTo>
                  <a:cubicBezTo>
                    <a:pt x="10" y="139"/>
                    <a:pt x="10" y="139"/>
                    <a:pt x="10" y="139"/>
                  </a:cubicBezTo>
                  <a:cubicBezTo>
                    <a:pt x="7" y="139"/>
                    <a:pt x="4" y="138"/>
                    <a:pt x="3" y="135"/>
                  </a:cubicBezTo>
                  <a:cubicBezTo>
                    <a:pt x="1" y="133"/>
                    <a:pt x="0" y="131"/>
                    <a:pt x="0" y="128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8" y="3"/>
                    <a:pt x="22" y="0"/>
                    <a:pt x="26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08" y="0"/>
                    <a:pt x="112" y="3"/>
                    <a:pt x="112" y="7"/>
                  </a:cubicBezTo>
                  <a:cubicBezTo>
                    <a:pt x="129" y="128"/>
                    <a:pt x="129" y="128"/>
                    <a:pt x="129" y="128"/>
                  </a:cubicBezTo>
                  <a:cubicBezTo>
                    <a:pt x="130" y="131"/>
                    <a:pt x="129" y="133"/>
                    <a:pt x="127" y="135"/>
                  </a:cubicBezTo>
                  <a:cubicBezTo>
                    <a:pt x="125" y="138"/>
                    <a:pt x="123" y="139"/>
                    <a:pt x="120" y="139"/>
                  </a:cubicBezTo>
                  <a:close/>
                  <a:moveTo>
                    <a:pt x="26" y="5"/>
                  </a:moveTo>
                  <a:cubicBezTo>
                    <a:pt x="24" y="5"/>
                    <a:pt x="22" y="7"/>
                    <a:pt x="22" y="8"/>
                  </a:cubicBezTo>
                  <a:cubicBezTo>
                    <a:pt x="5" y="128"/>
                    <a:pt x="5" y="128"/>
                    <a:pt x="5" y="128"/>
                  </a:cubicBezTo>
                  <a:cubicBezTo>
                    <a:pt x="5" y="130"/>
                    <a:pt x="5" y="131"/>
                    <a:pt x="6" y="132"/>
                  </a:cubicBezTo>
                  <a:cubicBezTo>
                    <a:pt x="7" y="133"/>
                    <a:pt x="9" y="134"/>
                    <a:pt x="10" y="134"/>
                  </a:cubicBezTo>
                  <a:cubicBezTo>
                    <a:pt x="120" y="134"/>
                    <a:pt x="120" y="134"/>
                    <a:pt x="120" y="134"/>
                  </a:cubicBezTo>
                  <a:cubicBezTo>
                    <a:pt x="121" y="134"/>
                    <a:pt x="122" y="133"/>
                    <a:pt x="123" y="132"/>
                  </a:cubicBezTo>
                  <a:cubicBezTo>
                    <a:pt x="124" y="131"/>
                    <a:pt x="125" y="130"/>
                    <a:pt x="124" y="128"/>
                  </a:cubicBezTo>
                  <a:cubicBezTo>
                    <a:pt x="107" y="8"/>
                    <a:pt x="107" y="8"/>
                    <a:pt x="107" y="8"/>
                  </a:cubicBezTo>
                  <a:cubicBezTo>
                    <a:pt x="107" y="8"/>
                    <a:pt x="107" y="8"/>
                    <a:pt x="107" y="8"/>
                  </a:cubicBezTo>
                  <a:cubicBezTo>
                    <a:pt x="107" y="7"/>
                    <a:pt x="106" y="5"/>
                    <a:pt x="103" y="5"/>
                  </a:cubicBezTo>
                  <a:lnTo>
                    <a:pt x="26" y="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32" name="Freeform 549">
              <a:extLst>
                <a:ext uri="{FF2B5EF4-FFF2-40B4-BE49-F238E27FC236}">
                  <a16:creationId xmlns:a16="http://schemas.microsoft.com/office/drawing/2014/main" id="{FB145732-E90C-E1A7-09A0-CFA724CC9C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659063" y="2197096"/>
              <a:ext cx="79375" cy="314325"/>
            </a:xfrm>
            <a:custGeom>
              <a:avLst/>
              <a:gdLst>
                <a:gd name="T0" fmla="*/ 27 w 35"/>
                <a:gd name="T1" fmla="*/ 139 h 139"/>
                <a:gd name="T2" fmla="*/ 2 w 35"/>
                <a:gd name="T3" fmla="*/ 139 h 139"/>
                <a:gd name="T4" fmla="*/ 0 w 35"/>
                <a:gd name="T5" fmla="*/ 138 h 139"/>
                <a:gd name="T6" fmla="*/ 0 w 35"/>
                <a:gd name="T7" fmla="*/ 136 h 139"/>
                <a:gd name="T8" fmla="*/ 13 w 35"/>
                <a:gd name="T9" fmla="*/ 3 h 139"/>
                <a:gd name="T10" fmla="*/ 15 w 35"/>
                <a:gd name="T11" fmla="*/ 0 h 139"/>
                <a:gd name="T12" fmla="*/ 33 w 35"/>
                <a:gd name="T13" fmla="*/ 0 h 139"/>
                <a:gd name="T14" fmla="*/ 35 w 35"/>
                <a:gd name="T15" fmla="*/ 1 h 139"/>
                <a:gd name="T16" fmla="*/ 35 w 35"/>
                <a:gd name="T17" fmla="*/ 3 h 139"/>
                <a:gd name="T18" fmla="*/ 30 w 35"/>
                <a:gd name="T19" fmla="*/ 136 h 139"/>
                <a:gd name="T20" fmla="*/ 27 w 35"/>
                <a:gd name="T21" fmla="*/ 139 h 139"/>
                <a:gd name="T22" fmla="*/ 5 w 35"/>
                <a:gd name="T23" fmla="*/ 134 h 139"/>
                <a:gd name="T24" fmla="*/ 25 w 35"/>
                <a:gd name="T25" fmla="*/ 134 h 139"/>
                <a:gd name="T26" fmla="*/ 30 w 35"/>
                <a:gd name="T27" fmla="*/ 5 h 139"/>
                <a:gd name="T28" fmla="*/ 17 w 35"/>
                <a:gd name="T29" fmla="*/ 5 h 139"/>
                <a:gd name="T30" fmla="*/ 5 w 35"/>
                <a:gd name="T31" fmla="*/ 134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5" h="139">
                  <a:moveTo>
                    <a:pt x="27" y="139"/>
                  </a:moveTo>
                  <a:cubicBezTo>
                    <a:pt x="2" y="139"/>
                    <a:pt x="2" y="139"/>
                    <a:pt x="2" y="139"/>
                  </a:cubicBezTo>
                  <a:cubicBezTo>
                    <a:pt x="2" y="139"/>
                    <a:pt x="1" y="138"/>
                    <a:pt x="0" y="138"/>
                  </a:cubicBezTo>
                  <a:cubicBezTo>
                    <a:pt x="0" y="137"/>
                    <a:pt x="0" y="137"/>
                    <a:pt x="0" y="136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1"/>
                    <a:pt x="14" y="0"/>
                    <a:pt x="15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4" y="0"/>
                    <a:pt x="34" y="1"/>
                    <a:pt x="35" y="1"/>
                  </a:cubicBezTo>
                  <a:cubicBezTo>
                    <a:pt x="35" y="2"/>
                    <a:pt x="35" y="2"/>
                    <a:pt x="35" y="3"/>
                  </a:cubicBezTo>
                  <a:cubicBezTo>
                    <a:pt x="30" y="136"/>
                    <a:pt x="30" y="136"/>
                    <a:pt x="30" y="136"/>
                  </a:cubicBezTo>
                  <a:cubicBezTo>
                    <a:pt x="30" y="138"/>
                    <a:pt x="29" y="139"/>
                    <a:pt x="27" y="139"/>
                  </a:cubicBezTo>
                  <a:close/>
                  <a:moveTo>
                    <a:pt x="5" y="134"/>
                  </a:moveTo>
                  <a:cubicBezTo>
                    <a:pt x="25" y="134"/>
                    <a:pt x="25" y="134"/>
                    <a:pt x="25" y="134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17" y="5"/>
                    <a:pt x="17" y="5"/>
                    <a:pt x="17" y="5"/>
                  </a:cubicBezTo>
                  <a:lnTo>
                    <a:pt x="5" y="13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33" name="Freeform 550">
              <a:extLst>
                <a:ext uri="{FF2B5EF4-FFF2-40B4-BE49-F238E27FC236}">
                  <a16:creationId xmlns:a16="http://schemas.microsoft.com/office/drawing/2014/main" id="{3458D160-0DFE-F229-A76A-A65A12C128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514601" y="2406646"/>
              <a:ext cx="57150" cy="52388"/>
            </a:xfrm>
            <a:custGeom>
              <a:avLst/>
              <a:gdLst>
                <a:gd name="T0" fmla="*/ 13 w 25"/>
                <a:gd name="T1" fmla="*/ 23 h 23"/>
                <a:gd name="T2" fmla="*/ 0 w 25"/>
                <a:gd name="T3" fmla="*/ 11 h 23"/>
                <a:gd name="T4" fmla="*/ 3 w 25"/>
                <a:gd name="T5" fmla="*/ 4 h 23"/>
                <a:gd name="T6" fmla="*/ 12 w 25"/>
                <a:gd name="T7" fmla="*/ 0 h 23"/>
                <a:gd name="T8" fmla="*/ 25 w 25"/>
                <a:gd name="T9" fmla="*/ 11 h 23"/>
                <a:gd name="T10" fmla="*/ 22 w 25"/>
                <a:gd name="T11" fmla="*/ 19 h 23"/>
                <a:gd name="T12" fmla="*/ 13 w 25"/>
                <a:gd name="T13" fmla="*/ 23 h 23"/>
                <a:gd name="T14" fmla="*/ 12 w 25"/>
                <a:gd name="T15" fmla="*/ 5 h 23"/>
                <a:gd name="T16" fmla="*/ 7 w 25"/>
                <a:gd name="T17" fmla="*/ 7 h 23"/>
                <a:gd name="T18" fmla="*/ 5 w 25"/>
                <a:gd name="T19" fmla="*/ 11 h 23"/>
                <a:gd name="T20" fmla="*/ 13 w 25"/>
                <a:gd name="T21" fmla="*/ 18 h 23"/>
                <a:gd name="T22" fmla="*/ 18 w 25"/>
                <a:gd name="T23" fmla="*/ 16 h 23"/>
                <a:gd name="T24" fmla="*/ 20 w 25"/>
                <a:gd name="T25" fmla="*/ 11 h 23"/>
                <a:gd name="T26" fmla="*/ 12 w 25"/>
                <a:gd name="T27" fmla="*/ 5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" h="23">
                  <a:moveTo>
                    <a:pt x="13" y="23"/>
                  </a:moveTo>
                  <a:cubicBezTo>
                    <a:pt x="7" y="23"/>
                    <a:pt x="1" y="18"/>
                    <a:pt x="0" y="11"/>
                  </a:cubicBezTo>
                  <a:cubicBezTo>
                    <a:pt x="0" y="8"/>
                    <a:pt x="1" y="6"/>
                    <a:pt x="3" y="4"/>
                  </a:cubicBezTo>
                  <a:cubicBezTo>
                    <a:pt x="5" y="1"/>
                    <a:pt x="9" y="0"/>
                    <a:pt x="12" y="0"/>
                  </a:cubicBezTo>
                  <a:cubicBezTo>
                    <a:pt x="19" y="0"/>
                    <a:pt x="24" y="5"/>
                    <a:pt x="25" y="11"/>
                  </a:cubicBezTo>
                  <a:cubicBezTo>
                    <a:pt x="25" y="14"/>
                    <a:pt x="24" y="17"/>
                    <a:pt x="22" y="19"/>
                  </a:cubicBezTo>
                  <a:cubicBezTo>
                    <a:pt x="20" y="22"/>
                    <a:pt x="17" y="23"/>
                    <a:pt x="13" y="23"/>
                  </a:cubicBezTo>
                  <a:close/>
                  <a:moveTo>
                    <a:pt x="12" y="5"/>
                  </a:moveTo>
                  <a:cubicBezTo>
                    <a:pt x="10" y="5"/>
                    <a:pt x="8" y="6"/>
                    <a:pt x="7" y="7"/>
                  </a:cubicBezTo>
                  <a:cubicBezTo>
                    <a:pt x="6" y="8"/>
                    <a:pt x="5" y="10"/>
                    <a:pt x="5" y="11"/>
                  </a:cubicBezTo>
                  <a:cubicBezTo>
                    <a:pt x="6" y="15"/>
                    <a:pt x="9" y="18"/>
                    <a:pt x="13" y="18"/>
                  </a:cubicBezTo>
                  <a:cubicBezTo>
                    <a:pt x="15" y="18"/>
                    <a:pt x="17" y="17"/>
                    <a:pt x="18" y="16"/>
                  </a:cubicBezTo>
                  <a:cubicBezTo>
                    <a:pt x="20" y="15"/>
                    <a:pt x="20" y="13"/>
                    <a:pt x="20" y="11"/>
                  </a:cubicBezTo>
                  <a:cubicBezTo>
                    <a:pt x="20" y="8"/>
                    <a:pt x="16" y="5"/>
                    <a:pt x="12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34" name="Freeform 551">
              <a:extLst>
                <a:ext uri="{FF2B5EF4-FFF2-40B4-BE49-F238E27FC236}">
                  <a16:creationId xmlns:a16="http://schemas.microsoft.com/office/drawing/2014/main" id="{8EBDDEC9-65B5-C297-8001-89B2DDA837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516188" y="2368548"/>
              <a:ext cx="53975" cy="49213"/>
            </a:xfrm>
            <a:custGeom>
              <a:avLst/>
              <a:gdLst>
                <a:gd name="T0" fmla="*/ 13 w 24"/>
                <a:gd name="T1" fmla="*/ 22 h 22"/>
                <a:gd name="T2" fmla="*/ 1 w 24"/>
                <a:gd name="T3" fmla="*/ 11 h 22"/>
                <a:gd name="T4" fmla="*/ 3 w 24"/>
                <a:gd name="T5" fmla="*/ 4 h 22"/>
                <a:gd name="T6" fmla="*/ 12 w 24"/>
                <a:gd name="T7" fmla="*/ 0 h 22"/>
                <a:gd name="T8" fmla="*/ 24 w 24"/>
                <a:gd name="T9" fmla="*/ 11 h 22"/>
                <a:gd name="T10" fmla="*/ 22 w 24"/>
                <a:gd name="T11" fmla="*/ 18 h 22"/>
                <a:gd name="T12" fmla="*/ 13 w 24"/>
                <a:gd name="T13" fmla="*/ 22 h 22"/>
                <a:gd name="T14" fmla="*/ 12 w 24"/>
                <a:gd name="T15" fmla="*/ 5 h 22"/>
                <a:gd name="T16" fmla="*/ 7 w 24"/>
                <a:gd name="T17" fmla="*/ 7 h 22"/>
                <a:gd name="T18" fmla="*/ 5 w 24"/>
                <a:gd name="T19" fmla="*/ 11 h 22"/>
                <a:gd name="T20" fmla="*/ 13 w 24"/>
                <a:gd name="T21" fmla="*/ 17 h 22"/>
                <a:gd name="T22" fmla="*/ 18 w 24"/>
                <a:gd name="T23" fmla="*/ 15 h 22"/>
                <a:gd name="T24" fmla="*/ 19 w 24"/>
                <a:gd name="T25" fmla="*/ 11 h 22"/>
                <a:gd name="T26" fmla="*/ 12 w 24"/>
                <a:gd name="T27" fmla="*/ 5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" h="22">
                  <a:moveTo>
                    <a:pt x="13" y="22"/>
                  </a:moveTo>
                  <a:cubicBezTo>
                    <a:pt x="6" y="22"/>
                    <a:pt x="1" y="17"/>
                    <a:pt x="1" y="11"/>
                  </a:cubicBezTo>
                  <a:cubicBezTo>
                    <a:pt x="0" y="8"/>
                    <a:pt x="1" y="6"/>
                    <a:pt x="3" y="4"/>
                  </a:cubicBezTo>
                  <a:cubicBezTo>
                    <a:pt x="5" y="2"/>
                    <a:pt x="8" y="0"/>
                    <a:pt x="12" y="0"/>
                  </a:cubicBezTo>
                  <a:cubicBezTo>
                    <a:pt x="18" y="0"/>
                    <a:pt x="24" y="5"/>
                    <a:pt x="24" y="11"/>
                  </a:cubicBezTo>
                  <a:cubicBezTo>
                    <a:pt x="24" y="13"/>
                    <a:pt x="23" y="16"/>
                    <a:pt x="22" y="18"/>
                  </a:cubicBezTo>
                  <a:cubicBezTo>
                    <a:pt x="20" y="21"/>
                    <a:pt x="16" y="22"/>
                    <a:pt x="13" y="22"/>
                  </a:cubicBezTo>
                  <a:close/>
                  <a:moveTo>
                    <a:pt x="12" y="5"/>
                  </a:moveTo>
                  <a:cubicBezTo>
                    <a:pt x="10" y="5"/>
                    <a:pt x="8" y="6"/>
                    <a:pt x="7" y="7"/>
                  </a:cubicBezTo>
                  <a:cubicBezTo>
                    <a:pt x="6" y="8"/>
                    <a:pt x="5" y="9"/>
                    <a:pt x="5" y="11"/>
                  </a:cubicBezTo>
                  <a:cubicBezTo>
                    <a:pt x="6" y="14"/>
                    <a:pt x="9" y="17"/>
                    <a:pt x="13" y="17"/>
                  </a:cubicBezTo>
                  <a:cubicBezTo>
                    <a:pt x="15" y="17"/>
                    <a:pt x="17" y="16"/>
                    <a:pt x="18" y="15"/>
                  </a:cubicBezTo>
                  <a:cubicBezTo>
                    <a:pt x="19" y="14"/>
                    <a:pt x="19" y="13"/>
                    <a:pt x="19" y="11"/>
                  </a:cubicBezTo>
                  <a:cubicBezTo>
                    <a:pt x="19" y="8"/>
                    <a:pt x="16" y="5"/>
                    <a:pt x="12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35" name="Freeform 552">
              <a:extLst>
                <a:ext uri="{FF2B5EF4-FFF2-40B4-BE49-F238E27FC236}">
                  <a16:creationId xmlns:a16="http://schemas.microsoft.com/office/drawing/2014/main" id="{C38144D1-4619-03C8-FA65-5DED75F142C1}"/>
                </a:ext>
              </a:extLst>
            </p:cNvPr>
            <p:cNvSpPr>
              <a:spLocks/>
            </p:cNvSpPr>
            <p:nvPr/>
          </p:nvSpPr>
          <p:spPr bwMode="auto">
            <a:xfrm>
              <a:off x="-2720976" y="2143125"/>
              <a:ext cx="333375" cy="134938"/>
            </a:xfrm>
            <a:custGeom>
              <a:avLst/>
              <a:gdLst>
                <a:gd name="T0" fmla="*/ 139 w 148"/>
                <a:gd name="T1" fmla="*/ 60 h 60"/>
                <a:gd name="T2" fmla="*/ 124 w 148"/>
                <a:gd name="T3" fmla="*/ 60 h 60"/>
                <a:gd name="T4" fmla="*/ 121 w 148"/>
                <a:gd name="T5" fmla="*/ 57 h 60"/>
                <a:gd name="T6" fmla="*/ 124 w 148"/>
                <a:gd name="T7" fmla="*/ 55 h 60"/>
                <a:gd name="T8" fmla="*/ 139 w 148"/>
                <a:gd name="T9" fmla="*/ 55 h 60"/>
                <a:gd name="T10" fmla="*/ 143 w 148"/>
                <a:gd name="T11" fmla="*/ 51 h 60"/>
                <a:gd name="T12" fmla="*/ 143 w 148"/>
                <a:gd name="T13" fmla="*/ 9 h 60"/>
                <a:gd name="T14" fmla="*/ 139 w 148"/>
                <a:gd name="T15" fmla="*/ 5 h 60"/>
                <a:gd name="T16" fmla="*/ 9 w 148"/>
                <a:gd name="T17" fmla="*/ 5 h 60"/>
                <a:gd name="T18" fmla="*/ 5 w 148"/>
                <a:gd name="T19" fmla="*/ 9 h 60"/>
                <a:gd name="T20" fmla="*/ 5 w 148"/>
                <a:gd name="T21" fmla="*/ 51 h 60"/>
                <a:gd name="T22" fmla="*/ 9 w 148"/>
                <a:gd name="T23" fmla="*/ 55 h 60"/>
                <a:gd name="T24" fmla="*/ 24 w 148"/>
                <a:gd name="T25" fmla="*/ 55 h 60"/>
                <a:gd name="T26" fmla="*/ 26 w 148"/>
                <a:gd name="T27" fmla="*/ 57 h 60"/>
                <a:gd name="T28" fmla="*/ 24 w 148"/>
                <a:gd name="T29" fmla="*/ 60 h 60"/>
                <a:gd name="T30" fmla="*/ 9 w 148"/>
                <a:gd name="T31" fmla="*/ 60 h 60"/>
                <a:gd name="T32" fmla="*/ 0 w 148"/>
                <a:gd name="T33" fmla="*/ 51 h 60"/>
                <a:gd name="T34" fmla="*/ 0 w 148"/>
                <a:gd name="T35" fmla="*/ 9 h 60"/>
                <a:gd name="T36" fmla="*/ 9 w 148"/>
                <a:gd name="T37" fmla="*/ 0 h 60"/>
                <a:gd name="T38" fmla="*/ 139 w 148"/>
                <a:gd name="T39" fmla="*/ 0 h 60"/>
                <a:gd name="T40" fmla="*/ 148 w 148"/>
                <a:gd name="T41" fmla="*/ 9 h 60"/>
                <a:gd name="T42" fmla="*/ 148 w 148"/>
                <a:gd name="T43" fmla="*/ 51 h 60"/>
                <a:gd name="T44" fmla="*/ 139 w 148"/>
                <a:gd name="T4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48" h="60">
                  <a:moveTo>
                    <a:pt x="139" y="60"/>
                  </a:moveTo>
                  <a:cubicBezTo>
                    <a:pt x="124" y="60"/>
                    <a:pt x="124" y="60"/>
                    <a:pt x="124" y="60"/>
                  </a:cubicBezTo>
                  <a:cubicBezTo>
                    <a:pt x="122" y="60"/>
                    <a:pt x="121" y="59"/>
                    <a:pt x="121" y="57"/>
                  </a:cubicBezTo>
                  <a:cubicBezTo>
                    <a:pt x="121" y="56"/>
                    <a:pt x="122" y="55"/>
                    <a:pt x="124" y="55"/>
                  </a:cubicBezTo>
                  <a:cubicBezTo>
                    <a:pt x="139" y="55"/>
                    <a:pt x="139" y="55"/>
                    <a:pt x="139" y="55"/>
                  </a:cubicBezTo>
                  <a:cubicBezTo>
                    <a:pt x="141" y="55"/>
                    <a:pt x="143" y="53"/>
                    <a:pt x="143" y="51"/>
                  </a:cubicBezTo>
                  <a:cubicBezTo>
                    <a:pt x="143" y="9"/>
                    <a:pt x="143" y="9"/>
                    <a:pt x="143" y="9"/>
                  </a:cubicBezTo>
                  <a:cubicBezTo>
                    <a:pt x="143" y="7"/>
                    <a:pt x="141" y="5"/>
                    <a:pt x="13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7" y="5"/>
                    <a:pt x="5" y="7"/>
                    <a:pt x="5" y="9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5" y="53"/>
                    <a:pt x="7" y="55"/>
                    <a:pt x="9" y="55"/>
                  </a:cubicBezTo>
                  <a:cubicBezTo>
                    <a:pt x="24" y="55"/>
                    <a:pt x="24" y="55"/>
                    <a:pt x="24" y="55"/>
                  </a:cubicBezTo>
                  <a:cubicBezTo>
                    <a:pt x="25" y="55"/>
                    <a:pt x="26" y="56"/>
                    <a:pt x="26" y="57"/>
                  </a:cubicBezTo>
                  <a:cubicBezTo>
                    <a:pt x="26" y="59"/>
                    <a:pt x="25" y="60"/>
                    <a:pt x="24" y="60"/>
                  </a:cubicBezTo>
                  <a:cubicBezTo>
                    <a:pt x="9" y="60"/>
                    <a:pt x="9" y="60"/>
                    <a:pt x="9" y="60"/>
                  </a:cubicBezTo>
                  <a:cubicBezTo>
                    <a:pt x="4" y="60"/>
                    <a:pt x="0" y="56"/>
                    <a:pt x="0" y="51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139" y="0"/>
                    <a:pt x="139" y="0"/>
                    <a:pt x="139" y="0"/>
                  </a:cubicBezTo>
                  <a:cubicBezTo>
                    <a:pt x="144" y="0"/>
                    <a:pt x="148" y="4"/>
                    <a:pt x="148" y="9"/>
                  </a:cubicBezTo>
                  <a:cubicBezTo>
                    <a:pt x="148" y="51"/>
                    <a:pt x="148" y="51"/>
                    <a:pt x="148" y="51"/>
                  </a:cubicBezTo>
                  <a:cubicBezTo>
                    <a:pt x="148" y="56"/>
                    <a:pt x="144" y="60"/>
                    <a:pt x="139" y="6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41" name="Shape55_20200717_142846">
            <a:extLst>
              <a:ext uri="{FF2B5EF4-FFF2-40B4-BE49-F238E27FC236}">
                <a16:creationId xmlns:a16="http://schemas.microsoft.com/office/drawing/2014/main" id="{0AEB2042-D21F-B3EC-5348-37B1F2B92E8C}"/>
              </a:ext>
            </a:extLst>
          </p:cNvPr>
          <p:cNvGrpSpPr>
            <a:grpSpLocks noChangeAspect="1"/>
          </p:cNvGrpSpPr>
          <p:nvPr/>
        </p:nvGrpSpPr>
        <p:grpSpPr>
          <a:xfrm>
            <a:off x="9608474" y="1242882"/>
            <a:ext cx="808401" cy="561394"/>
            <a:chOff x="-3621087" y="1772583"/>
            <a:chExt cx="534982" cy="371510"/>
          </a:xfrm>
          <a:solidFill>
            <a:schemeClr val="accent1"/>
          </a:solidFill>
        </p:grpSpPr>
        <p:sp>
          <p:nvSpPr>
            <p:cNvPr id="342" name="Freeform 1532">
              <a:extLst>
                <a:ext uri="{FF2B5EF4-FFF2-40B4-BE49-F238E27FC236}">
                  <a16:creationId xmlns:a16="http://schemas.microsoft.com/office/drawing/2014/main" id="{4CAFFD89-744E-3265-D53A-20A3DE27BC43}"/>
                </a:ext>
              </a:extLst>
            </p:cNvPr>
            <p:cNvSpPr>
              <a:spLocks/>
            </p:cNvSpPr>
            <p:nvPr/>
          </p:nvSpPr>
          <p:spPr bwMode="auto">
            <a:xfrm>
              <a:off x="-3382967" y="1955141"/>
              <a:ext cx="57150" cy="33338"/>
            </a:xfrm>
            <a:custGeom>
              <a:avLst/>
              <a:gdLst>
                <a:gd name="T0" fmla="*/ 27 w 54"/>
                <a:gd name="T1" fmla="*/ 32 h 32"/>
                <a:gd name="T2" fmla="*/ 23 w 54"/>
                <a:gd name="T3" fmla="*/ 31 h 32"/>
                <a:gd name="T4" fmla="*/ 2 w 54"/>
                <a:gd name="T5" fmla="*/ 10 h 32"/>
                <a:gd name="T6" fmla="*/ 2 w 54"/>
                <a:gd name="T7" fmla="*/ 2 h 32"/>
                <a:gd name="T8" fmla="*/ 10 w 54"/>
                <a:gd name="T9" fmla="*/ 2 h 32"/>
                <a:gd name="T10" fmla="*/ 27 w 54"/>
                <a:gd name="T11" fmla="*/ 19 h 32"/>
                <a:gd name="T12" fmla="*/ 44 w 54"/>
                <a:gd name="T13" fmla="*/ 2 h 32"/>
                <a:gd name="T14" fmla="*/ 52 w 54"/>
                <a:gd name="T15" fmla="*/ 2 h 32"/>
                <a:gd name="T16" fmla="*/ 52 w 54"/>
                <a:gd name="T17" fmla="*/ 10 h 32"/>
                <a:gd name="T18" fmla="*/ 31 w 54"/>
                <a:gd name="T19" fmla="*/ 31 h 32"/>
                <a:gd name="T20" fmla="*/ 27 w 54"/>
                <a:gd name="T21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4" h="32">
                  <a:moveTo>
                    <a:pt x="27" y="32"/>
                  </a:moveTo>
                  <a:cubicBezTo>
                    <a:pt x="26" y="32"/>
                    <a:pt x="24" y="32"/>
                    <a:pt x="23" y="31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0" y="8"/>
                    <a:pt x="0" y="4"/>
                    <a:pt x="2" y="2"/>
                  </a:cubicBezTo>
                  <a:cubicBezTo>
                    <a:pt x="5" y="0"/>
                    <a:pt x="8" y="0"/>
                    <a:pt x="10" y="2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6" y="0"/>
                    <a:pt x="50" y="0"/>
                    <a:pt x="52" y="2"/>
                  </a:cubicBezTo>
                  <a:cubicBezTo>
                    <a:pt x="54" y="4"/>
                    <a:pt x="54" y="8"/>
                    <a:pt x="52" y="10"/>
                  </a:cubicBezTo>
                  <a:cubicBezTo>
                    <a:pt x="31" y="31"/>
                    <a:pt x="31" y="31"/>
                    <a:pt x="31" y="31"/>
                  </a:cubicBezTo>
                  <a:cubicBezTo>
                    <a:pt x="30" y="32"/>
                    <a:pt x="29" y="32"/>
                    <a:pt x="27" y="3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43" name="Freeform 1533">
              <a:extLst>
                <a:ext uri="{FF2B5EF4-FFF2-40B4-BE49-F238E27FC236}">
                  <a16:creationId xmlns:a16="http://schemas.microsoft.com/office/drawing/2014/main" id="{D81865C9-D2D9-CF78-620D-2F09FF04A097}"/>
                </a:ext>
              </a:extLst>
            </p:cNvPr>
            <p:cNvSpPr>
              <a:spLocks/>
            </p:cNvSpPr>
            <p:nvPr/>
          </p:nvSpPr>
          <p:spPr bwMode="auto">
            <a:xfrm>
              <a:off x="-3359155" y="1917041"/>
              <a:ext cx="11113" cy="71437"/>
            </a:xfrm>
            <a:custGeom>
              <a:avLst/>
              <a:gdLst>
                <a:gd name="T0" fmla="*/ 5 w 11"/>
                <a:gd name="T1" fmla="*/ 69 h 69"/>
                <a:gd name="T2" fmla="*/ 0 w 11"/>
                <a:gd name="T3" fmla="*/ 64 h 69"/>
                <a:gd name="T4" fmla="*/ 0 w 11"/>
                <a:gd name="T5" fmla="*/ 5 h 69"/>
                <a:gd name="T6" fmla="*/ 5 w 11"/>
                <a:gd name="T7" fmla="*/ 0 h 69"/>
                <a:gd name="T8" fmla="*/ 11 w 11"/>
                <a:gd name="T9" fmla="*/ 5 h 69"/>
                <a:gd name="T10" fmla="*/ 11 w 11"/>
                <a:gd name="T11" fmla="*/ 64 h 69"/>
                <a:gd name="T12" fmla="*/ 5 w 11"/>
                <a:gd name="T13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69">
                  <a:moveTo>
                    <a:pt x="5" y="69"/>
                  </a:moveTo>
                  <a:cubicBezTo>
                    <a:pt x="2" y="69"/>
                    <a:pt x="0" y="67"/>
                    <a:pt x="0" y="6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" y="0"/>
                    <a:pt x="11" y="2"/>
                    <a:pt x="11" y="5"/>
                  </a:cubicBezTo>
                  <a:cubicBezTo>
                    <a:pt x="11" y="64"/>
                    <a:pt x="11" y="64"/>
                    <a:pt x="11" y="64"/>
                  </a:cubicBezTo>
                  <a:cubicBezTo>
                    <a:pt x="11" y="67"/>
                    <a:pt x="8" y="69"/>
                    <a:pt x="5" y="6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44" name="Freeform 1534">
              <a:extLst>
                <a:ext uri="{FF2B5EF4-FFF2-40B4-BE49-F238E27FC236}">
                  <a16:creationId xmlns:a16="http://schemas.microsoft.com/office/drawing/2014/main" id="{831F7F35-A84A-FF0F-83D8-7C3FDA967BEC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06793" y="1937679"/>
              <a:ext cx="41275" cy="42862"/>
            </a:xfrm>
            <a:custGeom>
              <a:avLst/>
              <a:gdLst>
                <a:gd name="T0" fmla="*/ 35 w 40"/>
                <a:gd name="T1" fmla="*/ 41 h 41"/>
                <a:gd name="T2" fmla="*/ 5 w 40"/>
                <a:gd name="T3" fmla="*/ 41 h 41"/>
                <a:gd name="T4" fmla="*/ 0 w 40"/>
                <a:gd name="T5" fmla="*/ 35 h 41"/>
                <a:gd name="T6" fmla="*/ 0 w 40"/>
                <a:gd name="T7" fmla="*/ 6 h 41"/>
                <a:gd name="T8" fmla="*/ 5 w 40"/>
                <a:gd name="T9" fmla="*/ 0 h 41"/>
                <a:gd name="T10" fmla="*/ 11 w 40"/>
                <a:gd name="T11" fmla="*/ 6 h 41"/>
                <a:gd name="T12" fmla="*/ 11 w 40"/>
                <a:gd name="T13" fmla="*/ 30 h 41"/>
                <a:gd name="T14" fmla="*/ 35 w 40"/>
                <a:gd name="T15" fmla="*/ 30 h 41"/>
                <a:gd name="T16" fmla="*/ 40 w 40"/>
                <a:gd name="T17" fmla="*/ 35 h 41"/>
                <a:gd name="T18" fmla="*/ 35 w 40"/>
                <a:gd name="T19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41">
                  <a:moveTo>
                    <a:pt x="35" y="41"/>
                  </a:moveTo>
                  <a:cubicBezTo>
                    <a:pt x="5" y="41"/>
                    <a:pt x="5" y="41"/>
                    <a:pt x="5" y="41"/>
                  </a:cubicBezTo>
                  <a:cubicBezTo>
                    <a:pt x="2" y="41"/>
                    <a:pt x="0" y="38"/>
                    <a:pt x="0" y="3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8" y="0"/>
                    <a:pt x="11" y="3"/>
                    <a:pt x="11" y="6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8" y="30"/>
                    <a:pt x="40" y="32"/>
                    <a:pt x="40" y="35"/>
                  </a:cubicBezTo>
                  <a:cubicBezTo>
                    <a:pt x="40" y="38"/>
                    <a:pt x="38" y="41"/>
                    <a:pt x="35" y="4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45" name="Freeform 1535">
              <a:extLst>
                <a:ext uri="{FF2B5EF4-FFF2-40B4-BE49-F238E27FC236}">
                  <a16:creationId xmlns:a16="http://schemas.microsoft.com/office/drawing/2014/main" id="{158F4D92-EB98-3FB9-3894-7C53E2A62CA2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08381" y="1924979"/>
              <a:ext cx="57150" cy="55562"/>
            </a:xfrm>
            <a:custGeom>
              <a:avLst/>
              <a:gdLst>
                <a:gd name="T0" fmla="*/ 6 w 54"/>
                <a:gd name="T1" fmla="*/ 53 h 53"/>
                <a:gd name="T2" fmla="*/ 3 w 54"/>
                <a:gd name="T3" fmla="*/ 51 h 53"/>
                <a:gd name="T4" fmla="*/ 3 w 54"/>
                <a:gd name="T5" fmla="*/ 43 h 53"/>
                <a:gd name="T6" fmla="*/ 44 w 54"/>
                <a:gd name="T7" fmla="*/ 2 h 53"/>
                <a:gd name="T8" fmla="*/ 52 w 54"/>
                <a:gd name="T9" fmla="*/ 2 h 53"/>
                <a:gd name="T10" fmla="*/ 52 w 54"/>
                <a:gd name="T11" fmla="*/ 10 h 53"/>
                <a:gd name="T12" fmla="*/ 10 w 54"/>
                <a:gd name="T13" fmla="*/ 51 h 53"/>
                <a:gd name="T14" fmla="*/ 6 w 54"/>
                <a:gd name="T1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4" h="53">
                  <a:moveTo>
                    <a:pt x="6" y="53"/>
                  </a:moveTo>
                  <a:cubicBezTo>
                    <a:pt x="5" y="53"/>
                    <a:pt x="4" y="52"/>
                    <a:pt x="3" y="51"/>
                  </a:cubicBezTo>
                  <a:cubicBezTo>
                    <a:pt x="0" y="49"/>
                    <a:pt x="0" y="46"/>
                    <a:pt x="3" y="43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6" y="0"/>
                    <a:pt x="49" y="0"/>
                    <a:pt x="52" y="2"/>
                  </a:cubicBezTo>
                  <a:cubicBezTo>
                    <a:pt x="54" y="4"/>
                    <a:pt x="54" y="8"/>
                    <a:pt x="52" y="10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9" y="52"/>
                    <a:pt x="8" y="53"/>
                    <a:pt x="6" y="5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46" name="Freeform 1536">
              <a:extLst>
                <a:ext uri="{FF2B5EF4-FFF2-40B4-BE49-F238E27FC236}">
                  <a16:creationId xmlns:a16="http://schemas.microsoft.com/office/drawing/2014/main" id="{C8EA95D6-36CA-5935-864B-322F28F60C6D}"/>
                </a:ext>
              </a:extLst>
            </p:cNvPr>
            <p:cNvSpPr>
              <a:spLocks/>
            </p:cNvSpPr>
            <p:nvPr/>
          </p:nvSpPr>
          <p:spPr bwMode="auto">
            <a:xfrm>
              <a:off x="-3243267" y="1937679"/>
              <a:ext cx="41275" cy="42862"/>
            </a:xfrm>
            <a:custGeom>
              <a:avLst/>
              <a:gdLst>
                <a:gd name="T0" fmla="*/ 35 w 40"/>
                <a:gd name="T1" fmla="*/ 41 h 41"/>
                <a:gd name="T2" fmla="*/ 5 w 40"/>
                <a:gd name="T3" fmla="*/ 41 h 41"/>
                <a:gd name="T4" fmla="*/ 0 w 40"/>
                <a:gd name="T5" fmla="*/ 35 h 41"/>
                <a:gd name="T6" fmla="*/ 5 w 40"/>
                <a:gd name="T7" fmla="*/ 30 h 41"/>
                <a:gd name="T8" fmla="*/ 29 w 40"/>
                <a:gd name="T9" fmla="*/ 30 h 41"/>
                <a:gd name="T10" fmla="*/ 29 w 40"/>
                <a:gd name="T11" fmla="*/ 6 h 41"/>
                <a:gd name="T12" fmla="*/ 35 w 40"/>
                <a:gd name="T13" fmla="*/ 0 h 41"/>
                <a:gd name="T14" fmla="*/ 40 w 40"/>
                <a:gd name="T15" fmla="*/ 6 h 41"/>
                <a:gd name="T16" fmla="*/ 40 w 40"/>
                <a:gd name="T17" fmla="*/ 35 h 41"/>
                <a:gd name="T18" fmla="*/ 35 w 40"/>
                <a:gd name="T19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41">
                  <a:moveTo>
                    <a:pt x="35" y="41"/>
                  </a:moveTo>
                  <a:cubicBezTo>
                    <a:pt x="5" y="41"/>
                    <a:pt x="5" y="41"/>
                    <a:pt x="5" y="41"/>
                  </a:cubicBezTo>
                  <a:cubicBezTo>
                    <a:pt x="2" y="41"/>
                    <a:pt x="0" y="38"/>
                    <a:pt x="0" y="35"/>
                  </a:cubicBezTo>
                  <a:cubicBezTo>
                    <a:pt x="0" y="32"/>
                    <a:pt x="2" y="30"/>
                    <a:pt x="5" y="30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9" y="6"/>
                    <a:pt x="29" y="6"/>
                    <a:pt x="29" y="6"/>
                  </a:cubicBezTo>
                  <a:cubicBezTo>
                    <a:pt x="29" y="3"/>
                    <a:pt x="32" y="0"/>
                    <a:pt x="35" y="0"/>
                  </a:cubicBezTo>
                  <a:cubicBezTo>
                    <a:pt x="38" y="0"/>
                    <a:pt x="40" y="3"/>
                    <a:pt x="40" y="6"/>
                  </a:cubicBezTo>
                  <a:cubicBezTo>
                    <a:pt x="40" y="35"/>
                    <a:pt x="40" y="35"/>
                    <a:pt x="40" y="35"/>
                  </a:cubicBezTo>
                  <a:cubicBezTo>
                    <a:pt x="40" y="38"/>
                    <a:pt x="38" y="41"/>
                    <a:pt x="35" y="4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47" name="Freeform 1537">
              <a:extLst>
                <a:ext uri="{FF2B5EF4-FFF2-40B4-BE49-F238E27FC236}">
                  <a16:creationId xmlns:a16="http://schemas.microsoft.com/office/drawing/2014/main" id="{2FC5E48E-1B20-8CD3-8653-431657C7D507}"/>
                </a:ext>
              </a:extLst>
            </p:cNvPr>
            <p:cNvSpPr>
              <a:spLocks/>
            </p:cNvSpPr>
            <p:nvPr/>
          </p:nvSpPr>
          <p:spPr bwMode="auto">
            <a:xfrm>
              <a:off x="-3255968" y="1924979"/>
              <a:ext cx="55563" cy="55562"/>
            </a:xfrm>
            <a:custGeom>
              <a:avLst/>
              <a:gdLst>
                <a:gd name="T0" fmla="*/ 47 w 53"/>
                <a:gd name="T1" fmla="*/ 53 h 53"/>
                <a:gd name="T2" fmla="*/ 43 w 53"/>
                <a:gd name="T3" fmla="*/ 51 h 53"/>
                <a:gd name="T4" fmla="*/ 2 w 53"/>
                <a:gd name="T5" fmla="*/ 10 h 53"/>
                <a:gd name="T6" fmla="*/ 2 w 53"/>
                <a:gd name="T7" fmla="*/ 2 h 53"/>
                <a:gd name="T8" fmla="*/ 9 w 53"/>
                <a:gd name="T9" fmla="*/ 2 h 53"/>
                <a:gd name="T10" fmla="*/ 51 w 53"/>
                <a:gd name="T11" fmla="*/ 43 h 53"/>
                <a:gd name="T12" fmla="*/ 51 w 53"/>
                <a:gd name="T13" fmla="*/ 51 h 53"/>
                <a:gd name="T14" fmla="*/ 47 w 53"/>
                <a:gd name="T1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3" h="53">
                  <a:moveTo>
                    <a:pt x="47" y="53"/>
                  </a:moveTo>
                  <a:cubicBezTo>
                    <a:pt x="45" y="53"/>
                    <a:pt x="44" y="52"/>
                    <a:pt x="43" y="51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0" y="8"/>
                    <a:pt x="0" y="4"/>
                    <a:pt x="2" y="2"/>
                  </a:cubicBezTo>
                  <a:cubicBezTo>
                    <a:pt x="4" y="0"/>
                    <a:pt x="7" y="0"/>
                    <a:pt x="9" y="2"/>
                  </a:cubicBezTo>
                  <a:cubicBezTo>
                    <a:pt x="51" y="43"/>
                    <a:pt x="51" y="43"/>
                    <a:pt x="51" y="43"/>
                  </a:cubicBezTo>
                  <a:cubicBezTo>
                    <a:pt x="53" y="46"/>
                    <a:pt x="53" y="49"/>
                    <a:pt x="51" y="51"/>
                  </a:cubicBezTo>
                  <a:cubicBezTo>
                    <a:pt x="50" y="52"/>
                    <a:pt x="48" y="53"/>
                    <a:pt x="47" y="5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48" name="Freeform 1538">
              <a:extLst>
                <a:ext uri="{FF2B5EF4-FFF2-40B4-BE49-F238E27FC236}">
                  <a16:creationId xmlns:a16="http://schemas.microsoft.com/office/drawing/2014/main" id="{50B0C940-671F-F304-C6E3-FB6469C751B7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19480" y="1834493"/>
              <a:ext cx="130175" cy="74612"/>
            </a:xfrm>
            <a:custGeom>
              <a:avLst/>
              <a:gdLst>
                <a:gd name="T0" fmla="*/ 119 w 125"/>
                <a:gd name="T1" fmla="*/ 71 h 71"/>
                <a:gd name="T2" fmla="*/ 114 w 125"/>
                <a:gd name="T3" fmla="*/ 66 h 71"/>
                <a:gd name="T4" fmla="*/ 114 w 125"/>
                <a:gd name="T5" fmla="*/ 30 h 71"/>
                <a:gd name="T6" fmla="*/ 94 w 125"/>
                <a:gd name="T7" fmla="*/ 11 h 71"/>
                <a:gd name="T8" fmla="*/ 31 w 125"/>
                <a:gd name="T9" fmla="*/ 11 h 71"/>
                <a:gd name="T10" fmla="*/ 11 w 125"/>
                <a:gd name="T11" fmla="*/ 30 h 71"/>
                <a:gd name="T12" fmla="*/ 11 w 125"/>
                <a:gd name="T13" fmla="*/ 66 h 71"/>
                <a:gd name="T14" fmla="*/ 5 w 125"/>
                <a:gd name="T15" fmla="*/ 71 h 71"/>
                <a:gd name="T16" fmla="*/ 0 w 125"/>
                <a:gd name="T17" fmla="*/ 66 h 71"/>
                <a:gd name="T18" fmla="*/ 0 w 125"/>
                <a:gd name="T19" fmla="*/ 30 h 71"/>
                <a:gd name="T20" fmla="*/ 31 w 125"/>
                <a:gd name="T21" fmla="*/ 0 h 71"/>
                <a:gd name="T22" fmla="*/ 94 w 125"/>
                <a:gd name="T23" fmla="*/ 0 h 71"/>
                <a:gd name="T24" fmla="*/ 125 w 125"/>
                <a:gd name="T25" fmla="*/ 30 h 71"/>
                <a:gd name="T26" fmla="*/ 125 w 125"/>
                <a:gd name="T27" fmla="*/ 66 h 71"/>
                <a:gd name="T28" fmla="*/ 119 w 125"/>
                <a:gd name="T29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5" h="71">
                  <a:moveTo>
                    <a:pt x="119" y="71"/>
                  </a:moveTo>
                  <a:cubicBezTo>
                    <a:pt x="116" y="71"/>
                    <a:pt x="114" y="69"/>
                    <a:pt x="114" y="66"/>
                  </a:cubicBezTo>
                  <a:cubicBezTo>
                    <a:pt x="114" y="30"/>
                    <a:pt x="114" y="30"/>
                    <a:pt x="114" y="30"/>
                  </a:cubicBezTo>
                  <a:cubicBezTo>
                    <a:pt x="114" y="19"/>
                    <a:pt x="105" y="11"/>
                    <a:pt x="94" y="11"/>
                  </a:cubicBezTo>
                  <a:cubicBezTo>
                    <a:pt x="31" y="11"/>
                    <a:pt x="31" y="11"/>
                    <a:pt x="31" y="11"/>
                  </a:cubicBezTo>
                  <a:cubicBezTo>
                    <a:pt x="20" y="11"/>
                    <a:pt x="11" y="19"/>
                    <a:pt x="11" y="30"/>
                  </a:cubicBezTo>
                  <a:cubicBezTo>
                    <a:pt x="11" y="66"/>
                    <a:pt x="11" y="66"/>
                    <a:pt x="11" y="66"/>
                  </a:cubicBezTo>
                  <a:cubicBezTo>
                    <a:pt x="11" y="69"/>
                    <a:pt x="8" y="71"/>
                    <a:pt x="5" y="71"/>
                  </a:cubicBezTo>
                  <a:cubicBezTo>
                    <a:pt x="2" y="71"/>
                    <a:pt x="0" y="69"/>
                    <a:pt x="0" y="66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3"/>
                    <a:pt x="14" y="0"/>
                    <a:pt x="31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111" y="0"/>
                    <a:pt x="125" y="13"/>
                    <a:pt x="125" y="30"/>
                  </a:cubicBezTo>
                  <a:cubicBezTo>
                    <a:pt x="125" y="66"/>
                    <a:pt x="125" y="66"/>
                    <a:pt x="125" y="66"/>
                  </a:cubicBezTo>
                  <a:cubicBezTo>
                    <a:pt x="125" y="69"/>
                    <a:pt x="122" y="71"/>
                    <a:pt x="119" y="7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49" name="Freeform 1539">
              <a:extLst>
                <a:ext uri="{FF2B5EF4-FFF2-40B4-BE49-F238E27FC236}">
                  <a16:creationId xmlns:a16="http://schemas.microsoft.com/office/drawing/2014/main" id="{5F88931C-D20A-8BCC-4904-9F3737C0699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382967" y="1772583"/>
              <a:ext cx="57150" cy="55562"/>
            </a:xfrm>
            <a:custGeom>
              <a:avLst/>
              <a:gdLst>
                <a:gd name="T0" fmla="*/ 27 w 54"/>
                <a:gd name="T1" fmla="*/ 53 h 53"/>
                <a:gd name="T2" fmla="*/ 0 w 54"/>
                <a:gd name="T3" fmla="*/ 27 h 53"/>
                <a:gd name="T4" fmla="*/ 27 w 54"/>
                <a:gd name="T5" fmla="*/ 0 h 53"/>
                <a:gd name="T6" fmla="*/ 54 w 54"/>
                <a:gd name="T7" fmla="*/ 27 h 53"/>
                <a:gd name="T8" fmla="*/ 27 w 54"/>
                <a:gd name="T9" fmla="*/ 53 h 53"/>
                <a:gd name="T10" fmla="*/ 27 w 54"/>
                <a:gd name="T11" fmla="*/ 11 h 53"/>
                <a:gd name="T12" fmla="*/ 11 w 54"/>
                <a:gd name="T13" fmla="*/ 27 h 53"/>
                <a:gd name="T14" fmla="*/ 27 w 54"/>
                <a:gd name="T15" fmla="*/ 42 h 53"/>
                <a:gd name="T16" fmla="*/ 43 w 54"/>
                <a:gd name="T17" fmla="*/ 27 h 53"/>
                <a:gd name="T18" fmla="*/ 27 w 54"/>
                <a:gd name="T19" fmla="*/ 1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" h="53">
                  <a:moveTo>
                    <a:pt x="27" y="53"/>
                  </a:moveTo>
                  <a:cubicBezTo>
                    <a:pt x="13" y="53"/>
                    <a:pt x="0" y="41"/>
                    <a:pt x="0" y="27"/>
                  </a:cubicBezTo>
                  <a:cubicBezTo>
                    <a:pt x="0" y="12"/>
                    <a:pt x="13" y="0"/>
                    <a:pt x="27" y="0"/>
                  </a:cubicBezTo>
                  <a:cubicBezTo>
                    <a:pt x="42" y="0"/>
                    <a:pt x="54" y="12"/>
                    <a:pt x="54" y="27"/>
                  </a:cubicBezTo>
                  <a:cubicBezTo>
                    <a:pt x="54" y="41"/>
                    <a:pt x="42" y="53"/>
                    <a:pt x="27" y="53"/>
                  </a:cubicBezTo>
                  <a:close/>
                  <a:moveTo>
                    <a:pt x="27" y="11"/>
                  </a:moveTo>
                  <a:cubicBezTo>
                    <a:pt x="19" y="11"/>
                    <a:pt x="11" y="18"/>
                    <a:pt x="11" y="27"/>
                  </a:cubicBezTo>
                  <a:cubicBezTo>
                    <a:pt x="11" y="35"/>
                    <a:pt x="19" y="42"/>
                    <a:pt x="27" y="42"/>
                  </a:cubicBezTo>
                  <a:cubicBezTo>
                    <a:pt x="36" y="42"/>
                    <a:pt x="43" y="35"/>
                    <a:pt x="43" y="27"/>
                  </a:cubicBezTo>
                  <a:cubicBezTo>
                    <a:pt x="43" y="18"/>
                    <a:pt x="36" y="11"/>
                    <a:pt x="27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50" name="Freeform 1540">
              <a:extLst>
                <a:ext uri="{FF2B5EF4-FFF2-40B4-BE49-F238E27FC236}">
                  <a16:creationId xmlns:a16="http://schemas.microsoft.com/office/drawing/2014/main" id="{862A0672-1CE3-10FC-AF74-3CB6AF166FF6}"/>
                </a:ext>
              </a:extLst>
            </p:cNvPr>
            <p:cNvSpPr>
              <a:spLocks/>
            </p:cNvSpPr>
            <p:nvPr/>
          </p:nvSpPr>
          <p:spPr bwMode="auto">
            <a:xfrm>
              <a:off x="-3395668" y="1864658"/>
              <a:ext cx="12700" cy="44449"/>
            </a:xfrm>
            <a:custGeom>
              <a:avLst/>
              <a:gdLst>
                <a:gd name="T0" fmla="*/ 6 w 11"/>
                <a:gd name="T1" fmla="*/ 42 h 42"/>
                <a:gd name="T2" fmla="*/ 0 w 11"/>
                <a:gd name="T3" fmla="*/ 37 h 42"/>
                <a:gd name="T4" fmla="*/ 0 w 11"/>
                <a:gd name="T5" fmla="*/ 5 h 42"/>
                <a:gd name="T6" fmla="*/ 6 w 11"/>
                <a:gd name="T7" fmla="*/ 0 h 42"/>
                <a:gd name="T8" fmla="*/ 11 w 11"/>
                <a:gd name="T9" fmla="*/ 5 h 42"/>
                <a:gd name="T10" fmla="*/ 11 w 11"/>
                <a:gd name="T11" fmla="*/ 37 h 42"/>
                <a:gd name="T12" fmla="*/ 6 w 11"/>
                <a:gd name="T13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42">
                  <a:moveTo>
                    <a:pt x="6" y="42"/>
                  </a:moveTo>
                  <a:cubicBezTo>
                    <a:pt x="3" y="42"/>
                    <a:pt x="0" y="40"/>
                    <a:pt x="0" y="37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1" y="2"/>
                    <a:pt x="11" y="5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1" y="40"/>
                    <a:pt x="9" y="42"/>
                    <a:pt x="6" y="4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51" name="Freeform 1541">
              <a:extLst>
                <a:ext uri="{FF2B5EF4-FFF2-40B4-BE49-F238E27FC236}">
                  <a16:creationId xmlns:a16="http://schemas.microsoft.com/office/drawing/2014/main" id="{56C89BA2-EA7A-1BAB-9107-4F79A7DFC121}"/>
                </a:ext>
              </a:extLst>
            </p:cNvPr>
            <p:cNvSpPr>
              <a:spLocks/>
            </p:cNvSpPr>
            <p:nvPr/>
          </p:nvSpPr>
          <p:spPr bwMode="auto">
            <a:xfrm>
              <a:off x="-3325818" y="1864659"/>
              <a:ext cx="11113" cy="44449"/>
            </a:xfrm>
            <a:custGeom>
              <a:avLst/>
              <a:gdLst>
                <a:gd name="T0" fmla="*/ 6 w 11"/>
                <a:gd name="T1" fmla="*/ 42 h 42"/>
                <a:gd name="T2" fmla="*/ 0 w 11"/>
                <a:gd name="T3" fmla="*/ 37 h 42"/>
                <a:gd name="T4" fmla="*/ 0 w 11"/>
                <a:gd name="T5" fmla="*/ 5 h 42"/>
                <a:gd name="T6" fmla="*/ 6 w 11"/>
                <a:gd name="T7" fmla="*/ 0 h 42"/>
                <a:gd name="T8" fmla="*/ 11 w 11"/>
                <a:gd name="T9" fmla="*/ 5 h 42"/>
                <a:gd name="T10" fmla="*/ 11 w 11"/>
                <a:gd name="T11" fmla="*/ 37 h 42"/>
                <a:gd name="T12" fmla="*/ 6 w 11"/>
                <a:gd name="T13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42">
                  <a:moveTo>
                    <a:pt x="6" y="42"/>
                  </a:moveTo>
                  <a:cubicBezTo>
                    <a:pt x="3" y="42"/>
                    <a:pt x="0" y="40"/>
                    <a:pt x="0" y="37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1" y="2"/>
                    <a:pt x="11" y="5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1" y="40"/>
                    <a:pt x="9" y="42"/>
                    <a:pt x="6" y="4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52" name="Freeform 1542">
              <a:extLst>
                <a:ext uri="{FF2B5EF4-FFF2-40B4-BE49-F238E27FC236}">
                  <a16:creationId xmlns:a16="http://schemas.microsoft.com/office/drawing/2014/main" id="{0B580FA1-F0E9-F13D-BC1D-9E42C529FD5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33767" y="1896407"/>
              <a:ext cx="158750" cy="12700"/>
            </a:xfrm>
            <a:custGeom>
              <a:avLst/>
              <a:gdLst>
                <a:gd name="T0" fmla="*/ 147 w 152"/>
                <a:gd name="T1" fmla="*/ 11 h 11"/>
                <a:gd name="T2" fmla="*/ 6 w 152"/>
                <a:gd name="T3" fmla="*/ 11 h 11"/>
                <a:gd name="T4" fmla="*/ 0 w 152"/>
                <a:gd name="T5" fmla="*/ 6 h 11"/>
                <a:gd name="T6" fmla="*/ 6 w 152"/>
                <a:gd name="T7" fmla="*/ 0 h 11"/>
                <a:gd name="T8" fmla="*/ 147 w 152"/>
                <a:gd name="T9" fmla="*/ 0 h 11"/>
                <a:gd name="T10" fmla="*/ 152 w 152"/>
                <a:gd name="T11" fmla="*/ 6 h 11"/>
                <a:gd name="T12" fmla="*/ 147 w 152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2" h="11">
                  <a:moveTo>
                    <a:pt x="147" y="11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3" y="11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150" y="0"/>
                    <a:pt x="152" y="3"/>
                    <a:pt x="152" y="6"/>
                  </a:cubicBezTo>
                  <a:cubicBezTo>
                    <a:pt x="152" y="9"/>
                    <a:pt x="150" y="11"/>
                    <a:pt x="147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53" name="Freeform 1543">
              <a:extLst>
                <a:ext uri="{FF2B5EF4-FFF2-40B4-BE49-F238E27FC236}">
                  <a16:creationId xmlns:a16="http://schemas.microsoft.com/office/drawing/2014/main" id="{CA451BB6-4633-70AD-948C-F01F8012DFB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19480" y="2069441"/>
              <a:ext cx="130175" cy="74612"/>
            </a:xfrm>
            <a:custGeom>
              <a:avLst/>
              <a:gdLst>
                <a:gd name="T0" fmla="*/ 119 w 125"/>
                <a:gd name="T1" fmla="*/ 72 h 72"/>
                <a:gd name="T2" fmla="*/ 114 w 125"/>
                <a:gd name="T3" fmla="*/ 66 h 72"/>
                <a:gd name="T4" fmla="*/ 114 w 125"/>
                <a:gd name="T5" fmla="*/ 30 h 72"/>
                <a:gd name="T6" fmla="*/ 94 w 125"/>
                <a:gd name="T7" fmla="*/ 11 h 72"/>
                <a:gd name="T8" fmla="*/ 31 w 125"/>
                <a:gd name="T9" fmla="*/ 11 h 72"/>
                <a:gd name="T10" fmla="*/ 11 w 125"/>
                <a:gd name="T11" fmla="*/ 30 h 72"/>
                <a:gd name="T12" fmla="*/ 11 w 125"/>
                <a:gd name="T13" fmla="*/ 66 h 72"/>
                <a:gd name="T14" fmla="*/ 5 w 125"/>
                <a:gd name="T15" fmla="*/ 72 h 72"/>
                <a:gd name="T16" fmla="*/ 0 w 125"/>
                <a:gd name="T17" fmla="*/ 66 h 72"/>
                <a:gd name="T18" fmla="*/ 0 w 125"/>
                <a:gd name="T19" fmla="*/ 30 h 72"/>
                <a:gd name="T20" fmla="*/ 31 w 125"/>
                <a:gd name="T21" fmla="*/ 0 h 72"/>
                <a:gd name="T22" fmla="*/ 94 w 125"/>
                <a:gd name="T23" fmla="*/ 0 h 72"/>
                <a:gd name="T24" fmla="*/ 125 w 125"/>
                <a:gd name="T25" fmla="*/ 30 h 72"/>
                <a:gd name="T26" fmla="*/ 125 w 125"/>
                <a:gd name="T27" fmla="*/ 66 h 72"/>
                <a:gd name="T28" fmla="*/ 119 w 125"/>
                <a:gd name="T29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5" h="72">
                  <a:moveTo>
                    <a:pt x="119" y="72"/>
                  </a:moveTo>
                  <a:cubicBezTo>
                    <a:pt x="116" y="72"/>
                    <a:pt x="114" y="69"/>
                    <a:pt x="114" y="66"/>
                  </a:cubicBezTo>
                  <a:cubicBezTo>
                    <a:pt x="114" y="30"/>
                    <a:pt x="114" y="30"/>
                    <a:pt x="114" y="30"/>
                  </a:cubicBezTo>
                  <a:cubicBezTo>
                    <a:pt x="114" y="20"/>
                    <a:pt x="105" y="11"/>
                    <a:pt x="94" y="11"/>
                  </a:cubicBezTo>
                  <a:cubicBezTo>
                    <a:pt x="31" y="11"/>
                    <a:pt x="31" y="11"/>
                    <a:pt x="31" y="11"/>
                  </a:cubicBezTo>
                  <a:cubicBezTo>
                    <a:pt x="20" y="11"/>
                    <a:pt x="11" y="20"/>
                    <a:pt x="11" y="30"/>
                  </a:cubicBezTo>
                  <a:cubicBezTo>
                    <a:pt x="11" y="66"/>
                    <a:pt x="11" y="66"/>
                    <a:pt x="11" y="66"/>
                  </a:cubicBezTo>
                  <a:cubicBezTo>
                    <a:pt x="11" y="69"/>
                    <a:pt x="8" y="72"/>
                    <a:pt x="5" y="72"/>
                  </a:cubicBezTo>
                  <a:cubicBezTo>
                    <a:pt x="2" y="72"/>
                    <a:pt x="0" y="69"/>
                    <a:pt x="0" y="66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4"/>
                    <a:pt x="14" y="0"/>
                    <a:pt x="31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111" y="0"/>
                    <a:pt x="125" y="14"/>
                    <a:pt x="125" y="30"/>
                  </a:cubicBezTo>
                  <a:cubicBezTo>
                    <a:pt x="125" y="66"/>
                    <a:pt x="125" y="66"/>
                    <a:pt x="125" y="66"/>
                  </a:cubicBezTo>
                  <a:cubicBezTo>
                    <a:pt x="125" y="69"/>
                    <a:pt x="122" y="72"/>
                    <a:pt x="119" y="7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54" name="Freeform 1544">
              <a:extLst>
                <a:ext uri="{FF2B5EF4-FFF2-40B4-BE49-F238E27FC236}">
                  <a16:creationId xmlns:a16="http://schemas.microsoft.com/office/drawing/2014/main" id="{98952D31-BFB9-A855-AC28-435EDF24D83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382967" y="2007534"/>
              <a:ext cx="57150" cy="55562"/>
            </a:xfrm>
            <a:custGeom>
              <a:avLst/>
              <a:gdLst>
                <a:gd name="T0" fmla="*/ 27 w 54"/>
                <a:gd name="T1" fmla="*/ 53 h 53"/>
                <a:gd name="T2" fmla="*/ 0 w 54"/>
                <a:gd name="T3" fmla="*/ 27 h 53"/>
                <a:gd name="T4" fmla="*/ 27 w 54"/>
                <a:gd name="T5" fmla="*/ 0 h 53"/>
                <a:gd name="T6" fmla="*/ 54 w 54"/>
                <a:gd name="T7" fmla="*/ 27 h 53"/>
                <a:gd name="T8" fmla="*/ 27 w 54"/>
                <a:gd name="T9" fmla="*/ 53 h 53"/>
                <a:gd name="T10" fmla="*/ 27 w 54"/>
                <a:gd name="T11" fmla="*/ 11 h 53"/>
                <a:gd name="T12" fmla="*/ 11 w 54"/>
                <a:gd name="T13" fmla="*/ 27 h 53"/>
                <a:gd name="T14" fmla="*/ 27 w 54"/>
                <a:gd name="T15" fmla="*/ 42 h 53"/>
                <a:gd name="T16" fmla="*/ 43 w 54"/>
                <a:gd name="T17" fmla="*/ 27 h 53"/>
                <a:gd name="T18" fmla="*/ 27 w 54"/>
                <a:gd name="T19" fmla="*/ 1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" h="53">
                  <a:moveTo>
                    <a:pt x="27" y="53"/>
                  </a:moveTo>
                  <a:cubicBezTo>
                    <a:pt x="13" y="53"/>
                    <a:pt x="0" y="41"/>
                    <a:pt x="0" y="27"/>
                  </a:cubicBezTo>
                  <a:cubicBezTo>
                    <a:pt x="0" y="12"/>
                    <a:pt x="13" y="0"/>
                    <a:pt x="27" y="0"/>
                  </a:cubicBezTo>
                  <a:cubicBezTo>
                    <a:pt x="42" y="0"/>
                    <a:pt x="54" y="12"/>
                    <a:pt x="54" y="27"/>
                  </a:cubicBezTo>
                  <a:cubicBezTo>
                    <a:pt x="54" y="41"/>
                    <a:pt x="42" y="53"/>
                    <a:pt x="27" y="53"/>
                  </a:cubicBezTo>
                  <a:close/>
                  <a:moveTo>
                    <a:pt x="27" y="11"/>
                  </a:moveTo>
                  <a:cubicBezTo>
                    <a:pt x="19" y="11"/>
                    <a:pt x="11" y="18"/>
                    <a:pt x="11" y="27"/>
                  </a:cubicBezTo>
                  <a:cubicBezTo>
                    <a:pt x="11" y="35"/>
                    <a:pt x="19" y="42"/>
                    <a:pt x="27" y="42"/>
                  </a:cubicBezTo>
                  <a:cubicBezTo>
                    <a:pt x="36" y="42"/>
                    <a:pt x="43" y="35"/>
                    <a:pt x="43" y="27"/>
                  </a:cubicBezTo>
                  <a:cubicBezTo>
                    <a:pt x="43" y="18"/>
                    <a:pt x="36" y="11"/>
                    <a:pt x="27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55" name="Freeform 1545">
              <a:extLst>
                <a:ext uri="{FF2B5EF4-FFF2-40B4-BE49-F238E27FC236}">
                  <a16:creationId xmlns:a16="http://schemas.microsoft.com/office/drawing/2014/main" id="{78D78D50-F6A0-54E7-6F3F-16D9114C988B}"/>
                </a:ext>
              </a:extLst>
            </p:cNvPr>
            <p:cNvSpPr>
              <a:spLocks/>
            </p:cNvSpPr>
            <p:nvPr/>
          </p:nvSpPr>
          <p:spPr bwMode="auto">
            <a:xfrm>
              <a:off x="-3395668" y="2099608"/>
              <a:ext cx="12700" cy="44449"/>
            </a:xfrm>
            <a:custGeom>
              <a:avLst/>
              <a:gdLst>
                <a:gd name="T0" fmla="*/ 6 w 11"/>
                <a:gd name="T1" fmla="*/ 43 h 43"/>
                <a:gd name="T2" fmla="*/ 0 w 11"/>
                <a:gd name="T3" fmla="*/ 37 h 43"/>
                <a:gd name="T4" fmla="*/ 0 w 11"/>
                <a:gd name="T5" fmla="*/ 5 h 43"/>
                <a:gd name="T6" fmla="*/ 6 w 11"/>
                <a:gd name="T7" fmla="*/ 0 h 43"/>
                <a:gd name="T8" fmla="*/ 11 w 11"/>
                <a:gd name="T9" fmla="*/ 5 h 43"/>
                <a:gd name="T10" fmla="*/ 11 w 11"/>
                <a:gd name="T11" fmla="*/ 37 h 43"/>
                <a:gd name="T12" fmla="*/ 6 w 11"/>
                <a:gd name="T13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43">
                  <a:moveTo>
                    <a:pt x="6" y="43"/>
                  </a:moveTo>
                  <a:cubicBezTo>
                    <a:pt x="3" y="43"/>
                    <a:pt x="0" y="40"/>
                    <a:pt x="0" y="37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1" y="2"/>
                    <a:pt x="11" y="5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1" y="40"/>
                    <a:pt x="9" y="43"/>
                    <a:pt x="6" y="4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56" name="Freeform 1546">
              <a:extLst>
                <a:ext uri="{FF2B5EF4-FFF2-40B4-BE49-F238E27FC236}">
                  <a16:creationId xmlns:a16="http://schemas.microsoft.com/office/drawing/2014/main" id="{2378DF6B-B9A2-BB76-D545-B5F44E58F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325818" y="2099608"/>
              <a:ext cx="11113" cy="44449"/>
            </a:xfrm>
            <a:custGeom>
              <a:avLst/>
              <a:gdLst>
                <a:gd name="T0" fmla="*/ 6 w 11"/>
                <a:gd name="T1" fmla="*/ 43 h 43"/>
                <a:gd name="T2" fmla="*/ 0 w 11"/>
                <a:gd name="T3" fmla="*/ 37 h 43"/>
                <a:gd name="T4" fmla="*/ 0 w 11"/>
                <a:gd name="T5" fmla="*/ 5 h 43"/>
                <a:gd name="T6" fmla="*/ 6 w 11"/>
                <a:gd name="T7" fmla="*/ 0 h 43"/>
                <a:gd name="T8" fmla="*/ 11 w 11"/>
                <a:gd name="T9" fmla="*/ 5 h 43"/>
                <a:gd name="T10" fmla="*/ 11 w 11"/>
                <a:gd name="T11" fmla="*/ 37 h 43"/>
                <a:gd name="T12" fmla="*/ 6 w 11"/>
                <a:gd name="T13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43">
                  <a:moveTo>
                    <a:pt x="6" y="43"/>
                  </a:moveTo>
                  <a:cubicBezTo>
                    <a:pt x="3" y="43"/>
                    <a:pt x="0" y="40"/>
                    <a:pt x="0" y="37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1" y="2"/>
                    <a:pt x="11" y="5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1" y="40"/>
                    <a:pt x="9" y="43"/>
                    <a:pt x="6" y="4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57" name="Freeform 1547">
              <a:extLst>
                <a:ext uri="{FF2B5EF4-FFF2-40B4-BE49-F238E27FC236}">
                  <a16:creationId xmlns:a16="http://schemas.microsoft.com/office/drawing/2014/main" id="{882AB417-3334-0F6A-CFAF-AF8FA977DC1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33767" y="2132944"/>
              <a:ext cx="158750" cy="11113"/>
            </a:xfrm>
            <a:custGeom>
              <a:avLst/>
              <a:gdLst>
                <a:gd name="T0" fmla="*/ 147 w 152"/>
                <a:gd name="T1" fmla="*/ 11 h 11"/>
                <a:gd name="T2" fmla="*/ 6 w 152"/>
                <a:gd name="T3" fmla="*/ 11 h 11"/>
                <a:gd name="T4" fmla="*/ 0 w 152"/>
                <a:gd name="T5" fmla="*/ 5 h 11"/>
                <a:gd name="T6" fmla="*/ 6 w 152"/>
                <a:gd name="T7" fmla="*/ 0 h 11"/>
                <a:gd name="T8" fmla="*/ 147 w 152"/>
                <a:gd name="T9" fmla="*/ 0 h 11"/>
                <a:gd name="T10" fmla="*/ 152 w 152"/>
                <a:gd name="T11" fmla="*/ 5 h 11"/>
                <a:gd name="T12" fmla="*/ 147 w 152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2" h="11">
                  <a:moveTo>
                    <a:pt x="147" y="11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3" y="11"/>
                    <a:pt x="0" y="8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150" y="0"/>
                    <a:pt x="152" y="2"/>
                    <a:pt x="152" y="5"/>
                  </a:cubicBezTo>
                  <a:cubicBezTo>
                    <a:pt x="152" y="8"/>
                    <a:pt x="150" y="11"/>
                    <a:pt x="147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58" name="Freeform 1548">
              <a:extLst>
                <a:ext uri="{FF2B5EF4-FFF2-40B4-BE49-F238E27FC236}">
                  <a16:creationId xmlns:a16="http://schemas.microsoft.com/office/drawing/2014/main" id="{8D886B80-2ED7-D1EF-A212-61D4206B4A6A}"/>
                </a:ext>
              </a:extLst>
            </p:cNvPr>
            <p:cNvSpPr>
              <a:spLocks/>
            </p:cNvSpPr>
            <p:nvPr/>
          </p:nvSpPr>
          <p:spPr bwMode="auto">
            <a:xfrm>
              <a:off x="-3230567" y="2069445"/>
              <a:ext cx="130175" cy="74612"/>
            </a:xfrm>
            <a:custGeom>
              <a:avLst/>
              <a:gdLst>
                <a:gd name="T0" fmla="*/ 120 w 126"/>
                <a:gd name="T1" fmla="*/ 72 h 72"/>
                <a:gd name="T2" fmla="*/ 115 w 126"/>
                <a:gd name="T3" fmla="*/ 66 h 72"/>
                <a:gd name="T4" fmla="*/ 115 w 126"/>
                <a:gd name="T5" fmla="*/ 30 h 72"/>
                <a:gd name="T6" fmla="*/ 95 w 126"/>
                <a:gd name="T7" fmla="*/ 11 h 72"/>
                <a:gd name="T8" fmla="*/ 31 w 126"/>
                <a:gd name="T9" fmla="*/ 11 h 72"/>
                <a:gd name="T10" fmla="*/ 11 w 126"/>
                <a:gd name="T11" fmla="*/ 30 h 72"/>
                <a:gd name="T12" fmla="*/ 11 w 126"/>
                <a:gd name="T13" fmla="*/ 66 h 72"/>
                <a:gd name="T14" fmla="*/ 6 w 126"/>
                <a:gd name="T15" fmla="*/ 72 h 72"/>
                <a:gd name="T16" fmla="*/ 0 w 126"/>
                <a:gd name="T17" fmla="*/ 66 h 72"/>
                <a:gd name="T18" fmla="*/ 0 w 126"/>
                <a:gd name="T19" fmla="*/ 30 h 72"/>
                <a:gd name="T20" fmla="*/ 31 w 126"/>
                <a:gd name="T21" fmla="*/ 0 h 72"/>
                <a:gd name="T22" fmla="*/ 95 w 126"/>
                <a:gd name="T23" fmla="*/ 0 h 72"/>
                <a:gd name="T24" fmla="*/ 126 w 126"/>
                <a:gd name="T25" fmla="*/ 30 h 72"/>
                <a:gd name="T26" fmla="*/ 126 w 126"/>
                <a:gd name="T27" fmla="*/ 66 h 72"/>
                <a:gd name="T28" fmla="*/ 120 w 126"/>
                <a:gd name="T29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6" h="72">
                  <a:moveTo>
                    <a:pt x="120" y="72"/>
                  </a:moveTo>
                  <a:cubicBezTo>
                    <a:pt x="117" y="72"/>
                    <a:pt x="115" y="69"/>
                    <a:pt x="115" y="66"/>
                  </a:cubicBezTo>
                  <a:cubicBezTo>
                    <a:pt x="115" y="30"/>
                    <a:pt x="115" y="30"/>
                    <a:pt x="115" y="30"/>
                  </a:cubicBezTo>
                  <a:cubicBezTo>
                    <a:pt x="115" y="20"/>
                    <a:pt x="106" y="11"/>
                    <a:pt x="95" y="11"/>
                  </a:cubicBezTo>
                  <a:cubicBezTo>
                    <a:pt x="31" y="11"/>
                    <a:pt x="31" y="11"/>
                    <a:pt x="31" y="11"/>
                  </a:cubicBezTo>
                  <a:cubicBezTo>
                    <a:pt x="20" y="11"/>
                    <a:pt x="11" y="20"/>
                    <a:pt x="11" y="30"/>
                  </a:cubicBezTo>
                  <a:cubicBezTo>
                    <a:pt x="11" y="66"/>
                    <a:pt x="11" y="66"/>
                    <a:pt x="11" y="66"/>
                  </a:cubicBezTo>
                  <a:cubicBezTo>
                    <a:pt x="11" y="69"/>
                    <a:pt x="9" y="72"/>
                    <a:pt x="6" y="72"/>
                  </a:cubicBezTo>
                  <a:cubicBezTo>
                    <a:pt x="3" y="72"/>
                    <a:pt x="0" y="69"/>
                    <a:pt x="0" y="66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4"/>
                    <a:pt x="14" y="0"/>
                    <a:pt x="31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112" y="0"/>
                    <a:pt x="126" y="14"/>
                    <a:pt x="126" y="30"/>
                  </a:cubicBezTo>
                  <a:cubicBezTo>
                    <a:pt x="126" y="66"/>
                    <a:pt x="126" y="66"/>
                    <a:pt x="126" y="66"/>
                  </a:cubicBezTo>
                  <a:cubicBezTo>
                    <a:pt x="126" y="69"/>
                    <a:pt x="123" y="72"/>
                    <a:pt x="120" y="7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59" name="Freeform 1549">
              <a:extLst>
                <a:ext uri="{FF2B5EF4-FFF2-40B4-BE49-F238E27FC236}">
                  <a16:creationId xmlns:a16="http://schemas.microsoft.com/office/drawing/2014/main" id="{23C6747F-0ADC-4D8D-CD63-1AC3C626C21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194055" y="2007539"/>
              <a:ext cx="57150" cy="55562"/>
            </a:xfrm>
            <a:custGeom>
              <a:avLst/>
              <a:gdLst>
                <a:gd name="T0" fmla="*/ 27 w 54"/>
                <a:gd name="T1" fmla="*/ 53 h 53"/>
                <a:gd name="T2" fmla="*/ 0 w 54"/>
                <a:gd name="T3" fmla="*/ 27 h 53"/>
                <a:gd name="T4" fmla="*/ 27 w 54"/>
                <a:gd name="T5" fmla="*/ 0 h 53"/>
                <a:gd name="T6" fmla="*/ 54 w 54"/>
                <a:gd name="T7" fmla="*/ 27 h 53"/>
                <a:gd name="T8" fmla="*/ 27 w 54"/>
                <a:gd name="T9" fmla="*/ 53 h 53"/>
                <a:gd name="T10" fmla="*/ 27 w 54"/>
                <a:gd name="T11" fmla="*/ 11 h 53"/>
                <a:gd name="T12" fmla="*/ 11 w 54"/>
                <a:gd name="T13" fmla="*/ 27 h 53"/>
                <a:gd name="T14" fmla="*/ 27 w 54"/>
                <a:gd name="T15" fmla="*/ 42 h 53"/>
                <a:gd name="T16" fmla="*/ 43 w 54"/>
                <a:gd name="T17" fmla="*/ 27 h 53"/>
                <a:gd name="T18" fmla="*/ 27 w 54"/>
                <a:gd name="T19" fmla="*/ 1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" h="53">
                  <a:moveTo>
                    <a:pt x="27" y="53"/>
                  </a:moveTo>
                  <a:cubicBezTo>
                    <a:pt x="12" y="53"/>
                    <a:pt x="0" y="41"/>
                    <a:pt x="0" y="27"/>
                  </a:cubicBezTo>
                  <a:cubicBezTo>
                    <a:pt x="0" y="12"/>
                    <a:pt x="12" y="0"/>
                    <a:pt x="27" y="0"/>
                  </a:cubicBezTo>
                  <a:cubicBezTo>
                    <a:pt x="42" y="0"/>
                    <a:pt x="54" y="12"/>
                    <a:pt x="54" y="27"/>
                  </a:cubicBezTo>
                  <a:cubicBezTo>
                    <a:pt x="54" y="41"/>
                    <a:pt x="42" y="53"/>
                    <a:pt x="27" y="53"/>
                  </a:cubicBezTo>
                  <a:close/>
                  <a:moveTo>
                    <a:pt x="27" y="11"/>
                  </a:moveTo>
                  <a:cubicBezTo>
                    <a:pt x="18" y="11"/>
                    <a:pt x="11" y="18"/>
                    <a:pt x="11" y="27"/>
                  </a:cubicBezTo>
                  <a:cubicBezTo>
                    <a:pt x="11" y="35"/>
                    <a:pt x="18" y="42"/>
                    <a:pt x="27" y="42"/>
                  </a:cubicBezTo>
                  <a:cubicBezTo>
                    <a:pt x="36" y="42"/>
                    <a:pt x="43" y="35"/>
                    <a:pt x="43" y="27"/>
                  </a:cubicBezTo>
                  <a:cubicBezTo>
                    <a:pt x="43" y="18"/>
                    <a:pt x="36" y="11"/>
                    <a:pt x="27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60" name="Freeform 1550">
              <a:extLst>
                <a:ext uri="{FF2B5EF4-FFF2-40B4-BE49-F238E27FC236}">
                  <a16:creationId xmlns:a16="http://schemas.microsoft.com/office/drawing/2014/main" id="{E6BCF6D7-6F28-493D-82FF-87453C5AAD4E}"/>
                </a:ext>
              </a:extLst>
            </p:cNvPr>
            <p:cNvSpPr>
              <a:spLocks/>
            </p:cNvSpPr>
            <p:nvPr/>
          </p:nvSpPr>
          <p:spPr bwMode="auto">
            <a:xfrm>
              <a:off x="-3205167" y="2099612"/>
              <a:ext cx="11113" cy="44450"/>
            </a:xfrm>
            <a:custGeom>
              <a:avLst/>
              <a:gdLst>
                <a:gd name="T0" fmla="*/ 5 w 11"/>
                <a:gd name="T1" fmla="*/ 43 h 43"/>
                <a:gd name="T2" fmla="*/ 0 w 11"/>
                <a:gd name="T3" fmla="*/ 37 h 43"/>
                <a:gd name="T4" fmla="*/ 0 w 11"/>
                <a:gd name="T5" fmla="*/ 5 h 43"/>
                <a:gd name="T6" fmla="*/ 5 w 11"/>
                <a:gd name="T7" fmla="*/ 0 h 43"/>
                <a:gd name="T8" fmla="*/ 11 w 11"/>
                <a:gd name="T9" fmla="*/ 5 h 43"/>
                <a:gd name="T10" fmla="*/ 11 w 11"/>
                <a:gd name="T11" fmla="*/ 37 h 43"/>
                <a:gd name="T12" fmla="*/ 5 w 11"/>
                <a:gd name="T13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43">
                  <a:moveTo>
                    <a:pt x="5" y="43"/>
                  </a:moveTo>
                  <a:cubicBezTo>
                    <a:pt x="2" y="43"/>
                    <a:pt x="0" y="40"/>
                    <a:pt x="0" y="37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9" y="0"/>
                    <a:pt x="11" y="2"/>
                    <a:pt x="11" y="5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1" y="40"/>
                    <a:pt x="9" y="43"/>
                    <a:pt x="5" y="4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61" name="Freeform 1551">
              <a:extLst>
                <a:ext uri="{FF2B5EF4-FFF2-40B4-BE49-F238E27FC236}">
                  <a16:creationId xmlns:a16="http://schemas.microsoft.com/office/drawing/2014/main" id="{11536917-3CF8-D7FA-1822-8E57C772A4D5}"/>
                </a:ext>
              </a:extLst>
            </p:cNvPr>
            <p:cNvSpPr>
              <a:spLocks/>
            </p:cNvSpPr>
            <p:nvPr/>
          </p:nvSpPr>
          <p:spPr bwMode="auto">
            <a:xfrm>
              <a:off x="-3136905" y="2099612"/>
              <a:ext cx="12700" cy="44450"/>
            </a:xfrm>
            <a:custGeom>
              <a:avLst/>
              <a:gdLst>
                <a:gd name="T0" fmla="*/ 5 w 11"/>
                <a:gd name="T1" fmla="*/ 43 h 43"/>
                <a:gd name="T2" fmla="*/ 0 w 11"/>
                <a:gd name="T3" fmla="*/ 37 h 43"/>
                <a:gd name="T4" fmla="*/ 0 w 11"/>
                <a:gd name="T5" fmla="*/ 5 h 43"/>
                <a:gd name="T6" fmla="*/ 5 w 11"/>
                <a:gd name="T7" fmla="*/ 0 h 43"/>
                <a:gd name="T8" fmla="*/ 11 w 11"/>
                <a:gd name="T9" fmla="*/ 5 h 43"/>
                <a:gd name="T10" fmla="*/ 11 w 11"/>
                <a:gd name="T11" fmla="*/ 37 h 43"/>
                <a:gd name="T12" fmla="*/ 5 w 11"/>
                <a:gd name="T13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43">
                  <a:moveTo>
                    <a:pt x="5" y="43"/>
                  </a:moveTo>
                  <a:cubicBezTo>
                    <a:pt x="2" y="43"/>
                    <a:pt x="0" y="40"/>
                    <a:pt x="0" y="37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" y="0"/>
                    <a:pt x="11" y="2"/>
                    <a:pt x="11" y="5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1" y="40"/>
                    <a:pt x="8" y="43"/>
                    <a:pt x="5" y="4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62" name="Freeform 1552">
              <a:extLst>
                <a:ext uri="{FF2B5EF4-FFF2-40B4-BE49-F238E27FC236}">
                  <a16:creationId xmlns:a16="http://schemas.microsoft.com/office/drawing/2014/main" id="{A7F26642-0403-4257-4888-BD8A0246EBEA}"/>
                </a:ext>
              </a:extLst>
            </p:cNvPr>
            <p:cNvSpPr>
              <a:spLocks/>
            </p:cNvSpPr>
            <p:nvPr/>
          </p:nvSpPr>
          <p:spPr bwMode="auto">
            <a:xfrm>
              <a:off x="-3244855" y="2132949"/>
              <a:ext cx="158750" cy="11113"/>
            </a:xfrm>
            <a:custGeom>
              <a:avLst/>
              <a:gdLst>
                <a:gd name="T0" fmla="*/ 147 w 152"/>
                <a:gd name="T1" fmla="*/ 11 h 11"/>
                <a:gd name="T2" fmla="*/ 5 w 152"/>
                <a:gd name="T3" fmla="*/ 11 h 11"/>
                <a:gd name="T4" fmla="*/ 0 w 152"/>
                <a:gd name="T5" fmla="*/ 5 h 11"/>
                <a:gd name="T6" fmla="*/ 5 w 152"/>
                <a:gd name="T7" fmla="*/ 0 h 11"/>
                <a:gd name="T8" fmla="*/ 147 w 152"/>
                <a:gd name="T9" fmla="*/ 0 h 11"/>
                <a:gd name="T10" fmla="*/ 152 w 152"/>
                <a:gd name="T11" fmla="*/ 5 h 11"/>
                <a:gd name="T12" fmla="*/ 147 w 152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2" h="11">
                  <a:moveTo>
                    <a:pt x="147" y="11"/>
                  </a:moveTo>
                  <a:cubicBezTo>
                    <a:pt x="5" y="11"/>
                    <a:pt x="5" y="11"/>
                    <a:pt x="5" y="11"/>
                  </a:cubicBezTo>
                  <a:cubicBezTo>
                    <a:pt x="2" y="11"/>
                    <a:pt x="0" y="8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150" y="0"/>
                    <a:pt x="152" y="2"/>
                    <a:pt x="152" y="5"/>
                  </a:cubicBezTo>
                  <a:cubicBezTo>
                    <a:pt x="152" y="8"/>
                    <a:pt x="150" y="11"/>
                    <a:pt x="147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63" name="Freeform 1553">
              <a:extLst>
                <a:ext uri="{FF2B5EF4-FFF2-40B4-BE49-F238E27FC236}">
                  <a16:creationId xmlns:a16="http://schemas.microsoft.com/office/drawing/2014/main" id="{453BE06D-7E63-45A0-4C16-978235A7D0B5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08393" y="2069450"/>
              <a:ext cx="130175" cy="74612"/>
            </a:xfrm>
            <a:custGeom>
              <a:avLst/>
              <a:gdLst>
                <a:gd name="T0" fmla="*/ 120 w 125"/>
                <a:gd name="T1" fmla="*/ 72 h 72"/>
                <a:gd name="T2" fmla="*/ 114 w 125"/>
                <a:gd name="T3" fmla="*/ 66 h 72"/>
                <a:gd name="T4" fmla="*/ 114 w 125"/>
                <a:gd name="T5" fmla="*/ 30 h 72"/>
                <a:gd name="T6" fmla="*/ 95 w 125"/>
                <a:gd name="T7" fmla="*/ 11 h 72"/>
                <a:gd name="T8" fmla="*/ 31 w 125"/>
                <a:gd name="T9" fmla="*/ 11 h 72"/>
                <a:gd name="T10" fmla="*/ 11 w 125"/>
                <a:gd name="T11" fmla="*/ 30 h 72"/>
                <a:gd name="T12" fmla="*/ 11 w 125"/>
                <a:gd name="T13" fmla="*/ 66 h 72"/>
                <a:gd name="T14" fmla="*/ 6 w 125"/>
                <a:gd name="T15" fmla="*/ 72 h 72"/>
                <a:gd name="T16" fmla="*/ 0 w 125"/>
                <a:gd name="T17" fmla="*/ 66 h 72"/>
                <a:gd name="T18" fmla="*/ 0 w 125"/>
                <a:gd name="T19" fmla="*/ 30 h 72"/>
                <a:gd name="T20" fmla="*/ 31 w 125"/>
                <a:gd name="T21" fmla="*/ 0 h 72"/>
                <a:gd name="T22" fmla="*/ 95 w 125"/>
                <a:gd name="T23" fmla="*/ 0 h 72"/>
                <a:gd name="T24" fmla="*/ 125 w 125"/>
                <a:gd name="T25" fmla="*/ 30 h 72"/>
                <a:gd name="T26" fmla="*/ 125 w 125"/>
                <a:gd name="T27" fmla="*/ 66 h 72"/>
                <a:gd name="T28" fmla="*/ 120 w 125"/>
                <a:gd name="T29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5" h="72">
                  <a:moveTo>
                    <a:pt x="120" y="72"/>
                  </a:moveTo>
                  <a:cubicBezTo>
                    <a:pt x="117" y="72"/>
                    <a:pt x="114" y="69"/>
                    <a:pt x="114" y="66"/>
                  </a:cubicBezTo>
                  <a:cubicBezTo>
                    <a:pt x="114" y="30"/>
                    <a:pt x="114" y="30"/>
                    <a:pt x="114" y="30"/>
                  </a:cubicBezTo>
                  <a:cubicBezTo>
                    <a:pt x="114" y="20"/>
                    <a:pt x="105" y="11"/>
                    <a:pt x="95" y="11"/>
                  </a:cubicBezTo>
                  <a:cubicBezTo>
                    <a:pt x="31" y="11"/>
                    <a:pt x="31" y="11"/>
                    <a:pt x="31" y="11"/>
                  </a:cubicBezTo>
                  <a:cubicBezTo>
                    <a:pt x="20" y="11"/>
                    <a:pt x="11" y="20"/>
                    <a:pt x="11" y="30"/>
                  </a:cubicBezTo>
                  <a:cubicBezTo>
                    <a:pt x="11" y="66"/>
                    <a:pt x="11" y="66"/>
                    <a:pt x="11" y="66"/>
                  </a:cubicBezTo>
                  <a:cubicBezTo>
                    <a:pt x="11" y="69"/>
                    <a:pt x="9" y="72"/>
                    <a:pt x="6" y="72"/>
                  </a:cubicBezTo>
                  <a:cubicBezTo>
                    <a:pt x="3" y="72"/>
                    <a:pt x="0" y="69"/>
                    <a:pt x="0" y="66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4"/>
                    <a:pt x="14" y="0"/>
                    <a:pt x="31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111" y="0"/>
                    <a:pt x="125" y="14"/>
                    <a:pt x="125" y="30"/>
                  </a:cubicBezTo>
                  <a:cubicBezTo>
                    <a:pt x="125" y="66"/>
                    <a:pt x="125" y="66"/>
                    <a:pt x="125" y="66"/>
                  </a:cubicBezTo>
                  <a:cubicBezTo>
                    <a:pt x="125" y="69"/>
                    <a:pt x="123" y="72"/>
                    <a:pt x="120" y="7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64" name="Freeform 1554">
              <a:extLst>
                <a:ext uri="{FF2B5EF4-FFF2-40B4-BE49-F238E27FC236}">
                  <a16:creationId xmlns:a16="http://schemas.microsoft.com/office/drawing/2014/main" id="{0C63E81E-1DAB-1D1C-DBAB-BD018F98B6A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570293" y="2007542"/>
              <a:ext cx="55563" cy="55562"/>
            </a:xfrm>
            <a:custGeom>
              <a:avLst/>
              <a:gdLst>
                <a:gd name="T0" fmla="*/ 27 w 54"/>
                <a:gd name="T1" fmla="*/ 53 h 53"/>
                <a:gd name="T2" fmla="*/ 0 w 54"/>
                <a:gd name="T3" fmla="*/ 27 h 53"/>
                <a:gd name="T4" fmla="*/ 27 w 54"/>
                <a:gd name="T5" fmla="*/ 0 h 53"/>
                <a:gd name="T6" fmla="*/ 54 w 54"/>
                <a:gd name="T7" fmla="*/ 27 h 53"/>
                <a:gd name="T8" fmla="*/ 27 w 54"/>
                <a:gd name="T9" fmla="*/ 53 h 53"/>
                <a:gd name="T10" fmla="*/ 27 w 54"/>
                <a:gd name="T11" fmla="*/ 11 h 53"/>
                <a:gd name="T12" fmla="*/ 11 w 54"/>
                <a:gd name="T13" fmla="*/ 27 h 53"/>
                <a:gd name="T14" fmla="*/ 27 w 54"/>
                <a:gd name="T15" fmla="*/ 42 h 53"/>
                <a:gd name="T16" fmla="*/ 43 w 54"/>
                <a:gd name="T17" fmla="*/ 27 h 53"/>
                <a:gd name="T18" fmla="*/ 27 w 54"/>
                <a:gd name="T19" fmla="*/ 1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" h="53">
                  <a:moveTo>
                    <a:pt x="27" y="53"/>
                  </a:moveTo>
                  <a:cubicBezTo>
                    <a:pt x="12" y="53"/>
                    <a:pt x="0" y="41"/>
                    <a:pt x="0" y="27"/>
                  </a:cubicBezTo>
                  <a:cubicBezTo>
                    <a:pt x="0" y="12"/>
                    <a:pt x="12" y="0"/>
                    <a:pt x="27" y="0"/>
                  </a:cubicBezTo>
                  <a:cubicBezTo>
                    <a:pt x="42" y="0"/>
                    <a:pt x="54" y="12"/>
                    <a:pt x="54" y="27"/>
                  </a:cubicBezTo>
                  <a:cubicBezTo>
                    <a:pt x="54" y="41"/>
                    <a:pt x="42" y="53"/>
                    <a:pt x="27" y="53"/>
                  </a:cubicBezTo>
                  <a:close/>
                  <a:moveTo>
                    <a:pt x="27" y="11"/>
                  </a:moveTo>
                  <a:cubicBezTo>
                    <a:pt x="18" y="11"/>
                    <a:pt x="11" y="18"/>
                    <a:pt x="11" y="27"/>
                  </a:cubicBezTo>
                  <a:cubicBezTo>
                    <a:pt x="11" y="35"/>
                    <a:pt x="18" y="42"/>
                    <a:pt x="27" y="42"/>
                  </a:cubicBezTo>
                  <a:cubicBezTo>
                    <a:pt x="35" y="42"/>
                    <a:pt x="43" y="35"/>
                    <a:pt x="43" y="27"/>
                  </a:cubicBezTo>
                  <a:cubicBezTo>
                    <a:pt x="43" y="18"/>
                    <a:pt x="35" y="11"/>
                    <a:pt x="27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65" name="Freeform 1555">
              <a:extLst>
                <a:ext uri="{FF2B5EF4-FFF2-40B4-BE49-F238E27FC236}">
                  <a16:creationId xmlns:a16="http://schemas.microsoft.com/office/drawing/2014/main" id="{89814EC3-FC84-E900-AFE8-6258FBE4946C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82993" y="2099616"/>
              <a:ext cx="11113" cy="44450"/>
            </a:xfrm>
            <a:custGeom>
              <a:avLst/>
              <a:gdLst>
                <a:gd name="T0" fmla="*/ 5 w 11"/>
                <a:gd name="T1" fmla="*/ 43 h 43"/>
                <a:gd name="T2" fmla="*/ 0 w 11"/>
                <a:gd name="T3" fmla="*/ 37 h 43"/>
                <a:gd name="T4" fmla="*/ 0 w 11"/>
                <a:gd name="T5" fmla="*/ 5 h 43"/>
                <a:gd name="T6" fmla="*/ 5 w 11"/>
                <a:gd name="T7" fmla="*/ 0 h 43"/>
                <a:gd name="T8" fmla="*/ 11 w 11"/>
                <a:gd name="T9" fmla="*/ 5 h 43"/>
                <a:gd name="T10" fmla="*/ 11 w 11"/>
                <a:gd name="T11" fmla="*/ 37 h 43"/>
                <a:gd name="T12" fmla="*/ 5 w 11"/>
                <a:gd name="T13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43">
                  <a:moveTo>
                    <a:pt x="5" y="43"/>
                  </a:moveTo>
                  <a:cubicBezTo>
                    <a:pt x="2" y="43"/>
                    <a:pt x="0" y="40"/>
                    <a:pt x="0" y="37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" y="0"/>
                    <a:pt x="11" y="2"/>
                    <a:pt x="11" y="5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1" y="40"/>
                    <a:pt x="8" y="43"/>
                    <a:pt x="5" y="4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66" name="Freeform 1556">
              <a:extLst>
                <a:ext uri="{FF2B5EF4-FFF2-40B4-BE49-F238E27FC236}">
                  <a16:creationId xmlns:a16="http://schemas.microsoft.com/office/drawing/2014/main" id="{2D4A21B0-F9C8-D6D3-2341-59309555DF30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13143" y="2099603"/>
              <a:ext cx="11113" cy="44449"/>
            </a:xfrm>
            <a:custGeom>
              <a:avLst/>
              <a:gdLst>
                <a:gd name="T0" fmla="*/ 5 w 11"/>
                <a:gd name="T1" fmla="*/ 43 h 43"/>
                <a:gd name="T2" fmla="*/ 0 w 11"/>
                <a:gd name="T3" fmla="*/ 37 h 43"/>
                <a:gd name="T4" fmla="*/ 0 w 11"/>
                <a:gd name="T5" fmla="*/ 5 h 43"/>
                <a:gd name="T6" fmla="*/ 5 w 11"/>
                <a:gd name="T7" fmla="*/ 0 h 43"/>
                <a:gd name="T8" fmla="*/ 11 w 11"/>
                <a:gd name="T9" fmla="*/ 5 h 43"/>
                <a:gd name="T10" fmla="*/ 11 w 11"/>
                <a:gd name="T11" fmla="*/ 37 h 43"/>
                <a:gd name="T12" fmla="*/ 5 w 11"/>
                <a:gd name="T13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43">
                  <a:moveTo>
                    <a:pt x="5" y="43"/>
                  </a:moveTo>
                  <a:cubicBezTo>
                    <a:pt x="2" y="43"/>
                    <a:pt x="0" y="40"/>
                    <a:pt x="0" y="37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" y="0"/>
                    <a:pt x="11" y="2"/>
                    <a:pt x="11" y="5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1" y="40"/>
                    <a:pt x="8" y="43"/>
                    <a:pt x="5" y="4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67" name="Freeform 1557">
              <a:extLst>
                <a:ext uri="{FF2B5EF4-FFF2-40B4-BE49-F238E27FC236}">
                  <a16:creationId xmlns:a16="http://schemas.microsoft.com/office/drawing/2014/main" id="{EF46EF16-97FF-9658-AB17-8DE840CF4067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21087" y="2132980"/>
              <a:ext cx="157163" cy="11113"/>
            </a:xfrm>
            <a:custGeom>
              <a:avLst/>
              <a:gdLst>
                <a:gd name="T0" fmla="*/ 146 w 152"/>
                <a:gd name="T1" fmla="*/ 11 h 11"/>
                <a:gd name="T2" fmla="*/ 5 w 152"/>
                <a:gd name="T3" fmla="*/ 11 h 11"/>
                <a:gd name="T4" fmla="*/ 0 w 152"/>
                <a:gd name="T5" fmla="*/ 5 h 11"/>
                <a:gd name="T6" fmla="*/ 5 w 152"/>
                <a:gd name="T7" fmla="*/ 0 h 11"/>
                <a:gd name="T8" fmla="*/ 146 w 152"/>
                <a:gd name="T9" fmla="*/ 0 h 11"/>
                <a:gd name="T10" fmla="*/ 152 w 152"/>
                <a:gd name="T11" fmla="*/ 5 h 11"/>
                <a:gd name="T12" fmla="*/ 146 w 152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2" h="11">
                  <a:moveTo>
                    <a:pt x="146" y="11"/>
                  </a:moveTo>
                  <a:cubicBezTo>
                    <a:pt x="5" y="11"/>
                    <a:pt x="5" y="11"/>
                    <a:pt x="5" y="11"/>
                  </a:cubicBezTo>
                  <a:cubicBezTo>
                    <a:pt x="2" y="11"/>
                    <a:pt x="0" y="8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146" y="0"/>
                    <a:pt x="146" y="0"/>
                    <a:pt x="146" y="0"/>
                  </a:cubicBezTo>
                  <a:cubicBezTo>
                    <a:pt x="149" y="0"/>
                    <a:pt x="152" y="2"/>
                    <a:pt x="152" y="5"/>
                  </a:cubicBezTo>
                  <a:cubicBezTo>
                    <a:pt x="152" y="8"/>
                    <a:pt x="149" y="11"/>
                    <a:pt x="146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68" name="Shape58_20200717_142846">
            <a:extLst>
              <a:ext uri="{FF2B5EF4-FFF2-40B4-BE49-F238E27FC236}">
                <a16:creationId xmlns:a16="http://schemas.microsoft.com/office/drawing/2014/main" id="{A7A1A0A7-CAB3-73CA-E829-A979F8F89FAF}"/>
              </a:ext>
            </a:extLst>
          </p:cNvPr>
          <p:cNvGrpSpPr>
            <a:grpSpLocks noChangeAspect="1"/>
          </p:cNvGrpSpPr>
          <p:nvPr/>
        </p:nvGrpSpPr>
        <p:grpSpPr>
          <a:xfrm>
            <a:off x="9590475" y="2588013"/>
            <a:ext cx="844392" cy="482176"/>
            <a:chOff x="-1423981" y="2591778"/>
            <a:chExt cx="558798" cy="319095"/>
          </a:xfrm>
          <a:solidFill>
            <a:schemeClr val="accent1"/>
          </a:solidFill>
        </p:grpSpPr>
        <p:sp>
          <p:nvSpPr>
            <p:cNvPr id="369" name="Freeform 1579">
              <a:extLst>
                <a:ext uri="{FF2B5EF4-FFF2-40B4-BE49-F238E27FC236}">
                  <a16:creationId xmlns:a16="http://schemas.microsoft.com/office/drawing/2014/main" id="{0450CFB1-375C-CC32-E558-85FD0FD0A97E}"/>
                </a:ext>
              </a:extLst>
            </p:cNvPr>
            <p:cNvSpPr>
              <a:spLocks/>
            </p:cNvSpPr>
            <p:nvPr/>
          </p:nvSpPr>
          <p:spPr bwMode="auto">
            <a:xfrm>
              <a:off x="-1423981" y="2591778"/>
              <a:ext cx="363536" cy="269876"/>
            </a:xfrm>
            <a:custGeom>
              <a:avLst/>
              <a:gdLst>
                <a:gd name="T0" fmla="*/ 325 w 351"/>
                <a:gd name="T1" fmla="*/ 259 h 259"/>
                <a:gd name="T2" fmla="*/ 26 w 351"/>
                <a:gd name="T3" fmla="*/ 259 h 259"/>
                <a:gd name="T4" fmla="*/ 0 w 351"/>
                <a:gd name="T5" fmla="*/ 232 h 259"/>
                <a:gd name="T6" fmla="*/ 0 w 351"/>
                <a:gd name="T7" fmla="*/ 26 h 259"/>
                <a:gd name="T8" fmla="*/ 26 w 351"/>
                <a:gd name="T9" fmla="*/ 0 h 259"/>
                <a:gd name="T10" fmla="*/ 325 w 351"/>
                <a:gd name="T11" fmla="*/ 0 h 259"/>
                <a:gd name="T12" fmla="*/ 351 w 351"/>
                <a:gd name="T13" fmla="*/ 26 h 259"/>
                <a:gd name="T14" fmla="*/ 351 w 351"/>
                <a:gd name="T15" fmla="*/ 180 h 259"/>
                <a:gd name="T16" fmla="*/ 346 w 351"/>
                <a:gd name="T17" fmla="*/ 185 h 259"/>
                <a:gd name="T18" fmla="*/ 340 w 351"/>
                <a:gd name="T19" fmla="*/ 180 h 259"/>
                <a:gd name="T20" fmla="*/ 340 w 351"/>
                <a:gd name="T21" fmla="*/ 26 h 259"/>
                <a:gd name="T22" fmla="*/ 325 w 351"/>
                <a:gd name="T23" fmla="*/ 11 h 259"/>
                <a:gd name="T24" fmla="*/ 26 w 351"/>
                <a:gd name="T25" fmla="*/ 11 h 259"/>
                <a:gd name="T26" fmla="*/ 11 w 351"/>
                <a:gd name="T27" fmla="*/ 26 h 259"/>
                <a:gd name="T28" fmla="*/ 11 w 351"/>
                <a:gd name="T29" fmla="*/ 232 h 259"/>
                <a:gd name="T30" fmla="*/ 26 w 351"/>
                <a:gd name="T31" fmla="*/ 248 h 259"/>
                <a:gd name="T32" fmla="*/ 325 w 351"/>
                <a:gd name="T33" fmla="*/ 248 h 259"/>
                <a:gd name="T34" fmla="*/ 340 w 351"/>
                <a:gd name="T35" fmla="*/ 232 h 259"/>
                <a:gd name="T36" fmla="*/ 340 w 351"/>
                <a:gd name="T37" fmla="*/ 219 h 259"/>
                <a:gd name="T38" fmla="*/ 346 w 351"/>
                <a:gd name="T39" fmla="*/ 214 h 259"/>
                <a:gd name="T40" fmla="*/ 351 w 351"/>
                <a:gd name="T41" fmla="*/ 219 h 259"/>
                <a:gd name="T42" fmla="*/ 351 w 351"/>
                <a:gd name="T43" fmla="*/ 232 h 259"/>
                <a:gd name="T44" fmla="*/ 325 w 351"/>
                <a:gd name="T45" fmla="*/ 259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51" h="259">
                  <a:moveTo>
                    <a:pt x="325" y="259"/>
                  </a:moveTo>
                  <a:cubicBezTo>
                    <a:pt x="26" y="259"/>
                    <a:pt x="26" y="259"/>
                    <a:pt x="26" y="259"/>
                  </a:cubicBezTo>
                  <a:cubicBezTo>
                    <a:pt x="12" y="259"/>
                    <a:pt x="0" y="247"/>
                    <a:pt x="0" y="232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2"/>
                    <a:pt x="12" y="0"/>
                    <a:pt x="26" y="0"/>
                  </a:cubicBezTo>
                  <a:cubicBezTo>
                    <a:pt x="325" y="0"/>
                    <a:pt x="325" y="0"/>
                    <a:pt x="325" y="0"/>
                  </a:cubicBezTo>
                  <a:cubicBezTo>
                    <a:pt x="339" y="0"/>
                    <a:pt x="351" y="12"/>
                    <a:pt x="351" y="26"/>
                  </a:cubicBezTo>
                  <a:cubicBezTo>
                    <a:pt x="351" y="180"/>
                    <a:pt x="351" y="180"/>
                    <a:pt x="351" y="180"/>
                  </a:cubicBezTo>
                  <a:cubicBezTo>
                    <a:pt x="351" y="183"/>
                    <a:pt x="349" y="185"/>
                    <a:pt x="346" y="185"/>
                  </a:cubicBezTo>
                  <a:cubicBezTo>
                    <a:pt x="343" y="185"/>
                    <a:pt x="340" y="183"/>
                    <a:pt x="340" y="180"/>
                  </a:cubicBezTo>
                  <a:cubicBezTo>
                    <a:pt x="340" y="26"/>
                    <a:pt x="340" y="26"/>
                    <a:pt x="340" y="26"/>
                  </a:cubicBezTo>
                  <a:cubicBezTo>
                    <a:pt x="340" y="18"/>
                    <a:pt x="333" y="11"/>
                    <a:pt x="325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18" y="11"/>
                    <a:pt x="11" y="18"/>
                    <a:pt x="11" y="26"/>
                  </a:cubicBezTo>
                  <a:cubicBezTo>
                    <a:pt x="11" y="232"/>
                    <a:pt x="11" y="232"/>
                    <a:pt x="11" y="232"/>
                  </a:cubicBezTo>
                  <a:cubicBezTo>
                    <a:pt x="11" y="241"/>
                    <a:pt x="18" y="248"/>
                    <a:pt x="26" y="248"/>
                  </a:cubicBezTo>
                  <a:cubicBezTo>
                    <a:pt x="325" y="248"/>
                    <a:pt x="325" y="248"/>
                    <a:pt x="325" y="248"/>
                  </a:cubicBezTo>
                  <a:cubicBezTo>
                    <a:pt x="333" y="248"/>
                    <a:pt x="340" y="241"/>
                    <a:pt x="340" y="232"/>
                  </a:cubicBezTo>
                  <a:cubicBezTo>
                    <a:pt x="340" y="219"/>
                    <a:pt x="340" y="219"/>
                    <a:pt x="340" y="219"/>
                  </a:cubicBezTo>
                  <a:cubicBezTo>
                    <a:pt x="340" y="216"/>
                    <a:pt x="343" y="214"/>
                    <a:pt x="346" y="214"/>
                  </a:cubicBezTo>
                  <a:cubicBezTo>
                    <a:pt x="349" y="214"/>
                    <a:pt x="351" y="216"/>
                    <a:pt x="351" y="219"/>
                  </a:cubicBezTo>
                  <a:cubicBezTo>
                    <a:pt x="351" y="232"/>
                    <a:pt x="351" y="232"/>
                    <a:pt x="351" y="232"/>
                  </a:cubicBezTo>
                  <a:cubicBezTo>
                    <a:pt x="351" y="247"/>
                    <a:pt x="339" y="259"/>
                    <a:pt x="325" y="25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70" name="Freeform 1580">
              <a:extLst>
                <a:ext uri="{FF2B5EF4-FFF2-40B4-BE49-F238E27FC236}">
                  <a16:creationId xmlns:a16="http://schemas.microsoft.com/office/drawing/2014/main" id="{77E288A4-9716-BC1A-0CA3-EC98B1EC5CBC}"/>
                </a:ext>
              </a:extLst>
            </p:cNvPr>
            <p:cNvSpPr>
              <a:spLocks/>
            </p:cNvSpPr>
            <p:nvPr/>
          </p:nvSpPr>
          <p:spPr bwMode="auto">
            <a:xfrm>
              <a:off x="-1354132" y="2850541"/>
              <a:ext cx="11113" cy="60325"/>
            </a:xfrm>
            <a:custGeom>
              <a:avLst/>
              <a:gdLst>
                <a:gd name="T0" fmla="*/ 6 w 11"/>
                <a:gd name="T1" fmla="*/ 58 h 58"/>
                <a:gd name="T2" fmla="*/ 0 w 11"/>
                <a:gd name="T3" fmla="*/ 52 h 58"/>
                <a:gd name="T4" fmla="*/ 0 w 11"/>
                <a:gd name="T5" fmla="*/ 5 h 58"/>
                <a:gd name="T6" fmla="*/ 6 w 11"/>
                <a:gd name="T7" fmla="*/ 0 h 58"/>
                <a:gd name="T8" fmla="*/ 11 w 11"/>
                <a:gd name="T9" fmla="*/ 5 h 58"/>
                <a:gd name="T10" fmla="*/ 11 w 11"/>
                <a:gd name="T11" fmla="*/ 52 h 58"/>
                <a:gd name="T12" fmla="*/ 6 w 11"/>
                <a:gd name="T13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58">
                  <a:moveTo>
                    <a:pt x="6" y="58"/>
                  </a:moveTo>
                  <a:cubicBezTo>
                    <a:pt x="3" y="58"/>
                    <a:pt x="0" y="56"/>
                    <a:pt x="0" y="52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1" y="2"/>
                    <a:pt x="11" y="5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1" y="56"/>
                    <a:pt x="9" y="58"/>
                    <a:pt x="6" y="5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71" name="Freeform 1581">
              <a:extLst>
                <a:ext uri="{FF2B5EF4-FFF2-40B4-BE49-F238E27FC236}">
                  <a16:creationId xmlns:a16="http://schemas.microsoft.com/office/drawing/2014/main" id="{EB702C01-4696-9C98-3AB9-EEC4A3CE5FA6}"/>
                </a:ext>
              </a:extLst>
            </p:cNvPr>
            <p:cNvSpPr>
              <a:spLocks/>
            </p:cNvSpPr>
            <p:nvPr/>
          </p:nvSpPr>
          <p:spPr bwMode="auto">
            <a:xfrm>
              <a:off x="-1141407" y="2850541"/>
              <a:ext cx="12700" cy="60325"/>
            </a:xfrm>
            <a:custGeom>
              <a:avLst/>
              <a:gdLst>
                <a:gd name="T0" fmla="*/ 5 w 11"/>
                <a:gd name="T1" fmla="*/ 58 h 58"/>
                <a:gd name="T2" fmla="*/ 0 w 11"/>
                <a:gd name="T3" fmla="*/ 52 h 58"/>
                <a:gd name="T4" fmla="*/ 0 w 11"/>
                <a:gd name="T5" fmla="*/ 5 h 58"/>
                <a:gd name="T6" fmla="*/ 5 w 11"/>
                <a:gd name="T7" fmla="*/ 0 h 58"/>
                <a:gd name="T8" fmla="*/ 11 w 11"/>
                <a:gd name="T9" fmla="*/ 5 h 58"/>
                <a:gd name="T10" fmla="*/ 11 w 11"/>
                <a:gd name="T11" fmla="*/ 52 h 58"/>
                <a:gd name="T12" fmla="*/ 5 w 11"/>
                <a:gd name="T13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58">
                  <a:moveTo>
                    <a:pt x="5" y="58"/>
                  </a:moveTo>
                  <a:cubicBezTo>
                    <a:pt x="2" y="58"/>
                    <a:pt x="0" y="56"/>
                    <a:pt x="0" y="52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" y="0"/>
                    <a:pt x="11" y="2"/>
                    <a:pt x="11" y="5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1" y="56"/>
                    <a:pt x="8" y="58"/>
                    <a:pt x="5" y="5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72" name="Freeform 1582">
              <a:extLst>
                <a:ext uri="{FF2B5EF4-FFF2-40B4-BE49-F238E27FC236}">
                  <a16:creationId xmlns:a16="http://schemas.microsoft.com/office/drawing/2014/main" id="{0A21DC30-CD71-0D85-D33F-B42A972DB990}"/>
                </a:ext>
              </a:extLst>
            </p:cNvPr>
            <p:cNvSpPr>
              <a:spLocks/>
            </p:cNvSpPr>
            <p:nvPr/>
          </p:nvSpPr>
          <p:spPr bwMode="auto">
            <a:xfrm>
              <a:off x="-1179507" y="2899754"/>
              <a:ext cx="88900" cy="11113"/>
            </a:xfrm>
            <a:custGeom>
              <a:avLst/>
              <a:gdLst>
                <a:gd name="T0" fmla="*/ 81 w 86"/>
                <a:gd name="T1" fmla="*/ 11 h 11"/>
                <a:gd name="T2" fmla="*/ 6 w 86"/>
                <a:gd name="T3" fmla="*/ 11 h 11"/>
                <a:gd name="T4" fmla="*/ 0 w 86"/>
                <a:gd name="T5" fmla="*/ 5 h 11"/>
                <a:gd name="T6" fmla="*/ 6 w 86"/>
                <a:gd name="T7" fmla="*/ 0 h 11"/>
                <a:gd name="T8" fmla="*/ 81 w 86"/>
                <a:gd name="T9" fmla="*/ 0 h 11"/>
                <a:gd name="T10" fmla="*/ 86 w 86"/>
                <a:gd name="T11" fmla="*/ 5 h 11"/>
                <a:gd name="T12" fmla="*/ 81 w 86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6" h="11">
                  <a:moveTo>
                    <a:pt x="81" y="11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3" y="11"/>
                    <a:pt x="0" y="8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4" y="0"/>
                    <a:pt x="86" y="2"/>
                    <a:pt x="86" y="5"/>
                  </a:cubicBezTo>
                  <a:cubicBezTo>
                    <a:pt x="86" y="8"/>
                    <a:pt x="84" y="11"/>
                    <a:pt x="81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73" name="Freeform 1583">
              <a:extLst>
                <a:ext uri="{FF2B5EF4-FFF2-40B4-BE49-F238E27FC236}">
                  <a16:creationId xmlns:a16="http://schemas.microsoft.com/office/drawing/2014/main" id="{5323840E-4358-84A9-759E-FEA976D7BDEE}"/>
                </a:ext>
              </a:extLst>
            </p:cNvPr>
            <p:cNvSpPr>
              <a:spLocks/>
            </p:cNvSpPr>
            <p:nvPr/>
          </p:nvSpPr>
          <p:spPr bwMode="auto">
            <a:xfrm>
              <a:off x="-1393819" y="2899754"/>
              <a:ext cx="90488" cy="11113"/>
            </a:xfrm>
            <a:custGeom>
              <a:avLst/>
              <a:gdLst>
                <a:gd name="T0" fmla="*/ 80 w 86"/>
                <a:gd name="T1" fmla="*/ 11 h 11"/>
                <a:gd name="T2" fmla="*/ 5 w 86"/>
                <a:gd name="T3" fmla="*/ 11 h 11"/>
                <a:gd name="T4" fmla="*/ 0 w 86"/>
                <a:gd name="T5" fmla="*/ 5 h 11"/>
                <a:gd name="T6" fmla="*/ 5 w 86"/>
                <a:gd name="T7" fmla="*/ 0 h 11"/>
                <a:gd name="T8" fmla="*/ 80 w 86"/>
                <a:gd name="T9" fmla="*/ 0 h 11"/>
                <a:gd name="T10" fmla="*/ 86 w 86"/>
                <a:gd name="T11" fmla="*/ 5 h 11"/>
                <a:gd name="T12" fmla="*/ 80 w 86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6" h="11">
                  <a:moveTo>
                    <a:pt x="80" y="11"/>
                  </a:moveTo>
                  <a:cubicBezTo>
                    <a:pt x="5" y="11"/>
                    <a:pt x="5" y="11"/>
                    <a:pt x="5" y="11"/>
                  </a:cubicBezTo>
                  <a:cubicBezTo>
                    <a:pt x="2" y="11"/>
                    <a:pt x="0" y="8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83" y="0"/>
                    <a:pt x="86" y="2"/>
                    <a:pt x="86" y="5"/>
                  </a:cubicBezTo>
                  <a:cubicBezTo>
                    <a:pt x="86" y="8"/>
                    <a:pt x="83" y="11"/>
                    <a:pt x="80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74" name="Freeform 1584">
              <a:extLst>
                <a:ext uri="{FF2B5EF4-FFF2-40B4-BE49-F238E27FC236}">
                  <a16:creationId xmlns:a16="http://schemas.microsoft.com/office/drawing/2014/main" id="{68687379-C800-E065-6DFF-E9DCC2B04246}"/>
                </a:ext>
              </a:extLst>
            </p:cNvPr>
            <p:cNvSpPr>
              <a:spLocks/>
            </p:cNvSpPr>
            <p:nvPr/>
          </p:nvSpPr>
          <p:spPr bwMode="auto">
            <a:xfrm>
              <a:off x="-1271582" y="2669566"/>
              <a:ext cx="58738" cy="84138"/>
            </a:xfrm>
            <a:custGeom>
              <a:avLst/>
              <a:gdLst>
                <a:gd name="T0" fmla="*/ 28 w 57"/>
                <a:gd name="T1" fmla="*/ 81 h 81"/>
                <a:gd name="T2" fmla="*/ 2 w 57"/>
                <a:gd name="T3" fmla="*/ 68 h 81"/>
                <a:gd name="T4" fmla="*/ 3 w 57"/>
                <a:gd name="T5" fmla="*/ 61 h 81"/>
                <a:gd name="T6" fmla="*/ 11 w 57"/>
                <a:gd name="T7" fmla="*/ 62 h 81"/>
                <a:gd name="T8" fmla="*/ 39 w 57"/>
                <a:gd name="T9" fmla="*/ 68 h 81"/>
                <a:gd name="T10" fmla="*/ 39 w 57"/>
                <a:gd name="T11" fmla="*/ 68 h 81"/>
                <a:gd name="T12" fmla="*/ 45 w 57"/>
                <a:gd name="T13" fmla="*/ 58 h 81"/>
                <a:gd name="T14" fmla="*/ 36 w 57"/>
                <a:gd name="T15" fmla="*/ 47 h 81"/>
                <a:gd name="T16" fmla="*/ 18 w 57"/>
                <a:gd name="T17" fmla="*/ 42 h 81"/>
                <a:gd name="T18" fmla="*/ 2 w 57"/>
                <a:gd name="T19" fmla="*/ 21 h 81"/>
                <a:gd name="T20" fmla="*/ 8 w 57"/>
                <a:gd name="T21" fmla="*/ 7 h 81"/>
                <a:gd name="T22" fmla="*/ 29 w 57"/>
                <a:gd name="T23" fmla="*/ 1 h 81"/>
                <a:gd name="T24" fmla="*/ 56 w 57"/>
                <a:gd name="T25" fmla="*/ 19 h 81"/>
                <a:gd name="T26" fmla="*/ 52 w 57"/>
                <a:gd name="T27" fmla="*/ 26 h 81"/>
                <a:gd name="T28" fmla="*/ 45 w 57"/>
                <a:gd name="T29" fmla="*/ 22 h 81"/>
                <a:gd name="T30" fmla="*/ 29 w 57"/>
                <a:gd name="T31" fmla="*/ 12 h 81"/>
                <a:gd name="T32" fmla="*/ 15 w 57"/>
                <a:gd name="T33" fmla="*/ 15 h 81"/>
                <a:gd name="T34" fmla="*/ 13 w 57"/>
                <a:gd name="T35" fmla="*/ 21 h 81"/>
                <a:gd name="T36" fmla="*/ 21 w 57"/>
                <a:gd name="T37" fmla="*/ 31 h 81"/>
                <a:gd name="T38" fmla="*/ 39 w 57"/>
                <a:gd name="T39" fmla="*/ 37 h 81"/>
                <a:gd name="T40" fmla="*/ 56 w 57"/>
                <a:gd name="T41" fmla="*/ 57 h 81"/>
                <a:gd name="T42" fmla="*/ 44 w 57"/>
                <a:gd name="T43" fmla="*/ 78 h 81"/>
                <a:gd name="T44" fmla="*/ 28 w 57"/>
                <a:gd name="T45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7" h="81">
                  <a:moveTo>
                    <a:pt x="28" y="81"/>
                  </a:moveTo>
                  <a:cubicBezTo>
                    <a:pt x="20" y="81"/>
                    <a:pt x="10" y="78"/>
                    <a:pt x="2" y="68"/>
                  </a:cubicBezTo>
                  <a:cubicBezTo>
                    <a:pt x="0" y="66"/>
                    <a:pt x="1" y="63"/>
                    <a:pt x="3" y="61"/>
                  </a:cubicBezTo>
                  <a:cubicBezTo>
                    <a:pt x="6" y="59"/>
                    <a:pt x="9" y="59"/>
                    <a:pt x="11" y="62"/>
                  </a:cubicBezTo>
                  <a:cubicBezTo>
                    <a:pt x="22" y="76"/>
                    <a:pt x="37" y="69"/>
                    <a:pt x="39" y="68"/>
                  </a:cubicBezTo>
                  <a:cubicBezTo>
                    <a:pt x="39" y="68"/>
                    <a:pt x="39" y="68"/>
                    <a:pt x="39" y="68"/>
                  </a:cubicBezTo>
                  <a:cubicBezTo>
                    <a:pt x="40" y="67"/>
                    <a:pt x="45" y="65"/>
                    <a:pt x="45" y="58"/>
                  </a:cubicBezTo>
                  <a:cubicBezTo>
                    <a:pt x="44" y="49"/>
                    <a:pt x="36" y="47"/>
                    <a:pt x="36" y="47"/>
                  </a:cubicBezTo>
                  <a:cubicBezTo>
                    <a:pt x="36" y="47"/>
                    <a:pt x="27" y="44"/>
                    <a:pt x="18" y="42"/>
                  </a:cubicBezTo>
                  <a:cubicBezTo>
                    <a:pt x="4" y="38"/>
                    <a:pt x="2" y="28"/>
                    <a:pt x="2" y="21"/>
                  </a:cubicBezTo>
                  <a:cubicBezTo>
                    <a:pt x="2" y="15"/>
                    <a:pt x="4" y="10"/>
                    <a:pt x="8" y="7"/>
                  </a:cubicBezTo>
                  <a:cubicBezTo>
                    <a:pt x="13" y="3"/>
                    <a:pt x="20" y="0"/>
                    <a:pt x="29" y="1"/>
                  </a:cubicBezTo>
                  <a:cubicBezTo>
                    <a:pt x="46" y="1"/>
                    <a:pt x="54" y="13"/>
                    <a:pt x="56" y="19"/>
                  </a:cubicBezTo>
                  <a:cubicBezTo>
                    <a:pt x="56" y="22"/>
                    <a:pt x="55" y="25"/>
                    <a:pt x="52" y="26"/>
                  </a:cubicBezTo>
                  <a:cubicBezTo>
                    <a:pt x="49" y="26"/>
                    <a:pt x="46" y="25"/>
                    <a:pt x="45" y="22"/>
                  </a:cubicBezTo>
                  <a:cubicBezTo>
                    <a:pt x="45" y="21"/>
                    <a:pt x="41" y="12"/>
                    <a:pt x="29" y="12"/>
                  </a:cubicBezTo>
                  <a:cubicBezTo>
                    <a:pt x="23" y="11"/>
                    <a:pt x="18" y="13"/>
                    <a:pt x="15" y="15"/>
                  </a:cubicBezTo>
                  <a:cubicBezTo>
                    <a:pt x="14" y="17"/>
                    <a:pt x="13" y="19"/>
                    <a:pt x="13" y="21"/>
                  </a:cubicBezTo>
                  <a:cubicBezTo>
                    <a:pt x="13" y="25"/>
                    <a:pt x="14" y="29"/>
                    <a:pt x="21" y="31"/>
                  </a:cubicBezTo>
                  <a:cubicBezTo>
                    <a:pt x="30" y="34"/>
                    <a:pt x="39" y="37"/>
                    <a:pt x="39" y="37"/>
                  </a:cubicBezTo>
                  <a:cubicBezTo>
                    <a:pt x="40" y="37"/>
                    <a:pt x="54" y="41"/>
                    <a:pt x="56" y="57"/>
                  </a:cubicBezTo>
                  <a:cubicBezTo>
                    <a:pt x="57" y="69"/>
                    <a:pt x="48" y="76"/>
                    <a:pt x="44" y="78"/>
                  </a:cubicBezTo>
                  <a:cubicBezTo>
                    <a:pt x="40" y="80"/>
                    <a:pt x="34" y="81"/>
                    <a:pt x="28" y="8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75" name="Freeform 1585">
              <a:extLst>
                <a:ext uri="{FF2B5EF4-FFF2-40B4-BE49-F238E27FC236}">
                  <a16:creationId xmlns:a16="http://schemas.microsoft.com/office/drawing/2014/main" id="{A101DBBD-C620-C093-D689-10A3187C0F3B}"/>
                </a:ext>
              </a:extLst>
            </p:cNvPr>
            <p:cNvSpPr>
              <a:spLocks/>
            </p:cNvSpPr>
            <p:nvPr/>
          </p:nvSpPr>
          <p:spPr bwMode="auto">
            <a:xfrm>
              <a:off x="-1246182" y="2655279"/>
              <a:ext cx="11113" cy="26988"/>
            </a:xfrm>
            <a:custGeom>
              <a:avLst/>
              <a:gdLst>
                <a:gd name="T0" fmla="*/ 5 w 11"/>
                <a:gd name="T1" fmla="*/ 26 h 26"/>
                <a:gd name="T2" fmla="*/ 0 w 11"/>
                <a:gd name="T3" fmla="*/ 20 h 26"/>
                <a:gd name="T4" fmla="*/ 0 w 11"/>
                <a:gd name="T5" fmla="*/ 5 h 26"/>
                <a:gd name="T6" fmla="*/ 5 w 11"/>
                <a:gd name="T7" fmla="*/ 0 h 26"/>
                <a:gd name="T8" fmla="*/ 11 w 11"/>
                <a:gd name="T9" fmla="*/ 5 h 26"/>
                <a:gd name="T10" fmla="*/ 11 w 11"/>
                <a:gd name="T11" fmla="*/ 20 h 26"/>
                <a:gd name="T12" fmla="*/ 5 w 11"/>
                <a:gd name="T13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6">
                  <a:moveTo>
                    <a:pt x="5" y="26"/>
                  </a:moveTo>
                  <a:cubicBezTo>
                    <a:pt x="2" y="26"/>
                    <a:pt x="0" y="23"/>
                    <a:pt x="0" y="2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" y="0"/>
                    <a:pt x="11" y="2"/>
                    <a:pt x="11" y="5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3"/>
                    <a:pt x="8" y="26"/>
                    <a:pt x="5" y="2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76" name="Freeform 1586">
              <a:extLst>
                <a:ext uri="{FF2B5EF4-FFF2-40B4-BE49-F238E27FC236}">
                  <a16:creationId xmlns:a16="http://schemas.microsoft.com/office/drawing/2014/main" id="{227B0BC4-7D5D-40D8-D767-F85AB7392D19}"/>
                </a:ext>
              </a:extLst>
            </p:cNvPr>
            <p:cNvSpPr>
              <a:spLocks/>
            </p:cNvSpPr>
            <p:nvPr/>
          </p:nvSpPr>
          <p:spPr bwMode="auto">
            <a:xfrm>
              <a:off x="-1246182" y="2744179"/>
              <a:ext cx="11113" cy="26988"/>
            </a:xfrm>
            <a:custGeom>
              <a:avLst/>
              <a:gdLst>
                <a:gd name="T0" fmla="*/ 5 w 11"/>
                <a:gd name="T1" fmla="*/ 26 h 26"/>
                <a:gd name="T2" fmla="*/ 0 w 11"/>
                <a:gd name="T3" fmla="*/ 20 h 26"/>
                <a:gd name="T4" fmla="*/ 0 w 11"/>
                <a:gd name="T5" fmla="*/ 6 h 26"/>
                <a:gd name="T6" fmla="*/ 5 w 11"/>
                <a:gd name="T7" fmla="*/ 0 h 26"/>
                <a:gd name="T8" fmla="*/ 11 w 11"/>
                <a:gd name="T9" fmla="*/ 6 h 26"/>
                <a:gd name="T10" fmla="*/ 11 w 11"/>
                <a:gd name="T11" fmla="*/ 20 h 26"/>
                <a:gd name="T12" fmla="*/ 5 w 11"/>
                <a:gd name="T13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6">
                  <a:moveTo>
                    <a:pt x="5" y="26"/>
                  </a:moveTo>
                  <a:cubicBezTo>
                    <a:pt x="2" y="26"/>
                    <a:pt x="0" y="23"/>
                    <a:pt x="0" y="2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8" y="0"/>
                    <a:pt x="11" y="3"/>
                    <a:pt x="11" y="6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3"/>
                    <a:pt x="8" y="26"/>
                    <a:pt x="5" y="2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77" name="Freeform 1587">
              <a:extLst>
                <a:ext uri="{FF2B5EF4-FFF2-40B4-BE49-F238E27FC236}">
                  <a16:creationId xmlns:a16="http://schemas.microsoft.com/office/drawing/2014/main" id="{09702E37-A47A-E976-D088-7AB71BD93D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327143" y="2629881"/>
              <a:ext cx="171449" cy="169864"/>
            </a:xfrm>
            <a:custGeom>
              <a:avLst/>
              <a:gdLst>
                <a:gd name="T0" fmla="*/ 82 w 165"/>
                <a:gd name="T1" fmla="*/ 164 h 164"/>
                <a:gd name="T2" fmla="*/ 0 w 165"/>
                <a:gd name="T3" fmla="*/ 82 h 164"/>
                <a:gd name="T4" fmla="*/ 82 w 165"/>
                <a:gd name="T5" fmla="*/ 0 h 164"/>
                <a:gd name="T6" fmla="*/ 165 w 165"/>
                <a:gd name="T7" fmla="*/ 82 h 164"/>
                <a:gd name="T8" fmla="*/ 82 w 165"/>
                <a:gd name="T9" fmla="*/ 164 h 164"/>
                <a:gd name="T10" fmla="*/ 82 w 165"/>
                <a:gd name="T11" fmla="*/ 11 h 164"/>
                <a:gd name="T12" fmla="*/ 11 w 165"/>
                <a:gd name="T13" fmla="*/ 82 h 164"/>
                <a:gd name="T14" fmla="*/ 82 w 165"/>
                <a:gd name="T15" fmla="*/ 153 h 164"/>
                <a:gd name="T16" fmla="*/ 154 w 165"/>
                <a:gd name="T17" fmla="*/ 82 h 164"/>
                <a:gd name="T18" fmla="*/ 82 w 165"/>
                <a:gd name="T19" fmla="*/ 11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5" h="164">
                  <a:moveTo>
                    <a:pt x="82" y="164"/>
                  </a:moveTo>
                  <a:cubicBezTo>
                    <a:pt x="37" y="164"/>
                    <a:pt x="0" y="128"/>
                    <a:pt x="0" y="82"/>
                  </a:cubicBezTo>
                  <a:cubicBezTo>
                    <a:pt x="0" y="37"/>
                    <a:pt x="37" y="0"/>
                    <a:pt x="82" y="0"/>
                  </a:cubicBezTo>
                  <a:cubicBezTo>
                    <a:pt x="128" y="0"/>
                    <a:pt x="165" y="37"/>
                    <a:pt x="165" y="82"/>
                  </a:cubicBezTo>
                  <a:cubicBezTo>
                    <a:pt x="165" y="128"/>
                    <a:pt x="128" y="164"/>
                    <a:pt x="82" y="164"/>
                  </a:cubicBezTo>
                  <a:close/>
                  <a:moveTo>
                    <a:pt x="82" y="11"/>
                  </a:moveTo>
                  <a:cubicBezTo>
                    <a:pt x="43" y="11"/>
                    <a:pt x="11" y="43"/>
                    <a:pt x="11" y="82"/>
                  </a:cubicBezTo>
                  <a:cubicBezTo>
                    <a:pt x="11" y="122"/>
                    <a:pt x="43" y="153"/>
                    <a:pt x="82" y="153"/>
                  </a:cubicBezTo>
                  <a:cubicBezTo>
                    <a:pt x="122" y="153"/>
                    <a:pt x="154" y="122"/>
                    <a:pt x="154" y="82"/>
                  </a:cubicBezTo>
                  <a:cubicBezTo>
                    <a:pt x="154" y="43"/>
                    <a:pt x="122" y="11"/>
                    <a:pt x="82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78" name="Freeform 1588">
              <a:extLst>
                <a:ext uri="{FF2B5EF4-FFF2-40B4-BE49-F238E27FC236}">
                  <a16:creationId xmlns:a16="http://schemas.microsoft.com/office/drawing/2014/main" id="{1FF8B1DE-01B4-6BF6-667A-6A96516FF17D}"/>
                </a:ext>
              </a:extLst>
            </p:cNvPr>
            <p:cNvSpPr>
              <a:spLocks/>
            </p:cNvSpPr>
            <p:nvPr/>
          </p:nvSpPr>
          <p:spPr bwMode="auto">
            <a:xfrm>
              <a:off x="-1117595" y="2734657"/>
              <a:ext cx="252412" cy="176214"/>
            </a:xfrm>
            <a:custGeom>
              <a:avLst/>
              <a:gdLst>
                <a:gd name="T0" fmla="*/ 202 w 243"/>
                <a:gd name="T1" fmla="*/ 170 h 170"/>
                <a:gd name="T2" fmla="*/ 197 w 243"/>
                <a:gd name="T3" fmla="*/ 164 h 170"/>
                <a:gd name="T4" fmla="*/ 197 w 243"/>
                <a:gd name="T5" fmla="*/ 131 h 170"/>
                <a:gd name="T6" fmla="*/ 202 w 243"/>
                <a:gd name="T7" fmla="*/ 125 h 170"/>
                <a:gd name="T8" fmla="*/ 208 w 243"/>
                <a:gd name="T9" fmla="*/ 131 h 170"/>
                <a:gd name="T10" fmla="*/ 219 w 243"/>
                <a:gd name="T11" fmla="*/ 143 h 170"/>
                <a:gd name="T12" fmla="*/ 228 w 243"/>
                <a:gd name="T13" fmla="*/ 140 h 170"/>
                <a:gd name="T14" fmla="*/ 232 w 243"/>
                <a:gd name="T15" fmla="*/ 131 h 170"/>
                <a:gd name="T16" fmla="*/ 232 w 243"/>
                <a:gd name="T17" fmla="*/ 40 h 170"/>
                <a:gd name="T18" fmla="*/ 202 w 243"/>
                <a:gd name="T19" fmla="*/ 11 h 170"/>
                <a:gd name="T20" fmla="*/ 115 w 243"/>
                <a:gd name="T21" fmla="*/ 11 h 170"/>
                <a:gd name="T22" fmla="*/ 98 w 243"/>
                <a:gd name="T23" fmla="*/ 17 h 170"/>
                <a:gd name="T24" fmla="*/ 60 w 243"/>
                <a:gd name="T25" fmla="*/ 46 h 170"/>
                <a:gd name="T26" fmla="*/ 59 w 243"/>
                <a:gd name="T27" fmla="*/ 47 h 170"/>
                <a:gd name="T28" fmla="*/ 18 w 243"/>
                <a:gd name="T29" fmla="*/ 60 h 170"/>
                <a:gd name="T30" fmla="*/ 12 w 243"/>
                <a:gd name="T31" fmla="*/ 65 h 170"/>
                <a:gd name="T32" fmla="*/ 12 w 243"/>
                <a:gd name="T33" fmla="*/ 73 h 170"/>
                <a:gd name="T34" fmla="*/ 23 w 243"/>
                <a:gd name="T35" fmla="*/ 79 h 170"/>
                <a:gd name="T36" fmla="*/ 46 w 243"/>
                <a:gd name="T37" fmla="*/ 75 h 170"/>
                <a:gd name="T38" fmla="*/ 87 w 243"/>
                <a:gd name="T39" fmla="*/ 62 h 170"/>
                <a:gd name="T40" fmla="*/ 113 w 243"/>
                <a:gd name="T41" fmla="*/ 50 h 170"/>
                <a:gd name="T42" fmla="*/ 118 w 243"/>
                <a:gd name="T43" fmla="*/ 51 h 170"/>
                <a:gd name="T44" fmla="*/ 120 w 243"/>
                <a:gd name="T45" fmla="*/ 55 h 170"/>
                <a:gd name="T46" fmla="*/ 120 w 243"/>
                <a:gd name="T47" fmla="*/ 131 h 170"/>
                <a:gd name="T48" fmla="*/ 115 w 243"/>
                <a:gd name="T49" fmla="*/ 136 h 170"/>
                <a:gd name="T50" fmla="*/ 109 w 243"/>
                <a:gd name="T51" fmla="*/ 131 h 170"/>
                <a:gd name="T52" fmla="*/ 109 w 243"/>
                <a:gd name="T53" fmla="*/ 64 h 170"/>
                <a:gd name="T54" fmla="*/ 91 w 243"/>
                <a:gd name="T55" fmla="*/ 72 h 170"/>
                <a:gd name="T56" fmla="*/ 48 w 243"/>
                <a:gd name="T57" fmla="*/ 86 h 170"/>
                <a:gd name="T58" fmla="*/ 25 w 243"/>
                <a:gd name="T59" fmla="*/ 90 h 170"/>
                <a:gd name="T60" fmla="*/ 2 w 243"/>
                <a:gd name="T61" fmla="*/ 77 h 170"/>
                <a:gd name="T62" fmla="*/ 3 w 243"/>
                <a:gd name="T63" fmla="*/ 60 h 170"/>
                <a:gd name="T64" fmla="*/ 15 w 243"/>
                <a:gd name="T65" fmla="*/ 49 h 170"/>
                <a:gd name="T66" fmla="*/ 54 w 243"/>
                <a:gd name="T67" fmla="*/ 37 h 170"/>
                <a:gd name="T68" fmla="*/ 92 w 243"/>
                <a:gd name="T69" fmla="*/ 8 h 170"/>
                <a:gd name="T70" fmla="*/ 115 w 243"/>
                <a:gd name="T71" fmla="*/ 0 h 170"/>
                <a:gd name="T72" fmla="*/ 202 w 243"/>
                <a:gd name="T73" fmla="*/ 0 h 170"/>
                <a:gd name="T74" fmla="*/ 243 w 243"/>
                <a:gd name="T75" fmla="*/ 40 h 170"/>
                <a:gd name="T76" fmla="*/ 243 w 243"/>
                <a:gd name="T77" fmla="*/ 131 h 170"/>
                <a:gd name="T78" fmla="*/ 235 w 243"/>
                <a:gd name="T79" fmla="*/ 148 h 170"/>
                <a:gd name="T80" fmla="*/ 217 w 243"/>
                <a:gd name="T81" fmla="*/ 154 h 170"/>
                <a:gd name="T82" fmla="*/ 208 w 243"/>
                <a:gd name="T83" fmla="*/ 151 h 170"/>
                <a:gd name="T84" fmla="*/ 208 w 243"/>
                <a:gd name="T85" fmla="*/ 164 h 170"/>
                <a:gd name="T86" fmla="*/ 202 w 243"/>
                <a:gd name="T87" fmla="*/ 17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43" h="170">
                  <a:moveTo>
                    <a:pt x="202" y="170"/>
                  </a:moveTo>
                  <a:cubicBezTo>
                    <a:pt x="199" y="170"/>
                    <a:pt x="197" y="167"/>
                    <a:pt x="197" y="164"/>
                  </a:cubicBezTo>
                  <a:cubicBezTo>
                    <a:pt x="197" y="131"/>
                    <a:pt x="197" y="131"/>
                    <a:pt x="197" y="131"/>
                  </a:cubicBezTo>
                  <a:cubicBezTo>
                    <a:pt x="197" y="128"/>
                    <a:pt x="199" y="125"/>
                    <a:pt x="202" y="125"/>
                  </a:cubicBezTo>
                  <a:cubicBezTo>
                    <a:pt x="205" y="125"/>
                    <a:pt x="208" y="128"/>
                    <a:pt x="208" y="131"/>
                  </a:cubicBezTo>
                  <a:cubicBezTo>
                    <a:pt x="208" y="137"/>
                    <a:pt x="213" y="143"/>
                    <a:pt x="219" y="143"/>
                  </a:cubicBezTo>
                  <a:cubicBezTo>
                    <a:pt x="222" y="144"/>
                    <a:pt x="225" y="143"/>
                    <a:pt x="228" y="140"/>
                  </a:cubicBezTo>
                  <a:cubicBezTo>
                    <a:pt x="230" y="138"/>
                    <a:pt x="232" y="135"/>
                    <a:pt x="232" y="131"/>
                  </a:cubicBezTo>
                  <a:cubicBezTo>
                    <a:pt x="232" y="40"/>
                    <a:pt x="232" y="40"/>
                    <a:pt x="232" y="40"/>
                  </a:cubicBezTo>
                  <a:cubicBezTo>
                    <a:pt x="232" y="24"/>
                    <a:pt x="218" y="11"/>
                    <a:pt x="202" y="11"/>
                  </a:cubicBezTo>
                  <a:cubicBezTo>
                    <a:pt x="115" y="11"/>
                    <a:pt x="115" y="11"/>
                    <a:pt x="115" y="11"/>
                  </a:cubicBezTo>
                  <a:cubicBezTo>
                    <a:pt x="109" y="11"/>
                    <a:pt x="103" y="13"/>
                    <a:pt x="98" y="17"/>
                  </a:cubicBezTo>
                  <a:cubicBezTo>
                    <a:pt x="60" y="46"/>
                    <a:pt x="60" y="46"/>
                    <a:pt x="60" y="46"/>
                  </a:cubicBezTo>
                  <a:cubicBezTo>
                    <a:pt x="60" y="47"/>
                    <a:pt x="59" y="47"/>
                    <a:pt x="59" y="47"/>
                  </a:cubicBezTo>
                  <a:cubicBezTo>
                    <a:pt x="18" y="60"/>
                    <a:pt x="18" y="60"/>
                    <a:pt x="18" y="60"/>
                  </a:cubicBezTo>
                  <a:cubicBezTo>
                    <a:pt x="16" y="61"/>
                    <a:pt x="14" y="63"/>
                    <a:pt x="12" y="65"/>
                  </a:cubicBezTo>
                  <a:cubicBezTo>
                    <a:pt x="11" y="68"/>
                    <a:pt x="11" y="70"/>
                    <a:pt x="12" y="73"/>
                  </a:cubicBezTo>
                  <a:cubicBezTo>
                    <a:pt x="14" y="78"/>
                    <a:pt x="19" y="80"/>
                    <a:pt x="23" y="79"/>
                  </a:cubicBezTo>
                  <a:cubicBezTo>
                    <a:pt x="46" y="75"/>
                    <a:pt x="46" y="75"/>
                    <a:pt x="46" y="75"/>
                  </a:cubicBezTo>
                  <a:cubicBezTo>
                    <a:pt x="60" y="72"/>
                    <a:pt x="74" y="68"/>
                    <a:pt x="87" y="62"/>
                  </a:cubicBezTo>
                  <a:cubicBezTo>
                    <a:pt x="113" y="50"/>
                    <a:pt x="113" y="50"/>
                    <a:pt x="113" y="50"/>
                  </a:cubicBezTo>
                  <a:cubicBezTo>
                    <a:pt x="114" y="49"/>
                    <a:pt x="116" y="50"/>
                    <a:pt x="118" y="51"/>
                  </a:cubicBezTo>
                  <a:cubicBezTo>
                    <a:pt x="119" y="52"/>
                    <a:pt x="120" y="53"/>
                    <a:pt x="120" y="55"/>
                  </a:cubicBezTo>
                  <a:cubicBezTo>
                    <a:pt x="120" y="131"/>
                    <a:pt x="120" y="131"/>
                    <a:pt x="120" y="131"/>
                  </a:cubicBezTo>
                  <a:cubicBezTo>
                    <a:pt x="120" y="134"/>
                    <a:pt x="118" y="136"/>
                    <a:pt x="115" y="136"/>
                  </a:cubicBezTo>
                  <a:cubicBezTo>
                    <a:pt x="112" y="136"/>
                    <a:pt x="109" y="134"/>
                    <a:pt x="109" y="131"/>
                  </a:cubicBezTo>
                  <a:cubicBezTo>
                    <a:pt x="109" y="64"/>
                    <a:pt x="109" y="64"/>
                    <a:pt x="109" y="64"/>
                  </a:cubicBezTo>
                  <a:cubicBezTo>
                    <a:pt x="91" y="72"/>
                    <a:pt x="91" y="72"/>
                    <a:pt x="91" y="72"/>
                  </a:cubicBezTo>
                  <a:cubicBezTo>
                    <a:pt x="78" y="78"/>
                    <a:pt x="63" y="83"/>
                    <a:pt x="48" y="86"/>
                  </a:cubicBezTo>
                  <a:cubicBezTo>
                    <a:pt x="25" y="90"/>
                    <a:pt x="25" y="90"/>
                    <a:pt x="25" y="90"/>
                  </a:cubicBezTo>
                  <a:cubicBezTo>
                    <a:pt x="15" y="92"/>
                    <a:pt x="5" y="87"/>
                    <a:pt x="2" y="77"/>
                  </a:cubicBezTo>
                  <a:cubicBezTo>
                    <a:pt x="0" y="71"/>
                    <a:pt x="0" y="66"/>
                    <a:pt x="3" y="60"/>
                  </a:cubicBezTo>
                  <a:cubicBezTo>
                    <a:pt x="5" y="55"/>
                    <a:pt x="10" y="51"/>
                    <a:pt x="15" y="49"/>
                  </a:cubicBezTo>
                  <a:cubicBezTo>
                    <a:pt x="54" y="37"/>
                    <a:pt x="54" y="37"/>
                    <a:pt x="54" y="37"/>
                  </a:cubicBezTo>
                  <a:cubicBezTo>
                    <a:pt x="92" y="8"/>
                    <a:pt x="92" y="8"/>
                    <a:pt x="92" y="8"/>
                  </a:cubicBezTo>
                  <a:cubicBezTo>
                    <a:pt x="99" y="3"/>
                    <a:pt x="107" y="0"/>
                    <a:pt x="115" y="0"/>
                  </a:cubicBezTo>
                  <a:cubicBezTo>
                    <a:pt x="202" y="0"/>
                    <a:pt x="202" y="0"/>
                    <a:pt x="202" y="0"/>
                  </a:cubicBezTo>
                  <a:cubicBezTo>
                    <a:pt x="225" y="0"/>
                    <a:pt x="243" y="18"/>
                    <a:pt x="243" y="40"/>
                  </a:cubicBezTo>
                  <a:cubicBezTo>
                    <a:pt x="243" y="131"/>
                    <a:pt x="243" y="131"/>
                    <a:pt x="243" y="131"/>
                  </a:cubicBezTo>
                  <a:cubicBezTo>
                    <a:pt x="243" y="138"/>
                    <a:pt x="240" y="144"/>
                    <a:pt x="235" y="148"/>
                  </a:cubicBezTo>
                  <a:cubicBezTo>
                    <a:pt x="230" y="153"/>
                    <a:pt x="224" y="155"/>
                    <a:pt x="217" y="154"/>
                  </a:cubicBezTo>
                  <a:cubicBezTo>
                    <a:pt x="214" y="154"/>
                    <a:pt x="211" y="153"/>
                    <a:pt x="208" y="151"/>
                  </a:cubicBezTo>
                  <a:cubicBezTo>
                    <a:pt x="208" y="164"/>
                    <a:pt x="208" y="164"/>
                    <a:pt x="208" y="164"/>
                  </a:cubicBezTo>
                  <a:cubicBezTo>
                    <a:pt x="208" y="167"/>
                    <a:pt x="205" y="170"/>
                    <a:pt x="202" y="17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79" name="Freeform 1589">
              <a:extLst>
                <a:ext uri="{FF2B5EF4-FFF2-40B4-BE49-F238E27FC236}">
                  <a16:creationId xmlns:a16="http://schemas.microsoft.com/office/drawing/2014/main" id="{108F6D92-6D33-0986-EAF1-CA420C887E50}"/>
                </a:ext>
              </a:extLst>
            </p:cNvPr>
            <p:cNvSpPr>
              <a:spLocks/>
            </p:cNvSpPr>
            <p:nvPr/>
          </p:nvSpPr>
          <p:spPr bwMode="auto">
            <a:xfrm>
              <a:off x="-1003296" y="2864835"/>
              <a:ext cx="11113" cy="46038"/>
            </a:xfrm>
            <a:custGeom>
              <a:avLst/>
              <a:gdLst>
                <a:gd name="T0" fmla="*/ 6 w 11"/>
                <a:gd name="T1" fmla="*/ 45 h 45"/>
                <a:gd name="T2" fmla="*/ 0 w 11"/>
                <a:gd name="T3" fmla="*/ 39 h 45"/>
                <a:gd name="T4" fmla="*/ 0 w 11"/>
                <a:gd name="T5" fmla="*/ 6 h 45"/>
                <a:gd name="T6" fmla="*/ 6 w 11"/>
                <a:gd name="T7" fmla="*/ 0 h 45"/>
                <a:gd name="T8" fmla="*/ 11 w 11"/>
                <a:gd name="T9" fmla="*/ 6 h 45"/>
                <a:gd name="T10" fmla="*/ 11 w 11"/>
                <a:gd name="T11" fmla="*/ 39 h 45"/>
                <a:gd name="T12" fmla="*/ 6 w 11"/>
                <a:gd name="T13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45">
                  <a:moveTo>
                    <a:pt x="6" y="45"/>
                  </a:moveTo>
                  <a:cubicBezTo>
                    <a:pt x="3" y="45"/>
                    <a:pt x="0" y="42"/>
                    <a:pt x="0" y="39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1" y="3"/>
                    <a:pt x="11" y="6"/>
                  </a:cubicBezTo>
                  <a:cubicBezTo>
                    <a:pt x="11" y="39"/>
                    <a:pt x="11" y="39"/>
                    <a:pt x="11" y="39"/>
                  </a:cubicBezTo>
                  <a:cubicBezTo>
                    <a:pt x="11" y="42"/>
                    <a:pt x="9" y="45"/>
                    <a:pt x="6" y="4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80" name="Freeform 1590">
              <a:extLst>
                <a:ext uri="{FF2B5EF4-FFF2-40B4-BE49-F238E27FC236}">
                  <a16:creationId xmlns:a16="http://schemas.microsoft.com/office/drawing/2014/main" id="{E2FD17FC-22B3-90EC-6E31-4AA36D5475AD}"/>
                </a:ext>
              </a:extLst>
            </p:cNvPr>
            <p:cNvSpPr>
              <a:spLocks/>
            </p:cNvSpPr>
            <p:nvPr/>
          </p:nvSpPr>
          <p:spPr bwMode="auto">
            <a:xfrm>
              <a:off x="-1003296" y="2734659"/>
              <a:ext cx="101600" cy="11113"/>
            </a:xfrm>
            <a:custGeom>
              <a:avLst/>
              <a:gdLst>
                <a:gd name="T0" fmla="*/ 93 w 99"/>
                <a:gd name="T1" fmla="*/ 11 h 11"/>
                <a:gd name="T2" fmla="*/ 6 w 99"/>
                <a:gd name="T3" fmla="*/ 11 h 11"/>
                <a:gd name="T4" fmla="*/ 0 w 99"/>
                <a:gd name="T5" fmla="*/ 5 h 11"/>
                <a:gd name="T6" fmla="*/ 6 w 99"/>
                <a:gd name="T7" fmla="*/ 0 h 11"/>
                <a:gd name="T8" fmla="*/ 93 w 99"/>
                <a:gd name="T9" fmla="*/ 0 h 11"/>
                <a:gd name="T10" fmla="*/ 99 w 99"/>
                <a:gd name="T11" fmla="*/ 5 h 11"/>
                <a:gd name="T12" fmla="*/ 93 w 99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9" h="11">
                  <a:moveTo>
                    <a:pt x="93" y="11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3" y="11"/>
                    <a:pt x="0" y="8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96" y="0"/>
                    <a:pt x="99" y="2"/>
                    <a:pt x="99" y="5"/>
                  </a:cubicBezTo>
                  <a:cubicBezTo>
                    <a:pt x="99" y="8"/>
                    <a:pt x="96" y="11"/>
                    <a:pt x="9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81" name="Freeform 1591">
              <a:extLst>
                <a:ext uri="{FF2B5EF4-FFF2-40B4-BE49-F238E27FC236}">
                  <a16:creationId xmlns:a16="http://schemas.microsoft.com/office/drawing/2014/main" id="{ADDAE79B-6356-410F-4356-5B4A757DD076}"/>
                </a:ext>
              </a:extLst>
            </p:cNvPr>
            <p:cNvSpPr>
              <a:spLocks/>
            </p:cNvSpPr>
            <p:nvPr/>
          </p:nvSpPr>
          <p:spPr bwMode="auto">
            <a:xfrm>
              <a:off x="-912808" y="2787045"/>
              <a:ext cx="11113" cy="88900"/>
            </a:xfrm>
            <a:custGeom>
              <a:avLst/>
              <a:gdLst>
                <a:gd name="T0" fmla="*/ 5 w 11"/>
                <a:gd name="T1" fmla="*/ 86 h 86"/>
                <a:gd name="T2" fmla="*/ 0 w 11"/>
                <a:gd name="T3" fmla="*/ 81 h 86"/>
                <a:gd name="T4" fmla="*/ 0 w 11"/>
                <a:gd name="T5" fmla="*/ 5 h 86"/>
                <a:gd name="T6" fmla="*/ 5 w 11"/>
                <a:gd name="T7" fmla="*/ 0 h 86"/>
                <a:gd name="T8" fmla="*/ 11 w 11"/>
                <a:gd name="T9" fmla="*/ 5 h 86"/>
                <a:gd name="T10" fmla="*/ 11 w 11"/>
                <a:gd name="T11" fmla="*/ 81 h 86"/>
                <a:gd name="T12" fmla="*/ 5 w 11"/>
                <a:gd name="T13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86">
                  <a:moveTo>
                    <a:pt x="5" y="86"/>
                  </a:moveTo>
                  <a:cubicBezTo>
                    <a:pt x="2" y="86"/>
                    <a:pt x="0" y="84"/>
                    <a:pt x="0" y="81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" y="0"/>
                    <a:pt x="11" y="2"/>
                    <a:pt x="11" y="5"/>
                  </a:cubicBezTo>
                  <a:cubicBezTo>
                    <a:pt x="11" y="81"/>
                    <a:pt x="11" y="81"/>
                    <a:pt x="11" y="81"/>
                  </a:cubicBezTo>
                  <a:cubicBezTo>
                    <a:pt x="11" y="84"/>
                    <a:pt x="8" y="86"/>
                    <a:pt x="5" y="8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82" name="Freeform 1592">
              <a:extLst>
                <a:ext uri="{FF2B5EF4-FFF2-40B4-BE49-F238E27FC236}">
                  <a16:creationId xmlns:a16="http://schemas.microsoft.com/office/drawing/2014/main" id="{6B910671-1BEE-C1CC-E630-AE6896FFF2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989009" y="2648938"/>
              <a:ext cx="73025" cy="73026"/>
            </a:xfrm>
            <a:custGeom>
              <a:avLst/>
              <a:gdLst>
                <a:gd name="T0" fmla="*/ 35 w 69"/>
                <a:gd name="T1" fmla="*/ 70 h 70"/>
                <a:gd name="T2" fmla="*/ 0 w 69"/>
                <a:gd name="T3" fmla="*/ 35 h 70"/>
                <a:gd name="T4" fmla="*/ 35 w 69"/>
                <a:gd name="T5" fmla="*/ 0 h 70"/>
                <a:gd name="T6" fmla="*/ 69 w 69"/>
                <a:gd name="T7" fmla="*/ 35 h 70"/>
                <a:gd name="T8" fmla="*/ 35 w 69"/>
                <a:gd name="T9" fmla="*/ 70 h 70"/>
                <a:gd name="T10" fmla="*/ 35 w 69"/>
                <a:gd name="T11" fmla="*/ 11 h 70"/>
                <a:gd name="T12" fmla="*/ 11 w 69"/>
                <a:gd name="T13" fmla="*/ 35 h 70"/>
                <a:gd name="T14" fmla="*/ 35 w 69"/>
                <a:gd name="T15" fmla="*/ 59 h 70"/>
                <a:gd name="T16" fmla="*/ 58 w 69"/>
                <a:gd name="T17" fmla="*/ 35 h 70"/>
                <a:gd name="T18" fmla="*/ 35 w 69"/>
                <a:gd name="T19" fmla="*/ 11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" h="70">
                  <a:moveTo>
                    <a:pt x="35" y="70"/>
                  </a:moveTo>
                  <a:cubicBezTo>
                    <a:pt x="15" y="70"/>
                    <a:pt x="0" y="54"/>
                    <a:pt x="0" y="35"/>
                  </a:cubicBezTo>
                  <a:cubicBezTo>
                    <a:pt x="0" y="16"/>
                    <a:pt x="15" y="0"/>
                    <a:pt x="35" y="0"/>
                  </a:cubicBezTo>
                  <a:cubicBezTo>
                    <a:pt x="54" y="0"/>
                    <a:pt x="69" y="16"/>
                    <a:pt x="69" y="35"/>
                  </a:cubicBezTo>
                  <a:cubicBezTo>
                    <a:pt x="69" y="54"/>
                    <a:pt x="54" y="70"/>
                    <a:pt x="35" y="70"/>
                  </a:cubicBezTo>
                  <a:close/>
                  <a:moveTo>
                    <a:pt x="35" y="11"/>
                  </a:moveTo>
                  <a:cubicBezTo>
                    <a:pt x="21" y="11"/>
                    <a:pt x="11" y="22"/>
                    <a:pt x="11" y="35"/>
                  </a:cubicBezTo>
                  <a:cubicBezTo>
                    <a:pt x="11" y="48"/>
                    <a:pt x="21" y="59"/>
                    <a:pt x="35" y="59"/>
                  </a:cubicBezTo>
                  <a:cubicBezTo>
                    <a:pt x="48" y="59"/>
                    <a:pt x="58" y="48"/>
                    <a:pt x="58" y="35"/>
                  </a:cubicBezTo>
                  <a:cubicBezTo>
                    <a:pt x="58" y="22"/>
                    <a:pt x="48" y="11"/>
                    <a:pt x="35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83" name="Freeform 1593">
              <a:extLst>
                <a:ext uri="{FF2B5EF4-FFF2-40B4-BE49-F238E27FC236}">
                  <a16:creationId xmlns:a16="http://schemas.microsoft.com/office/drawing/2014/main" id="{683813A9-8366-9D5C-D875-E880FC4D3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-1165225" y="2761630"/>
              <a:ext cx="63500" cy="42863"/>
            </a:xfrm>
            <a:custGeom>
              <a:avLst/>
              <a:gdLst>
                <a:gd name="T0" fmla="*/ 54 w 60"/>
                <a:gd name="T1" fmla="*/ 41 h 41"/>
                <a:gd name="T2" fmla="*/ 51 w 60"/>
                <a:gd name="T3" fmla="*/ 40 h 41"/>
                <a:gd name="T4" fmla="*/ 3 w 60"/>
                <a:gd name="T5" fmla="*/ 11 h 41"/>
                <a:gd name="T6" fmla="*/ 1 w 60"/>
                <a:gd name="T7" fmla="*/ 4 h 41"/>
                <a:gd name="T8" fmla="*/ 9 w 60"/>
                <a:gd name="T9" fmla="*/ 2 h 41"/>
                <a:gd name="T10" fmla="*/ 57 w 60"/>
                <a:gd name="T11" fmla="*/ 31 h 41"/>
                <a:gd name="T12" fmla="*/ 59 w 60"/>
                <a:gd name="T13" fmla="*/ 38 h 41"/>
                <a:gd name="T14" fmla="*/ 54 w 60"/>
                <a:gd name="T15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0" h="41">
                  <a:moveTo>
                    <a:pt x="54" y="41"/>
                  </a:moveTo>
                  <a:cubicBezTo>
                    <a:pt x="53" y="41"/>
                    <a:pt x="52" y="41"/>
                    <a:pt x="51" y="40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1" y="10"/>
                    <a:pt x="0" y="7"/>
                    <a:pt x="1" y="4"/>
                  </a:cubicBezTo>
                  <a:cubicBezTo>
                    <a:pt x="3" y="1"/>
                    <a:pt x="6" y="0"/>
                    <a:pt x="9" y="2"/>
                  </a:cubicBezTo>
                  <a:cubicBezTo>
                    <a:pt x="57" y="31"/>
                    <a:pt x="57" y="31"/>
                    <a:pt x="57" y="31"/>
                  </a:cubicBezTo>
                  <a:cubicBezTo>
                    <a:pt x="60" y="32"/>
                    <a:pt x="60" y="36"/>
                    <a:pt x="59" y="38"/>
                  </a:cubicBezTo>
                  <a:cubicBezTo>
                    <a:pt x="58" y="40"/>
                    <a:pt x="56" y="41"/>
                    <a:pt x="54" y="4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84" name="Shape69_20200717_142846">
            <a:extLst>
              <a:ext uri="{FF2B5EF4-FFF2-40B4-BE49-F238E27FC236}">
                <a16:creationId xmlns:a16="http://schemas.microsoft.com/office/drawing/2014/main" id="{3DABC642-9B1E-A84D-5BAF-1767DD2ABBFA}"/>
              </a:ext>
            </a:extLst>
          </p:cNvPr>
          <p:cNvGrpSpPr>
            <a:grpSpLocks noChangeAspect="1"/>
          </p:cNvGrpSpPr>
          <p:nvPr/>
        </p:nvGrpSpPr>
        <p:grpSpPr>
          <a:xfrm>
            <a:off x="9704418" y="5193135"/>
            <a:ext cx="616502" cy="494162"/>
            <a:chOff x="109537" y="2911485"/>
            <a:chExt cx="407988" cy="327027"/>
          </a:xfrm>
          <a:solidFill>
            <a:schemeClr val="accent1"/>
          </a:solidFill>
        </p:grpSpPr>
        <p:sp>
          <p:nvSpPr>
            <p:cNvPr id="385" name="Freeform 540">
              <a:extLst>
                <a:ext uri="{FF2B5EF4-FFF2-40B4-BE49-F238E27FC236}">
                  <a16:creationId xmlns:a16="http://schemas.microsoft.com/office/drawing/2014/main" id="{21DC72C2-4454-4B3D-756A-13E65D29F3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9537" y="2911485"/>
              <a:ext cx="407988" cy="277814"/>
            </a:xfrm>
            <a:custGeom>
              <a:avLst/>
              <a:gdLst>
                <a:gd name="T0" fmla="*/ 164 w 181"/>
                <a:gd name="T1" fmla="*/ 123 h 123"/>
                <a:gd name="T2" fmla="*/ 17 w 181"/>
                <a:gd name="T3" fmla="*/ 123 h 123"/>
                <a:gd name="T4" fmla="*/ 0 w 181"/>
                <a:gd name="T5" fmla="*/ 106 h 123"/>
                <a:gd name="T6" fmla="*/ 0 w 181"/>
                <a:gd name="T7" fmla="*/ 17 h 123"/>
                <a:gd name="T8" fmla="*/ 17 w 181"/>
                <a:gd name="T9" fmla="*/ 0 h 123"/>
                <a:gd name="T10" fmla="*/ 164 w 181"/>
                <a:gd name="T11" fmla="*/ 0 h 123"/>
                <a:gd name="T12" fmla="*/ 181 w 181"/>
                <a:gd name="T13" fmla="*/ 17 h 123"/>
                <a:gd name="T14" fmla="*/ 181 w 181"/>
                <a:gd name="T15" fmla="*/ 106 h 123"/>
                <a:gd name="T16" fmla="*/ 164 w 181"/>
                <a:gd name="T17" fmla="*/ 123 h 123"/>
                <a:gd name="T18" fmla="*/ 17 w 181"/>
                <a:gd name="T19" fmla="*/ 5 h 123"/>
                <a:gd name="T20" fmla="*/ 5 w 181"/>
                <a:gd name="T21" fmla="*/ 17 h 123"/>
                <a:gd name="T22" fmla="*/ 5 w 181"/>
                <a:gd name="T23" fmla="*/ 106 h 123"/>
                <a:gd name="T24" fmla="*/ 17 w 181"/>
                <a:gd name="T25" fmla="*/ 118 h 123"/>
                <a:gd name="T26" fmla="*/ 164 w 181"/>
                <a:gd name="T27" fmla="*/ 118 h 123"/>
                <a:gd name="T28" fmla="*/ 176 w 181"/>
                <a:gd name="T29" fmla="*/ 106 h 123"/>
                <a:gd name="T30" fmla="*/ 176 w 181"/>
                <a:gd name="T31" fmla="*/ 17 h 123"/>
                <a:gd name="T32" fmla="*/ 164 w 181"/>
                <a:gd name="T33" fmla="*/ 5 h 123"/>
                <a:gd name="T34" fmla="*/ 17 w 181"/>
                <a:gd name="T35" fmla="*/ 5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1" h="123">
                  <a:moveTo>
                    <a:pt x="164" y="123"/>
                  </a:moveTo>
                  <a:cubicBezTo>
                    <a:pt x="17" y="123"/>
                    <a:pt x="17" y="123"/>
                    <a:pt x="17" y="123"/>
                  </a:cubicBezTo>
                  <a:cubicBezTo>
                    <a:pt x="7" y="123"/>
                    <a:pt x="0" y="115"/>
                    <a:pt x="0" y="10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7" y="0"/>
                    <a:pt x="17" y="0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173" y="0"/>
                    <a:pt x="181" y="8"/>
                    <a:pt x="181" y="17"/>
                  </a:cubicBezTo>
                  <a:cubicBezTo>
                    <a:pt x="181" y="106"/>
                    <a:pt x="181" y="106"/>
                    <a:pt x="181" y="106"/>
                  </a:cubicBezTo>
                  <a:cubicBezTo>
                    <a:pt x="181" y="115"/>
                    <a:pt x="173" y="123"/>
                    <a:pt x="164" y="123"/>
                  </a:cubicBezTo>
                  <a:close/>
                  <a:moveTo>
                    <a:pt x="17" y="5"/>
                  </a:moveTo>
                  <a:cubicBezTo>
                    <a:pt x="10" y="5"/>
                    <a:pt x="5" y="10"/>
                    <a:pt x="5" y="17"/>
                  </a:cubicBezTo>
                  <a:cubicBezTo>
                    <a:pt x="5" y="106"/>
                    <a:pt x="5" y="106"/>
                    <a:pt x="5" y="106"/>
                  </a:cubicBezTo>
                  <a:cubicBezTo>
                    <a:pt x="5" y="112"/>
                    <a:pt x="10" y="118"/>
                    <a:pt x="17" y="118"/>
                  </a:cubicBezTo>
                  <a:cubicBezTo>
                    <a:pt x="164" y="118"/>
                    <a:pt x="164" y="118"/>
                    <a:pt x="164" y="118"/>
                  </a:cubicBezTo>
                  <a:cubicBezTo>
                    <a:pt x="171" y="118"/>
                    <a:pt x="176" y="112"/>
                    <a:pt x="176" y="106"/>
                  </a:cubicBezTo>
                  <a:cubicBezTo>
                    <a:pt x="176" y="17"/>
                    <a:pt x="176" y="17"/>
                    <a:pt x="176" y="17"/>
                  </a:cubicBezTo>
                  <a:cubicBezTo>
                    <a:pt x="176" y="10"/>
                    <a:pt x="171" y="5"/>
                    <a:pt x="164" y="5"/>
                  </a:cubicBezTo>
                  <a:lnTo>
                    <a:pt x="17" y="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86" name="Freeform 541">
              <a:extLst>
                <a:ext uri="{FF2B5EF4-FFF2-40B4-BE49-F238E27FC236}">
                  <a16:creationId xmlns:a16="http://schemas.microsoft.com/office/drawing/2014/main" id="{9D03642B-8E38-6EDB-705A-D8A15A35329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0512" y="3178186"/>
              <a:ext cx="47625" cy="60325"/>
            </a:xfrm>
            <a:custGeom>
              <a:avLst/>
              <a:gdLst>
                <a:gd name="T0" fmla="*/ 19 w 21"/>
                <a:gd name="T1" fmla="*/ 27 h 27"/>
                <a:gd name="T2" fmla="*/ 2 w 21"/>
                <a:gd name="T3" fmla="*/ 27 h 27"/>
                <a:gd name="T4" fmla="*/ 0 w 21"/>
                <a:gd name="T5" fmla="*/ 24 h 27"/>
                <a:gd name="T6" fmla="*/ 0 w 21"/>
                <a:gd name="T7" fmla="*/ 2 h 27"/>
                <a:gd name="T8" fmla="*/ 2 w 21"/>
                <a:gd name="T9" fmla="*/ 0 h 27"/>
                <a:gd name="T10" fmla="*/ 19 w 21"/>
                <a:gd name="T11" fmla="*/ 0 h 27"/>
                <a:gd name="T12" fmla="*/ 21 w 21"/>
                <a:gd name="T13" fmla="*/ 2 h 27"/>
                <a:gd name="T14" fmla="*/ 21 w 21"/>
                <a:gd name="T15" fmla="*/ 24 h 27"/>
                <a:gd name="T16" fmla="*/ 19 w 21"/>
                <a:gd name="T17" fmla="*/ 27 h 27"/>
                <a:gd name="T18" fmla="*/ 4 w 21"/>
                <a:gd name="T19" fmla="*/ 22 h 27"/>
                <a:gd name="T20" fmla="*/ 16 w 21"/>
                <a:gd name="T21" fmla="*/ 22 h 27"/>
                <a:gd name="T22" fmla="*/ 16 w 21"/>
                <a:gd name="T23" fmla="*/ 5 h 27"/>
                <a:gd name="T24" fmla="*/ 4 w 21"/>
                <a:gd name="T25" fmla="*/ 5 h 27"/>
                <a:gd name="T26" fmla="*/ 4 w 21"/>
                <a:gd name="T27" fmla="*/ 22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" h="27">
                  <a:moveTo>
                    <a:pt x="19" y="27"/>
                  </a:moveTo>
                  <a:cubicBezTo>
                    <a:pt x="2" y="27"/>
                    <a:pt x="2" y="27"/>
                    <a:pt x="2" y="27"/>
                  </a:cubicBezTo>
                  <a:cubicBezTo>
                    <a:pt x="1" y="27"/>
                    <a:pt x="0" y="26"/>
                    <a:pt x="0" y="2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0" y="0"/>
                    <a:pt x="21" y="1"/>
                    <a:pt x="21" y="2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6"/>
                    <a:pt x="20" y="27"/>
                    <a:pt x="19" y="27"/>
                  </a:cubicBezTo>
                  <a:close/>
                  <a:moveTo>
                    <a:pt x="4" y="22"/>
                  </a:moveTo>
                  <a:cubicBezTo>
                    <a:pt x="16" y="22"/>
                    <a:pt x="16" y="22"/>
                    <a:pt x="16" y="22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4" y="5"/>
                    <a:pt x="4" y="5"/>
                    <a:pt x="4" y="5"/>
                  </a:cubicBezTo>
                  <a:lnTo>
                    <a:pt x="4" y="2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87" name="Freeform 542">
              <a:extLst>
                <a:ext uri="{FF2B5EF4-FFF2-40B4-BE49-F238E27FC236}">
                  <a16:creationId xmlns:a16="http://schemas.microsoft.com/office/drawing/2014/main" id="{B4CBEEAB-3FE0-364D-6C08-51B3FEB4AFC8}"/>
                </a:ext>
              </a:extLst>
            </p:cNvPr>
            <p:cNvSpPr>
              <a:spLocks/>
            </p:cNvSpPr>
            <p:nvPr/>
          </p:nvSpPr>
          <p:spPr bwMode="auto">
            <a:xfrm>
              <a:off x="241300" y="3227399"/>
              <a:ext cx="146050" cy="11113"/>
            </a:xfrm>
            <a:custGeom>
              <a:avLst/>
              <a:gdLst>
                <a:gd name="T0" fmla="*/ 62 w 65"/>
                <a:gd name="T1" fmla="*/ 5 h 5"/>
                <a:gd name="T2" fmla="*/ 3 w 65"/>
                <a:gd name="T3" fmla="*/ 5 h 5"/>
                <a:gd name="T4" fmla="*/ 0 w 65"/>
                <a:gd name="T5" fmla="*/ 2 h 5"/>
                <a:gd name="T6" fmla="*/ 3 w 65"/>
                <a:gd name="T7" fmla="*/ 0 h 5"/>
                <a:gd name="T8" fmla="*/ 62 w 65"/>
                <a:gd name="T9" fmla="*/ 0 h 5"/>
                <a:gd name="T10" fmla="*/ 65 w 65"/>
                <a:gd name="T11" fmla="*/ 2 h 5"/>
                <a:gd name="T12" fmla="*/ 62 w 65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5" h="5">
                  <a:moveTo>
                    <a:pt x="62" y="5"/>
                  </a:moveTo>
                  <a:cubicBezTo>
                    <a:pt x="3" y="5"/>
                    <a:pt x="3" y="5"/>
                    <a:pt x="3" y="5"/>
                  </a:cubicBezTo>
                  <a:cubicBezTo>
                    <a:pt x="1" y="5"/>
                    <a:pt x="0" y="4"/>
                    <a:pt x="0" y="2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64" y="0"/>
                    <a:pt x="65" y="1"/>
                    <a:pt x="65" y="2"/>
                  </a:cubicBezTo>
                  <a:cubicBezTo>
                    <a:pt x="65" y="4"/>
                    <a:pt x="64" y="5"/>
                    <a:pt x="62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88" name="Freeform 543">
              <a:extLst>
                <a:ext uri="{FF2B5EF4-FFF2-40B4-BE49-F238E27FC236}">
                  <a16:creationId xmlns:a16="http://schemas.microsoft.com/office/drawing/2014/main" id="{B720E762-92BE-54ED-B649-BB6E375BCA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8287" y="3084523"/>
              <a:ext cx="36513" cy="36513"/>
            </a:xfrm>
            <a:custGeom>
              <a:avLst/>
              <a:gdLst>
                <a:gd name="T0" fmla="*/ 8 w 16"/>
                <a:gd name="T1" fmla="*/ 16 h 16"/>
                <a:gd name="T2" fmla="*/ 0 w 16"/>
                <a:gd name="T3" fmla="*/ 8 h 16"/>
                <a:gd name="T4" fmla="*/ 8 w 16"/>
                <a:gd name="T5" fmla="*/ 0 h 16"/>
                <a:gd name="T6" fmla="*/ 16 w 16"/>
                <a:gd name="T7" fmla="*/ 8 h 16"/>
                <a:gd name="T8" fmla="*/ 8 w 16"/>
                <a:gd name="T9" fmla="*/ 16 h 16"/>
                <a:gd name="T10" fmla="*/ 8 w 16"/>
                <a:gd name="T11" fmla="*/ 5 h 16"/>
                <a:gd name="T12" fmla="*/ 5 w 16"/>
                <a:gd name="T13" fmla="*/ 8 h 16"/>
                <a:gd name="T14" fmla="*/ 8 w 16"/>
                <a:gd name="T15" fmla="*/ 11 h 16"/>
                <a:gd name="T16" fmla="*/ 11 w 16"/>
                <a:gd name="T17" fmla="*/ 8 h 16"/>
                <a:gd name="T18" fmla="*/ 8 w 16"/>
                <a:gd name="T19" fmla="*/ 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6">
                  <a:moveTo>
                    <a:pt x="8" y="16"/>
                  </a:moveTo>
                  <a:cubicBezTo>
                    <a:pt x="4" y="16"/>
                    <a:pt x="0" y="12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12" y="0"/>
                    <a:pt x="16" y="4"/>
                    <a:pt x="16" y="8"/>
                  </a:cubicBezTo>
                  <a:cubicBezTo>
                    <a:pt x="16" y="12"/>
                    <a:pt x="12" y="16"/>
                    <a:pt x="8" y="16"/>
                  </a:cubicBezTo>
                  <a:close/>
                  <a:moveTo>
                    <a:pt x="8" y="5"/>
                  </a:moveTo>
                  <a:cubicBezTo>
                    <a:pt x="6" y="5"/>
                    <a:pt x="5" y="7"/>
                    <a:pt x="5" y="8"/>
                  </a:cubicBezTo>
                  <a:cubicBezTo>
                    <a:pt x="5" y="10"/>
                    <a:pt x="6" y="11"/>
                    <a:pt x="8" y="11"/>
                  </a:cubicBezTo>
                  <a:cubicBezTo>
                    <a:pt x="10" y="11"/>
                    <a:pt x="11" y="10"/>
                    <a:pt x="11" y="8"/>
                  </a:cubicBezTo>
                  <a:cubicBezTo>
                    <a:pt x="11" y="7"/>
                    <a:pt x="10" y="5"/>
                    <a:pt x="8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89" name="Freeform 544">
              <a:extLst>
                <a:ext uri="{FF2B5EF4-FFF2-40B4-BE49-F238E27FC236}">
                  <a16:creationId xmlns:a16="http://schemas.microsoft.com/office/drawing/2014/main" id="{04972E91-4E5E-3208-0C16-FFD100EF594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9725" y="3084523"/>
              <a:ext cx="34925" cy="36513"/>
            </a:xfrm>
            <a:custGeom>
              <a:avLst/>
              <a:gdLst>
                <a:gd name="T0" fmla="*/ 7 w 15"/>
                <a:gd name="T1" fmla="*/ 16 h 16"/>
                <a:gd name="T2" fmla="*/ 0 w 15"/>
                <a:gd name="T3" fmla="*/ 8 h 16"/>
                <a:gd name="T4" fmla="*/ 7 w 15"/>
                <a:gd name="T5" fmla="*/ 0 h 16"/>
                <a:gd name="T6" fmla="*/ 15 w 15"/>
                <a:gd name="T7" fmla="*/ 8 h 16"/>
                <a:gd name="T8" fmla="*/ 7 w 15"/>
                <a:gd name="T9" fmla="*/ 16 h 16"/>
                <a:gd name="T10" fmla="*/ 7 w 15"/>
                <a:gd name="T11" fmla="*/ 5 h 16"/>
                <a:gd name="T12" fmla="*/ 4 w 15"/>
                <a:gd name="T13" fmla="*/ 8 h 16"/>
                <a:gd name="T14" fmla="*/ 7 w 15"/>
                <a:gd name="T15" fmla="*/ 11 h 16"/>
                <a:gd name="T16" fmla="*/ 10 w 15"/>
                <a:gd name="T17" fmla="*/ 8 h 16"/>
                <a:gd name="T18" fmla="*/ 7 w 15"/>
                <a:gd name="T19" fmla="*/ 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" h="16">
                  <a:moveTo>
                    <a:pt x="7" y="16"/>
                  </a:moveTo>
                  <a:cubicBezTo>
                    <a:pt x="3" y="16"/>
                    <a:pt x="0" y="12"/>
                    <a:pt x="0" y="8"/>
                  </a:cubicBezTo>
                  <a:cubicBezTo>
                    <a:pt x="0" y="4"/>
                    <a:pt x="3" y="0"/>
                    <a:pt x="7" y="0"/>
                  </a:cubicBezTo>
                  <a:cubicBezTo>
                    <a:pt x="12" y="0"/>
                    <a:pt x="15" y="4"/>
                    <a:pt x="15" y="8"/>
                  </a:cubicBezTo>
                  <a:cubicBezTo>
                    <a:pt x="15" y="12"/>
                    <a:pt x="12" y="16"/>
                    <a:pt x="7" y="16"/>
                  </a:cubicBezTo>
                  <a:close/>
                  <a:moveTo>
                    <a:pt x="7" y="5"/>
                  </a:moveTo>
                  <a:cubicBezTo>
                    <a:pt x="6" y="5"/>
                    <a:pt x="4" y="7"/>
                    <a:pt x="4" y="8"/>
                  </a:cubicBezTo>
                  <a:cubicBezTo>
                    <a:pt x="4" y="10"/>
                    <a:pt x="6" y="11"/>
                    <a:pt x="7" y="11"/>
                  </a:cubicBezTo>
                  <a:cubicBezTo>
                    <a:pt x="9" y="11"/>
                    <a:pt x="10" y="10"/>
                    <a:pt x="10" y="8"/>
                  </a:cubicBezTo>
                  <a:cubicBezTo>
                    <a:pt x="10" y="7"/>
                    <a:pt x="9" y="5"/>
                    <a:pt x="7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90" name="Freeform 545">
              <a:extLst>
                <a:ext uri="{FF2B5EF4-FFF2-40B4-BE49-F238E27FC236}">
                  <a16:creationId xmlns:a16="http://schemas.microsoft.com/office/drawing/2014/main" id="{2F23CBC7-7DE0-EC70-E842-C524A2DB7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187325" y="2949581"/>
              <a:ext cx="209550" cy="128589"/>
            </a:xfrm>
            <a:custGeom>
              <a:avLst/>
              <a:gdLst>
                <a:gd name="T0" fmla="*/ 90 w 93"/>
                <a:gd name="T1" fmla="*/ 57 h 57"/>
                <a:gd name="T2" fmla="*/ 28 w 93"/>
                <a:gd name="T3" fmla="*/ 57 h 57"/>
                <a:gd name="T4" fmla="*/ 26 w 93"/>
                <a:gd name="T5" fmla="*/ 55 h 57"/>
                <a:gd name="T6" fmla="*/ 16 w 93"/>
                <a:gd name="T7" fmla="*/ 5 h 57"/>
                <a:gd name="T8" fmla="*/ 3 w 93"/>
                <a:gd name="T9" fmla="*/ 5 h 57"/>
                <a:gd name="T10" fmla="*/ 0 w 93"/>
                <a:gd name="T11" fmla="*/ 3 h 57"/>
                <a:gd name="T12" fmla="*/ 3 w 93"/>
                <a:gd name="T13" fmla="*/ 0 h 57"/>
                <a:gd name="T14" fmla="*/ 18 w 93"/>
                <a:gd name="T15" fmla="*/ 0 h 57"/>
                <a:gd name="T16" fmla="*/ 20 w 93"/>
                <a:gd name="T17" fmla="*/ 2 h 57"/>
                <a:gd name="T18" fmla="*/ 30 w 93"/>
                <a:gd name="T19" fmla="*/ 52 h 57"/>
                <a:gd name="T20" fmla="*/ 90 w 93"/>
                <a:gd name="T21" fmla="*/ 52 h 57"/>
                <a:gd name="T22" fmla="*/ 93 w 93"/>
                <a:gd name="T23" fmla="*/ 55 h 57"/>
                <a:gd name="T24" fmla="*/ 90 w 93"/>
                <a:gd name="T25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3" h="57">
                  <a:moveTo>
                    <a:pt x="90" y="57"/>
                  </a:moveTo>
                  <a:cubicBezTo>
                    <a:pt x="28" y="57"/>
                    <a:pt x="28" y="57"/>
                    <a:pt x="28" y="57"/>
                  </a:cubicBezTo>
                  <a:cubicBezTo>
                    <a:pt x="27" y="57"/>
                    <a:pt x="26" y="56"/>
                    <a:pt x="26" y="55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1" y="5"/>
                    <a:pt x="0" y="4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9" y="0"/>
                    <a:pt x="20" y="1"/>
                    <a:pt x="20" y="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90" y="52"/>
                    <a:pt x="90" y="52"/>
                    <a:pt x="90" y="52"/>
                  </a:cubicBezTo>
                  <a:cubicBezTo>
                    <a:pt x="92" y="52"/>
                    <a:pt x="93" y="53"/>
                    <a:pt x="93" y="55"/>
                  </a:cubicBezTo>
                  <a:cubicBezTo>
                    <a:pt x="93" y="56"/>
                    <a:pt x="92" y="57"/>
                    <a:pt x="90" y="5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91" name="Freeform 546">
              <a:extLst>
                <a:ext uri="{FF2B5EF4-FFF2-40B4-BE49-F238E27FC236}">
                  <a16:creationId xmlns:a16="http://schemas.microsoft.com/office/drawing/2014/main" id="{E34A079C-2E6B-6009-E314-098C7380F52C}"/>
                </a:ext>
              </a:extLst>
            </p:cNvPr>
            <p:cNvSpPr>
              <a:spLocks/>
            </p:cNvSpPr>
            <p:nvPr/>
          </p:nvSpPr>
          <p:spPr bwMode="auto">
            <a:xfrm>
              <a:off x="225425" y="2967043"/>
              <a:ext cx="176213" cy="84138"/>
            </a:xfrm>
            <a:custGeom>
              <a:avLst/>
              <a:gdLst>
                <a:gd name="T0" fmla="*/ 73 w 78"/>
                <a:gd name="T1" fmla="*/ 37 h 37"/>
                <a:gd name="T2" fmla="*/ 9 w 78"/>
                <a:gd name="T3" fmla="*/ 37 h 37"/>
                <a:gd name="T4" fmla="*/ 6 w 78"/>
                <a:gd name="T5" fmla="*/ 35 h 37"/>
                <a:gd name="T6" fmla="*/ 9 w 78"/>
                <a:gd name="T7" fmla="*/ 32 h 37"/>
                <a:gd name="T8" fmla="*/ 70 w 78"/>
                <a:gd name="T9" fmla="*/ 32 h 37"/>
                <a:gd name="T10" fmla="*/ 73 w 78"/>
                <a:gd name="T11" fmla="*/ 9 h 37"/>
                <a:gd name="T12" fmla="*/ 2 w 78"/>
                <a:gd name="T13" fmla="*/ 5 h 37"/>
                <a:gd name="T14" fmla="*/ 0 w 78"/>
                <a:gd name="T15" fmla="*/ 2 h 37"/>
                <a:gd name="T16" fmla="*/ 2 w 78"/>
                <a:gd name="T17" fmla="*/ 0 h 37"/>
                <a:gd name="T18" fmla="*/ 76 w 78"/>
                <a:gd name="T19" fmla="*/ 4 h 37"/>
                <a:gd name="T20" fmla="*/ 78 w 78"/>
                <a:gd name="T21" fmla="*/ 5 h 37"/>
                <a:gd name="T22" fmla="*/ 78 w 78"/>
                <a:gd name="T23" fmla="*/ 7 h 37"/>
                <a:gd name="T24" fmla="*/ 75 w 78"/>
                <a:gd name="T25" fmla="*/ 35 h 37"/>
                <a:gd name="T26" fmla="*/ 73 w 78"/>
                <a:gd name="T27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8" h="37">
                  <a:moveTo>
                    <a:pt x="73" y="37"/>
                  </a:moveTo>
                  <a:cubicBezTo>
                    <a:pt x="9" y="37"/>
                    <a:pt x="9" y="37"/>
                    <a:pt x="9" y="37"/>
                  </a:cubicBezTo>
                  <a:cubicBezTo>
                    <a:pt x="8" y="37"/>
                    <a:pt x="6" y="36"/>
                    <a:pt x="6" y="35"/>
                  </a:cubicBezTo>
                  <a:cubicBezTo>
                    <a:pt x="6" y="33"/>
                    <a:pt x="8" y="32"/>
                    <a:pt x="9" y="32"/>
                  </a:cubicBezTo>
                  <a:cubicBezTo>
                    <a:pt x="70" y="32"/>
                    <a:pt x="70" y="32"/>
                    <a:pt x="70" y="32"/>
                  </a:cubicBezTo>
                  <a:cubicBezTo>
                    <a:pt x="73" y="9"/>
                    <a:pt x="73" y="9"/>
                    <a:pt x="73" y="9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0" y="4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76" y="4"/>
                    <a:pt x="76" y="4"/>
                    <a:pt x="76" y="4"/>
                  </a:cubicBezTo>
                  <a:cubicBezTo>
                    <a:pt x="77" y="4"/>
                    <a:pt x="77" y="4"/>
                    <a:pt x="78" y="5"/>
                  </a:cubicBezTo>
                  <a:cubicBezTo>
                    <a:pt x="78" y="5"/>
                    <a:pt x="78" y="6"/>
                    <a:pt x="78" y="7"/>
                  </a:cubicBezTo>
                  <a:cubicBezTo>
                    <a:pt x="75" y="35"/>
                    <a:pt x="75" y="35"/>
                    <a:pt x="75" y="35"/>
                  </a:cubicBezTo>
                  <a:cubicBezTo>
                    <a:pt x="75" y="36"/>
                    <a:pt x="74" y="37"/>
                    <a:pt x="73" y="3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92" name="Freeform 547">
              <a:extLst>
                <a:ext uri="{FF2B5EF4-FFF2-40B4-BE49-F238E27FC236}">
                  <a16:creationId xmlns:a16="http://schemas.microsoft.com/office/drawing/2014/main" id="{35F96E7F-5F86-44E0-F94D-E774ED1DC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537" y="3141663"/>
              <a:ext cx="407988" cy="9525"/>
            </a:xfrm>
            <a:custGeom>
              <a:avLst/>
              <a:gdLst>
                <a:gd name="T0" fmla="*/ 178 w 181"/>
                <a:gd name="T1" fmla="*/ 4 h 4"/>
                <a:gd name="T2" fmla="*/ 2 w 181"/>
                <a:gd name="T3" fmla="*/ 4 h 4"/>
                <a:gd name="T4" fmla="*/ 0 w 181"/>
                <a:gd name="T5" fmla="*/ 2 h 4"/>
                <a:gd name="T6" fmla="*/ 2 w 181"/>
                <a:gd name="T7" fmla="*/ 0 h 4"/>
                <a:gd name="T8" fmla="*/ 178 w 181"/>
                <a:gd name="T9" fmla="*/ 0 h 4"/>
                <a:gd name="T10" fmla="*/ 181 w 181"/>
                <a:gd name="T11" fmla="*/ 2 h 4"/>
                <a:gd name="T12" fmla="*/ 178 w 181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1" h="4">
                  <a:moveTo>
                    <a:pt x="178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78" y="0"/>
                    <a:pt x="178" y="0"/>
                    <a:pt x="178" y="0"/>
                  </a:cubicBezTo>
                  <a:cubicBezTo>
                    <a:pt x="180" y="0"/>
                    <a:pt x="181" y="1"/>
                    <a:pt x="181" y="2"/>
                  </a:cubicBezTo>
                  <a:cubicBezTo>
                    <a:pt x="181" y="3"/>
                    <a:pt x="180" y="4"/>
                    <a:pt x="178" y="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93" name="Shape71_20200717_142846">
            <a:extLst>
              <a:ext uri="{FF2B5EF4-FFF2-40B4-BE49-F238E27FC236}">
                <a16:creationId xmlns:a16="http://schemas.microsoft.com/office/drawing/2014/main" id="{03F2F80E-79E4-E6AF-449F-6DBA3AD84C1E}"/>
              </a:ext>
            </a:extLst>
          </p:cNvPr>
          <p:cNvGrpSpPr>
            <a:grpSpLocks noChangeAspect="1"/>
          </p:cNvGrpSpPr>
          <p:nvPr/>
        </p:nvGrpSpPr>
        <p:grpSpPr>
          <a:xfrm>
            <a:off x="9853142" y="3821616"/>
            <a:ext cx="319047" cy="626089"/>
            <a:chOff x="-1943098" y="2119313"/>
            <a:chExt cx="211138" cy="414331"/>
          </a:xfrm>
          <a:solidFill>
            <a:schemeClr val="accent1"/>
          </a:solidFill>
        </p:grpSpPr>
        <p:sp>
          <p:nvSpPr>
            <p:cNvPr id="394" name="Freeform 553">
              <a:extLst>
                <a:ext uri="{FF2B5EF4-FFF2-40B4-BE49-F238E27FC236}">
                  <a16:creationId xmlns:a16="http://schemas.microsoft.com/office/drawing/2014/main" id="{BA52BA30-E04F-3D5D-1264-46392F98A5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943098" y="2208207"/>
              <a:ext cx="211138" cy="325437"/>
            </a:xfrm>
            <a:custGeom>
              <a:avLst/>
              <a:gdLst>
                <a:gd name="T0" fmla="*/ 77 w 94"/>
                <a:gd name="T1" fmla="*/ 144 h 144"/>
                <a:gd name="T2" fmla="*/ 17 w 94"/>
                <a:gd name="T3" fmla="*/ 144 h 144"/>
                <a:gd name="T4" fmla="*/ 8 w 94"/>
                <a:gd name="T5" fmla="*/ 136 h 144"/>
                <a:gd name="T6" fmla="*/ 0 w 94"/>
                <a:gd name="T7" fmla="*/ 85 h 144"/>
                <a:gd name="T8" fmla="*/ 0 w 94"/>
                <a:gd name="T9" fmla="*/ 85 h 144"/>
                <a:gd name="T10" fmla="*/ 0 w 94"/>
                <a:gd name="T11" fmla="*/ 15 h 144"/>
                <a:gd name="T12" fmla="*/ 15 w 94"/>
                <a:gd name="T13" fmla="*/ 0 h 144"/>
                <a:gd name="T14" fmla="*/ 79 w 94"/>
                <a:gd name="T15" fmla="*/ 0 h 144"/>
                <a:gd name="T16" fmla="*/ 94 w 94"/>
                <a:gd name="T17" fmla="*/ 15 h 144"/>
                <a:gd name="T18" fmla="*/ 94 w 94"/>
                <a:gd name="T19" fmla="*/ 85 h 144"/>
                <a:gd name="T20" fmla="*/ 94 w 94"/>
                <a:gd name="T21" fmla="*/ 85 h 144"/>
                <a:gd name="T22" fmla="*/ 86 w 94"/>
                <a:gd name="T23" fmla="*/ 136 h 144"/>
                <a:gd name="T24" fmla="*/ 77 w 94"/>
                <a:gd name="T25" fmla="*/ 144 h 144"/>
                <a:gd name="T26" fmla="*/ 5 w 94"/>
                <a:gd name="T27" fmla="*/ 85 h 144"/>
                <a:gd name="T28" fmla="*/ 13 w 94"/>
                <a:gd name="T29" fmla="*/ 135 h 144"/>
                <a:gd name="T30" fmla="*/ 17 w 94"/>
                <a:gd name="T31" fmla="*/ 139 h 144"/>
                <a:gd name="T32" fmla="*/ 77 w 94"/>
                <a:gd name="T33" fmla="*/ 139 h 144"/>
                <a:gd name="T34" fmla="*/ 81 w 94"/>
                <a:gd name="T35" fmla="*/ 135 h 144"/>
                <a:gd name="T36" fmla="*/ 89 w 94"/>
                <a:gd name="T37" fmla="*/ 85 h 144"/>
                <a:gd name="T38" fmla="*/ 89 w 94"/>
                <a:gd name="T39" fmla="*/ 15 h 144"/>
                <a:gd name="T40" fmla="*/ 79 w 94"/>
                <a:gd name="T41" fmla="*/ 5 h 144"/>
                <a:gd name="T42" fmla="*/ 15 w 94"/>
                <a:gd name="T43" fmla="*/ 5 h 144"/>
                <a:gd name="T44" fmla="*/ 5 w 94"/>
                <a:gd name="T45" fmla="*/ 15 h 144"/>
                <a:gd name="T46" fmla="*/ 5 w 94"/>
                <a:gd name="T47" fmla="*/ 85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4" h="144">
                  <a:moveTo>
                    <a:pt x="77" y="144"/>
                  </a:moveTo>
                  <a:cubicBezTo>
                    <a:pt x="17" y="144"/>
                    <a:pt x="17" y="144"/>
                    <a:pt x="17" y="144"/>
                  </a:cubicBezTo>
                  <a:cubicBezTo>
                    <a:pt x="12" y="144"/>
                    <a:pt x="8" y="140"/>
                    <a:pt x="8" y="13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87" y="0"/>
                    <a:pt x="94" y="7"/>
                    <a:pt x="94" y="15"/>
                  </a:cubicBezTo>
                  <a:cubicBezTo>
                    <a:pt x="94" y="85"/>
                    <a:pt x="94" y="85"/>
                    <a:pt x="94" y="85"/>
                  </a:cubicBezTo>
                  <a:cubicBezTo>
                    <a:pt x="94" y="85"/>
                    <a:pt x="94" y="85"/>
                    <a:pt x="94" y="85"/>
                  </a:cubicBezTo>
                  <a:cubicBezTo>
                    <a:pt x="86" y="136"/>
                    <a:pt x="86" y="136"/>
                    <a:pt x="86" y="136"/>
                  </a:cubicBezTo>
                  <a:cubicBezTo>
                    <a:pt x="85" y="140"/>
                    <a:pt x="82" y="144"/>
                    <a:pt x="77" y="144"/>
                  </a:cubicBezTo>
                  <a:close/>
                  <a:moveTo>
                    <a:pt x="5" y="85"/>
                  </a:moveTo>
                  <a:cubicBezTo>
                    <a:pt x="13" y="135"/>
                    <a:pt x="13" y="135"/>
                    <a:pt x="13" y="135"/>
                  </a:cubicBezTo>
                  <a:cubicBezTo>
                    <a:pt x="13" y="137"/>
                    <a:pt x="15" y="139"/>
                    <a:pt x="17" y="139"/>
                  </a:cubicBezTo>
                  <a:cubicBezTo>
                    <a:pt x="77" y="139"/>
                    <a:pt x="77" y="139"/>
                    <a:pt x="77" y="139"/>
                  </a:cubicBezTo>
                  <a:cubicBezTo>
                    <a:pt x="79" y="139"/>
                    <a:pt x="81" y="137"/>
                    <a:pt x="81" y="135"/>
                  </a:cubicBezTo>
                  <a:cubicBezTo>
                    <a:pt x="89" y="85"/>
                    <a:pt x="89" y="85"/>
                    <a:pt x="89" y="85"/>
                  </a:cubicBezTo>
                  <a:cubicBezTo>
                    <a:pt x="89" y="15"/>
                    <a:pt x="89" y="15"/>
                    <a:pt x="89" y="15"/>
                  </a:cubicBezTo>
                  <a:cubicBezTo>
                    <a:pt x="89" y="9"/>
                    <a:pt x="85" y="5"/>
                    <a:pt x="79" y="5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9" y="5"/>
                    <a:pt x="5" y="9"/>
                    <a:pt x="5" y="15"/>
                  </a:cubicBezTo>
                  <a:lnTo>
                    <a:pt x="5" y="8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95" name="Freeform 554">
              <a:extLst>
                <a:ext uri="{FF2B5EF4-FFF2-40B4-BE49-F238E27FC236}">
                  <a16:creationId xmlns:a16="http://schemas.microsoft.com/office/drawing/2014/main" id="{64A798F5-5C49-1965-10F2-D5DC09C083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911344" y="2239957"/>
              <a:ext cx="147638" cy="149225"/>
            </a:xfrm>
            <a:custGeom>
              <a:avLst/>
              <a:gdLst>
                <a:gd name="T0" fmla="*/ 61 w 66"/>
                <a:gd name="T1" fmla="*/ 66 h 66"/>
                <a:gd name="T2" fmla="*/ 5 w 66"/>
                <a:gd name="T3" fmla="*/ 66 h 66"/>
                <a:gd name="T4" fmla="*/ 0 w 66"/>
                <a:gd name="T5" fmla="*/ 61 h 66"/>
                <a:gd name="T6" fmla="*/ 0 w 66"/>
                <a:gd name="T7" fmla="*/ 6 h 66"/>
                <a:gd name="T8" fmla="*/ 6 w 66"/>
                <a:gd name="T9" fmla="*/ 0 h 66"/>
                <a:gd name="T10" fmla="*/ 61 w 66"/>
                <a:gd name="T11" fmla="*/ 0 h 66"/>
                <a:gd name="T12" fmla="*/ 66 w 66"/>
                <a:gd name="T13" fmla="*/ 5 h 66"/>
                <a:gd name="T14" fmla="*/ 66 w 66"/>
                <a:gd name="T15" fmla="*/ 61 h 66"/>
                <a:gd name="T16" fmla="*/ 61 w 66"/>
                <a:gd name="T17" fmla="*/ 66 h 66"/>
                <a:gd name="T18" fmla="*/ 61 w 66"/>
                <a:gd name="T19" fmla="*/ 5 h 66"/>
                <a:gd name="T20" fmla="*/ 6 w 66"/>
                <a:gd name="T21" fmla="*/ 5 h 66"/>
                <a:gd name="T22" fmla="*/ 5 w 66"/>
                <a:gd name="T23" fmla="*/ 6 h 66"/>
                <a:gd name="T24" fmla="*/ 5 w 66"/>
                <a:gd name="T25" fmla="*/ 61 h 66"/>
                <a:gd name="T26" fmla="*/ 61 w 66"/>
                <a:gd name="T27" fmla="*/ 61 h 66"/>
                <a:gd name="T28" fmla="*/ 61 w 66"/>
                <a:gd name="T29" fmla="*/ 5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6" h="66">
                  <a:moveTo>
                    <a:pt x="61" y="66"/>
                  </a:moveTo>
                  <a:cubicBezTo>
                    <a:pt x="5" y="66"/>
                    <a:pt x="5" y="66"/>
                    <a:pt x="5" y="66"/>
                  </a:cubicBezTo>
                  <a:cubicBezTo>
                    <a:pt x="2" y="66"/>
                    <a:pt x="0" y="64"/>
                    <a:pt x="0" y="61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64" y="0"/>
                    <a:pt x="66" y="2"/>
                    <a:pt x="66" y="5"/>
                  </a:cubicBezTo>
                  <a:cubicBezTo>
                    <a:pt x="66" y="61"/>
                    <a:pt x="66" y="61"/>
                    <a:pt x="66" y="61"/>
                  </a:cubicBezTo>
                  <a:cubicBezTo>
                    <a:pt x="66" y="64"/>
                    <a:pt x="64" y="66"/>
                    <a:pt x="61" y="66"/>
                  </a:cubicBezTo>
                  <a:close/>
                  <a:moveTo>
                    <a:pt x="61" y="5"/>
                  </a:moveTo>
                  <a:cubicBezTo>
                    <a:pt x="6" y="5"/>
                    <a:pt x="6" y="5"/>
                    <a:pt x="6" y="5"/>
                  </a:cubicBezTo>
                  <a:cubicBezTo>
                    <a:pt x="5" y="5"/>
                    <a:pt x="5" y="5"/>
                    <a:pt x="5" y="6"/>
                  </a:cubicBezTo>
                  <a:cubicBezTo>
                    <a:pt x="5" y="61"/>
                    <a:pt x="5" y="61"/>
                    <a:pt x="5" y="61"/>
                  </a:cubicBezTo>
                  <a:cubicBezTo>
                    <a:pt x="61" y="61"/>
                    <a:pt x="61" y="61"/>
                    <a:pt x="61" y="61"/>
                  </a:cubicBezTo>
                  <a:lnTo>
                    <a:pt x="61" y="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96" name="Freeform 555">
              <a:extLst>
                <a:ext uri="{FF2B5EF4-FFF2-40B4-BE49-F238E27FC236}">
                  <a16:creationId xmlns:a16="http://schemas.microsoft.com/office/drawing/2014/main" id="{50093992-8C88-26C1-4D93-BCAF14C7D9EB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03406" y="2411406"/>
              <a:ext cx="36513" cy="25400"/>
            </a:xfrm>
            <a:custGeom>
              <a:avLst/>
              <a:gdLst>
                <a:gd name="T0" fmla="*/ 13 w 16"/>
                <a:gd name="T1" fmla="*/ 11 h 11"/>
                <a:gd name="T2" fmla="*/ 11 w 16"/>
                <a:gd name="T3" fmla="*/ 8 h 11"/>
                <a:gd name="T4" fmla="*/ 11 w 16"/>
                <a:gd name="T5" fmla="*/ 5 h 11"/>
                <a:gd name="T6" fmla="*/ 5 w 16"/>
                <a:gd name="T7" fmla="*/ 5 h 11"/>
                <a:gd name="T8" fmla="*/ 5 w 16"/>
                <a:gd name="T9" fmla="*/ 8 h 11"/>
                <a:gd name="T10" fmla="*/ 2 w 16"/>
                <a:gd name="T11" fmla="*/ 11 h 11"/>
                <a:gd name="T12" fmla="*/ 0 w 16"/>
                <a:gd name="T13" fmla="*/ 8 h 11"/>
                <a:gd name="T14" fmla="*/ 0 w 16"/>
                <a:gd name="T15" fmla="*/ 3 h 11"/>
                <a:gd name="T16" fmla="*/ 2 w 16"/>
                <a:gd name="T17" fmla="*/ 0 h 11"/>
                <a:gd name="T18" fmla="*/ 13 w 16"/>
                <a:gd name="T19" fmla="*/ 0 h 11"/>
                <a:gd name="T20" fmla="*/ 16 w 16"/>
                <a:gd name="T21" fmla="*/ 3 h 11"/>
                <a:gd name="T22" fmla="*/ 16 w 16"/>
                <a:gd name="T23" fmla="*/ 8 h 11"/>
                <a:gd name="T24" fmla="*/ 13 w 16"/>
                <a:gd name="T2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" h="11">
                  <a:moveTo>
                    <a:pt x="13" y="11"/>
                  </a:moveTo>
                  <a:cubicBezTo>
                    <a:pt x="12" y="11"/>
                    <a:pt x="11" y="10"/>
                    <a:pt x="11" y="8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10"/>
                    <a:pt x="4" y="11"/>
                    <a:pt x="2" y="11"/>
                  </a:cubicBezTo>
                  <a:cubicBezTo>
                    <a:pt x="1" y="11"/>
                    <a:pt x="0" y="10"/>
                    <a:pt x="0" y="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5" y="0"/>
                    <a:pt x="16" y="1"/>
                    <a:pt x="16" y="3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10"/>
                    <a:pt x="15" y="11"/>
                    <a:pt x="1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97" name="Freeform 556">
              <a:extLst>
                <a:ext uri="{FF2B5EF4-FFF2-40B4-BE49-F238E27FC236}">
                  <a16:creationId xmlns:a16="http://schemas.microsoft.com/office/drawing/2014/main" id="{8516DB7A-BE3C-E60A-F3E1-CBBA15B6A5A8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55782" y="2411406"/>
              <a:ext cx="36513" cy="25400"/>
            </a:xfrm>
            <a:custGeom>
              <a:avLst/>
              <a:gdLst>
                <a:gd name="T0" fmla="*/ 14 w 16"/>
                <a:gd name="T1" fmla="*/ 11 h 11"/>
                <a:gd name="T2" fmla="*/ 11 w 16"/>
                <a:gd name="T3" fmla="*/ 8 h 11"/>
                <a:gd name="T4" fmla="*/ 11 w 16"/>
                <a:gd name="T5" fmla="*/ 5 h 11"/>
                <a:gd name="T6" fmla="*/ 5 w 16"/>
                <a:gd name="T7" fmla="*/ 5 h 11"/>
                <a:gd name="T8" fmla="*/ 5 w 16"/>
                <a:gd name="T9" fmla="*/ 8 h 11"/>
                <a:gd name="T10" fmla="*/ 2 w 16"/>
                <a:gd name="T11" fmla="*/ 11 h 11"/>
                <a:gd name="T12" fmla="*/ 0 w 16"/>
                <a:gd name="T13" fmla="*/ 8 h 11"/>
                <a:gd name="T14" fmla="*/ 0 w 16"/>
                <a:gd name="T15" fmla="*/ 3 h 11"/>
                <a:gd name="T16" fmla="*/ 2 w 16"/>
                <a:gd name="T17" fmla="*/ 0 h 11"/>
                <a:gd name="T18" fmla="*/ 14 w 16"/>
                <a:gd name="T19" fmla="*/ 0 h 11"/>
                <a:gd name="T20" fmla="*/ 16 w 16"/>
                <a:gd name="T21" fmla="*/ 3 h 11"/>
                <a:gd name="T22" fmla="*/ 16 w 16"/>
                <a:gd name="T23" fmla="*/ 8 h 11"/>
                <a:gd name="T24" fmla="*/ 14 w 16"/>
                <a:gd name="T2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" h="11">
                  <a:moveTo>
                    <a:pt x="14" y="11"/>
                  </a:moveTo>
                  <a:cubicBezTo>
                    <a:pt x="12" y="11"/>
                    <a:pt x="11" y="10"/>
                    <a:pt x="11" y="8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10"/>
                    <a:pt x="4" y="11"/>
                    <a:pt x="2" y="11"/>
                  </a:cubicBezTo>
                  <a:cubicBezTo>
                    <a:pt x="1" y="11"/>
                    <a:pt x="0" y="10"/>
                    <a:pt x="0" y="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6" y="1"/>
                    <a:pt x="16" y="3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10"/>
                    <a:pt x="15" y="11"/>
                    <a:pt x="1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98" name="Freeform 557">
              <a:extLst>
                <a:ext uri="{FF2B5EF4-FFF2-40B4-BE49-F238E27FC236}">
                  <a16:creationId xmlns:a16="http://schemas.microsoft.com/office/drawing/2014/main" id="{1C9CFC17-C0DE-8F0E-5285-48BE8FE173D9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08157" y="2411406"/>
              <a:ext cx="36513" cy="25400"/>
            </a:xfrm>
            <a:custGeom>
              <a:avLst/>
              <a:gdLst>
                <a:gd name="T0" fmla="*/ 14 w 16"/>
                <a:gd name="T1" fmla="*/ 11 h 11"/>
                <a:gd name="T2" fmla="*/ 11 w 16"/>
                <a:gd name="T3" fmla="*/ 8 h 11"/>
                <a:gd name="T4" fmla="*/ 11 w 16"/>
                <a:gd name="T5" fmla="*/ 5 h 11"/>
                <a:gd name="T6" fmla="*/ 5 w 16"/>
                <a:gd name="T7" fmla="*/ 5 h 11"/>
                <a:gd name="T8" fmla="*/ 5 w 16"/>
                <a:gd name="T9" fmla="*/ 8 h 11"/>
                <a:gd name="T10" fmla="*/ 2 w 16"/>
                <a:gd name="T11" fmla="*/ 11 h 11"/>
                <a:gd name="T12" fmla="*/ 0 w 16"/>
                <a:gd name="T13" fmla="*/ 8 h 11"/>
                <a:gd name="T14" fmla="*/ 0 w 16"/>
                <a:gd name="T15" fmla="*/ 3 h 11"/>
                <a:gd name="T16" fmla="*/ 2 w 16"/>
                <a:gd name="T17" fmla="*/ 0 h 11"/>
                <a:gd name="T18" fmla="*/ 14 w 16"/>
                <a:gd name="T19" fmla="*/ 0 h 11"/>
                <a:gd name="T20" fmla="*/ 16 w 16"/>
                <a:gd name="T21" fmla="*/ 3 h 11"/>
                <a:gd name="T22" fmla="*/ 16 w 16"/>
                <a:gd name="T23" fmla="*/ 8 h 11"/>
                <a:gd name="T24" fmla="*/ 14 w 16"/>
                <a:gd name="T2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" h="11">
                  <a:moveTo>
                    <a:pt x="14" y="11"/>
                  </a:moveTo>
                  <a:cubicBezTo>
                    <a:pt x="12" y="11"/>
                    <a:pt x="11" y="10"/>
                    <a:pt x="11" y="8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10"/>
                    <a:pt x="4" y="11"/>
                    <a:pt x="2" y="11"/>
                  </a:cubicBezTo>
                  <a:cubicBezTo>
                    <a:pt x="1" y="11"/>
                    <a:pt x="0" y="10"/>
                    <a:pt x="0" y="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6" y="1"/>
                    <a:pt x="16" y="3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10"/>
                    <a:pt x="15" y="11"/>
                    <a:pt x="1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99" name="Freeform 558">
              <a:extLst>
                <a:ext uri="{FF2B5EF4-FFF2-40B4-BE49-F238E27FC236}">
                  <a16:creationId xmlns:a16="http://schemas.microsoft.com/office/drawing/2014/main" id="{E9BE42CC-B33C-2CC5-030C-55B2A093387C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03406" y="2443156"/>
              <a:ext cx="36513" cy="22225"/>
            </a:xfrm>
            <a:custGeom>
              <a:avLst/>
              <a:gdLst>
                <a:gd name="T0" fmla="*/ 13 w 16"/>
                <a:gd name="T1" fmla="*/ 10 h 10"/>
                <a:gd name="T2" fmla="*/ 11 w 16"/>
                <a:gd name="T3" fmla="*/ 8 h 10"/>
                <a:gd name="T4" fmla="*/ 11 w 16"/>
                <a:gd name="T5" fmla="*/ 5 h 10"/>
                <a:gd name="T6" fmla="*/ 5 w 16"/>
                <a:gd name="T7" fmla="*/ 5 h 10"/>
                <a:gd name="T8" fmla="*/ 5 w 16"/>
                <a:gd name="T9" fmla="*/ 8 h 10"/>
                <a:gd name="T10" fmla="*/ 2 w 16"/>
                <a:gd name="T11" fmla="*/ 10 h 10"/>
                <a:gd name="T12" fmla="*/ 0 w 16"/>
                <a:gd name="T13" fmla="*/ 8 h 10"/>
                <a:gd name="T14" fmla="*/ 0 w 16"/>
                <a:gd name="T15" fmla="*/ 2 h 10"/>
                <a:gd name="T16" fmla="*/ 2 w 16"/>
                <a:gd name="T17" fmla="*/ 0 h 10"/>
                <a:gd name="T18" fmla="*/ 13 w 16"/>
                <a:gd name="T19" fmla="*/ 0 h 10"/>
                <a:gd name="T20" fmla="*/ 16 w 16"/>
                <a:gd name="T21" fmla="*/ 2 h 10"/>
                <a:gd name="T22" fmla="*/ 16 w 16"/>
                <a:gd name="T23" fmla="*/ 8 h 10"/>
                <a:gd name="T24" fmla="*/ 13 w 16"/>
                <a:gd name="T2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" h="10">
                  <a:moveTo>
                    <a:pt x="13" y="10"/>
                  </a:moveTo>
                  <a:cubicBezTo>
                    <a:pt x="12" y="10"/>
                    <a:pt x="11" y="9"/>
                    <a:pt x="11" y="8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9"/>
                    <a:pt x="4" y="10"/>
                    <a:pt x="2" y="10"/>
                  </a:cubicBezTo>
                  <a:cubicBezTo>
                    <a:pt x="1" y="10"/>
                    <a:pt x="0" y="9"/>
                    <a:pt x="0" y="8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5" y="0"/>
                    <a:pt x="16" y="1"/>
                    <a:pt x="16" y="2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9"/>
                    <a:pt x="15" y="10"/>
                    <a:pt x="1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00" name="Freeform 559">
              <a:extLst>
                <a:ext uri="{FF2B5EF4-FFF2-40B4-BE49-F238E27FC236}">
                  <a16:creationId xmlns:a16="http://schemas.microsoft.com/office/drawing/2014/main" id="{DC85F0C5-5638-5BCF-8DEC-6B8F7CE26489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55782" y="2443156"/>
              <a:ext cx="36513" cy="22225"/>
            </a:xfrm>
            <a:custGeom>
              <a:avLst/>
              <a:gdLst>
                <a:gd name="T0" fmla="*/ 14 w 16"/>
                <a:gd name="T1" fmla="*/ 10 h 10"/>
                <a:gd name="T2" fmla="*/ 11 w 16"/>
                <a:gd name="T3" fmla="*/ 8 h 10"/>
                <a:gd name="T4" fmla="*/ 11 w 16"/>
                <a:gd name="T5" fmla="*/ 5 h 10"/>
                <a:gd name="T6" fmla="*/ 5 w 16"/>
                <a:gd name="T7" fmla="*/ 5 h 10"/>
                <a:gd name="T8" fmla="*/ 5 w 16"/>
                <a:gd name="T9" fmla="*/ 8 h 10"/>
                <a:gd name="T10" fmla="*/ 2 w 16"/>
                <a:gd name="T11" fmla="*/ 10 h 10"/>
                <a:gd name="T12" fmla="*/ 0 w 16"/>
                <a:gd name="T13" fmla="*/ 8 h 10"/>
                <a:gd name="T14" fmla="*/ 0 w 16"/>
                <a:gd name="T15" fmla="*/ 2 h 10"/>
                <a:gd name="T16" fmla="*/ 2 w 16"/>
                <a:gd name="T17" fmla="*/ 0 h 10"/>
                <a:gd name="T18" fmla="*/ 14 w 16"/>
                <a:gd name="T19" fmla="*/ 0 h 10"/>
                <a:gd name="T20" fmla="*/ 16 w 16"/>
                <a:gd name="T21" fmla="*/ 2 h 10"/>
                <a:gd name="T22" fmla="*/ 16 w 16"/>
                <a:gd name="T23" fmla="*/ 8 h 10"/>
                <a:gd name="T24" fmla="*/ 14 w 16"/>
                <a:gd name="T2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" h="10">
                  <a:moveTo>
                    <a:pt x="14" y="10"/>
                  </a:moveTo>
                  <a:cubicBezTo>
                    <a:pt x="12" y="10"/>
                    <a:pt x="11" y="9"/>
                    <a:pt x="11" y="8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9"/>
                    <a:pt x="4" y="10"/>
                    <a:pt x="2" y="10"/>
                  </a:cubicBezTo>
                  <a:cubicBezTo>
                    <a:pt x="1" y="10"/>
                    <a:pt x="0" y="9"/>
                    <a:pt x="0" y="8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6" y="1"/>
                    <a:pt x="16" y="2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9"/>
                    <a:pt x="15" y="10"/>
                    <a:pt x="14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01" name="Freeform 560">
              <a:extLst>
                <a:ext uri="{FF2B5EF4-FFF2-40B4-BE49-F238E27FC236}">
                  <a16:creationId xmlns:a16="http://schemas.microsoft.com/office/drawing/2014/main" id="{5FBE7C89-61C0-A117-B0D3-C704D79A0191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08157" y="2443156"/>
              <a:ext cx="36513" cy="22225"/>
            </a:xfrm>
            <a:custGeom>
              <a:avLst/>
              <a:gdLst>
                <a:gd name="T0" fmla="*/ 14 w 16"/>
                <a:gd name="T1" fmla="*/ 10 h 10"/>
                <a:gd name="T2" fmla="*/ 11 w 16"/>
                <a:gd name="T3" fmla="*/ 8 h 10"/>
                <a:gd name="T4" fmla="*/ 11 w 16"/>
                <a:gd name="T5" fmla="*/ 5 h 10"/>
                <a:gd name="T6" fmla="*/ 5 w 16"/>
                <a:gd name="T7" fmla="*/ 5 h 10"/>
                <a:gd name="T8" fmla="*/ 5 w 16"/>
                <a:gd name="T9" fmla="*/ 8 h 10"/>
                <a:gd name="T10" fmla="*/ 2 w 16"/>
                <a:gd name="T11" fmla="*/ 10 h 10"/>
                <a:gd name="T12" fmla="*/ 0 w 16"/>
                <a:gd name="T13" fmla="*/ 8 h 10"/>
                <a:gd name="T14" fmla="*/ 0 w 16"/>
                <a:gd name="T15" fmla="*/ 2 h 10"/>
                <a:gd name="T16" fmla="*/ 2 w 16"/>
                <a:gd name="T17" fmla="*/ 0 h 10"/>
                <a:gd name="T18" fmla="*/ 14 w 16"/>
                <a:gd name="T19" fmla="*/ 0 h 10"/>
                <a:gd name="T20" fmla="*/ 16 w 16"/>
                <a:gd name="T21" fmla="*/ 2 h 10"/>
                <a:gd name="T22" fmla="*/ 16 w 16"/>
                <a:gd name="T23" fmla="*/ 8 h 10"/>
                <a:gd name="T24" fmla="*/ 14 w 16"/>
                <a:gd name="T2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" h="10">
                  <a:moveTo>
                    <a:pt x="14" y="10"/>
                  </a:moveTo>
                  <a:cubicBezTo>
                    <a:pt x="12" y="10"/>
                    <a:pt x="11" y="9"/>
                    <a:pt x="11" y="8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9"/>
                    <a:pt x="4" y="10"/>
                    <a:pt x="2" y="10"/>
                  </a:cubicBezTo>
                  <a:cubicBezTo>
                    <a:pt x="1" y="10"/>
                    <a:pt x="0" y="9"/>
                    <a:pt x="0" y="8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6" y="1"/>
                    <a:pt x="16" y="2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9"/>
                    <a:pt x="15" y="10"/>
                    <a:pt x="14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02" name="Freeform 561">
              <a:extLst>
                <a:ext uri="{FF2B5EF4-FFF2-40B4-BE49-F238E27FC236}">
                  <a16:creationId xmlns:a16="http://schemas.microsoft.com/office/drawing/2014/main" id="{CBBD3387-8199-893C-47DA-F1B019F94B3B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03409" y="2473318"/>
              <a:ext cx="36513" cy="23813"/>
            </a:xfrm>
            <a:custGeom>
              <a:avLst/>
              <a:gdLst>
                <a:gd name="T0" fmla="*/ 13 w 16"/>
                <a:gd name="T1" fmla="*/ 11 h 11"/>
                <a:gd name="T2" fmla="*/ 11 w 16"/>
                <a:gd name="T3" fmla="*/ 8 h 11"/>
                <a:gd name="T4" fmla="*/ 11 w 16"/>
                <a:gd name="T5" fmla="*/ 5 h 11"/>
                <a:gd name="T6" fmla="*/ 5 w 16"/>
                <a:gd name="T7" fmla="*/ 5 h 11"/>
                <a:gd name="T8" fmla="*/ 5 w 16"/>
                <a:gd name="T9" fmla="*/ 8 h 11"/>
                <a:gd name="T10" fmla="*/ 2 w 16"/>
                <a:gd name="T11" fmla="*/ 11 h 11"/>
                <a:gd name="T12" fmla="*/ 0 w 16"/>
                <a:gd name="T13" fmla="*/ 8 h 11"/>
                <a:gd name="T14" fmla="*/ 0 w 16"/>
                <a:gd name="T15" fmla="*/ 3 h 11"/>
                <a:gd name="T16" fmla="*/ 2 w 16"/>
                <a:gd name="T17" fmla="*/ 0 h 11"/>
                <a:gd name="T18" fmla="*/ 13 w 16"/>
                <a:gd name="T19" fmla="*/ 0 h 11"/>
                <a:gd name="T20" fmla="*/ 16 w 16"/>
                <a:gd name="T21" fmla="*/ 3 h 11"/>
                <a:gd name="T22" fmla="*/ 16 w 16"/>
                <a:gd name="T23" fmla="*/ 8 h 11"/>
                <a:gd name="T24" fmla="*/ 13 w 16"/>
                <a:gd name="T2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" h="11">
                  <a:moveTo>
                    <a:pt x="13" y="11"/>
                  </a:moveTo>
                  <a:cubicBezTo>
                    <a:pt x="12" y="11"/>
                    <a:pt x="11" y="10"/>
                    <a:pt x="11" y="8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10"/>
                    <a:pt x="4" y="11"/>
                    <a:pt x="2" y="11"/>
                  </a:cubicBezTo>
                  <a:cubicBezTo>
                    <a:pt x="1" y="11"/>
                    <a:pt x="0" y="10"/>
                    <a:pt x="0" y="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5" y="0"/>
                    <a:pt x="16" y="1"/>
                    <a:pt x="16" y="3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10"/>
                    <a:pt x="15" y="11"/>
                    <a:pt x="1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03" name="Freeform 562">
              <a:extLst>
                <a:ext uri="{FF2B5EF4-FFF2-40B4-BE49-F238E27FC236}">
                  <a16:creationId xmlns:a16="http://schemas.microsoft.com/office/drawing/2014/main" id="{4618E18D-234A-AB67-EE3F-064C63D40347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55784" y="2473318"/>
              <a:ext cx="36513" cy="23813"/>
            </a:xfrm>
            <a:custGeom>
              <a:avLst/>
              <a:gdLst>
                <a:gd name="T0" fmla="*/ 14 w 16"/>
                <a:gd name="T1" fmla="*/ 11 h 11"/>
                <a:gd name="T2" fmla="*/ 11 w 16"/>
                <a:gd name="T3" fmla="*/ 8 h 11"/>
                <a:gd name="T4" fmla="*/ 11 w 16"/>
                <a:gd name="T5" fmla="*/ 5 h 11"/>
                <a:gd name="T6" fmla="*/ 5 w 16"/>
                <a:gd name="T7" fmla="*/ 5 h 11"/>
                <a:gd name="T8" fmla="*/ 5 w 16"/>
                <a:gd name="T9" fmla="*/ 8 h 11"/>
                <a:gd name="T10" fmla="*/ 2 w 16"/>
                <a:gd name="T11" fmla="*/ 11 h 11"/>
                <a:gd name="T12" fmla="*/ 0 w 16"/>
                <a:gd name="T13" fmla="*/ 8 h 11"/>
                <a:gd name="T14" fmla="*/ 0 w 16"/>
                <a:gd name="T15" fmla="*/ 3 h 11"/>
                <a:gd name="T16" fmla="*/ 2 w 16"/>
                <a:gd name="T17" fmla="*/ 0 h 11"/>
                <a:gd name="T18" fmla="*/ 14 w 16"/>
                <a:gd name="T19" fmla="*/ 0 h 11"/>
                <a:gd name="T20" fmla="*/ 16 w 16"/>
                <a:gd name="T21" fmla="*/ 3 h 11"/>
                <a:gd name="T22" fmla="*/ 16 w 16"/>
                <a:gd name="T23" fmla="*/ 8 h 11"/>
                <a:gd name="T24" fmla="*/ 14 w 16"/>
                <a:gd name="T2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" h="11">
                  <a:moveTo>
                    <a:pt x="14" y="11"/>
                  </a:moveTo>
                  <a:cubicBezTo>
                    <a:pt x="12" y="11"/>
                    <a:pt x="11" y="10"/>
                    <a:pt x="11" y="8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10"/>
                    <a:pt x="4" y="11"/>
                    <a:pt x="2" y="11"/>
                  </a:cubicBezTo>
                  <a:cubicBezTo>
                    <a:pt x="1" y="11"/>
                    <a:pt x="0" y="10"/>
                    <a:pt x="0" y="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6" y="1"/>
                    <a:pt x="16" y="3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10"/>
                    <a:pt x="15" y="11"/>
                    <a:pt x="1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04" name="Freeform 563">
              <a:extLst>
                <a:ext uri="{FF2B5EF4-FFF2-40B4-BE49-F238E27FC236}">
                  <a16:creationId xmlns:a16="http://schemas.microsoft.com/office/drawing/2014/main" id="{CA7827F0-0604-8445-B36A-87EDF376167F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08160" y="2473320"/>
              <a:ext cx="36513" cy="23813"/>
            </a:xfrm>
            <a:custGeom>
              <a:avLst/>
              <a:gdLst>
                <a:gd name="T0" fmla="*/ 14 w 16"/>
                <a:gd name="T1" fmla="*/ 11 h 11"/>
                <a:gd name="T2" fmla="*/ 11 w 16"/>
                <a:gd name="T3" fmla="*/ 8 h 11"/>
                <a:gd name="T4" fmla="*/ 11 w 16"/>
                <a:gd name="T5" fmla="*/ 5 h 11"/>
                <a:gd name="T6" fmla="*/ 5 w 16"/>
                <a:gd name="T7" fmla="*/ 5 h 11"/>
                <a:gd name="T8" fmla="*/ 5 w 16"/>
                <a:gd name="T9" fmla="*/ 8 h 11"/>
                <a:gd name="T10" fmla="*/ 2 w 16"/>
                <a:gd name="T11" fmla="*/ 11 h 11"/>
                <a:gd name="T12" fmla="*/ 0 w 16"/>
                <a:gd name="T13" fmla="*/ 8 h 11"/>
                <a:gd name="T14" fmla="*/ 0 w 16"/>
                <a:gd name="T15" fmla="*/ 3 h 11"/>
                <a:gd name="T16" fmla="*/ 2 w 16"/>
                <a:gd name="T17" fmla="*/ 0 h 11"/>
                <a:gd name="T18" fmla="*/ 14 w 16"/>
                <a:gd name="T19" fmla="*/ 0 h 11"/>
                <a:gd name="T20" fmla="*/ 16 w 16"/>
                <a:gd name="T21" fmla="*/ 3 h 11"/>
                <a:gd name="T22" fmla="*/ 16 w 16"/>
                <a:gd name="T23" fmla="*/ 8 h 11"/>
                <a:gd name="T24" fmla="*/ 14 w 16"/>
                <a:gd name="T2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" h="11">
                  <a:moveTo>
                    <a:pt x="14" y="11"/>
                  </a:moveTo>
                  <a:cubicBezTo>
                    <a:pt x="12" y="11"/>
                    <a:pt x="11" y="10"/>
                    <a:pt x="11" y="8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10"/>
                    <a:pt x="4" y="11"/>
                    <a:pt x="2" y="11"/>
                  </a:cubicBezTo>
                  <a:cubicBezTo>
                    <a:pt x="1" y="11"/>
                    <a:pt x="0" y="10"/>
                    <a:pt x="0" y="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6" y="1"/>
                    <a:pt x="16" y="3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10"/>
                    <a:pt x="15" y="11"/>
                    <a:pt x="1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05" name="Freeform 564">
              <a:extLst>
                <a:ext uri="{FF2B5EF4-FFF2-40B4-BE49-F238E27FC236}">
                  <a16:creationId xmlns:a16="http://schemas.microsoft.com/office/drawing/2014/main" id="{8BD3F2CF-9DA0-7F1B-CE97-6DF87E7A8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900238" y="2119313"/>
              <a:ext cx="139700" cy="100013"/>
            </a:xfrm>
            <a:custGeom>
              <a:avLst/>
              <a:gdLst>
                <a:gd name="T0" fmla="*/ 54 w 62"/>
                <a:gd name="T1" fmla="*/ 44 h 44"/>
                <a:gd name="T2" fmla="*/ 2 w 62"/>
                <a:gd name="T3" fmla="*/ 44 h 44"/>
                <a:gd name="T4" fmla="*/ 0 w 62"/>
                <a:gd name="T5" fmla="*/ 42 h 44"/>
                <a:gd name="T6" fmla="*/ 0 w 62"/>
                <a:gd name="T7" fmla="*/ 25 h 44"/>
                <a:gd name="T8" fmla="*/ 6 w 62"/>
                <a:gd name="T9" fmla="*/ 2 h 44"/>
                <a:gd name="T10" fmla="*/ 8 w 62"/>
                <a:gd name="T11" fmla="*/ 0 h 44"/>
                <a:gd name="T12" fmla="*/ 60 w 62"/>
                <a:gd name="T13" fmla="*/ 0 h 44"/>
                <a:gd name="T14" fmla="*/ 62 w 62"/>
                <a:gd name="T15" fmla="*/ 2 h 44"/>
                <a:gd name="T16" fmla="*/ 62 w 62"/>
                <a:gd name="T17" fmla="*/ 4 h 44"/>
                <a:gd name="T18" fmla="*/ 56 w 62"/>
                <a:gd name="T19" fmla="*/ 25 h 44"/>
                <a:gd name="T20" fmla="*/ 56 w 62"/>
                <a:gd name="T21" fmla="*/ 42 h 44"/>
                <a:gd name="T22" fmla="*/ 54 w 62"/>
                <a:gd name="T23" fmla="*/ 44 h 44"/>
                <a:gd name="T24" fmla="*/ 5 w 62"/>
                <a:gd name="T25" fmla="*/ 39 h 44"/>
                <a:gd name="T26" fmla="*/ 51 w 62"/>
                <a:gd name="T27" fmla="*/ 39 h 44"/>
                <a:gd name="T28" fmla="*/ 51 w 62"/>
                <a:gd name="T29" fmla="*/ 25 h 44"/>
                <a:gd name="T30" fmla="*/ 56 w 62"/>
                <a:gd name="T31" fmla="*/ 5 h 44"/>
                <a:gd name="T32" fmla="*/ 10 w 62"/>
                <a:gd name="T33" fmla="*/ 5 h 44"/>
                <a:gd name="T34" fmla="*/ 5 w 62"/>
                <a:gd name="T35" fmla="*/ 25 h 44"/>
                <a:gd name="T36" fmla="*/ 5 w 62"/>
                <a:gd name="T37" fmla="*/ 39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2" h="44">
                  <a:moveTo>
                    <a:pt x="54" y="44"/>
                  </a:moveTo>
                  <a:cubicBezTo>
                    <a:pt x="2" y="44"/>
                    <a:pt x="2" y="44"/>
                    <a:pt x="2" y="44"/>
                  </a:cubicBezTo>
                  <a:cubicBezTo>
                    <a:pt x="1" y="44"/>
                    <a:pt x="0" y="43"/>
                    <a:pt x="0" y="42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17"/>
                    <a:pt x="2" y="9"/>
                    <a:pt x="6" y="2"/>
                  </a:cubicBezTo>
                  <a:cubicBezTo>
                    <a:pt x="6" y="1"/>
                    <a:pt x="7" y="0"/>
                    <a:pt x="8" y="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60" y="0"/>
                    <a:pt x="61" y="1"/>
                    <a:pt x="62" y="2"/>
                  </a:cubicBezTo>
                  <a:cubicBezTo>
                    <a:pt x="62" y="2"/>
                    <a:pt x="62" y="3"/>
                    <a:pt x="62" y="4"/>
                  </a:cubicBezTo>
                  <a:cubicBezTo>
                    <a:pt x="58" y="10"/>
                    <a:pt x="56" y="17"/>
                    <a:pt x="56" y="25"/>
                  </a:cubicBezTo>
                  <a:cubicBezTo>
                    <a:pt x="56" y="42"/>
                    <a:pt x="56" y="42"/>
                    <a:pt x="56" y="42"/>
                  </a:cubicBezTo>
                  <a:cubicBezTo>
                    <a:pt x="56" y="43"/>
                    <a:pt x="55" y="44"/>
                    <a:pt x="54" y="44"/>
                  </a:cubicBezTo>
                  <a:close/>
                  <a:moveTo>
                    <a:pt x="5" y="39"/>
                  </a:moveTo>
                  <a:cubicBezTo>
                    <a:pt x="51" y="39"/>
                    <a:pt x="51" y="39"/>
                    <a:pt x="51" y="39"/>
                  </a:cubicBezTo>
                  <a:cubicBezTo>
                    <a:pt x="51" y="25"/>
                    <a:pt x="51" y="25"/>
                    <a:pt x="51" y="25"/>
                  </a:cubicBezTo>
                  <a:cubicBezTo>
                    <a:pt x="51" y="18"/>
                    <a:pt x="53" y="11"/>
                    <a:pt x="56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6" y="11"/>
                    <a:pt x="5" y="18"/>
                    <a:pt x="5" y="25"/>
                  </a:cubicBezTo>
                  <a:lnTo>
                    <a:pt x="5" y="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11" name="Shape43_20200717_142846">
            <a:extLst>
              <a:ext uri="{FF2B5EF4-FFF2-40B4-BE49-F238E27FC236}">
                <a16:creationId xmlns:a16="http://schemas.microsoft.com/office/drawing/2014/main" id="{4664D25F-DE95-3EC9-B5E3-BAE256C6392D}"/>
              </a:ext>
            </a:extLst>
          </p:cNvPr>
          <p:cNvGrpSpPr>
            <a:grpSpLocks noChangeAspect="1"/>
          </p:cNvGrpSpPr>
          <p:nvPr/>
        </p:nvGrpSpPr>
        <p:grpSpPr>
          <a:xfrm>
            <a:off x="11008768" y="1259674"/>
            <a:ext cx="618910" cy="527747"/>
            <a:chOff x="-2822578" y="1783724"/>
            <a:chExt cx="409580" cy="349249"/>
          </a:xfrm>
          <a:solidFill>
            <a:schemeClr val="accent1"/>
          </a:solidFill>
        </p:grpSpPr>
        <p:sp>
          <p:nvSpPr>
            <p:cNvPr id="412" name="Freeform 1412">
              <a:extLst>
                <a:ext uri="{FF2B5EF4-FFF2-40B4-BE49-F238E27FC236}">
                  <a16:creationId xmlns:a16="http://schemas.microsoft.com/office/drawing/2014/main" id="{0AF900C5-BF79-0733-FEF6-9095137470CE}"/>
                </a:ext>
              </a:extLst>
            </p:cNvPr>
            <p:cNvSpPr>
              <a:spLocks/>
            </p:cNvSpPr>
            <p:nvPr/>
          </p:nvSpPr>
          <p:spPr bwMode="auto">
            <a:xfrm>
              <a:off x="-2495549" y="2004385"/>
              <a:ext cx="11113" cy="107950"/>
            </a:xfrm>
            <a:custGeom>
              <a:avLst/>
              <a:gdLst>
                <a:gd name="T0" fmla="*/ 6 w 11"/>
                <a:gd name="T1" fmla="*/ 104 h 104"/>
                <a:gd name="T2" fmla="*/ 0 w 11"/>
                <a:gd name="T3" fmla="*/ 98 h 104"/>
                <a:gd name="T4" fmla="*/ 0 w 11"/>
                <a:gd name="T5" fmla="*/ 6 h 104"/>
                <a:gd name="T6" fmla="*/ 6 w 11"/>
                <a:gd name="T7" fmla="*/ 0 h 104"/>
                <a:gd name="T8" fmla="*/ 11 w 11"/>
                <a:gd name="T9" fmla="*/ 6 h 104"/>
                <a:gd name="T10" fmla="*/ 11 w 11"/>
                <a:gd name="T11" fmla="*/ 98 h 104"/>
                <a:gd name="T12" fmla="*/ 6 w 11"/>
                <a:gd name="T13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104">
                  <a:moveTo>
                    <a:pt x="6" y="104"/>
                  </a:moveTo>
                  <a:cubicBezTo>
                    <a:pt x="3" y="104"/>
                    <a:pt x="0" y="101"/>
                    <a:pt x="0" y="9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1" y="3"/>
                    <a:pt x="11" y="6"/>
                  </a:cubicBezTo>
                  <a:cubicBezTo>
                    <a:pt x="11" y="98"/>
                    <a:pt x="11" y="98"/>
                    <a:pt x="11" y="98"/>
                  </a:cubicBezTo>
                  <a:cubicBezTo>
                    <a:pt x="11" y="101"/>
                    <a:pt x="9" y="104"/>
                    <a:pt x="6" y="10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13" name="Freeform 1413">
              <a:extLst>
                <a:ext uri="{FF2B5EF4-FFF2-40B4-BE49-F238E27FC236}">
                  <a16:creationId xmlns:a16="http://schemas.microsoft.com/office/drawing/2014/main" id="{981BC7EF-30D3-46D0-1FE0-C9663F9802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635248" y="1858336"/>
              <a:ext cx="222250" cy="274637"/>
            </a:xfrm>
            <a:custGeom>
              <a:avLst/>
              <a:gdLst>
                <a:gd name="T0" fmla="*/ 159 w 214"/>
                <a:gd name="T1" fmla="*/ 263 h 264"/>
                <a:gd name="T2" fmla="*/ 142 w 214"/>
                <a:gd name="T3" fmla="*/ 257 h 264"/>
                <a:gd name="T4" fmla="*/ 140 w 214"/>
                <a:gd name="T5" fmla="*/ 254 h 264"/>
                <a:gd name="T6" fmla="*/ 137 w 214"/>
                <a:gd name="T7" fmla="*/ 257 h 264"/>
                <a:gd name="T8" fmla="*/ 118 w 214"/>
                <a:gd name="T9" fmla="*/ 263 h 264"/>
                <a:gd name="T10" fmla="*/ 96 w 214"/>
                <a:gd name="T11" fmla="*/ 238 h 264"/>
                <a:gd name="T12" fmla="*/ 96 w 214"/>
                <a:gd name="T13" fmla="*/ 116 h 264"/>
                <a:gd name="T14" fmla="*/ 96 w 214"/>
                <a:gd name="T15" fmla="*/ 115 h 264"/>
                <a:gd name="T16" fmla="*/ 96 w 214"/>
                <a:gd name="T17" fmla="*/ 58 h 264"/>
                <a:gd name="T18" fmla="*/ 81 w 214"/>
                <a:gd name="T19" fmla="*/ 65 h 264"/>
                <a:gd name="T20" fmla="*/ 43 w 214"/>
                <a:gd name="T21" fmla="*/ 77 h 264"/>
                <a:gd name="T22" fmla="*/ 23 w 214"/>
                <a:gd name="T23" fmla="*/ 81 h 264"/>
                <a:gd name="T24" fmla="*/ 2 w 214"/>
                <a:gd name="T25" fmla="*/ 69 h 264"/>
                <a:gd name="T26" fmla="*/ 2 w 214"/>
                <a:gd name="T27" fmla="*/ 54 h 264"/>
                <a:gd name="T28" fmla="*/ 14 w 214"/>
                <a:gd name="T29" fmla="*/ 44 h 264"/>
                <a:gd name="T30" fmla="*/ 48 w 214"/>
                <a:gd name="T31" fmla="*/ 33 h 264"/>
                <a:gd name="T32" fmla="*/ 81 w 214"/>
                <a:gd name="T33" fmla="*/ 8 h 264"/>
                <a:gd name="T34" fmla="*/ 101 w 214"/>
                <a:gd name="T35" fmla="*/ 0 h 264"/>
                <a:gd name="T36" fmla="*/ 178 w 214"/>
                <a:gd name="T37" fmla="*/ 0 h 264"/>
                <a:gd name="T38" fmla="*/ 214 w 214"/>
                <a:gd name="T39" fmla="*/ 36 h 264"/>
                <a:gd name="T40" fmla="*/ 214 w 214"/>
                <a:gd name="T41" fmla="*/ 116 h 264"/>
                <a:gd name="T42" fmla="*/ 207 w 214"/>
                <a:gd name="T43" fmla="*/ 132 h 264"/>
                <a:gd name="T44" fmla="*/ 191 w 214"/>
                <a:gd name="T45" fmla="*/ 137 h 264"/>
                <a:gd name="T46" fmla="*/ 183 w 214"/>
                <a:gd name="T47" fmla="*/ 135 h 264"/>
                <a:gd name="T48" fmla="*/ 183 w 214"/>
                <a:gd name="T49" fmla="*/ 238 h 264"/>
                <a:gd name="T50" fmla="*/ 161 w 214"/>
                <a:gd name="T51" fmla="*/ 263 h 264"/>
                <a:gd name="T52" fmla="*/ 159 w 214"/>
                <a:gd name="T53" fmla="*/ 263 h 264"/>
                <a:gd name="T54" fmla="*/ 140 w 214"/>
                <a:gd name="T55" fmla="*/ 233 h 264"/>
                <a:gd name="T56" fmla="*/ 145 w 214"/>
                <a:gd name="T57" fmla="*/ 238 h 264"/>
                <a:gd name="T58" fmla="*/ 150 w 214"/>
                <a:gd name="T59" fmla="*/ 249 h 264"/>
                <a:gd name="T60" fmla="*/ 160 w 214"/>
                <a:gd name="T61" fmla="*/ 252 h 264"/>
                <a:gd name="T62" fmla="*/ 172 w 214"/>
                <a:gd name="T63" fmla="*/ 238 h 264"/>
                <a:gd name="T64" fmla="*/ 172 w 214"/>
                <a:gd name="T65" fmla="*/ 116 h 264"/>
                <a:gd name="T66" fmla="*/ 178 w 214"/>
                <a:gd name="T67" fmla="*/ 110 h 264"/>
                <a:gd name="T68" fmla="*/ 183 w 214"/>
                <a:gd name="T69" fmla="*/ 116 h 264"/>
                <a:gd name="T70" fmla="*/ 192 w 214"/>
                <a:gd name="T71" fmla="*/ 126 h 264"/>
                <a:gd name="T72" fmla="*/ 200 w 214"/>
                <a:gd name="T73" fmla="*/ 124 h 264"/>
                <a:gd name="T74" fmla="*/ 203 w 214"/>
                <a:gd name="T75" fmla="*/ 116 h 264"/>
                <a:gd name="T76" fmla="*/ 203 w 214"/>
                <a:gd name="T77" fmla="*/ 36 h 264"/>
                <a:gd name="T78" fmla="*/ 178 w 214"/>
                <a:gd name="T79" fmla="*/ 11 h 264"/>
                <a:gd name="T80" fmla="*/ 101 w 214"/>
                <a:gd name="T81" fmla="*/ 11 h 264"/>
                <a:gd name="T82" fmla="*/ 87 w 214"/>
                <a:gd name="T83" fmla="*/ 16 h 264"/>
                <a:gd name="T84" fmla="*/ 54 w 214"/>
                <a:gd name="T85" fmla="*/ 42 h 264"/>
                <a:gd name="T86" fmla="*/ 52 w 214"/>
                <a:gd name="T87" fmla="*/ 43 h 264"/>
                <a:gd name="T88" fmla="*/ 17 w 214"/>
                <a:gd name="T89" fmla="*/ 54 h 264"/>
                <a:gd name="T90" fmla="*/ 12 w 214"/>
                <a:gd name="T91" fmla="*/ 59 h 264"/>
                <a:gd name="T92" fmla="*/ 12 w 214"/>
                <a:gd name="T93" fmla="*/ 65 h 264"/>
                <a:gd name="T94" fmla="*/ 21 w 214"/>
                <a:gd name="T95" fmla="*/ 70 h 264"/>
                <a:gd name="T96" fmla="*/ 41 w 214"/>
                <a:gd name="T97" fmla="*/ 66 h 264"/>
                <a:gd name="T98" fmla="*/ 76 w 214"/>
                <a:gd name="T99" fmla="*/ 55 h 264"/>
                <a:gd name="T100" fmla="*/ 99 w 214"/>
                <a:gd name="T101" fmla="*/ 45 h 264"/>
                <a:gd name="T102" fmla="*/ 104 w 214"/>
                <a:gd name="T103" fmla="*/ 45 h 264"/>
                <a:gd name="T104" fmla="*/ 107 w 214"/>
                <a:gd name="T105" fmla="*/ 50 h 264"/>
                <a:gd name="T106" fmla="*/ 107 w 214"/>
                <a:gd name="T107" fmla="*/ 116 h 264"/>
                <a:gd name="T108" fmla="*/ 107 w 214"/>
                <a:gd name="T109" fmla="*/ 116 h 264"/>
                <a:gd name="T110" fmla="*/ 107 w 214"/>
                <a:gd name="T111" fmla="*/ 238 h 264"/>
                <a:gd name="T112" fmla="*/ 119 w 214"/>
                <a:gd name="T113" fmla="*/ 252 h 264"/>
                <a:gd name="T114" fmla="*/ 130 w 214"/>
                <a:gd name="T115" fmla="*/ 249 h 264"/>
                <a:gd name="T116" fmla="*/ 134 w 214"/>
                <a:gd name="T117" fmla="*/ 238 h 264"/>
                <a:gd name="T118" fmla="*/ 140 w 214"/>
                <a:gd name="T119" fmla="*/ 233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14" h="264">
                  <a:moveTo>
                    <a:pt x="159" y="263"/>
                  </a:moveTo>
                  <a:cubicBezTo>
                    <a:pt x="153" y="263"/>
                    <a:pt x="147" y="261"/>
                    <a:pt x="142" y="257"/>
                  </a:cubicBezTo>
                  <a:cubicBezTo>
                    <a:pt x="141" y="256"/>
                    <a:pt x="140" y="255"/>
                    <a:pt x="140" y="254"/>
                  </a:cubicBezTo>
                  <a:cubicBezTo>
                    <a:pt x="139" y="255"/>
                    <a:pt x="138" y="256"/>
                    <a:pt x="137" y="257"/>
                  </a:cubicBezTo>
                  <a:cubicBezTo>
                    <a:pt x="132" y="261"/>
                    <a:pt x="125" y="264"/>
                    <a:pt x="118" y="263"/>
                  </a:cubicBezTo>
                  <a:cubicBezTo>
                    <a:pt x="106" y="262"/>
                    <a:pt x="96" y="251"/>
                    <a:pt x="96" y="238"/>
                  </a:cubicBezTo>
                  <a:cubicBezTo>
                    <a:pt x="96" y="116"/>
                    <a:pt x="96" y="116"/>
                    <a:pt x="96" y="116"/>
                  </a:cubicBezTo>
                  <a:cubicBezTo>
                    <a:pt x="96" y="116"/>
                    <a:pt x="96" y="116"/>
                    <a:pt x="96" y="115"/>
                  </a:cubicBezTo>
                  <a:cubicBezTo>
                    <a:pt x="96" y="58"/>
                    <a:pt x="96" y="58"/>
                    <a:pt x="96" y="58"/>
                  </a:cubicBezTo>
                  <a:cubicBezTo>
                    <a:pt x="81" y="65"/>
                    <a:pt x="81" y="65"/>
                    <a:pt x="81" y="65"/>
                  </a:cubicBezTo>
                  <a:cubicBezTo>
                    <a:pt x="69" y="71"/>
                    <a:pt x="56" y="75"/>
                    <a:pt x="43" y="77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14" y="83"/>
                    <a:pt x="5" y="78"/>
                    <a:pt x="2" y="69"/>
                  </a:cubicBezTo>
                  <a:cubicBezTo>
                    <a:pt x="0" y="64"/>
                    <a:pt x="0" y="59"/>
                    <a:pt x="2" y="54"/>
                  </a:cubicBezTo>
                  <a:cubicBezTo>
                    <a:pt x="5" y="49"/>
                    <a:pt x="9" y="46"/>
                    <a:pt x="14" y="44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81" y="8"/>
                    <a:pt x="81" y="8"/>
                    <a:pt x="81" y="8"/>
                  </a:cubicBezTo>
                  <a:cubicBezTo>
                    <a:pt x="87" y="3"/>
                    <a:pt x="94" y="0"/>
                    <a:pt x="101" y="0"/>
                  </a:cubicBezTo>
                  <a:cubicBezTo>
                    <a:pt x="178" y="0"/>
                    <a:pt x="178" y="0"/>
                    <a:pt x="178" y="0"/>
                  </a:cubicBezTo>
                  <a:cubicBezTo>
                    <a:pt x="198" y="0"/>
                    <a:pt x="214" y="16"/>
                    <a:pt x="214" y="36"/>
                  </a:cubicBezTo>
                  <a:cubicBezTo>
                    <a:pt x="214" y="116"/>
                    <a:pt x="214" y="116"/>
                    <a:pt x="214" y="116"/>
                  </a:cubicBezTo>
                  <a:cubicBezTo>
                    <a:pt x="214" y="122"/>
                    <a:pt x="211" y="128"/>
                    <a:pt x="207" y="132"/>
                  </a:cubicBezTo>
                  <a:cubicBezTo>
                    <a:pt x="203" y="136"/>
                    <a:pt x="197" y="138"/>
                    <a:pt x="191" y="137"/>
                  </a:cubicBezTo>
                  <a:cubicBezTo>
                    <a:pt x="188" y="137"/>
                    <a:pt x="186" y="136"/>
                    <a:pt x="183" y="135"/>
                  </a:cubicBezTo>
                  <a:cubicBezTo>
                    <a:pt x="183" y="238"/>
                    <a:pt x="183" y="238"/>
                    <a:pt x="183" y="238"/>
                  </a:cubicBezTo>
                  <a:cubicBezTo>
                    <a:pt x="183" y="251"/>
                    <a:pt x="174" y="262"/>
                    <a:pt x="161" y="263"/>
                  </a:cubicBezTo>
                  <a:cubicBezTo>
                    <a:pt x="160" y="263"/>
                    <a:pt x="160" y="263"/>
                    <a:pt x="159" y="263"/>
                  </a:cubicBezTo>
                  <a:close/>
                  <a:moveTo>
                    <a:pt x="140" y="233"/>
                  </a:moveTo>
                  <a:cubicBezTo>
                    <a:pt x="143" y="233"/>
                    <a:pt x="145" y="235"/>
                    <a:pt x="145" y="238"/>
                  </a:cubicBezTo>
                  <a:cubicBezTo>
                    <a:pt x="145" y="242"/>
                    <a:pt x="147" y="246"/>
                    <a:pt x="150" y="249"/>
                  </a:cubicBezTo>
                  <a:cubicBezTo>
                    <a:pt x="152" y="251"/>
                    <a:pt x="156" y="252"/>
                    <a:pt x="160" y="252"/>
                  </a:cubicBezTo>
                  <a:cubicBezTo>
                    <a:pt x="167" y="251"/>
                    <a:pt x="172" y="245"/>
                    <a:pt x="172" y="238"/>
                  </a:cubicBezTo>
                  <a:cubicBezTo>
                    <a:pt x="172" y="116"/>
                    <a:pt x="172" y="116"/>
                    <a:pt x="172" y="116"/>
                  </a:cubicBezTo>
                  <a:cubicBezTo>
                    <a:pt x="172" y="113"/>
                    <a:pt x="175" y="110"/>
                    <a:pt x="178" y="110"/>
                  </a:cubicBezTo>
                  <a:cubicBezTo>
                    <a:pt x="181" y="110"/>
                    <a:pt x="183" y="113"/>
                    <a:pt x="183" y="116"/>
                  </a:cubicBezTo>
                  <a:cubicBezTo>
                    <a:pt x="183" y="121"/>
                    <a:pt x="187" y="126"/>
                    <a:pt x="192" y="126"/>
                  </a:cubicBezTo>
                  <a:cubicBezTo>
                    <a:pt x="195" y="126"/>
                    <a:pt x="198" y="126"/>
                    <a:pt x="200" y="124"/>
                  </a:cubicBezTo>
                  <a:cubicBezTo>
                    <a:pt x="202" y="122"/>
                    <a:pt x="203" y="119"/>
                    <a:pt x="203" y="116"/>
                  </a:cubicBezTo>
                  <a:cubicBezTo>
                    <a:pt x="203" y="36"/>
                    <a:pt x="203" y="36"/>
                    <a:pt x="203" y="36"/>
                  </a:cubicBezTo>
                  <a:cubicBezTo>
                    <a:pt x="203" y="22"/>
                    <a:pt x="192" y="11"/>
                    <a:pt x="178" y="11"/>
                  </a:cubicBezTo>
                  <a:cubicBezTo>
                    <a:pt x="101" y="11"/>
                    <a:pt x="101" y="11"/>
                    <a:pt x="101" y="11"/>
                  </a:cubicBezTo>
                  <a:cubicBezTo>
                    <a:pt x="97" y="11"/>
                    <a:pt x="92" y="13"/>
                    <a:pt x="87" y="16"/>
                  </a:cubicBezTo>
                  <a:cubicBezTo>
                    <a:pt x="54" y="42"/>
                    <a:pt x="54" y="42"/>
                    <a:pt x="54" y="42"/>
                  </a:cubicBezTo>
                  <a:cubicBezTo>
                    <a:pt x="54" y="43"/>
                    <a:pt x="53" y="43"/>
                    <a:pt x="52" y="43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5" y="55"/>
                    <a:pt x="13" y="57"/>
                    <a:pt x="12" y="59"/>
                  </a:cubicBezTo>
                  <a:cubicBezTo>
                    <a:pt x="11" y="61"/>
                    <a:pt x="11" y="63"/>
                    <a:pt x="12" y="65"/>
                  </a:cubicBezTo>
                  <a:cubicBezTo>
                    <a:pt x="13" y="69"/>
                    <a:pt x="17" y="71"/>
                    <a:pt x="21" y="70"/>
                  </a:cubicBezTo>
                  <a:cubicBezTo>
                    <a:pt x="41" y="66"/>
                    <a:pt x="41" y="66"/>
                    <a:pt x="41" y="66"/>
                  </a:cubicBezTo>
                  <a:cubicBezTo>
                    <a:pt x="53" y="64"/>
                    <a:pt x="65" y="60"/>
                    <a:pt x="76" y="55"/>
                  </a:cubicBezTo>
                  <a:cubicBezTo>
                    <a:pt x="99" y="45"/>
                    <a:pt x="99" y="45"/>
                    <a:pt x="99" y="45"/>
                  </a:cubicBezTo>
                  <a:cubicBezTo>
                    <a:pt x="101" y="44"/>
                    <a:pt x="103" y="44"/>
                    <a:pt x="104" y="45"/>
                  </a:cubicBezTo>
                  <a:cubicBezTo>
                    <a:pt x="106" y="46"/>
                    <a:pt x="107" y="48"/>
                    <a:pt x="107" y="50"/>
                  </a:cubicBezTo>
                  <a:cubicBezTo>
                    <a:pt x="107" y="116"/>
                    <a:pt x="107" y="116"/>
                    <a:pt x="107" y="116"/>
                  </a:cubicBezTo>
                  <a:cubicBezTo>
                    <a:pt x="107" y="116"/>
                    <a:pt x="107" y="116"/>
                    <a:pt x="107" y="116"/>
                  </a:cubicBezTo>
                  <a:cubicBezTo>
                    <a:pt x="107" y="238"/>
                    <a:pt x="107" y="238"/>
                    <a:pt x="107" y="238"/>
                  </a:cubicBezTo>
                  <a:cubicBezTo>
                    <a:pt x="107" y="245"/>
                    <a:pt x="112" y="251"/>
                    <a:pt x="119" y="252"/>
                  </a:cubicBezTo>
                  <a:cubicBezTo>
                    <a:pt x="123" y="252"/>
                    <a:pt x="127" y="251"/>
                    <a:pt x="130" y="249"/>
                  </a:cubicBezTo>
                  <a:cubicBezTo>
                    <a:pt x="133" y="246"/>
                    <a:pt x="134" y="242"/>
                    <a:pt x="134" y="238"/>
                  </a:cubicBezTo>
                  <a:cubicBezTo>
                    <a:pt x="134" y="235"/>
                    <a:pt x="137" y="233"/>
                    <a:pt x="140" y="23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14" name="Freeform 1414">
              <a:extLst>
                <a:ext uri="{FF2B5EF4-FFF2-40B4-BE49-F238E27FC236}">
                  <a16:creationId xmlns:a16="http://schemas.microsoft.com/office/drawing/2014/main" id="{B5F6FA94-9B88-B736-48CF-25DAC5B988AE}"/>
                </a:ext>
              </a:extLst>
            </p:cNvPr>
            <p:cNvSpPr>
              <a:spLocks/>
            </p:cNvSpPr>
            <p:nvPr/>
          </p:nvSpPr>
          <p:spPr bwMode="auto">
            <a:xfrm>
              <a:off x="-2535238" y="1858336"/>
              <a:ext cx="90488" cy="11113"/>
            </a:xfrm>
            <a:custGeom>
              <a:avLst/>
              <a:gdLst>
                <a:gd name="T0" fmla="*/ 82 w 87"/>
                <a:gd name="T1" fmla="*/ 11 h 11"/>
                <a:gd name="T2" fmla="*/ 5 w 87"/>
                <a:gd name="T3" fmla="*/ 11 h 11"/>
                <a:gd name="T4" fmla="*/ 0 w 87"/>
                <a:gd name="T5" fmla="*/ 6 h 11"/>
                <a:gd name="T6" fmla="*/ 5 w 87"/>
                <a:gd name="T7" fmla="*/ 0 h 11"/>
                <a:gd name="T8" fmla="*/ 82 w 87"/>
                <a:gd name="T9" fmla="*/ 0 h 11"/>
                <a:gd name="T10" fmla="*/ 87 w 87"/>
                <a:gd name="T11" fmla="*/ 6 h 11"/>
                <a:gd name="T12" fmla="*/ 82 w 87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11">
                  <a:moveTo>
                    <a:pt x="82" y="11"/>
                  </a:moveTo>
                  <a:cubicBezTo>
                    <a:pt x="5" y="11"/>
                    <a:pt x="5" y="11"/>
                    <a:pt x="5" y="11"/>
                  </a:cubicBezTo>
                  <a:cubicBezTo>
                    <a:pt x="2" y="11"/>
                    <a:pt x="0" y="9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85" y="0"/>
                    <a:pt x="87" y="3"/>
                    <a:pt x="87" y="6"/>
                  </a:cubicBezTo>
                  <a:cubicBezTo>
                    <a:pt x="87" y="9"/>
                    <a:pt x="85" y="11"/>
                    <a:pt x="82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15" name="Freeform 1415">
              <a:extLst>
                <a:ext uri="{FF2B5EF4-FFF2-40B4-BE49-F238E27FC236}">
                  <a16:creationId xmlns:a16="http://schemas.microsoft.com/office/drawing/2014/main" id="{A7D753ED-B648-BBB2-8212-25EEF8C313FC}"/>
                </a:ext>
              </a:extLst>
            </p:cNvPr>
            <p:cNvSpPr>
              <a:spLocks/>
            </p:cNvSpPr>
            <p:nvPr/>
          </p:nvSpPr>
          <p:spPr bwMode="auto">
            <a:xfrm>
              <a:off x="-2455864" y="1904372"/>
              <a:ext cx="11113" cy="79374"/>
            </a:xfrm>
            <a:custGeom>
              <a:avLst/>
              <a:gdLst>
                <a:gd name="T0" fmla="*/ 6 w 11"/>
                <a:gd name="T1" fmla="*/ 77 h 77"/>
                <a:gd name="T2" fmla="*/ 0 w 11"/>
                <a:gd name="T3" fmla="*/ 72 h 77"/>
                <a:gd name="T4" fmla="*/ 0 w 11"/>
                <a:gd name="T5" fmla="*/ 6 h 77"/>
                <a:gd name="T6" fmla="*/ 6 w 11"/>
                <a:gd name="T7" fmla="*/ 0 h 77"/>
                <a:gd name="T8" fmla="*/ 11 w 11"/>
                <a:gd name="T9" fmla="*/ 6 h 77"/>
                <a:gd name="T10" fmla="*/ 11 w 11"/>
                <a:gd name="T11" fmla="*/ 72 h 77"/>
                <a:gd name="T12" fmla="*/ 6 w 11"/>
                <a:gd name="T13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77">
                  <a:moveTo>
                    <a:pt x="6" y="77"/>
                  </a:moveTo>
                  <a:cubicBezTo>
                    <a:pt x="3" y="77"/>
                    <a:pt x="0" y="75"/>
                    <a:pt x="0" y="7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1" y="3"/>
                    <a:pt x="11" y="6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5"/>
                    <a:pt x="9" y="77"/>
                    <a:pt x="6" y="7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16" name="Freeform 1416">
              <a:extLst>
                <a:ext uri="{FF2B5EF4-FFF2-40B4-BE49-F238E27FC236}">
                  <a16:creationId xmlns:a16="http://schemas.microsoft.com/office/drawing/2014/main" id="{B961C98E-9AA8-6193-B14D-739A888642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522541" y="1783724"/>
              <a:ext cx="65088" cy="65088"/>
            </a:xfrm>
            <a:custGeom>
              <a:avLst/>
              <a:gdLst>
                <a:gd name="T0" fmla="*/ 32 w 63"/>
                <a:gd name="T1" fmla="*/ 63 h 63"/>
                <a:gd name="T2" fmla="*/ 0 w 63"/>
                <a:gd name="T3" fmla="*/ 31 h 63"/>
                <a:gd name="T4" fmla="*/ 32 w 63"/>
                <a:gd name="T5" fmla="*/ 0 h 63"/>
                <a:gd name="T6" fmla="*/ 63 w 63"/>
                <a:gd name="T7" fmla="*/ 31 h 63"/>
                <a:gd name="T8" fmla="*/ 32 w 63"/>
                <a:gd name="T9" fmla="*/ 63 h 63"/>
                <a:gd name="T10" fmla="*/ 32 w 63"/>
                <a:gd name="T11" fmla="*/ 11 h 63"/>
                <a:gd name="T12" fmla="*/ 11 w 63"/>
                <a:gd name="T13" fmla="*/ 31 h 63"/>
                <a:gd name="T14" fmla="*/ 32 w 63"/>
                <a:gd name="T15" fmla="*/ 52 h 63"/>
                <a:gd name="T16" fmla="*/ 52 w 63"/>
                <a:gd name="T17" fmla="*/ 31 h 63"/>
                <a:gd name="T18" fmla="*/ 32 w 63"/>
                <a:gd name="T19" fmla="*/ 1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3" h="63">
                  <a:moveTo>
                    <a:pt x="32" y="63"/>
                  </a:moveTo>
                  <a:cubicBezTo>
                    <a:pt x="14" y="63"/>
                    <a:pt x="0" y="49"/>
                    <a:pt x="0" y="31"/>
                  </a:cubicBezTo>
                  <a:cubicBezTo>
                    <a:pt x="0" y="14"/>
                    <a:pt x="14" y="0"/>
                    <a:pt x="32" y="0"/>
                  </a:cubicBezTo>
                  <a:cubicBezTo>
                    <a:pt x="49" y="0"/>
                    <a:pt x="63" y="14"/>
                    <a:pt x="63" y="31"/>
                  </a:cubicBezTo>
                  <a:cubicBezTo>
                    <a:pt x="63" y="49"/>
                    <a:pt x="49" y="63"/>
                    <a:pt x="32" y="63"/>
                  </a:cubicBezTo>
                  <a:close/>
                  <a:moveTo>
                    <a:pt x="32" y="11"/>
                  </a:moveTo>
                  <a:cubicBezTo>
                    <a:pt x="21" y="11"/>
                    <a:pt x="11" y="20"/>
                    <a:pt x="11" y="31"/>
                  </a:cubicBezTo>
                  <a:cubicBezTo>
                    <a:pt x="11" y="42"/>
                    <a:pt x="21" y="52"/>
                    <a:pt x="32" y="52"/>
                  </a:cubicBezTo>
                  <a:cubicBezTo>
                    <a:pt x="43" y="52"/>
                    <a:pt x="52" y="42"/>
                    <a:pt x="52" y="31"/>
                  </a:cubicBezTo>
                  <a:cubicBezTo>
                    <a:pt x="52" y="20"/>
                    <a:pt x="43" y="11"/>
                    <a:pt x="32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17" name="Freeform 1417">
              <a:extLst>
                <a:ext uri="{FF2B5EF4-FFF2-40B4-BE49-F238E27FC236}">
                  <a16:creationId xmlns:a16="http://schemas.microsoft.com/office/drawing/2014/main" id="{3695A680-232F-B6A0-7BAE-22E58FA7E2B8}"/>
                </a:ext>
              </a:extLst>
            </p:cNvPr>
            <p:cNvSpPr>
              <a:spLocks/>
            </p:cNvSpPr>
            <p:nvPr/>
          </p:nvSpPr>
          <p:spPr bwMode="auto">
            <a:xfrm>
              <a:off x="-2752729" y="2002799"/>
              <a:ext cx="52388" cy="76200"/>
            </a:xfrm>
            <a:custGeom>
              <a:avLst/>
              <a:gdLst>
                <a:gd name="T0" fmla="*/ 25 w 51"/>
                <a:gd name="T1" fmla="*/ 73 h 73"/>
                <a:gd name="T2" fmla="*/ 1 w 51"/>
                <a:gd name="T3" fmla="*/ 61 h 73"/>
                <a:gd name="T4" fmla="*/ 2 w 51"/>
                <a:gd name="T5" fmla="*/ 54 h 73"/>
                <a:gd name="T6" fmla="*/ 10 w 51"/>
                <a:gd name="T7" fmla="*/ 55 h 73"/>
                <a:gd name="T8" fmla="*/ 34 w 51"/>
                <a:gd name="T9" fmla="*/ 60 h 73"/>
                <a:gd name="T10" fmla="*/ 34 w 51"/>
                <a:gd name="T11" fmla="*/ 60 h 73"/>
                <a:gd name="T12" fmla="*/ 39 w 51"/>
                <a:gd name="T13" fmla="*/ 51 h 73"/>
                <a:gd name="T14" fmla="*/ 32 w 51"/>
                <a:gd name="T15" fmla="*/ 43 h 73"/>
                <a:gd name="T16" fmla="*/ 15 w 51"/>
                <a:gd name="T17" fmla="*/ 38 h 73"/>
                <a:gd name="T18" fmla="*/ 1 w 51"/>
                <a:gd name="T19" fmla="*/ 19 h 73"/>
                <a:gd name="T20" fmla="*/ 7 w 51"/>
                <a:gd name="T21" fmla="*/ 6 h 73"/>
                <a:gd name="T22" fmla="*/ 26 w 51"/>
                <a:gd name="T23" fmla="*/ 0 h 73"/>
                <a:gd name="T24" fmla="*/ 50 w 51"/>
                <a:gd name="T25" fmla="*/ 17 h 73"/>
                <a:gd name="T26" fmla="*/ 46 w 51"/>
                <a:gd name="T27" fmla="*/ 24 h 73"/>
                <a:gd name="T28" fmla="*/ 39 w 51"/>
                <a:gd name="T29" fmla="*/ 20 h 73"/>
                <a:gd name="T30" fmla="*/ 26 w 51"/>
                <a:gd name="T31" fmla="*/ 11 h 73"/>
                <a:gd name="T32" fmla="*/ 25 w 51"/>
                <a:gd name="T33" fmla="*/ 11 h 73"/>
                <a:gd name="T34" fmla="*/ 14 w 51"/>
                <a:gd name="T35" fmla="*/ 14 h 73"/>
                <a:gd name="T36" fmla="*/ 12 w 51"/>
                <a:gd name="T37" fmla="*/ 19 h 73"/>
                <a:gd name="T38" fmla="*/ 18 w 51"/>
                <a:gd name="T39" fmla="*/ 27 h 73"/>
                <a:gd name="T40" fmla="*/ 35 w 51"/>
                <a:gd name="T41" fmla="*/ 32 h 73"/>
                <a:gd name="T42" fmla="*/ 50 w 51"/>
                <a:gd name="T43" fmla="*/ 50 h 73"/>
                <a:gd name="T44" fmla="*/ 39 w 51"/>
                <a:gd name="T45" fmla="*/ 70 h 73"/>
                <a:gd name="T46" fmla="*/ 25 w 51"/>
                <a:gd name="T47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1" h="73">
                  <a:moveTo>
                    <a:pt x="25" y="73"/>
                  </a:moveTo>
                  <a:cubicBezTo>
                    <a:pt x="17" y="73"/>
                    <a:pt x="8" y="70"/>
                    <a:pt x="1" y="61"/>
                  </a:cubicBezTo>
                  <a:cubicBezTo>
                    <a:pt x="0" y="59"/>
                    <a:pt x="0" y="56"/>
                    <a:pt x="2" y="54"/>
                  </a:cubicBezTo>
                  <a:cubicBezTo>
                    <a:pt x="5" y="52"/>
                    <a:pt x="8" y="52"/>
                    <a:pt x="10" y="55"/>
                  </a:cubicBezTo>
                  <a:cubicBezTo>
                    <a:pt x="19" y="67"/>
                    <a:pt x="33" y="61"/>
                    <a:pt x="34" y="60"/>
                  </a:cubicBezTo>
                  <a:cubicBezTo>
                    <a:pt x="34" y="60"/>
                    <a:pt x="34" y="60"/>
                    <a:pt x="34" y="60"/>
                  </a:cubicBezTo>
                  <a:cubicBezTo>
                    <a:pt x="35" y="60"/>
                    <a:pt x="39" y="57"/>
                    <a:pt x="39" y="51"/>
                  </a:cubicBezTo>
                  <a:cubicBezTo>
                    <a:pt x="38" y="45"/>
                    <a:pt x="32" y="43"/>
                    <a:pt x="32" y="43"/>
                  </a:cubicBezTo>
                  <a:cubicBezTo>
                    <a:pt x="32" y="43"/>
                    <a:pt x="23" y="40"/>
                    <a:pt x="15" y="38"/>
                  </a:cubicBezTo>
                  <a:cubicBezTo>
                    <a:pt x="3" y="34"/>
                    <a:pt x="1" y="26"/>
                    <a:pt x="1" y="19"/>
                  </a:cubicBezTo>
                  <a:cubicBezTo>
                    <a:pt x="1" y="14"/>
                    <a:pt x="3" y="9"/>
                    <a:pt x="7" y="6"/>
                  </a:cubicBezTo>
                  <a:cubicBezTo>
                    <a:pt x="11" y="2"/>
                    <a:pt x="17" y="0"/>
                    <a:pt x="26" y="0"/>
                  </a:cubicBezTo>
                  <a:cubicBezTo>
                    <a:pt x="41" y="0"/>
                    <a:pt x="48" y="11"/>
                    <a:pt x="50" y="17"/>
                  </a:cubicBezTo>
                  <a:cubicBezTo>
                    <a:pt x="51" y="20"/>
                    <a:pt x="49" y="23"/>
                    <a:pt x="46" y="24"/>
                  </a:cubicBezTo>
                  <a:cubicBezTo>
                    <a:pt x="43" y="25"/>
                    <a:pt x="40" y="23"/>
                    <a:pt x="39" y="20"/>
                  </a:cubicBezTo>
                  <a:cubicBezTo>
                    <a:pt x="39" y="19"/>
                    <a:pt x="36" y="11"/>
                    <a:pt x="26" y="11"/>
                  </a:cubicBezTo>
                  <a:cubicBezTo>
                    <a:pt x="25" y="11"/>
                    <a:pt x="25" y="11"/>
                    <a:pt x="25" y="11"/>
                  </a:cubicBezTo>
                  <a:cubicBezTo>
                    <a:pt x="20" y="11"/>
                    <a:pt x="16" y="12"/>
                    <a:pt x="14" y="14"/>
                  </a:cubicBezTo>
                  <a:cubicBezTo>
                    <a:pt x="12" y="15"/>
                    <a:pt x="12" y="17"/>
                    <a:pt x="12" y="19"/>
                  </a:cubicBezTo>
                  <a:cubicBezTo>
                    <a:pt x="12" y="23"/>
                    <a:pt x="13" y="26"/>
                    <a:pt x="18" y="27"/>
                  </a:cubicBezTo>
                  <a:cubicBezTo>
                    <a:pt x="27" y="30"/>
                    <a:pt x="35" y="32"/>
                    <a:pt x="35" y="32"/>
                  </a:cubicBezTo>
                  <a:cubicBezTo>
                    <a:pt x="40" y="34"/>
                    <a:pt x="49" y="39"/>
                    <a:pt x="50" y="50"/>
                  </a:cubicBezTo>
                  <a:cubicBezTo>
                    <a:pt x="51" y="62"/>
                    <a:pt x="43" y="68"/>
                    <a:pt x="39" y="70"/>
                  </a:cubicBezTo>
                  <a:cubicBezTo>
                    <a:pt x="36" y="72"/>
                    <a:pt x="30" y="73"/>
                    <a:pt x="25" y="7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18" name="Freeform 1418">
              <a:extLst>
                <a:ext uri="{FF2B5EF4-FFF2-40B4-BE49-F238E27FC236}">
                  <a16:creationId xmlns:a16="http://schemas.microsoft.com/office/drawing/2014/main" id="{C44256D5-9F5B-7AB0-51FC-44E79B664181}"/>
                </a:ext>
              </a:extLst>
            </p:cNvPr>
            <p:cNvSpPr>
              <a:spLocks/>
            </p:cNvSpPr>
            <p:nvPr/>
          </p:nvSpPr>
          <p:spPr bwMode="auto">
            <a:xfrm>
              <a:off x="-2732091" y="1990099"/>
              <a:ext cx="11113" cy="23813"/>
            </a:xfrm>
            <a:custGeom>
              <a:avLst/>
              <a:gdLst>
                <a:gd name="T0" fmla="*/ 6 w 11"/>
                <a:gd name="T1" fmla="*/ 24 h 24"/>
                <a:gd name="T2" fmla="*/ 0 w 11"/>
                <a:gd name="T3" fmla="*/ 19 h 24"/>
                <a:gd name="T4" fmla="*/ 0 w 11"/>
                <a:gd name="T5" fmla="*/ 6 h 24"/>
                <a:gd name="T6" fmla="*/ 6 w 11"/>
                <a:gd name="T7" fmla="*/ 0 h 24"/>
                <a:gd name="T8" fmla="*/ 11 w 11"/>
                <a:gd name="T9" fmla="*/ 6 h 24"/>
                <a:gd name="T10" fmla="*/ 11 w 11"/>
                <a:gd name="T11" fmla="*/ 19 h 24"/>
                <a:gd name="T12" fmla="*/ 6 w 11"/>
                <a:gd name="T13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4">
                  <a:moveTo>
                    <a:pt x="6" y="24"/>
                  </a:moveTo>
                  <a:cubicBezTo>
                    <a:pt x="3" y="24"/>
                    <a:pt x="0" y="22"/>
                    <a:pt x="0" y="19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1" y="3"/>
                    <a:pt x="11" y="6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11" y="22"/>
                    <a:pt x="9" y="24"/>
                    <a:pt x="6" y="2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19" name="Freeform 1419">
              <a:extLst>
                <a:ext uri="{FF2B5EF4-FFF2-40B4-BE49-F238E27FC236}">
                  <a16:creationId xmlns:a16="http://schemas.microsoft.com/office/drawing/2014/main" id="{C2317A1A-2EE7-8616-C2E1-BEE5D59BD950}"/>
                </a:ext>
              </a:extLst>
            </p:cNvPr>
            <p:cNvSpPr>
              <a:spLocks/>
            </p:cNvSpPr>
            <p:nvPr/>
          </p:nvSpPr>
          <p:spPr bwMode="auto">
            <a:xfrm>
              <a:off x="-2732091" y="2067886"/>
              <a:ext cx="11113" cy="25400"/>
            </a:xfrm>
            <a:custGeom>
              <a:avLst/>
              <a:gdLst>
                <a:gd name="T0" fmla="*/ 6 w 11"/>
                <a:gd name="T1" fmla="*/ 24 h 24"/>
                <a:gd name="T2" fmla="*/ 0 w 11"/>
                <a:gd name="T3" fmla="*/ 18 h 24"/>
                <a:gd name="T4" fmla="*/ 0 w 11"/>
                <a:gd name="T5" fmla="*/ 6 h 24"/>
                <a:gd name="T6" fmla="*/ 6 w 11"/>
                <a:gd name="T7" fmla="*/ 0 h 24"/>
                <a:gd name="T8" fmla="*/ 11 w 11"/>
                <a:gd name="T9" fmla="*/ 6 h 24"/>
                <a:gd name="T10" fmla="*/ 11 w 11"/>
                <a:gd name="T11" fmla="*/ 18 h 24"/>
                <a:gd name="T12" fmla="*/ 6 w 11"/>
                <a:gd name="T13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4">
                  <a:moveTo>
                    <a:pt x="6" y="24"/>
                  </a:moveTo>
                  <a:cubicBezTo>
                    <a:pt x="3" y="24"/>
                    <a:pt x="0" y="22"/>
                    <a:pt x="0" y="1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1" y="3"/>
                    <a:pt x="11" y="6"/>
                  </a:cubicBezTo>
                  <a:cubicBezTo>
                    <a:pt x="11" y="18"/>
                    <a:pt x="11" y="18"/>
                    <a:pt x="11" y="18"/>
                  </a:cubicBezTo>
                  <a:cubicBezTo>
                    <a:pt x="11" y="22"/>
                    <a:pt x="9" y="24"/>
                    <a:pt x="6" y="2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20" name="Freeform 1420">
              <a:extLst>
                <a:ext uri="{FF2B5EF4-FFF2-40B4-BE49-F238E27FC236}">
                  <a16:creationId xmlns:a16="http://schemas.microsoft.com/office/drawing/2014/main" id="{5DE72250-F8FB-0360-5A64-CC6187A69D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822578" y="1950415"/>
              <a:ext cx="190500" cy="180975"/>
            </a:xfrm>
            <a:custGeom>
              <a:avLst/>
              <a:gdLst>
                <a:gd name="T0" fmla="*/ 92 w 184"/>
                <a:gd name="T1" fmla="*/ 175 h 175"/>
                <a:gd name="T2" fmla="*/ 0 w 184"/>
                <a:gd name="T3" fmla="*/ 122 h 175"/>
                <a:gd name="T4" fmla="*/ 62 w 184"/>
                <a:gd name="T5" fmla="*/ 1 h 175"/>
                <a:gd name="T6" fmla="*/ 65 w 184"/>
                <a:gd name="T7" fmla="*/ 0 h 175"/>
                <a:gd name="T8" fmla="*/ 119 w 184"/>
                <a:gd name="T9" fmla="*/ 0 h 175"/>
                <a:gd name="T10" fmla="*/ 122 w 184"/>
                <a:gd name="T11" fmla="*/ 1 h 175"/>
                <a:gd name="T12" fmla="*/ 184 w 184"/>
                <a:gd name="T13" fmla="*/ 122 h 175"/>
                <a:gd name="T14" fmla="*/ 92 w 184"/>
                <a:gd name="T15" fmla="*/ 175 h 175"/>
                <a:gd name="T16" fmla="*/ 67 w 184"/>
                <a:gd name="T17" fmla="*/ 11 h 175"/>
                <a:gd name="T18" fmla="*/ 11 w 184"/>
                <a:gd name="T19" fmla="*/ 122 h 175"/>
                <a:gd name="T20" fmla="*/ 92 w 184"/>
                <a:gd name="T21" fmla="*/ 164 h 175"/>
                <a:gd name="T22" fmla="*/ 173 w 184"/>
                <a:gd name="T23" fmla="*/ 122 h 175"/>
                <a:gd name="T24" fmla="*/ 117 w 184"/>
                <a:gd name="T25" fmla="*/ 11 h 175"/>
                <a:gd name="T26" fmla="*/ 67 w 184"/>
                <a:gd name="T27" fmla="*/ 11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4" h="175">
                  <a:moveTo>
                    <a:pt x="92" y="175"/>
                  </a:moveTo>
                  <a:cubicBezTo>
                    <a:pt x="45" y="175"/>
                    <a:pt x="0" y="175"/>
                    <a:pt x="0" y="122"/>
                  </a:cubicBezTo>
                  <a:cubicBezTo>
                    <a:pt x="0" y="82"/>
                    <a:pt x="26" y="23"/>
                    <a:pt x="62" y="1"/>
                  </a:cubicBezTo>
                  <a:cubicBezTo>
                    <a:pt x="63" y="0"/>
                    <a:pt x="64" y="0"/>
                    <a:pt x="65" y="0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20" y="0"/>
                    <a:pt x="121" y="0"/>
                    <a:pt x="122" y="1"/>
                  </a:cubicBezTo>
                  <a:cubicBezTo>
                    <a:pt x="158" y="23"/>
                    <a:pt x="184" y="82"/>
                    <a:pt x="184" y="122"/>
                  </a:cubicBezTo>
                  <a:cubicBezTo>
                    <a:pt x="184" y="175"/>
                    <a:pt x="139" y="175"/>
                    <a:pt x="92" y="175"/>
                  </a:cubicBezTo>
                  <a:close/>
                  <a:moveTo>
                    <a:pt x="67" y="11"/>
                  </a:moveTo>
                  <a:cubicBezTo>
                    <a:pt x="35" y="31"/>
                    <a:pt x="11" y="86"/>
                    <a:pt x="11" y="122"/>
                  </a:cubicBezTo>
                  <a:cubicBezTo>
                    <a:pt x="11" y="162"/>
                    <a:pt x="41" y="164"/>
                    <a:pt x="92" y="164"/>
                  </a:cubicBezTo>
                  <a:cubicBezTo>
                    <a:pt x="144" y="164"/>
                    <a:pt x="173" y="162"/>
                    <a:pt x="173" y="122"/>
                  </a:cubicBezTo>
                  <a:cubicBezTo>
                    <a:pt x="173" y="86"/>
                    <a:pt x="149" y="31"/>
                    <a:pt x="117" y="11"/>
                  </a:cubicBezTo>
                  <a:lnTo>
                    <a:pt x="67" y="1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21" name="Freeform 1421">
              <a:extLst>
                <a:ext uri="{FF2B5EF4-FFF2-40B4-BE49-F238E27FC236}">
                  <a16:creationId xmlns:a16="http://schemas.microsoft.com/office/drawing/2014/main" id="{610794E7-E0BB-3B6A-641B-B68571DF121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773365" y="1926595"/>
              <a:ext cx="92075" cy="34925"/>
            </a:xfrm>
            <a:custGeom>
              <a:avLst/>
              <a:gdLst>
                <a:gd name="T0" fmla="*/ 72 w 88"/>
                <a:gd name="T1" fmla="*/ 33 h 33"/>
                <a:gd name="T2" fmla="*/ 16 w 88"/>
                <a:gd name="T3" fmla="*/ 33 h 33"/>
                <a:gd name="T4" fmla="*/ 0 w 88"/>
                <a:gd name="T5" fmla="*/ 16 h 33"/>
                <a:gd name="T6" fmla="*/ 16 w 88"/>
                <a:gd name="T7" fmla="*/ 0 h 33"/>
                <a:gd name="T8" fmla="*/ 72 w 88"/>
                <a:gd name="T9" fmla="*/ 0 h 33"/>
                <a:gd name="T10" fmla="*/ 88 w 88"/>
                <a:gd name="T11" fmla="*/ 16 h 33"/>
                <a:gd name="T12" fmla="*/ 72 w 88"/>
                <a:gd name="T13" fmla="*/ 33 h 33"/>
                <a:gd name="T14" fmla="*/ 16 w 88"/>
                <a:gd name="T15" fmla="*/ 11 h 33"/>
                <a:gd name="T16" fmla="*/ 11 w 88"/>
                <a:gd name="T17" fmla="*/ 16 h 33"/>
                <a:gd name="T18" fmla="*/ 16 w 88"/>
                <a:gd name="T19" fmla="*/ 22 h 33"/>
                <a:gd name="T20" fmla="*/ 72 w 88"/>
                <a:gd name="T21" fmla="*/ 22 h 33"/>
                <a:gd name="T22" fmla="*/ 77 w 88"/>
                <a:gd name="T23" fmla="*/ 16 h 33"/>
                <a:gd name="T24" fmla="*/ 72 w 88"/>
                <a:gd name="T25" fmla="*/ 11 h 33"/>
                <a:gd name="T26" fmla="*/ 16 w 88"/>
                <a:gd name="T27" fmla="*/ 1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8" h="33">
                  <a:moveTo>
                    <a:pt x="72" y="33"/>
                  </a:moveTo>
                  <a:cubicBezTo>
                    <a:pt x="16" y="33"/>
                    <a:pt x="16" y="33"/>
                    <a:pt x="16" y="33"/>
                  </a:cubicBezTo>
                  <a:cubicBezTo>
                    <a:pt x="7" y="33"/>
                    <a:pt x="0" y="25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81" y="0"/>
                    <a:pt x="88" y="7"/>
                    <a:pt x="88" y="16"/>
                  </a:cubicBezTo>
                  <a:cubicBezTo>
                    <a:pt x="88" y="25"/>
                    <a:pt x="81" y="33"/>
                    <a:pt x="72" y="33"/>
                  </a:cubicBezTo>
                  <a:close/>
                  <a:moveTo>
                    <a:pt x="16" y="11"/>
                  </a:moveTo>
                  <a:cubicBezTo>
                    <a:pt x="13" y="11"/>
                    <a:pt x="11" y="13"/>
                    <a:pt x="11" y="16"/>
                  </a:cubicBezTo>
                  <a:cubicBezTo>
                    <a:pt x="11" y="19"/>
                    <a:pt x="13" y="22"/>
                    <a:pt x="16" y="22"/>
                  </a:cubicBezTo>
                  <a:cubicBezTo>
                    <a:pt x="72" y="22"/>
                    <a:pt x="72" y="22"/>
                    <a:pt x="72" y="22"/>
                  </a:cubicBezTo>
                  <a:cubicBezTo>
                    <a:pt x="75" y="22"/>
                    <a:pt x="77" y="19"/>
                    <a:pt x="77" y="16"/>
                  </a:cubicBezTo>
                  <a:cubicBezTo>
                    <a:pt x="77" y="13"/>
                    <a:pt x="75" y="11"/>
                    <a:pt x="72" y="11"/>
                  </a:cubicBezTo>
                  <a:lnTo>
                    <a:pt x="16" y="1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22" name="Freeform 1422">
              <a:extLst>
                <a:ext uri="{FF2B5EF4-FFF2-40B4-BE49-F238E27FC236}">
                  <a16:creationId xmlns:a16="http://schemas.microsoft.com/office/drawing/2014/main" id="{1958262D-34C2-1AE6-7404-494265139AC1}"/>
                </a:ext>
              </a:extLst>
            </p:cNvPr>
            <p:cNvSpPr>
              <a:spLocks/>
            </p:cNvSpPr>
            <p:nvPr/>
          </p:nvSpPr>
          <p:spPr bwMode="auto">
            <a:xfrm>
              <a:off x="-2781300" y="1874218"/>
              <a:ext cx="111125" cy="65088"/>
            </a:xfrm>
            <a:custGeom>
              <a:avLst/>
              <a:gdLst>
                <a:gd name="T0" fmla="*/ 77 w 107"/>
                <a:gd name="T1" fmla="*/ 62 h 62"/>
                <a:gd name="T2" fmla="*/ 74 w 107"/>
                <a:gd name="T3" fmla="*/ 61 h 62"/>
                <a:gd name="T4" fmla="*/ 72 w 107"/>
                <a:gd name="T5" fmla="*/ 53 h 62"/>
                <a:gd name="T6" fmla="*/ 93 w 107"/>
                <a:gd name="T7" fmla="*/ 21 h 62"/>
                <a:gd name="T8" fmla="*/ 94 w 107"/>
                <a:gd name="T9" fmla="*/ 19 h 62"/>
                <a:gd name="T10" fmla="*/ 49 w 107"/>
                <a:gd name="T11" fmla="*/ 24 h 62"/>
                <a:gd name="T12" fmla="*/ 25 w 107"/>
                <a:gd name="T13" fmla="*/ 21 h 62"/>
                <a:gd name="T14" fmla="*/ 14 w 107"/>
                <a:gd name="T15" fmla="*/ 17 h 62"/>
                <a:gd name="T16" fmla="*/ 14 w 107"/>
                <a:gd name="T17" fmla="*/ 17 h 62"/>
                <a:gd name="T18" fmla="*/ 38 w 107"/>
                <a:gd name="T19" fmla="*/ 53 h 62"/>
                <a:gd name="T20" fmla="*/ 37 w 107"/>
                <a:gd name="T21" fmla="*/ 60 h 62"/>
                <a:gd name="T22" fmla="*/ 29 w 107"/>
                <a:gd name="T23" fmla="*/ 60 h 62"/>
                <a:gd name="T24" fmla="*/ 4 w 107"/>
                <a:gd name="T25" fmla="*/ 12 h 62"/>
                <a:gd name="T26" fmla="*/ 11 w 107"/>
                <a:gd name="T27" fmla="*/ 6 h 62"/>
                <a:gd name="T28" fmla="*/ 30 w 107"/>
                <a:gd name="T29" fmla="*/ 11 h 62"/>
                <a:gd name="T30" fmla="*/ 45 w 107"/>
                <a:gd name="T31" fmla="*/ 14 h 62"/>
                <a:gd name="T32" fmla="*/ 103 w 107"/>
                <a:gd name="T33" fmla="*/ 12 h 62"/>
                <a:gd name="T34" fmla="*/ 102 w 107"/>
                <a:gd name="T35" fmla="*/ 27 h 62"/>
                <a:gd name="T36" fmla="*/ 82 w 107"/>
                <a:gd name="T37" fmla="*/ 59 h 62"/>
                <a:gd name="T38" fmla="*/ 77 w 107"/>
                <a:gd name="T39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7" h="62">
                  <a:moveTo>
                    <a:pt x="77" y="62"/>
                  </a:moveTo>
                  <a:cubicBezTo>
                    <a:pt x="76" y="62"/>
                    <a:pt x="75" y="61"/>
                    <a:pt x="74" y="61"/>
                  </a:cubicBezTo>
                  <a:cubicBezTo>
                    <a:pt x="72" y="59"/>
                    <a:pt x="71" y="56"/>
                    <a:pt x="72" y="53"/>
                  </a:cubicBezTo>
                  <a:cubicBezTo>
                    <a:pt x="72" y="53"/>
                    <a:pt x="79" y="41"/>
                    <a:pt x="93" y="21"/>
                  </a:cubicBezTo>
                  <a:cubicBezTo>
                    <a:pt x="94" y="20"/>
                    <a:pt x="94" y="19"/>
                    <a:pt x="94" y="19"/>
                  </a:cubicBezTo>
                  <a:cubicBezTo>
                    <a:pt x="89" y="15"/>
                    <a:pt x="62" y="19"/>
                    <a:pt x="49" y="24"/>
                  </a:cubicBezTo>
                  <a:cubicBezTo>
                    <a:pt x="39" y="29"/>
                    <a:pt x="31" y="24"/>
                    <a:pt x="25" y="21"/>
                  </a:cubicBezTo>
                  <a:cubicBezTo>
                    <a:pt x="20" y="18"/>
                    <a:pt x="17" y="17"/>
                    <a:pt x="14" y="17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16" y="23"/>
                    <a:pt x="26" y="38"/>
                    <a:pt x="38" y="53"/>
                  </a:cubicBezTo>
                  <a:cubicBezTo>
                    <a:pt x="40" y="55"/>
                    <a:pt x="39" y="58"/>
                    <a:pt x="37" y="60"/>
                  </a:cubicBezTo>
                  <a:cubicBezTo>
                    <a:pt x="35" y="62"/>
                    <a:pt x="31" y="62"/>
                    <a:pt x="29" y="60"/>
                  </a:cubicBezTo>
                  <a:cubicBezTo>
                    <a:pt x="18" y="46"/>
                    <a:pt x="0" y="22"/>
                    <a:pt x="4" y="12"/>
                  </a:cubicBezTo>
                  <a:cubicBezTo>
                    <a:pt x="5" y="9"/>
                    <a:pt x="7" y="7"/>
                    <a:pt x="11" y="6"/>
                  </a:cubicBezTo>
                  <a:cubicBezTo>
                    <a:pt x="19" y="5"/>
                    <a:pt x="25" y="8"/>
                    <a:pt x="30" y="11"/>
                  </a:cubicBezTo>
                  <a:cubicBezTo>
                    <a:pt x="36" y="15"/>
                    <a:pt x="39" y="16"/>
                    <a:pt x="45" y="14"/>
                  </a:cubicBezTo>
                  <a:cubicBezTo>
                    <a:pt x="54" y="10"/>
                    <a:pt x="93" y="0"/>
                    <a:pt x="103" y="12"/>
                  </a:cubicBezTo>
                  <a:cubicBezTo>
                    <a:pt x="105" y="14"/>
                    <a:pt x="107" y="19"/>
                    <a:pt x="102" y="27"/>
                  </a:cubicBezTo>
                  <a:cubicBezTo>
                    <a:pt x="88" y="47"/>
                    <a:pt x="82" y="59"/>
                    <a:pt x="82" y="59"/>
                  </a:cubicBezTo>
                  <a:cubicBezTo>
                    <a:pt x="81" y="60"/>
                    <a:pt x="79" y="62"/>
                    <a:pt x="77" y="6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23" name="Shape59_20200717_142846">
            <a:extLst>
              <a:ext uri="{FF2B5EF4-FFF2-40B4-BE49-F238E27FC236}">
                <a16:creationId xmlns:a16="http://schemas.microsoft.com/office/drawing/2014/main" id="{1109CBEF-C1B2-9BE6-E920-AF36C0911C36}"/>
              </a:ext>
            </a:extLst>
          </p:cNvPr>
          <p:cNvGrpSpPr>
            <a:grpSpLocks noChangeAspect="1"/>
          </p:cNvGrpSpPr>
          <p:nvPr/>
        </p:nvGrpSpPr>
        <p:grpSpPr>
          <a:xfrm>
            <a:off x="11065147" y="2564032"/>
            <a:ext cx="506159" cy="530150"/>
            <a:chOff x="-576261" y="2575895"/>
            <a:chExt cx="334963" cy="350842"/>
          </a:xfrm>
          <a:solidFill>
            <a:schemeClr val="accent1"/>
          </a:solidFill>
        </p:grpSpPr>
        <p:sp>
          <p:nvSpPr>
            <p:cNvPr id="424" name="Freeform 1594">
              <a:extLst>
                <a:ext uri="{FF2B5EF4-FFF2-40B4-BE49-F238E27FC236}">
                  <a16:creationId xmlns:a16="http://schemas.microsoft.com/office/drawing/2014/main" id="{631EDB24-B8B5-0872-C3FA-46668F79E81C}"/>
                </a:ext>
              </a:extLst>
            </p:cNvPr>
            <p:cNvSpPr>
              <a:spLocks/>
            </p:cNvSpPr>
            <p:nvPr/>
          </p:nvSpPr>
          <p:spPr bwMode="auto">
            <a:xfrm>
              <a:off x="-504824" y="2577480"/>
              <a:ext cx="192088" cy="122238"/>
            </a:xfrm>
            <a:custGeom>
              <a:avLst/>
              <a:gdLst>
                <a:gd name="T0" fmla="*/ 121 w 185"/>
                <a:gd name="T1" fmla="*/ 118 h 118"/>
                <a:gd name="T2" fmla="*/ 121 w 185"/>
                <a:gd name="T3" fmla="*/ 118 h 118"/>
                <a:gd name="T4" fmla="*/ 115 w 185"/>
                <a:gd name="T5" fmla="*/ 112 h 118"/>
                <a:gd name="T6" fmla="*/ 115 w 185"/>
                <a:gd name="T7" fmla="*/ 90 h 118"/>
                <a:gd name="T8" fmla="*/ 117 w 185"/>
                <a:gd name="T9" fmla="*/ 86 h 118"/>
                <a:gd name="T10" fmla="*/ 141 w 185"/>
                <a:gd name="T11" fmla="*/ 66 h 118"/>
                <a:gd name="T12" fmla="*/ 167 w 185"/>
                <a:gd name="T13" fmla="*/ 29 h 118"/>
                <a:gd name="T14" fmla="*/ 172 w 185"/>
                <a:gd name="T15" fmla="*/ 18 h 118"/>
                <a:gd name="T16" fmla="*/ 170 w 185"/>
                <a:gd name="T17" fmla="*/ 14 h 118"/>
                <a:gd name="T18" fmla="*/ 165 w 185"/>
                <a:gd name="T19" fmla="*/ 15 h 118"/>
                <a:gd name="T20" fmla="*/ 162 w 185"/>
                <a:gd name="T21" fmla="*/ 22 h 118"/>
                <a:gd name="T22" fmla="*/ 129 w 185"/>
                <a:gd name="T23" fmla="*/ 59 h 118"/>
                <a:gd name="T24" fmla="*/ 114 w 185"/>
                <a:gd name="T25" fmla="*/ 64 h 118"/>
                <a:gd name="T26" fmla="*/ 71 w 185"/>
                <a:gd name="T27" fmla="*/ 64 h 118"/>
                <a:gd name="T28" fmla="*/ 56 w 185"/>
                <a:gd name="T29" fmla="*/ 59 h 118"/>
                <a:gd name="T30" fmla="*/ 23 w 185"/>
                <a:gd name="T31" fmla="*/ 22 h 118"/>
                <a:gd name="T32" fmla="*/ 19 w 185"/>
                <a:gd name="T33" fmla="*/ 15 h 118"/>
                <a:gd name="T34" fmla="*/ 15 w 185"/>
                <a:gd name="T35" fmla="*/ 14 h 118"/>
                <a:gd name="T36" fmla="*/ 13 w 185"/>
                <a:gd name="T37" fmla="*/ 18 h 118"/>
                <a:gd name="T38" fmla="*/ 18 w 185"/>
                <a:gd name="T39" fmla="*/ 29 h 118"/>
                <a:gd name="T40" fmla="*/ 44 w 185"/>
                <a:gd name="T41" fmla="*/ 66 h 118"/>
                <a:gd name="T42" fmla="*/ 68 w 185"/>
                <a:gd name="T43" fmla="*/ 86 h 118"/>
                <a:gd name="T44" fmla="*/ 70 w 185"/>
                <a:gd name="T45" fmla="*/ 90 h 118"/>
                <a:gd name="T46" fmla="*/ 70 w 185"/>
                <a:gd name="T47" fmla="*/ 112 h 118"/>
                <a:gd name="T48" fmla="*/ 64 w 185"/>
                <a:gd name="T49" fmla="*/ 118 h 118"/>
                <a:gd name="T50" fmla="*/ 59 w 185"/>
                <a:gd name="T51" fmla="*/ 112 h 118"/>
                <a:gd name="T52" fmla="*/ 59 w 185"/>
                <a:gd name="T53" fmla="*/ 93 h 118"/>
                <a:gd name="T54" fmla="*/ 37 w 185"/>
                <a:gd name="T55" fmla="*/ 74 h 118"/>
                <a:gd name="T56" fmla="*/ 8 w 185"/>
                <a:gd name="T57" fmla="*/ 33 h 118"/>
                <a:gd name="T58" fmla="*/ 3 w 185"/>
                <a:gd name="T59" fmla="*/ 22 h 118"/>
                <a:gd name="T60" fmla="*/ 10 w 185"/>
                <a:gd name="T61" fmla="*/ 4 h 118"/>
                <a:gd name="T62" fmla="*/ 29 w 185"/>
                <a:gd name="T63" fmla="*/ 10 h 118"/>
                <a:gd name="T64" fmla="*/ 33 w 185"/>
                <a:gd name="T65" fmla="*/ 17 h 118"/>
                <a:gd name="T66" fmla="*/ 62 w 185"/>
                <a:gd name="T67" fmla="*/ 50 h 118"/>
                <a:gd name="T68" fmla="*/ 71 w 185"/>
                <a:gd name="T69" fmla="*/ 53 h 118"/>
                <a:gd name="T70" fmla="*/ 114 w 185"/>
                <a:gd name="T71" fmla="*/ 53 h 118"/>
                <a:gd name="T72" fmla="*/ 123 w 185"/>
                <a:gd name="T73" fmla="*/ 50 h 118"/>
                <a:gd name="T74" fmla="*/ 152 w 185"/>
                <a:gd name="T75" fmla="*/ 16 h 118"/>
                <a:gd name="T76" fmla="*/ 156 w 185"/>
                <a:gd name="T77" fmla="*/ 10 h 118"/>
                <a:gd name="T78" fmla="*/ 175 w 185"/>
                <a:gd name="T79" fmla="*/ 4 h 118"/>
                <a:gd name="T80" fmla="*/ 182 w 185"/>
                <a:gd name="T81" fmla="*/ 22 h 118"/>
                <a:gd name="T82" fmla="*/ 177 w 185"/>
                <a:gd name="T83" fmla="*/ 33 h 118"/>
                <a:gd name="T84" fmla="*/ 148 w 185"/>
                <a:gd name="T85" fmla="*/ 74 h 118"/>
                <a:gd name="T86" fmla="*/ 126 w 185"/>
                <a:gd name="T87" fmla="*/ 93 h 118"/>
                <a:gd name="T88" fmla="*/ 126 w 185"/>
                <a:gd name="T89" fmla="*/ 112 h 118"/>
                <a:gd name="T90" fmla="*/ 121 w 185"/>
                <a:gd name="T91" fmla="*/ 1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85" h="118">
                  <a:moveTo>
                    <a:pt x="121" y="118"/>
                  </a:moveTo>
                  <a:cubicBezTo>
                    <a:pt x="121" y="118"/>
                    <a:pt x="121" y="118"/>
                    <a:pt x="121" y="118"/>
                  </a:cubicBezTo>
                  <a:cubicBezTo>
                    <a:pt x="118" y="118"/>
                    <a:pt x="115" y="115"/>
                    <a:pt x="115" y="112"/>
                  </a:cubicBezTo>
                  <a:cubicBezTo>
                    <a:pt x="115" y="90"/>
                    <a:pt x="115" y="90"/>
                    <a:pt x="115" y="90"/>
                  </a:cubicBezTo>
                  <a:cubicBezTo>
                    <a:pt x="115" y="89"/>
                    <a:pt x="116" y="87"/>
                    <a:pt x="117" y="86"/>
                  </a:cubicBezTo>
                  <a:cubicBezTo>
                    <a:pt x="141" y="66"/>
                    <a:pt x="141" y="66"/>
                    <a:pt x="141" y="66"/>
                  </a:cubicBezTo>
                  <a:cubicBezTo>
                    <a:pt x="152" y="56"/>
                    <a:pt x="161" y="43"/>
                    <a:pt x="167" y="29"/>
                  </a:cubicBezTo>
                  <a:cubicBezTo>
                    <a:pt x="172" y="18"/>
                    <a:pt x="172" y="18"/>
                    <a:pt x="172" y="18"/>
                  </a:cubicBezTo>
                  <a:cubicBezTo>
                    <a:pt x="172" y="16"/>
                    <a:pt x="172" y="14"/>
                    <a:pt x="170" y="14"/>
                  </a:cubicBezTo>
                  <a:cubicBezTo>
                    <a:pt x="168" y="13"/>
                    <a:pt x="166" y="13"/>
                    <a:pt x="165" y="15"/>
                  </a:cubicBezTo>
                  <a:cubicBezTo>
                    <a:pt x="162" y="22"/>
                    <a:pt x="162" y="22"/>
                    <a:pt x="162" y="22"/>
                  </a:cubicBezTo>
                  <a:cubicBezTo>
                    <a:pt x="154" y="36"/>
                    <a:pt x="142" y="49"/>
                    <a:pt x="129" y="59"/>
                  </a:cubicBezTo>
                  <a:cubicBezTo>
                    <a:pt x="125" y="62"/>
                    <a:pt x="119" y="64"/>
                    <a:pt x="114" y="64"/>
                  </a:cubicBezTo>
                  <a:cubicBezTo>
                    <a:pt x="71" y="64"/>
                    <a:pt x="71" y="64"/>
                    <a:pt x="71" y="64"/>
                  </a:cubicBezTo>
                  <a:cubicBezTo>
                    <a:pt x="65" y="64"/>
                    <a:pt x="60" y="62"/>
                    <a:pt x="56" y="59"/>
                  </a:cubicBezTo>
                  <a:cubicBezTo>
                    <a:pt x="42" y="49"/>
                    <a:pt x="31" y="36"/>
                    <a:pt x="23" y="22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18" y="13"/>
                    <a:pt x="16" y="13"/>
                    <a:pt x="15" y="14"/>
                  </a:cubicBezTo>
                  <a:cubicBezTo>
                    <a:pt x="13" y="14"/>
                    <a:pt x="12" y="16"/>
                    <a:pt x="13" y="18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24" y="43"/>
                    <a:pt x="33" y="56"/>
                    <a:pt x="44" y="66"/>
                  </a:cubicBezTo>
                  <a:cubicBezTo>
                    <a:pt x="68" y="86"/>
                    <a:pt x="68" y="86"/>
                    <a:pt x="68" y="86"/>
                  </a:cubicBezTo>
                  <a:cubicBezTo>
                    <a:pt x="69" y="87"/>
                    <a:pt x="70" y="89"/>
                    <a:pt x="70" y="90"/>
                  </a:cubicBezTo>
                  <a:cubicBezTo>
                    <a:pt x="70" y="112"/>
                    <a:pt x="70" y="112"/>
                    <a:pt x="70" y="112"/>
                  </a:cubicBezTo>
                  <a:cubicBezTo>
                    <a:pt x="70" y="115"/>
                    <a:pt x="67" y="118"/>
                    <a:pt x="64" y="118"/>
                  </a:cubicBezTo>
                  <a:cubicBezTo>
                    <a:pt x="61" y="118"/>
                    <a:pt x="59" y="115"/>
                    <a:pt x="59" y="112"/>
                  </a:cubicBezTo>
                  <a:cubicBezTo>
                    <a:pt x="59" y="93"/>
                    <a:pt x="59" y="93"/>
                    <a:pt x="59" y="93"/>
                  </a:cubicBezTo>
                  <a:cubicBezTo>
                    <a:pt x="37" y="74"/>
                    <a:pt x="37" y="74"/>
                    <a:pt x="37" y="74"/>
                  </a:cubicBezTo>
                  <a:cubicBezTo>
                    <a:pt x="24" y="63"/>
                    <a:pt x="14" y="49"/>
                    <a:pt x="8" y="33"/>
                  </a:cubicBezTo>
                  <a:cubicBezTo>
                    <a:pt x="3" y="22"/>
                    <a:pt x="3" y="22"/>
                    <a:pt x="3" y="22"/>
                  </a:cubicBezTo>
                  <a:cubicBezTo>
                    <a:pt x="0" y="15"/>
                    <a:pt x="3" y="7"/>
                    <a:pt x="10" y="4"/>
                  </a:cubicBezTo>
                  <a:cubicBezTo>
                    <a:pt x="17" y="0"/>
                    <a:pt x="25" y="3"/>
                    <a:pt x="29" y="10"/>
                  </a:cubicBezTo>
                  <a:cubicBezTo>
                    <a:pt x="33" y="17"/>
                    <a:pt x="33" y="17"/>
                    <a:pt x="33" y="17"/>
                  </a:cubicBezTo>
                  <a:cubicBezTo>
                    <a:pt x="40" y="30"/>
                    <a:pt x="50" y="41"/>
                    <a:pt x="62" y="50"/>
                  </a:cubicBezTo>
                  <a:cubicBezTo>
                    <a:pt x="65" y="52"/>
                    <a:pt x="68" y="53"/>
                    <a:pt x="71" y="53"/>
                  </a:cubicBezTo>
                  <a:cubicBezTo>
                    <a:pt x="114" y="53"/>
                    <a:pt x="114" y="53"/>
                    <a:pt x="114" y="53"/>
                  </a:cubicBezTo>
                  <a:cubicBezTo>
                    <a:pt x="117" y="53"/>
                    <a:pt x="120" y="52"/>
                    <a:pt x="123" y="50"/>
                  </a:cubicBezTo>
                  <a:cubicBezTo>
                    <a:pt x="135" y="41"/>
                    <a:pt x="145" y="30"/>
                    <a:pt x="152" y="16"/>
                  </a:cubicBezTo>
                  <a:cubicBezTo>
                    <a:pt x="156" y="10"/>
                    <a:pt x="156" y="10"/>
                    <a:pt x="156" y="10"/>
                  </a:cubicBezTo>
                  <a:cubicBezTo>
                    <a:pt x="160" y="3"/>
                    <a:pt x="168" y="0"/>
                    <a:pt x="175" y="4"/>
                  </a:cubicBezTo>
                  <a:cubicBezTo>
                    <a:pt x="182" y="7"/>
                    <a:pt x="185" y="15"/>
                    <a:pt x="182" y="22"/>
                  </a:cubicBezTo>
                  <a:cubicBezTo>
                    <a:pt x="177" y="33"/>
                    <a:pt x="177" y="33"/>
                    <a:pt x="177" y="33"/>
                  </a:cubicBezTo>
                  <a:cubicBezTo>
                    <a:pt x="171" y="49"/>
                    <a:pt x="160" y="63"/>
                    <a:pt x="148" y="74"/>
                  </a:cubicBezTo>
                  <a:cubicBezTo>
                    <a:pt x="126" y="93"/>
                    <a:pt x="126" y="93"/>
                    <a:pt x="126" y="93"/>
                  </a:cubicBezTo>
                  <a:cubicBezTo>
                    <a:pt x="126" y="112"/>
                    <a:pt x="126" y="112"/>
                    <a:pt x="126" y="112"/>
                  </a:cubicBezTo>
                  <a:cubicBezTo>
                    <a:pt x="126" y="115"/>
                    <a:pt x="124" y="118"/>
                    <a:pt x="121" y="1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25" name="Freeform 1595">
              <a:extLst>
                <a:ext uri="{FF2B5EF4-FFF2-40B4-BE49-F238E27FC236}">
                  <a16:creationId xmlns:a16="http://schemas.microsoft.com/office/drawing/2014/main" id="{1F5BED43-9007-0B1A-621F-96E53BAAB54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33387" y="2575895"/>
              <a:ext cx="50800" cy="50800"/>
            </a:xfrm>
            <a:custGeom>
              <a:avLst/>
              <a:gdLst>
                <a:gd name="T0" fmla="*/ 24 w 49"/>
                <a:gd name="T1" fmla="*/ 49 h 49"/>
                <a:gd name="T2" fmla="*/ 0 w 49"/>
                <a:gd name="T3" fmla="*/ 25 h 49"/>
                <a:gd name="T4" fmla="*/ 24 w 49"/>
                <a:gd name="T5" fmla="*/ 0 h 49"/>
                <a:gd name="T6" fmla="*/ 49 w 49"/>
                <a:gd name="T7" fmla="*/ 25 h 49"/>
                <a:gd name="T8" fmla="*/ 24 w 49"/>
                <a:gd name="T9" fmla="*/ 49 h 49"/>
                <a:gd name="T10" fmla="*/ 24 w 49"/>
                <a:gd name="T11" fmla="*/ 11 h 49"/>
                <a:gd name="T12" fmla="*/ 11 w 49"/>
                <a:gd name="T13" fmla="*/ 25 h 49"/>
                <a:gd name="T14" fmla="*/ 24 w 49"/>
                <a:gd name="T15" fmla="*/ 38 h 49"/>
                <a:gd name="T16" fmla="*/ 38 w 49"/>
                <a:gd name="T17" fmla="*/ 25 h 49"/>
                <a:gd name="T18" fmla="*/ 24 w 49"/>
                <a:gd name="T19" fmla="*/ 1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9" h="49">
                  <a:moveTo>
                    <a:pt x="24" y="49"/>
                  </a:moveTo>
                  <a:cubicBezTo>
                    <a:pt x="11" y="49"/>
                    <a:pt x="0" y="38"/>
                    <a:pt x="0" y="25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8" y="0"/>
                    <a:pt x="49" y="11"/>
                    <a:pt x="49" y="25"/>
                  </a:cubicBezTo>
                  <a:cubicBezTo>
                    <a:pt x="49" y="38"/>
                    <a:pt x="38" y="49"/>
                    <a:pt x="24" y="49"/>
                  </a:cubicBezTo>
                  <a:close/>
                  <a:moveTo>
                    <a:pt x="24" y="11"/>
                  </a:moveTo>
                  <a:cubicBezTo>
                    <a:pt x="17" y="11"/>
                    <a:pt x="11" y="17"/>
                    <a:pt x="11" y="25"/>
                  </a:cubicBezTo>
                  <a:cubicBezTo>
                    <a:pt x="11" y="32"/>
                    <a:pt x="17" y="38"/>
                    <a:pt x="24" y="38"/>
                  </a:cubicBezTo>
                  <a:cubicBezTo>
                    <a:pt x="32" y="38"/>
                    <a:pt x="38" y="32"/>
                    <a:pt x="38" y="25"/>
                  </a:cubicBezTo>
                  <a:cubicBezTo>
                    <a:pt x="38" y="17"/>
                    <a:pt x="32" y="11"/>
                    <a:pt x="2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26" name="Freeform 1596">
              <a:extLst>
                <a:ext uri="{FF2B5EF4-FFF2-40B4-BE49-F238E27FC236}">
                  <a16:creationId xmlns:a16="http://schemas.microsoft.com/office/drawing/2014/main" id="{A42A5093-214C-7DC3-B878-B56C45B35033}"/>
                </a:ext>
              </a:extLst>
            </p:cNvPr>
            <p:cNvSpPr>
              <a:spLocks/>
            </p:cNvSpPr>
            <p:nvPr/>
          </p:nvSpPr>
          <p:spPr bwMode="auto">
            <a:xfrm>
              <a:off x="-576261" y="2858470"/>
              <a:ext cx="119062" cy="68263"/>
            </a:xfrm>
            <a:custGeom>
              <a:avLst/>
              <a:gdLst>
                <a:gd name="T0" fmla="*/ 109 w 115"/>
                <a:gd name="T1" fmla="*/ 66 h 66"/>
                <a:gd name="T2" fmla="*/ 104 w 115"/>
                <a:gd name="T3" fmla="*/ 60 h 66"/>
                <a:gd name="T4" fmla="*/ 104 w 115"/>
                <a:gd name="T5" fmla="*/ 28 h 66"/>
                <a:gd name="T6" fmla="*/ 86 w 115"/>
                <a:gd name="T7" fmla="*/ 10 h 66"/>
                <a:gd name="T8" fmla="*/ 29 w 115"/>
                <a:gd name="T9" fmla="*/ 10 h 66"/>
                <a:gd name="T10" fmla="*/ 11 w 115"/>
                <a:gd name="T11" fmla="*/ 28 h 66"/>
                <a:gd name="T12" fmla="*/ 11 w 115"/>
                <a:gd name="T13" fmla="*/ 60 h 66"/>
                <a:gd name="T14" fmla="*/ 6 w 115"/>
                <a:gd name="T15" fmla="*/ 66 h 66"/>
                <a:gd name="T16" fmla="*/ 0 w 115"/>
                <a:gd name="T17" fmla="*/ 60 h 66"/>
                <a:gd name="T18" fmla="*/ 0 w 115"/>
                <a:gd name="T19" fmla="*/ 28 h 66"/>
                <a:gd name="T20" fmla="*/ 29 w 115"/>
                <a:gd name="T21" fmla="*/ 0 h 66"/>
                <a:gd name="T22" fmla="*/ 86 w 115"/>
                <a:gd name="T23" fmla="*/ 0 h 66"/>
                <a:gd name="T24" fmla="*/ 115 w 115"/>
                <a:gd name="T25" fmla="*/ 28 h 66"/>
                <a:gd name="T26" fmla="*/ 115 w 115"/>
                <a:gd name="T27" fmla="*/ 60 h 66"/>
                <a:gd name="T28" fmla="*/ 109 w 115"/>
                <a:gd name="T29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5" h="66">
                  <a:moveTo>
                    <a:pt x="109" y="66"/>
                  </a:moveTo>
                  <a:cubicBezTo>
                    <a:pt x="106" y="66"/>
                    <a:pt x="104" y="63"/>
                    <a:pt x="104" y="60"/>
                  </a:cubicBezTo>
                  <a:cubicBezTo>
                    <a:pt x="104" y="28"/>
                    <a:pt x="104" y="28"/>
                    <a:pt x="104" y="28"/>
                  </a:cubicBezTo>
                  <a:cubicBezTo>
                    <a:pt x="104" y="18"/>
                    <a:pt x="96" y="10"/>
                    <a:pt x="86" y="1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19" y="10"/>
                    <a:pt x="11" y="18"/>
                    <a:pt x="11" y="28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11" y="63"/>
                    <a:pt x="9" y="66"/>
                    <a:pt x="6" y="66"/>
                  </a:cubicBezTo>
                  <a:cubicBezTo>
                    <a:pt x="3" y="66"/>
                    <a:pt x="0" y="63"/>
                    <a:pt x="0" y="60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2"/>
                    <a:pt x="13" y="0"/>
                    <a:pt x="29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102" y="0"/>
                    <a:pt x="115" y="12"/>
                    <a:pt x="115" y="28"/>
                  </a:cubicBezTo>
                  <a:cubicBezTo>
                    <a:pt x="115" y="60"/>
                    <a:pt x="115" y="60"/>
                    <a:pt x="115" y="60"/>
                  </a:cubicBezTo>
                  <a:cubicBezTo>
                    <a:pt x="115" y="63"/>
                    <a:pt x="113" y="66"/>
                    <a:pt x="109" y="6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27" name="Freeform 1597">
              <a:extLst>
                <a:ext uri="{FF2B5EF4-FFF2-40B4-BE49-F238E27FC236}">
                  <a16:creationId xmlns:a16="http://schemas.microsoft.com/office/drawing/2014/main" id="{288728B2-BC93-6804-FB80-2815B54BDD6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41336" y="2801320"/>
              <a:ext cx="50800" cy="52388"/>
            </a:xfrm>
            <a:custGeom>
              <a:avLst/>
              <a:gdLst>
                <a:gd name="T0" fmla="*/ 25 w 49"/>
                <a:gd name="T1" fmla="*/ 50 h 50"/>
                <a:gd name="T2" fmla="*/ 0 w 49"/>
                <a:gd name="T3" fmla="*/ 25 h 50"/>
                <a:gd name="T4" fmla="*/ 25 w 49"/>
                <a:gd name="T5" fmla="*/ 0 h 50"/>
                <a:gd name="T6" fmla="*/ 49 w 49"/>
                <a:gd name="T7" fmla="*/ 25 h 50"/>
                <a:gd name="T8" fmla="*/ 25 w 49"/>
                <a:gd name="T9" fmla="*/ 50 h 50"/>
                <a:gd name="T10" fmla="*/ 25 w 49"/>
                <a:gd name="T11" fmla="*/ 11 h 50"/>
                <a:gd name="T12" fmla="*/ 11 w 49"/>
                <a:gd name="T13" fmla="*/ 25 h 50"/>
                <a:gd name="T14" fmla="*/ 25 w 49"/>
                <a:gd name="T15" fmla="*/ 39 h 50"/>
                <a:gd name="T16" fmla="*/ 38 w 49"/>
                <a:gd name="T17" fmla="*/ 25 h 50"/>
                <a:gd name="T18" fmla="*/ 25 w 49"/>
                <a:gd name="T19" fmla="*/ 1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9" h="50">
                  <a:moveTo>
                    <a:pt x="25" y="50"/>
                  </a:moveTo>
                  <a:cubicBezTo>
                    <a:pt x="11" y="50"/>
                    <a:pt x="0" y="39"/>
                    <a:pt x="0" y="25"/>
                  </a:cubicBezTo>
                  <a:cubicBezTo>
                    <a:pt x="0" y="11"/>
                    <a:pt x="11" y="0"/>
                    <a:pt x="25" y="0"/>
                  </a:cubicBezTo>
                  <a:cubicBezTo>
                    <a:pt x="38" y="0"/>
                    <a:pt x="49" y="11"/>
                    <a:pt x="49" y="25"/>
                  </a:cubicBezTo>
                  <a:cubicBezTo>
                    <a:pt x="49" y="39"/>
                    <a:pt x="38" y="50"/>
                    <a:pt x="25" y="50"/>
                  </a:cubicBezTo>
                  <a:close/>
                  <a:moveTo>
                    <a:pt x="25" y="11"/>
                  </a:moveTo>
                  <a:cubicBezTo>
                    <a:pt x="17" y="11"/>
                    <a:pt x="11" y="17"/>
                    <a:pt x="11" y="25"/>
                  </a:cubicBezTo>
                  <a:cubicBezTo>
                    <a:pt x="11" y="33"/>
                    <a:pt x="17" y="39"/>
                    <a:pt x="25" y="39"/>
                  </a:cubicBezTo>
                  <a:cubicBezTo>
                    <a:pt x="32" y="39"/>
                    <a:pt x="38" y="33"/>
                    <a:pt x="38" y="25"/>
                  </a:cubicBezTo>
                  <a:cubicBezTo>
                    <a:pt x="38" y="17"/>
                    <a:pt x="32" y="11"/>
                    <a:pt x="25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28" name="Freeform 1598">
              <a:extLst>
                <a:ext uri="{FF2B5EF4-FFF2-40B4-BE49-F238E27FC236}">
                  <a16:creationId xmlns:a16="http://schemas.microsoft.com/office/drawing/2014/main" id="{1373C103-5794-57A2-7808-B0DB1BA2F3BD}"/>
                </a:ext>
              </a:extLst>
            </p:cNvPr>
            <p:cNvSpPr>
              <a:spLocks/>
            </p:cNvSpPr>
            <p:nvPr/>
          </p:nvSpPr>
          <p:spPr bwMode="auto">
            <a:xfrm>
              <a:off x="-552449" y="2885457"/>
              <a:ext cx="11113" cy="41275"/>
            </a:xfrm>
            <a:custGeom>
              <a:avLst/>
              <a:gdLst>
                <a:gd name="T0" fmla="*/ 5 w 11"/>
                <a:gd name="T1" fmla="*/ 40 h 40"/>
                <a:gd name="T2" fmla="*/ 0 w 11"/>
                <a:gd name="T3" fmla="*/ 34 h 40"/>
                <a:gd name="T4" fmla="*/ 0 w 11"/>
                <a:gd name="T5" fmla="*/ 6 h 40"/>
                <a:gd name="T6" fmla="*/ 5 w 11"/>
                <a:gd name="T7" fmla="*/ 0 h 40"/>
                <a:gd name="T8" fmla="*/ 11 w 11"/>
                <a:gd name="T9" fmla="*/ 6 h 40"/>
                <a:gd name="T10" fmla="*/ 11 w 11"/>
                <a:gd name="T11" fmla="*/ 34 h 40"/>
                <a:gd name="T12" fmla="*/ 5 w 11"/>
                <a:gd name="T1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40">
                  <a:moveTo>
                    <a:pt x="5" y="40"/>
                  </a:moveTo>
                  <a:cubicBezTo>
                    <a:pt x="2" y="40"/>
                    <a:pt x="0" y="37"/>
                    <a:pt x="0" y="3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8" y="0"/>
                    <a:pt x="11" y="3"/>
                    <a:pt x="11" y="6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7"/>
                    <a:pt x="8" y="40"/>
                    <a:pt x="5" y="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29" name="Freeform 1599">
              <a:extLst>
                <a:ext uri="{FF2B5EF4-FFF2-40B4-BE49-F238E27FC236}">
                  <a16:creationId xmlns:a16="http://schemas.microsoft.com/office/drawing/2014/main" id="{880F346A-6836-753D-6332-FC4F9FB88E18}"/>
                </a:ext>
              </a:extLst>
            </p:cNvPr>
            <p:cNvSpPr>
              <a:spLocks/>
            </p:cNvSpPr>
            <p:nvPr/>
          </p:nvSpPr>
          <p:spPr bwMode="auto">
            <a:xfrm>
              <a:off x="-490536" y="2885457"/>
              <a:ext cx="11113" cy="41275"/>
            </a:xfrm>
            <a:custGeom>
              <a:avLst/>
              <a:gdLst>
                <a:gd name="T0" fmla="*/ 6 w 11"/>
                <a:gd name="T1" fmla="*/ 40 h 40"/>
                <a:gd name="T2" fmla="*/ 0 w 11"/>
                <a:gd name="T3" fmla="*/ 34 h 40"/>
                <a:gd name="T4" fmla="*/ 0 w 11"/>
                <a:gd name="T5" fmla="*/ 6 h 40"/>
                <a:gd name="T6" fmla="*/ 6 w 11"/>
                <a:gd name="T7" fmla="*/ 0 h 40"/>
                <a:gd name="T8" fmla="*/ 11 w 11"/>
                <a:gd name="T9" fmla="*/ 6 h 40"/>
                <a:gd name="T10" fmla="*/ 11 w 11"/>
                <a:gd name="T11" fmla="*/ 34 h 40"/>
                <a:gd name="T12" fmla="*/ 6 w 11"/>
                <a:gd name="T1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40">
                  <a:moveTo>
                    <a:pt x="6" y="40"/>
                  </a:moveTo>
                  <a:cubicBezTo>
                    <a:pt x="3" y="40"/>
                    <a:pt x="0" y="37"/>
                    <a:pt x="0" y="3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1" y="3"/>
                    <a:pt x="11" y="6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7"/>
                    <a:pt x="9" y="40"/>
                    <a:pt x="6" y="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30" name="Freeform 1600">
              <a:extLst>
                <a:ext uri="{FF2B5EF4-FFF2-40B4-BE49-F238E27FC236}">
                  <a16:creationId xmlns:a16="http://schemas.microsoft.com/office/drawing/2014/main" id="{F89C15EF-8839-8553-78F5-FC3163043251}"/>
                </a:ext>
              </a:extLst>
            </p:cNvPr>
            <p:cNvSpPr>
              <a:spLocks/>
            </p:cNvSpPr>
            <p:nvPr/>
          </p:nvSpPr>
          <p:spPr bwMode="auto">
            <a:xfrm>
              <a:off x="-468311" y="2858470"/>
              <a:ext cx="119063" cy="68263"/>
            </a:xfrm>
            <a:custGeom>
              <a:avLst/>
              <a:gdLst>
                <a:gd name="T0" fmla="*/ 109 w 115"/>
                <a:gd name="T1" fmla="*/ 66 h 66"/>
                <a:gd name="T2" fmla="*/ 104 w 115"/>
                <a:gd name="T3" fmla="*/ 60 h 66"/>
                <a:gd name="T4" fmla="*/ 104 w 115"/>
                <a:gd name="T5" fmla="*/ 28 h 66"/>
                <a:gd name="T6" fmla="*/ 86 w 115"/>
                <a:gd name="T7" fmla="*/ 10 h 66"/>
                <a:gd name="T8" fmla="*/ 29 w 115"/>
                <a:gd name="T9" fmla="*/ 10 h 66"/>
                <a:gd name="T10" fmla="*/ 11 w 115"/>
                <a:gd name="T11" fmla="*/ 28 h 66"/>
                <a:gd name="T12" fmla="*/ 11 w 115"/>
                <a:gd name="T13" fmla="*/ 60 h 66"/>
                <a:gd name="T14" fmla="*/ 5 w 115"/>
                <a:gd name="T15" fmla="*/ 66 h 66"/>
                <a:gd name="T16" fmla="*/ 0 w 115"/>
                <a:gd name="T17" fmla="*/ 60 h 66"/>
                <a:gd name="T18" fmla="*/ 0 w 115"/>
                <a:gd name="T19" fmla="*/ 28 h 66"/>
                <a:gd name="T20" fmla="*/ 29 w 115"/>
                <a:gd name="T21" fmla="*/ 0 h 66"/>
                <a:gd name="T22" fmla="*/ 86 w 115"/>
                <a:gd name="T23" fmla="*/ 0 h 66"/>
                <a:gd name="T24" fmla="*/ 115 w 115"/>
                <a:gd name="T25" fmla="*/ 28 h 66"/>
                <a:gd name="T26" fmla="*/ 115 w 115"/>
                <a:gd name="T27" fmla="*/ 60 h 66"/>
                <a:gd name="T28" fmla="*/ 109 w 115"/>
                <a:gd name="T29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5" h="66">
                  <a:moveTo>
                    <a:pt x="109" y="66"/>
                  </a:moveTo>
                  <a:cubicBezTo>
                    <a:pt x="106" y="66"/>
                    <a:pt x="104" y="63"/>
                    <a:pt x="104" y="60"/>
                  </a:cubicBezTo>
                  <a:cubicBezTo>
                    <a:pt x="104" y="28"/>
                    <a:pt x="104" y="28"/>
                    <a:pt x="104" y="28"/>
                  </a:cubicBezTo>
                  <a:cubicBezTo>
                    <a:pt x="104" y="18"/>
                    <a:pt x="96" y="10"/>
                    <a:pt x="86" y="1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19" y="10"/>
                    <a:pt x="11" y="18"/>
                    <a:pt x="11" y="28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11" y="63"/>
                    <a:pt x="9" y="66"/>
                    <a:pt x="5" y="66"/>
                  </a:cubicBezTo>
                  <a:cubicBezTo>
                    <a:pt x="2" y="66"/>
                    <a:pt x="0" y="63"/>
                    <a:pt x="0" y="60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2"/>
                    <a:pt x="13" y="0"/>
                    <a:pt x="29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102" y="0"/>
                    <a:pt x="115" y="12"/>
                    <a:pt x="115" y="28"/>
                  </a:cubicBezTo>
                  <a:cubicBezTo>
                    <a:pt x="115" y="60"/>
                    <a:pt x="115" y="60"/>
                    <a:pt x="115" y="60"/>
                  </a:cubicBezTo>
                  <a:cubicBezTo>
                    <a:pt x="115" y="63"/>
                    <a:pt x="112" y="66"/>
                    <a:pt x="109" y="6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31" name="Freeform 1601">
              <a:extLst>
                <a:ext uri="{FF2B5EF4-FFF2-40B4-BE49-F238E27FC236}">
                  <a16:creationId xmlns:a16="http://schemas.microsoft.com/office/drawing/2014/main" id="{09B1F55D-303C-BA6B-5890-0FD2192383F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33387" y="2801320"/>
              <a:ext cx="50800" cy="52388"/>
            </a:xfrm>
            <a:custGeom>
              <a:avLst/>
              <a:gdLst>
                <a:gd name="T0" fmla="*/ 24 w 49"/>
                <a:gd name="T1" fmla="*/ 50 h 50"/>
                <a:gd name="T2" fmla="*/ 0 w 49"/>
                <a:gd name="T3" fmla="*/ 25 h 50"/>
                <a:gd name="T4" fmla="*/ 24 w 49"/>
                <a:gd name="T5" fmla="*/ 0 h 50"/>
                <a:gd name="T6" fmla="*/ 49 w 49"/>
                <a:gd name="T7" fmla="*/ 25 h 50"/>
                <a:gd name="T8" fmla="*/ 24 w 49"/>
                <a:gd name="T9" fmla="*/ 50 h 50"/>
                <a:gd name="T10" fmla="*/ 24 w 49"/>
                <a:gd name="T11" fmla="*/ 11 h 50"/>
                <a:gd name="T12" fmla="*/ 11 w 49"/>
                <a:gd name="T13" fmla="*/ 25 h 50"/>
                <a:gd name="T14" fmla="*/ 24 w 49"/>
                <a:gd name="T15" fmla="*/ 39 h 50"/>
                <a:gd name="T16" fmla="*/ 38 w 49"/>
                <a:gd name="T17" fmla="*/ 25 h 50"/>
                <a:gd name="T18" fmla="*/ 24 w 49"/>
                <a:gd name="T19" fmla="*/ 1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9" h="50">
                  <a:moveTo>
                    <a:pt x="24" y="50"/>
                  </a:moveTo>
                  <a:cubicBezTo>
                    <a:pt x="11" y="50"/>
                    <a:pt x="0" y="39"/>
                    <a:pt x="0" y="25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8" y="0"/>
                    <a:pt x="49" y="11"/>
                    <a:pt x="49" y="25"/>
                  </a:cubicBezTo>
                  <a:cubicBezTo>
                    <a:pt x="49" y="39"/>
                    <a:pt x="38" y="50"/>
                    <a:pt x="24" y="50"/>
                  </a:cubicBezTo>
                  <a:close/>
                  <a:moveTo>
                    <a:pt x="24" y="11"/>
                  </a:moveTo>
                  <a:cubicBezTo>
                    <a:pt x="17" y="11"/>
                    <a:pt x="11" y="17"/>
                    <a:pt x="11" y="25"/>
                  </a:cubicBezTo>
                  <a:cubicBezTo>
                    <a:pt x="11" y="33"/>
                    <a:pt x="17" y="39"/>
                    <a:pt x="24" y="39"/>
                  </a:cubicBezTo>
                  <a:cubicBezTo>
                    <a:pt x="32" y="39"/>
                    <a:pt x="38" y="33"/>
                    <a:pt x="38" y="25"/>
                  </a:cubicBezTo>
                  <a:cubicBezTo>
                    <a:pt x="38" y="17"/>
                    <a:pt x="32" y="11"/>
                    <a:pt x="2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32" name="Freeform 1602">
              <a:extLst>
                <a:ext uri="{FF2B5EF4-FFF2-40B4-BE49-F238E27FC236}">
                  <a16:creationId xmlns:a16="http://schemas.microsoft.com/office/drawing/2014/main" id="{D90875CB-9269-03CC-2491-DA21EF9A1989}"/>
                </a:ext>
              </a:extLst>
            </p:cNvPr>
            <p:cNvSpPr>
              <a:spLocks/>
            </p:cNvSpPr>
            <p:nvPr/>
          </p:nvSpPr>
          <p:spPr bwMode="auto">
            <a:xfrm>
              <a:off x="-444499" y="2885457"/>
              <a:ext cx="11113" cy="41275"/>
            </a:xfrm>
            <a:custGeom>
              <a:avLst/>
              <a:gdLst>
                <a:gd name="T0" fmla="*/ 5 w 11"/>
                <a:gd name="T1" fmla="*/ 40 h 40"/>
                <a:gd name="T2" fmla="*/ 0 w 11"/>
                <a:gd name="T3" fmla="*/ 34 h 40"/>
                <a:gd name="T4" fmla="*/ 0 w 11"/>
                <a:gd name="T5" fmla="*/ 6 h 40"/>
                <a:gd name="T6" fmla="*/ 5 w 11"/>
                <a:gd name="T7" fmla="*/ 0 h 40"/>
                <a:gd name="T8" fmla="*/ 11 w 11"/>
                <a:gd name="T9" fmla="*/ 6 h 40"/>
                <a:gd name="T10" fmla="*/ 11 w 11"/>
                <a:gd name="T11" fmla="*/ 34 h 40"/>
                <a:gd name="T12" fmla="*/ 5 w 11"/>
                <a:gd name="T1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40">
                  <a:moveTo>
                    <a:pt x="5" y="40"/>
                  </a:moveTo>
                  <a:cubicBezTo>
                    <a:pt x="2" y="40"/>
                    <a:pt x="0" y="37"/>
                    <a:pt x="0" y="3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8" y="0"/>
                    <a:pt x="11" y="3"/>
                    <a:pt x="11" y="6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7"/>
                    <a:pt x="8" y="40"/>
                    <a:pt x="5" y="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33" name="Freeform 1603">
              <a:extLst>
                <a:ext uri="{FF2B5EF4-FFF2-40B4-BE49-F238E27FC236}">
                  <a16:creationId xmlns:a16="http://schemas.microsoft.com/office/drawing/2014/main" id="{DB5CFF77-97E1-449C-8874-957CACBB1D98}"/>
                </a:ext>
              </a:extLst>
            </p:cNvPr>
            <p:cNvSpPr>
              <a:spLocks/>
            </p:cNvSpPr>
            <p:nvPr/>
          </p:nvSpPr>
          <p:spPr bwMode="auto">
            <a:xfrm>
              <a:off x="-382586" y="2885457"/>
              <a:ext cx="11113" cy="41275"/>
            </a:xfrm>
            <a:custGeom>
              <a:avLst/>
              <a:gdLst>
                <a:gd name="T0" fmla="*/ 6 w 11"/>
                <a:gd name="T1" fmla="*/ 40 h 40"/>
                <a:gd name="T2" fmla="*/ 0 w 11"/>
                <a:gd name="T3" fmla="*/ 34 h 40"/>
                <a:gd name="T4" fmla="*/ 0 w 11"/>
                <a:gd name="T5" fmla="*/ 6 h 40"/>
                <a:gd name="T6" fmla="*/ 6 w 11"/>
                <a:gd name="T7" fmla="*/ 0 h 40"/>
                <a:gd name="T8" fmla="*/ 11 w 11"/>
                <a:gd name="T9" fmla="*/ 6 h 40"/>
                <a:gd name="T10" fmla="*/ 11 w 11"/>
                <a:gd name="T11" fmla="*/ 34 h 40"/>
                <a:gd name="T12" fmla="*/ 6 w 11"/>
                <a:gd name="T1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40">
                  <a:moveTo>
                    <a:pt x="6" y="40"/>
                  </a:moveTo>
                  <a:cubicBezTo>
                    <a:pt x="3" y="40"/>
                    <a:pt x="0" y="37"/>
                    <a:pt x="0" y="3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1" y="3"/>
                    <a:pt x="11" y="6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7"/>
                    <a:pt x="9" y="40"/>
                    <a:pt x="6" y="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34" name="Freeform 1604">
              <a:extLst>
                <a:ext uri="{FF2B5EF4-FFF2-40B4-BE49-F238E27FC236}">
                  <a16:creationId xmlns:a16="http://schemas.microsoft.com/office/drawing/2014/main" id="{C8B9C758-EC1C-3177-9F18-FDBD0B1930F1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0361" y="2858474"/>
              <a:ext cx="119063" cy="68263"/>
            </a:xfrm>
            <a:custGeom>
              <a:avLst/>
              <a:gdLst>
                <a:gd name="T0" fmla="*/ 109 w 115"/>
                <a:gd name="T1" fmla="*/ 66 h 66"/>
                <a:gd name="T2" fmla="*/ 104 w 115"/>
                <a:gd name="T3" fmla="*/ 60 h 66"/>
                <a:gd name="T4" fmla="*/ 104 w 115"/>
                <a:gd name="T5" fmla="*/ 28 h 66"/>
                <a:gd name="T6" fmla="*/ 86 w 115"/>
                <a:gd name="T7" fmla="*/ 10 h 66"/>
                <a:gd name="T8" fmla="*/ 28 w 115"/>
                <a:gd name="T9" fmla="*/ 10 h 66"/>
                <a:gd name="T10" fmla="*/ 11 w 115"/>
                <a:gd name="T11" fmla="*/ 28 h 66"/>
                <a:gd name="T12" fmla="*/ 11 w 115"/>
                <a:gd name="T13" fmla="*/ 60 h 66"/>
                <a:gd name="T14" fmla="*/ 5 w 115"/>
                <a:gd name="T15" fmla="*/ 66 h 66"/>
                <a:gd name="T16" fmla="*/ 0 w 115"/>
                <a:gd name="T17" fmla="*/ 60 h 66"/>
                <a:gd name="T18" fmla="*/ 0 w 115"/>
                <a:gd name="T19" fmla="*/ 28 h 66"/>
                <a:gd name="T20" fmla="*/ 28 w 115"/>
                <a:gd name="T21" fmla="*/ 0 h 66"/>
                <a:gd name="T22" fmla="*/ 86 w 115"/>
                <a:gd name="T23" fmla="*/ 0 h 66"/>
                <a:gd name="T24" fmla="*/ 115 w 115"/>
                <a:gd name="T25" fmla="*/ 28 h 66"/>
                <a:gd name="T26" fmla="*/ 115 w 115"/>
                <a:gd name="T27" fmla="*/ 60 h 66"/>
                <a:gd name="T28" fmla="*/ 109 w 115"/>
                <a:gd name="T29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5" h="66">
                  <a:moveTo>
                    <a:pt x="109" y="66"/>
                  </a:moveTo>
                  <a:cubicBezTo>
                    <a:pt x="106" y="66"/>
                    <a:pt x="104" y="63"/>
                    <a:pt x="104" y="60"/>
                  </a:cubicBezTo>
                  <a:cubicBezTo>
                    <a:pt x="104" y="28"/>
                    <a:pt x="104" y="28"/>
                    <a:pt x="104" y="28"/>
                  </a:cubicBezTo>
                  <a:cubicBezTo>
                    <a:pt x="104" y="18"/>
                    <a:pt x="96" y="10"/>
                    <a:pt x="86" y="10"/>
                  </a:cubicBezTo>
                  <a:cubicBezTo>
                    <a:pt x="28" y="10"/>
                    <a:pt x="28" y="10"/>
                    <a:pt x="28" y="10"/>
                  </a:cubicBezTo>
                  <a:cubicBezTo>
                    <a:pt x="19" y="10"/>
                    <a:pt x="11" y="18"/>
                    <a:pt x="11" y="28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11" y="63"/>
                    <a:pt x="8" y="66"/>
                    <a:pt x="5" y="66"/>
                  </a:cubicBezTo>
                  <a:cubicBezTo>
                    <a:pt x="2" y="66"/>
                    <a:pt x="0" y="63"/>
                    <a:pt x="0" y="60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2"/>
                    <a:pt x="13" y="0"/>
                    <a:pt x="28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102" y="0"/>
                    <a:pt x="115" y="12"/>
                    <a:pt x="115" y="28"/>
                  </a:cubicBezTo>
                  <a:cubicBezTo>
                    <a:pt x="115" y="60"/>
                    <a:pt x="115" y="60"/>
                    <a:pt x="115" y="60"/>
                  </a:cubicBezTo>
                  <a:cubicBezTo>
                    <a:pt x="115" y="63"/>
                    <a:pt x="112" y="66"/>
                    <a:pt x="109" y="6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35" name="Freeform 1605">
              <a:extLst>
                <a:ext uri="{FF2B5EF4-FFF2-40B4-BE49-F238E27FC236}">
                  <a16:creationId xmlns:a16="http://schemas.microsoft.com/office/drawing/2014/main" id="{010F9F1A-136F-C71E-331C-EFF730F70C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5437" y="2801324"/>
              <a:ext cx="50800" cy="52388"/>
            </a:xfrm>
            <a:custGeom>
              <a:avLst/>
              <a:gdLst>
                <a:gd name="T0" fmla="*/ 24 w 49"/>
                <a:gd name="T1" fmla="*/ 50 h 50"/>
                <a:gd name="T2" fmla="*/ 0 w 49"/>
                <a:gd name="T3" fmla="*/ 25 h 50"/>
                <a:gd name="T4" fmla="*/ 24 w 49"/>
                <a:gd name="T5" fmla="*/ 0 h 50"/>
                <a:gd name="T6" fmla="*/ 49 w 49"/>
                <a:gd name="T7" fmla="*/ 25 h 50"/>
                <a:gd name="T8" fmla="*/ 24 w 49"/>
                <a:gd name="T9" fmla="*/ 50 h 50"/>
                <a:gd name="T10" fmla="*/ 24 w 49"/>
                <a:gd name="T11" fmla="*/ 11 h 50"/>
                <a:gd name="T12" fmla="*/ 10 w 49"/>
                <a:gd name="T13" fmla="*/ 25 h 50"/>
                <a:gd name="T14" fmla="*/ 24 w 49"/>
                <a:gd name="T15" fmla="*/ 39 h 50"/>
                <a:gd name="T16" fmla="*/ 38 w 49"/>
                <a:gd name="T17" fmla="*/ 25 h 50"/>
                <a:gd name="T18" fmla="*/ 24 w 49"/>
                <a:gd name="T19" fmla="*/ 1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9" h="50">
                  <a:moveTo>
                    <a:pt x="24" y="50"/>
                  </a:moveTo>
                  <a:cubicBezTo>
                    <a:pt x="11" y="50"/>
                    <a:pt x="0" y="39"/>
                    <a:pt x="0" y="25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8" y="0"/>
                    <a:pt x="49" y="11"/>
                    <a:pt x="49" y="25"/>
                  </a:cubicBezTo>
                  <a:cubicBezTo>
                    <a:pt x="49" y="39"/>
                    <a:pt x="38" y="50"/>
                    <a:pt x="24" y="50"/>
                  </a:cubicBezTo>
                  <a:close/>
                  <a:moveTo>
                    <a:pt x="24" y="11"/>
                  </a:moveTo>
                  <a:cubicBezTo>
                    <a:pt x="17" y="11"/>
                    <a:pt x="10" y="17"/>
                    <a:pt x="10" y="25"/>
                  </a:cubicBezTo>
                  <a:cubicBezTo>
                    <a:pt x="10" y="33"/>
                    <a:pt x="17" y="39"/>
                    <a:pt x="24" y="39"/>
                  </a:cubicBezTo>
                  <a:cubicBezTo>
                    <a:pt x="32" y="39"/>
                    <a:pt x="38" y="33"/>
                    <a:pt x="38" y="25"/>
                  </a:cubicBezTo>
                  <a:cubicBezTo>
                    <a:pt x="38" y="17"/>
                    <a:pt x="32" y="11"/>
                    <a:pt x="2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36" name="Freeform 1606">
              <a:extLst>
                <a:ext uri="{FF2B5EF4-FFF2-40B4-BE49-F238E27FC236}">
                  <a16:creationId xmlns:a16="http://schemas.microsoft.com/office/drawing/2014/main" id="{CD22C98D-84F8-149E-AD96-1B2007E5BB3E}"/>
                </a:ext>
              </a:extLst>
            </p:cNvPr>
            <p:cNvSpPr>
              <a:spLocks/>
            </p:cNvSpPr>
            <p:nvPr/>
          </p:nvSpPr>
          <p:spPr bwMode="auto">
            <a:xfrm>
              <a:off x="-336549" y="2885461"/>
              <a:ext cx="9525" cy="41275"/>
            </a:xfrm>
            <a:custGeom>
              <a:avLst/>
              <a:gdLst>
                <a:gd name="T0" fmla="*/ 5 w 10"/>
                <a:gd name="T1" fmla="*/ 40 h 40"/>
                <a:gd name="T2" fmla="*/ 0 w 10"/>
                <a:gd name="T3" fmla="*/ 34 h 40"/>
                <a:gd name="T4" fmla="*/ 0 w 10"/>
                <a:gd name="T5" fmla="*/ 6 h 40"/>
                <a:gd name="T6" fmla="*/ 5 w 10"/>
                <a:gd name="T7" fmla="*/ 0 h 40"/>
                <a:gd name="T8" fmla="*/ 10 w 10"/>
                <a:gd name="T9" fmla="*/ 6 h 40"/>
                <a:gd name="T10" fmla="*/ 10 w 10"/>
                <a:gd name="T11" fmla="*/ 34 h 40"/>
                <a:gd name="T12" fmla="*/ 5 w 10"/>
                <a:gd name="T1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40">
                  <a:moveTo>
                    <a:pt x="5" y="40"/>
                  </a:moveTo>
                  <a:cubicBezTo>
                    <a:pt x="2" y="40"/>
                    <a:pt x="0" y="37"/>
                    <a:pt x="0" y="3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8" y="0"/>
                    <a:pt x="10" y="3"/>
                    <a:pt x="10" y="6"/>
                  </a:cubicBezTo>
                  <a:cubicBezTo>
                    <a:pt x="10" y="34"/>
                    <a:pt x="10" y="34"/>
                    <a:pt x="10" y="34"/>
                  </a:cubicBezTo>
                  <a:cubicBezTo>
                    <a:pt x="10" y="37"/>
                    <a:pt x="8" y="40"/>
                    <a:pt x="5" y="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37" name="Freeform 1607">
              <a:extLst>
                <a:ext uri="{FF2B5EF4-FFF2-40B4-BE49-F238E27FC236}">
                  <a16:creationId xmlns:a16="http://schemas.microsoft.com/office/drawing/2014/main" id="{D4E06516-9B5B-294A-9A6C-A3EE29D25A33}"/>
                </a:ext>
              </a:extLst>
            </p:cNvPr>
            <p:cNvSpPr>
              <a:spLocks/>
            </p:cNvSpPr>
            <p:nvPr/>
          </p:nvSpPr>
          <p:spPr bwMode="auto">
            <a:xfrm>
              <a:off x="-274636" y="2885459"/>
              <a:ext cx="11113" cy="41275"/>
            </a:xfrm>
            <a:custGeom>
              <a:avLst/>
              <a:gdLst>
                <a:gd name="T0" fmla="*/ 6 w 11"/>
                <a:gd name="T1" fmla="*/ 40 h 40"/>
                <a:gd name="T2" fmla="*/ 0 w 11"/>
                <a:gd name="T3" fmla="*/ 34 h 40"/>
                <a:gd name="T4" fmla="*/ 0 w 11"/>
                <a:gd name="T5" fmla="*/ 6 h 40"/>
                <a:gd name="T6" fmla="*/ 6 w 11"/>
                <a:gd name="T7" fmla="*/ 0 h 40"/>
                <a:gd name="T8" fmla="*/ 11 w 11"/>
                <a:gd name="T9" fmla="*/ 6 h 40"/>
                <a:gd name="T10" fmla="*/ 11 w 11"/>
                <a:gd name="T11" fmla="*/ 34 h 40"/>
                <a:gd name="T12" fmla="*/ 6 w 11"/>
                <a:gd name="T1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40">
                  <a:moveTo>
                    <a:pt x="6" y="40"/>
                  </a:moveTo>
                  <a:cubicBezTo>
                    <a:pt x="3" y="40"/>
                    <a:pt x="0" y="37"/>
                    <a:pt x="0" y="3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1" y="3"/>
                    <a:pt x="11" y="6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7"/>
                    <a:pt x="9" y="40"/>
                    <a:pt x="6" y="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38" name="Freeform 1608">
              <a:extLst>
                <a:ext uri="{FF2B5EF4-FFF2-40B4-BE49-F238E27FC236}">
                  <a16:creationId xmlns:a16="http://schemas.microsoft.com/office/drawing/2014/main" id="{24BD2FAF-C4B7-6137-B465-93AF6401E0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57200" y="2688605"/>
              <a:ext cx="98425" cy="93663"/>
            </a:xfrm>
            <a:custGeom>
              <a:avLst/>
              <a:gdLst>
                <a:gd name="T0" fmla="*/ 80 w 95"/>
                <a:gd name="T1" fmla="*/ 90 h 90"/>
                <a:gd name="T2" fmla="*/ 15 w 95"/>
                <a:gd name="T3" fmla="*/ 90 h 90"/>
                <a:gd name="T4" fmla="*/ 10 w 95"/>
                <a:gd name="T5" fmla="*/ 85 h 90"/>
                <a:gd name="T6" fmla="*/ 0 w 95"/>
                <a:gd name="T7" fmla="*/ 6 h 90"/>
                <a:gd name="T8" fmla="*/ 1 w 95"/>
                <a:gd name="T9" fmla="*/ 2 h 90"/>
                <a:gd name="T10" fmla="*/ 5 w 95"/>
                <a:gd name="T11" fmla="*/ 0 h 90"/>
                <a:gd name="T12" fmla="*/ 89 w 95"/>
                <a:gd name="T13" fmla="*/ 0 h 90"/>
                <a:gd name="T14" fmla="*/ 94 w 95"/>
                <a:gd name="T15" fmla="*/ 2 h 90"/>
                <a:gd name="T16" fmla="*/ 95 w 95"/>
                <a:gd name="T17" fmla="*/ 6 h 90"/>
                <a:gd name="T18" fmla="*/ 85 w 95"/>
                <a:gd name="T19" fmla="*/ 85 h 90"/>
                <a:gd name="T20" fmla="*/ 80 w 95"/>
                <a:gd name="T21" fmla="*/ 90 h 90"/>
                <a:gd name="T22" fmla="*/ 20 w 95"/>
                <a:gd name="T23" fmla="*/ 79 h 90"/>
                <a:gd name="T24" fmla="*/ 75 w 95"/>
                <a:gd name="T25" fmla="*/ 79 h 90"/>
                <a:gd name="T26" fmla="*/ 83 w 95"/>
                <a:gd name="T27" fmla="*/ 11 h 90"/>
                <a:gd name="T28" fmla="*/ 12 w 95"/>
                <a:gd name="T29" fmla="*/ 11 h 90"/>
                <a:gd name="T30" fmla="*/ 20 w 95"/>
                <a:gd name="T31" fmla="*/ 79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5" h="90">
                  <a:moveTo>
                    <a:pt x="80" y="90"/>
                  </a:moveTo>
                  <a:cubicBezTo>
                    <a:pt x="15" y="90"/>
                    <a:pt x="15" y="90"/>
                    <a:pt x="15" y="90"/>
                  </a:cubicBezTo>
                  <a:cubicBezTo>
                    <a:pt x="12" y="90"/>
                    <a:pt x="10" y="87"/>
                    <a:pt x="10" y="8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5"/>
                    <a:pt x="0" y="3"/>
                    <a:pt x="1" y="2"/>
                  </a:cubicBezTo>
                  <a:cubicBezTo>
                    <a:pt x="2" y="1"/>
                    <a:pt x="4" y="0"/>
                    <a:pt x="5" y="0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91" y="0"/>
                    <a:pt x="93" y="1"/>
                    <a:pt x="94" y="2"/>
                  </a:cubicBezTo>
                  <a:cubicBezTo>
                    <a:pt x="95" y="3"/>
                    <a:pt x="95" y="5"/>
                    <a:pt x="95" y="6"/>
                  </a:cubicBezTo>
                  <a:cubicBezTo>
                    <a:pt x="85" y="85"/>
                    <a:pt x="85" y="85"/>
                    <a:pt x="85" y="85"/>
                  </a:cubicBezTo>
                  <a:cubicBezTo>
                    <a:pt x="85" y="87"/>
                    <a:pt x="82" y="90"/>
                    <a:pt x="80" y="90"/>
                  </a:cubicBezTo>
                  <a:close/>
                  <a:moveTo>
                    <a:pt x="20" y="79"/>
                  </a:moveTo>
                  <a:cubicBezTo>
                    <a:pt x="75" y="79"/>
                    <a:pt x="75" y="79"/>
                    <a:pt x="75" y="79"/>
                  </a:cubicBezTo>
                  <a:cubicBezTo>
                    <a:pt x="83" y="11"/>
                    <a:pt x="83" y="11"/>
                    <a:pt x="83" y="11"/>
                  </a:cubicBezTo>
                  <a:cubicBezTo>
                    <a:pt x="12" y="11"/>
                    <a:pt x="12" y="11"/>
                    <a:pt x="12" y="11"/>
                  </a:cubicBezTo>
                  <a:lnTo>
                    <a:pt x="20" y="7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39" name="Shape64_20200717_142846">
            <a:extLst>
              <a:ext uri="{FF2B5EF4-FFF2-40B4-BE49-F238E27FC236}">
                <a16:creationId xmlns:a16="http://schemas.microsoft.com/office/drawing/2014/main" id="{658E4134-0A87-10C1-3038-41F8BDE53DE6}"/>
              </a:ext>
            </a:extLst>
          </p:cNvPr>
          <p:cNvGrpSpPr>
            <a:grpSpLocks noChangeAspect="1"/>
          </p:cNvGrpSpPr>
          <p:nvPr/>
        </p:nvGrpSpPr>
        <p:grpSpPr>
          <a:xfrm>
            <a:off x="11121521" y="3808418"/>
            <a:ext cx="393408" cy="652479"/>
            <a:chOff x="-1250961" y="2111388"/>
            <a:chExt cx="260351" cy="431799"/>
          </a:xfrm>
          <a:solidFill>
            <a:schemeClr val="accent1"/>
          </a:solidFill>
        </p:grpSpPr>
        <p:sp>
          <p:nvSpPr>
            <p:cNvPr id="440" name="Freeform 443">
              <a:extLst>
                <a:ext uri="{FF2B5EF4-FFF2-40B4-BE49-F238E27FC236}">
                  <a16:creationId xmlns:a16="http://schemas.microsoft.com/office/drawing/2014/main" id="{4A303215-4081-75E0-210E-5088FC9037B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127136" y="2486037"/>
              <a:ext cx="136526" cy="57150"/>
            </a:xfrm>
            <a:custGeom>
              <a:avLst/>
              <a:gdLst>
                <a:gd name="T0" fmla="*/ 58 w 61"/>
                <a:gd name="T1" fmla="*/ 25 h 25"/>
                <a:gd name="T2" fmla="*/ 2 w 61"/>
                <a:gd name="T3" fmla="*/ 25 h 25"/>
                <a:gd name="T4" fmla="*/ 0 w 61"/>
                <a:gd name="T5" fmla="*/ 23 h 25"/>
                <a:gd name="T6" fmla="*/ 0 w 61"/>
                <a:gd name="T7" fmla="*/ 3 h 25"/>
                <a:gd name="T8" fmla="*/ 2 w 61"/>
                <a:gd name="T9" fmla="*/ 0 h 25"/>
                <a:gd name="T10" fmla="*/ 58 w 61"/>
                <a:gd name="T11" fmla="*/ 0 h 25"/>
                <a:gd name="T12" fmla="*/ 61 w 61"/>
                <a:gd name="T13" fmla="*/ 3 h 25"/>
                <a:gd name="T14" fmla="*/ 61 w 61"/>
                <a:gd name="T15" fmla="*/ 23 h 25"/>
                <a:gd name="T16" fmla="*/ 58 w 61"/>
                <a:gd name="T17" fmla="*/ 25 h 25"/>
                <a:gd name="T18" fmla="*/ 5 w 61"/>
                <a:gd name="T19" fmla="*/ 20 h 25"/>
                <a:gd name="T20" fmla="*/ 56 w 61"/>
                <a:gd name="T21" fmla="*/ 20 h 25"/>
                <a:gd name="T22" fmla="*/ 56 w 61"/>
                <a:gd name="T23" fmla="*/ 5 h 25"/>
                <a:gd name="T24" fmla="*/ 5 w 61"/>
                <a:gd name="T25" fmla="*/ 5 h 25"/>
                <a:gd name="T26" fmla="*/ 5 w 61"/>
                <a:gd name="T27" fmla="*/ 2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1" h="25">
                  <a:moveTo>
                    <a:pt x="58" y="25"/>
                  </a:moveTo>
                  <a:cubicBezTo>
                    <a:pt x="2" y="25"/>
                    <a:pt x="2" y="25"/>
                    <a:pt x="2" y="25"/>
                  </a:cubicBezTo>
                  <a:cubicBezTo>
                    <a:pt x="1" y="25"/>
                    <a:pt x="0" y="24"/>
                    <a:pt x="0" y="2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60" y="0"/>
                    <a:pt x="61" y="1"/>
                    <a:pt x="61" y="3"/>
                  </a:cubicBezTo>
                  <a:cubicBezTo>
                    <a:pt x="61" y="23"/>
                    <a:pt x="61" y="23"/>
                    <a:pt x="61" y="23"/>
                  </a:cubicBezTo>
                  <a:cubicBezTo>
                    <a:pt x="61" y="24"/>
                    <a:pt x="60" y="25"/>
                    <a:pt x="58" y="25"/>
                  </a:cubicBezTo>
                  <a:close/>
                  <a:moveTo>
                    <a:pt x="5" y="20"/>
                  </a:moveTo>
                  <a:cubicBezTo>
                    <a:pt x="56" y="20"/>
                    <a:pt x="56" y="20"/>
                    <a:pt x="56" y="20"/>
                  </a:cubicBezTo>
                  <a:cubicBezTo>
                    <a:pt x="56" y="5"/>
                    <a:pt x="56" y="5"/>
                    <a:pt x="56" y="5"/>
                  </a:cubicBezTo>
                  <a:cubicBezTo>
                    <a:pt x="5" y="5"/>
                    <a:pt x="5" y="5"/>
                    <a:pt x="5" y="5"/>
                  </a:cubicBezTo>
                  <a:lnTo>
                    <a:pt x="5" y="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41" name="Freeform 444">
              <a:extLst>
                <a:ext uri="{FF2B5EF4-FFF2-40B4-BE49-F238E27FC236}">
                  <a16:creationId xmlns:a16="http://schemas.microsoft.com/office/drawing/2014/main" id="{97099358-209D-65EB-C5D5-E11D9E4A6FD7}"/>
                </a:ext>
              </a:extLst>
            </p:cNvPr>
            <p:cNvSpPr>
              <a:spLocks/>
            </p:cNvSpPr>
            <p:nvPr/>
          </p:nvSpPr>
          <p:spPr bwMode="auto">
            <a:xfrm>
              <a:off x="-1116023" y="2303474"/>
              <a:ext cx="53976" cy="193676"/>
            </a:xfrm>
            <a:custGeom>
              <a:avLst/>
              <a:gdLst>
                <a:gd name="T0" fmla="*/ 10 w 24"/>
                <a:gd name="T1" fmla="*/ 86 h 86"/>
                <a:gd name="T2" fmla="*/ 8 w 24"/>
                <a:gd name="T3" fmla="*/ 84 h 86"/>
                <a:gd name="T4" fmla="*/ 0 w 24"/>
                <a:gd name="T5" fmla="*/ 41 h 86"/>
                <a:gd name="T6" fmla="*/ 0 w 24"/>
                <a:gd name="T7" fmla="*/ 35 h 86"/>
                <a:gd name="T8" fmla="*/ 7 w 24"/>
                <a:gd name="T9" fmla="*/ 7 h 86"/>
                <a:gd name="T10" fmla="*/ 16 w 24"/>
                <a:gd name="T11" fmla="*/ 1 h 86"/>
                <a:gd name="T12" fmla="*/ 17 w 24"/>
                <a:gd name="T13" fmla="*/ 2 h 86"/>
                <a:gd name="T14" fmla="*/ 23 w 24"/>
                <a:gd name="T15" fmla="*/ 10 h 86"/>
                <a:gd name="T16" fmla="*/ 19 w 24"/>
                <a:gd name="T17" fmla="*/ 36 h 86"/>
                <a:gd name="T18" fmla="*/ 24 w 24"/>
                <a:gd name="T19" fmla="*/ 50 h 86"/>
                <a:gd name="T20" fmla="*/ 22 w 24"/>
                <a:gd name="T21" fmla="*/ 53 h 86"/>
                <a:gd name="T22" fmla="*/ 19 w 24"/>
                <a:gd name="T23" fmla="*/ 52 h 86"/>
                <a:gd name="T24" fmla="*/ 14 w 24"/>
                <a:gd name="T25" fmla="*/ 37 h 86"/>
                <a:gd name="T26" fmla="*/ 14 w 24"/>
                <a:gd name="T27" fmla="*/ 36 h 86"/>
                <a:gd name="T28" fmla="*/ 18 w 24"/>
                <a:gd name="T29" fmla="*/ 10 h 86"/>
                <a:gd name="T30" fmla="*/ 16 w 24"/>
                <a:gd name="T31" fmla="*/ 6 h 86"/>
                <a:gd name="T32" fmla="*/ 15 w 24"/>
                <a:gd name="T33" fmla="*/ 6 h 86"/>
                <a:gd name="T34" fmla="*/ 12 w 24"/>
                <a:gd name="T35" fmla="*/ 8 h 86"/>
                <a:gd name="T36" fmla="*/ 5 w 24"/>
                <a:gd name="T37" fmla="*/ 36 h 86"/>
                <a:gd name="T38" fmla="*/ 5 w 24"/>
                <a:gd name="T39" fmla="*/ 40 h 86"/>
                <a:gd name="T40" fmla="*/ 13 w 24"/>
                <a:gd name="T41" fmla="*/ 83 h 86"/>
                <a:gd name="T42" fmla="*/ 11 w 24"/>
                <a:gd name="T43" fmla="*/ 86 h 86"/>
                <a:gd name="T44" fmla="*/ 10 w 24"/>
                <a:gd name="T45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4" h="86">
                  <a:moveTo>
                    <a:pt x="10" y="86"/>
                  </a:moveTo>
                  <a:cubicBezTo>
                    <a:pt x="9" y="86"/>
                    <a:pt x="8" y="85"/>
                    <a:pt x="8" y="84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39"/>
                    <a:pt x="0" y="37"/>
                    <a:pt x="0" y="35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3"/>
                    <a:pt x="12" y="0"/>
                    <a:pt x="16" y="1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21" y="2"/>
                    <a:pt x="24" y="6"/>
                    <a:pt x="23" y="10"/>
                  </a:cubicBezTo>
                  <a:cubicBezTo>
                    <a:pt x="19" y="36"/>
                    <a:pt x="19" y="36"/>
                    <a:pt x="19" y="36"/>
                  </a:cubicBezTo>
                  <a:cubicBezTo>
                    <a:pt x="24" y="50"/>
                    <a:pt x="24" y="50"/>
                    <a:pt x="24" y="50"/>
                  </a:cubicBezTo>
                  <a:cubicBezTo>
                    <a:pt x="24" y="52"/>
                    <a:pt x="23" y="53"/>
                    <a:pt x="22" y="53"/>
                  </a:cubicBezTo>
                  <a:cubicBezTo>
                    <a:pt x="21" y="54"/>
                    <a:pt x="19" y="53"/>
                    <a:pt x="19" y="52"/>
                  </a:cubicBezTo>
                  <a:cubicBezTo>
                    <a:pt x="14" y="37"/>
                    <a:pt x="14" y="37"/>
                    <a:pt x="14" y="37"/>
                  </a:cubicBezTo>
                  <a:cubicBezTo>
                    <a:pt x="14" y="37"/>
                    <a:pt x="14" y="37"/>
                    <a:pt x="14" y="36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8" y="8"/>
                    <a:pt x="17" y="7"/>
                    <a:pt x="16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3" y="6"/>
                    <a:pt x="12" y="7"/>
                    <a:pt x="12" y="8"/>
                  </a:cubicBezTo>
                  <a:cubicBezTo>
                    <a:pt x="5" y="36"/>
                    <a:pt x="5" y="36"/>
                    <a:pt x="5" y="36"/>
                  </a:cubicBezTo>
                  <a:cubicBezTo>
                    <a:pt x="5" y="38"/>
                    <a:pt x="5" y="39"/>
                    <a:pt x="5" y="40"/>
                  </a:cubicBezTo>
                  <a:cubicBezTo>
                    <a:pt x="13" y="83"/>
                    <a:pt x="13" y="83"/>
                    <a:pt x="13" y="83"/>
                  </a:cubicBezTo>
                  <a:cubicBezTo>
                    <a:pt x="13" y="85"/>
                    <a:pt x="12" y="86"/>
                    <a:pt x="11" y="86"/>
                  </a:cubicBezTo>
                  <a:cubicBezTo>
                    <a:pt x="11" y="86"/>
                    <a:pt x="10" y="86"/>
                    <a:pt x="10" y="8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42" name="Freeform 445">
              <a:extLst>
                <a:ext uri="{FF2B5EF4-FFF2-40B4-BE49-F238E27FC236}">
                  <a16:creationId xmlns:a16="http://schemas.microsoft.com/office/drawing/2014/main" id="{E4F9B79F-AC7D-8745-CEC0-9BC06D277BDD}"/>
                </a:ext>
              </a:extLst>
            </p:cNvPr>
            <p:cNvSpPr>
              <a:spLocks/>
            </p:cNvSpPr>
            <p:nvPr/>
          </p:nvSpPr>
          <p:spPr bwMode="auto">
            <a:xfrm>
              <a:off x="-1076335" y="2239975"/>
              <a:ext cx="66675" cy="257177"/>
            </a:xfrm>
            <a:custGeom>
              <a:avLst/>
              <a:gdLst>
                <a:gd name="T0" fmla="*/ 22 w 29"/>
                <a:gd name="T1" fmla="*/ 114 h 114"/>
                <a:gd name="T2" fmla="*/ 22 w 29"/>
                <a:gd name="T3" fmla="*/ 114 h 114"/>
                <a:gd name="T4" fmla="*/ 20 w 29"/>
                <a:gd name="T5" fmla="*/ 111 h 114"/>
                <a:gd name="T6" fmla="*/ 13 w 29"/>
                <a:gd name="T7" fmla="*/ 13 h 114"/>
                <a:gd name="T8" fmla="*/ 11 w 29"/>
                <a:gd name="T9" fmla="*/ 7 h 114"/>
                <a:gd name="T10" fmla="*/ 9 w 29"/>
                <a:gd name="T11" fmla="*/ 5 h 114"/>
                <a:gd name="T12" fmla="*/ 6 w 29"/>
                <a:gd name="T13" fmla="*/ 7 h 114"/>
                <a:gd name="T14" fmla="*/ 6 w 29"/>
                <a:gd name="T15" fmla="*/ 8 h 114"/>
                <a:gd name="T16" fmla="*/ 5 w 29"/>
                <a:gd name="T17" fmla="*/ 38 h 114"/>
                <a:gd name="T18" fmla="*/ 2 w 29"/>
                <a:gd name="T19" fmla="*/ 40 h 114"/>
                <a:gd name="T20" fmla="*/ 0 w 29"/>
                <a:gd name="T21" fmla="*/ 38 h 114"/>
                <a:gd name="T22" fmla="*/ 1 w 29"/>
                <a:gd name="T23" fmla="*/ 8 h 114"/>
                <a:gd name="T24" fmla="*/ 2 w 29"/>
                <a:gd name="T25" fmla="*/ 5 h 114"/>
                <a:gd name="T26" fmla="*/ 9 w 29"/>
                <a:gd name="T27" fmla="*/ 0 h 114"/>
                <a:gd name="T28" fmla="*/ 16 w 29"/>
                <a:gd name="T29" fmla="*/ 6 h 114"/>
                <a:gd name="T30" fmla="*/ 17 w 29"/>
                <a:gd name="T31" fmla="*/ 12 h 114"/>
                <a:gd name="T32" fmla="*/ 25 w 29"/>
                <a:gd name="T33" fmla="*/ 112 h 114"/>
                <a:gd name="T34" fmla="*/ 22 w 29"/>
                <a:gd name="T35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9" h="114">
                  <a:moveTo>
                    <a:pt x="22" y="114"/>
                  </a:moveTo>
                  <a:cubicBezTo>
                    <a:pt x="22" y="114"/>
                    <a:pt x="22" y="114"/>
                    <a:pt x="22" y="114"/>
                  </a:cubicBezTo>
                  <a:cubicBezTo>
                    <a:pt x="21" y="114"/>
                    <a:pt x="20" y="113"/>
                    <a:pt x="20" y="111"/>
                  </a:cubicBezTo>
                  <a:cubicBezTo>
                    <a:pt x="24" y="78"/>
                    <a:pt x="21" y="45"/>
                    <a:pt x="13" y="13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6"/>
                    <a:pt x="9" y="5"/>
                    <a:pt x="9" y="5"/>
                  </a:cubicBezTo>
                  <a:cubicBezTo>
                    <a:pt x="8" y="5"/>
                    <a:pt x="7" y="5"/>
                    <a:pt x="6" y="7"/>
                  </a:cubicBezTo>
                  <a:cubicBezTo>
                    <a:pt x="6" y="7"/>
                    <a:pt x="6" y="8"/>
                    <a:pt x="6" y="8"/>
                  </a:cubicBezTo>
                  <a:cubicBezTo>
                    <a:pt x="5" y="38"/>
                    <a:pt x="5" y="38"/>
                    <a:pt x="5" y="38"/>
                  </a:cubicBezTo>
                  <a:cubicBezTo>
                    <a:pt x="5" y="39"/>
                    <a:pt x="4" y="40"/>
                    <a:pt x="2" y="40"/>
                  </a:cubicBezTo>
                  <a:cubicBezTo>
                    <a:pt x="1" y="40"/>
                    <a:pt x="0" y="39"/>
                    <a:pt x="0" y="3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7"/>
                    <a:pt x="1" y="6"/>
                    <a:pt x="2" y="5"/>
                  </a:cubicBezTo>
                  <a:cubicBezTo>
                    <a:pt x="3" y="2"/>
                    <a:pt x="6" y="0"/>
                    <a:pt x="9" y="0"/>
                  </a:cubicBezTo>
                  <a:cubicBezTo>
                    <a:pt x="13" y="1"/>
                    <a:pt x="15" y="3"/>
                    <a:pt x="16" y="6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26" y="44"/>
                    <a:pt x="29" y="78"/>
                    <a:pt x="25" y="112"/>
                  </a:cubicBezTo>
                  <a:cubicBezTo>
                    <a:pt x="25" y="113"/>
                    <a:pt x="24" y="114"/>
                    <a:pt x="22" y="1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43" name="Freeform 446">
              <a:extLst>
                <a:ext uri="{FF2B5EF4-FFF2-40B4-BE49-F238E27FC236}">
                  <a16:creationId xmlns:a16="http://schemas.microsoft.com/office/drawing/2014/main" id="{76184ED8-613A-38C3-C41B-6A9090A17951}"/>
                </a:ext>
              </a:extLst>
            </p:cNvPr>
            <p:cNvSpPr>
              <a:spLocks/>
            </p:cNvSpPr>
            <p:nvPr/>
          </p:nvSpPr>
          <p:spPr bwMode="auto">
            <a:xfrm>
              <a:off x="-1250961" y="2111388"/>
              <a:ext cx="201615" cy="295277"/>
            </a:xfrm>
            <a:custGeom>
              <a:avLst/>
              <a:gdLst>
                <a:gd name="T0" fmla="*/ 62 w 90"/>
                <a:gd name="T1" fmla="*/ 131 h 131"/>
                <a:gd name="T2" fmla="*/ 14 w 90"/>
                <a:gd name="T3" fmla="*/ 131 h 131"/>
                <a:gd name="T4" fmla="*/ 0 w 90"/>
                <a:gd name="T5" fmla="*/ 118 h 131"/>
                <a:gd name="T6" fmla="*/ 0 w 90"/>
                <a:gd name="T7" fmla="*/ 13 h 131"/>
                <a:gd name="T8" fmla="*/ 14 w 90"/>
                <a:gd name="T9" fmla="*/ 0 h 131"/>
                <a:gd name="T10" fmla="*/ 76 w 90"/>
                <a:gd name="T11" fmla="*/ 0 h 131"/>
                <a:gd name="T12" fmla="*/ 90 w 90"/>
                <a:gd name="T13" fmla="*/ 13 h 131"/>
                <a:gd name="T14" fmla="*/ 90 w 90"/>
                <a:gd name="T15" fmla="*/ 60 h 131"/>
                <a:gd name="T16" fmla="*/ 87 w 90"/>
                <a:gd name="T17" fmla="*/ 62 h 131"/>
                <a:gd name="T18" fmla="*/ 85 w 90"/>
                <a:gd name="T19" fmla="*/ 60 h 131"/>
                <a:gd name="T20" fmla="*/ 85 w 90"/>
                <a:gd name="T21" fmla="*/ 13 h 131"/>
                <a:gd name="T22" fmla="*/ 76 w 90"/>
                <a:gd name="T23" fmla="*/ 5 h 131"/>
                <a:gd name="T24" fmla="*/ 14 w 90"/>
                <a:gd name="T25" fmla="*/ 5 h 131"/>
                <a:gd name="T26" fmla="*/ 5 w 90"/>
                <a:gd name="T27" fmla="*/ 13 h 131"/>
                <a:gd name="T28" fmla="*/ 5 w 90"/>
                <a:gd name="T29" fmla="*/ 118 h 131"/>
                <a:gd name="T30" fmla="*/ 14 w 90"/>
                <a:gd name="T31" fmla="*/ 126 h 131"/>
                <a:gd name="T32" fmla="*/ 62 w 90"/>
                <a:gd name="T33" fmla="*/ 126 h 131"/>
                <a:gd name="T34" fmla="*/ 65 w 90"/>
                <a:gd name="T35" fmla="*/ 129 h 131"/>
                <a:gd name="T36" fmla="*/ 62 w 90"/>
                <a:gd name="T37" fmla="*/ 131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0" h="131">
                  <a:moveTo>
                    <a:pt x="62" y="131"/>
                  </a:moveTo>
                  <a:cubicBezTo>
                    <a:pt x="14" y="131"/>
                    <a:pt x="14" y="131"/>
                    <a:pt x="14" y="131"/>
                  </a:cubicBezTo>
                  <a:cubicBezTo>
                    <a:pt x="6" y="131"/>
                    <a:pt x="0" y="125"/>
                    <a:pt x="0" y="118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4" y="0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84" y="0"/>
                    <a:pt x="90" y="6"/>
                    <a:pt x="90" y="13"/>
                  </a:cubicBezTo>
                  <a:cubicBezTo>
                    <a:pt x="90" y="60"/>
                    <a:pt x="90" y="60"/>
                    <a:pt x="90" y="60"/>
                  </a:cubicBezTo>
                  <a:cubicBezTo>
                    <a:pt x="90" y="61"/>
                    <a:pt x="88" y="62"/>
                    <a:pt x="87" y="62"/>
                  </a:cubicBezTo>
                  <a:cubicBezTo>
                    <a:pt x="86" y="62"/>
                    <a:pt x="85" y="61"/>
                    <a:pt x="85" y="60"/>
                  </a:cubicBezTo>
                  <a:cubicBezTo>
                    <a:pt x="85" y="13"/>
                    <a:pt x="85" y="13"/>
                    <a:pt x="85" y="13"/>
                  </a:cubicBezTo>
                  <a:cubicBezTo>
                    <a:pt x="85" y="9"/>
                    <a:pt x="81" y="5"/>
                    <a:pt x="76" y="5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9" y="5"/>
                    <a:pt x="5" y="9"/>
                    <a:pt x="5" y="13"/>
                  </a:cubicBezTo>
                  <a:cubicBezTo>
                    <a:pt x="5" y="118"/>
                    <a:pt x="5" y="118"/>
                    <a:pt x="5" y="118"/>
                  </a:cubicBezTo>
                  <a:cubicBezTo>
                    <a:pt x="5" y="123"/>
                    <a:pt x="9" y="126"/>
                    <a:pt x="14" y="126"/>
                  </a:cubicBezTo>
                  <a:cubicBezTo>
                    <a:pt x="62" y="126"/>
                    <a:pt x="62" y="126"/>
                    <a:pt x="62" y="126"/>
                  </a:cubicBezTo>
                  <a:cubicBezTo>
                    <a:pt x="64" y="126"/>
                    <a:pt x="65" y="127"/>
                    <a:pt x="65" y="129"/>
                  </a:cubicBezTo>
                  <a:cubicBezTo>
                    <a:pt x="65" y="130"/>
                    <a:pt x="64" y="131"/>
                    <a:pt x="62" y="13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44" name="Freeform 447">
              <a:extLst>
                <a:ext uri="{FF2B5EF4-FFF2-40B4-BE49-F238E27FC236}">
                  <a16:creationId xmlns:a16="http://schemas.microsoft.com/office/drawing/2014/main" id="{08FED969-9E5C-7F0A-6D6F-60C17B9D7D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220798" y="2111389"/>
              <a:ext cx="47625" cy="295277"/>
            </a:xfrm>
            <a:custGeom>
              <a:avLst/>
              <a:gdLst>
                <a:gd name="T0" fmla="*/ 19 w 21"/>
                <a:gd name="T1" fmla="*/ 131 h 131"/>
                <a:gd name="T2" fmla="*/ 2 w 21"/>
                <a:gd name="T3" fmla="*/ 131 h 131"/>
                <a:gd name="T4" fmla="*/ 0 w 21"/>
                <a:gd name="T5" fmla="*/ 129 h 131"/>
                <a:gd name="T6" fmla="*/ 0 w 21"/>
                <a:gd name="T7" fmla="*/ 2 h 131"/>
                <a:gd name="T8" fmla="*/ 2 w 21"/>
                <a:gd name="T9" fmla="*/ 0 h 131"/>
                <a:gd name="T10" fmla="*/ 19 w 21"/>
                <a:gd name="T11" fmla="*/ 0 h 131"/>
                <a:gd name="T12" fmla="*/ 21 w 21"/>
                <a:gd name="T13" fmla="*/ 2 h 131"/>
                <a:gd name="T14" fmla="*/ 21 w 21"/>
                <a:gd name="T15" fmla="*/ 129 h 131"/>
                <a:gd name="T16" fmla="*/ 19 w 21"/>
                <a:gd name="T17" fmla="*/ 131 h 131"/>
                <a:gd name="T18" fmla="*/ 4 w 21"/>
                <a:gd name="T19" fmla="*/ 126 h 131"/>
                <a:gd name="T20" fmla="*/ 16 w 21"/>
                <a:gd name="T21" fmla="*/ 126 h 131"/>
                <a:gd name="T22" fmla="*/ 16 w 21"/>
                <a:gd name="T23" fmla="*/ 5 h 131"/>
                <a:gd name="T24" fmla="*/ 4 w 21"/>
                <a:gd name="T25" fmla="*/ 5 h 131"/>
                <a:gd name="T26" fmla="*/ 4 w 21"/>
                <a:gd name="T27" fmla="*/ 126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" h="131">
                  <a:moveTo>
                    <a:pt x="19" y="131"/>
                  </a:moveTo>
                  <a:cubicBezTo>
                    <a:pt x="2" y="131"/>
                    <a:pt x="2" y="131"/>
                    <a:pt x="2" y="131"/>
                  </a:cubicBezTo>
                  <a:cubicBezTo>
                    <a:pt x="1" y="131"/>
                    <a:pt x="0" y="130"/>
                    <a:pt x="0" y="12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0" y="0"/>
                    <a:pt x="21" y="1"/>
                    <a:pt x="21" y="2"/>
                  </a:cubicBezTo>
                  <a:cubicBezTo>
                    <a:pt x="21" y="129"/>
                    <a:pt x="21" y="129"/>
                    <a:pt x="21" y="129"/>
                  </a:cubicBezTo>
                  <a:cubicBezTo>
                    <a:pt x="21" y="130"/>
                    <a:pt x="20" y="131"/>
                    <a:pt x="19" y="131"/>
                  </a:cubicBezTo>
                  <a:close/>
                  <a:moveTo>
                    <a:pt x="4" y="126"/>
                  </a:moveTo>
                  <a:cubicBezTo>
                    <a:pt x="16" y="126"/>
                    <a:pt x="16" y="126"/>
                    <a:pt x="16" y="12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4" y="5"/>
                    <a:pt x="4" y="5"/>
                    <a:pt x="4" y="5"/>
                  </a:cubicBezTo>
                  <a:lnTo>
                    <a:pt x="4" y="12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45" name="Freeform 448">
              <a:extLst>
                <a:ext uri="{FF2B5EF4-FFF2-40B4-BE49-F238E27FC236}">
                  <a16:creationId xmlns:a16="http://schemas.microsoft.com/office/drawing/2014/main" id="{C5A3F75F-7931-90EA-C7FE-2225F9939DB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120784" y="2171713"/>
              <a:ext cx="42863" cy="42863"/>
            </a:xfrm>
            <a:custGeom>
              <a:avLst/>
              <a:gdLst>
                <a:gd name="T0" fmla="*/ 9 w 19"/>
                <a:gd name="T1" fmla="*/ 19 h 19"/>
                <a:gd name="T2" fmla="*/ 0 w 19"/>
                <a:gd name="T3" fmla="*/ 9 h 19"/>
                <a:gd name="T4" fmla="*/ 9 w 19"/>
                <a:gd name="T5" fmla="*/ 0 h 19"/>
                <a:gd name="T6" fmla="*/ 19 w 19"/>
                <a:gd name="T7" fmla="*/ 9 h 19"/>
                <a:gd name="T8" fmla="*/ 9 w 19"/>
                <a:gd name="T9" fmla="*/ 19 h 19"/>
                <a:gd name="T10" fmla="*/ 9 w 19"/>
                <a:gd name="T11" fmla="*/ 5 h 19"/>
                <a:gd name="T12" fmla="*/ 5 w 19"/>
                <a:gd name="T13" fmla="*/ 9 h 19"/>
                <a:gd name="T14" fmla="*/ 9 w 19"/>
                <a:gd name="T15" fmla="*/ 14 h 19"/>
                <a:gd name="T16" fmla="*/ 14 w 19"/>
                <a:gd name="T17" fmla="*/ 9 h 19"/>
                <a:gd name="T18" fmla="*/ 9 w 19"/>
                <a:gd name="T19" fmla="*/ 5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" h="19">
                  <a:moveTo>
                    <a:pt x="9" y="19"/>
                  </a:moveTo>
                  <a:cubicBezTo>
                    <a:pt x="4" y="19"/>
                    <a:pt x="0" y="15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14" y="0"/>
                    <a:pt x="19" y="4"/>
                    <a:pt x="19" y="9"/>
                  </a:cubicBezTo>
                  <a:cubicBezTo>
                    <a:pt x="19" y="15"/>
                    <a:pt x="14" y="19"/>
                    <a:pt x="9" y="19"/>
                  </a:cubicBezTo>
                  <a:close/>
                  <a:moveTo>
                    <a:pt x="9" y="5"/>
                  </a:moveTo>
                  <a:cubicBezTo>
                    <a:pt x="7" y="5"/>
                    <a:pt x="5" y="7"/>
                    <a:pt x="5" y="9"/>
                  </a:cubicBezTo>
                  <a:cubicBezTo>
                    <a:pt x="5" y="12"/>
                    <a:pt x="7" y="14"/>
                    <a:pt x="9" y="14"/>
                  </a:cubicBezTo>
                  <a:cubicBezTo>
                    <a:pt x="12" y="14"/>
                    <a:pt x="14" y="12"/>
                    <a:pt x="14" y="9"/>
                  </a:cubicBezTo>
                  <a:cubicBezTo>
                    <a:pt x="14" y="7"/>
                    <a:pt x="12" y="5"/>
                    <a:pt x="9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46" name="Freeform 449">
              <a:extLst>
                <a:ext uri="{FF2B5EF4-FFF2-40B4-BE49-F238E27FC236}">
                  <a16:creationId xmlns:a16="http://schemas.microsoft.com/office/drawing/2014/main" id="{4368392C-22A2-D04B-9A81-701C79B835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120776" y="2139950"/>
              <a:ext cx="42863" cy="42863"/>
            </a:xfrm>
            <a:custGeom>
              <a:avLst/>
              <a:gdLst>
                <a:gd name="T0" fmla="*/ 9 w 19"/>
                <a:gd name="T1" fmla="*/ 19 h 19"/>
                <a:gd name="T2" fmla="*/ 0 w 19"/>
                <a:gd name="T3" fmla="*/ 9 h 19"/>
                <a:gd name="T4" fmla="*/ 9 w 19"/>
                <a:gd name="T5" fmla="*/ 0 h 19"/>
                <a:gd name="T6" fmla="*/ 19 w 19"/>
                <a:gd name="T7" fmla="*/ 9 h 19"/>
                <a:gd name="T8" fmla="*/ 9 w 19"/>
                <a:gd name="T9" fmla="*/ 19 h 19"/>
                <a:gd name="T10" fmla="*/ 9 w 19"/>
                <a:gd name="T11" fmla="*/ 5 h 19"/>
                <a:gd name="T12" fmla="*/ 5 w 19"/>
                <a:gd name="T13" fmla="*/ 9 h 19"/>
                <a:gd name="T14" fmla="*/ 9 w 19"/>
                <a:gd name="T15" fmla="*/ 14 h 19"/>
                <a:gd name="T16" fmla="*/ 14 w 19"/>
                <a:gd name="T17" fmla="*/ 9 h 19"/>
                <a:gd name="T18" fmla="*/ 9 w 19"/>
                <a:gd name="T19" fmla="*/ 5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" h="19">
                  <a:moveTo>
                    <a:pt x="9" y="19"/>
                  </a:moveTo>
                  <a:cubicBezTo>
                    <a:pt x="4" y="19"/>
                    <a:pt x="0" y="15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14" y="0"/>
                    <a:pt x="19" y="4"/>
                    <a:pt x="19" y="9"/>
                  </a:cubicBezTo>
                  <a:cubicBezTo>
                    <a:pt x="19" y="15"/>
                    <a:pt x="14" y="19"/>
                    <a:pt x="9" y="19"/>
                  </a:cubicBezTo>
                  <a:close/>
                  <a:moveTo>
                    <a:pt x="9" y="5"/>
                  </a:moveTo>
                  <a:cubicBezTo>
                    <a:pt x="7" y="5"/>
                    <a:pt x="5" y="7"/>
                    <a:pt x="5" y="9"/>
                  </a:cubicBezTo>
                  <a:cubicBezTo>
                    <a:pt x="5" y="12"/>
                    <a:pt x="7" y="14"/>
                    <a:pt x="9" y="14"/>
                  </a:cubicBezTo>
                  <a:cubicBezTo>
                    <a:pt x="12" y="14"/>
                    <a:pt x="14" y="12"/>
                    <a:pt x="14" y="9"/>
                  </a:cubicBezTo>
                  <a:cubicBezTo>
                    <a:pt x="14" y="7"/>
                    <a:pt x="12" y="5"/>
                    <a:pt x="9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47" name="Shape72_20200717_142846">
            <a:extLst>
              <a:ext uri="{FF2B5EF4-FFF2-40B4-BE49-F238E27FC236}">
                <a16:creationId xmlns:a16="http://schemas.microsoft.com/office/drawing/2014/main" id="{B647CA16-619C-0603-F264-00FB24365B29}"/>
              </a:ext>
            </a:extLst>
          </p:cNvPr>
          <p:cNvGrpSpPr>
            <a:grpSpLocks noChangeAspect="1"/>
          </p:cNvGrpSpPr>
          <p:nvPr/>
        </p:nvGrpSpPr>
        <p:grpSpPr>
          <a:xfrm>
            <a:off x="11026765" y="5206332"/>
            <a:ext cx="582915" cy="467767"/>
            <a:chOff x="838184" y="2921002"/>
            <a:chExt cx="385753" cy="309557"/>
          </a:xfrm>
          <a:solidFill>
            <a:schemeClr val="accent1"/>
          </a:solidFill>
        </p:grpSpPr>
        <p:sp>
          <p:nvSpPr>
            <p:cNvPr id="448" name="Freeform 565">
              <a:extLst>
                <a:ext uri="{FF2B5EF4-FFF2-40B4-BE49-F238E27FC236}">
                  <a16:creationId xmlns:a16="http://schemas.microsoft.com/office/drawing/2014/main" id="{7C7C03A4-6C1D-4231-ECA7-8B1E1777E07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8184" y="2921002"/>
              <a:ext cx="336544" cy="203200"/>
            </a:xfrm>
            <a:custGeom>
              <a:avLst/>
              <a:gdLst>
                <a:gd name="T0" fmla="*/ 128 w 149"/>
                <a:gd name="T1" fmla="*/ 90 h 90"/>
                <a:gd name="T2" fmla="*/ 11 w 149"/>
                <a:gd name="T3" fmla="*/ 90 h 90"/>
                <a:gd name="T4" fmla="*/ 0 w 149"/>
                <a:gd name="T5" fmla="*/ 79 h 90"/>
                <a:gd name="T6" fmla="*/ 0 w 149"/>
                <a:gd name="T7" fmla="*/ 11 h 90"/>
                <a:gd name="T8" fmla="*/ 11 w 149"/>
                <a:gd name="T9" fmla="*/ 0 h 90"/>
                <a:gd name="T10" fmla="*/ 138 w 149"/>
                <a:gd name="T11" fmla="*/ 0 h 90"/>
                <a:gd name="T12" fmla="*/ 149 w 149"/>
                <a:gd name="T13" fmla="*/ 11 h 90"/>
                <a:gd name="T14" fmla="*/ 149 w 149"/>
                <a:gd name="T15" fmla="*/ 79 h 90"/>
                <a:gd name="T16" fmla="*/ 149 w 149"/>
                <a:gd name="T17" fmla="*/ 84 h 90"/>
                <a:gd name="T18" fmla="*/ 146 w 149"/>
                <a:gd name="T19" fmla="*/ 85 h 90"/>
                <a:gd name="T20" fmla="*/ 144 w 149"/>
                <a:gd name="T21" fmla="*/ 83 h 90"/>
                <a:gd name="T22" fmla="*/ 144 w 149"/>
                <a:gd name="T23" fmla="*/ 79 h 90"/>
                <a:gd name="T24" fmla="*/ 144 w 149"/>
                <a:gd name="T25" fmla="*/ 11 h 90"/>
                <a:gd name="T26" fmla="*/ 138 w 149"/>
                <a:gd name="T27" fmla="*/ 5 h 90"/>
                <a:gd name="T28" fmla="*/ 11 w 149"/>
                <a:gd name="T29" fmla="*/ 5 h 90"/>
                <a:gd name="T30" fmla="*/ 5 w 149"/>
                <a:gd name="T31" fmla="*/ 11 h 90"/>
                <a:gd name="T32" fmla="*/ 5 w 149"/>
                <a:gd name="T33" fmla="*/ 79 h 90"/>
                <a:gd name="T34" fmla="*/ 11 w 149"/>
                <a:gd name="T35" fmla="*/ 85 h 90"/>
                <a:gd name="T36" fmla="*/ 128 w 149"/>
                <a:gd name="T37" fmla="*/ 85 h 90"/>
                <a:gd name="T38" fmla="*/ 130 w 149"/>
                <a:gd name="T39" fmla="*/ 88 h 90"/>
                <a:gd name="T40" fmla="*/ 128 w 149"/>
                <a:gd name="T41" fmla="*/ 9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49" h="90">
                  <a:moveTo>
                    <a:pt x="128" y="90"/>
                  </a:moveTo>
                  <a:cubicBezTo>
                    <a:pt x="11" y="90"/>
                    <a:pt x="11" y="90"/>
                    <a:pt x="11" y="90"/>
                  </a:cubicBezTo>
                  <a:cubicBezTo>
                    <a:pt x="5" y="90"/>
                    <a:pt x="0" y="85"/>
                    <a:pt x="0" y="7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44" y="0"/>
                    <a:pt x="149" y="5"/>
                    <a:pt x="149" y="11"/>
                  </a:cubicBezTo>
                  <a:cubicBezTo>
                    <a:pt x="149" y="79"/>
                    <a:pt x="149" y="79"/>
                    <a:pt x="149" y="79"/>
                  </a:cubicBezTo>
                  <a:cubicBezTo>
                    <a:pt x="149" y="80"/>
                    <a:pt x="149" y="83"/>
                    <a:pt x="149" y="84"/>
                  </a:cubicBezTo>
                  <a:cubicBezTo>
                    <a:pt x="148" y="85"/>
                    <a:pt x="147" y="86"/>
                    <a:pt x="146" y="85"/>
                  </a:cubicBezTo>
                  <a:cubicBezTo>
                    <a:pt x="144" y="85"/>
                    <a:pt x="143" y="84"/>
                    <a:pt x="144" y="83"/>
                  </a:cubicBezTo>
                  <a:cubicBezTo>
                    <a:pt x="144" y="82"/>
                    <a:pt x="144" y="80"/>
                    <a:pt x="144" y="79"/>
                  </a:cubicBezTo>
                  <a:cubicBezTo>
                    <a:pt x="144" y="11"/>
                    <a:pt x="144" y="11"/>
                    <a:pt x="144" y="11"/>
                  </a:cubicBezTo>
                  <a:cubicBezTo>
                    <a:pt x="144" y="7"/>
                    <a:pt x="141" y="5"/>
                    <a:pt x="138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8" y="5"/>
                    <a:pt x="5" y="7"/>
                    <a:pt x="5" y="11"/>
                  </a:cubicBezTo>
                  <a:cubicBezTo>
                    <a:pt x="5" y="79"/>
                    <a:pt x="5" y="79"/>
                    <a:pt x="5" y="79"/>
                  </a:cubicBezTo>
                  <a:cubicBezTo>
                    <a:pt x="5" y="82"/>
                    <a:pt x="8" y="85"/>
                    <a:pt x="11" y="85"/>
                  </a:cubicBezTo>
                  <a:cubicBezTo>
                    <a:pt x="128" y="85"/>
                    <a:pt x="128" y="85"/>
                    <a:pt x="128" y="85"/>
                  </a:cubicBezTo>
                  <a:cubicBezTo>
                    <a:pt x="129" y="85"/>
                    <a:pt x="130" y="86"/>
                    <a:pt x="130" y="88"/>
                  </a:cubicBezTo>
                  <a:cubicBezTo>
                    <a:pt x="130" y="89"/>
                    <a:pt x="129" y="90"/>
                    <a:pt x="128" y="9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49" name="Freeform 566">
              <a:extLst>
                <a:ext uri="{FF2B5EF4-FFF2-40B4-BE49-F238E27FC236}">
                  <a16:creationId xmlns:a16="http://schemas.microsoft.com/office/drawing/2014/main" id="{02F21A7B-7F9C-C507-7A1C-3C5D1CADC0C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95333" y="2974977"/>
              <a:ext cx="55562" cy="50800"/>
            </a:xfrm>
            <a:custGeom>
              <a:avLst/>
              <a:gdLst>
                <a:gd name="T0" fmla="*/ 13 w 25"/>
                <a:gd name="T1" fmla="*/ 23 h 23"/>
                <a:gd name="T2" fmla="*/ 2 w 25"/>
                <a:gd name="T3" fmla="*/ 23 h 23"/>
                <a:gd name="T4" fmla="*/ 0 w 25"/>
                <a:gd name="T5" fmla="*/ 21 h 23"/>
                <a:gd name="T6" fmla="*/ 0 w 25"/>
                <a:gd name="T7" fmla="*/ 2 h 23"/>
                <a:gd name="T8" fmla="*/ 2 w 25"/>
                <a:gd name="T9" fmla="*/ 0 h 23"/>
                <a:gd name="T10" fmla="*/ 13 w 25"/>
                <a:gd name="T11" fmla="*/ 0 h 23"/>
                <a:gd name="T12" fmla="*/ 25 w 25"/>
                <a:gd name="T13" fmla="*/ 12 h 23"/>
                <a:gd name="T14" fmla="*/ 13 w 25"/>
                <a:gd name="T15" fmla="*/ 23 h 23"/>
                <a:gd name="T16" fmla="*/ 5 w 25"/>
                <a:gd name="T17" fmla="*/ 19 h 23"/>
                <a:gd name="T18" fmla="*/ 13 w 25"/>
                <a:gd name="T19" fmla="*/ 19 h 23"/>
                <a:gd name="T20" fmla="*/ 20 w 25"/>
                <a:gd name="T21" fmla="*/ 12 h 23"/>
                <a:gd name="T22" fmla="*/ 13 w 25"/>
                <a:gd name="T23" fmla="*/ 5 h 23"/>
                <a:gd name="T24" fmla="*/ 5 w 25"/>
                <a:gd name="T25" fmla="*/ 5 h 23"/>
                <a:gd name="T26" fmla="*/ 5 w 25"/>
                <a:gd name="T27" fmla="*/ 1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" h="23">
                  <a:moveTo>
                    <a:pt x="13" y="23"/>
                  </a:moveTo>
                  <a:cubicBezTo>
                    <a:pt x="2" y="23"/>
                    <a:pt x="2" y="23"/>
                    <a:pt x="2" y="23"/>
                  </a:cubicBezTo>
                  <a:cubicBezTo>
                    <a:pt x="1" y="23"/>
                    <a:pt x="0" y="22"/>
                    <a:pt x="0" y="2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3"/>
                    <a:pt x="13" y="23"/>
                  </a:cubicBezTo>
                  <a:close/>
                  <a:moveTo>
                    <a:pt x="5" y="19"/>
                  </a:moveTo>
                  <a:cubicBezTo>
                    <a:pt x="13" y="19"/>
                    <a:pt x="13" y="19"/>
                    <a:pt x="13" y="19"/>
                  </a:cubicBezTo>
                  <a:cubicBezTo>
                    <a:pt x="17" y="19"/>
                    <a:pt x="20" y="15"/>
                    <a:pt x="20" y="12"/>
                  </a:cubicBezTo>
                  <a:cubicBezTo>
                    <a:pt x="20" y="8"/>
                    <a:pt x="17" y="5"/>
                    <a:pt x="13" y="5"/>
                  </a:cubicBezTo>
                  <a:cubicBezTo>
                    <a:pt x="5" y="5"/>
                    <a:pt x="5" y="5"/>
                    <a:pt x="5" y="5"/>
                  </a:cubicBezTo>
                  <a:lnTo>
                    <a:pt x="5" y="1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50" name="Freeform 567">
              <a:extLst>
                <a:ext uri="{FF2B5EF4-FFF2-40B4-BE49-F238E27FC236}">
                  <a16:creationId xmlns:a16="http://schemas.microsoft.com/office/drawing/2014/main" id="{25A50EB6-6D99-E282-67BE-FFE96DC28A0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95333" y="3017840"/>
              <a:ext cx="55562" cy="52388"/>
            </a:xfrm>
            <a:custGeom>
              <a:avLst/>
              <a:gdLst>
                <a:gd name="T0" fmla="*/ 13 w 25"/>
                <a:gd name="T1" fmla="*/ 23 h 23"/>
                <a:gd name="T2" fmla="*/ 2 w 25"/>
                <a:gd name="T3" fmla="*/ 23 h 23"/>
                <a:gd name="T4" fmla="*/ 0 w 25"/>
                <a:gd name="T5" fmla="*/ 21 h 23"/>
                <a:gd name="T6" fmla="*/ 0 w 25"/>
                <a:gd name="T7" fmla="*/ 2 h 23"/>
                <a:gd name="T8" fmla="*/ 2 w 25"/>
                <a:gd name="T9" fmla="*/ 0 h 23"/>
                <a:gd name="T10" fmla="*/ 13 w 25"/>
                <a:gd name="T11" fmla="*/ 0 h 23"/>
                <a:gd name="T12" fmla="*/ 25 w 25"/>
                <a:gd name="T13" fmla="*/ 11 h 23"/>
                <a:gd name="T14" fmla="*/ 13 w 25"/>
                <a:gd name="T15" fmla="*/ 23 h 23"/>
                <a:gd name="T16" fmla="*/ 5 w 25"/>
                <a:gd name="T17" fmla="*/ 18 h 23"/>
                <a:gd name="T18" fmla="*/ 13 w 25"/>
                <a:gd name="T19" fmla="*/ 18 h 23"/>
                <a:gd name="T20" fmla="*/ 20 w 25"/>
                <a:gd name="T21" fmla="*/ 11 h 23"/>
                <a:gd name="T22" fmla="*/ 13 w 25"/>
                <a:gd name="T23" fmla="*/ 4 h 23"/>
                <a:gd name="T24" fmla="*/ 5 w 25"/>
                <a:gd name="T25" fmla="*/ 4 h 23"/>
                <a:gd name="T26" fmla="*/ 5 w 25"/>
                <a:gd name="T27" fmla="*/ 1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" h="23">
                  <a:moveTo>
                    <a:pt x="13" y="23"/>
                  </a:moveTo>
                  <a:cubicBezTo>
                    <a:pt x="2" y="23"/>
                    <a:pt x="2" y="23"/>
                    <a:pt x="2" y="23"/>
                  </a:cubicBezTo>
                  <a:cubicBezTo>
                    <a:pt x="1" y="23"/>
                    <a:pt x="0" y="22"/>
                    <a:pt x="0" y="2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0" y="0"/>
                    <a:pt x="25" y="5"/>
                    <a:pt x="25" y="11"/>
                  </a:cubicBezTo>
                  <a:cubicBezTo>
                    <a:pt x="25" y="18"/>
                    <a:pt x="20" y="23"/>
                    <a:pt x="13" y="23"/>
                  </a:cubicBezTo>
                  <a:close/>
                  <a:moveTo>
                    <a:pt x="5" y="18"/>
                  </a:moveTo>
                  <a:cubicBezTo>
                    <a:pt x="13" y="18"/>
                    <a:pt x="13" y="18"/>
                    <a:pt x="13" y="18"/>
                  </a:cubicBezTo>
                  <a:cubicBezTo>
                    <a:pt x="17" y="18"/>
                    <a:pt x="20" y="15"/>
                    <a:pt x="20" y="11"/>
                  </a:cubicBezTo>
                  <a:cubicBezTo>
                    <a:pt x="20" y="8"/>
                    <a:pt x="17" y="4"/>
                    <a:pt x="13" y="4"/>
                  </a:cubicBezTo>
                  <a:cubicBezTo>
                    <a:pt x="5" y="4"/>
                    <a:pt x="5" y="4"/>
                    <a:pt x="5" y="4"/>
                  </a:cubicBezTo>
                  <a:lnTo>
                    <a:pt x="5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51" name="Freeform 568">
              <a:extLst>
                <a:ext uri="{FF2B5EF4-FFF2-40B4-BE49-F238E27FC236}">
                  <a16:creationId xmlns:a16="http://schemas.microsoft.com/office/drawing/2014/main" id="{7FDCFB44-C6C1-601D-9365-2CFA972453A4}"/>
                </a:ext>
              </a:extLst>
            </p:cNvPr>
            <p:cNvSpPr>
              <a:spLocks/>
            </p:cNvSpPr>
            <p:nvPr/>
          </p:nvSpPr>
          <p:spPr bwMode="auto">
            <a:xfrm>
              <a:off x="973120" y="2974977"/>
              <a:ext cx="61912" cy="95250"/>
            </a:xfrm>
            <a:custGeom>
              <a:avLst/>
              <a:gdLst>
                <a:gd name="T0" fmla="*/ 14 w 27"/>
                <a:gd name="T1" fmla="*/ 42 h 42"/>
                <a:gd name="T2" fmla="*/ 0 w 27"/>
                <a:gd name="T3" fmla="*/ 29 h 42"/>
                <a:gd name="T4" fmla="*/ 0 w 27"/>
                <a:gd name="T5" fmla="*/ 2 h 42"/>
                <a:gd name="T6" fmla="*/ 3 w 27"/>
                <a:gd name="T7" fmla="*/ 0 h 42"/>
                <a:gd name="T8" fmla="*/ 5 w 27"/>
                <a:gd name="T9" fmla="*/ 2 h 42"/>
                <a:gd name="T10" fmla="*/ 5 w 27"/>
                <a:gd name="T11" fmla="*/ 29 h 42"/>
                <a:gd name="T12" fmla="*/ 14 w 27"/>
                <a:gd name="T13" fmla="*/ 37 h 42"/>
                <a:gd name="T14" fmla="*/ 22 w 27"/>
                <a:gd name="T15" fmla="*/ 29 h 42"/>
                <a:gd name="T16" fmla="*/ 22 w 27"/>
                <a:gd name="T17" fmla="*/ 2 h 42"/>
                <a:gd name="T18" fmla="*/ 25 w 27"/>
                <a:gd name="T19" fmla="*/ 0 h 42"/>
                <a:gd name="T20" fmla="*/ 27 w 27"/>
                <a:gd name="T21" fmla="*/ 2 h 42"/>
                <a:gd name="T22" fmla="*/ 27 w 27"/>
                <a:gd name="T23" fmla="*/ 29 h 42"/>
                <a:gd name="T24" fmla="*/ 14 w 27"/>
                <a:gd name="T25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" h="42">
                  <a:moveTo>
                    <a:pt x="14" y="42"/>
                  </a:moveTo>
                  <a:cubicBezTo>
                    <a:pt x="6" y="42"/>
                    <a:pt x="0" y="36"/>
                    <a:pt x="0" y="2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5" y="1"/>
                    <a:pt x="5" y="2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34"/>
                    <a:pt x="9" y="37"/>
                    <a:pt x="14" y="37"/>
                  </a:cubicBezTo>
                  <a:cubicBezTo>
                    <a:pt x="18" y="37"/>
                    <a:pt x="22" y="34"/>
                    <a:pt x="22" y="29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22" y="1"/>
                    <a:pt x="23" y="0"/>
                    <a:pt x="25" y="0"/>
                  </a:cubicBezTo>
                  <a:cubicBezTo>
                    <a:pt x="26" y="0"/>
                    <a:pt x="27" y="1"/>
                    <a:pt x="27" y="2"/>
                  </a:cubicBezTo>
                  <a:cubicBezTo>
                    <a:pt x="27" y="29"/>
                    <a:pt x="27" y="29"/>
                    <a:pt x="27" y="29"/>
                  </a:cubicBezTo>
                  <a:cubicBezTo>
                    <a:pt x="27" y="36"/>
                    <a:pt x="21" y="42"/>
                    <a:pt x="14" y="4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52" name="Freeform 569">
              <a:extLst>
                <a:ext uri="{FF2B5EF4-FFF2-40B4-BE49-F238E27FC236}">
                  <a16:creationId xmlns:a16="http://schemas.microsoft.com/office/drawing/2014/main" id="{E7241F1B-EE72-3A81-5BE4-8613C802F49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905" y="2971805"/>
              <a:ext cx="69849" cy="63500"/>
            </a:xfrm>
            <a:custGeom>
              <a:avLst/>
              <a:gdLst>
                <a:gd name="T0" fmla="*/ 15 w 31"/>
                <a:gd name="T1" fmla="*/ 28 h 28"/>
                <a:gd name="T2" fmla="*/ 13 w 31"/>
                <a:gd name="T3" fmla="*/ 27 h 28"/>
                <a:gd name="T4" fmla="*/ 1 w 31"/>
                <a:gd name="T5" fmla="*/ 4 h 28"/>
                <a:gd name="T6" fmla="*/ 2 w 31"/>
                <a:gd name="T7" fmla="*/ 1 h 28"/>
                <a:gd name="T8" fmla="*/ 5 w 31"/>
                <a:gd name="T9" fmla="*/ 2 h 28"/>
                <a:gd name="T10" fmla="*/ 15 w 31"/>
                <a:gd name="T11" fmla="*/ 21 h 28"/>
                <a:gd name="T12" fmla="*/ 26 w 31"/>
                <a:gd name="T13" fmla="*/ 2 h 28"/>
                <a:gd name="T14" fmla="*/ 29 w 31"/>
                <a:gd name="T15" fmla="*/ 1 h 28"/>
                <a:gd name="T16" fmla="*/ 30 w 31"/>
                <a:gd name="T17" fmla="*/ 4 h 28"/>
                <a:gd name="T18" fmla="*/ 18 w 31"/>
                <a:gd name="T19" fmla="*/ 27 h 28"/>
                <a:gd name="T20" fmla="*/ 15 w 31"/>
                <a:gd name="T2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" h="28">
                  <a:moveTo>
                    <a:pt x="15" y="28"/>
                  </a:moveTo>
                  <a:cubicBezTo>
                    <a:pt x="15" y="28"/>
                    <a:pt x="14" y="28"/>
                    <a:pt x="13" y="27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1" y="2"/>
                    <a:pt x="2" y="1"/>
                  </a:cubicBezTo>
                  <a:cubicBezTo>
                    <a:pt x="3" y="0"/>
                    <a:pt x="5" y="1"/>
                    <a:pt x="5" y="2"/>
                  </a:cubicBezTo>
                  <a:cubicBezTo>
                    <a:pt x="15" y="21"/>
                    <a:pt x="15" y="21"/>
                    <a:pt x="15" y="21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6" y="1"/>
                    <a:pt x="28" y="0"/>
                    <a:pt x="29" y="1"/>
                  </a:cubicBezTo>
                  <a:cubicBezTo>
                    <a:pt x="30" y="2"/>
                    <a:pt x="31" y="3"/>
                    <a:pt x="30" y="4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17" y="28"/>
                    <a:pt x="16" y="28"/>
                    <a:pt x="15" y="2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53" name="Freeform 570">
              <a:extLst>
                <a:ext uri="{FF2B5EF4-FFF2-40B4-BE49-F238E27FC236}">
                  <a16:creationId xmlns:a16="http://schemas.microsoft.com/office/drawing/2014/main" id="{B9EDBF54-9A4E-6512-36A2-375992DDE4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9479" y="3024189"/>
              <a:ext cx="11113" cy="46038"/>
            </a:xfrm>
            <a:custGeom>
              <a:avLst/>
              <a:gdLst>
                <a:gd name="T0" fmla="*/ 2 w 5"/>
                <a:gd name="T1" fmla="*/ 20 h 20"/>
                <a:gd name="T2" fmla="*/ 0 w 5"/>
                <a:gd name="T3" fmla="*/ 18 h 20"/>
                <a:gd name="T4" fmla="*/ 0 w 5"/>
                <a:gd name="T5" fmla="*/ 3 h 20"/>
                <a:gd name="T6" fmla="*/ 2 w 5"/>
                <a:gd name="T7" fmla="*/ 0 h 20"/>
                <a:gd name="T8" fmla="*/ 5 w 5"/>
                <a:gd name="T9" fmla="*/ 3 h 20"/>
                <a:gd name="T10" fmla="*/ 5 w 5"/>
                <a:gd name="T11" fmla="*/ 18 h 20"/>
                <a:gd name="T12" fmla="*/ 2 w 5"/>
                <a:gd name="T13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20">
                  <a:moveTo>
                    <a:pt x="2" y="20"/>
                  </a:moveTo>
                  <a:cubicBezTo>
                    <a:pt x="1" y="20"/>
                    <a:pt x="0" y="19"/>
                    <a:pt x="0" y="1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4" y="0"/>
                    <a:pt x="5" y="1"/>
                    <a:pt x="5" y="3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54" name="Freeform 571">
              <a:extLst>
                <a:ext uri="{FF2B5EF4-FFF2-40B4-BE49-F238E27FC236}">
                  <a16:creationId xmlns:a16="http://schemas.microsoft.com/office/drawing/2014/main" id="{4954238C-F526-B2AB-FD3F-EA0D063750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22339" y="3057521"/>
              <a:ext cx="101598" cy="173038"/>
            </a:xfrm>
            <a:custGeom>
              <a:avLst/>
              <a:gdLst>
                <a:gd name="T0" fmla="*/ 22 w 45"/>
                <a:gd name="T1" fmla="*/ 76 h 76"/>
                <a:gd name="T2" fmla="*/ 21 w 45"/>
                <a:gd name="T3" fmla="*/ 76 h 76"/>
                <a:gd name="T4" fmla="*/ 20 w 45"/>
                <a:gd name="T5" fmla="*/ 74 h 76"/>
                <a:gd name="T6" fmla="*/ 15 w 45"/>
                <a:gd name="T7" fmla="*/ 60 h 76"/>
                <a:gd name="T8" fmla="*/ 4 w 45"/>
                <a:gd name="T9" fmla="*/ 66 h 76"/>
                <a:gd name="T10" fmla="*/ 2 w 45"/>
                <a:gd name="T11" fmla="*/ 65 h 76"/>
                <a:gd name="T12" fmla="*/ 0 w 45"/>
                <a:gd name="T13" fmla="*/ 63 h 76"/>
                <a:gd name="T14" fmla="*/ 0 w 45"/>
                <a:gd name="T15" fmla="*/ 3 h 76"/>
                <a:gd name="T16" fmla="*/ 2 w 45"/>
                <a:gd name="T17" fmla="*/ 1 h 76"/>
                <a:gd name="T18" fmla="*/ 5 w 45"/>
                <a:gd name="T19" fmla="*/ 1 h 76"/>
                <a:gd name="T20" fmla="*/ 44 w 45"/>
                <a:gd name="T21" fmla="*/ 49 h 76"/>
                <a:gd name="T22" fmla="*/ 45 w 45"/>
                <a:gd name="T23" fmla="*/ 51 h 76"/>
                <a:gd name="T24" fmla="*/ 43 w 45"/>
                <a:gd name="T25" fmla="*/ 53 h 76"/>
                <a:gd name="T26" fmla="*/ 30 w 45"/>
                <a:gd name="T27" fmla="*/ 55 h 76"/>
                <a:gd name="T28" fmla="*/ 35 w 45"/>
                <a:gd name="T29" fmla="*/ 68 h 76"/>
                <a:gd name="T30" fmla="*/ 33 w 45"/>
                <a:gd name="T31" fmla="*/ 72 h 76"/>
                <a:gd name="T32" fmla="*/ 23 w 45"/>
                <a:gd name="T33" fmla="*/ 76 h 76"/>
                <a:gd name="T34" fmla="*/ 22 w 45"/>
                <a:gd name="T35" fmla="*/ 76 h 76"/>
                <a:gd name="T36" fmla="*/ 16 w 45"/>
                <a:gd name="T37" fmla="*/ 54 h 76"/>
                <a:gd name="T38" fmla="*/ 17 w 45"/>
                <a:gd name="T39" fmla="*/ 54 h 76"/>
                <a:gd name="T40" fmla="*/ 18 w 45"/>
                <a:gd name="T41" fmla="*/ 56 h 76"/>
                <a:gd name="T42" fmla="*/ 24 w 45"/>
                <a:gd name="T43" fmla="*/ 70 h 76"/>
                <a:gd name="T44" fmla="*/ 29 w 45"/>
                <a:gd name="T45" fmla="*/ 68 h 76"/>
                <a:gd name="T46" fmla="*/ 24 w 45"/>
                <a:gd name="T47" fmla="*/ 54 h 76"/>
                <a:gd name="T48" fmla="*/ 24 w 45"/>
                <a:gd name="T49" fmla="*/ 52 h 76"/>
                <a:gd name="T50" fmla="*/ 26 w 45"/>
                <a:gd name="T51" fmla="*/ 51 h 76"/>
                <a:gd name="T52" fmla="*/ 38 w 45"/>
                <a:gd name="T53" fmla="*/ 49 h 76"/>
                <a:gd name="T54" fmla="*/ 5 w 45"/>
                <a:gd name="T55" fmla="*/ 10 h 76"/>
                <a:gd name="T56" fmla="*/ 5 w 45"/>
                <a:gd name="T57" fmla="*/ 59 h 76"/>
                <a:gd name="T58" fmla="*/ 15 w 45"/>
                <a:gd name="T59" fmla="*/ 54 h 76"/>
                <a:gd name="T60" fmla="*/ 16 w 45"/>
                <a:gd name="T61" fmla="*/ 54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5" h="76">
                  <a:moveTo>
                    <a:pt x="22" y="76"/>
                  </a:moveTo>
                  <a:cubicBezTo>
                    <a:pt x="22" y="76"/>
                    <a:pt x="21" y="76"/>
                    <a:pt x="21" y="76"/>
                  </a:cubicBezTo>
                  <a:cubicBezTo>
                    <a:pt x="21" y="75"/>
                    <a:pt x="20" y="75"/>
                    <a:pt x="20" y="74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4" y="66"/>
                    <a:pt x="4" y="66"/>
                    <a:pt x="4" y="66"/>
                  </a:cubicBezTo>
                  <a:cubicBezTo>
                    <a:pt x="3" y="66"/>
                    <a:pt x="2" y="66"/>
                    <a:pt x="2" y="65"/>
                  </a:cubicBezTo>
                  <a:cubicBezTo>
                    <a:pt x="1" y="65"/>
                    <a:pt x="0" y="64"/>
                    <a:pt x="0" y="6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2" y="1"/>
                  </a:cubicBezTo>
                  <a:cubicBezTo>
                    <a:pt x="3" y="0"/>
                    <a:pt x="4" y="1"/>
                    <a:pt x="5" y="1"/>
                  </a:cubicBezTo>
                  <a:cubicBezTo>
                    <a:pt x="44" y="49"/>
                    <a:pt x="44" y="49"/>
                    <a:pt x="44" y="49"/>
                  </a:cubicBezTo>
                  <a:cubicBezTo>
                    <a:pt x="45" y="49"/>
                    <a:pt x="45" y="50"/>
                    <a:pt x="45" y="51"/>
                  </a:cubicBezTo>
                  <a:cubicBezTo>
                    <a:pt x="44" y="52"/>
                    <a:pt x="44" y="52"/>
                    <a:pt x="43" y="53"/>
                  </a:cubicBezTo>
                  <a:cubicBezTo>
                    <a:pt x="30" y="55"/>
                    <a:pt x="30" y="55"/>
                    <a:pt x="30" y="55"/>
                  </a:cubicBezTo>
                  <a:cubicBezTo>
                    <a:pt x="35" y="68"/>
                    <a:pt x="35" y="68"/>
                    <a:pt x="35" y="68"/>
                  </a:cubicBezTo>
                  <a:cubicBezTo>
                    <a:pt x="35" y="70"/>
                    <a:pt x="35" y="71"/>
                    <a:pt x="33" y="72"/>
                  </a:cubicBezTo>
                  <a:cubicBezTo>
                    <a:pt x="23" y="76"/>
                    <a:pt x="23" y="76"/>
                    <a:pt x="23" y="76"/>
                  </a:cubicBezTo>
                  <a:cubicBezTo>
                    <a:pt x="23" y="76"/>
                    <a:pt x="22" y="76"/>
                    <a:pt x="22" y="76"/>
                  </a:cubicBezTo>
                  <a:close/>
                  <a:moveTo>
                    <a:pt x="16" y="54"/>
                  </a:moveTo>
                  <a:cubicBezTo>
                    <a:pt x="16" y="54"/>
                    <a:pt x="17" y="54"/>
                    <a:pt x="17" y="54"/>
                  </a:cubicBezTo>
                  <a:cubicBezTo>
                    <a:pt x="18" y="55"/>
                    <a:pt x="18" y="55"/>
                    <a:pt x="18" y="56"/>
                  </a:cubicBezTo>
                  <a:cubicBezTo>
                    <a:pt x="24" y="70"/>
                    <a:pt x="24" y="70"/>
                    <a:pt x="24" y="70"/>
                  </a:cubicBezTo>
                  <a:cubicBezTo>
                    <a:pt x="29" y="68"/>
                    <a:pt x="29" y="68"/>
                    <a:pt x="29" y="68"/>
                  </a:cubicBezTo>
                  <a:cubicBezTo>
                    <a:pt x="24" y="54"/>
                    <a:pt x="24" y="54"/>
                    <a:pt x="24" y="54"/>
                  </a:cubicBezTo>
                  <a:cubicBezTo>
                    <a:pt x="24" y="53"/>
                    <a:pt x="24" y="53"/>
                    <a:pt x="24" y="52"/>
                  </a:cubicBezTo>
                  <a:cubicBezTo>
                    <a:pt x="25" y="51"/>
                    <a:pt x="25" y="51"/>
                    <a:pt x="26" y="51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5" y="59"/>
                    <a:pt x="5" y="59"/>
                    <a:pt x="5" y="59"/>
                  </a:cubicBezTo>
                  <a:cubicBezTo>
                    <a:pt x="15" y="54"/>
                    <a:pt x="15" y="54"/>
                    <a:pt x="15" y="54"/>
                  </a:cubicBezTo>
                  <a:cubicBezTo>
                    <a:pt x="15" y="54"/>
                    <a:pt x="16" y="54"/>
                    <a:pt x="16" y="5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55" name="Freeform 572">
              <a:extLst>
                <a:ext uri="{FF2B5EF4-FFF2-40B4-BE49-F238E27FC236}">
                  <a16:creationId xmlns:a16="http://schemas.microsoft.com/office/drawing/2014/main" id="{539652CC-C639-2C82-0728-253CFCBF474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2362" y="3092450"/>
              <a:ext cx="11113" cy="31750"/>
            </a:xfrm>
            <a:custGeom>
              <a:avLst/>
              <a:gdLst>
                <a:gd name="T0" fmla="*/ 3 w 5"/>
                <a:gd name="T1" fmla="*/ 14 h 14"/>
                <a:gd name="T2" fmla="*/ 0 w 5"/>
                <a:gd name="T3" fmla="*/ 12 h 14"/>
                <a:gd name="T4" fmla="*/ 0 w 5"/>
                <a:gd name="T5" fmla="*/ 3 h 14"/>
                <a:gd name="T6" fmla="*/ 3 w 5"/>
                <a:gd name="T7" fmla="*/ 0 h 14"/>
                <a:gd name="T8" fmla="*/ 5 w 5"/>
                <a:gd name="T9" fmla="*/ 3 h 14"/>
                <a:gd name="T10" fmla="*/ 5 w 5"/>
                <a:gd name="T11" fmla="*/ 12 h 14"/>
                <a:gd name="T12" fmla="*/ 3 w 5"/>
                <a:gd name="T13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14">
                  <a:moveTo>
                    <a:pt x="3" y="14"/>
                  </a:moveTo>
                  <a:cubicBezTo>
                    <a:pt x="1" y="14"/>
                    <a:pt x="0" y="13"/>
                    <a:pt x="0" y="1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5" y="1"/>
                    <a:pt x="5" y="3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5" y="13"/>
                    <a:pt x="4" y="14"/>
                    <a:pt x="3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122816764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373217-59FD-21E4-3D00-BCFAFE88D3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93494A8F-A464-BD8F-34EF-7C761468EE1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3494A8F-A464-BD8F-34EF-7C761468EE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D5F0B56-39DC-2E51-AA87-4B1666C817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xt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DE233B59-0D6E-CF0B-1108-E6AE9C776292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22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5" name="Google Shape;934;p13">
            <a:extLst>
              <a:ext uri="{FF2B5EF4-FFF2-40B4-BE49-F238E27FC236}">
                <a16:creationId xmlns:a16="http://schemas.microsoft.com/office/drawing/2014/main" id="{683AB6F9-2E26-8CE2-FDA1-6ED640F9EBF0}"/>
              </a:ext>
            </a:extLst>
          </p:cNvPr>
          <p:cNvSpPr/>
          <p:nvPr/>
        </p:nvSpPr>
        <p:spPr>
          <a:xfrm>
            <a:off x="1308127" y="1877145"/>
            <a:ext cx="2690402" cy="1067268"/>
          </a:xfrm>
          <a:custGeom>
            <a:avLst/>
            <a:gdLst/>
            <a:ahLst/>
            <a:cxnLst/>
            <a:rect l="l" t="t" r="r" b="b"/>
            <a:pathLst>
              <a:path w="2963119" h="1111170" extrusionOk="0">
                <a:moveTo>
                  <a:pt x="77225" y="0"/>
                </a:moveTo>
                <a:lnTo>
                  <a:pt x="2407534" y="0"/>
                </a:lnTo>
                <a:cubicBezTo>
                  <a:pt x="2714375" y="0"/>
                  <a:pt x="2963119" y="248744"/>
                  <a:pt x="2963119" y="555585"/>
                </a:cubicBezTo>
                <a:cubicBezTo>
                  <a:pt x="2963119" y="862426"/>
                  <a:pt x="2714375" y="1111170"/>
                  <a:pt x="2407534" y="1111170"/>
                </a:cubicBezTo>
                <a:lnTo>
                  <a:pt x="77225" y="1111170"/>
                </a:lnTo>
                <a:lnTo>
                  <a:pt x="0" y="1103385"/>
                </a:lnTo>
                <a:lnTo>
                  <a:pt x="0" y="7785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3600" dirty="0"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6" name="Google Shape;935;p13">
            <a:extLst>
              <a:ext uri="{FF2B5EF4-FFF2-40B4-BE49-F238E27FC236}">
                <a16:creationId xmlns:a16="http://schemas.microsoft.com/office/drawing/2014/main" id="{6924B1C8-716C-A8D0-E1E2-CD849ED893B6}"/>
              </a:ext>
            </a:extLst>
          </p:cNvPr>
          <p:cNvSpPr/>
          <p:nvPr/>
        </p:nvSpPr>
        <p:spPr>
          <a:xfrm>
            <a:off x="781967" y="1877145"/>
            <a:ext cx="1067268" cy="1067268"/>
          </a:xfrm>
          <a:prstGeom prst="diamond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3600" dirty="0"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7" name="Google Shape;936;p13">
            <a:extLst>
              <a:ext uri="{FF2B5EF4-FFF2-40B4-BE49-F238E27FC236}">
                <a16:creationId xmlns:a16="http://schemas.microsoft.com/office/drawing/2014/main" id="{C96E50AD-9A24-2675-C36D-A5C4BC28C44D}"/>
              </a:ext>
            </a:extLst>
          </p:cNvPr>
          <p:cNvSpPr txBox="1"/>
          <p:nvPr/>
        </p:nvSpPr>
        <p:spPr>
          <a:xfrm>
            <a:off x="1908467" y="2476853"/>
            <a:ext cx="1738036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chemeClr val="dk1"/>
              </a:buClr>
              <a:buSzPts val="1400"/>
            </a:pPr>
            <a:r>
              <a:rPr lang="en-US" sz="14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400" dirty="0">
              <a:solidFill>
                <a:schemeClr val="tx1">
                  <a:lumMod val="100000"/>
                </a:schemeClr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8" name="Google Shape;937;p13">
            <a:extLst>
              <a:ext uri="{FF2B5EF4-FFF2-40B4-BE49-F238E27FC236}">
                <a16:creationId xmlns:a16="http://schemas.microsoft.com/office/drawing/2014/main" id="{96AD9DB5-20CB-1DA4-5032-721AB7D5B9A3}"/>
              </a:ext>
            </a:extLst>
          </p:cNvPr>
          <p:cNvSpPr txBox="1"/>
          <p:nvPr/>
        </p:nvSpPr>
        <p:spPr>
          <a:xfrm>
            <a:off x="1908467" y="2139809"/>
            <a:ext cx="1738036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>
              <a:buClr>
                <a:schemeClr val="dk2"/>
              </a:buClr>
              <a:buSzPts val="1400"/>
            </a:pPr>
            <a:r>
              <a:rPr lang="en-US" sz="1400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Title</a:t>
            </a:r>
            <a:endParaRPr sz="14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9" name="Google Shape;938;p13">
            <a:extLst>
              <a:ext uri="{FF2B5EF4-FFF2-40B4-BE49-F238E27FC236}">
                <a16:creationId xmlns:a16="http://schemas.microsoft.com/office/drawing/2014/main" id="{5C61DB5E-8178-4104-5C28-4A957B30B6E5}"/>
              </a:ext>
            </a:extLst>
          </p:cNvPr>
          <p:cNvSpPr/>
          <p:nvPr/>
        </p:nvSpPr>
        <p:spPr>
          <a:xfrm>
            <a:off x="626323" y="2255134"/>
            <a:ext cx="333522" cy="333522"/>
          </a:xfrm>
          <a:prstGeom prst="ellipse">
            <a:avLst/>
          </a:prstGeom>
          <a:solidFill>
            <a:schemeClr val="bg1"/>
          </a:solidFill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01</a:t>
            </a:r>
            <a:endParaRPr sz="1400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10" name="Google Shape;939;p13">
            <a:extLst>
              <a:ext uri="{FF2B5EF4-FFF2-40B4-BE49-F238E27FC236}">
                <a16:creationId xmlns:a16="http://schemas.microsoft.com/office/drawing/2014/main" id="{9EB835E4-6921-B2CD-9084-BA1073F0A3F4}"/>
              </a:ext>
            </a:extLst>
          </p:cNvPr>
          <p:cNvCxnSpPr>
            <a:stCxn id="6" idx="3"/>
          </p:cNvCxnSpPr>
          <p:nvPr/>
        </p:nvCxnSpPr>
        <p:spPr>
          <a:xfrm>
            <a:off x="1849231" y="2410778"/>
            <a:ext cx="1256033" cy="0"/>
          </a:xfrm>
          <a:prstGeom prst="straightConnector1">
            <a:avLst/>
          </a:prstGeom>
          <a:noFill/>
          <a:ln w="9525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" name="Group 10">
            <a:extLst>
              <a:ext uri="{FF2B5EF4-FFF2-40B4-BE49-F238E27FC236}">
                <a16:creationId xmlns:a16="http://schemas.microsoft.com/office/drawing/2014/main" id="{B607AEAA-A9DA-C152-65D0-4ABB2E5412D8}"/>
              </a:ext>
            </a:extLst>
          </p:cNvPr>
          <p:cNvGrpSpPr/>
          <p:nvPr/>
        </p:nvGrpSpPr>
        <p:grpSpPr>
          <a:xfrm>
            <a:off x="1127547" y="2204647"/>
            <a:ext cx="376105" cy="412264"/>
            <a:chOff x="994105" y="2461399"/>
            <a:chExt cx="391443" cy="429076"/>
          </a:xfrm>
        </p:grpSpPr>
        <p:sp>
          <p:nvSpPr>
            <p:cNvPr id="86" name="Google Shape;941;p13">
              <a:extLst>
                <a:ext uri="{FF2B5EF4-FFF2-40B4-BE49-F238E27FC236}">
                  <a16:creationId xmlns:a16="http://schemas.microsoft.com/office/drawing/2014/main" id="{96704064-3478-3706-8AD9-C741514960CF}"/>
                </a:ext>
              </a:extLst>
            </p:cNvPr>
            <p:cNvSpPr/>
            <p:nvPr/>
          </p:nvSpPr>
          <p:spPr>
            <a:xfrm>
              <a:off x="1084437" y="2555495"/>
              <a:ext cx="207014" cy="334980"/>
            </a:xfrm>
            <a:custGeom>
              <a:avLst/>
              <a:gdLst/>
              <a:ahLst/>
              <a:cxnLst/>
              <a:rect l="l" t="t" r="r" b="b"/>
              <a:pathLst>
                <a:path w="201" h="320" extrusionOk="0">
                  <a:moveTo>
                    <a:pt x="100" y="320"/>
                  </a:moveTo>
                  <a:cubicBezTo>
                    <a:pt x="77" y="320"/>
                    <a:pt x="58" y="302"/>
                    <a:pt x="57" y="279"/>
                  </a:cubicBezTo>
                  <a:cubicBezTo>
                    <a:pt x="57" y="274"/>
                    <a:pt x="57" y="274"/>
                    <a:pt x="57" y="274"/>
                  </a:cubicBezTo>
                  <a:cubicBezTo>
                    <a:pt x="56" y="233"/>
                    <a:pt x="42" y="192"/>
                    <a:pt x="19" y="156"/>
                  </a:cubicBezTo>
                  <a:cubicBezTo>
                    <a:pt x="6" y="137"/>
                    <a:pt x="0" y="114"/>
                    <a:pt x="3" y="90"/>
                  </a:cubicBezTo>
                  <a:cubicBezTo>
                    <a:pt x="8" y="45"/>
                    <a:pt x="44" y="8"/>
                    <a:pt x="90" y="3"/>
                  </a:cubicBezTo>
                  <a:cubicBezTo>
                    <a:pt x="119" y="0"/>
                    <a:pt x="146" y="8"/>
                    <a:pt x="168" y="27"/>
                  </a:cubicBezTo>
                  <a:cubicBezTo>
                    <a:pt x="189" y="46"/>
                    <a:pt x="201" y="73"/>
                    <a:pt x="201" y="101"/>
                  </a:cubicBezTo>
                  <a:cubicBezTo>
                    <a:pt x="201" y="122"/>
                    <a:pt x="194" y="141"/>
                    <a:pt x="183" y="158"/>
                  </a:cubicBezTo>
                  <a:cubicBezTo>
                    <a:pt x="158" y="194"/>
                    <a:pt x="144" y="236"/>
                    <a:pt x="142" y="279"/>
                  </a:cubicBezTo>
                  <a:cubicBezTo>
                    <a:pt x="141" y="302"/>
                    <a:pt x="123" y="320"/>
                    <a:pt x="100" y="320"/>
                  </a:cubicBezTo>
                  <a:close/>
                  <a:moveTo>
                    <a:pt x="101" y="14"/>
                  </a:moveTo>
                  <a:cubicBezTo>
                    <a:pt x="98" y="14"/>
                    <a:pt x="95" y="15"/>
                    <a:pt x="91" y="15"/>
                  </a:cubicBezTo>
                  <a:cubicBezTo>
                    <a:pt x="51" y="19"/>
                    <a:pt x="19" y="52"/>
                    <a:pt x="15" y="91"/>
                  </a:cubicBezTo>
                  <a:cubicBezTo>
                    <a:pt x="12" y="112"/>
                    <a:pt x="17" y="132"/>
                    <a:pt x="29" y="150"/>
                  </a:cubicBezTo>
                  <a:cubicBezTo>
                    <a:pt x="54" y="187"/>
                    <a:pt x="68" y="230"/>
                    <a:pt x="69" y="274"/>
                  </a:cubicBezTo>
                  <a:cubicBezTo>
                    <a:pt x="70" y="279"/>
                    <a:pt x="70" y="279"/>
                    <a:pt x="70" y="279"/>
                  </a:cubicBezTo>
                  <a:cubicBezTo>
                    <a:pt x="70" y="295"/>
                    <a:pt x="83" y="308"/>
                    <a:pt x="100" y="308"/>
                  </a:cubicBezTo>
                  <a:cubicBezTo>
                    <a:pt x="116" y="308"/>
                    <a:pt x="129" y="295"/>
                    <a:pt x="130" y="279"/>
                  </a:cubicBezTo>
                  <a:cubicBezTo>
                    <a:pt x="131" y="233"/>
                    <a:pt x="146" y="189"/>
                    <a:pt x="173" y="151"/>
                  </a:cubicBezTo>
                  <a:cubicBezTo>
                    <a:pt x="183" y="136"/>
                    <a:pt x="188" y="119"/>
                    <a:pt x="188" y="101"/>
                  </a:cubicBezTo>
                  <a:cubicBezTo>
                    <a:pt x="188" y="77"/>
                    <a:pt x="178" y="53"/>
                    <a:pt x="159" y="37"/>
                  </a:cubicBezTo>
                  <a:cubicBezTo>
                    <a:pt x="143" y="22"/>
                    <a:pt x="123" y="14"/>
                    <a:pt x="101" y="1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87" name="Google Shape;942;p13">
              <a:extLst>
                <a:ext uri="{FF2B5EF4-FFF2-40B4-BE49-F238E27FC236}">
                  <a16:creationId xmlns:a16="http://schemas.microsoft.com/office/drawing/2014/main" id="{54C083BF-3F31-4B9B-3E0A-D21AAF9356C5}"/>
                </a:ext>
              </a:extLst>
            </p:cNvPr>
            <p:cNvSpPr/>
            <p:nvPr/>
          </p:nvSpPr>
          <p:spPr>
            <a:xfrm>
              <a:off x="1140897" y="2788851"/>
              <a:ext cx="94097" cy="26348"/>
            </a:xfrm>
            <a:custGeom>
              <a:avLst/>
              <a:gdLst/>
              <a:ahLst/>
              <a:cxnLst/>
              <a:rect l="l" t="t" r="r" b="b"/>
              <a:pathLst>
                <a:path w="91" h="22" extrusionOk="0">
                  <a:moveTo>
                    <a:pt x="45" y="22"/>
                  </a:moveTo>
                  <a:cubicBezTo>
                    <a:pt x="21" y="22"/>
                    <a:pt x="5" y="13"/>
                    <a:pt x="4" y="13"/>
                  </a:cubicBezTo>
                  <a:cubicBezTo>
                    <a:pt x="1" y="11"/>
                    <a:pt x="0" y="7"/>
                    <a:pt x="1" y="4"/>
                  </a:cubicBezTo>
                  <a:cubicBezTo>
                    <a:pt x="3" y="2"/>
                    <a:pt x="7" y="0"/>
                    <a:pt x="10" y="2"/>
                  </a:cubicBezTo>
                  <a:cubicBezTo>
                    <a:pt x="11" y="3"/>
                    <a:pt x="42" y="20"/>
                    <a:pt x="82" y="2"/>
                  </a:cubicBezTo>
                  <a:cubicBezTo>
                    <a:pt x="85" y="1"/>
                    <a:pt x="88" y="2"/>
                    <a:pt x="90" y="5"/>
                  </a:cubicBezTo>
                  <a:cubicBezTo>
                    <a:pt x="91" y="8"/>
                    <a:pt x="90" y="12"/>
                    <a:pt x="87" y="13"/>
                  </a:cubicBezTo>
                  <a:cubicBezTo>
                    <a:pt x="71" y="20"/>
                    <a:pt x="57" y="22"/>
                    <a:pt x="45" y="2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88" name="Google Shape;943;p13">
              <a:extLst>
                <a:ext uri="{FF2B5EF4-FFF2-40B4-BE49-F238E27FC236}">
                  <a16:creationId xmlns:a16="http://schemas.microsoft.com/office/drawing/2014/main" id="{8E8C5208-2FE8-538A-3D80-4CEA82FCA7E8}"/>
                </a:ext>
              </a:extLst>
            </p:cNvPr>
            <p:cNvSpPr/>
            <p:nvPr/>
          </p:nvSpPr>
          <p:spPr>
            <a:xfrm>
              <a:off x="1182297" y="2461399"/>
              <a:ext cx="11292" cy="48931"/>
            </a:xfrm>
            <a:custGeom>
              <a:avLst/>
              <a:gdLst/>
              <a:ahLst/>
              <a:cxnLst/>
              <a:rect l="l" t="t" r="r" b="b"/>
              <a:pathLst>
                <a:path w="12" h="45" extrusionOk="0">
                  <a:moveTo>
                    <a:pt x="6" y="45"/>
                  </a:moveTo>
                  <a:cubicBezTo>
                    <a:pt x="3" y="45"/>
                    <a:pt x="0" y="42"/>
                    <a:pt x="0" y="39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39"/>
                    <a:pt x="12" y="39"/>
                    <a:pt x="12" y="39"/>
                  </a:cubicBezTo>
                  <a:cubicBezTo>
                    <a:pt x="12" y="42"/>
                    <a:pt x="10" y="45"/>
                    <a:pt x="6" y="4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89" name="Google Shape;944;p13">
              <a:extLst>
                <a:ext uri="{FF2B5EF4-FFF2-40B4-BE49-F238E27FC236}">
                  <a16:creationId xmlns:a16="http://schemas.microsoft.com/office/drawing/2014/main" id="{909E6CB1-58C6-62AA-707B-2EC0C3F74783}"/>
                </a:ext>
              </a:extLst>
            </p:cNvPr>
            <p:cNvSpPr/>
            <p:nvPr/>
          </p:nvSpPr>
          <p:spPr>
            <a:xfrm>
              <a:off x="1058091" y="2506564"/>
              <a:ext cx="33877" cy="41403"/>
            </a:xfrm>
            <a:custGeom>
              <a:avLst/>
              <a:gdLst/>
              <a:ahLst/>
              <a:cxnLst/>
              <a:rect l="l" t="t" r="r" b="b"/>
              <a:pathLst>
                <a:path w="34" h="37" extrusionOk="0">
                  <a:moveTo>
                    <a:pt x="27" y="37"/>
                  </a:moveTo>
                  <a:cubicBezTo>
                    <a:pt x="26" y="37"/>
                    <a:pt x="24" y="37"/>
                    <a:pt x="23" y="35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0" y="8"/>
                    <a:pt x="0" y="4"/>
                    <a:pt x="3" y="2"/>
                  </a:cubicBezTo>
                  <a:cubicBezTo>
                    <a:pt x="5" y="0"/>
                    <a:pt x="9" y="0"/>
                    <a:pt x="11" y="3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4" y="30"/>
                    <a:pt x="34" y="34"/>
                    <a:pt x="31" y="36"/>
                  </a:cubicBezTo>
                  <a:cubicBezTo>
                    <a:pt x="30" y="37"/>
                    <a:pt x="29" y="37"/>
                    <a:pt x="27" y="3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90" name="Google Shape;945;p13">
              <a:extLst>
                <a:ext uri="{FF2B5EF4-FFF2-40B4-BE49-F238E27FC236}">
                  <a16:creationId xmlns:a16="http://schemas.microsoft.com/office/drawing/2014/main" id="{4FF0D6D6-18BF-5EB3-E1BC-D99C8EA7AF9F}"/>
                </a:ext>
              </a:extLst>
            </p:cNvPr>
            <p:cNvSpPr/>
            <p:nvPr/>
          </p:nvSpPr>
          <p:spPr>
            <a:xfrm>
              <a:off x="994105" y="2619479"/>
              <a:ext cx="45166" cy="22584"/>
            </a:xfrm>
            <a:custGeom>
              <a:avLst/>
              <a:gdLst/>
              <a:ahLst/>
              <a:cxnLst/>
              <a:rect l="l" t="t" r="r" b="b"/>
              <a:pathLst>
                <a:path w="45" h="19" extrusionOk="0">
                  <a:moveTo>
                    <a:pt x="38" y="19"/>
                  </a:moveTo>
                  <a:cubicBezTo>
                    <a:pt x="38" y="19"/>
                    <a:pt x="37" y="19"/>
                    <a:pt x="37" y="19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1" y="3"/>
                    <a:pt x="4" y="0"/>
                    <a:pt x="7" y="1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43" y="7"/>
                    <a:pt x="45" y="10"/>
                    <a:pt x="44" y="14"/>
                  </a:cubicBezTo>
                  <a:cubicBezTo>
                    <a:pt x="44" y="17"/>
                    <a:pt x="41" y="19"/>
                    <a:pt x="38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91" name="Google Shape;946;p13">
              <a:extLst>
                <a:ext uri="{FF2B5EF4-FFF2-40B4-BE49-F238E27FC236}">
                  <a16:creationId xmlns:a16="http://schemas.microsoft.com/office/drawing/2014/main" id="{F30A15C9-2291-7A51-6BC9-48EC830E0E4A}"/>
                </a:ext>
              </a:extLst>
            </p:cNvPr>
            <p:cNvSpPr/>
            <p:nvPr/>
          </p:nvSpPr>
          <p:spPr>
            <a:xfrm>
              <a:off x="1012926" y="2732393"/>
              <a:ext cx="45166" cy="30110"/>
            </a:xfrm>
            <a:custGeom>
              <a:avLst/>
              <a:gdLst/>
              <a:ahLst/>
              <a:cxnLst/>
              <a:rect l="l" t="t" r="r" b="b"/>
              <a:pathLst>
                <a:path w="42" h="29" extrusionOk="0">
                  <a:moveTo>
                    <a:pt x="7" y="29"/>
                  </a:moveTo>
                  <a:cubicBezTo>
                    <a:pt x="5" y="29"/>
                    <a:pt x="3" y="28"/>
                    <a:pt x="2" y="26"/>
                  </a:cubicBezTo>
                  <a:cubicBezTo>
                    <a:pt x="0" y="23"/>
                    <a:pt x="1" y="20"/>
                    <a:pt x="4" y="18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5" y="0"/>
                    <a:pt x="39" y="1"/>
                    <a:pt x="41" y="4"/>
                  </a:cubicBezTo>
                  <a:cubicBezTo>
                    <a:pt x="42" y="7"/>
                    <a:pt x="41" y="11"/>
                    <a:pt x="38" y="13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9" y="29"/>
                    <a:pt x="8" y="29"/>
                    <a:pt x="7" y="2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92" name="Google Shape;947;p13">
              <a:extLst>
                <a:ext uri="{FF2B5EF4-FFF2-40B4-BE49-F238E27FC236}">
                  <a16:creationId xmlns:a16="http://schemas.microsoft.com/office/drawing/2014/main" id="{9A4D577A-8301-0266-DAFC-4DBEC249FC34}"/>
                </a:ext>
              </a:extLst>
            </p:cNvPr>
            <p:cNvSpPr/>
            <p:nvPr/>
          </p:nvSpPr>
          <p:spPr>
            <a:xfrm>
              <a:off x="1317796" y="2732393"/>
              <a:ext cx="45166" cy="30110"/>
            </a:xfrm>
            <a:custGeom>
              <a:avLst/>
              <a:gdLst/>
              <a:ahLst/>
              <a:cxnLst/>
              <a:rect l="l" t="t" r="r" b="b"/>
              <a:pathLst>
                <a:path w="42" h="29" extrusionOk="0">
                  <a:moveTo>
                    <a:pt x="35" y="29"/>
                  </a:moveTo>
                  <a:cubicBezTo>
                    <a:pt x="34" y="29"/>
                    <a:pt x="33" y="29"/>
                    <a:pt x="32" y="29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1" y="11"/>
                    <a:pt x="0" y="7"/>
                    <a:pt x="2" y="4"/>
                  </a:cubicBezTo>
                  <a:cubicBezTo>
                    <a:pt x="4" y="1"/>
                    <a:pt x="7" y="0"/>
                    <a:pt x="10" y="2"/>
                  </a:cubicBezTo>
                  <a:cubicBezTo>
                    <a:pt x="38" y="18"/>
                    <a:pt x="38" y="18"/>
                    <a:pt x="38" y="18"/>
                  </a:cubicBezTo>
                  <a:cubicBezTo>
                    <a:pt x="41" y="20"/>
                    <a:pt x="42" y="23"/>
                    <a:pt x="41" y="26"/>
                  </a:cubicBezTo>
                  <a:cubicBezTo>
                    <a:pt x="39" y="28"/>
                    <a:pt x="37" y="29"/>
                    <a:pt x="35" y="2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93" name="Google Shape;948;p13">
              <a:extLst>
                <a:ext uri="{FF2B5EF4-FFF2-40B4-BE49-F238E27FC236}">
                  <a16:creationId xmlns:a16="http://schemas.microsoft.com/office/drawing/2014/main" id="{E303AD64-2D67-2AF4-E45D-953D15BC5897}"/>
                </a:ext>
              </a:extLst>
            </p:cNvPr>
            <p:cNvSpPr/>
            <p:nvPr/>
          </p:nvSpPr>
          <p:spPr>
            <a:xfrm>
              <a:off x="1336616" y="2619479"/>
              <a:ext cx="48932" cy="22584"/>
            </a:xfrm>
            <a:custGeom>
              <a:avLst/>
              <a:gdLst/>
              <a:ahLst/>
              <a:cxnLst/>
              <a:rect l="l" t="t" r="r" b="b"/>
              <a:pathLst>
                <a:path w="45" h="19" extrusionOk="0">
                  <a:moveTo>
                    <a:pt x="6" y="19"/>
                  </a:moveTo>
                  <a:cubicBezTo>
                    <a:pt x="4" y="19"/>
                    <a:pt x="1" y="17"/>
                    <a:pt x="0" y="14"/>
                  </a:cubicBezTo>
                  <a:cubicBezTo>
                    <a:pt x="0" y="10"/>
                    <a:pt x="2" y="7"/>
                    <a:pt x="5" y="6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41" y="0"/>
                    <a:pt x="44" y="3"/>
                    <a:pt x="44" y="6"/>
                  </a:cubicBezTo>
                  <a:cubicBezTo>
                    <a:pt x="45" y="9"/>
                    <a:pt x="43" y="12"/>
                    <a:pt x="39" y="13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7" y="19"/>
                    <a:pt x="7" y="19"/>
                    <a:pt x="6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94" name="Google Shape;949;p13">
              <a:extLst>
                <a:ext uri="{FF2B5EF4-FFF2-40B4-BE49-F238E27FC236}">
                  <a16:creationId xmlns:a16="http://schemas.microsoft.com/office/drawing/2014/main" id="{8B3C3F56-5510-E686-C6BC-CDD63BF3DA27}"/>
                </a:ext>
              </a:extLst>
            </p:cNvPr>
            <p:cNvSpPr/>
            <p:nvPr/>
          </p:nvSpPr>
          <p:spPr>
            <a:xfrm>
              <a:off x="1283922" y="2506564"/>
              <a:ext cx="33877" cy="41403"/>
            </a:xfrm>
            <a:custGeom>
              <a:avLst/>
              <a:gdLst/>
              <a:ahLst/>
              <a:cxnLst/>
              <a:rect l="l" t="t" r="r" b="b"/>
              <a:pathLst>
                <a:path w="35" h="37" extrusionOk="0">
                  <a:moveTo>
                    <a:pt x="7" y="37"/>
                  </a:moveTo>
                  <a:cubicBezTo>
                    <a:pt x="6" y="37"/>
                    <a:pt x="5" y="37"/>
                    <a:pt x="3" y="36"/>
                  </a:cubicBezTo>
                  <a:cubicBezTo>
                    <a:pt x="1" y="34"/>
                    <a:pt x="0" y="30"/>
                    <a:pt x="3" y="27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6" y="0"/>
                    <a:pt x="29" y="0"/>
                    <a:pt x="32" y="2"/>
                  </a:cubicBezTo>
                  <a:cubicBezTo>
                    <a:pt x="35" y="4"/>
                    <a:pt x="35" y="8"/>
                    <a:pt x="33" y="10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1" y="37"/>
                    <a:pt x="9" y="37"/>
                    <a:pt x="7" y="3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</p:grpSp>
      <p:sp>
        <p:nvSpPr>
          <p:cNvPr id="12" name="Google Shape;950;p13">
            <a:extLst>
              <a:ext uri="{FF2B5EF4-FFF2-40B4-BE49-F238E27FC236}">
                <a16:creationId xmlns:a16="http://schemas.microsoft.com/office/drawing/2014/main" id="{83B048F9-F1EB-A2C1-876F-7CEB62087CD3}"/>
              </a:ext>
            </a:extLst>
          </p:cNvPr>
          <p:cNvSpPr/>
          <p:nvPr/>
        </p:nvSpPr>
        <p:spPr>
          <a:xfrm>
            <a:off x="5034023" y="1877145"/>
            <a:ext cx="2690402" cy="1067268"/>
          </a:xfrm>
          <a:custGeom>
            <a:avLst/>
            <a:gdLst/>
            <a:ahLst/>
            <a:cxnLst/>
            <a:rect l="l" t="t" r="r" b="b"/>
            <a:pathLst>
              <a:path w="2963119" h="1111170" extrusionOk="0">
                <a:moveTo>
                  <a:pt x="77225" y="0"/>
                </a:moveTo>
                <a:lnTo>
                  <a:pt x="2407534" y="0"/>
                </a:lnTo>
                <a:cubicBezTo>
                  <a:pt x="2714375" y="0"/>
                  <a:pt x="2963119" y="248744"/>
                  <a:pt x="2963119" y="555585"/>
                </a:cubicBezTo>
                <a:cubicBezTo>
                  <a:pt x="2963119" y="862426"/>
                  <a:pt x="2714375" y="1111170"/>
                  <a:pt x="2407534" y="1111170"/>
                </a:cubicBezTo>
                <a:lnTo>
                  <a:pt x="77225" y="1111170"/>
                </a:lnTo>
                <a:lnTo>
                  <a:pt x="0" y="1103385"/>
                </a:lnTo>
                <a:lnTo>
                  <a:pt x="0" y="7785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3600" dirty="0"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13" name="Google Shape;951;p13">
            <a:extLst>
              <a:ext uri="{FF2B5EF4-FFF2-40B4-BE49-F238E27FC236}">
                <a16:creationId xmlns:a16="http://schemas.microsoft.com/office/drawing/2014/main" id="{86D94CD7-A244-C197-F187-63BAF99C1EE0}"/>
              </a:ext>
            </a:extLst>
          </p:cNvPr>
          <p:cNvSpPr/>
          <p:nvPr/>
        </p:nvSpPr>
        <p:spPr>
          <a:xfrm>
            <a:off x="4507862" y="1877145"/>
            <a:ext cx="1067268" cy="1067268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3600" dirty="0"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14" name="Google Shape;952;p13">
            <a:extLst>
              <a:ext uri="{FF2B5EF4-FFF2-40B4-BE49-F238E27FC236}">
                <a16:creationId xmlns:a16="http://schemas.microsoft.com/office/drawing/2014/main" id="{5C168140-821A-3457-0C19-4384DB3F2442}"/>
              </a:ext>
            </a:extLst>
          </p:cNvPr>
          <p:cNvSpPr txBox="1"/>
          <p:nvPr/>
        </p:nvSpPr>
        <p:spPr>
          <a:xfrm>
            <a:off x="5634362" y="2476853"/>
            <a:ext cx="1738036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chemeClr val="dk1"/>
              </a:buClr>
              <a:buSzPts val="1400"/>
            </a:pPr>
            <a:r>
              <a:rPr lang="en-US" sz="14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400" dirty="0">
              <a:solidFill>
                <a:schemeClr val="tx1">
                  <a:lumMod val="100000"/>
                </a:schemeClr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15" name="Google Shape;953;p13">
            <a:extLst>
              <a:ext uri="{FF2B5EF4-FFF2-40B4-BE49-F238E27FC236}">
                <a16:creationId xmlns:a16="http://schemas.microsoft.com/office/drawing/2014/main" id="{DFBE76BA-6941-2BB0-05C5-5CCA982CB952}"/>
              </a:ext>
            </a:extLst>
          </p:cNvPr>
          <p:cNvSpPr txBox="1"/>
          <p:nvPr/>
        </p:nvSpPr>
        <p:spPr>
          <a:xfrm>
            <a:off x="5634362" y="2139809"/>
            <a:ext cx="1738036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>
              <a:buClr>
                <a:schemeClr val="accent1"/>
              </a:buClr>
              <a:buSzPts val="1400"/>
            </a:pPr>
            <a:r>
              <a:rPr lang="en-US" sz="1400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Title</a:t>
            </a:r>
            <a:endParaRPr sz="14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16" name="Google Shape;954;p13">
            <a:extLst>
              <a:ext uri="{FF2B5EF4-FFF2-40B4-BE49-F238E27FC236}">
                <a16:creationId xmlns:a16="http://schemas.microsoft.com/office/drawing/2014/main" id="{5ED29EC4-551B-955F-789A-224129964CEA}"/>
              </a:ext>
            </a:extLst>
          </p:cNvPr>
          <p:cNvSpPr/>
          <p:nvPr/>
        </p:nvSpPr>
        <p:spPr>
          <a:xfrm>
            <a:off x="4352217" y="2255134"/>
            <a:ext cx="333522" cy="333522"/>
          </a:xfrm>
          <a:prstGeom prst="ellipse">
            <a:avLst/>
          </a:prstGeom>
          <a:solidFill>
            <a:schemeClr val="bg1"/>
          </a:solidFill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02</a:t>
            </a:r>
            <a:endParaRPr sz="1400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17" name="Google Shape;955;p13">
            <a:extLst>
              <a:ext uri="{FF2B5EF4-FFF2-40B4-BE49-F238E27FC236}">
                <a16:creationId xmlns:a16="http://schemas.microsoft.com/office/drawing/2014/main" id="{2A0F3CB4-BC74-E795-6286-1D4C8062A560}"/>
              </a:ext>
            </a:extLst>
          </p:cNvPr>
          <p:cNvCxnSpPr>
            <a:stCxn id="13" idx="3"/>
          </p:cNvCxnSpPr>
          <p:nvPr/>
        </p:nvCxnSpPr>
        <p:spPr>
          <a:xfrm>
            <a:off x="5575127" y="2410778"/>
            <a:ext cx="1256033" cy="0"/>
          </a:xfrm>
          <a:prstGeom prst="straightConnector1">
            <a:avLst/>
          </a:prstGeom>
          <a:noFill/>
          <a:ln w="9525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" name="Google Shape;956;p13">
            <a:extLst>
              <a:ext uri="{FF2B5EF4-FFF2-40B4-BE49-F238E27FC236}">
                <a16:creationId xmlns:a16="http://schemas.microsoft.com/office/drawing/2014/main" id="{0BC4F23C-EF3D-6EFF-6303-CDA371CE2ACE}"/>
              </a:ext>
            </a:extLst>
          </p:cNvPr>
          <p:cNvSpPr/>
          <p:nvPr/>
        </p:nvSpPr>
        <p:spPr>
          <a:xfrm>
            <a:off x="8759918" y="1877145"/>
            <a:ext cx="2690402" cy="1067268"/>
          </a:xfrm>
          <a:custGeom>
            <a:avLst/>
            <a:gdLst/>
            <a:ahLst/>
            <a:cxnLst/>
            <a:rect l="l" t="t" r="r" b="b"/>
            <a:pathLst>
              <a:path w="2963119" h="1111170" extrusionOk="0">
                <a:moveTo>
                  <a:pt x="77225" y="0"/>
                </a:moveTo>
                <a:lnTo>
                  <a:pt x="2407534" y="0"/>
                </a:lnTo>
                <a:cubicBezTo>
                  <a:pt x="2714375" y="0"/>
                  <a:pt x="2963119" y="248744"/>
                  <a:pt x="2963119" y="555585"/>
                </a:cubicBezTo>
                <a:cubicBezTo>
                  <a:pt x="2963119" y="862426"/>
                  <a:pt x="2714375" y="1111170"/>
                  <a:pt x="2407534" y="1111170"/>
                </a:cubicBezTo>
                <a:lnTo>
                  <a:pt x="77225" y="1111170"/>
                </a:lnTo>
                <a:lnTo>
                  <a:pt x="0" y="1103385"/>
                </a:lnTo>
                <a:lnTo>
                  <a:pt x="0" y="7785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3600" dirty="0"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19" name="Google Shape;957;p13">
            <a:extLst>
              <a:ext uri="{FF2B5EF4-FFF2-40B4-BE49-F238E27FC236}">
                <a16:creationId xmlns:a16="http://schemas.microsoft.com/office/drawing/2014/main" id="{1D2A0466-70F7-7189-954C-B23C8710C5F4}"/>
              </a:ext>
            </a:extLst>
          </p:cNvPr>
          <p:cNvSpPr/>
          <p:nvPr/>
        </p:nvSpPr>
        <p:spPr>
          <a:xfrm>
            <a:off x="8233757" y="1877145"/>
            <a:ext cx="1067268" cy="1067268"/>
          </a:xfrm>
          <a:prstGeom prst="diamond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3600" dirty="0"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20" name="Google Shape;958;p13">
            <a:extLst>
              <a:ext uri="{FF2B5EF4-FFF2-40B4-BE49-F238E27FC236}">
                <a16:creationId xmlns:a16="http://schemas.microsoft.com/office/drawing/2014/main" id="{DE8DD4B5-C1AF-274E-C223-E21F4DB1E19B}"/>
              </a:ext>
            </a:extLst>
          </p:cNvPr>
          <p:cNvSpPr txBox="1"/>
          <p:nvPr/>
        </p:nvSpPr>
        <p:spPr>
          <a:xfrm>
            <a:off x="9360258" y="2476853"/>
            <a:ext cx="1738036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chemeClr val="dk1"/>
              </a:buClr>
              <a:buSzPts val="1400"/>
            </a:pPr>
            <a:r>
              <a:rPr lang="en-US" sz="14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400" dirty="0">
              <a:solidFill>
                <a:schemeClr val="tx1">
                  <a:lumMod val="100000"/>
                </a:schemeClr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21" name="Google Shape;959;p13">
            <a:extLst>
              <a:ext uri="{FF2B5EF4-FFF2-40B4-BE49-F238E27FC236}">
                <a16:creationId xmlns:a16="http://schemas.microsoft.com/office/drawing/2014/main" id="{ED33BA6C-D0B6-49D4-F49C-D18ECD51AC4A}"/>
              </a:ext>
            </a:extLst>
          </p:cNvPr>
          <p:cNvSpPr txBox="1"/>
          <p:nvPr/>
        </p:nvSpPr>
        <p:spPr>
          <a:xfrm>
            <a:off x="9360258" y="2139809"/>
            <a:ext cx="1738036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>
              <a:buClr>
                <a:schemeClr val="accent2"/>
              </a:buClr>
              <a:buSzPts val="1400"/>
            </a:pPr>
            <a:r>
              <a:rPr lang="en-US" sz="1400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Title</a:t>
            </a:r>
            <a:endParaRPr sz="14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22" name="Google Shape;960;p13">
            <a:extLst>
              <a:ext uri="{FF2B5EF4-FFF2-40B4-BE49-F238E27FC236}">
                <a16:creationId xmlns:a16="http://schemas.microsoft.com/office/drawing/2014/main" id="{3DB88F48-46EB-BC45-0C5A-01B05FEC8322}"/>
              </a:ext>
            </a:extLst>
          </p:cNvPr>
          <p:cNvSpPr/>
          <p:nvPr/>
        </p:nvSpPr>
        <p:spPr>
          <a:xfrm>
            <a:off x="8078113" y="2255134"/>
            <a:ext cx="333522" cy="333522"/>
          </a:xfrm>
          <a:prstGeom prst="ellipse">
            <a:avLst/>
          </a:prstGeom>
          <a:solidFill>
            <a:schemeClr val="bg1"/>
          </a:solidFill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03</a:t>
            </a:r>
            <a:endParaRPr sz="1400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23" name="Google Shape;961;p13">
            <a:extLst>
              <a:ext uri="{FF2B5EF4-FFF2-40B4-BE49-F238E27FC236}">
                <a16:creationId xmlns:a16="http://schemas.microsoft.com/office/drawing/2014/main" id="{5AD5B1ED-CEE6-4937-C910-A0345FEC290E}"/>
              </a:ext>
            </a:extLst>
          </p:cNvPr>
          <p:cNvCxnSpPr>
            <a:stCxn id="19" idx="3"/>
          </p:cNvCxnSpPr>
          <p:nvPr/>
        </p:nvCxnSpPr>
        <p:spPr>
          <a:xfrm>
            <a:off x="9301021" y="2410778"/>
            <a:ext cx="1256033" cy="0"/>
          </a:xfrm>
          <a:prstGeom prst="straightConnector1">
            <a:avLst/>
          </a:prstGeom>
          <a:noFill/>
          <a:ln w="9525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4" name="Group 23">
            <a:extLst>
              <a:ext uri="{FF2B5EF4-FFF2-40B4-BE49-F238E27FC236}">
                <a16:creationId xmlns:a16="http://schemas.microsoft.com/office/drawing/2014/main" id="{AA33A0CD-39AD-3B08-8400-20C9A07699B1}"/>
              </a:ext>
            </a:extLst>
          </p:cNvPr>
          <p:cNvGrpSpPr/>
          <p:nvPr/>
        </p:nvGrpSpPr>
        <p:grpSpPr>
          <a:xfrm>
            <a:off x="8586573" y="2228154"/>
            <a:ext cx="361638" cy="365252"/>
            <a:chOff x="8757315" y="2485864"/>
            <a:chExt cx="376386" cy="380147"/>
          </a:xfrm>
        </p:grpSpPr>
        <p:sp>
          <p:nvSpPr>
            <p:cNvPr id="83" name="Google Shape;963;p13">
              <a:extLst>
                <a:ext uri="{FF2B5EF4-FFF2-40B4-BE49-F238E27FC236}">
                  <a16:creationId xmlns:a16="http://schemas.microsoft.com/office/drawing/2014/main" id="{E08B312C-860C-94DA-842A-9E20410D0823}"/>
                </a:ext>
              </a:extLst>
            </p:cNvPr>
            <p:cNvSpPr/>
            <p:nvPr/>
          </p:nvSpPr>
          <p:spPr>
            <a:xfrm>
              <a:off x="8757315" y="2485864"/>
              <a:ext cx="293581" cy="297343"/>
            </a:xfrm>
            <a:custGeom>
              <a:avLst/>
              <a:gdLst/>
              <a:ahLst/>
              <a:cxnLst/>
              <a:rect l="l" t="t" r="r" b="b"/>
              <a:pathLst>
                <a:path w="285" h="285" extrusionOk="0">
                  <a:moveTo>
                    <a:pt x="142" y="285"/>
                  </a:moveTo>
                  <a:cubicBezTo>
                    <a:pt x="64" y="285"/>
                    <a:pt x="0" y="221"/>
                    <a:pt x="0" y="143"/>
                  </a:cubicBezTo>
                  <a:cubicBezTo>
                    <a:pt x="0" y="64"/>
                    <a:pt x="64" y="0"/>
                    <a:pt x="142" y="0"/>
                  </a:cubicBezTo>
                  <a:cubicBezTo>
                    <a:pt x="221" y="0"/>
                    <a:pt x="285" y="64"/>
                    <a:pt x="285" y="143"/>
                  </a:cubicBezTo>
                  <a:cubicBezTo>
                    <a:pt x="285" y="221"/>
                    <a:pt x="221" y="285"/>
                    <a:pt x="142" y="285"/>
                  </a:cubicBezTo>
                  <a:close/>
                  <a:moveTo>
                    <a:pt x="142" y="12"/>
                  </a:moveTo>
                  <a:cubicBezTo>
                    <a:pt x="70" y="12"/>
                    <a:pt x="12" y="71"/>
                    <a:pt x="12" y="143"/>
                  </a:cubicBezTo>
                  <a:cubicBezTo>
                    <a:pt x="12" y="214"/>
                    <a:pt x="70" y="273"/>
                    <a:pt x="142" y="273"/>
                  </a:cubicBezTo>
                  <a:cubicBezTo>
                    <a:pt x="214" y="273"/>
                    <a:pt x="273" y="214"/>
                    <a:pt x="273" y="143"/>
                  </a:cubicBezTo>
                  <a:cubicBezTo>
                    <a:pt x="273" y="71"/>
                    <a:pt x="214" y="12"/>
                    <a:pt x="142" y="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84" name="Google Shape;964;p13">
              <a:extLst>
                <a:ext uri="{FF2B5EF4-FFF2-40B4-BE49-F238E27FC236}">
                  <a16:creationId xmlns:a16="http://schemas.microsoft.com/office/drawing/2014/main" id="{C7660160-CE11-0713-89C7-B8EE3AA78C5D}"/>
                </a:ext>
              </a:extLst>
            </p:cNvPr>
            <p:cNvSpPr/>
            <p:nvPr/>
          </p:nvSpPr>
          <p:spPr>
            <a:xfrm>
              <a:off x="8983148" y="2711693"/>
              <a:ext cx="150553" cy="154318"/>
            </a:xfrm>
            <a:custGeom>
              <a:avLst/>
              <a:gdLst/>
              <a:ahLst/>
              <a:cxnLst/>
              <a:rect l="l" t="t" r="r" b="b"/>
              <a:pathLst>
                <a:path w="145" h="146" extrusionOk="0">
                  <a:moveTo>
                    <a:pt x="119" y="146"/>
                  </a:moveTo>
                  <a:cubicBezTo>
                    <a:pt x="112" y="146"/>
                    <a:pt x="105" y="143"/>
                    <a:pt x="100" y="138"/>
                  </a:cubicBezTo>
                  <a:cubicBezTo>
                    <a:pt x="2" y="40"/>
                    <a:pt x="2" y="40"/>
                    <a:pt x="2" y="40"/>
                  </a:cubicBezTo>
                  <a:cubicBezTo>
                    <a:pt x="0" y="38"/>
                    <a:pt x="0" y="34"/>
                    <a:pt x="2" y="3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4" y="0"/>
                    <a:pt x="38" y="0"/>
                    <a:pt x="40" y="3"/>
                  </a:cubicBezTo>
                  <a:cubicBezTo>
                    <a:pt x="138" y="100"/>
                    <a:pt x="138" y="100"/>
                    <a:pt x="138" y="100"/>
                  </a:cubicBezTo>
                  <a:cubicBezTo>
                    <a:pt x="143" y="105"/>
                    <a:pt x="145" y="112"/>
                    <a:pt x="145" y="119"/>
                  </a:cubicBezTo>
                  <a:cubicBezTo>
                    <a:pt x="145" y="126"/>
                    <a:pt x="143" y="133"/>
                    <a:pt x="138" y="138"/>
                  </a:cubicBezTo>
                  <a:cubicBezTo>
                    <a:pt x="132" y="143"/>
                    <a:pt x="126" y="146"/>
                    <a:pt x="119" y="146"/>
                  </a:cubicBezTo>
                  <a:close/>
                  <a:moveTo>
                    <a:pt x="15" y="36"/>
                  </a:moveTo>
                  <a:cubicBezTo>
                    <a:pt x="109" y="129"/>
                    <a:pt x="109" y="129"/>
                    <a:pt x="109" y="129"/>
                  </a:cubicBezTo>
                  <a:cubicBezTo>
                    <a:pt x="109" y="129"/>
                    <a:pt x="109" y="129"/>
                    <a:pt x="109" y="129"/>
                  </a:cubicBezTo>
                  <a:cubicBezTo>
                    <a:pt x="114" y="135"/>
                    <a:pt x="123" y="135"/>
                    <a:pt x="129" y="129"/>
                  </a:cubicBezTo>
                  <a:cubicBezTo>
                    <a:pt x="132" y="126"/>
                    <a:pt x="133" y="123"/>
                    <a:pt x="133" y="119"/>
                  </a:cubicBezTo>
                  <a:cubicBezTo>
                    <a:pt x="133" y="115"/>
                    <a:pt x="132" y="112"/>
                    <a:pt x="129" y="109"/>
                  </a:cubicBezTo>
                  <a:cubicBezTo>
                    <a:pt x="36" y="16"/>
                    <a:pt x="36" y="16"/>
                    <a:pt x="36" y="16"/>
                  </a:cubicBezTo>
                  <a:lnTo>
                    <a:pt x="15" y="3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85" name="Google Shape;965;p13">
              <a:extLst>
                <a:ext uri="{FF2B5EF4-FFF2-40B4-BE49-F238E27FC236}">
                  <a16:creationId xmlns:a16="http://schemas.microsoft.com/office/drawing/2014/main" id="{52DB2C61-B8B2-DC65-1518-9655883DB382}"/>
                </a:ext>
              </a:extLst>
            </p:cNvPr>
            <p:cNvSpPr/>
            <p:nvPr/>
          </p:nvSpPr>
          <p:spPr>
            <a:xfrm>
              <a:off x="8806244" y="2534793"/>
              <a:ext cx="105388" cy="105386"/>
            </a:xfrm>
            <a:custGeom>
              <a:avLst/>
              <a:gdLst/>
              <a:ahLst/>
              <a:cxnLst/>
              <a:rect l="l" t="t" r="r" b="b"/>
              <a:pathLst>
                <a:path w="99" h="100" extrusionOk="0">
                  <a:moveTo>
                    <a:pt x="6" y="100"/>
                  </a:moveTo>
                  <a:cubicBezTo>
                    <a:pt x="3" y="100"/>
                    <a:pt x="0" y="97"/>
                    <a:pt x="0" y="94"/>
                  </a:cubicBezTo>
                  <a:cubicBezTo>
                    <a:pt x="0" y="42"/>
                    <a:pt x="42" y="0"/>
                    <a:pt x="93" y="0"/>
                  </a:cubicBezTo>
                  <a:cubicBezTo>
                    <a:pt x="97" y="0"/>
                    <a:pt x="99" y="3"/>
                    <a:pt x="99" y="6"/>
                  </a:cubicBezTo>
                  <a:cubicBezTo>
                    <a:pt x="99" y="10"/>
                    <a:pt x="97" y="12"/>
                    <a:pt x="93" y="12"/>
                  </a:cubicBezTo>
                  <a:cubicBezTo>
                    <a:pt x="48" y="12"/>
                    <a:pt x="12" y="49"/>
                    <a:pt x="12" y="94"/>
                  </a:cubicBezTo>
                  <a:cubicBezTo>
                    <a:pt x="12" y="97"/>
                    <a:pt x="9" y="100"/>
                    <a:pt x="6" y="10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2F29239C-2092-75FC-F10E-65BE355FDAEB}"/>
              </a:ext>
            </a:extLst>
          </p:cNvPr>
          <p:cNvGrpSpPr/>
          <p:nvPr/>
        </p:nvGrpSpPr>
        <p:grpSpPr>
          <a:xfrm>
            <a:off x="4819029" y="2241774"/>
            <a:ext cx="444931" cy="338010"/>
            <a:chOff x="4836129" y="2500040"/>
            <a:chExt cx="463076" cy="351794"/>
          </a:xfrm>
        </p:grpSpPr>
        <p:sp>
          <p:nvSpPr>
            <p:cNvPr id="75" name="Google Shape;967;p13">
              <a:extLst>
                <a:ext uri="{FF2B5EF4-FFF2-40B4-BE49-F238E27FC236}">
                  <a16:creationId xmlns:a16="http://schemas.microsoft.com/office/drawing/2014/main" id="{90B6006A-9002-482C-4920-7F9672296FCE}"/>
                </a:ext>
              </a:extLst>
            </p:cNvPr>
            <p:cNvSpPr/>
            <p:nvPr/>
          </p:nvSpPr>
          <p:spPr>
            <a:xfrm>
              <a:off x="4986897" y="2500040"/>
              <a:ext cx="157949" cy="53848"/>
            </a:xfrm>
            <a:custGeom>
              <a:avLst/>
              <a:gdLst/>
              <a:ahLst/>
              <a:cxnLst/>
              <a:rect l="l" t="t" r="r" b="b"/>
              <a:pathLst>
                <a:path w="158" h="54" extrusionOk="0">
                  <a:moveTo>
                    <a:pt x="151" y="54"/>
                  </a:moveTo>
                  <a:cubicBezTo>
                    <a:pt x="8" y="54"/>
                    <a:pt x="8" y="54"/>
                    <a:pt x="8" y="54"/>
                  </a:cubicBezTo>
                  <a:cubicBezTo>
                    <a:pt x="4" y="54"/>
                    <a:pt x="0" y="51"/>
                    <a:pt x="0" y="47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2"/>
                    <a:pt x="13" y="0"/>
                    <a:pt x="29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45" y="0"/>
                    <a:pt x="158" y="12"/>
                    <a:pt x="158" y="28"/>
                  </a:cubicBezTo>
                  <a:cubicBezTo>
                    <a:pt x="158" y="47"/>
                    <a:pt x="158" y="47"/>
                    <a:pt x="158" y="47"/>
                  </a:cubicBezTo>
                  <a:cubicBezTo>
                    <a:pt x="158" y="51"/>
                    <a:pt x="155" y="54"/>
                    <a:pt x="151" y="54"/>
                  </a:cubicBezTo>
                  <a:close/>
                  <a:moveTo>
                    <a:pt x="15" y="40"/>
                  </a:moveTo>
                  <a:cubicBezTo>
                    <a:pt x="143" y="40"/>
                    <a:pt x="143" y="40"/>
                    <a:pt x="143" y="40"/>
                  </a:cubicBezTo>
                  <a:cubicBezTo>
                    <a:pt x="143" y="28"/>
                    <a:pt x="143" y="28"/>
                    <a:pt x="143" y="28"/>
                  </a:cubicBezTo>
                  <a:cubicBezTo>
                    <a:pt x="143" y="20"/>
                    <a:pt x="137" y="14"/>
                    <a:pt x="129" y="14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21" y="14"/>
                    <a:pt x="15" y="20"/>
                    <a:pt x="15" y="28"/>
                  </a:cubicBezTo>
                  <a:lnTo>
                    <a:pt x="15" y="4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76" name="Google Shape;968;p13">
              <a:extLst>
                <a:ext uri="{FF2B5EF4-FFF2-40B4-BE49-F238E27FC236}">
                  <a16:creationId xmlns:a16="http://schemas.microsoft.com/office/drawing/2014/main" id="{8BBE826D-9FD0-5D7B-9285-530E0AA20C67}"/>
                </a:ext>
              </a:extLst>
            </p:cNvPr>
            <p:cNvSpPr/>
            <p:nvPr/>
          </p:nvSpPr>
          <p:spPr>
            <a:xfrm>
              <a:off x="4854078" y="2679527"/>
              <a:ext cx="423588" cy="172307"/>
            </a:xfrm>
            <a:custGeom>
              <a:avLst/>
              <a:gdLst/>
              <a:ahLst/>
              <a:cxnLst/>
              <a:rect l="l" t="t" r="r" b="b"/>
              <a:pathLst>
                <a:path w="428" h="174" extrusionOk="0">
                  <a:moveTo>
                    <a:pt x="399" y="174"/>
                  </a:moveTo>
                  <a:cubicBezTo>
                    <a:pt x="30" y="174"/>
                    <a:pt x="30" y="174"/>
                    <a:pt x="30" y="174"/>
                  </a:cubicBezTo>
                  <a:cubicBezTo>
                    <a:pt x="13" y="174"/>
                    <a:pt x="0" y="160"/>
                    <a:pt x="0" y="144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6"/>
                    <a:pt x="1" y="4"/>
                    <a:pt x="2" y="2"/>
                  </a:cubicBezTo>
                  <a:cubicBezTo>
                    <a:pt x="4" y="1"/>
                    <a:pt x="6" y="0"/>
                    <a:pt x="8" y="1"/>
                  </a:cubicBezTo>
                  <a:cubicBezTo>
                    <a:pt x="92" y="17"/>
                    <a:pt x="92" y="17"/>
                    <a:pt x="92" y="17"/>
                  </a:cubicBezTo>
                  <a:cubicBezTo>
                    <a:pt x="96" y="17"/>
                    <a:pt x="98" y="20"/>
                    <a:pt x="98" y="24"/>
                  </a:cubicBezTo>
                  <a:cubicBezTo>
                    <a:pt x="98" y="63"/>
                    <a:pt x="98" y="63"/>
                    <a:pt x="98" y="63"/>
                  </a:cubicBezTo>
                  <a:cubicBezTo>
                    <a:pt x="124" y="63"/>
                    <a:pt x="124" y="63"/>
                    <a:pt x="124" y="63"/>
                  </a:cubicBezTo>
                  <a:cubicBezTo>
                    <a:pt x="124" y="31"/>
                    <a:pt x="124" y="31"/>
                    <a:pt x="124" y="31"/>
                  </a:cubicBezTo>
                  <a:cubicBezTo>
                    <a:pt x="124" y="29"/>
                    <a:pt x="125" y="27"/>
                    <a:pt x="127" y="26"/>
                  </a:cubicBezTo>
                  <a:cubicBezTo>
                    <a:pt x="128" y="24"/>
                    <a:pt x="131" y="24"/>
                    <a:pt x="133" y="24"/>
                  </a:cubicBezTo>
                  <a:cubicBezTo>
                    <a:pt x="214" y="39"/>
                    <a:pt x="214" y="39"/>
                    <a:pt x="214" y="39"/>
                  </a:cubicBezTo>
                  <a:cubicBezTo>
                    <a:pt x="295" y="24"/>
                    <a:pt x="295" y="24"/>
                    <a:pt x="295" y="24"/>
                  </a:cubicBezTo>
                  <a:cubicBezTo>
                    <a:pt x="297" y="24"/>
                    <a:pt x="300" y="24"/>
                    <a:pt x="301" y="26"/>
                  </a:cubicBezTo>
                  <a:cubicBezTo>
                    <a:pt x="303" y="27"/>
                    <a:pt x="304" y="29"/>
                    <a:pt x="304" y="31"/>
                  </a:cubicBezTo>
                  <a:cubicBezTo>
                    <a:pt x="304" y="63"/>
                    <a:pt x="304" y="63"/>
                    <a:pt x="304" y="63"/>
                  </a:cubicBezTo>
                  <a:cubicBezTo>
                    <a:pt x="330" y="63"/>
                    <a:pt x="330" y="63"/>
                    <a:pt x="330" y="63"/>
                  </a:cubicBezTo>
                  <a:cubicBezTo>
                    <a:pt x="330" y="24"/>
                    <a:pt x="330" y="24"/>
                    <a:pt x="330" y="24"/>
                  </a:cubicBezTo>
                  <a:cubicBezTo>
                    <a:pt x="330" y="20"/>
                    <a:pt x="332" y="17"/>
                    <a:pt x="336" y="17"/>
                  </a:cubicBezTo>
                  <a:cubicBezTo>
                    <a:pt x="420" y="1"/>
                    <a:pt x="420" y="1"/>
                    <a:pt x="420" y="1"/>
                  </a:cubicBezTo>
                  <a:cubicBezTo>
                    <a:pt x="422" y="0"/>
                    <a:pt x="424" y="1"/>
                    <a:pt x="426" y="2"/>
                  </a:cubicBezTo>
                  <a:cubicBezTo>
                    <a:pt x="428" y="4"/>
                    <a:pt x="428" y="6"/>
                    <a:pt x="428" y="8"/>
                  </a:cubicBezTo>
                  <a:cubicBezTo>
                    <a:pt x="428" y="144"/>
                    <a:pt x="428" y="144"/>
                    <a:pt x="428" y="144"/>
                  </a:cubicBezTo>
                  <a:cubicBezTo>
                    <a:pt x="428" y="160"/>
                    <a:pt x="415" y="174"/>
                    <a:pt x="399" y="174"/>
                  </a:cubicBezTo>
                  <a:close/>
                  <a:moveTo>
                    <a:pt x="14" y="17"/>
                  </a:moveTo>
                  <a:cubicBezTo>
                    <a:pt x="14" y="144"/>
                    <a:pt x="14" y="144"/>
                    <a:pt x="14" y="144"/>
                  </a:cubicBezTo>
                  <a:cubicBezTo>
                    <a:pt x="14" y="152"/>
                    <a:pt x="21" y="159"/>
                    <a:pt x="30" y="159"/>
                  </a:cubicBezTo>
                  <a:cubicBezTo>
                    <a:pt x="399" y="159"/>
                    <a:pt x="399" y="159"/>
                    <a:pt x="399" y="159"/>
                  </a:cubicBezTo>
                  <a:cubicBezTo>
                    <a:pt x="407" y="159"/>
                    <a:pt x="414" y="152"/>
                    <a:pt x="414" y="144"/>
                  </a:cubicBezTo>
                  <a:cubicBezTo>
                    <a:pt x="414" y="17"/>
                    <a:pt x="414" y="17"/>
                    <a:pt x="414" y="17"/>
                  </a:cubicBezTo>
                  <a:cubicBezTo>
                    <a:pt x="344" y="30"/>
                    <a:pt x="344" y="30"/>
                    <a:pt x="344" y="30"/>
                  </a:cubicBezTo>
                  <a:cubicBezTo>
                    <a:pt x="344" y="70"/>
                    <a:pt x="344" y="70"/>
                    <a:pt x="344" y="70"/>
                  </a:cubicBezTo>
                  <a:cubicBezTo>
                    <a:pt x="344" y="74"/>
                    <a:pt x="341" y="77"/>
                    <a:pt x="337" y="77"/>
                  </a:cubicBezTo>
                  <a:cubicBezTo>
                    <a:pt x="297" y="77"/>
                    <a:pt x="297" y="77"/>
                    <a:pt x="297" y="77"/>
                  </a:cubicBezTo>
                  <a:cubicBezTo>
                    <a:pt x="293" y="77"/>
                    <a:pt x="289" y="74"/>
                    <a:pt x="289" y="70"/>
                  </a:cubicBezTo>
                  <a:cubicBezTo>
                    <a:pt x="289" y="40"/>
                    <a:pt x="289" y="40"/>
                    <a:pt x="289" y="40"/>
                  </a:cubicBezTo>
                  <a:cubicBezTo>
                    <a:pt x="215" y="54"/>
                    <a:pt x="215" y="54"/>
                    <a:pt x="215" y="54"/>
                  </a:cubicBezTo>
                  <a:cubicBezTo>
                    <a:pt x="214" y="54"/>
                    <a:pt x="214" y="54"/>
                    <a:pt x="213" y="54"/>
                  </a:cubicBezTo>
                  <a:cubicBezTo>
                    <a:pt x="139" y="40"/>
                    <a:pt x="139" y="40"/>
                    <a:pt x="139" y="40"/>
                  </a:cubicBezTo>
                  <a:cubicBezTo>
                    <a:pt x="139" y="70"/>
                    <a:pt x="139" y="70"/>
                    <a:pt x="139" y="70"/>
                  </a:cubicBezTo>
                  <a:cubicBezTo>
                    <a:pt x="139" y="74"/>
                    <a:pt x="135" y="77"/>
                    <a:pt x="131" y="77"/>
                  </a:cubicBezTo>
                  <a:cubicBezTo>
                    <a:pt x="91" y="77"/>
                    <a:pt x="91" y="77"/>
                    <a:pt x="91" y="77"/>
                  </a:cubicBezTo>
                  <a:cubicBezTo>
                    <a:pt x="87" y="77"/>
                    <a:pt x="84" y="74"/>
                    <a:pt x="84" y="70"/>
                  </a:cubicBezTo>
                  <a:cubicBezTo>
                    <a:pt x="84" y="30"/>
                    <a:pt x="84" y="30"/>
                    <a:pt x="84" y="30"/>
                  </a:cubicBezTo>
                  <a:lnTo>
                    <a:pt x="14" y="17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77" name="Google Shape;969;p13">
              <a:extLst>
                <a:ext uri="{FF2B5EF4-FFF2-40B4-BE49-F238E27FC236}">
                  <a16:creationId xmlns:a16="http://schemas.microsoft.com/office/drawing/2014/main" id="{6838D6B8-5653-62B6-D376-91DCC9BAAA77}"/>
                </a:ext>
              </a:extLst>
            </p:cNvPr>
            <p:cNvSpPr/>
            <p:nvPr/>
          </p:nvSpPr>
          <p:spPr>
            <a:xfrm>
              <a:off x="4836129" y="2539527"/>
              <a:ext cx="463076" cy="193846"/>
            </a:xfrm>
            <a:custGeom>
              <a:avLst/>
              <a:gdLst/>
              <a:ahLst/>
              <a:cxnLst/>
              <a:rect l="l" t="t" r="r" b="b"/>
              <a:pathLst>
                <a:path w="466" h="196" extrusionOk="0">
                  <a:moveTo>
                    <a:pt x="233" y="196"/>
                  </a:moveTo>
                  <a:cubicBezTo>
                    <a:pt x="233" y="196"/>
                    <a:pt x="232" y="196"/>
                    <a:pt x="232" y="196"/>
                  </a:cubicBezTo>
                  <a:cubicBezTo>
                    <a:pt x="149" y="180"/>
                    <a:pt x="149" y="180"/>
                    <a:pt x="149" y="180"/>
                  </a:cubicBezTo>
                  <a:cubicBezTo>
                    <a:pt x="146" y="180"/>
                    <a:pt x="143" y="177"/>
                    <a:pt x="143" y="173"/>
                  </a:cubicBezTo>
                  <a:cubicBezTo>
                    <a:pt x="143" y="142"/>
                    <a:pt x="143" y="142"/>
                    <a:pt x="143" y="142"/>
                  </a:cubicBezTo>
                  <a:cubicBezTo>
                    <a:pt x="117" y="142"/>
                    <a:pt x="117" y="142"/>
                    <a:pt x="117" y="142"/>
                  </a:cubicBezTo>
                  <a:cubicBezTo>
                    <a:pt x="117" y="166"/>
                    <a:pt x="117" y="166"/>
                    <a:pt x="117" y="166"/>
                  </a:cubicBezTo>
                  <a:cubicBezTo>
                    <a:pt x="117" y="168"/>
                    <a:pt x="116" y="170"/>
                    <a:pt x="115" y="171"/>
                  </a:cubicBezTo>
                  <a:cubicBezTo>
                    <a:pt x="113" y="173"/>
                    <a:pt x="111" y="173"/>
                    <a:pt x="109" y="173"/>
                  </a:cubicBezTo>
                  <a:cubicBezTo>
                    <a:pt x="25" y="157"/>
                    <a:pt x="25" y="157"/>
                    <a:pt x="25" y="157"/>
                  </a:cubicBezTo>
                  <a:cubicBezTo>
                    <a:pt x="10" y="154"/>
                    <a:pt x="0" y="142"/>
                    <a:pt x="0" y="128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3"/>
                    <a:pt x="14" y="0"/>
                    <a:pt x="30" y="0"/>
                  </a:cubicBezTo>
                  <a:cubicBezTo>
                    <a:pt x="436" y="0"/>
                    <a:pt x="436" y="0"/>
                    <a:pt x="436" y="0"/>
                  </a:cubicBezTo>
                  <a:cubicBezTo>
                    <a:pt x="453" y="0"/>
                    <a:pt x="466" y="13"/>
                    <a:pt x="466" y="30"/>
                  </a:cubicBezTo>
                  <a:cubicBezTo>
                    <a:pt x="466" y="128"/>
                    <a:pt x="466" y="128"/>
                    <a:pt x="466" y="128"/>
                  </a:cubicBezTo>
                  <a:cubicBezTo>
                    <a:pt x="466" y="142"/>
                    <a:pt x="456" y="154"/>
                    <a:pt x="442" y="157"/>
                  </a:cubicBezTo>
                  <a:cubicBezTo>
                    <a:pt x="357" y="173"/>
                    <a:pt x="357" y="173"/>
                    <a:pt x="357" y="173"/>
                  </a:cubicBezTo>
                  <a:cubicBezTo>
                    <a:pt x="355" y="173"/>
                    <a:pt x="353" y="173"/>
                    <a:pt x="351" y="171"/>
                  </a:cubicBezTo>
                  <a:cubicBezTo>
                    <a:pt x="350" y="170"/>
                    <a:pt x="349" y="168"/>
                    <a:pt x="349" y="166"/>
                  </a:cubicBezTo>
                  <a:cubicBezTo>
                    <a:pt x="349" y="142"/>
                    <a:pt x="349" y="142"/>
                    <a:pt x="349" y="142"/>
                  </a:cubicBezTo>
                  <a:cubicBezTo>
                    <a:pt x="323" y="142"/>
                    <a:pt x="323" y="142"/>
                    <a:pt x="323" y="142"/>
                  </a:cubicBezTo>
                  <a:cubicBezTo>
                    <a:pt x="323" y="173"/>
                    <a:pt x="323" y="173"/>
                    <a:pt x="323" y="173"/>
                  </a:cubicBezTo>
                  <a:cubicBezTo>
                    <a:pt x="323" y="177"/>
                    <a:pt x="320" y="180"/>
                    <a:pt x="317" y="180"/>
                  </a:cubicBezTo>
                  <a:cubicBezTo>
                    <a:pt x="234" y="196"/>
                    <a:pt x="234" y="196"/>
                    <a:pt x="234" y="196"/>
                  </a:cubicBezTo>
                  <a:cubicBezTo>
                    <a:pt x="234" y="196"/>
                    <a:pt x="233" y="196"/>
                    <a:pt x="233" y="196"/>
                  </a:cubicBezTo>
                  <a:close/>
                  <a:moveTo>
                    <a:pt x="158" y="167"/>
                  </a:moveTo>
                  <a:cubicBezTo>
                    <a:pt x="233" y="181"/>
                    <a:pt x="233" y="181"/>
                    <a:pt x="233" y="181"/>
                  </a:cubicBezTo>
                  <a:cubicBezTo>
                    <a:pt x="308" y="167"/>
                    <a:pt x="308" y="167"/>
                    <a:pt x="308" y="167"/>
                  </a:cubicBezTo>
                  <a:cubicBezTo>
                    <a:pt x="308" y="135"/>
                    <a:pt x="308" y="135"/>
                    <a:pt x="308" y="135"/>
                  </a:cubicBezTo>
                  <a:cubicBezTo>
                    <a:pt x="308" y="131"/>
                    <a:pt x="312" y="127"/>
                    <a:pt x="316" y="127"/>
                  </a:cubicBezTo>
                  <a:cubicBezTo>
                    <a:pt x="356" y="127"/>
                    <a:pt x="356" y="127"/>
                    <a:pt x="356" y="127"/>
                  </a:cubicBezTo>
                  <a:cubicBezTo>
                    <a:pt x="360" y="127"/>
                    <a:pt x="363" y="131"/>
                    <a:pt x="363" y="135"/>
                  </a:cubicBezTo>
                  <a:cubicBezTo>
                    <a:pt x="363" y="157"/>
                    <a:pt x="363" y="157"/>
                    <a:pt x="363" y="157"/>
                  </a:cubicBezTo>
                  <a:cubicBezTo>
                    <a:pt x="439" y="143"/>
                    <a:pt x="439" y="143"/>
                    <a:pt x="439" y="143"/>
                  </a:cubicBezTo>
                  <a:cubicBezTo>
                    <a:pt x="446" y="142"/>
                    <a:pt x="451" y="135"/>
                    <a:pt x="451" y="128"/>
                  </a:cubicBezTo>
                  <a:cubicBezTo>
                    <a:pt x="451" y="30"/>
                    <a:pt x="451" y="30"/>
                    <a:pt x="451" y="30"/>
                  </a:cubicBezTo>
                  <a:cubicBezTo>
                    <a:pt x="451" y="21"/>
                    <a:pt x="445" y="14"/>
                    <a:pt x="436" y="14"/>
                  </a:cubicBezTo>
                  <a:cubicBezTo>
                    <a:pt x="30" y="14"/>
                    <a:pt x="30" y="14"/>
                    <a:pt x="30" y="14"/>
                  </a:cubicBezTo>
                  <a:cubicBezTo>
                    <a:pt x="22" y="14"/>
                    <a:pt x="15" y="21"/>
                    <a:pt x="15" y="30"/>
                  </a:cubicBezTo>
                  <a:cubicBezTo>
                    <a:pt x="15" y="128"/>
                    <a:pt x="15" y="128"/>
                    <a:pt x="15" y="128"/>
                  </a:cubicBezTo>
                  <a:cubicBezTo>
                    <a:pt x="15" y="135"/>
                    <a:pt x="20" y="142"/>
                    <a:pt x="27" y="143"/>
                  </a:cubicBezTo>
                  <a:cubicBezTo>
                    <a:pt x="103" y="157"/>
                    <a:pt x="103" y="157"/>
                    <a:pt x="103" y="157"/>
                  </a:cubicBezTo>
                  <a:cubicBezTo>
                    <a:pt x="103" y="135"/>
                    <a:pt x="103" y="135"/>
                    <a:pt x="103" y="135"/>
                  </a:cubicBezTo>
                  <a:cubicBezTo>
                    <a:pt x="103" y="131"/>
                    <a:pt x="106" y="127"/>
                    <a:pt x="110" y="127"/>
                  </a:cubicBezTo>
                  <a:cubicBezTo>
                    <a:pt x="150" y="127"/>
                    <a:pt x="150" y="127"/>
                    <a:pt x="150" y="127"/>
                  </a:cubicBezTo>
                  <a:cubicBezTo>
                    <a:pt x="154" y="127"/>
                    <a:pt x="158" y="131"/>
                    <a:pt x="158" y="135"/>
                  </a:cubicBezTo>
                  <a:lnTo>
                    <a:pt x="158" y="167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78" name="Google Shape;970;p13">
              <a:extLst>
                <a:ext uri="{FF2B5EF4-FFF2-40B4-BE49-F238E27FC236}">
                  <a16:creationId xmlns:a16="http://schemas.microsoft.com/office/drawing/2014/main" id="{C0895DE8-545F-8C64-E41A-E11F279E2B65}"/>
                </a:ext>
              </a:extLst>
            </p:cNvPr>
            <p:cNvSpPr/>
            <p:nvPr/>
          </p:nvSpPr>
          <p:spPr>
            <a:xfrm>
              <a:off x="5058693" y="2701066"/>
              <a:ext cx="96925" cy="32309"/>
            </a:xfrm>
            <a:custGeom>
              <a:avLst/>
              <a:gdLst/>
              <a:ahLst/>
              <a:cxnLst/>
              <a:rect l="l" t="t" r="r" b="b"/>
              <a:pathLst>
                <a:path w="98" h="31" extrusionOk="0">
                  <a:moveTo>
                    <a:pt x="8" y="31"/>
                  </a:moveTo>
                  <a:cubicBezTo>
                    <a:pt x="5" y="31"/>
                    <a:pt x="2" y="29"/>
                    <a:pt x="1" y="25"/>
                  </a:cubicBezTo>
                  <a:cubicBezTo>
                    <a:pt x="0" y="21"/>
                    <a:pt x="3" y="17"/>
                    <a:pt x="7" y="17"/>
                  </a:cubicBezTo>
                  <a:cubicBezTo>
                    <a:pt x="89" y="1"/>
                    <a:pt x="89" y="1"/>
                    <a:pt x="89" y="1"/>
                  </a:cubicBezTo>
                  <a:cubicBezTo>
                    <a:pt x="93" y="0"/>
                    <a:pt x="97" y="3"/>
                    <a:pt x="98" y="7"/>
                  </a:cubicBezTo>
                  <a:cubicBezTo>
                    <a:pt x="98" y="7"/>
                    <a:pt x="98" y="8"/>
                    <a:pt x="98" y="8"/>
                  </a:cubicBezTo>
                  <a:cubicBezTo>
                    <a:pt x="98" y="11"/>
                    <a:pt x="96" y="14"/>
                    <a:pt x="93" y="15"/>
                  </a:cubicBezTo>
                  <a:cubicBezTo>
                    <a:pt x="93" y="15"/>
                    <a:pt x="93" y="15"/>
                    <a:pt x="93" y="15"/>
                  </a:cubicBezTo>
                  <a:cubicBezTo>
                    <a:pt x="93" y="15"/>
                    <a:pt x="92" y="15"/>
                    <a:pt x="92" y="15"/>
                  </a:cubicBezTo>
                  <a:cubicBezTo>
                    <a:pt x="9" y="31"/>
                    <a:pt x="9" y="31"/>
                    <a:pt x="9" y="31"/>
                  </a:cubicBezTo>
                  <a:cubicBezTo>
                    <a:pt x="9" y="31"/>
                    <a:pt x="8" y="31"/>
                    <a:pt x="8" y="3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79" name="Google Shape;971;p13">
              <a:extLst>
                <a:ext uri="{FF2B5EF4-FFF2-40B4-BE49-F238E27FC236}">
                  <a16:creationId xmlns:a16="http://schemas.microsoft.com/office/drawing/2014/main" id="{35F89F09-2043-1003-1195-B6849EF8C9D0}"/>
                </a:ext>
              </a:extLst>
            </p:cNvPr>
            <p:cNvSpPr/>
            <p:nvPr/>
          </p:nvSpPr>
          <p:spPr>
            <a:xfrm>
              <a:off x="4854078" y="2679527"/>
              <a:ext cx="96925" cy="32309"/>
            </a:xfrm>
            <a:custGeom>
              <a:avLst/>
              <a:gdLst/>
              <a:ahLst/>
              <a:cxnLst/>
              <a:rect l="l" t="t" r="r" b="b"/>
              <a:pathLst>
                <a:path w="98" h="31" extrusionOk="0">
                  <a:moveTo>
                    <a:pt x="91" y="31"/>
                  </a:moveTo>
                  <a:cubicBezTo>
                    <a:pt x="91" y="31"/>
                    <a:pt x="90" y="31"/>
                    <a:pt x="90" y="31"/>
                  </a:cubicBezTo>
                  <a:cubicBezTo>
                    <a:pt x="90" y="31"/>
                    <a:pt x="90" y="31"/>
                    <a:pt x="90" y="31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2" y="14"/>
                    <a:pt x="0" y="11"/>
                    <a:pt x="0" y="8"/>
                  </a:cubicBezTo>
                  <a:cubicBezTo>
                    <a:pt x="0" y="8"/>
                    <a:pt x="0" y="7"/>
                    <a:pt x="0" y="7"/>
                  </a:cubicBezTo>
                  <a:cubicBezTo>
                    <a:pt x="0" y="3"/>
                    <a:pt x="4" y="0"/>
                    <a:pt x="8" y="1"/>
                  </a:cubicBezTo>
                  <a:cubicBezTo>
                    <a:pt x="92" y="17"/>
                    <a:pt x="92" y="17"/>
                    <a:pt x="92" y="17"/>
                  </a:cubicBezTo>
                  <a:cubicBezTo>
                    <a:pt x="93" y="17"/>
                    <a:pt x="93" y="17"/>
                    <a:pt x="94" y="17"/>
                  </a:cubicBezTo>
                  <a:cubicBezTo>
                    <a:pt x="96" y="18"/>
                    <a:pt x="98" y="21"/>
                    <a:pt x="98" y="24"/>
                  </a:cubicBezTo>
                  <a:cubicBezTo>
                    <a:pt x="98" y="24"/>
                    <a:pt x="98" y="25"/>
                    <a:pt x="98" y="25"/>
                  </a:cubicBezTo>
                  <a:cubicBezTo>
                    <a:pt x="98" y="25"/>
                    <a:pt x="98" y="25"/>
                    <a:pt x="98" y="25"/>
                  </a:cubicBezTo>
                  <a:cubicBezTo>
                    <a:pt x="98" y="28"/>
                    <a:pt x="96" y="29"/>
                    <a:pt x="94" y="30"/>
                  </a:cubicBezTo>
                  <a:cubicBezTo>
                    <a:pt x="94" y="30"/>
                    <a:pt x="94" y="30"/>
                    <a:pt x="94" y="30"/>
                  </a:cubicBezTo>
                  <a:cubicBezTo>
                    <a:pt x="94" y="30"/>
                    <a:pt x="94" y="30"/>
                    <a:pt x="94" y="30"/>
                  </a:cubicBezTo>
                  <a:cubicBezTo>
                    <a:pt x="93" y="31"/>
                    <a:pt x="92" y="31"/>
                    <a:pt x="91" y="3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80" name="Google Shape;972;p13">
              <a:extLst>
                <a:ext uri="{FF2B5EF4-FFF2-40B4-BE49-F238E27FC236}">
                  <a16:creationId xmlns:a16="http://schemas.microsoft.com/office/drawing/2014/main" id="{4B7E4AC8-BE2A-7B81-9CBE-10EA77168053}"/>
                </a:ext>
              </a:extLst>
            </p:cNvPr>
            <p:cNvSpPr/>
            <p:nvPr/>
          </p:nvSpPr>
          <p:spPr>
            <a:xfrm>
              <a:off x="4976129" y="2701066"/>
              <a:ext cx="96925" cy="32309"/>
            </a:xfrm>
            <a:custGeom>
              <a:avLst/>
              <a:gdLst/>
              <a:ahLst/>
              <a:cxnLst/>
              <a:rect l="l" t="t" r="r" b="b"/>
              <a:pathLst>
                <a:path w="97" h="31" extrusionOk="0">
                  <a:moveTo>
                    <a:pt x="90" y="31"/>
                  </a:moveTo>
                  <a:cubicBezTo>
                    <a:pt x="90" y="31"/>
                    <a:pt x="89" y="31"/>
                    <a:pt x="89" y="31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3" y="15"/>
                    <a:pt x="0" y="12"/>
                    <a:pt x="0" y="8"/>
                  </a:cubicBezTo>
                  <a:cubicBezTo>
                    <a:pt x="0" y="8"/>
                    <a:pt x="0" y="7"/>
                    <a:pt x="0" y="7"/>
                  </a:cubicBezTo>
                  <a:cubicBezTo>
                    <a:pt x="1" y="3"/>
                    <a:pt x="5" y="0"/>
                    <a:pt x="9" y="1"/>
                  </a:cubicBezTo>
                  <a:cubicBezTo>
                    <a:pt x="91" y="17"/>
                    <a:pt x="91" y="17"/>
                    <a:pt x="91" y="17"/>
                  </a:cubicBezTo>
                  <a:cubicBezTo>
                    <a:pt x="95" y="17"/>
                    <a:pt x="97" y="20"/>
                    <a:pt x="97" y="24"/>
                  </a:cubicBezTo>
                  <a:cubicBezTo>
                    <a:pt x="97" y="24"/>
                    <a:pt x="97" y="25"/>
                    <a:pt x="97" y="25"/>
                  </a:cubicBezTo>
                  <a:cubicBezTo>
                    <a:pt x="97" y="29"/>
                    <a:pt x="93" y="31"/>
                    <a:pt x="90" y="3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81" name="Google Shape;973;p13">
              <a:extLst>
                <a:ext uri="{FF2B5EF4-FFF2-40B4-BE49-F238E27FC236}">
                  <a16:creationId xmlns:a16="http://schemas.microsoft.com/office/drawing/2014/main" id="{0546D55A-E869-3433-761B-D8587FBE7F17}"/>
                </a:ext>
              </a:extLst>
            </p:cNvPr>
            <p:cNvSpPr/>
            <p:nvPr/>
          </p:nvSpPr>
          <p:spPr>
            <a:xfrm>
              <a:off x="5180743" y="2679527"/>
              <a:ext cx="100513" cy="32309"/>
            </a:xfrm>
            <a:custGeom>
              <a:avLst/>
              <a:gdLst/>
              <a:ahLst/>
              <a:cxnLst/>
              <a:rect l="l" t="t" r="r" b="b"/>
              <a:pathLst>
                <a:path w="100" h="31" extrusionOk="0">
                  <a:moveTo>
                    <a:pt x="8" y="31"/>
                  </a:moveTo>
                  <a:cubicBezTo>
                    <a:pt x="5" y="31"/>
                    <a:pt x="1" y="29"/>
                    <a:pt x="1" y="25"/>
                  </a:cubicBezTo>
                  <a:cubicBezTo>
                    <a:pt x="0" y="21"/>
                    <a:pt x="3" y="17"/>
                    <a:pt x="7" y="17"/>
                  </a:cubicBezTo>
                  <a:cubicBezTo>
                    <a:pt x="91" y="1"/>
                    <a:pt x="91" y="1"/>
                    <a:pt x="91" y="1"/>
                  </a:cubicBezTo>
                  <a:cubicBezTo>
                    <a:pt x="95" y="0"/>
                    <a:pt x="99" y="3"/>
                    <a:pt x="99" y="7"/>
                  </a:cubicBezTo>
                  <a:cubicBezTo>
                    <a:pt x="99" y="7"/>
                    <a:pt x="100" y="8"/>
                    <a:pt x="99" y="8"/>
                  </a:cubicBezTo>
                  <a:cubicBezTo>
                    <a:pt x="99" y="12"/>
                    <a:pt x="97" y="15"/>
                    <a:pt x="94" y="15"/>
                  </a:cubicBezTo>
                  <a:cubicBezTo>
                    <a:pt x="9" y="31"/>
                    <a:pt x="9" y="31"/>
                    <a:pt x="9" y="31"/>
                  </a:cubicBezTo>
                  <a:cubicBezTo>
                    <a:pt x="9" y="31"/>
                    <a:pt x="8" y="31"/>
                    <a:pt x="8" y="3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82" name="Google Shape;974;p13">
              <a:extLst>
                <a:ext uri="{FF2B5EF4-FFF2-40B4-BE49-F238E27FC236}">
                  <a16:creationId xmlns:a16="http://schemas.microsoft.com/office/drawing/2014/main" id="{A7B11DA0-B6FC-BACE-E6CD-2D02E6836804}"/>
                </a:ext>
              </a:extLst>
            </p:cNvPr>
            <p:cNvSpPr/>
            <p:nvPr/>
          </p:nvSpPr>
          <p:spPr>
            <a:xfrm>
              <a:off x="4936642" y="2665168"/>
              <a:ext cx="57436" cy="89744"/>
            </a:xfrm>
            <a:custGeom>
              <a:avLst/>
              <a:gdLst/>
              <a:ahLst/>
              <a:cxnLst/>
              <a:rect l="l" t="t" r="r" b="b"/>
              <a:pathLst>
                <a:path w="55" h="92" extrusionOk="0">
                  <a:moveTo>
                    <a:pt x="47" y="92"/>
                  </a:moveTo>
                  <a:cubicBezTo>
                    <a:pt x="7" y="92"/>
                    <a:pt x="7" y="92"/>
                    <a:pt x="7" y="92"/>
                  </a:cubicBezTo>
                  <a:cubicBezTo>
                    <a:pt x="3" y="92"/>
                    <a:pt x="0" y="89"/>
                    <a:pt x="0" y="85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3" y="0"/>
                    <a:pt x="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51" y="0"/>
                    <a:pt x="55" y="4"/>
                    <a:pt x="55" y="8"/>
                  </a:cubicBezTo>
                  <a:cubicBezTo>
                    <a:pt x="55" y="85"/>
                    <a:pt x="55" y="85"/>
                    <a:pt x="55" y="85"/>
                  </a:cubicBezTo>
                  <a:cubicBezTo>
                    <a:pt x="55" y="89"/>
                    <a:pt x="51" y="92"/>
                    <a:pt x="47" y="92"/>
                  </a:cubicBezTo>
                  <a:close/>
                  <a:moveTo>
                    <a:pt x="14" y="78"/>
                  </a:moveTo>
                  <a:cubicBezTo>
                    <a:pt x="40" y="78"/>
                    <a:pt x="40" y="78"/>
                    <a:pt x="40" y="78"/>
                  </a:cubicBezTo>
                  <a:cubicBezTo>
                    <a:pt x="40" y="15"/>
                    <a:pt x="40" y="15"/>
                    <a:pt x="40" y="15"/>
                  </a:cubicBezTo>
                  <a:cubicBezTo>
                    <a:pt x="14" y="15"/>
                    <a:pt x="14" y="15"/>
                    <a:pt x="14" y="15"/>
                  </a:cubicBezTo>
                  <a:lnTo>
                    <a:pt x="14" y="7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</p:grpSp>
      <p:sp>
        <p:nvSpPr>
          <p:cNvPr id="26" name="Google Shape;975;p13">
            <a:extLst>
              <a:ext uri="{FF2B5EF4-FFF2-40B4-BE49-F238E27FC236}">
                <a16:creationId xmlns:a16="http://schemas.microsoft.com/office/drawing/2014/main" id="{7A289C54-36D2-7261-19BF-6563904688C3}"/>
              </a:ext>
            </a:extLst>
          </p:cNvPr>
          <p:cNvSpPr/>
          <p:nvPr/>
        </p:nvSpPr>
        <p:spPr>
          <a:xfrm>
            <a:off x="1308127" y="3926384"/>
            <a:ext cx="2690402" cy="1067268"/>
          </a:xfrm>
          <a:custGeom>
            <a:avLst/>
            <a:gdLst/>
            <a:ahLst/>
            <a:cxnLst/>
            <a:rect l="l" t="t" r="r" b="b"/>
            <a:pathLst>
              <a:path w="2963119" h="1111170" extrusionOk="0">
                <a:moveTo>
                  <a:pt x="77225" y="0"/>
                </a:moveTo>
                <a:lnTo>
                  <a:pt x="2407534" y="0"/>
                </a:lnTo>
                <a:cubicBezTo>
                  <a:pt x="2714375" y="0"/>
                  <a:pt x="2963119" y="248744"/>
                  <a:pt x="2963119" y="555585"/>
                </a:cubicBezTo>
                <a:cubicBezTo>
                  <a:pt x="2963119" y="862426"/>
                  <a:pt x="2714375" y="1111170"/>
                  <a:pt x="2407534" y="1111170"/>
                </a:cubicBezTo>
                <a:lnTo>
                  <a:pt x="77225" y="1111170"/>
                </a:lnTo>
                <a:lnTo>
                  <a:pt x="0" y="1103385"/>
                </a:lnTo>
                <a:lnTo>
                  <a:pt x="0" y="7785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3600" dirty="0"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27" name="Google Shape;976;p13">
            <a:extLst>
              <a:ext uri="{FF2B5EF4-FFF2-40B4-BE49-F238E27FC236}">
                <a16:creationId xmlns:a16="http://schemas.microsoft.com/office/drawing/2014/main" id="{65CEE834-C77D-ED16-C90F-AD1142E9C21C}"/>
              </a:ext>
            </a:extLst>
          </p:cNvPr>
          <p:cNvSpPr/>
          <p:nvPr/>
        </p:nvSpPr>
        <p:spPr>
          <a:xfrm>
            <a:off x="781967" y="3926384"/>
            <a:ext cx="1067268" cy="1067268"/>
          </a:xfrm>
          <a:prstGeom prst="diamond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3600" dirty="0"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28" name="Google Shape;977;p13">
            <a:extLst>
              <a:ext uri="{FF2B5EF4-FFF2-40B4-BE49-F238E27FC236}">
                <a16:creationId xmlns:a16="http://schemas.microsoft.com/office/drawing/2014/main" id="{4927603F-C22E-E127-05EB-E6DA5A70B58C}"/>
              </a:ext>
            </a:extLst>
          </p:cNvPr>
          <p:cNvSpPr txBox="1"/>
          <p:nvPr/>
        </p:nvSpPr>
        <p:spPr>
          <a:xfrm>
            <a:off x="1908467" y="4526093"/>
            <a:ext cx="1738036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chemeClr val="dk1"/>
              </a:buClr>
              <a:buSzPts val="1400"/>
            </a:pPr>
            <a:r>
              <a:rPr lang="en-US" sz="14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400" dirty="0">
              <a:solidFill>
                <a:schemeClr val="tx1">
                  <a:lumMod val="100000"/>
                </a:schemeClr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29" name="Google Shape;978;p13">
            <a:extLst>
              <a:ext uri="{FF2B5EF4-FFF2-40B4-BE49-F238E27FC236}">
                <a16:creationId xmlns:a16="http://schemas.microsoft.com/office/drawing/2014/main" id="{99968170-0635-1E61-1A52-B1D5BDE9BD52}"/>
              </a:ext>
            </a:extLst>
          </p:cNvPr>
          <p:cNvSpPr txBox="1"/>
          <p:nvPr/>
        </p:nvSpPr>
        <p:spPr>
          <a:xfrm>
            <a:off x="1908467" y="4189049"/>
            <a:ext cx="1738036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>
              <a:buClr>
                <a:schemeClr val="accent3"/>
              </a:buClr>
              <a:buSzPts val="1400"/>
            </a:pPr>
            <a:r>
              <a:rPr lang="en-US" sz="1400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Title</a:t>
            </a:r>
            <a:endParaRPr sz="14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30" name="Google Shape;979;p13">
            <a:extLst>
              <a:ext uri="{FF2B5EF4-FFF2-40B4-BE49-F238E27FC236}">
                <a16:creationId xmlns:a16="http://schemas.microsoft.com/office/drawing/2014/main" id="{0E23315D-2767-AE59-6F06-158ADBF65B27}"/>
              </a:ext>
            </a:extLst>
          </p:cNvPr>
          <p:cNvSpPr/>
          <p:nvPr/>
        </p:nvSpPr>
        <p:spPr>
          <a:xfrm>
            <a:off x="626323" y="4304373"/>
            <a:ext cx="333522" cy="333522"/>
          </a:xfrm>
          <a:prstGeom prst="ellipse">
            <a:avLst/>
          </a:prstGeom>
          <a:solidFill>
            <a:schemeClr val="bg1"/>
          </a:solidFill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  <a:sym typeface="Trebuchet MS"/>
              </a:rPr>
              <a:t>04</a:t>
            </a:r>
            <a:endParaRPr sz="1400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cxnSp>
        <p:nvCxnSpPr>
          <p:cNvPr id="31" name="Google Shape;980;p13">
            <a:extLst>
              <a:ext uri="{FF2B5EF4-FFF2-40B4-BE49-F238E27FC236}">
                <a16:creationId xmlns:a16="http://schemas.microsoft.com/office/drawing/2014/main" id="{B49C531C-705A-4B9A-BA21-99EEEF36299E}"/>
              </a:ext>
            </a:extLst>
          </p:cNvPr>
          <p:cNvCxnSpPr>
            <a:stCxn id="27" idx="3"/>
          </p:cNvCxnSpPr>
          <p:nvPr/>
        </p:nvCxnSpPr>
        <p:spPr>
          <a:xfrm>
            <a:off x="1849231" y="4460016"/>
            <a:ext cx="1256033" cy="0"/>
          </a:xfrm>
          <a:prstGeom prst="straightConnector1">
            <a:avLst/>
          </a:prstGeom>
          <a:noFill/>
          <a:ln w="9525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2" name="Google Shape;981;p13">
            <a:extLst>
              <a:ext uri="{FF2B5EF4-FFF2-40B4-BE49-F238E27FC236}">
                <a16:creationId xmlns:a16="http://schemas.microsoft.com/office/drawing/2014/main" id="{83054146-9237-9C2F-85DA-660B52AC200B}"/>
              </a:ext>
            </a:extLst>
          </p:cNvPr>
          <p:cNvSpPr/>
          <p:nvPr/>
        </p:nvSpPr>
        <p:spPr>
          <a:xfrm>
            <a:off x="5034023" y="3926384"/>
            <a:ext cx="2690402" cy="1067268"/>
          </a:xfrm>
          <a:custGeom>
            <a:avLst/>
            <a:gdLst/>
            <a:ahLst/>
            <a:cxnLst/>
            <a:rect l="l" t="t" r="r" b="b"/>
            <a:pathLst>
              <a:path w="2963119" h="1111170" extrusionOk="0">
                <a:moveTo>
                  <a:pt x="77225" y="0"/>
                </a:moveTo>
                <a:lnTo>
                  <a:pt x="2407534" y="0"/>
                </a:lnTo>
                <a:cubicBezTo>
                  <a:pt x="2714375" y="0"/>
                  <a:pt x="2963119" y="248744"/>
                  <a:pt x="2963119" y="555585"/>
                </a:cubicBezTo>
                <a:cubicBezTo>
                  <a:pt x="2963119" y="862426"/>
                  <a:pt x="2714375" y="1111170"/>
                  <a:pt x="2407534" y="1111170"/>
                </a:cubicBezTo>
                <a:lnTo>
                  <a:pt x="77225" y="1111170"/>
                </a:lnTo>
                <a:lnTo>
                  <a:pt x="0" y="1103385"/>
                </a:lnTo>
                <a:lnTo>
                  <a:pt x="0" y="7785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3600" dirty="0"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33" name="Google Shape;982;p13">
            <a:extLst>
              <a:ext uri="{FF2B5EF4-FFF2-40B4-BE49-F238E27FC236}">
                <a16:creationId xmlns:a16="http://schemas.microsoft.com/office/drawing/2014/main" id="{326C9885-6AEA-3BBA-17D0-9DD3CA2F8333}"/>
              </a:ext>
            </a:extLst>
          </p:cNvPr>
          <p:cNvSpPr/>
          <p:nvPr/>
        </p:nvSpPr>
        <p:spPr>
          <a:xfrm>
            <a:off x="4507862" y="3926384"/>
            <a:ext cx="1067268" cy="1067268"/>
          </a:xfrm>
          <a:prstGeom prst="diamond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3600" dirty="0"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34" name="Google Shape;983;p13">
            <a:extLst>
              <a:ext uri="{FF2B5EF4-FFF2-40B4-BE49-F238E27FC236}">
                <a16:creationId xmlns:a16="http://schemas.microsoft.com/office/drawing/2014/main" id="{AF19B8D1-56AF-A53E-8D04-9921D99E7166}"/>
              </a:ext>
            </a:extLst>
          </p:cNvPr>
          <p:cNvSpPr txBox="1"/>
          <p:nvPr/>
        </p:nvSpPr>
        <p:spPr>
          <a:xfrm>
            <a:off x="5634362" y="4526094"/>
            <a:ext cx="1738036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chemeClr val="dk1"/>
              </a:buClr>
              <a:buSzPts val="1400"/>
            </a:pPr>
            <a:r>
              <a:rPr lang="en-US" sz="14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400" dirty="0">
              <a:solidFill>
                <a:schemeClr val="tx1">
                  <a:lumMod val="100000"/>
                </a:schemeClr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35" name="Google Shape;984;p13">
            <a:extLst>
              <a:ext uri="{FF2B5EF4-FFF2-40B4-BE49-F238E27FC236}">
                <a16:creationId xmlns:a16="http://schemas.microsoft.com/office/drawing/2014/main" id="{3DFD194E-D95C-0C0D-EC37-7700AFD04B22}"/>
              </a:ext>
            </a:extLst>
          </p:cNvPr>
          <p:cNvSpPr txBox="1"/>
          <p:nvPr/>
        </p:nvSpPr>
        <p:spPr>
          <a:xfrm>
            <a:off x="5634362" y="4189049"/>
            <a:ext cx="1738036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>
              <a:buClr>
                <a:schemeClr val="accent4"/>
              </a:buClr>
              <a:buSzPts val="1400"/>
            </a:pPr>
            <a:r>
              <a:rPr lang="en-US" sz="1400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Title</a:t>
            </a:r>
            <a:endParaRPr sz="14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36" name="Google Shape;985;p13">
            <a:extLst>
              <a:ext uri="{FF2B5EF4-FFF2-40B4-BE49-F238E27FC236}">
                <a16:creationId xmlns:a16="http://schemas.microsoft.com/office/drawing/2014/main" id="{BBA959D0-E594-BD32-D3E5-A30DEE846F59}"/>
              </a:ext>
            </a:extLst>
          </p:cNvPr>
          <p:cNvSpPr/>
          <p:nvPr/>
        </p:nvSpPr>
        <p:spPr>
          <a:xfrm>
            <a:off x="4352217" y="4304373"/>
            <a:ext cx="333522" cy="333522"/>
          </a:xfrm>
          <a:prstGeom prst="ellipse">
            <a:avLst/>
          </a:prstGeom>
          <a:solidFill>
            <a:schemeClr val="bg1"/>
          </a:solidFill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05</a:t>
            </a:r>
            <a:endParaRPr sz="1400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37" name="Google Shape;986;p13">
            <a:extLst>
              <a:ext uri="{FF2B5EF4-FFF2-40B4-BE49-F238E27FC236}">
                <a16:creationId xmlns:a16="http://schemas.microsoft.com/office/drawing/2014/main" id="{A959246A-D604-50DD-D080-EDA317B4ABC2}"/>
              </a:ext>
            </a:extLst>
          </p:cNvPr>
          <p:cNvCxnSpPr>
            <a:stCxn id="33" idx="3"/>
          </p:cNvCxnSpPr>
          <p:nvPr/>
        </p:nvCxnSpPr>
        <p:spPr>
          <a:xfrm>
            <a:off x="5575127" y="4460016"/>
            <a:ext cx="1256033" cy="0"/>
          </a:xfrm>
          <a:prstGeom prst="straightConnector1">
            <a:avLst/>
          </a:prstGeom>
          <a:noFill/>
          <a:ln w="9525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8" name="Google Shape;987;p13">
            <a:extLst>
              <a:ext uri="{FF2B5EF4-FFF2-40B4-BE49-F238E27FC236}">
                <a16:creationId xmlns:a16="http://schemas.microsoft.com/office/drawing/2014/main" id="{5ADC3DA6-0E01-5A5D-158C-51AF99B3AC8C}"/>
              </a:ext>
            </a:extLst>
          </p:cNvPr>
          <p:cNvSpPr/>
          <p:nvPr/>
        </p:nvSpPr>
        <p:spPr>
          <a:xfrm>
            <a:off x="8759918" y="3926384"/>
            <a:ext cx="2690402" cy="1067268"/>
          </a:xfrm>
          <a:custGeom>
            <a:avLst/>
            <a:gdLst/>
            <a:ahLst/>
            <a:cxnLst/>
            <a:rect l="l" t="t" r="r" b="b"/>
            <a:pathLst>
              <a:path w="2963119" h="1111170" extrusionOk="0">
                <a:moveTo>
                  <a:pt x="77225" y="0"/>
                </a:moveTo>
                <a:lnTo>
                  <a:pt x="2407534" y="0"/>
                </a:lnTo>
                <a:cubicBezTo>
                  <a:pt x="2714375" y="0"/>
                  <a:pt x="2963119" y="248744"/>
                  <a:pt x="2963119" y="555585"/>
                </a:cubicBezTo>
                <a:cubicBezTo>
                  <a:pt x="2963119" y="862426"/>
                  <a:pt x="2714375" y="1111170"/>
                  <a:pt x="2407534" y="1111170"/>
                </a:cubicBezTo>
                <a:lnTo>
                  <a:pt x="77225" y="1111170"/>
                </a:lnTo>
                <a:lnTo>
                  <a:pt x="0" y="1103385"/>
                </a:lnTo>
                <a:lnTo>
                  <a:pt x="0" y="7785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3600" dirty="0"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39" name="Google Shape;988;p13">
            <a:extLst>
              <a:ext uri="{FF2B5EF4-FFF2-40B4-BE49-F238E27FC236}">
                <a16:creationId xmlns:a16="http://schemas.microsoft.com/office/drawing/2014/main" id="{5D93FF47-3431-77DE-84F8-8C8EF105509E}"/>
              </a:ext>
            </a:extLst>
          </p:cNvPr>
          <p:cNvSpPr/>
          <p:nvPr/>
        </p:nvSpPr>
        <p:spPr>
          <a:xfrm>
            <a:off x="8233757" y="3926384"/>
            <a:ext cx="1067268" cy="1067268"/>
          </a:xfrm>
          <a:prstGeom prst="diamond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3600" dirty="0"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40" name="Google Shape;989;p13">
            <a:extLst>
              <a:ext uri="{FF2B5EF4-FFF2-40B4-BE49-F238E27FC236}">
                <a16:creationId xmlns:a16="http://schemas.microsoft.com/office/drawing/2014/main" id="{9FCAFF31-80CB-9201-7994-03139FE71B8A}"/>
              </a:ext>
            </a:extLst>
          </p:cNvPr>
          <p:cNvSpPr txBox="1"/>
          <p:nvPr/>
        </p:nvSpPr>
        <p:spPr>
          <a:xfrm>
            <a:off x="9360258" y="4526093"/>
            <a:ext cx="1738036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chemeClr val="dk1"/>
              </a:buClr>
              <a:buSzPts val="1400"/>
            </a:pPr>
            <a:r>
              <a:rPr lang="en-US" sz="14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400" dirty="0">
              <a:solidFill>
                <a:schemeClr val="tx1">
                  <a:lumMod val="100000"/>
                </a:schemeClr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41" name="Google Shape;990;p13">
            <a:extLst>
              <a:ext uri="{FF2B5EF4-FFF2-40B4-BE49-F238E27FC236}">
                <a16:creationId xmlns:a16="http://schemas.microsoft.com/office/drawing/2014/main" id="{9F34E69F-1644-5530-5842-401388697C30}"/>
              </a:ext>
            </a:extLst>
          </p:cNvPr>
          <p:cNvSpPr txBox="1"/>
          <p:nvPr/>
        </p:nvSpPr>
        <p:spPr>
          <a:xfrm>
            <a:off x="9360258" y="4189049"/>
            <a:ext cx="1738036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>
              <a:buClr>
                <a:schemeClr val="accent5"/>
              </a:buClr>
              <a:buSzPts val="1400"/>
            </a:pPr>
            <a:r>
              <a:rPr lang="en-US" sz="1400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Title</a:t>
            </a:r>
            <a:endParaRPr sz="14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42" name="Google Shape;991;p13">
            <a:extLst>
              <a:ext uri="{FF2B5EF4-FFF2-40B4-BE49-F238E27FC236}">
                <a16:creationId xmlns:a16="http://schemas.microsoft.com/office/drawing/2014/main" id="{9B7E75B9-4DB9-B6D1-A00A-CB6970581EA8}"/>
              </a:ext>
            </a:extLst>
          </p:cNvPr>
          <p:cNvSpPr/>
          <p:nvPr/>
        </p:nvSpPr>
        <p:spPr>
          <a:xfrm>
            <a:off x="8078113" y="4304373"/>
            <a:ext cx="333522" cy="333522"/>
          </a:xfrm>
          <a:prstGeom prst="ellipse">
            <a:avLst/>
          </a:prstGeom>
          <a:solidFill>
            <a:schemeClr val="bg1"/>
          </a:solidFill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06</a:t>
            </a:r>
            <a:endParaRPr sz="1400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43" name="Google Shape;992;p13">
            <a:extLst>
              <a:ext uri="{FF2B5EF4-FFF2-40B4-BE49-F238E27FC236}">
                <a16:creationId xmlns:a16="http://schemas.microsoft.com/office/drawing/2014/main" id="{C66F515C-D6DE-3D1E-51A5-305B49E4E866}"/>
              </a:ext>
            </a:extLst>
          </p:cNvPr>
          <p:cNvCxnSpPr>
            <a:stCxn id="39" idx="3"/>
          </p:cNvCxnSpPr>
          <p:nvPr/>
        </p:nvCxnSpPr>
        <p:spPr>
          <a:xfrm>
            <a:off x="9301021" y="4460016"/>
            <a:ext cx="1256033" cy="0"/>
          </a:xfrm>
          <a:prstGeom prst="straightConnector1">
            <a:avLst/>
          </a:prstGeom>
          <a:noFill/>
          <a:ln w="9525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44" name="Group 43">
            <a:extLst>
              <a:ext uri="{FF2B5EF4-FFF2-40B4-BE49-F238E27FC236}">
                <a16:creationId xmlns:a16="http://schemas.microsoft.com/office/drawing/2014/main" id="{2632AF53-BA35-B488-2AB4-DAFB7E3D5B44}"/>
              </a:ext>
            </a:extLst>
          </p:cNvPr>
          <p:cNvGrpSpPr/>
          <p:nvPr/>
        </p:nvGrpSpPr>
        <p:grpSpPr>
          <a:xfrm>
            <a:off x="1198067" y="4259237"/>
            <a:ext cx="235065" cy="430344"/>
            <a:chOff x="1067501" y="4599775"/>
            <a:chExt cx="244651" cy="447895"/>
          </a:xfrm>
        </p:grpSpPr>
        <p:sp>
          <p:nvSpPr>
            <p:cNvPr id="68" name="Google Shape;994;p13">
              <a:extLst>
                <a:ext uri="{FF2B5EF4-FFF2-40B4-BE49-F238E27FC236}">
                  <a16:creationId xmlns:a16="http://schemas.microsoft.com/office/drawing/2014/main" id="{43B56351-544C-5FEA-0EC8-9A84581FAB9B}"/>
                </a:ext>
              </a:extLst>
            </p:cNvPr>
            <p:cNvSpPr/>
            <p:nvPr/>
          </p:nvSpPr>
          <p:spPr>
            <a:xfrm>
              <a:off x="1157833" y="4885825"/>
              <a:ext cx="15055" cy="135498"/>
            </a:xfrm>
            <a:custGeom>
              <a:avLst/>
              <a:gdLst/>
              <a:ahLst/>
              <a:cxnLst/>
              <a:rect l="l" t="t" r="r" b="b"/>
              <a:pathLst>
                <a:path w="12" h="131" extrusionOk="0">
                  <a:moveTo>
                    <a:pt x="6" y="131"/>
                  </a:moveTo>
                  <a:cubicBezTo>
                    <a:pt x="3" y="131"/>
                    <a:pt x="0" y="128"/>
                    <a:pt x="0" y="12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25"/>
                    <a:pt x="12" y="125"/>
                    <a:pt x="12" y="125"/>
                  </a:cubicBezTo>
                  <a:cubicBezTo>
                    <a:pt x="12" y="128"/>
                    <a:pt x="9" y="131"/>
                    <a:pt x="6" y="13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69" name="Google Shape;995;p13">
              <a:extLst>
                <a:ext uri="{FF2B5EF4-FFF2-40B4-BE49-F238E27FC236}">
                  <a16:creationId xmlns:a16="http://schemas.microsoft.com/office/drawing/2014/main" id="{701C2734-ADA5-769B-6A81-7AE7ED4644DF}"/>
                </a:ext>
              </a:extLst>
            </p:cNvPr>
            <p:cNvSpPr/>
            <p:nvPr/>
          </p:nvSpPr>
          <p:spPr>
            <a:xfrm>
              <a:off x="1067501" y="4697634"/>
              <a:ext cx="195719" cy="350036"/>
            </a:xfrm>
            <a:custGeom>
              <a:avLst/>
              <a:gdLst/>
              <a:ahLst/>
              <a:cxnLst/>
              <a:rect l="l" t="t" r="r" b="b"/>
              <a:pathLst>
                <a:path w="189" h="336" extrusionOk="0">
                  <a:moveTo>
                    <a:pt x="120" y="336"/>
                  </a:moveTo>
                  <a:cubicBezTo>
                    <a:pt x="109" y="336"/>
                    <a:pt x="101" y="331"/>
                    <a:pt x="95" y="323"/>
                  </a:cubicBezTo>
                  <a:cubicBezTo>
                    <a:pt x="89" y="331"/>
                    <a:pt x="80" y="336"/>
                    <a:pt x="70" y="336"/>
                  </a:cubicBezTo>
                  <a:cubicBezTo>
                    <a:pt x="53" y="336"/>
                    <a:pt x="40" y="322"/>
                    <a:pt x="40" y="305"/>
                  </a:cubicBezTo>
                  <a:cubicBezTo>
                    <a:pt x="40" y="170"/>
                    <a:pt x="40" y="170"/>
                    <a:pt x="40" y="170"/>
                  </a:cubicBezTo>
                  <a:cubicBezTo>
                    <a:pt x="36" y="172"/>
                    <a:pt x="33" y="173"/>
                    <a:pt x="29" y="174"/>
                  </a:cubicBezTo>
                  <a:cubicBezTo>
                    <a:pt x="21" y="174"/>
                    <a:pt x="14" y="172"/>
                    <a:pt x="9" y="167"/>
                  </a:cubicBezTo>
                  <a:cubicBezTo>
                    <a:pt x="4" y="162"/>
                    <a:pt x="0" y="155"/>
                    <a:pt x="0" y="148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20"/>
                    <a:pt x="21" y="0"/>
                    <a:pt x="46" y="0"/>
                  </a:cubicBezTo>
                  <a:cubicBezTo>
                    <a:pt x="144" y="0"/>
                    <a:pt x="144" y="0"/>
                    <a:pt x="144" y="0"/>
                  </a:cubicBezTo>
                  <a:cubicBezTo>
                    <a:pt x="169" y="0"/>
                    <a:pt x="189" y="20"/>
                    <a:pt x="189" y="45"/>
                  </a:cubicBezTo>
                  <a:cubicBezTo>
                    <a:pt x="189" y="148"/>
                    <a:pt x="189" y="148"/>
                    <a:pt x="189" y="148"/>
                  </a:cubicBezTo>
                  <a:cubicBezTo>
                    <a:pt x="189" y="150"/>
                    <a:pt x="189" y="152"/>
                    <a:pt x="189" y="154"/>
                  </a:cubicBezTo>
                  <a:cubicBezTo>
                    <a:pt x="188" y="157"/>
                    <a:pt x="185" y="159"/>
                    <a:pt x="181" y="159"/>
                  </a:cubicBezTo>
                  <a:cubicBezTo>
                    <a:pt x="178" y="158"/>
                    <a:pt x="176" y="154"/>
                    <a:pt x="177" y="151"/>
                  </a:cubicBezTo>
                  <a:cubicBezTo>
                    <a:pt x="177" y="150"/>
                    <a:pt x="177" y="149"/>
                    <a:pt x="177" y="148"/>
                  </a:cubicBezTo>
                  <a:cubicBezTo>
                    <a:pt x="177" y="45"/>
                    <a:pt x="177" y="45"/>
                    <a:pt x="177" y="45"/>
                  </a:cubicBezTo>
                  <a:cubicBezTo>
                    <a:pt x="177" y="27"/>
                    <a:pt x="162" y="12"/>
                    <a:pt x="144" y="12"/>
                  </a:cubicBezTo>
                  <a:cubicBezTo>
                    <a:pt x="46" y="12"/>
                    <a:pt x="46" y="12"/>
                    <a:pt x="46" y="12"/>
                  </a:cubicBezTo>
                  <a:cubicBezTo>
                    <a:pt x="27" y="12"/>
                    <a:pt x="13" y="27"/>
                    <a:pt x="13" y="45"/>
                  </a:cubicBezTo>
                  <a:cubicBezTo>
                    <a:pt x="13" y="148"/>
                    <a:pt x="13" y="148"/>
                    <a:pt x="13" y="148"/>
                  </a:cubicBezTo>
                  <a:cubicBezTo>
                    <a:pt x="13" y="152"/>
                    <a:pt x="14" y="155"/>
                    <a:pt x="17" y="158"/>
                  </a:cubicBezTo>
                  <a:cubicBezTo>
                    <a:pt x="20" y="161"/>
                    <a:pt x="24" y="162"/>
                    <a:pt x="27" y="161"/>
                  </a:cubicBezTo>
                  <a:cubicBezTo>
                    <a:pt x="34" y="161"/>
                    <a:pt x="40" y="155"/>
                    <a:pt x="40" y="147"/>
                  </a:cubicBezTo>
                  <a:cubicBezTo>
                    <a:pt x="40" y="144"/>
                    <a:pt x="42" y="141"/>
                    <a:pt x="46" y="141"/>
                  </a:cubicBezTo>
                  <a:cubicBezTo>
                    <a:pt x="49" y="141"/>
                    <a:pt x="52" y="144"/>
                    <a:pt x="52" y="147"/>
                  </a:cubicBezTo>
                  <a:cubicBezTo>
                    <a:pt x="52" y="305"/>
                    <a:pt x="52" y="305"/>
                    <a:pt x="52" y="305"/>
                  </a:cubicBezTo>
                  <a:cubicBezTo>
                    <a:pt x="52" y="315"/>
                    <a:pt x="60" y="323"/>
                    <a:pt x="70" y="323"/>
                  </a:cubicBezTo>
                  <a:cubicBezTo>
                    <a:pt x="81" y="323"/>
                    <a:pt x="89" y="315"/>
                    <a:pt x="89" y="305"/>
                  </a:cubicBezTo>
                  <a:cubicBezTo>
                    <a:pt x="89" y="302"/>
                    <a:pt x="92" y="299"/>
                    <a:pt x="95" y="299"/>
                  </a:cubicBezTo>
                  <a:cubicBezTo>
                    <a:pt x="98" y="299"/>
                    <a:pt x="101" y="302"/>
                    <a:pt x="101" y="305"/>
                  </a:cubicBezTo>
                  <a:cubicBezTo>
                    <a:pt x="101" y="315"/>
                    <a:pt x="109" y="323"/>
                    <a:pt x="120" y="323"/>
                  </a:cubicBezTo>
                  <a:cubicBezTo>
                    <a:pt x="130" y="323"/>
                    <a:pt x="138" y="315"/>
                    <a:pt x="138" y="305"/>
                  </a:cubicBezTo>
                  <a:cubicBezTo>
                    <a:pt x="138" y="238"/>
                    <a:pt x="138" y="238"/>
                    <a:pt x="138" y="238"/>
                  </a:cubicBezTo>
                  <a:cubicBezTo>
                    <a:pt x="138" y="235"/>
                    <a:pt x="141" y="232"/>
                    <a:pt x="144" y="232"/>
                  </a:cubicBezTo>
                  <a:cubicBezTo>
                    <a:pt x="148" y="232"/>
                    <a:pt x="150" y="235"/>
                    <a:pt x="150" y="238"/>
                  </a:cubicBezTo>
                  <a:cubicBezTo>
                    <a:pt x="150" y="305"/>
                    <a:pt x="150" y="305"/>
                    <a:pt x="150" y="305"/>
                  </a:cubicBezTo>
                  <a:cubicBezTo>
                    <a:pt x="150" y="322"/>
                    <a:pt x="136" y="336"/>
                    <a:pt x="120" y="33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70" name="Google Shape;996;p13">
              <a:extLst>
                <a:ext uri="{FF2B5EF4-FFF2-40B4-BE49-F238E27FC236}">
                  <a16:creationId xmlns:a16="http://schemas.microsoft.com/office/drawing/2014/main" id="{A4CBC99E-6E90-90C3-1EE8-4BB20DBB570C}"/>
                </a:ext>
              </a:extLst>
            </p:cNvPr>
            <p:cNvSpPr/>
            <p:nvPr/>
          </p:nvSpPr>
          <p:spPr>
            <a:xfrm>
              <a:off x="1108904" y="4697634"/>
              <a:ext cx="112916" cy="11291"/>
            </a:xfrm>
            <a:custGeom>
              <a:avLst/>
              <a:gdLst/>
              <a:ahLst/>
              <a:cxnLst/>
              <a:rect l="l" t="t" r="r" b="b"/>
              <a:pathLst>
                <a:path w="110" h="12" extrusionOk="0">
                  <a:moveTo>
                    <a:pt x="10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108" y="0"/>
                    <a:pt x="110" y="2"/>
                    <a:pt x="110" y="6"/>
                  </a:cubicBezTo>
                  <a:cubicBezTo>
                    <a:pt x="110" y="9"/>
                    <a:pt x="108" y="12"/>
                    <a:pt x="104" y="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71" name="Google Shape;997;p13">
              <a:extLst>
                <a:ext uri="{FF2B5EF4-FFF2-40B4-BE49-F238E27FC236}">
                  <a16:creationId xmlns:a16="http://schemas.microsoft.com/office/drawing/2014/main" id="{6AF2EE8F-9D4B-AAAC-B795-4D80B51452B6}"/>
                </a:ext>
              </a:extLst>
            </p:cNvPr>
            <p:cNvSpPr/>
            <p:nvPr/>
          </p:nvSpPr>
          <p:spPr>
            <a:xfrm>
              <a:off x="1108904" y="4769144"/>
              <a:ext cx="11292" cy="86570"/>
            </a:xfrm>
            <a:custGeom>
              <a:avLst/>
              <a:gdLst/>
              <a:ahLst/>
              <a:cxnLst/>
              <a:rect l="l" t="t" r="r" b="b"/>
              <a:pathLst>
                <a:path w="12" h="83" extrusionOk="0">
                  <a:moveTo>
                    <a:pt x="6" y="83"/>
                  </a:moveTo>
                  <a:cubicBezTo>
                    <a:pt x="2" y="83"/>
                    <a:pt x="0" y="81"/>
                    <a:pt x="0" y="77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12" y="81"/>
                    <a:pt x="9" y="83"/>
                    <a:pt x="6" y="8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72" name="Google Shape;998;p13">
              <a:extLst>
                <a:ext uri="{FF2B5EF4-FFF2-40B4-BE49-F238E27FC236}">
                  <a16:creationId xmlns:a16="http://schemas.microsoft.com/office/drawing/2014/main" id="{62BD6123-1324-952C-D1E7-7801A62D67D0}"/>
                </a:ext>
              </a:extLst>
            </p:cNvPr>
            <p:cNvSpPr/>
            <p:nvPr/>
          </p:nvSpPr>
          <p:spPr>
            <a:xfrm>
              <a:off x="1210528" y="4769144"/>
              <a:ext cx="11292" cy="86570"/>
            </a:xfrm>
            <a:custGeom>
              <a:avLst/>
              <a:gdLst/>
              <a:ahLst/>
              <a:cxnLst/>
              <a:rect l="l" t="t" r="r" b="b"/>
              <a:pathLst>
                <a:path w="12" h="83" extrusionOk="0">
                  <a:moveTo>
                    <a:pt x="6" y="83"/>
                  </a:moveTo>
                  <a:cubicBezTo>
                    <a:pt x="3" y="83"/>
                    <a:pt x="0" y="81"/>
                    <a:pt x="0" y="77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12" y="81"/>
                    <a:pt x="10" y="83"/>
                    <a:pt x="6" y="8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73" name="Google Shape;999;p13">
              <a:extLst>
                <a:ext uri="{FF2B5EF4-FFF2-40B4-BE49-F238E27FC236}">
                  <a16:creationId xmlns:a16="http://schemas.microsoft.com/office/drawing/2014/main" id="{74DD9189-9555-FD22-C15B-A4CD2D421CE0}"/>
                </a:ext>
              </a:extLst>
            </p:cNvPr>
            <p:cNvSpPr/>
            <p:nvPr/>
          </p:nvSpPr>
          <p:spPr>
            <a:xfrm>
              <a:off x="1123960" y="4599775"/>
              <a:ext cx="82805" cy="82804"/>
            </a:xfrm>
            <a:custGeom>
              <a:avLst/>
              <a:gdLst/>
              <a:ahLst/>
              <a:cxnLst/>
              <a:rect l="l" t="t" r="r" b="b"/>
              <a:pathLst>
                <a:path w="78" h="78" extrusionOk="0">
                  <a:moveTo>
                    <a:pt x="39" y="78"/>
                  </a:moveTo>
                  <a:cubicBezTo>
                    <a:pt x="17" y="78"/>
                    <a:pt x="0" y="61"/>
                    <a:pt x="0" y="39"/>
                  </a:cubicBezTo>
                  <a:cubicBezTo>
                    <a:pt x="0" y="17"/>
                    <a:pt x="17" y="0"/>
                    <a:pt x="39" y="0"/>
                  </a:cubicBezTo>
                  <a:cubicBezTo>
                    <a:pt x="61" y="0"/>
                    <a:pt x="78" y="17"/>
                    <a:pt x="78" y="39"/>
                  </a:cubicBezTo>
                  <a:cubicBezTo>
                    <a:pt x="78" y="61"/>
                    <a:pt x="61" y="78"/>
                    <a:pt x="39" y="78"/>
                  </a:cubicBezTo>
                  <a:close/>
                  <a:moveTo>
                    <a:pt x="39" y="12"/>
                  </a:moveTo>
                  <a:cubicBezTo>
                    <a:pt x="24" y="12"/>
                    <a:pt x="12" y="24"/>
                    <a:pt x="12" y="39"/>
                  </a:cubicBezTo>
                  <a:cubicBezTo>
                    <a:pt x="12" y="54"/>
                    <a:pt x="24" y="66"/>
                    <a:pt x="39" y="66"/>
                  </a:cubicBezTo>
                  <a:cubicBezTo>
                    <a:pt x="54" y="66"/>
                    <a:pt x="66" y="54"/>
                    <a:pt x="66" y="39"/>
                  </a:cubicBezTo>
                  <a:cubicBezTo>
                    <a:pt x="66" y="24"/>
                    <a:pt x="54" y="12"/>
                    <a:pt x="39" y="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74" name="Google Shape;1000;p13">
              <a:extLst>
                <a:ext uri="{FF2B5EF4-FFF2-40B4-BE49-F238E27FC236}">
                  <a16:creationId xmlns:a16="http://schemas.microsoft.com/office/drawing/2014/main" id="{CFE93FAC-548E-4564-DAEA-1ADA3B474ABC}"/>
                </a:ext>
              </a:extLst>
            </p:cNvPr>
            <p:cNvSpPr/>
            <p:nvPr/>
          </p:nvSpPr>
          <p:spPr>
            <a:xfrm>
              <a:off x="1157833" y="4851949"/>
              <a:ext cx="154319" cy="97859"/>
            </a:xfrm>
            <a:custGeom>
              <a:avLst/>
              <a:gdLst/>
              <a:ahLst/>
              <a:cxnLst/>
              <a:rect l="l" t="t" r="r" b="b"/>
              <a:pathLst>
                <a:path w="149" h="94" extrusionOk="0">
                  <a:moveTo>
                    <a:pt x="129" y="94"/>
                  </a:moveTo>
                  <a:cubicBezTo>
                    <a:pt x="19" y="94"/>
                    <a:pt x="19" y="94"/>
                    <a:pt x="19" y="94"/>
                  </a:cubicBezTo>
                  <a:cubicBezTo>
                    <a:pt x="9" y="94"/>
                    <a:pt x="0" y="85"/>
                    <a:pt x="0" y="74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9"/>
                    <a:pt x="9" y="0"/>
                    <a:pt x="19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40" y="0"/>
                    <a:pt x="149" y="9"/>
                    <a:pt x="149" y="19"/>
                  </a:cubicBezTo>
                  <a:cubicBezTo>
                    <a:pt x="149" y="74"/>
                    <a:pt x="149" y="74"/>
                    <a:pt x="149" y="74"/>
                  </a:cubicBezTo>
                  <a:cubicBezTo>
                    <a:pt x="149" y="85"/>
                    <a:pt x="140" y="94"/>
                    <a:pt x="129" y="94"/>
                  </a:cubicBezTo>
                  <a:close/>
                  <a:moveTo>
                    <a:pt x="19" y="12"/>
                  </a:moveTo>
                  <a:cubicBezTo>
                    <a:pt x="15" y="12"/>
                    <a:pt x="12" y="15"/>
                    <a:pt x="12" y="19"/>
                  </a:cubicBezTo>
                  <a:cubicBezTo>
                    <a:pt x="12" y="74"/>
                    <a:pt x="12" y="74"/>
                    <a:pt x="12" y="74"/>
                  </a:cubicBezTo>
                  <a:cubicBezTo>
                    <a:pt x="12" y="78"/>
                    <a:pt x="15" y="82"/>
                    <a:pt x="19" y="82"/>
                  </a:cubicBezTo>
                  <a:cubicBezTo>
                    <a:pt x="129" y="82"/>
                    <a:pt x="129" y="82"/>
                    <a:pt x="129" y="82"/>
                  </a:cubicBezTo>
                  <a:cubicBezTo>
                    <a:pt x="133" y="82"/>
                    <a:pt x="137" y="78"/>
                    <a:pt x="137" y="74"/>
                  </a:cubicBezTo>
                  <a:cubicBezTo>
                    <a:pt x="137" y="19"/>
                    <a:pt x="137" y="19"/>
                    <a:pt x="137" y="19"/>
                  </a:cubicBezTo>
                  <a:cubicBezTo>
                    <a:pt x="137" y="15"/>
                    <a:pt x="133" y="12"/>
                    <a:pt x="129" y="12"/>
                  </a:cubicBezTo>
                  <a:lnTo>
                    <a:pt x="19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0AD507B2-68C4-84F6-DA7F-AB95B8B20E17}"/>
              </a:ext>
            </a:extLst>
          </p:cNvPr>
          <p:cNvGrpSpPr/>
          <p:nvPr/>
        </p:nvGrpSpPr>
        <p:grpSpPr>
          <a:xfrm>
            <a:off x="4925716" y="4295834"/>
            <a:ext cx="231565" cy="299527"/>
            <a:chOff x="4947165" y="4637864"/>
            <a:chExt cx="241008" cy="311741"/>
          </a:xfrm>
        </p:grpSpPr>
        <p:sp>
          <p:nvSpPr>
            <p:cNvPr id="60" name="Google Shape;1002;p13">
              <a:extLst>
                <a:ext uri="{FF2B5EF4-FFF2-40B4-BE49-F238E27FC236}">
                  <a16:creationId xmlns:a16="http://schemas.microsoft.com/office/drawing/2014/main" id="{83A63C8E-293F-D2B1-256B-725CAEE104E0}"/>
                </a:ext>
              </a:extLst>
            </p:cNvPr>
            <p:cNvSpPr/>
            <p:nvPr/>
          </p:nvSpPr>
          <p:spPr>
            <a:xfrm>
              <a:off x="4947165" y="4637864"/>
              <a:ext cx="241008" cy="311741"/>
            </a:xfrm>
            <a:custGeom>
              <a:avLst/>
              <a:gdLst/>
              <a:ahLst/>
              <a:cxnLst/>
              <a:rect l="l" t="t" r="r" b="b"/>
              <a:pathLst>
                <a:path w="332" h="431" extrusionOk="0">
                  <a:moveTo>
                    <a:pt x="295" y="431"/>
                  </a:moveTo>
                  <a:cubicBezTo>
                    <a:pt x="37" y="431"/>
                    <a:pt x="37" y="431"/>
                    <a:pt x="37" y="431"/>
                  </a:cubicBezTo>
                  <a:cubicBezTo>
                    <a:pt x="17" y="431"/>
                    <a:pt x="0" y="414"/>
                    <a:pt x="0" y="394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17"/>
                    <a:pt x="17" y="0"/>
                    <a:pt x="37" y="0"/>
                  </a:cubicBezTo>
                  <a:cubicBezTo>
                    <a:pt x="295" y="0"/>
                    <a:pt x="295" y="0"/>
                    <a:pt x="295" y="0"/>
                  </a:cubicBezTo>
                  <a:cubicBezTo>
                    <a:pt x="316" y="0"/>
                    <a:pt x="332" y="17"/>
                    <a:pt x="332" y="37"/>
                  </a:cubicBezTo>
                  <a:cubicBezTo>
                    <a:pt x="332" y="394"/>
                    <a:pt x="332" y="394"/>
                    <a:pt x="332" y="394"/>
                  </a:cubicBezTo>
                  <a:cubicBezTo>
                    <a:pt x="332" y="414"/>
                    <a:pt x="316" y="431"/>
                    <a:pt x="295" y="431"/>
                  </a:cubicBezTo>
                  <a:close/>
                  <a:moveTo>
                    <a:pt x="37" y="13"/>
                  </a:moveTo>
                  <a:cubicBezTo>
                    <a:pt x="23" y="13"/>
                    <a:pt x="12" y="24"/>
                    <a:pt x="12" y="37"/>
                  </a:cubicBezTo>
                  <a:cubicBezTo>
                    <a:pt x="12" y="394"/>
                    <a:pt x="12" y="394"/>
                    <a:pt x="12" y="394"/>
                  </a:cubicBezTo>
                  <a:cubicBezTo>
                    <a:pt x="12" y="407"/>
                    <a:pt x="23" y="418"/>
                    <a:pt x="37" y="418"/>
                  </a:cubicBezTo>
                  <a:cubicBezTo>
                    <a:pt x="295" y="418"/>
                    <a:pt x="295" y="418"/>
                    <a:pt x="295" y="418"/>
                  </a:cubicBezTo>
                  <a:cubicBezTo>
                    <a:pt x="309" y="418"/>
                    <a:pt x="320" y="407"/>
                    <a:pt x="320" y="394"/>
                  </a:cubicBezTo>
                  <a:cubicBezTo>
                    <a:pt x="320" y="37"/>
                    <a:pt x="320" y="37"/>
                    <a:pt x="320" y="37"/>
                  </a:cubicBezTo>
                  <a:cubicBezTo>
                    <a:pt x="320" y="24"/>
                    <a:pt x="309" y="13"/>
                    <a:pt x="295" y="13"/>
                  </a:cubicBezTo>
                  <a:lnTo>
                    <a:pt x="37" y="1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61" name="Google Shape;1003;p13">
              <a:extLst>
                <a:ext uri="{FF2B5EF4-FFF2-40B4-BE49-F238E27FC236}">
                  <a16:creationId xmlns:a16="http://schemas.microsoft.com/office/drawing/2014/main" id="{5E449758-C9ED-9340-ABF8-08A3F3D3AFD0}"/>
                </a:ext>
              </a:extLst>
            </p:cNvPr>
            <p:cNvSpPr/>
            <p:nvPr/>
          </p:nvSpPr>
          <p:spPr>
            <a:xfrm>
              <a:off x="4981220" y="4637864"/>
              <a:ext cx="172898" cy="39296"/>
            </a:xfrm>
            <a:custGeom>
              <a:avLst/>
              <a:gdLst/>
              <a:ahLst/>
              <a:cxnLst/>
              <a:rect l="l" t="t" r="r" b="b"/>
              <a:pathLst>
                <a:path w="242" h="54" extrusionOk="0">
                  <a:moveTo>
                    <a:pt x="236" y="54"/>
                  </a:moveTo>
                  <a:cubicBezTo>
                    <a:pt x="7" y="54"/>
                    <a:pt x="7" y="54"/>
                    <a:pt x="7" y="54"/>
                  </a:cubicBezTo>
                  <a:cubicBezTo>
                    <a:pt x="3" y="54"/>
                    <a:pt x="0" y="52"/>
                    <a:pt x="0" y="48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cubicBezTo>
                    <a:pt x="236" y="0"/>
                    <a:pt x="236" y="0"/>
                    <a:pt x="236" y="0"/>
                  </a:cubicBezTo>
                  <a:cubicBezTo>
                    <a:pt x="239" y="0"/>
                    <a:pt x="242" y="3"/>
                    <a:pt x="242" y="7"/>
                  </a:cubicBezTo>
                  <a:cubicBezTo>
                    <a:pt x="242" y="48"/>
                    <a:pt x="242" y="48"/>
                    <a:pt x="242" y="48"/>
                  </a:cubicBezTo>
                  <a:cubicBezTo>
                    <a:pt x="242" y="52"/>
                    <a:pt x="239" y="54"/>
                    <a:pt x="236" y="54"/>
                  </a:cubicBezTo>
                  <a:close/>
                  <a:moveTo>
                    <a:pt x="13" y="42"/>
                  </a:moveTo>
                  <a:cubicBezTo>
                    <a:pt x="230" y="42"/>
                    <a:pt x="230" y="42"/>
                    <a:pt x="230" y="42"/>
                  </a:cubicBezTo>
                  <a:cubicBezTo>
                    <a:pt x="230" y="13"/>
                    <a:pt x="230" y="13"/>
                    <a:pt x="230" y="13"/>
                  </a:cubicBezTo>
                  <a:cubicBezTo>
                    <a:pt x="13" y="13"/>
                    <a:pt x="13" y="13"/>
                    <a:pt x="13" y="13"/>
                  </a:cubicBezTo>
                  <a:lnTo>
                    <a:pt x="13" y="4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62" name="Google Shape;1004;p13">
              <a:extLst>
                <a:ext uri="{FF2B5EF4-FFF2-40B4-BE49-F238E27FC236}">
                  <a16:creationId xmlns:a16="http://schemas.microsoft.com/office/drawing/2014/main" id="{EC7825DC-866B-368E-B663-1B4B8222CD75}"/>
                </a:ext>
              </a:extLst>
            </p:cNvPr>
            <p:cNvSpPr/>
            <p:nvPr/>
          </p:nvSpPr>
          <p:spPr>
            <a:xfrm>
              <a:off x="4994319" y="4724313"/>
              <a:ext cx="47154" cy="34057"/>
            </a:xfrm>
            <a:custGeom>
              <a:avLst/>
              <a:gdLst/>
              <a:ahLst/>
              <a:cxnLst/>
              <a:rect l="l" t="t" r="r" b="b"/>
              <a:pathLst>
                <a:path w="66" h="49" extrusionOk="0">
                  <a:moveTo>
                    <a:pt x="25" y="49"/>
                  </a:moveTo>
                  <a:cubicBezTo>
                    <a:pt x="23" y="49"/>
                    <a:pt x="21" y="48"/>
                    <a:pt x="20" y="47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0" y="27"/>
                    <a:pt x="0" y="23"/>
                    <a:pt x="3" y="20"/>
                  </a:cubicBezTo>
                  <a:cubicBezTo>
                    <a:pt x="5" y="18"/>
                    <a:pt x="9" y="18"/>
                    <a:pt x="11" y="20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55" y="3"/>
                    <a:pt x="55" y="3"/>
                    <a:pt x="55" y="3"/>
                  </a:cubicBezTo>
                  <a:cubicBezTo>
                    <a:pt x="58" y="0"/>
                    <a:pt x="62" y="0"/>
                    <a:pt x="64" y="3"/>
                  </a:cubicBezTo>
                  <a:cubicBezTo>
                    <a:pt x="66" y="5"/>
                    <a:pt x="66" y="9"/>
                    <a:pt x="64" y="12"/>
                  </a:cubicBezTo>
                  <a:cubicBezTo>
                    <a:pt x="29" y="47"/>
                    <a:pt x="29" y="47"/>
                    <a:pt x="29" y="47"/>
                  </a:cubicBezTo>
                  <a:cubicBezTo>
                    <a:pt x="28" y="48"/>
                    <a:pt x="26" y="49"/>
                    <a:pt x="25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63" name="Google Shape;1005;p13">
              <a:extLst>
                <a:ext uri="{FF2B5EF4-FFF2-40B4-BE49-F238E27FC236}">
                  <a16:creationId xmlns:a16="http://schemas.microsoft.com/office/drawing/2014/main" id="{FA140331-46C8-84A6-E4A4-0D7C711ABACA}"/>
                </a:ext>
              </a:extLst>
            </p:cNvPr>
            <p:cNvSpPr/>
            <p:nvPr/>
          </p:nvSpPr>
          <p:spPr>
            <a:xfrm>
              <a:off x="4994319" y="4787185"/>
              <a:ext cx="47154" cy="36676"/>
            </a:xfrm>
            <a:custGeom>
              <a:avLst/>
              <a:gdLst/>
              <a:ahLst/>
              <a:cxnLst/>
              <a:rect l="l" t="t" r="r" b="b"/>
              <a:pathLst>
                <a:path w="66" h="49" extrusionOk="0">
                  <a:moveTo>
                    <a:pt x="25" y="49"/>
                  </a:moveTo>
                  <a:cubicBezTo>
                    <a:pt x="23" y="49"/>
                    <a:pt x="21" y="48"/>
                    <a:pt x="20" y="47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0" y="27"/>
                    <a:pt x="0" y="23"/>
                    <a:pt x="3" y="20"/>
                  </a:cubicBezTo>
                  <a:cubicBezTo>
                    <a:pt x="5" y="18"/>
                    <a:pt x="9" y="18"/>
                    <a:pt x="11" y="20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55" y="3"/>
                    <a:pt x="55" y="3"/>
                    <a:pt x="55" y="3"/>
                  </a:cubicBezTo>
                  <a:cubicBezTo>
                    <a:pt x="58" y="0"/>
                    <a:pt x="62" y="0"/>
                    <a:pt x="64" y="3"/>
                  </a:cubicBezTo>
                  <a:cubicBezTo>
                    <a:pt x="66" y="5"/>
                    <a:pt x="66" y="9"/>
                    <a:pt x="64" y="12"/>
                  </a:cubicBezTo>
                  <a:cubicBezTo>
                    <a:pt x="29" y="47"/>
                    <a:pt x="29" y="47"/>
                    <a:pt x="29" y="47"/>
                  </a:cubicBezTo>
                  <a:cubicBezTo>
                    <a:pt x="28" y="48"/>
                    <a:pt x="26" y="49"/>
                    <a:pt x="25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64" name="Google Shape;1006;p13">
              <a:extLst>
                <a:ext uri="{FF2B5EF4-FFF2-40B4-BE49-F238E27FC236}">
                  <a16:creationId xmlns:a16="http://schemas.microsoft.com/office/drawing/2014/main" id="{C362187E-DE9D-6BAF-CC97-B1C41F6C0FF8}"/>
                </a:ext>
              </a:extLst>
            </p:cNvPr>
            <p:cNvSpPr/>
            <p:nvPr/>
          </p:nvSpPr>
          <p:spPr>
            <a:xfrm>
              <a:off x="4994319" y="4852676"/>
              <a:ext cx="47154" cy="34057"/>
            </a:xfrm>
            <a:custGeom>
              <a:avLst/>
              <a:gdLst/>
              <a:ahLst/>
              <a:cxnLst/>
              <a:rect l="l" t="t" r="r" b="b"/>
              <a:pathLst>
                <a:path w="66" h="49" extrusionOk="0">
                  <a:moveTo>
                    <a:pt x="25" y="49"/>
                  </a:moveTo>
                  <a:cubicBezTo>
                    <a:pt x="23" y="49"/>
                    <a:pt x="21" y="48"/>
                    <a:pt x="20" y="47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0" y="27"/>
                    <a:pt x="0" y="23"/>
                    <a:pt x="3" y="20"/>
                  </a:cubicBezTo>
                  <a:cubicBezTo>
                    <a:pt x="5" y="18"/>
                    <a:pt x="9" y="18"/>
                    <a:pt x="11" y="20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55" y="3"/>
                    <a:pt x="55" y="3"/>
                    <a:pt x="55" y="3"/>
                  </a:cubicBezTo>
                  <a:cubicBezTo>
                    <a:pt x="58" y="0"/>
                    <a:pt x="62" y="0"/>
                    <a:pt x="64" y="3"/>
                  </a:cubicBezTo>
                  <a:cubicBezTo>
                    <a:pt x="66" y="5"/>
                    <a:pt x="66" y="9"/>
                    <a:pt x="64" y="12"/>
                  </a:cubicBezTo>
                  <a:cubicBezTo>
                    <a:pt x="29" y="47"/>
                    <a:pt x="29" y="47"/>
                    <a:pt x="29" y="47"/>
                  </a:cubicBezTo>
                  <a:cubicBezTo>
                    <a:pt x="28" y="48"/>
                    <a:pt x="26" y="49"/>
                    <a:pt x="25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65" name="Google Shape;1007;p13">
              <a:extLst>
                <a:ext uri="{FF2B5EF4-FFF2-40B4-BE49-F238E27FC236}">
                  <a16:creationId xmlns:a16="http://schemas.microsoft.com/office/drawing/2014/main" id="{031952AA-FA55-D58D-FECA-DEFD72C6134A}"/>
                </a:ext>
              </a:extLst>
            </p:cNvPr>
            <p:cNvSpPr/>
            <p:nvPr/>
          </p:nvSpPr>
          <p:spPr>
            <a:xfrm>
              <a:off x="5059810" y="4750510"/>
              <a:ext cx="81210" cy="7859"/>
            </a:xfrm>
            <a:custGeom>
              <a:avLst/>
              <a:gdLst/>
              <a:ahLst/>
              <a:cxnLst/>
              <a:rect l="l" t="t" r="r" b="b"/>
              <a:pathLst>
                <a:path w="113" h="13" extrusionOk="0">
                  <a:moveTo>
                    <a:pt x="106" y="13"/>
                  </a:moveTo>
                  <a:cubicBezTo>
                    <a:pt x="6" y="13"/>
                    <a:pt x="6" y="13"/>
                    <a:pt x="6" y="13"/>
                  </a:cubicBezTo>
                  <a:cubicBezTo>
                    <a:pt x="3" y="13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10" y="0"/>
                    <a:pt x="113" y="3"/>
                    <a:pt x="113" y="6"/>
                  </a:cubicBezTo>
                  <a:cubicBezTo>
                    <a:pt x="113" y="10"/>
                    <a:pt x="110" y="13"/>
                    <a:pt x="106" y="1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66" name="Google Shape;1008;p13">
              <a:extLst>
                <a:ext uri="{FF2B5EF4-FFF2-40B4-BE49-F238E27FC236}">
                  <a16:creationId xmlns:a16="http://schemas.microsoft.com/office/drawing/2014/main" id="{AF565B78-9B3F-F11A-7618-B54334B60E10}"/>
                </a:ext>
              </a:extLst>
            </p:cNvPr>
            <p:cNvSpPr/>
            <p:nvPr/>
          </p:nvSpPr>
          <p:spPr>
            <a:xfrm>
              <a:off x="5059810" y="4813382"/>
              <a:ext cx="81210" cy="10479"/>
            </a:xfrm>
            <a:custGeom>
              <a:avLst/>
              <a:gdLst/>
              <a:ahLst/>
              <a:cxnLst/>
              <a:rect l="l" t="t" r="r" b="b"/>
              <a:pathLst>
                <a:path w="113" h="13" extrusionOk="0">
                  <a:moveTo>
                    <a:pt x="106" y="13"/>
                  </a:moveTo>
                  <a:cubicBezTo>
                    <a:pt x="6" y="13"/>
                    <a:pt x="6" y="13"/>
                    <a:pt x="6" y="13"/>
                  </a:cubicBezTo>
                  <a:cubicBezTo>
                    <a:pt x="3" y="13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10" y="0"/>
                    <a:pt x="113" y="3"/>
                    <a:pt x="113" y="6"/>
                  </a:cubicBezTo>
                  <a:cubicBezTo>
                    <a:pt x="113" y="10"/>
                    <a:pt x="110" y="13"/>
                    <a:pt x="106" y="1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67" name="Google Shape;1009;p13">
              <a:extLst>
                <a:ext uri="{FF2B5EF4-FFF2-40B4-BE49-F238E27FC236}">
                  <a16:creationId xmlns:a16="http://schemas.microsoft.com/office/drawing/2014/main" id="{BA9FD336-1250-2837-DDA4-8294A3AFF886}"/>
                </a:ext>
              </a:extLst>
            </p:cNvPr>
            <p:cNvSpPr/>
            <p:nvPr/>
          </p:nvSpPr>
          <p:spPr>
            <a:xfrm>
              <a:off x="5059810" y="4878873"/>
              <a:ext cx="81210" cy="7859"/>
            </a:xfrm>
            <a:custGeom>
              <a:avLst/>
              <a:gdLst/>
              <a:ahLst/>
              <a:cxnLst/>
              <a:rect l="l" t="t" r="r" b="b"/>
              <a:pathLst>
                <a:path w="113" h="13" extrusionOk="0">
                  <a:moveTo>
                    <a:pt x="106" y="13"/>
                  </a:moveTo>
                  <a:cubicBezTo>
                    <a:pt x="6" y="13"/>
                    <a:pt x="6" y="13"/>
                    <a:pt x="6" y="13"/>
                  </a:cubicBezTo>
                  <a:cubicBezTo>
                    <a:pt x="3" y="13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10" y="0"/>
                    <a:pt x="113" y="3"/>
                    <a:pt x="113" y="6"/>
                  </a:cubicBezTo>
                  <a:cubicBezTo>
                    <a:pt x="113" y="10"/>
                    <a:pt x="110" y="13"/>
                    <a:pt x="106" y="1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075FE561-CA96-11E5-1425-7E75DEE73E31}"/>
              </a:ext>
            </a:extLst>
          </p:cNvPr>
          <p:cNvGrpSpPr/>
          <p:nvPr/>
        </p:nvGrpSpPr>
        <p:grpSpPr>
          <a:xfrm>
            <a:off x="8608416" y="4302367"/>
            <a:ext cx="317951" cy="315305"/>
            <a:chOff x="8780048" y="4644664"/>
            <a:chExt cx="330917" cy="328163"/>
          </a:xfrm>
          <a:solidFill>
            <a:schemeClr val="bg1"/>
          </a:solidFill>
        </p:grpSpPr>
        <p:sp>
          <p:nvSpPr>
            <p:cNvPr id="47" name="Google Shape;1011;p13">
              <a:extLst>
                <a:ext uri="{FF2B5EF4-FFF2-40B4-BE49-F238E27FC236}">
                  <a16:creationId xmlns:a16="http://schemas.microsoft.com/office/drawing/2014/main" id="{339391ED-1385-0769-6C91-544D85A6F068}"/>
                </a:ext>
              </a:extLst>
            </p:cNvPr>
            <p:cNvSpPr/>
            <p:nvPr/>
          </p:nvSpPr>
          <p:spPr>
            <a:xfrm>
              <a:off x="9007203" y="4869414"/>
              <a:ext cx="81326" cy="79972"/>
            </a:xfrm>
            <a:custGeom>
              <a:avLst/>
              <a:gdLst/>
              <a:ahLst/>
              <a:cxnLst/>
              <a:rect l="l" t="t" r="r" b="b"/>
              <a:pathLst>
                <a:path w="41" h="41" extrusionOk="0">
                  <a:moveTo>
                    <a:pt x="16" y="41"/>
                  </a:moveTo>
                  <a:cubicBezTo>
                    <a:pt x="15" y="41"/>
                    <a:pt x="14" y="41"/>
                    <a:pt x="13" y="40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0" y="27"/>
                    <a:pt x="0" y="26"/>
                    <a:pt x="0" y="24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6" y="5"/>
                    <a:pt x="7" y="5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5" y="0"/>
                    <a:pt x="27" y="0"/>
                    <a:pt x="28" y="1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41" y="15"/>
                    <a:pt x="41" y="16"/>
                    <a:pt x="41" y="17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36" y="35"/>
                    <a:pt x="35" y="36"/>
                    <a:pt x="34" y="37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1"/>
                    <a:pt x="16" y="41"/>
                    <a:pt x="16" y="41"/>
                  </a:cubicBezTo>
                  <a:close/>
                  <a:moveTo>
                    <a:pt x="5" y="25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9" y="9"/>
                    <a:pt x="9" y="9"/>
                    <a:pt x="9" y="9"/>
                  </a:cubicBezTo>
                  <a:lnTo>
                    <a:pt x="5" y="25"/>
                  </a:lnTo>
                  <a:close/>
                  <a:moveTo>
                    <a:pt x="32" y="33"/>
                  </a:moveTo>
                  <a:cubicBezTo>
                    <a:pt x="32" y="33"/>
                    <a:pt x="32" y="33"/>
                    <a:pt x="32" y="33"/>
                  </a:cubicBezTo>
                  <a:close/>
                  <a:moveTo>
                    <a:pt x="5" y="26"/>
                  </a:move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lose/>
                  <a:moveTo>
                    <a:pt x="36" y="16"/>
                  </a:moveTo>
                  <a:cubicBezTo>
                    <a:pt x="36" y="16"/>
                    <a:pt x="36" y="16"/>
                    <a:pt x="36" y="16"/>
                  </a:cubicBezTo>
                  <a:close/>
                  <a:moveTo>
                    <a:pt x="9" y="9"/>
                  </a:move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3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48" name="Google Shape;1012;p13">
              <a:extLst>
                <a:ext uri="{FF2B5EF4-FFF2-40B4-BE49-F238E27FC236}">
                  <a16:creationId xmlns:a16="http://schemas.microsoft.com/office/drawing/2014/main" id="{6D7D177A-F7D1-BEDA-A946-32DACA516B5E}"/>
                </a:ext>
              </a:extLst>
            </p:cNvPr>
            <p:cNvSpPr/>
            <p:nvPr/>
          </p:nvSpPr>
          <p:spPr>
            <a:xfrm>
              <a:off x="8782852" y="4647423"/>
              <a:ext cx="91143" cy="89624"/>
            </a:xfrm>
            <a:custGeom>
              <a:avLst/>
              <a:gdLst/>
              <a:ahLst/>
              <a:cxnLst/>
              <a:rect l="l" t="t" r="r" b="b"/>
              <a:pathLst>
                <a:path w="46" h="46" extrusionOk="0">
                  <a:moveTo>
                    <a:pt x="18" y="46"/>
                  </a:moveTo>
                  <a:cubicBezTo>
                    <a:pt x="18" y="46"/>
                    <a:pt x="17" y="46"/>
                    <a:pt x="16" y="45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0" y="29"/>
                    <a:pt x="0" y="27"/>
                    <a:pt x="1" y="26"/>
                  </a:cubicBezTo>
                  <a:cubicBezTo>
                    <a:pt x="2" y="25"/>
                    <a:pt x="4" y="25"/>
                    <a:pt x="5" y="26"/>
                  </a:cubicBezTo>
                  <a:cubicBezTo>
                    <a:pt x="19" y="41"/>
                    <a:pt x="19" y="41"/>
                    <a:pt x="19" y="41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5" y="4"/>
                    <a:pt x="25" y="2"/>
                    <a:pt x="26" y="1"/>
                  </a:cubicBezTo>
                  <a:cubicBezTo>
                    <a:pt x="27" y="0"/>
                    <a:pt x="29" y="0"/>
                    <a:pt x="30" y="1"/>
                  </a:cubicBezTo>
                  <a:cubicBezTo>
                    <a:pt x="45" y="17"/>
                    <a:pt x="45" y="17"/>
                    <a:pt x="45" y="17"/>
                  </a:cubicBezTo>
                  <a:cubicBezTo>
                    <a:pt x="45" y="17"/>
                    <a:pt x="46" y="18"/>
                    <a:pt x="45" y="19"/>
                  </a:cubicBezTo>
                  <a:cubicBezTo>
                    <a:pt x="40" y="39"/>
                    <a:pt x="40" y="39"/>
                    <a:pt x="40" y="39"/>
                  </a:cubicBezTo>
                  <a:cubicBezTo>
                    <a:pt x="40" y="40"/>
                    <a:pt x="39" y="40"/>
                    <a:pt x="38" y="40"/>
                  </a:cubicBezTo>
                  <a:cubicBezTo>
                    <a:pt x="19" y="46"/>
                    <a:pt x="19" y="46"/>
                    <a:pt x="19" y="46"/>
                  </a:cubicBezTo>
                  <a:cubicBezTo>
                    <a:pt x="19" y="46"/>
                    <a:pt x="18" y="46"/>
                    <a:pt x="18" y="4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3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49" name="Google Shape;1013;p13">
              <a:extLst>
                <a:ext uri="{FF2B5EF4-FFF2-40B4-BE49-F238E27FC236}">
                  <a16:creationId xmlns:a16="http://schemas.microsoft.com/office/drawing/2014/main" id="{1FF4B681-6E2A-BDAC-74E3-BF13D0EECF35}"/>
                </a:ext>
              </a:extLst>
            </p:cNvPr>
            <p:cNvSpPr/>
            <p:nvPr/>
          </p:nvSpPr>
          <p:spPr>
            <a:xfrm>
              <a:off x="8780048" y="4695681"/>
              <a:ext cx="102361" cy="78593"/>
            </a:xfrm>
            <a:custGeom>
              <a:avLst/>
              <a:gdLst/>
              <a:ahLst/>
              <a:cxnLst/>
              <a:rect l="l" t="t" r="r" b="b"/>
              <a:pathLst>
                <a:path w="51" h="40" extrusionOk="0">
                  <a:moveTo>
                    <a:pt x="33" y="40"/>
                  </a:moveTo>
                  <a:cubicBezTo>
                    <a:pt x="25" y="40"/>
                    <a:pt x="17" y="36"/>
                    <a:pt x="11" y="30"/>
                  </a:cubicBezTo>
                  <a:cubicBezTo>
                    <a:pt x="3" y="23"/>
                    <a:pt x="0" y="13"/>
                    <a:pt x="1" y="3"/>
                  </a:cubicBezTo>
                  <a:cubicBezTo>
                    <a:pt x="2" y="1"/>
                    <a:pt x="3" y="0"/>
                    <a:pt x="4" y="1"/>
                  </a:cubicBezTo>
                  <a:cubicBezTo>
                    <a:pt x="6" y="1"/>
                    <a:pt x="7" y="2"/>
                    <a:pt x="6" y="3"/>
                  </a:cubicBezTo>
                  <a:cubicBezTo>
                    <a:pt x="5" y="12"/>
                    <a:pt x="8" y="21"/>
                    <a:pt x="14" y="27"/>
                  </a:cubicBezTo>
                  <a:cubicBezTo>
                    <a:pt x="23" y="36"/>
                    <a:pt x="36" y="37"/>
                    <a:pt x="47" y="31"/>
                  </a:cubicBezTo>
                  <a:cubicBezTo>
                    <a:pt x="48" y="30"/>
                    <a:pt x="50" y="31"/>
                    <a:pt x="50" y="32"/>
                  </a:cubicBezTo>
                  <a:cubicBezTo>
                    <a:pt x="51" y="33"/>
                    <a:pt x="51" y="34"/>
                    <a:pt x="50" y="35"/>
                  </a:cubicBezTo>
                  <a:cubicBezTo>
                    <a:pt x="45" y="38"/>
                    <a:pt x="39" y="40"/>
                    <a:pt x="33" y="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3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50" name="Google Shape;1014;p13">
              <a:extLst>
                <a:ext uri="{FF2B5EF4-FFF2-40B4-BE49-F238E27FC236}">
                  <a16:creationId xmlns:a16="http://schemas.microsoft.com/office/drawing/2014/main" id="{3406E22F-4349-ECBC-74AA-6A77F71D3F9D}"/>
                </a:ext>
              </a:extLst>
            </p:cNvPr>
            <p:cNvSpPr/>
            <p:nvPr/>
          </p:nvSpPr>
          <p:spPr>
            <a:xfrm>
              <a:off x="8831929" y="4644664"/>
              <a:ext cx="84131" cy="100654"/>
            </a:xfrm>
            <a:custGeom>
              <a:avLst/>
              <a:gdLst/>
              <a:ahLst/>
              <a:cxnLst/>
              <a:rect l="l" t="t" r="r" b="b"/>
              <a:pathLst>
                <a:path w="42" h="51" extrusionOk="0">
                  <a:moveTo>
                    <a:pt x="33" y="51"/>
                  </a:moveTo>
                  <a:cubicBezTo>
                    <a:pt x="32" y="51"/>
                    <a:pt x="32" y="51"/>
                    <a:pt x="31" y="51"/>
                  </a:cubicBezTo>
                  <a:cubicBezTo>
                    <a:pt x="30" y="50"/>
                    <a:pt x="30" y="49"/>
                    <a:pt x="31" y="47"/>
                  </a:cubicBezTo>
                  <a:cubicBezTo>
                    <a:pt x="37" y="37"/>
                    <a:pt x="35" y="23"/>
                    <a:pt x="26" y="14"/>
                  </a:cubicBezTo>
                  <a:cubicBezTo>
                    <a:pt x="20" y="8"/>
                    <a:pt x="12" y="5"/>
                    <a:pt x="3" y="7"/>
                  </a:cubicBezTo>
                  <a:cubicBezTo>
                    <a:pt x="2" y="7"/>
                    <a:pt x="1" y="6"/>
                    <a:pt x="0" y="5"/>
                  </a:cubicBezTo>
                  <a:cubicBezTo>
                    <a:pt x="0" y="3"/>
                    <a:pt x="1" y="2"/>
                    <a:pt x="2" y="2"/>
                  </a:cubicBezTo>
                  <a:cubicBezTo>
                    <a:pt x="12" y="0"/>
                    <a:pt x="23" y="4"/>
                    <a:pt x="30" y="11"/>
                  </a:cubicBezTo>
                  <a:cubicBezTo>
                    <a:pt x="40" y="21"/>
                    <a:pt x="42" y="37"/>
                    <a:pt x="35" y="50"/>
                  </a:cubicBezTo>
                  <a:cubicBezTo>
                    <a:pt x="34" y="51"/>
                    <a:pt x="34" y="51"/>
                    <a:pt x="33" y="5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3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51" name="Google Shape;1015;p13">
              <a:extLst>
                <a:ext uri="{FF2B5EF4-FFF2-40B4-BE49-F238E27FC236}">
                  <a16:creationId xmlns:a16="http://schemas.microsoft.com/office/drawing/2014/main" id="{BC09FF23-ABB4-B6F2-AF60-1D3239DEDADB}"/>
                </a:ext>
              </a:extLst>
            </p:cNvPr>
            <p:cNvSpPr/>
            <p:nvPr/>
          </p:nvSpPr>
          <p:spPr>
            <a:xfrm>
              <a:off x="8872593" y="4757728"/>
              <a:ext cx="51881" cy="48260"/>
            </a:xfrm>
            <a:custGeom>
              <a:avLst/>
              <a:gdLst/>
              <a:ahLst/>
              <a:cxnLst/>
              <a:rect l="l" t="t" r="r" b="b"/>
              <a:pathLst>
                <a:path w="26" h="25" extrusionOk="0">
                  <a:moveTo>
                    <a:pt x="23" y="25"/>
                  </a:moveTo>
                  <a:cubicBezTo>
                    <a:pt x="23" y="25"/>
                    <a:pt x="22" y="25"/>
                    <a:pt x="21" y="25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5" y="1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26" y="22"/>
                    <a:pt x="26" y="24"/>
                    <a:pt x="25" y="25"/>
                  </a:cubicBezTo>
                  <a:cubicBezTo>
                    <a:pt x="24" y="25"/>
                    <a:pt x="24" y="25"/>
                    <a:pt x="23" y="2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3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52" name="Google Shape;1016;p13">
              <a:extLst>
                <a:ext uri="{FF2B5EF4-FFF2-40B4-BE49-F238E27FC236}">
                  <a16:creationId xmlns:a16="http://schemas.microsoft.com/office/drawing/2014/main" id="{340F1E94-8CC1-7245-39E6-13EAD5F2F105}"/>
                </a:ext>
              </a:extLst>
            </p:cNvPr>
            <p:cNvSpPr/>
            <p:nvPr/>
          </p:nvSpPr>
          <p:spPr>
            <a:xfrm>
              <a:off x="8949714" y="4833565"/>
              <a:ext cx="53283" cy="51017"/>
            </a:xfrm>
            <a:custGeom>
              <a:avLst/>
              <a:gdLst/>
              <a:ahLst/>
              <a:cxnLst/>
              <a:rect l="l" t="t" r="r" b="b"/>
              <a:pathLst>
                <a:path w="27" h="26" extrusionOk="0">
                  <a:moveTo>
                    <a:pt x="24" y="26"/>
                  </a:moveTo>
                  <a:cubicBezTo>
                    <a:pt x="24" y="26"/>
                    <a:pt x="23" y="26"/>
                    <a:pt x="22" y="26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5" y="1"/>
                  </a:cubicBezTo>
                  <a:cubicBezTo>
                    <a:pt x="26" y="22"/>
                    <a:pt x="26" y="22"/>
                    <a:pt x="26" y="22"/>
                  </a:cubicBezTo>
                  <a:cubicBezTo>
                    <a:pt x="27" y="23"/>
                    <a:pt x="27" y="25"/>
                    <a:pt x="26" y="26"/>
                  </a:cubicBezTo>
                  <a:cubicBezTo>
                    <a:pt x="25" y="26"/>
                    <a:pt x="25" y="26"/>
                    <a:pt x="24" y="2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3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53" name="Google Shape;1017;p13">
              <a:extLst>
                <a:ext uri="{FF2B5EF4-FFF2-40B4-BE49-F238E27FC236}">
                  <a16:creationId xmlns:a16="http://schemas.microsoft.com/office/drawing/2014/main" id="{CEA6682B-4F95-D67E-4E00-D77CE56B46A7}"/>
                </a:ext>
              </a:extLst>
            </p:cNvPr>
            <p:cNvSpPr/>
            <p:nvPr/>
          </p:nvSpPr>
          <p:spPr>
            <a:xfrm>
              <a:off x="8893626" y="4737047"/>
              <a:ext cx="130404" cy="128232"/>
            </a:xfrm>
            <a:custGeom>
              <a:avLst/>
              <a:gdLst/>
              <a:ahLst/>
              <a:cxnLst/>
              <a:rect l="l" t="t" r="r" b="b"/>
              <a:pathLst>
                <a:path w="65" h="65" extrusionOk="0">
                  <a:moveTo>
                    <a:pt x="63" y="65"/>
                  </a:moveTo>
                  <a:cubicBezTo>
                    <a:pt x="62" y="65"/>
                    <a:pt x="61" y="65"/>
                    <a:pt x="61" y="6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1"/>
                  </a:cubicBezTo>
                  <a:cubicBezTo>
                    <a:pt x="64" y="61"/>
                    <a:pt x="64" y="61"/>
                    <a:pt x="64" y="61"/>
                  </a:cubicBezTo>
                  <a:cubicBezTo>
                    <a:pt x="65" y="62"/>
                    <a:pt x="65" y="63"/>
                    <a:pt x="64" y="64"/>
                  </a:cubicBezTo>
                  <a:cubicBezTo>
                    <a:pt x="64" y="65"/>
                    <a:pt x="63" y="65"/>
                    <a:pt x="63" y="6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3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54" name="Google Shape;1018;p13">
              <a:extLst>
                <a:ext uri="{FF2B5EF4-FFF2-40B4-BE49-F238E27FC236}">
                  <a16:creationId xmlns:a16="http://schemas.microsoft.com/office/drawing/2014/main" id="{1536B904-89F5-D6B0-3199-51562EB52338}"/>
                </a:ext>
              </a:extLst>
            </p:cNvPr>
            <p:cNvSpPr/>
            <p:nvPr/>
          </p:nvSpPr>
          <p:spPr>
            <a:xfrm>
              <a:off x="8979160" y="4841837"/>
              <a:ext cx="131805" cy="130990"/>
            </a:xfrm>
            <a:custGeom>
              <a:avLst/>
              <a:gdLst/>
              <a:ahLst/>
              <a:cxnLst/>
              <a:rect l="l" t="t" r="r" b="b"/>
              <a:pathLst>
                <a:path w="66" h="67" extrusionOk="0">
                  <a:moveTo>
                    <a:pt x="34" y="67"/>
                  </a:moveTo>
                  <a:cubicBezTo>
                    <a:pt x="26" y="67"/>
                    <a:pt x="18" y="63"/>
                    <a:pt x="12" y="57"/>
                  </a:cubicBezTo>
                  <a:cubicBezTo>
                    <a:pt x="2" y="47"/>
                    <a:pt x="0" y="31"/>
                    <a:pt x="7" y="19"/>
                  </a:cubicBezTo>
                  <a:cubicBezTo>
                    <a:pt x="8" y="18"/>
                    <a:pt x="9" y="17"/>
                    <a:pt x="10" y="18"/>
                  </a:cubicBezTo>
                  <a:cubicBezTo>
                    <a:pt x="12" y="19"/>
                    <a:pt x="12" y="20"/>
                    <a:pt x="11" y="21"/>
                  </a:cubicBezTo>
                  <a:cubicBezTo>
                    <a:pt x="5" y="32"/>
                    <a:pt x="7" y="45"/>
                    <a:pt x="16" y="54"/>
                  </a:cubicBezTo>
                  <a:cubicBezTo>
                    <a:pt x="21" y="59"/>
                    <a:pt x="27" y="62"/>
                    <a:pt x="34" y="62"/>
                  </a:cubicBezTo>
                  <a:cubicBezTo>
                    <a:pt x="42" y="62"/>
                    <a:pt x="48" y="59"/>
                    <a:pt x="53" y="54"/>
                  </a:cubicBezTo>
                  <a:cubicBezTo>
                    <a:pt x="59" y="49"/>
                    <a:pt x="61" y="42"/>
                    <a:pt x="61" y="35"/>
                  </a:cubicBezTo>
                  <a:cubicBezTo>
                    <a:pt x="61" y="28"/>
                    <a:pt x="59" y="21"/>
                    <a:pt x="53" y="16"/>
                  </a:cubicBezTo>
                  <a:cubicBezTo>
                    <a:pt x="45" y="7"/>
                    <a:pt x="31" y="5"/>
                    <a:pt x="21" y="12"/>
                  </a:cubicBezTo>
                  <a:cubicBezTo>
                    <a:pt x="20" y="12"/>
                    <a:pt x="18" y="12"/>
                    <a:pt x="18" y="11"/>
                  </a:cubicBezTo>
                  <a:cubicBezTo>
                    <a:pt x="17" y="10"/>
                    <a:pt x="17" y="8"/>
                    <a:pt x="18" y="7"/>
                  </a:cubicBezTo>
                  <a:cubicBezTo>
                    <a:pt x="31" y="0"/>
                    <a:pt x="47" y="2"/>
                    <a:pt x="57" y="12"/>
                  </a:cubicBezTo>
                  <a:cubicBezTo>
                    <a:pt x="63" y="18"/>
                    <a:pt x="66" y="26"/>
                    <a:pt x="66" y="35"/>
                  </a:cubicBezTo>
                  <a:cubicBezTo>
                    <a:pt x="66" y="43"/>
                    <a:pt x="63" y="51"/>
                    <a:pt x="57" y="57"/>
                  </a:cubicBezTo>
                  <a:cubicBezTo>
                    <a:pt x="51" y="63"/>
                    <a:pt x="43" y="67"/>
                    <a:pt x="34" y="6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3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56" name="Google Shape;1019;p13">
              <a:extLst>
                <a:ext uri="{FF2B5EF4-FFF2-40B4-BE49-F238E27FC236}">
                  <a16:creationId xmlns:a16="http://schemas.microsoft.com/office/drawing/2014/main" id="{B5450441-0503-464C-08D0-719CFFC13475}"/>
                </a:ext>
              </a:extLst>
            </p:cNvPr>
            <p:cNvSpPr/>
            <p:nvPr/>
          </p:nvSpPr>
          <p:spPr>
            <a:xfrm>
              <a:off x="8935692" y="4658453"/>
              <a:ext cx="164057" cy="164082"/>
            </a:xfrm>
            <a:custGeom>
              <a:avLst/>
              <a:gdLst/>
              <a:ahLst/>
              <a:cxnLst/>
              <a:rect l="l" t="t" r="r" b="b"/>
              <a:pathLst>
                <a:path w="82" h="83" extrusionOk="0">
                  <a:moveTo>
                    <a:pt x="2" y="83"/>
                  </a:moveTo>
                  <a:cubicBezTo>
                    <a:pt x="2" y="83"/>
                    <a:pt x="1" y="82"/>
                    <a:pt x="1" y="82"/>
                  </a:cubicBezTo>
                  <a:cubicBezTo>
                    <a:pt x="0" y="81"/>
                    <a:pt x="0" y="79"/>
                    <a:pt x="1" y="78"/>
                  </a:cubicBezTo>
                  <a:cubicBezTo>
                    <a:pt x="78" y="1"/>
                    <a:pt x="78" y="1"/>
                    <a:pt x="78" y="1"/>
                  </a:cubicBezTo>
                  <a:cubicBezTo>
                    <a:pt x="79" y="0"/>
                    <a:pt x="80" y="0"/>
                    <a:pt x="81" y="1"/>
                  </a:cubicBezTo>
                  <a:cubicBezTo>
                    <a:pt x="82" y="2"/>
                    <a:pt x="82" y="4"/>
                    <a:pt x="81" y="5"/>
                  </a:cubicBezTo>
                  <a:cubicBezTo>
                    <a:pt x="4" y="82"/>
                    <a:pt x="4" y="82"/>
                    <a:pt x="4" y="82"/>
                  </a:cubicBezTo>
                  <a:cubicBezTo>
                    <a:pt x="4" y="82"/>
                    <a:pt x="3" y="83"/>
                    <a:pt x="2" y="8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3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57" name="Google Shape;1020;p13">
              <a:extLst>
                <a:ext uri="{FF2B5EF4-FFF2-40B4-BE49-F238E27FC236}">
                  <a16:creationId xmlns:a16="http://schemas.microsoft.com/office/drawing/2014/main" id="{DDAE8099-8D90-5E36-F18A-56D51AA6183D}"/>
                </a:ext>
              </a:extLst>
            </p:cNvPr>
            <p:cNvSpPr/>
            <p:nvPr/>
          </p:nvSpPr>
          <p:spPr>
            <a:xfrm>
              <a:off x="8784254" y="4814261"/>
              <a:ext cx="159849" cy="153050"/>
            </a:xfrm>
            <a:custGeom>
              <a:avLst/>
              <a:gdLst/>
              <a:ahLst/>
              <a:cxnLst/>
              <a:rect l="l" t="t" r="r" b="b"/>
              <a:pathLst>
                <a:path w="80" h="78" extrusionOk="0">
                  <a:moveTo>
                    <a:pt x="26" y="78"/>
                  </a:moveTo>
                  <a:cubicBezTo>
                    <a:pt x="23" y="78"/>
                    <a:pt x="21" y="77"/>
                    <a:pt x="20" y="76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0" y="57"/>
                    <a:pt x="0" y="51"/>
                    <a:pt x="4" y="48"/>
                  </a:cubicBezTo>
                  <a:cubicBezTo>
                    <a:pt x="49" y="3"/>
                    <a:pt x="49" y="3"/>
                    <a:pt x="49" y="3"/>
                  </a:cubicBezTo>
                  <a:cubicBezTo>
                    <a:pt x="50" y="1"/>
                    <a:pt x="52" y="0"/>
                    <a:pt x="55" y="0"/>
                  </a:cubicBezTo>
                  <a:cubicBezTo>
                    <a:pt x="57" y="0"/>
                    <a:pt x="59" y="1"/>
                    <a:pt x="61" y="3"/>
                  </a:cubicBezTo>
                  <a:cubicBezTo>
                    <a:pt x="77" y="19"/>
                    <a:pt x="77" y="19"/>
                    <a:pt x="77" y="19"/>
                  </a:cubicBezTo>
                  <a:cubicBezTo>
                    <a:pt x="80" y="22"/>
                    <a:pt x="80" y="28"/>
                    <a:pt x="77" y="31"/>
                  </a:cubicBezTo>
                  <a:cubicBezTo>
                    <a:pt x="32" y="76"/>
                    <a:pt x="32" y="76"/>
                    <a:pt x="32" y="76"/>
                  </a:cubicBezTo>
                  <a:cubicBezTo>
                    <a:pt x="30" y="77"/>
                    <a:pt x="28" y="78"/>
                    <a:pt x="26" y="78"/>
                  </a:cubicBezTo>
                  <a:close/>
                  <a:moveTo>
                    <a:pt x="55" y="5"/>
                  </a:moveTo>
                  <a:cubicBezTo>
                    <a:pt x="54" y="5"/>
                    <a:pt x="53" y="6"/>
                    <a:pt x="52" y="7"/>
                  </a:cubicBezTo>
                  <a:cubicBezTo>
                    <a:pt x="7" y="51"/>
                    <a:pt x="7" y="51"/>
                    <a:pt x="7" y="51"/>
                  </a:cubicBezTo>
                  <a:cubicBezTo>
                    <a:pt x="6" y="53"/>
                    <a:pt x="6" y="55"/>
                    <a:pt x="7" y="57"/>
                  </a:cubicBezTo>
                  <a:cubicBezTo>
                    <a:pt x="23" y="72"/>
                    <a:pt x="23" y="72"/>
                    <a:pt x="23" y="72"/>
                  </a:cubicBezTo>
                  <a:cubicBezTo>
                    <a:pt x="24" y="74"/>
                    <a:pt x="27" y="74"/>
                    <a:pt x="28" y="72"/>
                  </a:cubicBezTo>
                  <a:cubicBezTo>
                    <a:pt x="73" y="28"/>
                    <a:pt x="73" y="28"/>
                    <a:pt x="73" y="28"/>
                  </a:cubicBezTo>
                  <a:cubicBezTo>
                    <a:pt x="75" y="26"/>
                    <a:pt x="75" y="24"/>
                    <a:pt x="73" y="22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7" y="6"/>
                    <a:pt x="56" y="5"/>
                    <a:pt x="55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3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58" name="Google Shape;1021;p13">
              <a:extLst>
                <a:ext uri="{FF2B5EF4-FFF2-40B4-BE49-F238E27FC236}">
                  <a16:creationId xmlns:a16="http://schemas.microsoft.com/office/drawing/2014/main" id="{1EB3AED3-26E3-9318-DC85-1CAC39698155}"/>
                </a:ext>
              </a:extLst>
            </p:cNvPr>
            <p:cNvSpPr/>
            <p:nvPr/>
          </p:nvSpPr>
          <p:spPr>
            <a:xfrm>
              <a:off x="8897831" y="4796335"/>
              <a:ext cx="64500" cy="60669"/>
            </a:xfrm>
            <a:custGeom>
              <a:avLst/>
              <a:gdLst/>
              <a:ahLst/>
              <a:cxnLst/>
              <a:rect l="l" t="t" r="r" b="b"/>
              <a:pathLst>
                <a:path w="32" h="31" extrusionOk="0">
                  <a:moveTo>
                    <a:pt x="19" y="31"/>
                  </a:moveTo>
                  <a:cubicBezTo>
                    <a:pt x="17" y="31"/>
                    <a:pt x="16" y="31"/>
                    <a:pt x="14" y="29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1" y="16"/>
                    <a:pt x="0" y="14"/>
                    <a:pt x="0" y="12"/>
                  </a:cubicBezTo>
                  <a:cubicBezTo>
                    <a:pt x="0" y="10"/>
                    <a:pt x="1" y="9"/>
                    <a:pt x="2" y="7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8" y="1"/>
                    <a:pt x="10" y="0"/>
                    <a:pt x="12" y="0"/>
                  </a:cubicBezTo>
                  <a:cubicBezTo>
                    <a:pt x="14" y="0"/>
                    <a:pt x="16" y="1"/>
                    <a:pt x="17" y="3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32" y="17"/>
                    <a:pt x="32" y="22"/>
                    <a:pt x="29" y="24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23" y="31"/>
                    <a:pt x="21" y="31"/>
                    <a:pt x="19" y="31"/>
                  </a:cubicBezTo>
                  <a:close/>
                  <a:moveTo>
                    <a:pt x="12" y="5"/>
                  </a:moveTo>
                  <a:cubicBezTo>
                    <a:pt x="12" y="5"/>
                    <a:pt x="11" y="6"/>
                    <a:pt x="11" y="6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5" y="11"/>
                    <a:pt x="5" y="12"/>
                    <a:pt x="5" y="12"/>
                  </a:cubicBezTo>
                  <a:cubicBezTo>
                    <a:pt x="5" y="13"/>
                    <a:pt x="5" y="13"/>
                    <a:pt x="6" y="14"/>
                  </a:cubicBezTo>
                  <a:cubicBezTo>
                    <a:pt x="18" y="26"/>
                    <a:pt x="18" y="26"/>
                    <a:pt x="18" y="26"/>
                  </a:cubicBezTo>
                  <a:cubicBezTo>
                    <a:pt x="19" y="27"/>
                    <a:pt x="20" y="27"/>
                    <a:pt x="21" y="26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6" y="21"/>
                    <a:pt x="26" y="21"/>
                    <a:pt x="26" y="21"/>
                  </a:cubicBezTo>
                  <a:cubicBezTo>
                    <a:pt x="27" y="20"/>
                    <a:pt x="27" y="19"/>
                    <a:pt x="26" y="18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3" y="6"/>
                    <a:pt x="13" y="5"/>
                    <a:pt x="12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3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59" name="Google Shape;1022;p13">
              <a:extLst>
                <a:ext uri="{FF2B5EF4-FFF2-40B4-BE49-F238E27FC236}">
                  <a16:creationId xmlns:a16="http://schemas.microsoft.com/office/drawing/2014/main" id="{FD3E8819-8AD8-099F-AEE9-05794DB96A23}"/>
                </a:ext>
              </a:extLst>
            </p:cNvPr>
            <p:cNvSpPr/>
            <p:nvPr/>
          </p:nvSpPr>
          <p:spPr>
            <a:xfrm>
              <a:off x="9073106" y="4658453"/>
              <a:ext cx="28044" cy="27577"/>
            </a:xfrm>
            <a:custGeom>
              <a:avLst/>
              <a:gdLst/>
              <a:ahLst/>
              <a:cxnLst/>
              <a:rect l="l" t="t" r="r" b="b"/>
              <a:pathLst>
                <a:path w="14" h="14" extrusionOk="0">
                  <a:moveTo>
                    <a:pt x="4" y="14"/>
                  </a:moveTo>
                  <a:cubicBezTo>
                    <a:pt x="3" y="14"/>
                    <a:pt x="2" y="13"/>
                    <a:pt x="1" y="1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0" y="11"/>
                    <a:pt x="0" y="9"/>
                    <a:pt x="1" y="8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9" y="0"/>
                    <a:pt x="11" y="0"/>
                    <a:pt x="13" y="1"/>
                  </a:cubicBezTo>
                  <a:cubicBezTo>
                    <a:pt x="13" y="2"/>
                    <a:pt x="14" y="3"/>
                    <a:pt x="14" y="3"/>
                  </a:cubicBezTo>
                  <a:cubicBezTo>
                    <a:pt x="14" y="4"/>
                    <a:pt x="13" y="5"/>
                    <a:pt x="13" y="6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5" y="13"/>
                    <a:pt x="4" y="14"/>
                    <a:pt x="4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3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711385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B29966B-5681-8623-61CF-571B24588C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3ECE2250-A074-30C4-FE3F-D25060A5C6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ECE2250-A074-30C4-FE3F-D25060A5C6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5CB5022-BD90-FC35-658B-0F7E182D2A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xt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CEB2CB43-93C4-EE45-7435-69B138BEA961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23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" name="Google Shape;1643;p29">
            <a:extLst>
              <a:ext uri="{FF2B5EF4-FFF2-40B4-BE49-F238E27FC236}">
                <a16:creationId xmlns:a16="http://schemas.microsoft.com/office/drawing/2014/main" id="{913E497F-C7EC-1839-0448-E41972EA3708}"/>
              </a:ext>
            </a:extLst>
          </p:cNvPr>
          <p:cNvSpPr/>
          <p:nvPr/>
        </p:nvSpPr>
        <p:spPr>
          <a:xfrm>
            <a:off x="2901353" y="1170830"/>
            <a:ext cx="357804" cy="494431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1600" dirty="0">
              <a:solidFill>
                <a:srgbClr val="FFFFFF"/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5" name="Google Shape;1645;p29">
            <a:extLst>
              <a:ext uri="{FF2B5EF4-FFF2-40B4-BE49-F238E27FC236}">
                <a16:creationId xmlns:a16="http://schemas.microsoft.com/office/drawing/2014/main" id="{104C7133-AE12-C73C-DEC7-D4FA1A348CC1}"/>
              </a:ext>
            </a:extLst>
          </p:cNvPr>
          <p:cNvSpPr/>
          <p:nvPr/>
        </p:nvSpPr>
        <p:spPr>
          <a:xfrm>
            <a:off x="2901353" y="1642574"/>
            <a:ext cx="357804" cy="357803"/>
          </a:xfrm>
          <a:prstGeom prst="donut">
            <a:avLst>
              <a:gd name="adj" fmla="val 25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1600" dirty="0">
              <a:solidFill>
                <a:srgbClr val="FFFFFF"/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6" name="Google Shape;1646;p29">
            <a:extLst>
              <a:ext uri="{FF2B5EF4-FFF2-40B4-BE49-F238E27FC236}">
                <a16:creationId xmlns:a16="http://schemas.microsoft.com/office/drawing/2014/main" id="{88C5E69A-7116-93EE-7284-5204A209425D}"/>
              </a:ext>
            </a:extLst>
          </p:cNvPr>
          <p:cNvSpPr/>
          <p:nvPr/>
        </p:nvSpPr>
        <p:spPr>
          <a:xfrm rot="5400000">
            <a:off x="3388852" y="1758823"/>
            <a:ext cx="207610" cy="125308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1600" dirty="0">
              <a:solidFill>
                <a:srgbClr val="FFFFFF"/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7" name="Google Shape;1647;p29">
            <a:extLst>
              <a:ext uri="{FF2B5EF4-FFF2-40B4-BE49-F238E27FC236}">
                <a16:creationId xmlns:a16="http://schemas.microsoft.com/office/drawing/2014/main" id="{FBDB90AD-503B-1E22-5F81-634133BE1B71}"/>
              </a:ext>
            </a:extLst>
          </p:cNvPr>
          <p:cNvSpPr txBox="1"/>
          <p:nvPr/>
        </p:nvSpPr>
        <p:spPr>
          <a:xfrm>
            <a:off x="614291" y="1689139"/>
            <a:ext cx="2053560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algn="r"/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10:00 AM – 11:00 AM</a:t>
            </a:r>
            <a:endParaRPr sz="16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8" name="Google Shape;1648;p29">
            <a:extLst>
              <a:ext uri="{FF2B5EF4-FFF2-40B4-BE49-F238E27FC236}">
                <a16:creationId xmlns:a16="http://schemas.microsoft.com/office/drawing/2014/main" id="{DC013150-2E56-6FCB-256C-4CC3A78B6724}"/>
              </a:ext>
            </a:extLst>
          </p:cNvPr>
          <p:cNvSpPr txBox="1"/>
          <p:nvPr/>
        </p:nvSpPr>
        <p:spPr>
          <a:xfrm>
            <a:off x="3726158" y="1867733"/>
            <a:ext cx="5482011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chemeClr val="dk1"/>
              </a:buClr>
              <a:buSzPts val="1400"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9" name="Google Shape;1649;p29">
            <a:extLst>
              <a:ext uri="{FF2B5EF4-FFF2-40B4-BE49-F238E27FC236}">
                <a16:creationId xmlns:a16="http://schemas.microsoft.com/office/drawing/2014/main" id="{D5EBD7DA-1B0A-26B3-4185-F072B59CDA55}"/>
              </a:ext>
            </a:extLst>
          </p:cNvPr>
          <p:cNvSpPr txBox="1"/>
          <p:nvPr/>
        </p:nvSpPr>
        <p:spPr>
          <a:xfrm>
            <a:off x="3726158" y="1532043"/>
            <a:ext cx="5482011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>
              <a:buClr>
                <a:schemeClr val="dk1"/>
              </a:buClr>
              <a:buSzPts val="1400"/>
            </a:pPr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Title</a:t>
            </a:r>
            <a:endParaRPr sz="16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10" name="Google Shape;1650;p29">
            <a:extLst>
              <a:ext uri="{FF2B5EF4-FFF2-40B4-BE49-F238E27FC236}">
                <a16:creationId xmlns:a16="http://schemas.microsoft.com/office/drawing/2014/main" id="{86A1DA94-CED6-1C85-6DF5-B622A6866B67}"/>
              </a:ext>
            </a:extLst>
          </p:cNvPr>
          <p:cNvSpPr/>
          <p:nvPr/>
        </p:nvSpPr>
        <p:spPr>
          <a:xfrm>
            <a:off x="2901353" y="2850750"/>
            <a:ext cx="357804" cy="357803"/>
          </a:xfrm>
          <a:prstGeom prst="donut">
            <a:avLst>
              <a:gd name="adj" fmla="val 25000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1600" dirty="0">
              <a:solidFill>
                <a:srgbClr val="FFFFFF"/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11" name="Google Shape;1651;p29">
            <a:extLst>
              <a:ext uri="{FF2B5EF4-FFF2-40B4-BE49-F238E27FC236}">
                <a16:creationId xmlns:a16="http://schemas.microsoft.com/office/drawing/2014/main" id="{11AEB5A2-3A42-CA11-8C04-708EDE1D673D}"/>
              </a:ext>
            </a:extLst>
          </p:cNvPr>
          <p:cNvSpPr/>
          <p:nvPr/>
        </p:nvSpPr>
        <p:spPr>
          <a:xfrm rot="5400000">
            <a:off x="3388852" y="2967001"/>
            <a:ext cx="207610" cy="125308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1600" dirty="0">
              <a:solidFill>
                <a:srgbClr val="FFFFFF"/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12" name="Google Shape;1652;p29">
            <a:extLst>
              <a:ext uri="{FF2B5EF4-FFF2-40B4-BE49-F238E27FC236}">
                <a16:creationId xmlns:a16="http://schemas.microsoft.com/office/drawing/2014/main" id="{8625FD46-FE63-2A82-D11F-87500A5D19FC}"/>
              </a:ext>
            </a:extLst>
          </p:cNvPr>
          <p:cNvSpPr txBox="1"/>
          <p:nvPr/>
        </p:nvSpPr>
        <p:spPr>
          <a:xfrm>
            <a:off x="614291" y="2897317"/>
            <a:ext cx="2053560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algn="r"/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11:00 AM – 12:00 PM</a:t>
            </a:r>
            <a:endParaRPr sz="16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13" name="Google Shape;1653;p29">
            <a:extLst>
              <a:ext uri="{FF2B5EF4-FFF2-40B4-BE49-F238E27FC236}">
                <a16:creationId xmlns:a16="http://schemas.microsoft.com/office/drawing/2014/main" id="{BFC01357-4285-DD34-A2C8-7B5C60BB057B}"/>
              </a:ext>
            </a:extLst>
          </p:cNvPr>
          <p:cNvSpPr txBox="1"/>
          <p:nvPr/>
        </p:nvSpPr>
        <p:spPr>
          <a:xfrm>
            <a:off x="3726158" y="3073758"/>
            <a:ext cx="5482011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chemeClr val="dk1"/>
              </a:buClr>
              <a:buSzPts val="1400"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14" name="Google Shape;1654;p29">
            <a:extLst>
              <a:ext uri="{FF2B5EF4-FFF2-40B4-BE49-F238E27FC236}">
                <a16:creationId xmlns:a16="http://schemas.microsoft.com/office/drawing/2014/main" id="{FCC6D01D-C3F9-2BF7-7B83-076E53B38D07}"/>
              </a:ext>
            </a:extLst>
          </p:cNvPr>
          <p:cNvSpPr txBox="1"/>
          <p:nvPr/>
        </p:nvSpPr>
        <p:spPr>
          <a:xfrm>
            <a:off x="3726158" y="2738070"/>
            <a:ext cx="5482011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>
              <a:buClr>
                <a:schemeClr val="dk1"/>
              </a:buClr>
              <a:buSzPts val="1400"/>
            </a:pPr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Title</a:t>
            </a:r>
            <a:endParaRPr sz="16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15" name="Google Shape;1655;p29">
            <a:extLst>
              <a:ext uri="{FF2B5EF4-FFF2-40B4-BE49-F238E27FC236}">
                <a16:creationId xmlns:a16="http://schemas.microsoft.com/office/drawing/2014/main" id="{79098A9D-EB65-A0CC-FCF3-52CA9AB4E9A5}"/>
              </a:ext>
            </a:extLst>
          </p:cNvPr>
          <p:cNvSpPr/>
          <p:nvPr/>
        </p:nvSpPr>
        <p:spPr>
          <a:xfrm>
            <a:off x="2901353" y="4058925"/>
            <a:ext cx="357804" cy="357803"/>
          </a:xfrm>
          <a:prstGeom prst="donut">
            <a:avLst>
              <a:gd name="adj" fmla="val 25000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1600" dirty="0">
              <a:solidFill>
                <a:srgbClr val="FFFFFF"/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16" name="Google Shape;1656;p29">
            <a:extLst>
              <a:ext uri="{FF2B5EF4-FFF2-40B4-BE49-F238E27FC236}">
                <a16:creationId xmlns:a16="http://schemas.microsoft.com/office/drawing/2014/main" id="{103ED63F-74F2-EEE6-D292-7D2ED6610C6D}"/>
              </a:ext>
            </a:extLst>
          </p:cNvPr>
          <p:cNvSpPr/>
          <p:nvPr/>
        </p:nvSpPr>
        <p:spPr>
          <a:xfrm rot="5400000">
            <a:off x="3388852" y="4175176"/>
            <a:ext cx="207610" cy="125308"/>
          </a:xfrm>
          <a:prstGeom prst="triangle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1600" dirty="0">
              <a:solidFill>
                <a:srgbClr val="FFFFFF"/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17" name="Google Shape;1657;p29">
            <a:extLst>
              <a:ext uri="{FF2B5EF4-FFF2-40B4-BE49-F238E27FC236}">
                <a16:creationId xmlns:a16="http://schemas.microsoft.com/office/drawing/2014/main" id="{0242BD5B-D57F-6957-3CCC-99D7DEEA2417}"/>
              </a:ext>
            </a:extLst>
          </p:cNvPr>
          <p:cNvSpPr txBox="1"/>
          <p:nvPr/>
        </p:nvSpPr>
        <p:spPr>
          <a:xfrm>
            <a:off x="614291" y="4105495"/>
            <a:ext cx="2053560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algn="r"/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12:00 PM – 01:00 PM</a:t>
            </a:r>
            <a:endParaRPr sz="16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18" name="Google Shape;1658;p29">
            <a:extLst>
              <a:ext uri="{FF2B5EF4-FFF2-40B4-BE49-F238E27FC236}">
                <a16:creationId xmlns:a16="http://schemas.microsoft.com/office/drawing/2014/main" id="{758FC41D-AE35-CC56-2099-F13BFD3A231C}"/>
              </a:ext>
            </a:extLst>
          </p:cNvPr>
          <p:cNvSpPr txBox="1"/>
          <p:nvPr/>
        </p:nvSpPr>
        <p:spPr>
          <a:xfrm>
            <a:off x="3726158" y="4289009"/>
            <a:ext cx="5482011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chemeClr val="dk1"/>
              </a:buClr>
              <a:buSzPts val="1400"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19" name="Google Shape;1659;p29">
            <a:extLst>
              <a:ext uri="{FF2B5EF4-FFF2-40B4-BE49-F238E27FC236}">
                <a16:creationId xmlns:a16="http://schemas.microsoft.com/office/drawing/2014/main" id="{7D3FE82C-B327-C6A4-7838-D1D8026807CD}"/>
              </a:ext>
            </a:extLst>
          </p:cNvPr>
          <p:cNvSpPr txBox="1"/>
          <p:nvPr/>
        </p:nvSpPr>
        <p:spPr>
          <a:xfrm>
            <a:off x="3726158" y="3944096"/>
            <a:ext cx="5482011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>
              <a:buClr>
                <a:schemeClr val="dk1"/>
              </a:buClr>
              <a:buSzPts val="1400"/>
            </a:pPr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Title</a:t>
            </a:r>
            <a:endParaRPr sz="16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20" name="Google Shape;1660;p29">
            <a:extLst>
              <a:ext uri="{FF2B5EF4-FFF2-40B4-BE49-F238E27FC236}">
                <a16:creationId xmlns:a16="http://schemas.microsoft.com/office/drawing/2014/main" id="{ECB49A29-D500-03A8-333E-04C9ECB5FB12}"/>
              </a:ext>
            </a:extLst>
          </p:cNvPr>
          <p:cNvSpPr/>
          <p:nvPr/>
        </p:nvSpPr>
        <p:spPr>
          <a:xfrm>
            <a:off x="2901353" y="5267103"/>
            <a:ext cx="357804" cy="357803"/>
          </a:xfrm>
          <a:prstGeom prst="donut">
            <a:avLst>
              <a:gd name="adj" fmla="val 25000"/>
            </a:avLst>
          </a:prstGeom>
          <a:solidFill>
            <a:schemeClr val="accent4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1600" dirty="0">
              <a:solidFill>
                <a:srgbClr val="FFFFFF"/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21" name="Google Shape;1661;p29">
            <a:extLst>
              <a:ext uri="{FF2B5EF4-FFF2-40B4-BE49-F238E27FC236}">
                <a16:creationId xmlns:a16="http://schemas.microsoft.com/office/drawing/2014/main" id="{6CB5A982-DDE9-8FCD-1D12-1AE67213FFDD}"/>
              </a:ext>
            </a:extLst>
          </p:cNvPr>
          <p:cNvSpPr/>
          <p:nvPr/>
        </p:nvSpPr>
        <p:spPr>
          <a:xfrm rot="5400000">
            <a:off x="3388852" y="5383352"/>
            <a:ext cx="207610" cy="125308"/>
          </a:xfrm>
          <a:prstGeom prst="triangle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1600" dirty="0">
              <a:solidFill>
                <a:srgbClr val="FFFFFF"/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22" name="Google Shape;1662;p29">
            <a:extLst>
              <a:ext uri="{FF2B5EF4-FFF2-40B4-BE49-F238E27FC236}">
                <a16:creationId xmlns:a16="http://schemas.microsoft.com/office/drawing/2014/main" id="{1A98A8A8-22EC-7B1C-A494-0C76BCA82E8F}"/>
              </a:ext>
            </a:extLst>
          </p:cNvPr>
          <p:cNvSpPr txBox="1"/>
          <p:nvPr/>
        </p:nvSpPr>
        <p:spPr>
          <a:xfrm>
            <a:off x="614291" y="5322895"/>
            <a:ext cx="2053560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algn="r"/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01:00 PM – 02:00 PM</a:t>
            </a:r>
            <a:endParaRPr sz="16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23" name="Google Shape;1663;p29">
            <a:extLst>
              <a:ext uri="{FF2B5EF4-FFF2-40B4-BE49-F238E27FC236}">
                <a16:creationId xmlns:a16="http://schemas.microsoft.com/office/drawing/2014/main" id="{0EDCACED-5A09-7374-7733-8E350E7AAA7A}"/>
              </a:ext>
            </a:extLst>
          </p:cNvPr>
          <p:cNvSpPr txBox="1"/>
          <p:nvPr/>
        </p:nvSpPr>
        <p:spPr>
          <a:xfrm>
            <a:off x="3726158" y="5495036"/>
            <a:ext cx="5482011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chemeClr val="dk1"/>
              </a:buClr>
              <a:buSzPts val="1400"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24" name="Google Shape;1664;p29">
            <a:extLst>
              <a:ext uri="{FF2B5EF4-FFF2-40B4-BE49-F238E27FC236}">
                <a16:creationId xmlns:a16="http://schemas.microsoft.com/office/drawing/2014/main" id="{D90C0C96-7C45-DBE6-7672-3CED504A5E7B}"/>
              </a:ext>
            </a:extLst>
          </p:cNvPr>
          <p:cNvSpPr txBox="1"/>
          <p:nvPr/>
        </p:nvSpPr>
        <p:spPr>
          <a:xfrm>
            <a:off x="3726158" y="5159349"/>
            <a:ext cx="5482011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>
              <a:buClr>
                <a:schemeClr val="dk1"/>
              </a:buClr>
              <a:buSzPts val="1400"/>
            </a:pPr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Title</a:t>
            </a:r>
            <a:endParaRPr sz="1600" dirty="0">
              <a:solidFill>
                <a:schemeClr val="tx1">
                  <a:lumMod val="10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811743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74E25A-B1E2-E5FC-E56F-9E3EF205446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think-cell data - do not delete" hidden="1">
            <a:extLst>
              <a:ext uri="{FF2B5EF4-FFF2-40B4-BE49-F238E27FC236}">
                <a16:creationId xmlns:a16="http://schemas.microsoft.com/office/drawing/2014/main" id="{E969F4CA-6778-975B-AB78-BAC9E80ABB2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969F4CA-6778-975B-AB78-BAC9E80ABB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AB6AA0F-8C45-8C66-CA6A-288ECD2DAC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79209F4-72B4-10DD-1276-74DE56A1CB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24</a:t>
            </a:fld>
            <a:endParaRPr lang="en-US" dirty="0"/>
          </a:p>
        </p:txBody>
      </p:sp>
      <p:sp>
        <p:nvSpPr>
          <p:cNvPr id="5" name="Google Shape;1185;g6b2a921a3a_2_763">
            <a:extLst>
              <a:ext uri="{FF2B5EF4-FFF2-40B4-BE49-F238E27FC236}">
                <a16:creationId xmlns:a16="http://schemas.microsoft.com/office/drawing/2014/main" id="{3A94FE2A-3D60-03EC-6CD0-8F248922F8EE}"/>
              </a:ext>
            </a:extLst>
          </p:cNvPr>
          <p:cNvSpPr txBox="1"/>
          <p:nvPr/>
        </p:nvSpPr>
        <p:spPr>
          <a:xfrm>
            <a:off x="5372133" y="1067489"/>
            <a:ext cx="1852569" cy="2670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6" name="Google Shape;1188;g6b2a921a3a_2_763">
            <a:extLst>
              <a:ext uri="{FF2B5EF4-FFF2-40B4-BE49-F238E27FC236}">
                <a16:creationId xmlns:a16="http://schemas.microsoft.com/office/drawing/2014/main" id="{80677AC2-5C8B-C14E-16DE-8B546F54680A}"/>
              </a:ext>
            </a:extLst>
          </p:cNvPr>
          <p:cNvSpPr txBox="1"/>
          <p:nvPr/>
        </p:nvSpPr>
        <p:spPr>
          <a:xfrm>
            <a:off x="7513623" y="1067489"/>
            <a:ext cx="1852569" cy="2670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7" name="Google Shape;1191;g6b2a921a3a_2_763">
            <a:extLst>
              <a:ext uri="{FF2B5EF4-FFF2-40B4-BE49-F238E27FC236}">
                <a16:creationId xmlns:a16="http://schemas.microsoft.com/office/drawing/2014/main" id="{790CE74E-D6B3-FB21-3276-B629C65D3D2B}"/>
              </a:ext>
            </a:extLst>
          </p:cNvPr>
          <p:cNvSpPr txBox="1"/>
          <p:nvPr/>
        </p:nvSpPr>
        <p:spPr>
          <a:xfrm>
            <a:off x="9655114" y="1067489"/>
            <a:ext cx="1852569" cy="2670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8" name="Google Shape;1199;g6b2a921a3a_2_763">
            <a:extLst>
              <a:ext uri="{FF2B5EF4-FFF2-40B4-BE49-F238E27FC236}">
                <a16:creationId xmlns:a16="http://schemas.microsoft.com/office/drawing/2014/main" id="{4D7DB4A8-7CF1-A5B6-E933-0E2B5F91A99A}"/>
              </a:ext>
            </a:extLst>
          </p:cNvPr>
          <p:cNvSpPr txBox="1"/>
          <p:nvPr/>
        </p:nvSpPr>
        <p:spPr>
          <a:xfrm>
            <a:off x="3230645" y="1067489"/>
            <a:ext cx="1852569" cy="2670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28" name="Shape1_20210513_112140">
            <a:extLst>
              <a:ext uri="{FF2B5EF4-FFF2-40B4-BE49-F238E27FC236}">
                <a16:creationId xmlns:a16="http://schemas.microsoft.com/office/drawing/2014/main" id="{E4D04EC9-4E62-8D13-0388-E2BA90EDBAF9}"/>
              </a:ext>
            </a:extLst>
          </p:cNvPr>
          <p:cNvCxnSpPr/>
          <p:nvPr/>
        </p:nvCxnSpPr>
        <p:spPr>
          <a:xfrm>
            <a:off x="3230641" y="2952140"/>
            <a:ext cx="8277039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29" name="Shape2_20210513_112140">
            <a:extLst>
              <a:ext uri="{FF2B5EF4-FFF2-40B4-BE49-F238E27FC236}">
                <a16:creationId xmlns:a16="http://schemas.microsoft.com/office/drawing/2014/main" id="{E4B27019-C779-A10C-1760-B6D8EA8EE49F}"/>
              </a:ext>
            </a:extLst>
          </p:cNvPr>
          <p:cNvCxnSpPr/>
          <p:nvPr/>
        </p:nvCxnSpPr>
        <p:spPr>
          <a:xfrm>
            <a:off x="3230641" y="4427201"/>
            <a:ext cx="8277039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30" name="Google Shape;1179;g6b2a921a3a_2_763">
            <a:extLst>
              <a:ext uri="{FF2B5EF4-FFF2-40B4-BE49-F238E27FC236}">
                <a16:creationId xmlns:a16="http://schemas.microsoft.com/office/drawing/2014/main" id="{C73045F6-C36D-C1C9-C2DA-1509B4503C28}"/>
              </a:ext>
            </a:extLst>
          </p:cNvPr>
          <p:cNvSpPr txBox="1"/>
          <p:nvPr/>
        </p:nvSpPr>
        <p:spPr>
          <a:xfrm>
            <a:off x="549928" y="1602618"/>
            <a:ext cx="2563270" cy="12450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600" b="1" dirty="0">
                <a:solidFill>
                  <a:srgbClr val="FFFFFF"/>
                </a:solidFill>
              </a:rPr>
              <a:t>Title</a:t>
            </a:r>
            <a:endParaRPr sz="1600" dirty="0"/>
          </a:p>
        </p:txBody>
      </p:sp>
      <p:sp>
        <p:nvSpPr>
          <p:cNvPr id="31" name="Content Placeholder 2">
            <a:extLst>
              <a:ext uri="{FF2B5EF4-FFF2-40B4-BE49-F238E27FC236}">
                <a16:creationId xmlns:a16="http://schemas.microsoft.com/office/drawing/2014/main" id="{EF6EEED3-78C1-EDCD-BF49-7985B5FFF30F}"/>
              </a:ext>
            </a:extLst>
          </p:cNvPr>
          <p:cNvSpPr txBox="1">
            <a:spLocks/>
          </p:cNvSpPr>
          <p:nvPr/>
        </p:nvSpPr>
        <p:spPr bwMode="auto">
          <a:xfrm>
            <a:off x="3230644" y="2106890"/>
            <a:ext cx="1852569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32" name="Content Placeholder 2~1">
            <a:extLst>
              <a:ext uri="{FF2B5EF4-FFF2-40B4-BE49-F238E27FC236}">
                <a16:creationId xmlns:a16="http://schemas.microsoft.com/office/drawing/2014/main" id="{1BBC89A2-7CCD-E188-8C6B-D3543D652932}"/>
              </a:ext>
            </a:extLst>
          </p:cNvPr>
          <p:cNvSpPr txBox="1">
            <a:spLocks/>
          </p:cNvSpPr>
          <p:nvPr/>
        </p:nvSpPr>
        <p:spPr bwMode="auto">
          <a:xfrm>
            <a:off x="5372133" y="2106890"/>
            <a:ext cx="1852569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33" name="Content Placeholder 2~2">
            <a:extLst>
              <a:ext uri="{FF2B5EF4-FFF2-40B4-BE49-F238E27FC236}">
                <a16:creationId xmlns:a16="http://schemas.microsoft.com/office/drawing/2014/main" id="{A767E3EB-30FD-116A-DE00-6672D61E580A}"/>
              </a:ext>
            </a:extLst>
          </p:cNvPr>
          <p:cNvSpPr txBox="1">
            <a:spLocks/>
          </p:cNvSpPr>
          <p:nvPr/>
        </p:nvSpPr>
        <p:spPr bwMode="auto">
          <a:xfrm>
            <a:off x="7511136" y="2106890"/>
            <a:ext cx="1852569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34" name="Content Placeholder 2~3">
            <a:extLst>
              <a:ext uri="{FF2B5EF4-FFF2-40B4-BE49-F238E27FC236}">
                <a16:creationId xmlns:a16="http://schemas.microsoft.com/office/drawing/2014/main" id="{542F1C2C-472A-6932-F64D-BC79BC88CE70}"/>
              </a:ext>
            </a:extLst>
          </p:cNvPr>
          <p:cNvSpPr txBox="1">
            <a:spLocks/>
          </p:cNvSpPr>
          <p:nvPr/>
        </p:nvSpPr>
        <p:spPr bwMode="auto">
          <a:xfrm>
            <a:off x="9650137" y="2106890"/>
            <a:ext cx="1852569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36" name="Google Shape;1180;g6b2a921a3a_2_763">
            <a:extLst>
              <a:ext uri="{FF2B5EF4-FFF2-40B4-BE49-F238E27FC236}">
                <a16:creationId xmlns:a16="http://schemas.microsoft.com/office/drawing/2014/main" id="{9E9CE9DD-CF91-033F-73B4-4DBA2E12FB5F}"/>
              </a:ext>
            </a:extLst>
          </p:cNvPr>
          <p:cNvSpPr txBox="1"/>
          <p:nvPr/>
        </p:nvSpPr>
        <p:spPr>
          <a:xfrm>
            <a:off x="549928" y="3077683"/>
            <a:ext cx="2563270" cy="12450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600" b="1" dirty="0">
                <a:solidFill>
                  <a:srgbClr val="FFFFFF"/>
                </a:solidFill>
              </a:rPr>
              <a:t>Title</a:t>
            </a:r>
            <a:endParaRPr lang="en-US" sz="1600" dirty="0"/>
          </a:p>
        </p:txBody>
      </p:sp>
      <p:sp>
        <p:nvSpPr>
          <p:cNvPr id="37" name="Content Placeholder 2~4">
            <a:extLst>
              <a:ext uri="{FF2B5EF4-FFF2-40B4-BE49-F238E27FC236}">
                <a16:creationId xmlns:a16="http://schemas.microsoft.com/office/drawing/2014/main" id="{54D6F8B5-596D-AB7D-CAC9-EA38F6F61966}"/>
              </a:ext>
            </a:extLst>
          </p:cNvPr>
          <p:cNvSpPr txBox="1">
            <a:spLocks/>
          </p:cNvSpPr>
          <p:nvPr/>
        </p:nvSpPr>
        <p:spPr bwMode="auto">
          <a:xfrm>
            <a:off x="3230644" y="3581956"/>
            <a:ext cx="1852569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38" name="Content Placeholder 2~5">
            <a:extLst>
              <a:ext uri="{FF2B5EF4-FFF2-40B4-BE49-F238E27FC236}">
                <a16:creationId xmlns:a16="http://schemas.microsoft.com/office/drawing/2014/main" id="{BED48C14-DA11-E027-1C47-A0DD96376DC8}"/>
              </a:ext>
            </a:extLst>
          </p:cNvPr>
          <p:cNvSpPr txBox="1">
            <a:spLocks/>
          </p:cNvSpPr>
          <p:nvPr/>
        </p:nvSpPr>
        <p:spPr bwMode="auto">
          <a:xfrm>
            <a:off x="5372133" y="3581956"/>
            <a:ext cx="1852569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39" name="Content Placeholder 2~6">
            <a:extLst>
              <a:ext uri="{FF2B5EF4-FFF2-40B4-BE49-F238E27FC236}">
                <a16:creationId xmlns:a16="http://schemas.microsoft.com/office/drawing/2014/main" id="{3DE66B63-3755-8C0F-A6C1-BA11611939C3}"/>
              </a:ext>
            </a:extLst>
          </p:cNvPr>
          <p:cNvSpPr txBox="1">
            <a:spLocks/>
          </p:cNvSpPr>
          <p:nvPr/>
        </p:nvSpPr>
        <p:spPr bwMode="auto">
          <a:xfrm>
            <a:off x="7511136" y="3581956"/>
            <a:ext cx="1852569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40" name="Content Placeholder 2~7">
            <a:extLst>
              <a:ext uri="{FF2B5EF4-FFF2-40B4-BE49-F238E27FC236}">
                <a16:creationId xmlns:a16="http://schemas.microsoft.com/office/drawing/2014/main" id="{4A559A60-F766-E9B4-A7D2-3A1B923A2013}"/>
              </a:ext>
            </a:extLst>
          </p:cNvPr>
          <p:cNvSpPr txBox="1">
            <a:spLocks/>
          </p:cNvSpPr>
          <p:nvPr/>
        </p:nvSpPr>
        <p:spPr bwMode="auto">
          <a:xfrm>
            <a:off x="9650137" y="3581956"/>
            <a:ext cx="1852569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41" name="Google Shape;1181;g6b2a921a3a_2_763">
            <a:extLst>
              <a:ext uri="{FF2B5EF4-FFF2-40B4-BE49-F238E27FC236}">
                <a16:creationId xmlns:a16="http://schemas.microsoft.com/office/drawing/2014/main" id="{91ED72AA-58E9-C6D6-4921-4450EC28C40C}"/>
              </a:ext>
            </a:extLst>
          </p:cNvPr>
          <p:cNvSpPr txBox="1"/>
          <p:nvPr/>
        </p:nvSpPr>
        <p:spPr>
          <a:xfrm>
            <a:off x="549928" y="4552746"/>
            <a:ext cx="2563270" cy="12450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600" b="1" dirty="0">
                <a:solidFill>
                  <a:srgbClr val="FFFFFF"/>
                </a:solidFill>
              </a:rPr>
              <a:t>Title</a:t>
            </a:r>
            <a:endParaRPr lang="en-US" sz="1600" dirty="0"/>
          </a:p>
        </p:txBody>
      </p:sp>
      <p:sp>
        <p:nvSpPr>
          <p:cNvPr id="42" name="Content Placeholder 2~8">
            <a:extLst>
              <a:ext uri="{FF2B5EF4-FFF2-40B4-BE49-F238E27FC236}">
                <a16:creationId xmlns:a16="http://schemas.microsoft.com/office/drawing/2014/main" id="{4C91C929-ED35-4A8F-2683-9D849496D8F8}"/>
              </a:ext>
            </a:extLst>
          </p:cNvPr>
          <p:cNvSpPr txBox="1">
            <a:spLocks/>
          </p:cNvSpPr>
          <p:nvPr/>
        </p:nvSpPr>
        <p:spPr bwMode="auto">
          <a:xfrm>
            <a:off x="3230644" y="5057017"/>
            <a:ext cx="1852569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43" name="Content Placeholder 2~9">
            <a:extLst>
              <a:ext uri="{FF2B5EF4-FFF2-40B4-BE49-F238E27FC236}">
                <a16:creationId xmlns:a16="http://schemas.microsoft.com/office/drawing/2014/main" id="{70FCBBDA-DD58-D5C3-CA8F-34CAD87FFE14}"/>
              </a:ext>
            </a:extLst>
          </p:cNvPr>
          <p:cNvSpPr txBox="1">
            <a:spLocks/>
          </p:cNvSpPr>
          <p:nvPr/>
        </p:nvSpPr>
        <p:spPr bwMode="auto">
          <a:xfrm>
            <a:off x="5372133" y="5057017"/>
            <a:ext cx="1852569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44" name="Content Placeholder 2~10">
            <a:extLst>
              <a:ext uri="{FF2B5EF4-FFF2-40B4-BE49-F238E27FC236}">
                <a16:creationId xmlns:a16="http://schemas.microsoft.com/office/drawing/2014/main" id="{33D835A2-837A-5AA8-39C7-9EEFC6B6D1EE}"/>
              </a:ext>
            </a:extLst>
          </p:cNvPr>
          <p:cNvSpPr txBox="1">
            <a:spLocks/>
          </p:cNvSpPr>
          <p:nvPr/>
        </p:nvSpPr>
        <p:spPr bwMode="auto">
          <a:xfrm>
            <a:off x="7511136" y="5057017"/>
            <a:ext cx="1852569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45" name="Content Placeholder 2~11">
            <a:extLst>
              <a:ext uri="{FF2B5EF4-FFF2-40B4-BE49-F238E27FC236}">
                <a16:creationId xmlns:a16="http://schemas.microsoft.com/office/drawing/2014/main" id="{D46FA60A-1615-1BC8-DE87-A20DAC652142}"/>
              </a:ext>
            </a:extLst>
          </p:cNvPr>
          <p:cNvSpPr txBox="1">
            <a:spLocks/>
          </p:cNvSpPr>
          <p:nvPr/>
        </p:nvSpPr>
        <p:spPr bwMode="auto">
          <a:xfrm>
            <a:off x="9650137" y="5057017"/>
            <a:ext cx="1852569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cxnSp>
        <p:nvCxnSpPr>
          <p:cNvPr id="46" name="Google Shape;1186;g6b2a921a3a_2_763">
            <a:extLst>
              <a:ext uri="{FF2B5EF4-FFF2-40B4-BE49-F238E27FC236}">
                <a16:creationId xmlns:a16="http://schemas.microsoft.com/office/drawing/2014/main" id="{C64F778B-AC50-6832-D4E1-F2168B0222CA}"/>
              </a:ext>
            </a:extLst>
          </p:cNvPr>
          <p:cNvCxnSpPr/>
          <p:nvPr/>
        </p:nvCxnSpPr>
        <p:spPr>
          <a:xfrm>
            <a:off x="5372133" y="1403466"/>
            <a:ext cx="1852569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47" name="Google Shape;1189;g6b2a921a3a_2_763">
            <a:extLst>
              <a:ext uri="{FF2B5EF4-FFF2-40B4-BE49-F238E27FC236}">
                <a16:creationId xmlns:a16="http://schemas.microsoft.com/office/drawing/2014/main" id="{33F3BBFA-C3C6-1C58-4BB4-8F1F7C6B35D2}"/>
              </a:ext>
            </a:extLst>
          </p:cNvPr>
          <p:cNvCxnSpPr/>
          <p:nvPr/>
        </p:nvCxnSpPr>
        <p:spPr>
          <a:xfrm>
            <a:off x="7513623" y="1403466"/>
            <a:ext cx="1852569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48" name="Google Shape;1192;g6b2a921a3a_2_763">
            <a:extLst>
              <a:ext uri="{FF2B5EF4-FFF2-40B4-BE49-F238E27FC236}">
                <a16:creationId xmlns:a16="http://schemas.microsoft.com/office/drawing/2014/main" id="{7B17ED47-F2AB-FE17-DAA9-7CBB26D1C080}"/>
              </a:ext>
            </a:extLst>
          </p:cNvPr>
          <p:cNvCxnSpPr/>
          <p:nvPr/>
        </p:nvCxnSpPr>
        <p:spPr>
          <a:xfrm>
            <a:off x="9655113" y="1403466"/>
            <a:ext cx="1852569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49" name="Google Shape;1200;g6b2a921a3a_2_763">
            <a:extLst>
              <a:ext uri="{FF2B5EF4-FFF2-40B4-BE49-F238E27FC236}">
                <a16:creationId xmlns:a16="http://schemas.microsoft.com/office/drawing/2014/main" id="{A2494F1F-3983-E426-EF6E-49B9B6F9A5C8}"/>
              </a:ext>
            </a:extLst>
          </p:cNvPr>
          <p:cNvCxnSpPr/>
          <p:nvPr/>
        </p:nvCxnSpPr>
        <p:spPr>
          <a:xfrm>
            <a:off x="3230644" y="1403466"/>
            <a:ext cx="1852569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238534521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AF83A6-CD9B-F574-111D-E6469E6654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think-cell data - do not delete" hidden="1">
            <a:extLst>
              <a:ext uri="{FF2B5EF4-FFF2-40B4-BE49-F238E27FC236}">
                <a16:creationId xmlns:a16="http://schemas.microsoft.com/office/drawing/2014/main" id="{90F794B5-3CC8-4BE1-EC41-8AB99307DB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0F794B5-3CC8-4BE1-EC41-8AB99307DB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60A1588-4D88-F148-2CC8-E498347829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0FF75D0-FBC7-A98F-C1D1-6892F8D891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25</a:t>
            </a:fld>
            <a:endParaRPr lang="en-US" dirty="0"/>
          </a:p>
        </p:txBody>
      </p:sp>
      <p:cxnSp>
        <p:nvCxnSpPr>
          <p:cNvPr id="3" name="Shape0_20220715_163354">
            <a:extLst>
              <a:ext uri="{FF2B5EF4-FFF2-40B4-BE49-F238E27FC236}">
                <a16:creationId xmlns:a16="http://schemas.microsoft.com/office/drawing/2014/main" id="{02EF1965-81BB-C667-D3E4-B2A0543961FA}"/>
              </a:ext>
            </a:extLst>
          </p:cNvPr>
          <p:cNvCxnSpPr/>
          <p:nvPr/>
        </p:nvCxnSpPr>
        <p:spPr>
          <a:xfrm>
            <a:off x="3237027" y="2478520"/>
            <a:ext cx="8296757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9" name="Shape1_20220715_163354">
            <a:extLst>
              <a:ext uri="{FF2B5EF4-FFF2-40B4-BE49-F238E27FC236}">
                <a16:creationId xmlns:a16="http://schemas.microsoft.com/office/drawing/2014/main" id="{7BB263BF-32CA-8FC2-7AFD-B94712B59EF1}"/>
              </a:ext>
            </a:extLst>
          </p:cNvPr>
          <p:cNvCxnSpPr/>
          <p:nvPr/>
        </p:nvCxnSpPr>
        <p:spPr>
          <a:xfrm>
            <a:off x="3237027" y="3567315"/>
            <a:ext cx="8296757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10" name="Shape2_20220715_163354">
            <a:extLst>
              <a:ext uri="{FF2B5EF4-FFF2-40B4-BE49-F238E27FC236}">
                <a16:creationId xmlns:a16="http://schemas.microsoft.com/office/drawing/2014/main" id="{9A4DC670-17BC-3FF6-83EC-E9BDF1DB007D}"/>
              </a:ext>
            </a:extLst>
          </p:cNvPr>
          <p:cNvCxnSpPr/>
          <p:nvPr/>
        </p:nvCxnSpPr>
        <p:spPr>
          <a:xfrm>
            <a:off x="3237027" y="4656116"/>
            <a:ext cx="8296757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1" name="Google Shape;1179;g6b2a921a3a_2_763">
            <a:extLst>
              <a:ext uri="{FF2B5EF4-FFF2-40B4-BE49-F238E27FC236}">
                <a16:creationId xmlns:a16="http://schemas.microsoft.com/office/drawing/2014/main" id="{5605A06B-2A05-3DDE-C1D5-EC9ECD9B467D}"/>
              </a:ext>
            </a:extLst>
          </p:cNvPr>
          <p:cNvSpPr txBox="1"/>
          <p:nvPr/>
        </p:nvSpPr>
        <p:spPr>
          <a:xfrm>
            <a:off x="549928" y="1474618"/>
            <a:ext cx="2569376" cy="9190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600" b="1" dirty="0">
                <a:solidFill>
                  <a:srgbClr val="FFFFFF"/>
                </a:solidFill>
              </a:rPr>
              <a:t>Title</a:t>
            </a:r>
            <a:endParaRPr sz="1600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3779FD9B-5496-79ED-3EF9-FF912545F0E8}"/>
              </a:ext>
            </a:extLst>
          </p:cNvPr>
          <p:cNvSpPr txBox="1">
            <a:spLocks/>
          </p:cNvSpPr>
          <p:nvPr/>
        </p:nvSpPr>
        <p:spPr bwMode="auto">
          <a:xfrm>
            <a:off x="3237030" y="1826401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13" name="Content Placeholder 2~1">
            <a:extLst>
              <a:ext uri="{FF2B5EF4-FFF2-40B4-BE49-F238E27FC236}">
                <a16:creationId xmlns:a16="http://schemas.microsoft.com/office/drawing/2014/main" id="{E4583DBA-3F49-1C88-96A1-DD3AFF406798}"/>
              </a:ext>
            </a:extLst>
          </p:cNvPr>
          <p:cNvSpPr txBox="1">
            <a:spLocks/>
          </p:cNvSpPr>
          <p:nvPr/>
        </p:nvSpPr>
        <p:spPr bwMode="auto">
          <a:xfrm>
            <a:off x="5383619" y="1826401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14" name="Content Placeholder 2~2">
            <a:extLst>
              <a:ext uri="{FF2B5EF4-FFF2-40B4-BE49-F238E27FC236}">
                <a16:creationId xmlns:a16="http://schemas.microsoft.com/office/drawing/2014/main" id="{927D2DEF-20C6-0464-75B0-30C62AF93943}"/>
              </a:ext>
            </a:extLst>
          </p:cNvPr>
          <p:cNvSpPr txBox="1">
            <a:spLocks/>
          </p:cNvSpPr>
          <p:nvPr/>
        </p:nvSpPr>
        <p:spPr bwMode="auto">
          <a:xfrm>
            <a:off x="7527718" y="1826401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15" name="Content Placeholder 2~3">
            <a:extLst>
              <a:ext uri="{FF2B5EF4-FFF2-40B4-BE49-F238E27FC236}">
                <a16:creationId xmlns:a16="http://schemas.microsoft.com/office/drawing/2014/main" id="{5519B40C-7046-1D6E-EEEE-464AE39A98D3}"/>
              </a:ext>
            </a:extLst>
          </p:cNvPr>
          <p:cNvSpPr txBox="1">
            <a:spLocks/>
          </p:cNvSpPr>
          <p:nvPr/>
        </p:nvSpPr>
        <p:spPr bwMode="auto">
          <a:xfrm>
            <a:off x="9671815" y="1826401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16" name="Google Shape;1180;g6b2a921a3a_2_763">
            <a:extLst>
              <a:ext uri="{FF2B5EF4-FFF2-40B4-BE49-F238E27FC236}">
                <a16:creationId xmlns:a16="http://schemas.microsoft.com/office/drawing/2014/main" id="{30F2A893-DDB5-9204-120F-1DE76DA94705}"/>
              </a:ext>
            </a:extLst>
          </p:cNvPr>
          <p:cNvSpPr txBox="1"/>
          <p:nvPr/>
        </p:nvSpPr>
        <p:spPr>
          <a:xfrm>
            <a:off x="549928" y="2563416"/>
            <a:ext cx="2569376" cy="9190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600" b="1" dirty="0">
                <a:solidFill>
                  <a:srgbClr val="FFFFFF"/>
                </a:solidFill>
              </a:rPr>
              <a:t>Title</a:t>
            </a:r>
            <a:endParaRPr lang="en-US" sz="1600" dirty="0"/>
          </a:p>
        </p:txBody>
      </p:sp>
      <p:sp>
        <p:nvSpPr>
          <p:cNvPr id="17" name="Content Placeholder 2~4">
            <a:extLst>
              <a:ext uri="{FF2B5EF4-FFF2-40B4-BE49-F238E27FC236}">
                <a16:creationId xmlns:a16="http://schemas.microsoft.com/office/drawing/2014/main" id="{0520490C-F436-363F-A6F4-65DCA1858770}"/>
              </a:ext>
            </a:extLst>
          </p:cNvPr>
          <p:cNvSpPr txBox="1">
            <a:spLocks/>
          </p:cNvSpPr>
          <p:nvPr/>
        </p:nvSpPr>
        <p:spPr bwMode="auto">
          <a:xfrm>
            <a:off x="3237030" y="2915199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18" name="Content Placeholder 2~5">
            <a:extLst>
              <a:ext uri="{FF2B5EF4-FFF2-40B4-BE49-F238E27FC236}">
                <a16:creationId xmlns:a16="http://schemas.microsoft.com/office/drawing/2014/main" id="{978B3FED-55A9-58F7-8F54-6839D5D6AFDA}"/>
              </a:ext>
            </a:extLst>
          </p:cNvPr>
          <p:cNvSpPr txBox="1">
            <a:spLocks/>
          </p:cNvSpPr>
          <p:nvPr/>
        </p:nvSpPr>
        <p:spPr bwMode="auto">
          <a:xfrm>
            <a:off x="5383619" y="2915199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19" name="Content Placeholder 2~6">
            <a:extLst>
              <a:ext uri="{FF2B5EF4-FFF2-40B4-BE49-F238E27FC236}">
                <a16:creationId xmlns:a16="http://schemas.microsoft.com/office/drawing/2014/main" id="{0516E9DC-FB3F-8974-5480-BD8E1445EFCA}"/>
              </a:ext>
            </a:extLst>
          </p:cNvPr>
          <p:cNvSpPr txBox="1">
            <a:spLocks/>
          </p:cNvSpPr>
          <p:nvPr/>
        </p:nvSpPr>
        <p:spPr bwMode="auto">
          <a:xfrm>
            <a:off x="7527718" y="2915199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20" name="Content Placeholder 2~7">
            <a:extLst>
              <a:ext uri="{FF2B5EF4-FFF2-40B4-BE49-F238E27FC236}">
                <a16:creationId xmlns:a16="http://schemas.microsoft.com/office/drawing/2014/main" id="{A635DEED-B386-A72A-0DC2-D96841AAA8CC}"/>
              </a:ext>
            </a:extLst>
          </p:cNvPr>
          <p:cNvSpPr txBox="1">
            <a:spLocks/>
          </p:cNvSpPr>
          <p:nvPr/>
        </p:nvSpPr>
        <p:spPr bwMode="auto">
          <a:xfrm>
            <a:off x="9671815" y="2915199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21" name="Google Shape;1181;g6b2a921a3a_2_763">
            <a:extLst>
              <a:ext uri="{FF2B5EF4-FFF2-40B4-BE49-F238E27FC236}">
                <a16:creationId xmlns:a16="http://schemas.microsoft.com/office/drawing/2014/main" id="{10B0A05D-EB7B-A0C7-372F-59395BE22F6D}"/>
              </a:ext>
            </a:extLst>
          </p:cNvPr>
          <p:cNvSpPr txBox="1"/>
          <p:nvPr/>
        </p:nvSpPr>
        <p:spPr>
          <a:xfrm>
            <a:off x="549928" y="3652223"/>
            <a:ext cx="2569376" cy="9190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600" b="1" dirty="0">
                <a:solidFill>
                  <a:srgbClr val="FFFFFF"/>
                </a:solidFill>
              </a:rPr>
              <a:t>Title</a:t>
            </a:r>
            <a:endParaRPr lang="en-US" sz="1600" dirty="0"/>
          </a:p>
        </p:txBody>
      </p:sp>
      <p:sp>
        <p:nvSpPr>
          <p:cNvPr id="22" name="Content Placeholder 2~8">
            <a:extLst>
              <a:ext uri="{FF2B5EF4-FFF2-40B4-BE49-F238E27FC236}">
                <a16:creationId xmlns:a16="http://schemas.microsoft.com/office/drawing/2014/main" id="{507EE228-12FE-3561-4D12-46DD116C46E0}"/>
              </a:ext>
            </a:extLst>
          </p:cNvPr>
          <p:cNvSpPr txBox="1">
            <a:spLocks/>
          </p:cNvSpPr>
          <p:nvPr/>
        </p:nvSpPr>
        <p:spPr bwMode="auto">
          <a:xfrm>
            <a:off x="3237030" y="4003996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23" name="Content Placeholder 2~9">
            <a:extLst>
              <a:ext uri="{FF2B5EF4-FFF2-40B4-BE49-F238E27FC236}">
                <a16:creationId xmlns:a16="http://schemas.microsoft.com/office/drawing/2014/main" id="{C0D14FCC-1108-0244-9C67-9924D36D0E32}"/>
              </a:ext>
            </a:extLst>
          </p:cNvPr>
          <p:cNvSpPr txBox="1">
            <a:spLocks/>
          </p:cNvSpPr>
          <p:nvPr/>
        </p:nvSpPr>
        <p:spPr bwMode="auto">
          <a:xfrm>
            <a:off x="5383619" y="4003996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24" name="Content Placeholder 2~10">
            <a:extLst>
              <a:ext uri="{FF2B5EF4-FFF2-40B4-BE49-F238E27FC236}">
                <a16:creationId xmlns:a16="http://schemas.microsoft.com/office/drawing/2014/main" id="{D0A54826-DDFB-FDF9-7FB3-EA050A96EAF4}"/>
              </a:ext>
            </a:extLst>
          </p:cNvPr>
          <p:cNvSpPr txBox="1">
            <a:spLocks/>
          </p:cNvSpPr>
          <p:nvPr/>
        </p:nvSpPr>
        <p:spPr bwMode="auto">
          <a:xfrm>
            <a:off x="7527718" y="4003996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25" name="Content Placeholder 2~11">
            <a:extLst>
              <a:ext uri="{FF2B5EF4-FFF2-40B4-BE49-F238E27FC236}">
                <a16:creationId xmlns:a16="http://schemas.microsoft.com/office/drawing/2014/main" id="{459414ED-514E-6C15-B6A5-332C6823E64C}"/>
              </a:ext>
            </a:extLst>
          </p:cNvPr>
          <p:cNvSpPr txBox="1">
            <a:spLocks/>
          </p:cNvSpPr>
          <p:nvPr/>
        </p:nvSpPr>
        <p:spPr bwMode="auto">
          <a:xfrm>
            <a:off x="9671815" y="4003996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26" name="Google Shape;1182;g6b2a921a3a_2_763">
            <a:extLst>
              <a:ext uri="{FF2B5EF4-FFF2-40B4-BE49-F238E27FC236}">
                <a16:creationId xmlns:a16="http://schemas.microsoft.com/office/drawing/2014/main" id="{E60572BE-C353-9657-C6B7-E198FBD031DA}"/>
              </a:ext>
            </a:extLst>
          </p:cNvPr>
          <p:cNvSpPr txBox="1"/>
          <p:nvPr/>
        </p:nvSpPr>
        <p:spPr>
          <a:xfrm>
            <a:off x="549928" y="4741018"/>
            <a:ext cx="2569376" cy="9190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600" b="1" dirty="0">
                <a:solidFill>
                  <a:srgbClr val="FFFFFF"/>
                </a:solidFill>
              </a:rPr>
              <a:t>Title</a:t>
            </a:r>
            <a:endParaRPr lang="en-US" sz="1600" dirty="0"/>
          </a:p>
        </p:txBody>
      </p:sp>
      <p:sp>
        <p:nvSpPr>
          <p:cNvPr id="27" name="Content Placeholder 2~12">
            <a:extLst>
              <a:ext uri="{FF2B5EF4-FFF2-40B4-BE49-F238E27FC236}">
                <a16:creationId xmlns:a16="http://schemas.microsoft.com/office/drawing/2014/main" id="{B1A78B08-1C5C-1153-FA8A-140EA4CDFC4E}"/>
              </a:ext>
            </a:extLst>
          </p:cNvPr>
          <p:cNvSpPr txBox="1">
            <a:spLocks/>
          </p:cNvSpPr>
          <p:nvPr/>
        </p:nvSpPr>
        <p:spPr bwMode="auto">
          <a:xfrm>
            <a:off x="3237030" y="5092802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50" name="Content Placeholder 2~13">
            <a:extLst>
              <a:ext uri="{FF2B5EF4-FFF2-40B4-BE49-F238E27FC236}">
                <a16:creationId xmlns:a16="http://schemas.microsoft.com/office/drawing/2014/main" id="{285FF52F-8AB7-EF9E-1FFA-74357A8E6773}"/>
              </a:ext>
            </a:extLst>
          </p:cNvPr>
          <p:cNvSpPr txBox="1">
            <a:spLocks/>
          </p:cNvSpPr>
          <p:nvPr/>
        </p:nvSpPr>
        <p:spPr bwMode="auto">
          <a:xfrm>
            <a:off x="5383619" y="5092802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51" name="Content Placeholder 2~14">
            <a:extLst>
              <a:ext uri="{FF2B5EF4-FFF2-40B4-BE49-F238E27FC236}">
                <a16:creationId xmlns:a16="http://schemas.microsoft.com/office/drawing/2014/main" id="{F225C09D-5CBF-B132-C37F-7B858B444C34}"/>
              </a:ext>
            </a:extLst>
          </p:cNvPr>
          <p:cNvSpPr txBox="1">
            <a:spLocks/>
          </p:cNvSpPr>
          <p:nvPr/>
        </p:nvSpPr>
        <p:spPr bwMode="auto">
          <a:xfrm>
            <a:off x="7527718" y="5092802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52" name="Content Placeholder 2~15">
            <a:extLst>
              <a:ext uri="{FF2B5EF4-FFF2-40B4-BE49-F238E27FC236}">
                <a16:creationId xmlns:a16="http://schemas.microsoft.com/office/drawing/2014/main" id="{3484DF73-E2DB-61C3-121B-68324EE362D1}"/>
              </a:ext>
            </a:extLst>
          </p:cNvPr>
          <p:cNvSpPr txBox="1">
            <a:spLocks/>
          </p:cNvSpPr>
          <p:nvPr/>
        </p:nvSpPr>
        <p:spPr bwMode="auto">
          <a:xfrm>
            <a:off x="9671815" y="5092802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54" name="Google Shape;1185;g6b2a921a3a_2_763">
            <a:extLst>
              <a:ext uri="{FF2B5EF4-FFF2-40B4-BE49-F238E27FC236}">
                <a16:creationId xmlns:a16="http://schemas.microsoft.com/office/drawing/2014/main" id="{5D26E4A0-F6F4-6BCD-0EDF-8D0E411AFE83}"/>
              </a:ext>
            </a:extLst>
          </p:cNvPr>
          <p:cNvSpPr txBox="1"/>
          <p:nvPr/>
        </p:nvSpPr>
        <p:spPr>
          <a:xfrm>
            <a:off x="5383619" y="1021283"/>
            <a:ext cx="1856982" cy="2697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55" name="Shape4_20220715_163331">
            <a:extLst>
              <a:ext uri="{FF2B5EF4-FFF2-40B4-BE49-F238E27FC236}">
                <a16:creationId xmlns:a16="http://schemas.microsoft.com/office/drawing/2014/main" id="{9D191223-0537-B7D6-285B-4CA9D2425005}"/>
              </a:ext>
            </a:extLst>
          </p:cNvPr>
          <p:cNvCxnSpPr/>
          <p:nvPr/>
        </p:nvCxnSpPr>
        <p:spPr>
          <a:xfrm>
            <a:off x="5383619" y="1360543"/>
            <a:ext cx="1856982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56" name="Google Shape;1188;g6b2a921a3a_2_763">
            <a:extLst>
              <a:ext uri="{FF2B5EF4-FFF2-40B4-BE49-F238E27FC236}">
                <a16:creationId xmlns:a16="http://schemas.microsoft.com/office/drawing/2014/main" id="{B2428A90-A5C5-BC8D-6F81-3D18FCE578AC}"/>
              </a:ext>
            </a:extLst>
          </p:cNvPr>
          <p:cNvSpPr txBox="1"/>
          <p:nvPr/>
        </p:nvSpPr>
        <p:spPr>
          <a:xfrm>
            <a:off x="7530211" y="1021283"/>
            <a:ext cx="1856982" cy="2697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57" name="Shape5_20220715_163331">
            <a:extLst>
              <a:ext uri="{FF2B5EF4-FFF2-40B4-BE49-F238E27FC236}">
                <a16:creationId xmlns:a16="http://schemas.microsoft.com/office/drawing/2014/main" id="{E60C0757-51C3-AD6A-3113-821000CF071D}"/>
              </a:ext>
            </a:extLst>
          </p:cNvPr>
          <p:cNvCxnSpPr/>
          <p:nvPr/>
        </p:nvCxnSpPr>
        <p:spPr>
          <a:xfrm>
            <a:off x="7530211" y="1360543"/>
            <a:ext cx="1856982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58" name="Google Shape;1191;g6b2a921a3a_2_763">
            <a:extLst>
              <a:ext uri="{FF2B5EF4-FFF2-40B4-BE49-F238E27FC236}">
                <a16:creationId xmlns:a16="http://schemas.microsoft.com/office/drawing/2014/main" id="{328D1B96-76C8-882A-96AA-B13FE5AC5F69}"/>
              </a:ext>
            </a:extLst>
          </p:cNvPr>
          <p:cNvSpPr txBox="1"/>
          <p:nvPr/>
        </p:nvSpPr>
        <p:spPr>
          <a:xfrm>
            <a:off x="9676804" y="1021283"/>
            <a:ext cx="1856982" cy="2697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59" name="Shape6_20220715_163331">
            <a:extLst>
              <a:ext uri="{FF2B5EF4-FFF2-40B4-BE49-F238E27FC236}">
                <a16:creationId xmlns:a16="http://schemas.microsoft.com/office/drawing/2014/main" id="{39EBCC5C-A5F8-3DB6-8C9E-C28A8BC6AE1B}"/>
              </a:ext>
            </a:extLst>
          </p:cNvPr>
          <p:cNvCxnSpPr/>
          <p:nvPr/>
        </p:nvCxnSpPr>
        <p:spPr>
          <a:xfrm>
            <a:off x="9676804" y="1360543"/>
            <a:ext cx="1856982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0" name="Google Shape;1199;g6b2a921a3a_2_763">
            <a:extLst>
              <a:ext uri="{FF2B5EF4-FFF2-40B4-BE49-F238E27FC236}">
                <a16:creationId xmlns:a16="http://schemas.microsoft.com/office/drawing/2014/main" id="{8E9545D4-8979-6E30-F5F7-9F6A14F325B3}"/>
              </a:ext>
            </a:extLst>
          </p:cNvPr>
          <p:cNvSpPr txBox="1"/>
          <p:nvPr/>
        </p:nvSpPr>
        <p:spPr>
          <a:xfrm>
            <a:off x="3237030" y="1021283"/>
            <a:ext cx="1856982" cy="2697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61" name="Shape7_20220715_163331">
            <a:extLst>
              <a:ext uri="{FF2B5EF4-FFF2-40B4-BE49-F238E27FC236}">
                <a16:creationId xmlns:a16="http://schemas.microsoft.com/office/drawing/2014/main" id="{F21B350C-F9A5-E1FD-AF22-55470611DF61}"/>
              </a:ext>
            </a:extLst>
          </p:cNvPr>
          <p:cNvCxnSpPr/>
          <p:nvPr/>
        </p:nvCxnSpPr>
        <p:spPr>
          <a:xfrm>
            <a:off x="3237030" y="1360543"/>
            <a:ext cx="1856982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412221018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FCEBA76-8440-4BE4-E8E0-FA8B4D8483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think-cell data - do not delete" hidden="1">
            <a:extLst>
              <a:ext uri="{FF2B5EF4-FFF2-40B4-BE49-F238E27FC236}">
                <a16:creationId xmlns:a16="http://schemas.microsoft.com/office/drawing/2014/main" id="{68AAD2E6-7BDA-FCD5-41F5-E5CD336364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8AAD2E6-7BDA-FCD5-41F5-E5CD336364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C8B19D7-676F-B3F8-D0C6-8C6D5810CE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17C836A-DAF0-4655-D88B-E4421D6063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26</a:t>
            </a:fld>
            <a:endParaRPr lang="en-US" dirty="0"/>
          </a:p>
        </p:txBody>
      </p:sp>
      <p:cxnSp>
        <p:nvCxnSpPr>
          <p:cNvPr id="5" name="Shape0_20220715_163354">
            <a:extLst>
              <a:ext uri="{FF2B5EF4-FFF2-40B4-BE49-F238E27FC236}">
                <a16:creationId xmlns:a16="http://schemas.microsoft.com/office/drawing/2014/main" id="{7873740F-DAD9-998C-99E8-0C642843D047}"/>
              </a:ext>
            </a:extLst>
          </p:cNvPr>
          <p:cNvCxnSpPr/>
          <p:nvPr/>
        </p:nvCxnSpPr>
        <p:spPr>
          <a:xfrm>
            <a:off x="3237027" y="2297099"/>
            <a:ext cx="8296757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6" name="Shape1_20220715_163354">
            <a:extLst>
              <a:ext uri="{FF2B5EF4-FFF2-40B4-BE49-F238E27FC236}">
                <a16:creationId xmlns:a16="http://schemas.microsoft.com/office/drawing/2014/main" id="{60EF7389-89C8-9A80-B63C-D8BAE7C812C1}"/>
              </a:ext>
            </a:extLst>
          </p:cNvPr>
          <p:cNvCxnSpPr/>
          <p:nvPr/>
        </p:nvCxnSpPr>
        <p:spPr>
          <a:xfrm>
            <a:off x="3237027" y="3189130"/>
            <a:ext cx="8296757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7" name="Shape2_20220715_163354">
            <a:extLst>
              <a:ext uri="{FF2B5EF4-FFF2-40B4-BE49-F238E27FC236}">
                <a16:creationId xmlns:a16="http://schemas.microsoft.com/office/drawing/2014/main" id="{9869443D-A285-4534-01DC-DE59D46E5822}"/>
              </a:ext>
            </a:extLst>
          </p:cNvPr>
          <p:cNvCxnSpPr/>
          <p:nvPr/>
        </p:nvCxnSpPr>
        <p:spPr>
          <a:xfrm>
            <a:off x="3237027" y="4081166"/>
            <a:ext cx="8296757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8" name="Shape3_20220715_163354">
            <a:extLst>
              <a:ext uri="{FF2B5EF4-FFF2-40B4-BE49-F238E27FC236}">
                <a16:creationId xmlns:a16="http://schemas.microsoft.com/office/drawing/2014/main" id="{48AE24C3-84DC-0681-360F-4B7B48AB3B1C}"/>
              </a:ext>
            </a:extLst>
          </p:cNvPr>
          <p:cNvCxnSpPr/>
          <p:nvPr/>
        </p:nvCxnSpPr>
        <p:spPr>
          <a:xfrm>
            <a:off x="3237027" y="4973199"/>
            <a:ext cx="8296757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8" name="Google Shape;1179;g6b2a921a3a_2_763">
            <a:extLst>
              <a:ext uri="{FF2B5EF4-FFF2-40B4-BE49-F238E27FC236}">
                <a16:creationId xmlns:a16="http://schemas.microsoft.com/office/drawing/2014/main" id="{144EFA52-8605-018C-F2AE-D4320D68B8C2}"/>
              </a:ext>
            </a:extLst>
          </p:cNvPr>
          <p:cNvSpPr txBox="1"/>
          <p:nvPr/>
        </p:nvSpPr>
        <p:spPr>
          <a:xfrm>
            <a:off x="549928" y="1474619"/>
            <a:ext cx="2569376" cy="75292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600" b="1" dirty="0">
                <a:solidFill>
                  <a:srgbClr val="FFFFFF"/>
                </a:solidFill>
              </a:rPr>
              <a:t>Title</a:t>
            </a:r>
            <a:endParaRPr sz="1600" dirty="0"/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269CC1FD-1BF4-3CD8-173C-1FC7E2B524F3}"/>
              </a:ext>
            </a:extLst>
          </p:cNvPr>
          <p:cNvSpPr txBox="1">
            <a:spLocks/>
          </p:cNvSpPr>
          <p:nvPr/>
        </p:nvSpPr>
        <p:spPr bwMode="auto">
          <a:xfrm>
            <a:off x="3237030" y="1743361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30" name="Content Placeholder 2~1">
            <a:extLst>
              <a:ext uri="{FF2B5EF4-FFF2-40B4-BE49-F238E27FC236}">
                <a16:creationId xmlns:a16="http://schemas.microsoft.com/office/drawing/2014/main" id="{505B3DD7-4A54-3962-9AA8-404553ACC221}"/>
              </a:ext>
            </a:extLst>
          </p:cNvPr>
          <p:cNvSpPr txBox="1">
            <a:spLocks/>
          </p:cNvSpPr>
          <p:nvPr/>
        </p:nvSpPr>
        <p:spPr bwMode="auto">
          <a:xfrm>
            <a:off x="5383619" y="1743361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31" name="Content Placeholder 2~2">
            <a:extLst>
              <a:ext uri="{FF2B5EF4-FFF2-40B4-BE49-F238E27FC236}">
                <a16:creationId xmlns:a16="http://schemas.microsoft.com/office/drawing/2014/main" id="{F68ABAEF-5736-8282-041D-49F06CAE8311}"/>
              </a:ext>
            </a:extLst>
          </p:cNvPr>
          <p:cNvSpPr txBox="1">
            <a:spLocks/>
          </p:cNvSpPr>
          <p:nvPr/>
        </p:nvSpPr>
        <p:spPr bwMode="auto">
          <a:xfrm>
            <a:off x="7527718" y="1743361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32" name="Content Placeholder 2~3">
            <a:extLst>
              <a:ext uri="{FF2B5EF4-FFF2-40B4-BE49-F238E27FC236}">
                <a16:creationId xmlns:a16="http://schemas.microsoft.com/office/drawing/2014/main" id="{C58DB890-F0E7-0668-8888-4E7E892D125A}"/>
              </a:ext>
            </a:extLst>
          </p:cNvPr>
          <p:cNvSpPr txBox="1">
            <a:spLocks/>
          </p:cNvSpPr>
          <p:nvPr/>
        </p:nvSpPr>
        <p:spPr bwMode="auto">
          <a:xfrm>
            <a:off x="9671815" y="1743361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33" name="Google Shape;1180;g6b2a921a3a_2_763">
            <a:extLst>
              <a:ext uri="{FF2B5EF4-FFF2-40B4-BE49-F238E27FC236}">
                <a16:creationId xmlns:a16="http://schemas.microsoft.com/office/drawing/2014/main" id="{7DB1AB95-93BA-5F3C-A45D-DB276A6A4406}"/>
              </a:ext>
            </a:extLst>
          </p:cNvPr>
          <p:cNvSpPr txBox="1"/>
          <p:nvPr/>
        </p:nvSpPr>
        <p:spPr>
          <a:xfrm>
            <a:off x="549928" y="2366653"/>
            <a:ext cx="2569376" cy="75292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600" b="1" dirty="0">
                <a:solidFill>
                  <a:srgbClr val="FFFFFF"/>
                </a:solidFill>
              </a:rPr>
              <a:t>Title</a:t>
            </a:r>
            <a:endParaRPr lang="en-US" sz="1600" dirty="0"/>
          </a:p>
        </p:txBody>
      </p:sp>
      <p:sp>
        <p:nvSpPr>
          <p:cNvPr id="34" name="Content Placeholder 2~4">
            <a:extLst>
              <a:ext uri="{FF2B5EF4-FFF2-40B4-BE49-F238E27FC236}">
                <a16:creationId xmlns:a16="http://schemas.microsoft.com/office/drawing/2014/main" id="{615198F6-D9DD-7824-D35E-16BAE50235F5}"/>
              </a:ext>
            </a:extLst>
          </p:cNvPr>
          <p:cNvSpPr txBox="1">
            <a:spLocks/>
          </p:cNvSpPr>
          <p:nvPr/>
        </p:nvSpPr>
        <p:spPr bwMode="auto">
          <a:xfrm>
            <a:off x="3237030" y="2635395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36" name="Content Placeholder 2~5">
            <a:extLst>
              <a:ext uri="{FF2B5EF4-FFF2-40B4-BE49-F238E27FC236}">
                <a16:creationId xmlns:a16="http://schemas.microsoft.com/office/drawing/2014/main" id="{59296070-CA34-51DE-0EDB-555051ADAB70}"/>
              </a:ext>
            </a:extLst>
          </p:cNvPr>
          <p:cNvSpPr txBox="1">
            <a:spLocks/>
          </p:cNvSpPr>
          <p:nvPr/>
        </p:nvSpPr>
        <p:spPr bwMode="auto">
          <a:xfrm>
            <a:off x="5383619" y="2635395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37" name="Content Placeholder 2~6">
            <a:extLst>
              <a:ext uri="{FF2B5EF4-FFF2-40B4-BE49-F238E27FC236}">
                <a16:creationId xmlns:a16="http://schemas.microsoft.com/office/drawing/2014/main" id="{4A43746E-B0CC-0BF4-4926-75D5E0C6BF45}"/>
              </a:ext>
            </a:extLst>
          </p:cNvPr>
          <p:cNvSpPr txBox="1">
            <a:spLocks/>
          </p:cNvSpPr>
          <p:nvPr/>
        </p:nvSpPr>
        <p:spPr bwMode="auto">
          <a:xfrm>
            <a:off x="7527718" y="2635395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38" name="Content Placeholder 2~7">
            <a:extLst>
              <a:ext uri="{FF2B5EF4-FFF2-40B4-BE49-F238E27FC236}">
                <a16:creationId xmlns:a16="http://schemas.microsoft.com/office/drawing/2014/main" id="{B04CA00B-A7EB-AE67-7405-8DBECCA7A2F1}"/>
              </a:ext>
            </a:extLst>
          </p:cNvPr>
          <p:cNvSpPr txBox="1">
            <a:spLocks/>
          </p:cNvSpPr>
          <p:nvPr/>
        </p:nvSpPr>
        <p:spPr bwMode="auto">
          <a:xfrm>
            <a:off x="9671815" y="2635395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39" name="Google Shape;1181;g6b2a921a3a_2_763">
            <a:extLst>
              <a:ext uri="{FF2B5EF4-FFF2-40B4-BE49-F238E27FC236}">
                <a16:creationId xmlns:a16="http://schemas.microsoft.com/office/drawing/2014/main" id="{E44BA624-7F92-27B5-23DE-6C7E660DA09C}"/>
              </a:ext>
            </a:extLst>
          </p:cNvPr>
          <p:cNvSpPr txBox="1"/>
          <p:nvPr/>
        </p:nvSpPr>
        <p:spPr>
          <a:xfrm>
            <a:off x="549928" y="3258694"/>
            <a:ext cx="2569376" cy="75292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600" b="1" dirty="0">
                <a:solidFill>
                  <a:srgbClr val="FFFFFF"/>
                </a:solidFill>
              </a:rPr>
              <a:t>Title</a:t>
            </a:r>
            <a:endParaRPr lang="en-US" sz="1600" dirty="0"/>
          </a:p>
        </p:txBody>
      </p:sp>
      <p:sp>
        <p:nvSpPr>
          <p:cNvPr id="40" name="Content Placeholder 2~8">
            <a:extLst>
              <a:ext uri="{FF2B5EF4-FFF2-40B4-BE49-F238E27FC236}">
                <a16:creationId xmlns:a16="http://schemas.microsoft.com/office/drawing/2014/main" id="{575BB0B8-5FAC-DC48-6DF6-936945214518}"/>
              </a:ext>
            </a:extLst>
          </p:cNvPr>
          <p:cNvSpPr txBox="1">
            <a:spLocks/>
          </p:cNvSpPr>
          <p:nvPr/>
        </p:nvSpPr>
        <p:spPr bwMode="auto">
          <a:xfrm>
            <a:off x="3237030" y="3527428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41" name="Content Placeholder 2~9">
            <a:extLst>
              <a:ext uri="{FF2B5EF4-FFF2-40B4-BE49-F238E27FC236}">
                <a16:creationId xmlns:a16="http://schemas.microsoft.com/office/drawing/2014/main" id="{5379F3B7-BB83-ADB4-94CF-062196BD146A}"/>
              </a:ext>
            </a:extLst>
          </p:cNvPr>
          <p:cNvSpPr txBox="1">
            <a:spLocks/>
          </p:cNvSpPr>
          <p:nvPr/>
        </p:nvSpPr>
        <p:spPr bwMode="auto">
          <a:xfrm>
            <a:off x="5383619" y="3527428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42" name="Content Placeholder 2~10">
            <a:extLst>
              <a:ext uri="{FF2B5EF4-FFF2-40B4-BE49-F238E27FC236}">
                <a16:creationId xmlns:a16="http://schemas.microsoft.com/office/drawing/2014/main" id="{D7B5E40B-480A-5D06-4FF1-7B8C16A73BD9}"/>
              </a:ext>
            </a:extLst>
          </p:cNvPr>
          <p:cNvSpPr txBox="1">
            <a:spLocks/>
          </p:cNvSpPr>
          <p:nvPr/>
        </p:nvSpPr>
        <p:spPr bwMode="auto">
          <a:xfrm>
            <a:off x="7527718" y="3527428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43" name="Content Placeholder 2~11">
            <a:extLst>
              <a:ext uri="{FF2B5EF4-FFF2-40B4-BE49-F238E27FC236}">
                <a16:creationId xmlns:a16="http://schemas.microsoft.com/office/drawing/2014/main" id="{0724FCB3-924B-D585-CB3D-B70FD0DBA2F4}"/>
              </a:ext>
            </a:extLst>
          </p:cNvPr>
          <p:cNvSpPr txBox="1">
            <a:spLocks/>
          </p:cNvSpPr>
          <p:nvPr/>
        </p:nvSpPr>
        <p:spPr bwMode="auto">
          <a:xfrm>
            <a:off x="9671815" y="3527428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44" name="Google Shape;1182;g6b2a921a3a_2_763">
            <a:extLst>
              <a:ext uri="{FF2B5EF4-FFF2-40B4-BE49-F238E27FC236}">
                <a16:creationId xmlns:a16="http://schemas.microsoft.com/office/drawing/2014/main" id="{252BC514-6F92-3B5D-004B-0E7C1B3632A0}"/>
              </a:ext>
            </a:extLst>
          </p:cNvPr>
          <p:cNvSpPr txBox="1"/>
          <p:nvPr/>
        </p:nvSpPr>
        <p:spPr>
          <a:xfrm>
            <a:off x="549928" y="4150725"/>
            <a:ext cx="2569376" cy="75292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600" b="1" dirty="0">
                <a:solidFill>
                  <a:srgbClr val="FFFFFF"/>
                </a:solidFill>
              </a:rPr>
              <a:t>Title</a:t>
            </a:r>
            <a:endParaRPr lang="en-US" sz="1600" dirty="0"/>
          </a:p>
        </p:txBody>
      </p:sp>
      <p:sp>
        <p:nvSpPr>
          <p:cNvPr id="45" name="Content Placeholder 2~12">
            <a:extLst>
              <a:ext uri="{FF2B5EF4-FFF2-40B4-BE49-F238E27FC236}">
                <a16:creationId xmlns:a16="http://schemas.microsoft.com/office/drawing/2014/main" id="{89C3DFF4-CAA3-8D83-951E-ECC1A81EEF23}"/>
              </a:ext>
            </a:extLst>
          </p:cNvPr>
          <p:cNvSpPr txBox="1">
            <a:spLocks/>
          </p:cNvSpPr>
          <p:nvPr/>
        </p:nvSpPr>
        <p:spPr bwMode="auto">
          <a:xfrm>
            <a:off x="3237030" y="4419468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46" name="Content Placeholder 2~13">
            <a:extLst>
              <a:ext uri="{FF2B5EF4-FFF2-40B4-BE49-F238E27FC236}">
                <a16:creationId xmlns:a16="http://schemas.microsoft.com/office/drawing/2014/main" id="{60E6FDF1-160B-AE74-BD18-846FF3DA9C4A}"/>
              </a:ext>
            </a:extLst>
          </p:cNvPr>
          <p:cNvSpPr txBox="1">
            <a:spLocks/>
          </p:cNvSpPr>
          <p:nvPr/>
        </p:nvSpPr>
        <p:spPr bwMode="auto">
          <a:xfrm>
            <a:off x="5383619" y="4419468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47" name="Content Placeholder 2~14">
            <a:extLst>
              <a:ext uri="{FF2B5EF4-FFF2-40B4-BE49-F238E27FC236}">
                <a16:creationId xmlns:a16="http://schemas.microsoft.com/office/drawing/2014/main" id="{5565A1B1-B3B4-30A8-3E80-528B7DBEFE6F}"/>
              </a:ext>
            </a:extLst>
          </p:cNvPr>
          <p:cNvSpPr txBox="1">
            <a:spLocks/>
          </p:cNvSpPr>
          <p:nvPr/>
        </p:nvSpPr>
        <p:spPr bwMode="auto">
          <a:xfrm>
            <a:off x="7527718" y="4419468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48" name="Content Placeholder 2~15">
            <a:extLst>
              <a:ext uri="{FF2B5EF4-FFF2-40B4-BE49-F238E27FC236}">
                <a16:creationId xmlns:a16="http://schemas.microsoft.com/office/drawing/2014/main" id="{0DFC911F-2BEE-B43F-306A-330EECF35DFA}"/>
              </a:ext>
            </a:extLst>
          </p:cNvPr>
          <p:cNvSpPr txBox="1">
            <a:spLocks/>
          </p:cNvSpPr>
          <p:nvPr/>
        </p:nvSpPr>
        <p:spPr bwMode="auto">
          <a:xfrm>
            <a:off x="9671815" y="4419468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49" name="Google Shape;1183;g6b2a921a3a_2_763">
            <a:extLst>
              <a:ext uri="{FF2B5EF4-FFF2-40B4-BE49-F238E27FC236}">
                <a16:creationId xmlns:a16="http://schemas.microsoft.com/office/drawing/2014/main" id="{A23F8197-8FF5-B10B-4948-C111661DC1EA}"/>
              </a:ext>
            </a:extLst>
          </p:cNvPr>
          <p:cNvSpPr txBox="1"/>
          <p:nvPr/>
        </p:nvSpPr>
        <p:spPr>
          <a:xfrm>
            <a:off x="549928" y="5034332"/>
            <a:ext cx="2569376" cy="75292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600" b="1" dirty="0">
                <a:solidFill>
                  <a:srgbClr val="FFFFFF"/>
                </a:solidFill>
              </a:rPr>
              <a:t>Title</a:t>
            </a:r>
            <a:endParaRPr lang="en-US" sz="1600" dirty="0"/>
          </a:p>
        </p:txBody>
      </p:sp>
      <p:sp>
        <p:nvSpPr>
          <p:cNvPr id="53" name="Content Placeholder 2~16">
            <a:extLst>
              <a:ext uri="{FF2B5EF4-FFF2-40B4-BE49-F238E27FC236}">
                <a16:creationId xmlns:a16="http://schemas.microsoft.com/office/drawing/2014/main" id="{282D2685-5130-EC3C-724A-8AA8A027E920}"/>
              </a:ext>
            </a:extLst>
          </p:cNvPr>
          <p:cNvSpPr txBox="1">
            <a:spLocks/>
          </p:cNvSpPr>
          <p:nvPr/>
        </p:nvSpPr>
        <p:spPr bwMode="auto">
          <a:xfrm>
            <a:off x="3237030" y="5303073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62" name="Content Placeholder 2~17">
            <a:extLst>
              <a:ext uri="{FF2B5EF4-FFF2-40B4-BE49-F238E27FC236}">
                <a16:creationId xmlns:a16="http://schemas.microsoft.com/office/drawing/2014/main" id="{C46857F3-D55D-10C8-DB3E-E69AD1A3D2D6}"/>
              </a:ext>
            </a:extLst>
          </p:cNvPr>
          <p:cNvSpPr txBox="1">
            <a:spLocks/>
          </p:cNvSpPr>
          <p:nvPr/>
        </p:nvSpPr>
        <p:spPr bwMode="auto">
          <a:xfrm>
            <a:off x="5383619" y="5303073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63" name="Content Placeholder 2~18">
            <a:extLst>
              <a:ext uri="{FF2B5EF4-FFF2-40B4-BE49-F238E27FC236}">
                <a16:creationId xmlns:a16="http://schemas.microsoft.com/office/drawing/2014/main" id="{A4CD0754-E839-D434-AEE4-17A09A0A4B4E}"/>
              </a:ext>
            </a:extLst>
          </p:cNvPr>
          <p:cNvSpPr txBox="1">
            <a:spLocks/>
          </p:cNvSpPr>
          <p:nvPr/>
        </p:nvSpPr>
        <p:spPr bwMode="auto">
          <a:xfrm>
            <a:off x="7527718" y="5303073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64" name="Content Placeholder 2~19">
            <a:extLst>
              <a:ext uri="{FF2B5EF4-FFF2-40B4-BE49-F238E27FC236}">
                <a16:creationId xmlns:a16="http://schemas.microsoft.com/office/drawing/2014/main" id="{E1D96EAB-91BC-6E2F-67B5-7FA23E1AA729}"/>
              </a:ext>
            </a:extLst>
          </p:cNvPr>
          <p:cNvSpPr txBox="1">
            <a:spLocks/>
          </p:cNvSpPr>
          <p:nvPr/>
        </p:nvSpPr>
        <p:spPr bwMode="auto">
          <a:xfrm>
            <a:off x="9671815" y="5303073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66" name="Google Shape;1185;g6b2a921a3a_2_763">
            <a:extLst>
              <a:ext uri="{FF2B5EF4-FFF2-40B4-BE49-F238E27FC236}">
                <a16:creationId xmlns:a16="http://schemas.microsoft.com/office/drawing/2014/main" id="{B94013A4-575A-0B90-7853-D8BDD7E728BA}"/>
              </a:ext>
            </a:extLst>
          </p:cNvPr>
          <p:cNvSpPr txBox="1"/>
          <p:nvPr/>
        </p:nvSpPr>
        <p:spPr>
          <a:xfrm>
            <a:off x="5383619" y="1021283"/>
            <a:ext cx="1856982" cy="2697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67" name="Shape4_20220715_163331">
            <a:extLst>
              <a:ext uri="{FF2B5EF4-FFF2-40B4-BE49-F238E27FC236}">
                <a16:creationId xmlns:a16="http://schemas.microsoft.com/office/drawing/2014/main" id="{25289652-1447-273B-DB9A-B8C9681410DC}"/>
              </a:ext>
            </a:extLst>
          </p:cNvPr>
          <p:cNvCxnSpPr/>
          <p:nvPr/>
        </p:nvCxnSpPr>
        <p:spPr>
          <a:xfrm>
            <a:off x="5383619" y="1360543"/>
            <a:ext cx="1856982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8" name="Google Shape;1188;g6b2a921a3a_2_763">
            <a:extLst>
              <a:ext uri="{FF2B5EF4-FFF2-40B4-BE49-F238E27FC236}">
                <a16:creationId xmlns:a16="http://schemas.microsoft.com/office/drawing/2014/main" id="{173962D5-8E8B-0972-8C80-D317040D84CC}"/>
              </a:ext>
            </a:extLst>
          </p:cNvPr>
          <p:cNvSpPr txBox="1"/>
          <p:nvPr/>
        </p:nvSpPr>
        <p:spPr>
          <a:xfrm>
            <a:off x="7530211" y="1021283"/>
            <a:ext cx="1856982" cy="2697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69" name="Shape5_20220715_163331">
            <a:extLst>
              <a:ext uri="{FF2B5EF4-FFF2-40B4-BE49-F238E27FC236}">
                <a16:creationId xmlns:a16="http://schemas.microsoft.com/office/drawing/2014/main" id="{07C7DCDF-3A52-4117-730F-A5EDD95A8740}"/>
              </a:ext>
            </a:extLst>
          </p:cNvPr>
          <p:cNvCxnSpPr/>
          <p:nvPr/>
        </p:nvCxnSpPr>
        <p:spPr>
          <a:xfrm>
            <a:off x="7530211" y="1360543"/>
            <a:ext cx="1856982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0" name="Google Shape;1191;g6b2a921a3a_2_763">
            <a:extLst>
              <a:ext uri="{FF2B5EF4-FFF2-40B4-BE49-F238E27FC236}">
                <a16:creationId xmlns:a16="http://schemas.microsoft.com/office/drawing/2014/main" id="{FB292532-9270-0C4A-6510-358A3CC8997A}"/>
              </a:ext>
            </a:extLst>
          </p:cNvPr>
          <p:cNvSpPr txBox="1"/>
          <p:nvPr/>
        </p:nvSpPr>
        <p:spPr>
          <a:xfrm>
            <a:off x="9676804" y="1021283"/>
            <a:ext cx="1856982" cy="2697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71" name="Shape6_20220715_163331">
            <a:extLst>
              <a:ext uri="{FF2B5EF4-FFF2-40B4-BE49-F238E27FC236}">
                <a16:creationId xmlns:a16="http://schemas.microsoft.com/office/drawing/2014/main" id="{CAD685D8-7405-B43E-18AB-27A3163A3D3C}"/>
              </a:ext>
            </a:extLst>
          </p:cNvPr>
          <p:cNvCxnSpPr/>
          <p:nvPr/>
        </p:nvCxnSpPr>
        <p:spPr>
          <a:xfrm>
            <a:off x="9676804" y="1360543"/>
            <a:ext cx="1856982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2" name="Google Shape;1199;g6b2a921a3a_2_763">
            <a:extLst>
              <a:ext uri="{FF2B5EF4-FFF2-40B4-BE49-F238E27FC236}">
                <a16:creationId xmlns:a16="http://schemas.microsoft.com/office/drawing/2014/main" id="{05477C64-3D9E-2AE8-C91A-EDC310965392}"/>
              </a:ext>
            </a:extLst>
          </p:cNvPr>
          <p:cNvSpPr txBox="1"/>
          <p:nvPr/>
        </p:nvSpPr>
        <p:spPr>
          <a:xfrm>
            <a:off x="3237030" y="1021283"/>
            <a:ext cx="1856982" cy="2697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73" name="Shape7_20220715_163331">
            <a:extLst>
              <a:ext uri="{FF2B5EF4-FFF2-40B4-BE49-F238E27FC236}">
                <a16:creationId xmlns:a16="http://schemas.microsoft.com/office/drawing/2014/main" id="{8151867C-29D2-6784-0B50-0F0EC0C795AB}"/>
              </a:ext>
            </a:extLst>
          </p:cNvPr>
          <p:cNvCxnSpPr/>
          <p:nvPr/>
        </p:nvCxnSpPr>
        <p:spPr>
          <a:xfrm>
            <a:off x="3237030" y="1360543"/>
            <a:ext cx="1856982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126546423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0F278B-FE6A-F19D-D291-AAA36421DE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C24EFDC7-0752-5374-1F6E-F15E314A457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4EFDC7-0752-5374-1F6E-F15E314A45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F4AF73D-2433-2C5D-EA95-A3C270F032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B92A8B07-2521-1FA5-6E9C-757C8BFF5049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27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DD7088C7-4AC8-21CF-2EBC-DC0870F797F1}"/>
              </a:ext>
            </a:extLst>
          </p:cNvPr>
          <p:cNvGraphicFramePr>
            <a:graphicFrameLocks noGrp="1"/>
          </p:cNvGraphicFramePr>
          <p:nvPr/>
        </p:nvGraphicFramePr>
        <p:xfrm>
          <a:off x="605863" y="1184554"/>
          <a:ext cx="11156599" cy="456783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73798">
                  <a:extLst>
                    <a:ext uri="{9D8B030D-6E8A-4147-A177-3AD203B41FA5}">
                      <a16:colId xmlns:a16="http://schemas.microsoft.com/office/drawing/2014/main" val="209073432"/>
                    </a:ext>
                  </a:extLst>
                </a:gridCol>
                <a:gridCol w="1297543">
                  <a:extLst>
                    <a:ext uri="{9D8B030D-6E8A-4147-A177-3AD203B41FA5}">
                      <a16:colId xmlns:a16="http://schemas.microsoft.com/office/drawing/2014/main" val="1359006512"/>
                    </a:ext>
                  </a:extLst>
                </a:gridCol>
                <a:gridCol w="1297543">
                  <a:extLst>
                    <a:ext uri="{9D8B030D-6E8A-4147-A177-3AD203B41FA5}">
                      <a16:colId xmlns:a16="http://schemas.microsoft.com/office/drawing/2014/main" val="452308803"/>
                    </a:ext>
                  </a:extLst>
                </a:gridCol>
                <a:gridCol w="1297543">
                  <a:extLst>
                    <a:ext uri="{9D8B030D-6E8A-4147-A177-3AD203B41FA5}">
                      <a16:colId xmlns:a16="http://schemas.microsoft.com/office/drawing/2014/main" val="3134237105"/>
                    </a:ext>
                  </a:extLst>
                </a:gridCol>
                <a:gridCol w="1297543">
                  <a:extLst>
                    <a:ext uri="{9D8B030D-6E8A-4147-A177-3AD203B41FA5}">
                      <a16:colId xmlns:a16="http://schemas.microsoft.com/office/drawing/2014/main" val="585510681"/>
                    </a:ext>
                  </a:extLst>
                </a:gridCol>
                <a:gridCol w="1297543">
                  <a:extLst>
                    <a:ext uri="{9D8B030D-6E8A-4147-A177-3AD203B41FA5}">
                      <a16:colId xmlns:a16="http://schemas.microsoft.com/office/drawing/2014/main" val="563736982"/>
                    </a:ext>
                  </a:extLst>
                </a:gridCol>
                <a:gridCol w="1297543">
                  <a:extLst>
                    <a:ext uri="{9D8B030D-6E8A-4147-A177-3AD203B41FA5}">
                      <a16:colId xmlns:a16="http://schemas.microsoft.com/office/drawing/2014/main" val="3346023102"/>
                    </a:ext>
                  </a:extLst>
                </a:gridCol>
                <a:gridCol w="1297543">
                  <a:extLst>
                    <a:ext uri="{9D8B030D-6E8A-4147-A177-3AD203B41FA5}">
                      <a16:colId xmlns:a16="http://schemas.microsoft.com/office/drawing/2014/main" val="588875718"/>
                    </a:ext>
                  </a:extLst>
                </a:gridCol>
              </a:tblGrid>
              <a:tr h="453502">
                <a:tc>
                  <a:txBody>
                    <a:bodyPr/>
                    <a:lstStyle/>
                    <a:p>
                      <a:r>
                        <a:rPr lang="en-IN" sz="1500" dirty="0">
                          <a:solidFill>
                            <a:srgbClr val="FFFFFF"/>
                          </a:solidFill>
                          <a:latin typeface="+mn-lt"/>
                        </a:rPr>
                        <a:t>Title</a:t>
                      </a: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IN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itle</a:t>
                      </a:r>
                      <a:endParaRPr lang="en-IN" sz="1500" dirty="0"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IN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itle</a:t>
                      </a:r>
                      <a:endParaRPr lang="en-IN" sz="1500" dirty="0"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IN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itle</a:t>
                      </a:r>
                      <a:endParaRPr lang="en-IN" sz="1500" dirty="0"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IN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itle</a:t>
                      </a:r>
                      <a:endParaRPr lang="en-IN" sz="1500" dirty="0"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IN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itle</a:t>
                      </a:r>
                      <a:endParaRPr lang="en-IN" sz="1500" dirty="0"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IN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itle</a:t>
                      </a:r>
                      <a:endParaRPr lang="en-IN" sz="1500" dirty="0"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IN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itle</a:t>
                      </a:r>
                      <a:endParaRPr lang="en-IN" sz="1500" dirty="0"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2148821"/>
                  </a:ext>
                </a:extLst>
              </a:tr>
              <a:tr h="2057166">
                <a:tc>
                  <a:txBody>
                    <a:bodyPr/>
                    <a:lstStyle/>
                    <a:p>
                      <a:r>
                        <a:rPr lang="en-IN" sz="1500" dirty="0">
                          <a:solidFill>
                            <a:schemeClr val="tx1"/>
                          </a:solidFill>
                          <a:latin typeface="+mn-lt"/>
                        </a:rPr>
                        <a:t>Insert Text Here</a:t>
                      </a: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2000" dirty="0">
                          <a:solidFill>
                            <a:srgbClr val="24A148"/>
                          </a:solidFill>
                          <a:latin typeface="+mn-lt"/>
                          <a:sym typeface="Wingdings" panose="05000000000000000000" pitchFamily="2" charset="2"/>
                        </a:rPr>
                        <a:t></a:t>
                      </a:r>
                      <a:endParaRPr lang="en-IN" sz="2000" dirty="0">
                        <a:solidFill>
                          <a:srgbClr val="24A148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2000" dirty="0">
                          <a:solidFill>
                            <a:srgbClr val="DA1E28"/>
                          </a:solidFill>
                          <a:latin typeface="+mn-lt"/>
                          <a:sym typeface="Wingdings" panose="05000000000000000000" pitchFamily="2" charset="2"/>
                        </a:rPr>
                        <a:t></a:t>
                      </a:r>
                      <a:endParaRPr lang="en-IN" sz="2000" dirty="0">
                        <a:solidFill>
                          <a:srgbClr val="DA1E28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2000" dirty="0">
                          <a:solidFill>
                            <a:srgbClr val="DA1E28"/>
                          </a:solidFill>
                          <a:latin typeface="+mn-lt"/>
                          <a:sym typeface="Wingdings" panose="05000000000000000000" pitchFamily="2" charset="2"/>
                        </a:rPr>
                        <a:t></a:t>
                      </a:r>
                      <a:endParaRPr lang="en-IN" sz="2000" dirty="0">
                        <a:solidFill>
                          <a:srgbClr val="DA1E28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2000" dirty="0">
                          <a:solidFill>
                            <a:srgbClr val="DA1E28"/>
                          </a:solidFill>
                          <a:latin typeface="+mn-lt"/>
                          <a:sym typeface="Wingdings" panose="05000000000000000000" pitchFamily="2" charset="2"/>
                        </a:rPr>
                        <a:t></a:t>
                      </a:r>
                      <a:endParaRPr lang="en-IN" sz="2000" dirty="0">
                        <a:solidFill>
                          <a:srgbClr val="DA1E28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2000" dirty="0">
                          <a:solidFill>
                            <a:srgbClr val="DA1E28"/>
                          </a:solidFill>
                          <a:latin typeface="+mn-lt"/>
                          <a:sym typeface="Wingdings" panose="05000000000000000000" pitchFamily="2" charset="2"/>
                        </a:rPr>
                        <a:t></a:t>
                      </a:r>
                      <a:endParaRPr lang="en-IN" sz="2000" dirty="0">
                        <a:solidFill>
                          <a:srgbClr val="DA1E28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2000" dirty="0">
                          <a:solidFill>
                            <a:srgbClr val="DA1E28"/>
                          </a:solidFill>
                          <a:latin typeface="+mn-lt"/>
                          <a:sym typeface="Wingdings" panose="05000000000000000000" pitchFamily="2" charset="2"/>
                        </a:rPr>
                        <a:t></a:t>
                      </a:r>
                      <a:endParaRPr lang="en-IN" sz="2000" dirty="0">
                        <a:solidFill>
                          <a:srgbClr val="DA1E28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2000" dirty="0">
                          <a:solidFill>
                            <a:srgbClr val="24A148"/>
                          </a:solidFill>
                          <a:latin typeface="+mn-lt"/>
                          <a:sym typeface="Wingdings" panose="05000000000000000000" pitchFamily="2" charset="2"/>
                        </a:rPr>
                        <a:t></a:t>
                      </a:r>
                      <a:endParaRPr lang="en-IN" sz="2000" dirty="0">
                        <a:solidFill>
                          <a:srgbClr val="24A148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77433772"/>
                  </a:ext>
                </a:extLst>
              </a:tr>
              <a:tr h="205716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Text Here</a:t>
                      </a: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2000" dirty="0">
                          <a:solidFill>
                            <a:srgbClr val="DA1E28"/>
                          </a:solidFill>
                          <a:latin typeface="+mn-lt"/>
                          <a:sym typeface="Wingdings" panose="05000000000000000000" pitchFamily="2" charset="2"/>
                        </a:rPr>
                        <a:t></a:t>
                      </a:r>
                      <a:endParaRPr lang="en-IN" sz="2000" dirty="0">
                        <a:solidFill>
                          <a:srgbClr val="DA1E28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2000" dirty="0">
                          <a:solidFill>
                            <a:srgbClr val="DA1E28"/>
                          </a:solidFill>
                          <a:latin typeface="+mn-lt"/>
                          <a:sym typeface="Wingdings" panose="05000000000000000000" pitchFamily="2" charset="2"/>
                        </a:rPr>
                        <a:t></a:t>
                      </a:r>
                      <a:endParaRPr lang="en-IN" sz="2000" dirty="0">
                        <a:solidFill>
                          <a:srgbClr val="DA1E28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2000" dirty="0">
                          <a:solidFill>
                            <a:srgbClr val="24A148"/>
                          </a:solidFill>
                          <a:latin typeface="+mn-lt"/>
                          <a:sym typeface="Wingdings" panose="05000000000000000000" pitchFamily="2" charset="2"/>
                        </a:rPr>
                        <a:t></a:t>
                      </a:r>
                      <a:endParaRPr lang="en-IN" sz="2000" dirty="0">
                        <a:solidFill>
                          <a:srgbClr val="24A148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2000" dirty="0">
                          <a:solidFill>
                            <a:srgbClr val="DA1E28"/>
                          </a:solidFill>
                          <a:latin typeface="+mn-lt"/>
                          <a:sym typeface="Wingdings" panose="05000000000000000000" pitchFamily="2" charset="2"/>
                        </a:rPr>
                        <a:t></a:t>
                      </a:r>
                      <a:endParaRPr lang="en-IN" sz="2000" dirty="0">
                        <a:solidFill>
                          <a:srgbClr val="DA1E28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2000" dirty="0">
                          <a:solidFill>
                            <a:srgbClr val="24A148"/>
                          </a:solidFill>
                          <a:latin typeface="+mn-lt"/>
                          <a:sym typeface="Wingdings" panose="05000000000000000000" pitchFamily="2" charset="2"/>
                        </a:rPr>
                        <a:t></a:t>
                      </a:r>
                      <a:endParaRPr lang="en-IN" sz="2000" dirty="0">
                        <a:solidFill>
                          <a:srgbClr val="24A148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2000" dirty="0">
                          <a:solidFill>
                            <a:srgbClr val="24A148"/>
                          </a:solidFill>
                          <a:latin typeface="+mn-lt"/>
                          <a:sym typeface="Wingdings" panose="05000000000000000000" pitchFamily="2" charset="2"/>
                        </a:rPr>
                        <a:t></a:t>
                      </a:r>
                      <a:endParaRPr lang="en-IN" sz="2000" dirty="0">
                        <a:solidFill>
                          <a:srgbClr val="24A148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2000" dirty="0">
                          <a:solidFill>
                            <a:srgbClr val="DA1E28"/>
                          </a:solidFill>
                          <a:latin typeface="+mn-lt"/>
                          <a:sym typeface="Wingdings" panose="05000000000000000000" pitchFamily="2" charset="2"/>
                        </a:rPr>
                        <a:t></a:t>
                      </a:r>
                      <a:endParaRPr lang="en-IN" sz="2000" dirty="0">
                        <a:solidFill>
                          <a:srgbClr val="DA1E28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723485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7012814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C0D348-1BF8-E1E6-45EC-5CC1D2B1B1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6E3CEFAA-7A5D-1854-94D8-14F402EA80C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E3CEFAA-7A5D-1854-94D8-14F402EA80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DDB7D95-C416-6D06-E0F7-870B9C4C29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08E39E40-230E-BCFC-96BD-8A32B6F60D70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28</a:t>
            </a:fld>
            <a:endParaRPr lang="en-US" sz="1200" dirty="0">
              <a:solidFill>
                <a:schemeClr val="bg1"/>
              </a:solidFill>
            </a:endParaRPr>
          </a:p>
        </p:txBody>
      </p:sp>
      <p:grpSp>
        <p:nvGrpSpPr>
          <p:cNvPr id="138" name="Group 137">
            <a:extLst>
              <a:ext uri="{FF2B5EF4-FFF2-40B4-BE49-F238E27FC236}">
                <a16:creationId xmlns:a16="http://schemas.microsoft.com/office/drawing/2014/main" id="{29462AB0-872E-F147-E2B2-E77C37860B55}"/>
              </a:ext>
            </a:extLst>
          </p:cNvPr>
          <p:cNvGrpSpPr/>
          <p:nvPr/>
        </p:nvGrpSpPr>
        <p:grpSpPr>
          <a:xfrm>
            <a:off x="536468" y="1069205"/>
            <a:ext cx="10968835" cy="4794449"/>
            <a:chOff x="837333" y="1067696"/>
            <a:chExt cx="10667970" cy="4349866"/>
          </a:xfrm>
        </p:grpSpPr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80F0A697-22FF-145D-447F-77D85E0F92C7}"/>
                </a:ext>
              </a:extLst>
            </p:cNvPr>
            <p:cNvSpPr txBox="1">
              <a:spLocks/>
            </p:cNvSpPr>
            <p:nvPr/>
          </p:nvSpPr>
          <p:spPr>
            <a:xfrm>
              <a:off x="4988894" y="1067696"/>
              <a:ext cx="977210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Slide No</a:t>
              </a:r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365E68C0-8C57-AC4F-CC04-3A7D5C115516}"/>
                </a:ext>
              </a:extLst>
            </p:cNvPr>
            <p:cNvSpPr txBox="1">
              <a:spLocks/>
            </p:cNvSpPr>
            <p:nvPr/>
          </p:nvSpPr>
          <p:spPr>
            <a:xfrm>
              <a:off x="10510100" y="1067696"/>
              <a:ext cx="977210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Slide No</a:t>
              </a:r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647CA5FF-94A6-E794-28C0-B75885B3C584}"/>
                </a:ext>
              </a:extLst>
            </p:cNvPr>
            <p:cNvSpPr/>
            <p:nvPr/>
          </p:nvSpPr>
          <p:spPr>
            <a:xfrm>
              <a:off x="848396" y="1128247"/>
              <a:ext cx="1546075" cy="28912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b="1" dirty="0">
                  <a:solidFill>
                    <a:srgbClr val="FFFFFF"/>
                  </a:solidFill>
                </a:rPr>
                <a:t>Title</a:t>
              </a:r>
            </a:p>
          </p:txBody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CCE47159-8FF9-D1E3-A5F3-CE9FDAB53841}"/>
                </a:ext>
              </a:extLst>
            </p:cNvPr>
            <p:cNvSpPr txBox="1">
              <a:spLocks/>
            </p:cNvSpPr>
            <p:nvPr/>
          </p:nvSpPr>
          <p:spPr>
            <a:xfrm>
              <a:off x="4985023" y="1525750"/>
              <a:ext cx="98040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XXX</a:t>
              </a:r>
            </a:p>
          </p:txBody>
        </p: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006B3AFD-DBE5-E955-A0CC-ACF0C03ECD2C}"/>
                </a:ext>
              </a:extLst>
            </p:cNvPr>
            <p:cNvCxnSpPr/>
            <p:nvPr/>
          </p:nvCxnSpPr>
          <p:spPr>
            <a:xfrm>
              <a:off x="848399" y="1870456"/>
              <a:ext cx="5117034" cy="0"/>
            </a:xfrm>
            <a:prstGeom prst="line">
              <a:avLst/>
            </a:prstGeom>
            <a:ln>
              <a:solidFill>
                <a:srgbClr val="C6C6C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456A5E6D-81C2-EA06-4ADD-9E5142976769}"/>
                </a:ext>
              </a:extLst>
            </p:cNvPr>
            <p:cNvSpPr txBox="1">
              <a:spLocks/>
            </p:cNvSpPr>
            <p:nvPr/>
          </p:nvSpPr>
          <p:spPr>
            <a:xfrm>
              <a:off x="4985023" y="1926047"/>
              <a:ext cx="98040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XXX</a:t>
              </a:r>
            </a:p>
          </p:txBody>
        </p: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BFAD8C2D-4069-F1D3-961C-8E592AAB2E0C}"/>
                </a:ext>
              </a:extLst>
            </p:cNvPr>
            <p:cNvCxnSpPr/>
            <p:nvPr/>
          </p:nvCxnSpPr>
          <p:spPr>
            <a:xfrm>
              <a:off x="848399" y="2270754"/>
              <a:ext cx="5117034" cy="0"/>
            </a:xfrm>
            <a:prstGeom prst="line">
              <a:avLst/>
            </a:prstGeom>
            <a:ln>
              <a:solidFill>
                <a:srgbClr val="C6C6C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7781581A-3A86-4EC9-E1DB-966AB5B445D2}"/>
                </a:ext>
              </a:extLst>
            </p:cNvPr>
            <p:cNvSpPr txBox="1">
              <a:spLocks/>
            </p:cNvSpPr>
            <p:nvPr/>
          </p:nvSpPr>
          <p:spPr>
            <a:xfrm>
              <a:off x="4985023" y="2326344"/>
              <a:ext cx="98040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XXX</a:t>
              </a:r>
            </a:p>
          </p:txBody>
        </p: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D05638CF-4BDD-C234-F3D3-59FAE9723870}"/>
                </a:ext>
              </a:extLst>
            </p:cNvPr>
            <p:cNvCxnSpPr/>
            <p:nvPr/>
          </p:nvCxnSpPr>
          <p:spPr>
            <a:xfrm>
              <a:off x="848399" y="2671051"/>
              <a:ext cx="5117034" cy="0"/>
            </a:xfrm>
            <a:prstGeom prst="line">
              <a:avLst/>
            </a:prstGeom>
            <a:ln>
              <a:solidFill>
                <a:srgbClr val="C6C6C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244D959D-0329-C822-291A-918BA4FE660E}"/>
                </a:ext>
              </a:extLst>
            </p:cNvPr>
            <p:cNvSpPr txBox="1">
              <a:spLocks/>
            </p:cNvSpPr>
            <p:nvPr/>
          </p:nvSpPr>
          <p:spPr>
            <a:xfrm>
              <a:off x="4985023" y="2726644"/>
              <a:ext cx="98040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XXX</a:t>
              </a:r>
            </a:p>
          </p:txBody>
        </p:sp>
        <p:cxnSp>
          <p:nvCxnSpPr>
            <p:cNvPr id="84" name="Straight Connector 83">
              <a:extLst>
                <a:ext uri="{FF2B5EF4-FFF2-40B4-BE49-F238E27FC236}">
                  <a16:creationId xmlns:a16="http://schemas.microsoft.com/office/drawing/2014/main" id="{4EB984DC-FFC8-9F3D-DEC7-1D16BA8721FD}"/>
                </a:ext>
              </a:extLst>
            </p:cNvPr>
            <p:cNvCxnSpPr/>
            <p:nvPr/>
          </p:nvCxnSpPr>
          <p:spPr>
            <a:xfrm>
              <a:off x="848399" y="3071348"/>
              <a:ext cx="5117034" cy="0"/>
            </a:xfrm>
            <a:prstGeom prst="line">
              <a:avLst/>
            </a:prstGeom>
            <a:ln>
              <a:solidFill>
                <a:srgbClr val="C6C6C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D7527FBE-815B-D91A-EF13-4F8BC123ED68}"/>
                </a:ext>
              </a:extLst>
            </p:cNvPr>
            <p:cNvSpPr txBox="1">
              <a:spLocks/>
            </p:cNvSpPr>
            <p:nvPr/>
          </p:nvSpPr>
          <p:spPr>
            <a:xfrm>
              <a:off x="4985023" y="3126943"/>
              <a:ext cx="98040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XXX</a:t>
              </a:r>
            </a:p>
          </p:txBody>
        </p:sp>
        <p:cxnSp>
          <p:nvCxnSpPr>
            <p:cNvPr id="86" name="Straight Connector 85">
              <a:extLst>
                <a:ext uri="{FF2B5EF4-FFF2-40B4-BE49-F238E27FC236}">
                  <a16:creationId xmlns:a16="http://schemas.microsoft.com/office/drawing/2014/main" id="{04F9E72D-5650-B69E-1075-67CEE969684E}"/>
                </a:ext>
              </a:extLst>
            </p:cNvPr>
            <p:cNvCxnSpPr/>
            <p:nvPr/>
          </p:nvCxnSpPr>
          <p:spPr>
            <a:xfrm>
              <a:off x="848399" y="3471647"/>
              <a:ext cx="5117034" cy="0"/>
            </a:xfrm>
            <a:prstGeom prst="line">
              <a:avLst/>
            </a:prstGeom>
            <a:ln>
              <a:solidFill>
                <a:srgbClr val="C6C6C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4097B130-AB66-E5F1-D183-5A0306EB7D11}"/>
                </a:ext>
              </a:extLst>
            </p:cNvPr>
            <p:cNvSpPr txBox="1">
              <a:spLocks/>
            </p:cNvSpPr>
            <p:nvPr/>
          </p:nvSpPr>
          <p:spPr>
            <a:xfrm>
              <a:off x="4985023" y="3527243"/>
              <a:ext cx="98040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XXX</a:t>
              </a:r>
            </a:p>
          </p:txBody>
        </p:sp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1C572A5A-11C8-FDCF-C9DF-A371FACAD25A}"/>
                </a:ext>
              </a:extLst>
            </p:cNvPr>
            <p:cNvCxnSpPr/>
            <p:nvPr/>
          </p:nvCxnSpPr>
          <p:spPr>
            <a:xfrm>
              <a:off x="848399" y="3871946"/>
              <a:ext cx="5117034" cy="0"/>
            </a:xfrm>
            <a:prstGeom prst="line">
              <a:avLst/>
            </a:prstGeom>
            <a:ln>
              <a:solidFill>
                <a:srgbClr val="C6C6C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45A2792C-F6EE-4170-FA8A-4194349C4829}"/>
                </a:ext>
              </a:extLst>
            </p:cNvPr>
            <p:cNvSpPr txBox="1">
              <a:spLocks/>
            </p:cNvSpPr>
            <p:nvPr/>
          </p:nvSpPr>
          <p:spPr>
            <a:xfrm>
              <a:off x="4985023" y="3927537"/>
              <a:ext cx="98040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XXX</a:t>
              </a:r>
            </a:p>
          </p:txBody>
        </p: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BF705F0A-6E9D-C674-3E7C-5FCC2E3282BA}"/>
                </a:ext>
              </a:extLst>
            </p:cNvPr>
            <p:cNvCxnSpPr/>
            <p:nvPr/>
          </p:nvCxnSpPr>
          <p:spPr>
            <a:xfrm>
              <a:off x="848399" y="4272245"/>
              <a:ext cx="5117034" cy="0"/>
            </a:xfrm>
            <a:prstGeom prst="line">
              <a:avLst/>
            </a:prstGeom>
            <a:ln>
              <a:solidFill>
                <a:srgbClr val="C6C6C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8482E5D1-1DFC-2300-252F-41E650D8A245}"/>
                </a:ext>
              </a:extLst>
            </p:cNvPr>
            <p:cNvSpPr txBox="1">
              <a:spLocks/>
            </p:cNvSpPr>
            <p:nvPr/>
          </p:nvSpPr>
          <p:spPr>
            <a:xfrm>
              <a:off x="4985023" y="4327834"/>
              <a:ext cx="98040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XXX</a:t>
              </a:r>
            </a:p>
          </p:txBody>
        </p: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67E18BE8-FFFD-60A5-8DB6-51499702EF46}"/>
                </a:ext>
              </a:extLst>
            </p:cNvPr>
            <p:cNvCxnSpPr/>
            <p:nvPr/>
          </p:nvCxnSpPr>
          <p:spPr>
            <a:xfrm>
              <a:off x="848399" y="4672541"/>
              <a:ext cx="5117034" cy="0"/>
            </a:xfrm>
            <a:prstGeom prst="line">
              <a:avLst/>
            </a:prstGeom>
            <a:ln>
              <a:solidFill>
                <a:srgbClr val="C6C6C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4B7FB0BA-39B2-A510-A7D6-65101D45BF2E}"/>
                </a:ext>
              </a:extLst>
            </p:cNvPr>
            <p:cNvSpPr txBox="1">
              <a:spLocks/>
            </p:cNvSpPr>
            <p:nvPr/>
          </p:nvSpPr>
          <p:spPr>
            <a:xfrm>
              <a:off x="4985023" y="4728130"/>
              <a:ext cx="98040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XXX</a:t>
              </a: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EF0D2E7-FF6C-9DA7-F557-6BD23CE3A50E}"/>
                </a:ext>
              </a:extLst>
            </p:cNvPr>
            <p:cNvCxnSpPr/>
            <p:nvPr/>
          </p:nvCxnSpPr>
          <p:spPr>
            <a:xfrm>
              <a:off x="848399" y="5072838"/>
              <a:ext cx="5117034" cy="0"/>
            </a:xfrm>
            <a:prstGeom prst="line">
              <a:avLst/>
            </a:prstGeom>
            <a:ln>
              <a:solidFill>
                <a:srgbClr val="C6C6C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E085E4D2-726A-94EA-5475-C85800195BA1}"/>
                </a:ext>
              </a:extLst>
            </p:cNvPr>
            <p:cNvSpPr txBox="1"/>
            <p:nvPr/>
          </p:nvSpPr>
          <p:spPr>
            <a:xfrm>
              <a:off x="848399" y="1525750"/>
              <a:ext cx="405944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Insert Text Here</a:t>
              </a:r>
            </a:p>
          </p:txBody>
        </p: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3AC9EA7B-E9BB-D5A1-4A9A-7AF1BAB49AC3}"/>
                </a:ext>
              </a:extLst>
            </p:cNvPr>
            <p:cNvSpPr txBox="1"/>
            <p:nvPr/>
          </p:nvSpPr>
          <p:spPr>
            <a:xfrm>
              <a:off x="848399" y="1926047"/>
              <a:ext cx="405944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Insert Text Here</a:t>
              </a:r>
            </a:p>
          </p:txBody>
        </p: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9B20E34A-1C17-5881-C015-A3D0CB30A64E}"/>
                </a:ext>
              </a:extLst>
            </p:cNvPr>
            <p:cNvSpPr txBox="1"/>
            <p:nvPr/>
          </p:nvSpPr>
          <p:spPr>
            <a:xfrm>
              <a:off x="848399" y="2326346"/>
              <a:ext cx="405944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Insert Text Here</a:t>
              </a:r>
            </a:p>
          </p:txBody>
        </p:sp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EFC49D41-16C3-3173-5DA5-746572A21091}"/>
                </a:ext>
              </a:extLst>
            </p:cNvPr>
            <p:cNvSpPr txBox="1"/>
            <p:nvPr/>
          </p:nvSpPr>
          <p:spPr>
            <a:xfrm>
              <a:off x="848399" y="2726644"/>
              <a:ext cx="405944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Insert Text Here</a:t>
              </a:r>
            </a:p>
          </p:txBody>
        </p:sp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C0581FB3-0179-A1BA-5938-BBA6C8848F0A}"/>
                </a:ext>
              </a:extLst>
            </p:cNvPr>
            <p:cNvSpPr txBox="1"/>
            <p:nvPr/>
          </p:nvSpPr>
          <p:spPr>
            <a:xfrm>
              <a:off x="848399" y="3126943"/>
              <a:ext cx="405944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Insert Text Here</a:t>
              </a:r>
            </a:p>
          </p:txBody>
        </p:sp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A5DF2451-A1C7-E4D5-0C6C-179B12B8F09B}"/>
                </a:ext>
              </a:extLst>
            </p:cNvPr>
            <p:cNvSpPr txBox="1"/>
            <p:nvPr/>
          </p:nvSpPr>
          <p:spPr>
            <a:xfrm>
              <a:off x="848399" y="3527243"/>
              <a:ext cx="405944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Insert Text Here</a:t>
              </a:r>
            </a:p>
          </p:txBody>
        </p:sp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1DF4FB27-6769-BACD-8D9D-8C7147056C9E}"/>
                </a:ext>
              </a:extLst>
            </p:cNvPr>
            <p:cNvSpPr txBox="1"/>
            <p:nvPr/>
          </p:nvSpPr>
          <p:spPr>
            <a:xfrm>
              <a:off x="848399" y="3927538"/>
              <a:ext cx="405944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Insert Text Here</a:t>
              </a:r>
            </a:p>
          </p:txBody>
        </p:sp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D282A8C3-9F3F-D177-4047-A27E5560E379}"/>
                </a:ext>
              </a:extLst>
            </p:cNvPr>
            <p:cNvSpPr txBox="1"/>
            <p:nvPr/>
          </p:nvSpPr>
          <p:spPr>
            <a:xfrm>
              <a:off x="848399" y="4327834"/>
              <a:ext cx="405944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Insert Text Here</a:t>
              </a:r>
            </a:p>
          </p:txBody>
        </p:sp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3E608A02-5518-81FE-7E88-684EA5CA0411}"/>
                </a:ext>
              </a:extLst>
            </p:cNvPr>
            <p:cNvSpPr txBox="1"/>
            <p:nvPr/>
          </p:nvSpPr>
          <p:spPr>
            <a:xfrm>
              <a:off x="848399" y="4728130"/>
              <a:ext cx="405944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Insert Text Here</a:t>
              </a:r>
            </a:p>
          </p:txBody>
        </p:sp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7E3F33E2-4300-6F18-CAA3-F2FB7992B841}"/>
                </a:ext>
              </a:extLst>
            </p:cNvPr>
            <p:cNvSpPr txBox="1"/>
            <p:nvPr/>
          </p:nvSpPr>
          <p:spPr>
            <a:xfrm>
              <a:off x="848399" y="5128435"/>
              <a:ext cx="405944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Insert Text Here</a:t>
              </a:r>
            </a:p>
          </p:txBody>
        </p:sp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D91BFA3B-3B02-B728-E74D-AD6B16A2EC7C}"/>
                </a:ext>
              </a:extLst>
            </p:cNvPr>
            <p:cNvSpPr txBox="1">
              <a:spLocks/>
            </p:cNvSpPr>
            <p:nvPr/>
          </p:nvSpPr>
          <p:spPr>
            <a:xfrm>
              <a:off x="4985023" y="5128435"/>
              <a:ext cx="98040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XXX</a:t>
              </a:r>
            </a:p>
          </p:txBody>
        </p:sp>
        <p:sp>
          <p:nvSpPr>
            <p:cNvPr id="106" name="Rectangle 105">
              <a:extLst>
                <a:ext uri="{FF2B5EF4-FFF2-40B4-BE49-F238E27FC236}">
                  <a16:creationId xmlns:a16="http://schemas.microsoft.com/office/drawing/2014/main" id="{41019A30-387D-0E31-F1C9-9A9817681E07}"/>
                </a:ext>
              </a:extLst>
            </p:cNvPr>
            <p:cNvSpPr/>
            <p:nvPr/>
          </p:nvSpPr>
          <p:spPr>
            <a:xfrm>
              <a:off x="6388255" y="1128247"/>
              <a:ext cx="1546074" cy="289127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b="1" dirty="0">
                  <a:solidFill>
                    <a:srgbClr val="FFFFFF"/>
                  </a:solidFill>
                </a:rPr>
                <a:t>Title</a:t>
              </a:r>
            </a:p>
          </p:txBody>
        </p: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3DB45542-D598-A014-CED2-715998F8ABAC}"/>
                </a:ext>
              </a:extLst>
            </p:cNvPr>
            <p:cNvSpPr txBox="1">
              <a:spLocks/>
            </p:cNvSpPr>
            <p:nvPr/>
          </p:nvSpPr>
          <p:spPr>
            <a:xfrm>
              <a:off x="10525194" y="1525750"/>
              <a:ext cx="98010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XXX</a:t>
              </a:r>
            </a:p>
          </p:txBody>
        </p: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8C527C1-4DE6-4BE5-881B-6163899CED5A}"/>
                </a:ext>
              </a:extLst>
            </p:cNvPr>
            <p:cNvCxnSpPr/>
            <p:nvPr/>
          </p:nvCxnSpPr>
          <p:spPr>
            <a:xfrm>
              <a:off x="6388254" y="1870456"/>
              <a:ext cx="5117047" cy="0"/>
            </a:xfrm>
            <a:prstGeom prst="line">
              <a:avLst/>
            </a:prstGeom>
            <a:ln>
              <a:solidFill>
                <a:srgbClr val="C6C6C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B3427CAA-9B91-37FD-EDDF-4CBB2CDBB8AF}"/>
                </a:ext>
              </a:extLst>
            </p:cNvPr>
            <p:cNvSpPr txBox="1">
              <a:spLocks/>
            </p:cNvSpPr>
            <p:nvPr/>
          </p:nvSpPr>
          <p:spPr>
            <a:xfrm>
              <a:off x="10525194" y="1926047"/>
              <a:ext cx="98010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XXX</a:t>
              </a:r>
            </a:p>
          </p:txBody>
        </p: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A478C7F9-5431-6343-2493-D348B0057503}"/>
                </a:ext>
              </a:extLst>
            </p:cNvPr>
            <p:cNvCxnSpPr/>
            <p:nvPr/>
          </p:nvCxnSpPr>
          <p:spPr>
            <a:xfrm>
              <a:off x="6388254" y="2270754"/>
              <a:ext cx="5117047" cy="0"/>
            </a:xfrm>
            <a:prstGeom prst="line">
              <a:avLst/>
            </a:prstGeom>
            <a:ln>
              <a:solidFill>
                <a:srgbClr val="C6C6C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1" name="TextBox 110">
              <a:extLst>
                <a:ext uri="{FF2B5EF4-FFF2-40B4-BE49-F238E27FC236}">
                  <a16:creationId xmlns:a16="http://schemas.microsoft.com/office/drawing/2014/main" id="{5DED10B8-3ACC-F660-420E-21747F50527C}"/>
                </a:ext>
              </a:extLst>
            </p:cNvPr>
            <p:cNvSpPr txBox="1">
              <a:spLocks/>
            </p:cNvSpPr>
            <p:nvPr/>
          </p:nvSpPr>
          <p:spPr>
            <a:xfrm>
              <a:off x="10525194" y="2326344"/>
              <a:ext cx="98010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XXX</a:t>
              </a:r>
            </a:p>
          </p:txBody>
        </p: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AD07F669-65CE-DAEC-CB90-FC437D8D95B1}"/>
                </a:ext>
              </a:extLst>
            </p:cNvPr>
            <p:cNvCxnSpPr/>
            <p:nvPr/>
          </p:nvCxnSpPr>
          <p:spPr>
            <a:xfrm>
              <a:off x="6388254" y="2671051"/>
              <a:ext cx="5117047" cy="0"/>
            </a:xfrm>
            <a:prstGeom prst="line">
              <a:avLst/>
            </a:prstGeom>
            <a:ln>
              <a:solidFill>
                <a:srgbClr val="C6C6C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FD0B55C5-7A4B-670D-CD13-6069B332F33B}"/>
                </a:ext>
              </a:extLst>
            </p:cNvPr>
            <p:cNvSpPr txBox="1">
              <a:spLocks/>
            </p:cNvSpPr>
            <p:nvPr/>
          </p:nvSpPr>
          <p:spPr>
            <a:xfrm>
              <a:off x="10525194" y="2726644"/>
              <a:ext cx="98010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XXX</a:t>
              </a:r>
            </a:p>
          </p:txBody>
        </p: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4FB658A7-B8A4-7F77-9761-0EC2F18E5F1D}"/>
                </a:ext>
              </a:extLst>
            </p:cNvPr>
            <p:cNvCxnSpPr/>
            <p:nvPr/>
          </p:nvCxnSpPr>
          <p:spPr>
            <a:xfrm>
              <a:off x="6388254" y="3071348"/>
              <a:ext cx="5117047" cy="0"/>
            </a:xfrm>
            <a:prstGeom prst="line">
              <a:avLst/>
            </a:prstGeom>
            <a:ln>
              <a:solidFill>
                <a:srgbClr val="C6C6C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CC6681E0-D469-86AE-904B-E7FF0BBBACD5}"/>
                </a:ext>
              </a:extLst>
            </p:cNvPr>
            <p:cNvSpPr txBox="1">
              <a:spLocks/>
            </p:cNvSpPr>
            <p:nvPr/>
          </p:nvSpPr>
          <p:spPr>
            <a:xfrm>
              <a:off x="10525194" y="3126943"/>
              <a:ext cx="98010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XXX</a:t>
              </a:r>
            </a:p>
          </p:txBody>
        </p: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C46C0BF-2C7F-7837-AC88-6DBB9C97D076}"/>
                </a:ext>
              </a:extLst>
            </p:cNvPr>
            <p:cNvCxnSpPr/>
            <p:nvPr/>
          </p:nvCxnSpPr>
          <p:spPr>
            <a:xfrm>
              <a:off x="6388254" y="3471647"/>
              <a:ext cx="5117047" cy="0"/>
            </a:xfrm>
            <a:prstGeom prst="line">
              <a:avLst/>
            </a:prstGeom>
            <a:ln>
              <a:solidFill>
                <a:srgbClr val="C6C6C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7" name="TextBox 116">
              <a:extLst>
                <a:ext uri="{FF2B5EF4-FFF2-40B4-BE49-F238E27FC236}">
                  <a16:creationId xmlns:a16="http://schemas.microsoft.com/office/drawing/2014/main" id="{E7D89B62-3CAD-3F39-2177-3B3769A49563}"/>
                </a:ext>
              </a:extLst>
            </p:cNvPr>
            <p:cNvSpPr txBox="1">
              <a:spLocks/>
            </p:cNvSpPr>
            <p:nvPr/>
          </p:nvSpPr>
          <p:spPr>
            <a:xfrm>
              <a:off x="10525194" y="3527243"/>
              <a:ext cx="98010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XXX</a:t>
              </a:r>
            </a:p>
          </p:txBody>
        </p: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20C3FAE8-CAC6-A1F6-597D-80426CCEA58E}"/>
                </a:ext>
              </a:extLst>
            </p:cNvPr>
            <p:cNvCxnSpPr/>
            <p:nvPr/>
          </p:nvCxnSpPr>
          <p:spPr>
            <a:xfrm>
              <a:off x="6388254" y="3871946"/>
              <a:ext cx="5117047" cy="0"/>
            </a:xfrm>
            <a:prstGeom prst="line">
              <a:avLst/>
            </a:prstGeom>
            <a:ln>
              <a:solidFill>
                <a:srgbClr val="C6C6C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9" name="TextBox 118">
              <a:extLst>
                <a:ext uri="{FF2B5EF4-FFF2-40B4-BE49-F238E27FC236}">
                  <a16:creationId xmlns:a16="http://schemas.microsoft.com/office/drawing/2014/main" id="{280714E2-884B-FEF9-0E40-4FCDE764AD22}"/>
                </a:ext>
              </a:extLst>
            </p:cNvPr>
            <p:cNvSpPr txBox="1">
              <a:spLocks/>
            </p:cNvSpPr>
            <p:nvPr/>
          </p:nvSpPr>
          <p:spPr>
            <a:xfrm>
              <a:off x="10525194" y="3927537"/>
              <a:ext cx="98010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XXX</a:t>
              </a:r>
            </a:p>
          </p:txBody>
        </p: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A5DA5DCB-5BBB-65E3-1600-AF9DD0F64C1D}"/>
                </a:ext>
              </a:extLst>
            </p:cNvPr>
            <p:cNvCxnSpPr/>
            <p:nvPr/>
          </p:nvCxnSpPr>
          <p:spPr>
            <a:xfrm>
              <a:off x="6388254" y="4272245"/>
              <a:ext cx="5117047" cy="0"/>
            </a:xfrm>
            <a:prstGeom prst="line">
              <a:avLst/>
            </a:prstGeom>
            <a:ln>
              <a:solidFill>
                <a:srgbClr val="C6C6C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id="{5AC240A6-10A8-765D-E8F3-5BCB3A6ECAE8}"/>
                </a:ext>
              </a:extLst>
            </p:cNvPr>
            <p:cNvSpPr txBox="1">
              <a:spLocks/>
            </p:cNvSpPr>
            <p:nvPr/>
          </p:nvSpPr>
          <p:spPr>
            <a:xfrm>
              <a:off x="10525194" y="4327834"/>
              <a:ext cx="98010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XXX</a:t>
              </a:r>
            </a:p>
          </p:txBody>
        </p: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08C5907E-79E3-4060-CAB6-7C8BDD0F70B2}"/>
                </a:ext>
              </a:extLst>
            </p:cNvPr>
            <p:cNvCxnSpPr/>
            <p:nvPr/>
          </p:nvCxnSpPr>
          <p:spPr>
            <a:xfrm>
              <a:off x="6388254" y="4672541"/>
              <a:ext cx="5117047" cy="0"/>
            </a:xfrm>
            <a:prstGeom prst="line">
              <a:avLst/>
            </a:prstGeom>
            <a:ln>
              <a:solidFill>
                <a:srgbClr val="C6C6C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3" name="TextBox 122">
              <a:extLst>
                <a:ext uri="{FF2B5EF4-FFF2-40B4-BE49-F238E27FC236}">
                  <a16:creationId xmlns:a16="http://schemas.microsoft.com/office/drawing/2014/main" id="{BA944F2C-F45B-E6BE-B2DF-AFDEE3D181C4}"/>
                </a:ext>
              </a:extLst>
            </p:cNvPr>
            <p:cNvSpPr txBox="1">
              <a:spLocks/>
            </p:cNvSpPr>
            <p:nvPr/>
          </p:nvSpPr>
          <p:spPr>
            <a:xfrm>
              <a:off x="10525194" y="4728130"/>
              <a:ext cx="98010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XXX</a:t>
              </a:r>
            </a:p>
          </p:txBody>
        </p: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CFA4C52F-E998-9A6E-01B1-BF59C1015C42}"/>
                </a:ext>
              </a:extLst>
            </p:cNvPr>
            <p:cNvCxnSpPr/>
            <p:nvPr/>
          </p:nvCxnSpPr>
          <p:spPr>
            <a:xfrm>
              <a:off x="6388254" y="5072838"/>
              <a:ext cx="5117047" cy="0"/>
            </a:xfrm>
            <a:prstGeom prst="line">
              <a:avLst/>
            </a:prstGeom>
            <a:ln>
              <a:solidFill>
                <a:srgbClr val="C6C6C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5" name="TextBox 124">
              <a:extLst>
                <a:ext uri="{FF2B5EF4-FFF2-40B4-BE49-F238E27FC236}">
                  <a16:creationId xmlns:a16="http://schemas.microsoft.com/office/drawing/2014/main" id="{832FE82F-F220-B9D1-EC80-77B820BEB49A}"/>
                </a:ext>
              </a:extLst>
            </p:cNvPr>
            <p:cNvSpPr txBox="1"/>
            <p:nvPr/>
          </p:nvSpPr>
          <p:spPr>
            <a:xfrm>
              <a:off x="6388255" y="1525750"/>
              <a:ext cx="4059680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Insert Text Here</a:t>
              </a:r>
            </a:p>
          </p:txBody>
        </p:sp>
        <p:sp>
          <p:nvSpPr>
            <p:cNvPr id="126" name="TextBox 125">
              <a:extLst>
                <a:ext uri="{FF2B5EF4-FFF2-40B4-BE49-F238E27FC236}">
                  <a16:creationId xmlns:a16="http://schemas.microsoft.com/office/drawing/2014/main" id="{5F1F0D0C-0C86-681A-281A-B0B26AC91DDE}"/>
                </a:ext>
              </a:extLst>
            </p:cNvPr>
            <p:cNvSpPr txBox="1"/>
            <p:nvPr/>
          </p:nvSpPr>
          <p:spPr>
            <a:xfrm>
              <a:off x="6388255" y="1926047"/>
              <a:ext cx="4059680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Insert Text Here</a:t>
              </a:r>
            </a:p>
          </p:txBody>
        </p:sp>
        <p:sp>
          <p:nvSpPr>
            <p:cNvPr id="127" name="TextBox 126">
              <a:extLst>
                <a:ext uri="{FF2B5EF4-FFF2-40B4-BE49-F238E27FC236}">
                  <a16:creationId xmlns:a16="http://schemas.microsoft.com/office/drawing/2014/main" id="{A82FD254-3AC5-D618-8731-810BC04DE578}"/>
                </a:ext>
              </a:extLst>
            </p:cNvPr>
            <p:cNvSpPr txBox="1"/>
            <p:nvPr/>
          </p:nvSpPr>
          <p:spPr>
            <a:xfrm>
              <a:off x="6388255" y="2326346"/>
              <a:ext cx="4059680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Insert Text Here</a:t>
              </a:r>
            </a:p>
          </p:txBody>
        </p:sp>
        <p:sp>
          <p:nvSpPr>
            <p:cNvPr id="128" name="TextBox 127">
              <a:extLst>
                <a:ext uri="{FF2B5EF4-FFF2-40B4-BE49-F238E27FC236}">
                  <a16:creationId xmlns:a16="http://schemas.microsoft.com/office/drawing/2014/main" id="{0A02A179-FA8D-B5F2-6C61-EE077563522B}"/>
                </a:ext>
              </a:extLst>
            </p:cNvPr>
            <p:cNvSpPr txBox="1"/>
            <p:nvPr/>
          </p:nvSpPr>
          <p:spPr>
            <a:xfrm>
              <a:off x="6388255" y="2726644"/>
              <a:ext cx="4059680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Insert Text Here</a:t>
              </a:r>
            </a:p>
          </p:txBody>
        </p:sp>
        <p:sp>
          <p:nvSpPr>
            <p:cNvPr id="129" name="TextBox 128">
              <a:extLst>
                <a:ext uri="{FF2B5EF4-FFF2-40B4-BE49-F238E27FC236}">
                  <a16:creationId xmlns:a16="http://schemas.microsoft.com/office/drawing/2014/main" id="{C7AFEBFB-F923-BB2C-B592-8B7FD1E4D118}"/>
                </a:ext>
              </a:extLst>
            </p:cNvPr>
            <p:cNvSpPr txBox="1"/>
            <p:nvPr/>
          </p:nvSpPr>
          <p:spPr>
            <a:xfrm>
              <a:off x="6388255" y="3126943"/>
              <a:ext cx="4059680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Insert Text Here</a:t>
              </a:r>
            </a:p>
          </p:txBody>
        </p:sp>
        <p:sp>
          <p:nvSpPr>
            <p:cNvPr id="130" name="TextBox 129">
              <a:extLst>
                <a:ext uri="{FF2B5EF4-FFF2-40B4-BE49-F238E27FC236}">
                  <a16:creationId xmlns:a16="http://schemas.microsoft.com/office/drawing/2014/main" id="{F886CC4E-3921-7351-5C65-3869BFD182B1}"/>
                </a:ext>
              </a:extLst>
            </p:cNvPr>
            <p:cNvSpPr txBox="1"/>
            <p:nvPr/>
          </p:nvSpPr>
          <p:spPr>
            <a:xfrm>
              <a:off x="6388255" y="3527243"/>
              <a:ext cx="4059680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Insert Text Here</a:t>
              </a:r>
            </a:p>
          </p:txBody>
        </p:sp>
        <p:sp>
          <p:nvSpPr>
            <p:cNvPr id="131" name="TextBox 130">
              <a:extLst>
                <a:ext uri="{FF2B5EF4-FFF2-40B4-BE49-F238E27FC236}">
                  <a16:creationId xmlns:a16="http://schemas.microsoft.com/office/drawing/2014/main" id="{C5448A58-3168-9417-191C-A15F7EADFC2D}"/>
                </a:ext>
              </a:extLst>
            </p:cNvPr>
            <p:cNvSpPr txBox="1"/>
            <p:nvPr/>
          </p:nvSpPr>
          <p:spPr>
            <a:xfrm>
              <a:off x="6388255" y="3927538"/>
              <a:ext cx="4059680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Insert Text Here</a:t>
              </a:r>
            </a:p>
          </p:txBody>
        </p:sp>
        <p:sp>
          <p:nvSpPr>
            <p:cNvPr id="132" name="TextBox 131">
              <a:extLst>
                <a:ext uri="{FF2B5EF4-FFF2-40B4-BE49-F238E27FC236}">
                  <a16:creationId xmlns:a16="http://schemas.microsoft.com/office/drawing/2014/main" id="{8CA52DBF-3F06-301D-6EF1-15476A386034}"/>
                </a:ext>
              </a:extLst>
            </p:cNvPr>
            <p:cNvSpPr txBox="1"/>
            <p:nvPr/>
          </p:nvSpPr>
          <p:spPr>
            <a:xfrm>
              <a:off x="6388255" y="4327834"/>
              <a:ext cx="4059680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Insert Text Here</a:t>
              </a:r>
            </a:p>
          </p:txBody>
        </p:sp>
        <p:sp>
          <p:nvSpPr>
            <p:cNvPr id="133" name="TextBox 132">
              <a:extLst>
                <a:ext uri="{FF2B5EF4-FFF2-40B4-BE49-F238E27FC236}">
                  <a16:creationId xmlns:a16="http://schemas.microsoft.com/office/drawing/2014/main" id="{1A64A230-96EB-2209-543E-80AB4724A406}"/>
                </a:ext>
              </a:extLst>
            </p:cNvPr>
            <p:cNvSpPr txBox="1"/>
            <p:nvPr/>
          </p:nvSpPr>
          <p:spPr>
            <a:xfrm>
              <a:off x="6388255" y="4728130"/>
              <a:ext cx="4059680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Insert Text Here</a:t>
              </a:r>
            </a:p>
          </p:txBody>
        </p:sp>
        <p:sp>
          <p:nvSpPr>
            <p:cNvPr id="134" name="TextBox 133">
              <a:extLst>
                <a:ext uri="{FF2B5EF4-FFF2-40B4-BE49-F238E27FC236}">
                  <a16:creationId xmlns:a16="http://schemas.microsoft.com/office/drawing/2014/main" id="{C4AC2FB0-1C31-F0F2-92D4-83EA2D4617FD}"/>
                </a:ext>
              </a:extLst>
            </p:cNvPr>
            <p:cNvSpPr txBox="1"/>
            <p:nvPr/>
          </p:nvSpPr>
          <p:spPr>
            <a:xfrm>
              <a:off x="6388255" y="5128435"/>
              <a:ext cx="4059680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Insert Text Here</a:t>
              </a:r>
            </a:p>
          </p:txBody>
        </p:sp>
        <p:sp>
          <p:nvSpPr>
            <p:cNvPr id="135" name="TextBox 134">
              <a:extLst>
                <a:ext uri="{FF2B5EF4-FFF2-40B4-BE49-F238E27FC236}">
                  <a16:creationId xmlns:a16="http://schemas.microsoft.com/office/drawing/2014/main" id="{48092C77-13DE-FB6D-F10E-B324668EA668}"/>
                </a:ext>
              </a:extLst>
            </p:cNvPr>
            <p:cNvSpPr txBox="1">
              <a:spLocks/>
            </p:cNvSpPr>
            <p:nvPr/>
          </p:nvSpPr>
          <p:spPr>
            <a:xfrm>
              <a:off x="10525194" y="5128435"/>
              <a:ext cx="98010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XXX</a:t>
              </a:r>
            </a:p>
          </p:txBody>
        </p: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7379E028-6F00-B5A5-03DA-A2CECD3B7689}"/>
                </a:ext>
              </a:extLst>
            </p:cNvPr>
            <p:cNvCxnSpPr/>
            <p:nvPr/>
          </p:nvCxnSpPr>
          <p:spPr>
            <a:xfrm>
              <a:off x="837333" y="1438445"/>
              <a:ext cx="5128098" cy="0"/>
            </a:xfrm>
            <a:prstGeom prst="line">
              <a:avLst/>
            </a:prstGeom>
            <a:ln>
              <a:solidFill>
                <a:srgbClr val="195167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D5897CB8-D315-C894-3113-17E696827589}"/>
                </a:ext>
              </a:extLst>
            </p:cNvPr>
            <p:cNvCxnSpPr/>
            <p:nvPr/>
          </p:nvCxnSpPr>
          <p:spPr>
            <a:xfrm>
              <a:off x="6377475" y="1438445"/>
              <a:ext cx="5127827" cy="0"/>
            </a:xfrm>
            <a:prstGeom prst="line">
              <a:avLst/>
            </a:prstGeom>
            <a:ln>
              <a:solidFill>
                <a:srgbClr val="0B8A9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38884871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16B600-DFA2-AF80-3584-14CF3A4248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E9BB15A3-A89F-13E1-5AD4-75CDBD6C18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9BB15A3-A89F-13E1-5AD4-75CDBD6C18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0CC647B-84B5-5883-7030-086E4714E7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A292DF24-BB3A-1C34-3C89-BD513DA94CF9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29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0BEAEA67-70CC-3BB1-E1DD-C54CF2AB33F2}"/>
              </a:ext>
            </a:extLst>
          </p:cNvPr>
          <p:cNvSpPr txBox="1">
            <a:spLocks/>
          </p:cNvSpPr>
          <p:nvPr/>
        </p:nvSpPr>
        <p:spPr>
          <a:xfrm>
            <a:off x="3136740" y="1074655"/>
            <a:ext cx="949888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Slide No</a:t>
            </a: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FE8D7B41-47A6-2F99-7F69-805A71BFBC5A}"/>
              </a:ext>
            </a:extLst>
          </p:cNvPr>
          <p:cNvSpPr/>
          <p:nvPr/>
        </p:nvSpPr>
        <p:spPr>
          <a:xfrm>
            <a:off x="540034" y="1170070"/>
            <a:ext cx="1071436" cy="30777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b="1" dirty="0">
                <a:solidFill>
                  <a:srgbClr val="FFFFFF"/>
                </a:solidFill>
              </a:rPr>
              <a:t>Title</a:t>
            </a: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948FB340-4AFE-0984-D92C-02ACC8AB639F}"/>
              </a:ext>
            </a:extLst>
          </p:cNvPr>
          <p:cNvSpPr txBox="1">
            <a:spLocks/>
          </p:cNvSpPr>
          <p:nvPr/>
        </p:nvSpPr>
        <p:spPr>
          <a:xfrm>
            <a:off x="3406734" y="1579525"/>
            <a:ext cx="679428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2BCB7C8F-8701-8493-C052-9C3A81075758}"/>
              </a:ext>
            </a:extLst>
          </p:cNvPr>
          <p:cNvCxnSpPr/>
          <p:nvPr/>
        </p:nvCxnSpPr>
        <p:spPr>
          <a:xfrm>
            <a:off x="540036" y="1954012"/>
            <a:ext cx="354612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TextBox 111">
            <a:extLst>
              <a:ext uri="{FF2B5EF4-FFF2-40B4-BE49-F238E27FC236}">
                <a16:creationId xmlns:a16="http://schemas.microsoft.com/office/drawing/2014/main" id="{27A55A93-CEE8-80E7-9270-A4143599BDE2}"/>
              </a:ext>
            </a:extLst>
          </p:cNvPr>
          <p:cNvSpPr txBox="1">
            <a:spLocks/>
          </p:cNvSpPr>
          <p:nvPr/>
        </p:nvSpPr>
        <p:spPr>
          <a:xfrm>
            <a:off x="3406734" y="2020735"/>
            <a:ext cx="679428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44BCFC30-E8D3-1C35-CB43-027FDE653E36}"/>
              </a:ext>
            </a:extLst>
          </p:cNvPr>
          <p:cNvCxnSpPr/>
          <p:nvPr/>
        </p:nvCxnSpPr>
        <p:spPr>
          <a:xfrm>
            <a:off x="540036" y="2395223"/>
            <a:ext cx="354612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TextBox 113">
            <a:extLst>
              <a:ext uri="{FF2B5EF4-FFF2-40B4-BE49-F238E27FC236}">
                <a16:creationId xmlns:a16="http://schemas.microsoft.com/office/drawing/2014/main" id="{70E5CECE-D2D2-CE45-6A43-3AC76660817C}"/>
              </a:ext>
            </a:extLst>
          </p:cNvPr>
          <p:cNvSpPr txBox="1">
            <a:spLocks/>
          </p:cNvSpPr>
          <p:nvPr/>
        </p:nvSpPr>
        <p:spPr>
          <a:xfrm>
            <a:off x="3406734" y="2461944"/>
            <a:ext cx="679428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416972D0-588B-808F-5E1E-FF33BF3B39BE}"/>
              </a:ext>
            </a:extLst>
          </p:cNvPr>
          <p:cNvCxnSpPr/>
          <p:nvPr/>
        </p:nvCxnSpPr>
        <p:spPr>
          <a:xfrm>
            <a:off x="540036" y="2836433"/>
            <a:ext cx="354612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TextBox 115">
            <a:extLst>
              <a:ext uri="{FF2B5EF4-FFF2-40B4-BE49-F238E27FC236}">
                <a16:creationId xmlns:a16="http://schemas.microsoft.com/office/drawing/2014/main" id="{5F560166-36B0-746E-2A8F-34C033459ECA}"/>
              </a:ext>
            </a:extLst>
          </p:cNvPr>
          <p:cNvSpPr txBox="1">
            <a:spLocks/>
          </p:cNvSpPr>
          <p:nvPr/>
        </p:nvSpPr>
        <p:spPr>
          <a:xfrm>
            <a:off x="3406734" y="2903158"/>
            <a:ext cx="679428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2ECBFB41-39A8-4D96-31ED-B861EAA9B75F}"/>
              </a:ext>
            </a:extLst>
          </p:cNvPr>
          <p:cNvCxnSpPr/>
          <p:nvPr/>
        </p:nvCxnSpPr>
        <p:spPr>
          <a:xfrm>
            <a:off x="540036" y="3277643"/>
            <a:ext cx="354612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TextBox 117">
            <a:extLst>
              <a:ext uri="{FF2B5EF4-FFF2-40B4-BE49-F238E27FC236}">
                <a16:creationId xmlns:a16="http://schemas.microsoft.com/office/drawing/2014/main" id="{1B47BD34-0C9F-820C-0ADE-D9E69C88DE1F}"/>
              </a:ext>
            </a:extLst>
          </p:cNvPr>
          <p:cNvSpPr txBox="1">
            <a:spLocks/>
          </p:cNvSpPr>
          <p:nvPr/>
        </p:nvSpPr>
        <p:spPr>
          <a:xfrm>
            <a:off x="3406734" y="3344370"/>
            <a:ext cx="679428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19" name="Straight Connector 118">
            <a:extLst>
              <a:ext uri="{FF2B5EF4-FFF2-40B4-BE49-F238E27FC236}">
                <a16:creationId xmlns:a16="http://schemas.microsoft.com/office/drawing/2014/main" id="{CF738E16-7E67-B210-AAE6-935AA4CB261C}"/>
              </a:ext>
            </a:extLst>
          </p:cNvPr>
          <p:cNvCxnSpPr/>
          <p:nvPr/>
        </p:nvCxnSpPr>
        <p:spPr>
          <a:xfrm>
            <a:off x="540036" y="3718855"/>
            <a:ext cx="354612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TextBox 119">
            <a:extLst>
              <a:ext uri="{FF2B5EF4-FFF2-40B4-BE49-F238E27FC236}">
                <a16:creationId xmlns:a16="http://schemas.microsoft.com/office/drawing/2014/main" id="{B7A93F04-C847-EC21-5605-086D75FB07EE}"/>
              </a:ext>
            </a:extLst>
          </p:cNvPr>
          <p:cNvSpPr txBox="1">
            <a:spLocks/>
          </p:cNvSpPr>
          <p:nvPr/>
        </p:nvSpPr>
        <p:spPr>
          <a:xfrm>
            <a:off x="3406734" y="3785583"/>
            <a:ext cx="679428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21" name="Straight Connector 120">
            <a:extLst>
              <a:ext uri="{FF2B5EF4-FFF2-40B4-BE49-F238E27FC236}">
                <a16:creationId xmlns:a16="http://schemas.microsoft.com/office/drawing/2014/main" id="{2D1B6CB1-13E2-3E1C-2B54-1D66CAE312E2}"/>
              </a:ext>
            </a:extLst>
          </p:cNvPr>
          <p:cNvCxnSpPr/>
          <p:nvPr/>
        </p:nvCxnSpPr>
        <p:spPr>
          <a:xfrm>
            <a:off x="540036" y="4160067"/>
            <a:ext cx="354612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TextBox 121">
            <a:extLst>
              <a:ext uri="{FF2B5EF4-FFF2-40B4-BE49-F238E27FC236}">
                <a16:creationId xmlns:a16="http://schemas.microsoft.com/office/drawing/2014/main" id="{9C31E745-0847-7326-04EF-96D2F2AD83B5}"/>
              </a:ext>
            </a:extLst>
          </p:cNvPr>
          <p:cNvSpPr txBox="1">
            <a:spLocks/>
          </p:cNvSpPr>
          <p:nvPr/>
        </p:nvSpPr>
        <p:spPr>
          <a:xfrm>
            <a:off x="3406734" y="4226789"/>
            <a:ext cx="679428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id="{A18DC2D6-D304-AD81-D8E6-CE8A0130C05B}"/>
              </a:ext>
            </a:extLst>
          </p:cNvPr>
          <p:cNvCxnSpPr/>
          <p:nvPr/>
        </p:nvCxnSpPr>
        <p:spPr>
          <a:xfrm>
            <a:off x="540036" y="4601279"/>
            <a:ext cx="354612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TextBox 123">
            <a:extLst>
              <a:ext uri="{FF2B5EF4-FFF2-40B4-BE49-F238E27FC236}">
                <a16:creationId xmlns:a16="http://schemas.microsoft.com/office/drawing/2014/main" id="{D4E95CA6-ED53-638A-5393-EEEC631C0C4A}"/>
              </a:ext>
            </a:extLst>
          </p:cNvPr>
          <p:cNvSpPr txBox="1">
            <a:spLocks/>
          </p:cNvSpPr>
          <p:nvPr/>
        </p:nvSpPr>
        <p:spPr>
          <a:xfrm>
            <a:off x="3406734" y="4667999"/>
            <a:ext cx="679428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25" name="Straight Connector 124">
            <a:extLst>
              <a:ext uri="{FF2B5EF4-FFF2-40B4-BE49-F238E27FC236}">
                <a16:creationId xmlns:a16="http://schemas.microsoft.com/office/drawing/2014/main" id="{6B7410B8-B065-36D9-9D36-75545D4CCEA3}"/>
              </a:ext>
            </a:extLst>
          </p:cNvPr>
          <p:cNvCxnSpPr/>
          <p:nvPr/>
        </p:nvCxnSpPr>
        <p:spPr>
          <a:xfrm>
            <a:off x="540036" y="5042487"/>
            <a:ext cx="354612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TextBox 125">
            <a:extLst>
              <a:ext uri="{FF2B5EF4-FFF2-40B4-BE49-F238E27FC236}">
                <a16:creationId xmlns:a16="http://schemas.microsoft.com/office/drawing/2014/main" id="{E712E7E0-464D-3F7E-0789-2304EFAC5502}"/>
              </a:ext>
            </a:extLst>
          </p:cNvPr>
          <p:cNvSpPr txBox="1">
            <a:spLocks/>
          </p:cNvSpPr>
          <p:nvPr/>
        </p:nvSpPr>
        <p:spPr>
          <a:xfrm>
            <a:off x="3406734" y="5109208"/>
            <a:ext cx="679428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27" name="Straight Connector 126">
            <a:extLst>
              <a:ext uri="{FF2B5EF4-FFF2-40B4-BE49-F238E27FC236}">
                <a16:creationId xmlns:a16="http://schemas.microsoft.com/office/drawing/2014/main" id="{1737D37A-3A4B-2FBD-7C84-61BEE867DC28}"/>
              </a:ext>
            </a:extLst>
          </p:cNvPr>
          <p:cNvCxnSpPr/>
          <p:nvPr/>
        </p:nvCxnSpPr>
        <p:spPr>
          <a:xfrm>
            <a:off x="540036" y="5483697"/>
            <a:ext cx="354612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TextBox 127">
            <a:extLst>
              <a:ext uri="{FF2B5EF4-FFF2-40B4-BE49-F238E27FC236}">
                <a16:creationId xmlns:a16="http://schemas.microsoft.com/office/drawing/2014/main" id="{ADE7ADDD-BE8C-8348-9D96-057AFFA59D72}"/>
              </a:ext>
            </a:extLst>
          </p:cNvPr>
          <p:cNvSpPr txBox="1"/>
          <p:nvPr/>
        </p:nvSpPr>
        <p:spPr>
          <a:xfrm>
            <a:off x="540036" y="1579525"/>
            <a:ext cx="2813215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82724BE4-0815-E786-5496-E3E4FC35E2FC}"/>
              </a:ext>
            </a:extLst>
          </p:cNvPr>
          <p:cNvSpPr txBox="1"/>
          <p:nvPr/>
        </p:nvSpPr>
        <p:spPr>
          <a:xfrm>
            <a:off x="540036" y="2020735"/>
            <a:ext cx="2813215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6776B3CE-3BB2-E1AE-9B7A-C8FEDD93FC28}"/>
              </a:ext>
            </a:extLst>
          </p:cNvPr>
          <p:cNvSpPr txBox="1"/>
          <p:nvPr/>
        </p:nvSpPr>
        <p:spPr>
          <a:xfrm>
            <a:off x="540036" y="2461947"/>
            <a:ext cx="2813215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1184054D-1DEB-AC22-3E0F-C1D6366B5262}"/>
              </a:ext>
            </a:extLst>
          </p:cNvPr>
          <p:cNvSpPr txBox="1"/>
          <p:nvPr/>
        </p:nvSpPr>
        <p:spPr>
          <a:xfrm>
            <a:off x="540036" y="2903158"/>
            <a:ext cx="2813215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32" name="TextBox 131">
            <a:extLst>
              <a:ext uri="{FF2B5EF4-FFF2-40B4-BE49-F238E27FC236}">
                <a16:creationId xmlns:a16="http://schemas.microsoft.com/office/drawing/2014/main" id="{76D7FD8E-7C89-3458-0406-018D886BCC14}"/>
              </a:ext>
            </a:extLst>
          </p:cNvPr>
          <p:cNvSpPr txBox="1"/>
          <p:nvPr/>
        </p:nvSpPr>
        <p:spPr>
          <a:xfrm>
            <a:off x="540036" y="3344370"/>
            <a:ext cx="2813215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33" name="TextBox 132">
            <a:extLst>
              <a:ext uri="{FF2B5EF4-FFF2-40B4-BE49-F238E27FC236}">
                <a16:creationId xmlns:a16="http://schemas.microsoft.com/office/drawing/2014/main" id="{8F2192BD-D87E-D478-7CC0-3424BA67A6B2}"/>
              </a:ext>
            </a:extLst>
          </p:cNvPr>
          <p:cNvSpPr txBox="1"/>
          <p:nvPr/>
        </p:nvSpPr>
        <p:spPr>
          <a:xfrm>
            <a:off x="540036" y="3785583"/>
            <a:ext cx="2813215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2FB4CC22-0592-9A46-7519-C4D9CDFFAD51}"/>
              </a:ext>
            </a:extLst>
          </p:cNvPr>
          <p:cNvSpPr txBox="1"/>
          <p:nvPr/>
        </p:nvSpPr>
        <p:spPr>
          <a:xfrm>
            <a:off x="540036" y="4226790"/>
            <a:ext cx="2813215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id="{B7E47E47-745C-FCC9-099C-34874CDCA958}"/>
              </a:ext>
            </a:extLst>
          </p:cNvPr>
          <p:cNvSpPr txBox="1"/>
          <p:nvPr/>
        </p:nvSpPr>
        <p:spPr>
          <a:xfrm>
            <a:off x="540036" y="4667999"/>
            <a:ext cx="2813215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36" name="TextBox 135">
            <a:extLst>
              <a:ext uri="{FF2B5EF4-FFF2-40B4-BE49-F238E27FC236}">
                <a16:creationId xmlns:a16="http://schemas.microsoft.com/office/drawing/2014/main" id="{ED27FF3E-4A11-0482-8624-DD9E408C693E}"/>
              </a:ext>
            </a:extLst>
          </p:cNvPr>
          <p:cNvSpPr txBox="1"/>
          <p:nvPr/>
        </p:nvSpPr>
        <p:spPr>
          <a:xfrm>
            <a:off x="540036" y="5109208"/>
            <a:ext cx="2813215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37" name="TextBox 136">
            <a:extLst>
              <a:ext uri="{FF2B5EF4-FFF2-40B4-BE49-F238E27FC236}">
                <a16:creationId xmlns:a16="http://schemas.microsoft.com/office/drawing/2014/main" id="{802B83C3-7BA6-DC5A-6695-636C04E1765C}"/>
              </a:ext>
            </a:extLst>
          </p:cNvPr>
          <p:cNvSpPr txBox="1"/>
          <p:nvPr/>
        </p:nvSpPr>
        <p:spPr>
          <a:xfrm>
            <a:off x="540036" y="5550426"/>
            <a:ext cx="2813215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F5DC16DA-7746-8F9B-5EB0-1BE9504DB1C2}"/>
              </a:ext>
            </a:extLst>
          </p:cNvPr>
          <p:cNvSpPr txBox="1">
            <a:spLocks/>
          </p:cNvSpPr>
          <p:nvPr/>
        </p:nvSpPr>
        <p:spPr>
          <a:xfrm>
            <a:off x="3406734" y="5550426"/>
            <a:ext cx="679428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69" name="Straight Connector 168">
            <a:extLst>
              <a:ext uri="{FF2B5EF4-FFF2-40B4-BE49-F238E27FC236}">
                <a16:creationId xmlns:a16="http://schemas.microsoft.com/office/drawing/2014/main" id="{F28A77A0-CD5C-8282-3788-83601EAE2CE7}"/>
              </a:ext>
            </a:extLst>
          </p:cNvPr>
          <p:cNvCxnSpPr/>
          <p:nvPr/>
        </p:nvCxnSpPr>
        <p:spPr>
          <a:xfrm>
            <a:off x="532367" y="1477847"/>
            <a:ext cx="3553794" cy="0"/>
          </a:xfrm>
          <a:prstGeom prst="line">
            <a:avLst/>
          </a:prstGeom>
          <a:ln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TextBox 107">
            <a:extLst>
              <a:ext uri="{FF2B5EF4-FFF2-40B4-BE49-F238E27FC236}">
                <a16:creationId xmlns:a16="http://schemas.microsoft.com/office/drawing/2014/main" id="{81875393-A63D-525A-EA15-9A1ABFAFE5E7}"/>
              </a:ext>
            </a:extLst>
          </p:cNvPr>
          <p:cNvSpPr txBox="1">
            <a:spLocks/>
          </p:cNvSpPr>
          <p:nvPr/>
        </p:nvSpPr>
        <p:spPr>
          <a:xfrm>
            <a:off x="6962961" y="1074655"/>
            <a:ext cx="949888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Slide No</a:t>
            </a: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7F329272-67C3-A30F-9C92-826F9AE028FD}"/>
              </a:ext>
            </a:extLst>
          </p:cNvPr>
          <p:cNvSpPr/>
          <p:nvPr/>
        </p:nvSpPr>
        <p:spPr>
          <a:xfrm>
            <a:off x="4379181" y="1170070"/>
            <a:ext cx="1071436" cy="3077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b="1" dirty="0">
                <a:solidFill>
                  <a:srgbClr val="FFFFFF"/>
                </a:solidFill>
              </a:rPr>
              <a:t>Title</a:t>
            </a:r>
          </a:p>
        </p:txBody>
      </p:sp>
      <p:sp>
        <p:nvSpPr>
          <p:cNvPr id="140" name="TextBox 139">
            <a:extLst>
              <a:ext uri="{FF2B5EF4-FFF2-40B4-BE49-F238E27FC236}">
                <a16:creationId xmlns:a16="http://schemas.microsoft.com/office/drawing/2014/main" id="{5B87EC8C-31EC-2584-3C3C-0181150FC639}"/>
              </a:ext>
            </a:extLst>
          </p:cNvPr>
          <p:cNvSpPr txBox="1">
            <a:spLocks/>
          </p:cNvSpPr>
          <p:nvPr/>
        </p:nvSpPr>
        <p:spPr>
          <a:xfrm>
            <a:off x="7246097" y="1579525"/>
            <a:ext cx="67922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41" name="Straight Connector 140">
            <a:extLst>
              <a:ext uri="{FF2B5EF4-FFF2-40B4-BE49-F238E27FC236}">
                <a16:creationId xmlns:a16="http://schemas.microsoft.com/office/drawing/2014/main" id="{F0135DC4-E845-8FBD-25A3-9531010CB251}"/>
              </a:ext>
            </a:extLst>
          </p:cNvPr>
          <p:cNvCxnSpPr/>
          <p:nvPr/>
        </p:nvCxnSpPr>
        <p:spPr>
          <a:xfrm>
            <a:off x="4379180" y="1954012"/>
            <a:ext cx="354613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2" name="TextBox 141">
            <a:extLst>
              <a:ext uri="{FF2B5EF4-FFF2-40B4-BE49-F238E27FC236}">
                <a16:creationId xmlns:a16="http://schemas.microsoft.com/office/drawing/2014/main" id="{13C761C3-D94D-8412-C77B-31DD8E088ABE}"/>
              </a:ext>
            </a:extLst>
          </p:cNvPr>
          <p:cNvSpPr txBox="1">
            <a:spLocks/>
          </p:cNvSpPr>
          <p:nvPr/>
        </p:nvSpPr>
        <p:spPr>
          <a:xfrm>
            <a:off x="7246097" y="2020735"/>
            <a:ext cx="67922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43" name="Straight Connector 142">
            <a:extLst>
              <a:ext uri="{FF2B5EF4-FFF2-40B4-BE49-F238E27FC236}">
                <a16:creationId xmlns:a16="http://schemas.microsoft.com/office/drawing/2014/main" id="{8B42BF14-0E7D-FD38-C8E7-E16B1D13BC11}"/>
              </a:ext>
            </a:extLst>
          </p:cNvPr>
          <p:cNvCxnSpPr/>
          <p:nvPr/>
        </p:nvCxnSpPr>
        <p:spPr>
          <a:xfrm>
            <a:off x="4379180" y="2395223"/>
            <a:ext cx="354613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TextBox 143">
            <a:extLst>
              <a:ext uri="{FF2B5EF4-FFF2-40B4-BE49-F238E27FC236}">
                <a16:creationId xmlns:a16="http://schemas.microsoft.com/office/drawing/2014/main" id="{05F16DD7-FBE2-11B7-BD85-67ADE37A9AD2}"/>
              </a:ext>
            </a:extLst>
          </p:cNvPr>
          <p:cNvSpPr txBox="1">
            <a:spLocks/>
          </p:cNvSpPr>
          <p:nvPr/>
        </p:nvSpPr>
        <p:spPr>
          <a:xfrm>
            <a:off x="7246097" y="2461944"/>
            <a:ext cx="67922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45" name="Straight Connector 144">
            <a:extLst>
              <a:ext uri="{FF2B5EF4-FFF2-40B4-BE49-F238E27FC236}">
                <a16:creationId xmlns:a16="http://schemas.microsoft.com/office/drawing/2014/main" id="{0EBA48CE-C952-4F0A-6D22-52E79AE165FD}"/>
              </a:ext>
            </a:extLst>
          </p:cNvPr>
          <p:cNvCxnSpPr/>
          <p:nvPr/>
        </p:nvCxnSpPr>
        <p:spPr>
          <a:xfrm>
            <a:off x="4379180" y="2836433"/>
            <a:ext cx="354613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TextBox 145">
            <a:extLst>
              <a:ext uri="{FF2B5EF4-FFF2-40B4-BE49-F238E27FC236}">
                <a16:creationId xmlns:a16="http://schemas.microsoft.com/office/drawing/2014/main" id="{4D272279-8B99-94AE-4D31-B9E571D649B1}"/>
              </a:ext>
            </a:extLst>
          </p:cNvPr>
          <p:cNvSpPr txBox="1">
            <a:spLocks/>
          </p:cNvSpPr>
          <p:nvPr/>
        </p:nvSpPr>
        <p:spPr>
          <a:xfrm>
            <a:off x="7246097" y="2903158"/>
            <a:ext cx="67922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47" name="Straight Connector 146">
            <a:extLst>
              <a:ext uri="{FF2B5EF4-FFF2-40B4-BE49-F238E27FC236}">
                <a16:creationId xmlns:a16="http://schemas.microsoft.com/office/drawing/2014/main" id="{0A0BC555-D663-4486-34FB-009A6322148A}"/>
              </a:ext>
            </a:extLst>
          </p:cNvPr>
          <p:cNvCxnSpPr/>
          <p:nvPr/>
        </p:nvCxnSpPr>
        <p:spPr>
          <a:xfrm>
            <a:off x="4379180" y="3277643"/>
            <a:ext cx="354613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8" name="TextBox 147">
            <a:extLst>
              <a:ext uri="{FF2B5EF4-FFF2-40B4-BE49-F238E27FC236}">
                <a16:creationId xmlns:a16="http://schemas.microsoft.com/office/drawing/2014/main" id="{41C66F79-73E9-994C-B5A9-78D34D6A171C}"/>
              </a:ext>
            </a:extLst>
          </p:cNvPr>
          <p:cNvSpPr txBox="1">
            <a:spLocks/>
          </p:cNvSpPr>
          <p:nvPr/>
        </p:nvSpPr>
        <p:spPr>
          <a:xfrm>
            <a:off x="7246097" y="3344370"/>
            <a:ext cx="67922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49" name="Straight Connector 148">
            <a:extLst>
              <a:ext uri="{FF2B5EF4-FFF2-40B4-BE49-F238E27FC236}">
                <a16:creationId xmlns:a16="http://schemas.microsoft.com/office/drawing/2014/main" id="{27376330-2ACF-7E8C-DE44-CD5BA10B20F4}"/>
              </a:ext>
            </a:extLst>
          </p:cNvPr>
          <p:cNvCxnSpPr/>
          <p:nvPr/>
        </p:nvCxnSpPr>
        <p:spPr>
          <a:xfrm>
            <a:off x="4379180" y="3718855"/>
            <a:ext cx="354613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TextBox 149">
            <a:extLst>
              <a:ext uri="{FF2B5EF4-FFF2-40B4-BE49-F238E27FC236}">
                <a16:creationId xmlns:a16="http://schemas.microsoft.com/office/drawing/2014/main" id="{64FB2EAC-F193-0BAD-5266-CE7595D11305}"/>
              </a:ext>
            </a:extLst>
          </p:cNvPr>
          <p:cNvSpPr txBox="1">
            <a:spLocks/>
          </p:cNvSpPr>
          <p:nvPr/>
        </p:nvSpPr>
        <p:spPr>
          <a:xfrm>
            <a:off x="7246097" y="3785583"/>
            <a:ext cx="67922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51" name="Straight Connector 150">
            <a:extLst>
              <a:ext uri="{FF2B5EF4-FFF2-40B4-BE49-F238E27FC236}">
                <a16:creationId xmlns:a16="http://schemas.microsoft.com/office/drawing/2014/main" id="{973DFA8B-0040-932A-3394-D25DA4A802AB}"/>
              </a:ext>
            </a:extLst>
          </p:cNvPr>
          <p:cNvCxnSpPr/>
          <p:nvPr/>
        </p:nvCxnSpPr>
        <p:spPr>
          <a:xfrm>
            <a:off x="4379180" y="4160067"/>
            <a:ext cx="354613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2" name="TextBox 151">
            <a:extLst>
              <a:ext uri="{FF2B5EF4-FFF2-40B4-BE49-F238E27FC236}">
                <a16:creationId xmlns:a16="http://schemas.microsoft.com/office/drawing/2014/main" id="{18DB42FD-F62C-3375-C689-3CB997C76934}"/>
              </a:ext>
            </a:extLst>
          </p:cNvPr>
          <p:cNvSpPr txBox="1">
            <a:spLocks/>
          </p:cNvSpPr>
          <p:nvPr/>
        </p:nvSpPr>
        <p:spPr>
          <a:xfrm>
            <a:off x="7246097" y="4226789"/>
            <a:ext cx="67922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53" name="Straight Connector 152">
            <a:extLst>
              <a:ext uri="{FF2B5EF4-FFF2-40B4-BE49-F238E27FC236}">
                <a16:creationId xmlns:a16="http://schemas.microsoft.com/office/drawing/2014/main" id="{275BC8A7-A271-703A-0888-A58F11D74CFE}"/>
              </a:ext>
            </a:extLst>
          </p:cNvPr>
          <p:cNvCxnSpPr/>
          <p:nvPr/>
        </p:nvCxnSpPr>
        <p:spPr>
          <a:xfrm>
            <a:off x="4379180" y="4601279"/>
            <a:ext cx="354613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4" name="TextBox 153">
            <a:extLst>
              <a:ext uri="{FF2B5EF4-FFF2-40B4-BE49-F238E27FC236}">
                <a16:creationId xmlns:a16="http://schemas.microsoft.com/office/drawing/2014/main" id="{2DF08D30-02A4-39D9-824A-B59497F88E7B}"/>
              </a:ext>
            </a:extLst>
          </p:cNvPr>
          <p:cNvSpPr txBox="1">
            <a:spLocks/>
          </p:cNvSpPr>
          <p:nvPr/>
        </p:nvSpPr>
        <p:spPr>
          <a:xfrm>
            <a:off x="7246097" y="4667999"/>
            <a:ext cx="67922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55" name="Straight Connector 154">
            <a:extLst>
              <a:ext uri="{FF2B5EF4-FFF2-40B4-BE49-F238E27FC236}">
                <a16:creationId xmlns:a16="http://schemas.microsoft.com/office/drawing/2014/main" id="{1543592A-3B87-31DF-0072-0E70DB4B617C}"/>
              </a:ext>
            </a:extLst>
          </p:cNvPr>
          <p:cNvCxnSpPr/>
          <p:nvPr/>
        </p:nvCxnSpPr>
        <p:spPr>
          <a:xfrm>
            <a:off x="4379180" y="5042487"/>
            <a:ext cx="354613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6" name="TextBox 155">
            <a:extLst>
              <a:ext uri="{FF2B5EF4-FFF2-40B4-BE49-F238E27FC236}">
                <a16:creationId xmlns:a16="http://schemas.microsoft.com/office/drawing/2014/main" id="{8BE0D4B0-9F9E-7755-A84E-C951468E5C92}"/>
              </a:ext>
            </a:extLst>
          </p:cNvPr>
          <p:cNvSpPr txBox="1">
            <a:spLocks/>
          </p:cNvSpPr>
          <p:nvPr/>
        </p:nvSpPr>
        <p:spPr>
          <a:xfrm>
            <a:off x="7246097" y="5109208"/>
            <a:ext cx="67922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57" name="Straight Connector 156">
            <a:extLst>
              <a:ext uri="{FF2B5EF4-FFF2-40B4-BE49-F238E27FC236}">
                <a16:creationId xmlns:a16="http://schemas.microsoft.com/office/drawing/2014/main" id="{7329EF5D-B880-E4C4-2778-08263D8EBE46}"/>
              </a:ext>
            </a:extLst>
          </p:cNvPr>
          <p:cNvCxnSpPr/>
          <p:nvPr/>
        </p:nvCxnSpPr>
        <p:spPr>
          <a:xfrm>
            <a:off x="4379180" y="5483697"/>
            <a:ext cx="354613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TextBox 157">
            <a:extLst>
              <a:ext uri="{FF2B5EF4-FFF2-40B4-BE49-F238E27FC236}">
                <a16:creationId xmlns:a16="http://schemas.microsoft.com/office/drawing/2014/main" id="{F3FCD288-1E03-00E9-6B01-0D05512FC49B}"/>
              </a:ext>
            </a:extLst>
          </p:cNvPr>
          <p:cNvSpPr txBox="1"/>
          <p:nvPr/>
        </p:nvSpPr>
        <p:spPr>
          <a:xfrm>
            <a:off x="4379181" y="1579525"/>
            <a:ext cx="2813376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59" name="TextBox 158">
            <a:extLst>
              <a:ext uri="{FF2B5EF4-FFF2-40B4-BE49-F238E27FC236}">
                <a16:creationId xmlns:a16="http://schemas.microsoft.com/office/drawing/2014/main" id="{24CF7860-B180-BC37-21D0-5AE8F1F9023F}"/>
              </a:ext>
            </a:extLst>
          </p:cNvPr>
          <p:cNvSpPr txBox="1"/>
          <p:nvPr/>
        </p:nvSpPr>
        <p:spPr>
          <a:xfrm>
            <a:off x="4379181" y="2020735"/>
            <a:ext cx="2813376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60" name="TextBox 159">
            <a:extLst>
              <a:ext uri="{FF2B5EF4-FFF2-40B4-BE49-F238E27FC236}">
                <a16:creationId xmlns:a16="http://schemas.microsoft.com/office/drawing/2014/main" id="{19335C61-BCD4-611D-37B8-8AB9D6A9BF93}"/>
              </a:ext>
            </a:extLst>
          </p:cNvPr>
          <p:cNvSpPr txBox="1"/>
          <p:nvPr/>
        </p:nvSpPr>
        <p:spPr>
          <a:xfrm>
            <a:off x="4379181" y="2461947"/>
            <a:ext cx="2813376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61" name="TextBox 160">
            <a:extLst>
              <a:ext uri="{FF2B5EF4-FFF2-40B4-BE49-F238E27FC236}">
                <a16:creationId xmlns:a16="http://schemas.microsoft.com/office/drawing/2014/main" id="{352B6EAA-58D5-DE9C-E9AD-5B5554A05855}"/>
              </a:ext>
            </a:extLst>
          </p:cNvPr>
          <p:cNvSpPr txBox="1"/>
          <p:nvPr/>
        </p:nvSpPr>
        <p:spPr>
          <a:xfrm>
            <a:off x="4379181" y="2903158"/>
            <a:ext cx="2813376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62" name="TextBox 161">
            <a:extLst>
              <a:ext uri="{FF2B5EF4-FFF2-40B4-BE49-F238E27FC236}">
                <a16:creationId xmlns:a16="http://schemas.microsoft.com/office/drawing/2014/main" id="{70E3DF97-4861-441D-30FB-06C35392C478}"/>
              </a:ext>
            </a:extLst>
          </p:cNvPr>
          <p:cNvSpPr txBox="1"/>
          <p:nvPr/>
        </p:nvSpPr>
        <p:spPr>
          <a:xfrm>
            <a:off x="4379181" y="3344370"/>
            <a:ext cx="2813376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63" name="TextBox 162">
            <a:extLst>
              <a:ext uri="{FF2B5EF4-FFF2-40B4-BE49-F238E27FC236}">
                <a16:creationId xmlns:a16="http://schemas.microsoft.com/office/drawing/2014/main" id="{81A1A463-E116-2C00-4C1F-0DC197C944BF}"/>
              </a:ext>
            </a:extLst>
          </p:cNvPr>
          <p:cNvSpPr txBox="1"/>
          <p:nvPr/>
        </p:nvSpPr>
        <p:spPr>
          <a:xfrm>
            <a:off x="4379181" y="3785583"/>
            <a:ext cx="2813376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64" name="TextBox 163">
            <a:extLst>
              <a:ext uri="{FF2B5EF4-FFF2-40B4-BE49-F238E27FC236}">
                <a16:creationId xmlns:a16="http://schemas.microsoft.com/office/drawing/2014/main" id="{AEB3B374-B598-FD5D-DF46-8BFCF83B0582}"/>
              </a:ext>
            </a:extLst>
          </p:cNvPr>
          <p:cNvSpPr txBox="1"/>
          <p:nvPr/>
        </p:nvSpPr>
        <p:spPr>
          <a:xfrm>
            <a:off x="4379181" y="4226790"/>
            <a:ext cx="2813376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65" name="TextBox 164">
            <a:extLst>
              <a:ext uri="{FF2B5EF4-FFF2-40B4-BE49-F238E27FC236}">
                <a16:creationId xmlns:a16="http://schemas.microsoft.com/office/drawing/2014/main" id="{7AD4C2DC-B912-F349-2424-6FD0774B9839}"/>
              </a:ext>
            </a:extLst>
          </p:cNvPr>
          <p:cNvSpPr txBox="1"/>
          <p:nvPr/>
        </p:nvSpPr>
        <p:spPr>
          <a:xfrm>
            <a:off x="4379181" y="4667999"/>
            <a:ext cx="2813376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66" name="TextBox 165">
            <a:extLst>
              <a:ext uri="{FF2B5EF4-FFF2-40B4-BE49-F238E27FC236}">
                <a16:creationId xmlns:a16="http://schemas.microsoft.com/office/drawing/2014/main" id="{49AD5F37-3C42-FBBC-C2BB-681152039994}"/>
              </a:ext>
            </a:extLst>
          </p:cNvPr>
          <p:cNvSpPr txBox="1"/>
          <p:nvPr/>
        </p:nvSpPr>
        <p:spPr>
          <a:xfrm>
            <a:off x="4379181" y="5109208"/>
            <a:ext cx="2813376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3147F749-3A3C-7DBC-6F4A-300268B86DDE}"/>
              </a:ext>
            </a:extLst>
          </p:cNvPr>
          <p:cNvSpPr txBox="1"/>
          <p:nvPr/>
        </p:nvSpPr>
        <p:spPr>
          <a:xfrm>
            <a:off x="4379181" y="5550426"/>
            <a:ext cx="2813376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68" name="TextBox 167">
            <a:extLst>
              <a:ext uri="{FF2B5EF4-FFF2-40B4-BE49-F238E27FC236}">
                <a16:creationId xmlns:a16="http://schemas.microsoft.com/office/drawing/2014/main" id="{AA625072-088B-4562-32FA-1E241502408A}"/>
              </a:ext>
            </a:extLst>
          </p:cNvPr>
          <p:cNvSpPr txBox="1">
            <a:spLocks/>
          </p:cNvSpPr>
          <p:nvPr/>
        </p:nvSpPr>
        <p:spPr>
          <a:xfrm>
            <a:off x="7246097" y="5550426"/>
            <a:ext cx="67922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70" name="Straight Connector 169">
            <a:extLst>
              <a:ext uri="{FF2B5EF4-FFF2-40B4-BE49-F238E27FC236}">
                <a16:creationId xmlns:a16="http://schemas.microsoft.com/office/drawing/2014/main" id="{5B310074-F2FE-6056-DA4F-F59DAB978FA6}"/>
              </a:ext>
            </a:extLst>
          </p:cNvPr>
          <p:cNvCxnSpPr/>
          <p:nvPr/>
        </p:nvCxnSpPr>
        <p:spPr>
          <a:xfrm>
            <a:off x="4371710" y="1477847"/>
            <a:ext cx="3553607" cy="0"/>
          </a:xfrm>
          <a:prstGeom prst="line">
            <a:avLst/>
          </a:prstGeom>
          <a:ln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3" name="TextBox 172">
            <a:extLst>
              <a:ext uri="{FF2B5EF4-FFF2-40B4-BE49-F238E27FC236}">
                <a16:creationId xmlns:a16="http://schemas.microsoft.com/office/drawing/2014/main" id="{552587FB-D5BD-AF9E-5D95-2D21D8F6FD59}"/>
              </a:ext>
            </a:extLst>
          </p:cNvPr>
          <p:cNvSpPr txBox="1">
            <a:spLocks/>
          </p:cNvSpPr>
          <p:nvPr/>
        </p:nvSpPr>
        <p:spPr>
          <a:xfrm>
            <a:off x="10770748" y="1074655"/>
            <a:ext cx="949888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Slide No</a:t>
            </a:r>
          </a:p>
        </p:txBody>
      </p:sp>
      <p:sp>
        <p:nvSpPr>
          <p:cNvPr id="174" name="Rectangle 173">
            <a:extLst>
              <a:ext uri="{FF2B5EF4-FFF2-40B4-BE49-F238E27FC236}">
                <a16:creationId xmlns:a16="http://schemas.microsoft.com/office/drawing/2014/main" id="{8D4922FD-09AF-8E52-9477-2B9157AB3899}"/>
              </a:ext>
            </a:extLst>
          </p:cNvPr>
          <p:cNvSpPr/>
          <p:nvPr/>
        </p:nvSpPr>
        <p:spPr>
          <a:xfrm>
            <a:off x="8186968" y="1170070"/>
            <a:ext cx="1071436" cy="3077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b="1" dirty="0">
                <a:solidFill>
                  <a:srgbClr val="FFFFFF"/>
                </a:solidFill>
              </a:rPr>
              <a:t>Title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330D7E07-B78C-6214-5827-71820A1762B6}"/>
              </a:ext>
            </a:extLst>
          </p:cNvPr>
          <p:cNvSpPr txBox="1">
            <a:spLocks/>
          </p:cNvSpPr>
          <p:nvPr/>
        </p:nvSpPr>
        <p:spPr>
          <a:xfrm>
            <a:off x="11053884" y="1579525"/>
            <a:ext cx="67922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76" name="Straight Connector 175">
            <a:extLst>
              <a:ext uri="{FF2B5EF4-FFF2-40B4-BE49-F238E27FC236}">
                <a16:creationId xmlns:a16="http://schemas.microsoft.com/office/drawing/2014/main" id="{08442D01-57FC-5C64-6DBC-8AC0C542DF1D}"/>
              </a:ext>
            </a:extLst>
          </p:cNvPr>
          <p:cNvCxnSpPr/>
          <p:nvPr/>
        </p:nvCxnSpPr>
        <p:spPr>
          <a:xfrm>
            <a:off x="8186967" y="1954012"/>
            <a:ext cx="354613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7" name="TextBox 176">
            <a:extLst>
              <a:ext uri="{FF2B5EF4-FFF2-40B4-BE49-F238E27FC236}">
                <a16:creationId xmlns:a16="http://schemas.microsoft.com/office/drawing/2014/main" id="{99E94530-51CF-F743-7BFC-E6C58C865851}"/>
              </a:ext>
            </a:extLst>
          </p:cNvPr>
          <p:cNvSpPr txBox="1">
            <a:spLocks/>
          </p:cNvSpPr>
          <p:nvPr/>
        </p:nvSpPr>
        <p:spPr>
          <a:xfrm>
            <a:off x="11053884" y="2020735"/>
            <a:ext cx="67922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78" name="Straight Connector 177">
            <a:extLst>
              <a:ext uri="{FF2B5EF4-FFF2-40B4-BE49-F238E27FC236}">
                <a16:creationId xmlns:a16="http://schemas.microsoft.com/office/drawing/2014/main" id="{2BDF32B4-407A-74BF-5E10-FC47477B3823}"/>
              </a:ext>
            </a:extLst>
          </p:cNvPr>
          <p:cNvCxnSpPr/>
          <p:nvPr/>
        </p:nvCxnSpPr>
        <p:spPr>
          <a:xfrm>
            <a:off x="8186967" y="2395223"/>
            <a:ext cx="354613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9" name="TextBox 178">
            <a:extLst>
              <a:ext uri="{FF2B5EF4-FFF2-40B4-BE49-F238E27FC236}">
                <a16:creationId xmlns:a16="http://schemas.microsoft.com/office/drawing/2014/main" id="{D5A58FC9-0D09-9459-9241-089919E55B0E}"/>
              </a:ext>
            </a:extLst>
          </p:cNvPr>
          <p:cNvSpPr txBox="1">
            <a:spLocks/>
          </p:cNvSpPr>
          <p:nvPr/>
        </p:nvSpPr>
        <p:spPr>
          <a:xfrm>
            <a:off x="11053884" y="2461944"/>
            <a:ext cx="67922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80" name="Straight Connector 179">
            <a:extLst>
              <a:ext uri="{FF2B5EF4-FFF2-40B4-BE49-F238E27FC236}">
                <a16:creationId xmlns:a16="http://schemas.microsoft.com/office/drawing/2014/main" id="{5FF18A51-9ECC-9B8D-2F3D-4C1F4D1B898B}"/>
              </a:ext>
            </a:extLst>
          </p:cNvPr>
          <p:cNvCxnSpPr/>
          <p:nvPr/>
        </p:nvCxnSpPr>
        <p:spPr>
          <a:xfrm>
            <a:off x="8186967" y="2836433"/>
            <a:ext cx="354613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1" name="TextBox 180">
            <a:extLst>
              <a:ext uri="{FF2B5EF4-FFF2-40B4-BE49-F238E27FC236}">
                <a16:creationId xmlns:a16="http://schemas.microsoft.com/office/drawing/2014/main" id="{B60A5C00-2BBB-FB42-102F-C186A7346BCD}"/>
              </a:ext>
            </a:extLst>
          </p:cNvPr>
          <p:cNvSpPr txBox="1">
            <a:spLocks/>
          </p:cNvSpPr>
          <p:nvPr/>
        </p:nvSpPr>
        <p:spPr>
          <a:xfrm>
            <a:off x="11053884" y="2903158"/>
            <a:ext cx="67922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82" name="Straight Connector 181">
            <a:extLst>
              <a:ext uri="{FF2B5EF4-FFF2-40B4-BE49-F238E27FC236}">
                <a16:creationId xmlns:a16="http://schemas.microsoft.com/office/drawing/2014/main" id="{82BCC997-A80F-E094-6651-4BBA81D7F8DA}"/>
              </a:ext>
            </a:extLst>
          </p:cNvPr>
          <p:cNvCxnSpPr/>
          <p:nvPr/>
        </p:nvCxnSpPr>
        <p:spPr>
          <a:xfrm>
            <a:off x="8186967" y="3277643"/>
            <a:ext cx="354613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3" name="TextBox 182">
            <a:extLst>
              <a:ext uri="{FF2B5EF4-FFF2-40B4-BE49-F238E27FC236}">
                <a16:creationId xmlns:a16="http://schemas.microsoft.com/office/drawing/2014/main" id="{7814B7E6-9EAA-98D3-FB13-56FD50B33E36}"/>
              </a:ext>
            </a:extLst>
          </p:cNvPr>
          <p:cNvSpPr txBox="1">
            <a:spLocks/>
          </p:cNvSpPr>
          <p:nvPr/>
        </p:nvSpPr>
        <p:spPr>
          <a:xfrm>
            <a:off x="11053884" y="3344370"/>
            <a:ext cx="67922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84" name="Straight Connector 183">
            <a:extLst>
              <a:ext uri="{FF2B5EF4-FFF2-40B4-BE49-F238E27FC236}">
                <a16:creationId xmlns:a16="http://schemas.microsoft.com/office/drawing/2014/main" id="{AD199C46-9121-261A-B093-83DB94E74D05}"/>
              </a:ext>
            </a:extLst>
          </p:cNvPr>
          <p:cNvCxnSpPr/>
          <p:nvPr/>
        </p:nvCxnSpPr>
        <p:spPr>
          <a:xfrm>
            <a:off x="8186967" y="3718855"/>
            <a:ext cx="354613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5" name="TextBox 184">
            <a:extLst>
              <a:ext uri="{FF2B5EF4-FFF2-40B4-BE49-F238E27FC236}">
                <a16:creationId xmlns:a16="http://schemas.microsoft.com/office/drawing/2014/main" id="{5748C297-F5E0-2C3E-EFC0-9B6379ABB6BE}"/>
              </a:ext>
            </a:extLst>
          </p:cNvPr>
          <p:cNvSpPr txBox="1">
            <a:spLocks/>
          </p:cNvSpPr>
          <p:nvPr/>
        </p:nvSpPr>
        <p:spPr>
          <a:xfrm>
            <a:off x="11053884" y="3785583"/>
            <a:ext cx="67922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86" name="Straight Connector 185">
            <a:extLst>
              <a:ext uri="{FF2B5EF4-FFF2-40B4-BE49-F238E27FC236}">
                <a16:creationId xmlns:a16="http://schemas.microsoft.com/office/drawing/2014/main" id="{521CB661-6E85-5416-DEE8-57B122C3E89E}"/>
              </a:ext>
            </a:extLst>
          </p:cNvPr>
          <p:cNvCxnSpPr/>
          <p:nvPr/>
        </p:nvCxnSpPr>
        <p:spPr>
          <a:xfrm>
            <a:off x="8186967" y="4160067"/>
            <a:ext cx="354613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7" name="TextBox 186">
            <a:extLst>
              <a:ext uri="{FF2B5EF4-FFF2-40B4-BE49-F238E27FC236}">
                <a16:creationId xmlns:a16="http://schemas.microsoft.com/office/drawing/2014/main" id="{53D0BE2E-64F0-F27A-F60E-4F564C5DEC72}"/>
              </a:ext>
            </a:extLst>
          </p:cNvPr>
          <p:cNvSpPr txBox="1">
            <a:spLocks/>
          </p:cNvSpPr>
          <p:nvPr/>
        </p:nvSpPr>
        <p:spPr>
          <a:xfrm>
            <a:off x="11053884" y="4226789"/>
            <a:ext cx="67922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88" name="Straight Connector 187">
            <a:extLst>
              <a:ext uri="{FF2B5EF4-FFF2-40B4-BE49-F238E27FC236}">
                <a16:creationId xmlns:a16="http://schemas.microsoft.com/office/drawing/2014/main" id="{E24363E9-B0EF-686E-FB97-D78EC81F23FA}"/>
              </a:ext>
            </a:extLst>
          </p:cNvPr>
          <p:cNvCxnSpPr/>
          <p:nvPr/>
        </p:nvCxnSpPr>
        <p:spPr>
          <a:xfrm>
            <a:off x="8186967" y="4601279"/>
            <a:ext cx="354613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9" name="TextBox 188">
            <a:extLst>
              <a:ext uri="{FF2B5EF4-FFF2-40B4-BE49-F238E27FC236}">
                <a16:creationId xmlns:a16="http://schemas.microsoft.com/office/drawing/2014/main" id="{DD97DC1D-ACD1-9C9C-1835-F23FDC049C93}"/>
              </a:ext>
            </a:extLst>
          </p:cNvPr>
          <p:cNvSpPr txBox="1">
            <a:spLocks/>
          </p:cNvSpPr>
          <p:nvPr/>
        </p:nvSpPr>
        <p:spPr>
          <a:xfrm>
            <a:off x="11053884" y="4667999"/>
            <a:ext cx="67922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90" name="Straight Connector 189">
            <a:extLst>
              <a:ext uri="{FF2B5EF4-FFF2-40B4-BE49-F238E27FC236}">
                <a16:creationId xmlns:a16="http://schemas.microsoft.com/office/drawing/2014/main" id="{8C9060E8-6968-C0CC-FDB1-E7042F368039}"/>
              </a:ext>
            </a:extLst>
          </p:cNvPr>
          <p:cNvCxnSpPr/>
          <p:nvPr/>
        </p:nvCxnSpPr>
        <p:spPr>
          <a:xfrm>
            <a:off x="8186967" y="5042487"/>
            <a:ext cx="354613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1" name="TextBox 190">
            <a:extLst>
              <a:ext uri="{FF2B5EF4-FFF2-40B4-BE49-F238E27FC236}">
                <a16:creationId xmlns:a16="http://schemas.microsoft.com/office/drawing/2014/main" id="{9AE6C90C-94C1-E5B7-A1AC-B505BCF59C8E}"/>
              </a:ext>
            </a:extLst>
          </p:cNvPr>
          <p:cNvSpPr txBox="1">
            <a:spLocks/>
          </p:cNvSpPr>
          <p:nvPr/>
        </p:nvSpPr>
        <p:spPr>
          <a:xfrm>
            <a:off x="11053884" y="5109208"/>
            <a:ext cx="67922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92" name="Straight Connector 191">
            <a:extLst>
              <a:ext uri="{FF2B5EF4-FFF2-40B4-BE49-F238E27FC236}">
                <a16:creationId xmlns:a16="http://schemas.microsoft.com/office/drawing/2014/main" id="{86552261-A882-647B-9A98-BA69ED90F96B}"/>
              </a:ext>
            </a:extLst>
          </p:cNvPr>
          <p:cNvCxnSpPr/>
          <p:nvPr/>
        </p:nvCxnSpPr>
        <p:spPr>
          <a:xfrm>
            <a:off x="8186967" y="5483697"/>
            <a:ext cx="354613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3" name="TextBox 192">
            <a:extLst>
              <a:ext uri="{FF2B5EF4-FFF2-40B4-BE49-F238E27FC236}">
                <a16:creationId xmlns:a16="http://schemas.microsoft.com/office/drawing/2014/main" id="{5D9E20E4-028B-4323-5E5C-ECDE3B129578}"/>
              </a:ext>
            </a:extLst>
          </p:cNvPr>
          <p:cNvSpPr txBox="1"/>
          <p:nvPr/>
        </p:nvSpPr>
        <p:spPr>
          <a:xfrm>
            <a:off x="8186968" y="1579525"/>
            <a:ext cx="2813376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94" name="TextBox 193">
            <a:extLst>
              <a:ext uri="{FF2B5EF4-FFF2-40B4-BE49-F238E27FC236}">
                <a16:creationId xmlns:a16="http://schemas.microsoft.com/office/drawing/2014/main" id="{E90646EE-E993-15BE-EAE0-F9F177D93419}"/>
              </a:ext>
            </a:extLst>
          </p:cNvPr>
          <p:cNvSpPr txBox="1"/>
          <p:nvPr/>
        </p:nvSpPr>
        <p:spPr>
          <a:xfrm>
            <a:off x="8186968" y="2020735"/>
            <a:ext cx="2813376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95" name="TextBox 194">
            <a:extLst>
              <a:ext uri="{FF2B5EF4-FFF2-40B4-BE49-F238E27FC236}">
                <a16:creationId xmlns:a16="http://schemas.microsoft.com/office/drawing/2014/main" id="{03B70620-0C9A-0470-8B8C-34ABA260473C}"/>
              </a:ext>
            </a:extLst>
          </p:cNvPr>
          <p:cNvSpPr txBox="1"/>
          <p:nvPr/>
        </p:nvSpPr>
        <p:spPr>
          <a:xfrm>
            <a:off x="8186968" y="2461947"/>
            <a:ext cx="2813376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96" name="TextBox 195">
            <a:extLst>
              <a:ext uri="{FF2B5EF4-FFF2-40B4-BE49-F238E27FC236}">
                <a16:creationId xmlns:a16="http://schemas.microsoft.com/office/drawing/2014/main" id="{2027AD12-7598-8C36-34E5-80713D55ACE1}"/>
              </a:ext>
            </a:extLst>
          </p:cNvPr>
          <p:cNvSpPr txBox="1"/>
          <p:nvPr/>
        </p:nvSpPr>
        <p:spPr>
          <a:xfrm>
            <a:off x="8186968" y="2903158"/>
            <a:ext cx="2813376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97" name="TextBox 196">
            <a:extLst>
              <a:ext uri="{FF2B5EF4-FFF2-40B4-BE49-F238E27FC236}">
                <a16:creationId xmlns:a16="http://schemas.microsoft.com/office/drawing/2014/main" id="{6D876934-28E4-5557-BCCB-165110F085EB}"/>
              </a:ext>
            </a:extLst>
          </p:cNvPr>
          <p:cNvSpPr txBox="1"/>
          <p:nvPr/>
        </p:nvSpPr>
        <p:spPr>
          <a:xfrm>
            <a:off x="8186968" y="3344370"/>
            <a:ext cx="2813376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98" name="TextBox 197">
            <a:extLst>
              <a:ext uri="{FF2B5EF4-FFF2-40B4-BE49-F238E27FC236}">
                <a16:creationId xmlns:a16="http://schemas.microsoft.com/office/drawing/2014/main" id="{8BDA193E-23DD-C991-655D-81C04950951D}"/>
              </a:ext>
            </a:extLst>
          </p:cNvPr>
          <p:cNvSpPr txBox="1"/>
          <p:nvPr/>
        </p:nvSpPr>
        <p:spPr>
          <a:xfrm>
            <a:off x="8186968" y="3785583"/>
            <a:ext cx="2813376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99" name="TextBox 198">
            <a:extLst>
              <a:ext uri="{FF2B5EF4-FFF2-40B4-BE49-F238E27FC236}">
                <a16:creationId xmlns:a16="http://schemas.microsoft.com/office/drawing/2014/main" id="{F148AC2F-3E69-DD29-9C7F-9694F7CFF24E}"/>
              </a:ext>
            </a:extLst>
          </p:cNvPr>
          <p:cNvSpPr txBox="1"/>
          <p:nvPr/>
        </p:nvSpPr>
        <p:spPr>
          <a:xfrm>
            <a:off x="8186968" y="4226790"/>
            <a:ext cx="2813376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200" name="TextBox 199">
            <a:extLst>
              <a:ext uri="{FF2B5EF4-FFF2-40B4-BE49-F238E27FC236}">
                <a16:creationId xmlns:a16="http://schemas.microsoft.com/office/drawing/2014/main" id="{5BF4D901-B1DE-892C-5406-03F17FFFDFB2}"/>
              </a:ext>
            </a:extLst>
          </p:cNvPr>
          <p:cNvSpPr txBox="1"/>
          <p:nvPr/>
        </p:nvSpPr>
        <p:spPr>
          <a:xfrm>
            <a:off x="8186968" y="4667999"/>
            <a:ext cx="2813376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201" name="TextBox 200">
            <a:extLst>
              <a:ext uri="{FF2B5EF4-FFF2-40B4-BE49-F238E27FC236}">
                <a16:creationId xmlns:a16="http://schemas.microsoft.com/office/drawing/2014/main" id="{0EBEECC2-D837-AE3C-BCE3-2DD92F394A75}"/>
              </a:ext>
            </a:extLst>
          </p:cNvPr>
          <p:cNvSpPr txBox="1"/>
          <p:nvPr/>
        </p:nvSpPr>
        <p:spPr>
          <a:xfrm>
            <a:off x="8186968" y="5109208"/>
            <a:ext cx="2813376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202" name="TextBox 201">
            <a:extLst>
              <a:ext uri="{FF2B5EF4-FFF2-40B4-BE49-F238E27FC236}">
                <a16:creationId xmlns:a16="http://schemas.microsoft.com/office/drawing/2014/main" id="{509318FF-4288-0470-9FD3-9BED51AD840C}"/>
              </a:ext>
            </a:extLst>
          </p:cNvPr>
          <p:cNvSpPr txBox="1"/>
          <p:nvPr/>
        </p:nvSpPr>
        <p:spPr>
          <a:xfrm>
            <a:off x="8186968" y="5550426"/>
            <a:ext cx="2813376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203" name="TextBox 202">
            <a:extLst>
              <a:ext uri="{FF2B5EF4-FFF2-40B4-BE49-F238E27FC236}">
                <a16:creationId xmlns:a16="http://schemas.microsoft.com/office/drawing/2014/main" id="{13F1A971-A8C4-714B-1225-4CDAC52FB6CC}"/>
              </a:ext>
            </a:extLst>
          </p:cNvPr>
          <p:cNvSpPr txBox="1">
            <a:spLocks/>
          </p:cNvSpPr>
          <p:nvPr/>
        </p:nvSpPr>
        <p:spPr>
          <a:xfrm>
            <a:off x="11053884" y="5550426"/>
            <a:ext cx="67922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204" name="Straight Connector 203">
            <a:extLst>
              <a:ext uri="{FF2B5EF4-FFF2-40B4-BE49-F238E27FC236}">
                <a16:creationId xmlns:a16="http://schemas.microsoft.com/office/drawing/2014/main" id="{E74A1DF4-FBD3-DF55-0393-4741A1F6214F}"/>
              </a:ext>
            </a:extLst>
          </p:cNvPr>
          <p:cNvCxnSpPr>
            <a:cxnSpLocks/>
          </p:cNvCxnSpPr>
          <p:nvPr/>
        </p:nvCxnSpPr>
        <p:spPr>
          <a:xfrm>
            <a:off x="8179497" y="1477847"/>
            <a:ext cx="3553607" cy="0"/>
          </a:xfrm>
          <a:prstGeom prst="line">
            <a:avLst/>
          </a:prstGeom>
          <a:ln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021157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0512022-55C0-EDA6-574F-25C96BAFA1A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think-cell data - do not delete" hidden="1">
            <a:extLst>
              <a:ext uri="{FF2B5EF4-FFF2-40B4-BE49-F238E27FC236}">
                <a16:creationId xmlns:a16="http://schemas.microsoft.com/office/drawing/2014/main" id="{4243BF1B-ACB4-E289-8CC1-4AD21903C2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25" imgH="426" progId="TCLayout.ActiveDocument.1">
                  <p:embed/>
                </p:oleObj>
              </mc:Choice>
              <mc:Fallback>
                <p:oleObj name="think-cell Slide" r:id="rId7" imgW="425" imgH="426" progId="TCLayout.ActiveDocument.1">
                  <p:embed/>
                  <p:pic>
                    <p:nvPicPr>
                      <p:cNvPr id="3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C45A39-EF49-F2DB-8836-8B2433902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7786852-A70F-256D-3BFE-E2E531D50D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x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FD3ABDF-4135-1DDD-AA85-30500BE745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3AC9FEAA-936B-BA78-B04F-7C4AC8B659D5}"/>
              </a:ext>
            </a:extLst>
          </p:cNvPr>
          <p:cNvSpPr/>
          <p:nvPr/>
        </p:nvSpPr>
        <p:spPr>
          <a:xfrm>
            <a:off x="706436" y="1467017"/>
            <a:ext cx="11344112" cy="4153024"/>
          </a:xfrm>
          <a:custGeom>
            <a:avLst/>
            <a:gdLst>
              <a:gd name="connsiteX0" fmla="*/ 0 w 11296892"/>
              <a:gd name="connsiteY0" fmla="*/ 4745620 h 4745620"/>
              <a:gd name="connsiteX1" fmla="*/ 0 w 11296892"/>
              <a:gd name="connsiteY1" fmla="*/ 0 h 4745620"/>
              <a:gd name="connsiteX2" fmla="*/ 11296892 w 11296892"/>
              <a:gd name="connsiteY2" fmla="*/ 0 h 4745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296892" h="4745620">
                <a:moveTo>
                  <a:pt x="0" y="4745620"/>
                </a:moveTo>
                <a:lnTo>
                  <a:pt x="0" y="0"/>
                </a:lnTo>
                <a:lnTo>
                  <a:pt x="11296892" y="0"/>
                </a:lnTo>
              </a:path>
            </a:pathLst>
          </a:custGeom>
          <a:noFill/>
          <a:ln>
            <a:solidFill>
              <a:schemeClr val="accent1"/>
            </a:solidFill>
            <a:head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57AF6449-E1E6-7E6A-72D0-63B42B1C30B7}"/>
              </a:ext>
            </a:extLst>
          </p:cNvPr>
          <p:cNvGrpSpPr/>
          <p:nvPr/>
        </p:nvGrpSpPr>
        <p:grpSpPr>
          <a:xfrm>
            <a:off x="419099" y="1735505"/>
            <a:ext cx="8669338" cy="601760"/>
            <a:chOff x="550862" y="2274766"/>
            <a:chExt cx="8669338" cy="601760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3FA9EC0F-5B75-61F3-FCDE-4BDDE026F4E0}"/>
                </a:ext>
              </a:extLst>
            </p:cNvPr>
            <p:cNvSpPr txBox="1">
              <a:spLocks/>
            </p:cNvSpPr>
            <p:nvPr/>
          </p:nvSpPr>
          <p:spPr>
            <a:xfrm>
              <a:off x="1379614" y="2437147"/>
              <a:ext cx="784058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+mn-ea"/>
                  <a:cs typeface="Arial" panose="020B0604020202020204" pitchFamily="34" charset="0"/>
                </a:rPr>
                <a:t>Insert Text Here</a:t>
              </a:r>
            </a:p>
          </p:txBody>
        </p: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79012F83-2A7B-5E73-097E-3C4916B21FD3}"/>
                </a:ext>
              </a:extLst>
            </p:cNvPr>
            <p:cNvGrpSpPr/>
            <p:nvPr/>
          </p:nvGrpSpPr>
          <p:grpSpPr>
            <a:xfrm>
              <a:off x="550862" y="2274766"/>
              <a:ext cx="603372" cy="601760"/>
              <a:chOff x="454269" y="1828800"/>
              <a:chExt cx="839005" cy="836765"/>
            </a:xfrm>
          </p:grpSpPr>
          <p:sp>
            <p:nvSpPr>
              <p:cNvPr id="10" name="Freeform 48">
                <a:extLst>
                  <a:ext uri="{FF2B5EF4-FFF2-40B4-BE49-F238E27FC236}">
                    <a16:creationId xmlns:a16="http://schemas.microsoft.com/office/drawing/2014/main" id="{FE1951A1-569A-A451-E893-CB17A55E260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4269" y="1828800"/>
                <a:ext cx="839005" cy="836765"/>
              </a:xfrm>
              <a:custGeom>
                <a:avLst/>
                <a:gdLst>
                  <a:gd name="T0" fmla="*/ 151 w 158"/>
                  <a:gd name="T1" fmla="*/ 64 h 158"/>
                  <a:gd name="T2" fmla="*/ 137 w 158"/>
                  <a:gd name="T3" fmla="*/ 60 h 158"/>
                  <a:gd name="T4" fmla="*/ 133 w 158"/>
                  <a:gd name="T5" fmla="*/ 51 h 158"/>
                  <a:gd name="T6" fmla="*/ 141 w 158"/>
                  <a:gd name="T7" fmla="*/ 39 h 158"/>
                  <a:gd name="T8" fmla="*/ 139 w 158"/>
                  <a:gd name="T9" fmla="*/ 26 h 158"/>
                  <a:gd name="T10" fmla="*/ 132 w 158"/>
                  <a:gd name="T11" fmla="*/ 19 h 158"/>
                  <a:gd name="T12" fmla="*/ 119 w 158"/>
                  <a:gd name="T13" fmla="*/ 18 h 158"/>
                  <a:gd name="T14" fmla="*/ 107 w 158"/>
                  <a:gd name="T15" fmla="*/ 25 h 158"/>
                  <a:gd name="T16" fmla="*/ 98 w 158"/>
                  <a:gd name="T17" fmla="*/ 21 h 158"/>
                  <a:gd name="T18" fmla="*/ 95 w 158"/>
                  <a:gd name="T19" fmla="*/ 7 h 158"/>
                  <a:gd name="T20" fmla="*/ 84 w 158"/>
                  <a:gd name="T21" fmla="*/ 0 h 158"/>
                  <a:gd name="T22" fmla="*/ 74 w 158"/>
                  <a:gd name="T23" fmla="*/ 0 h 158"/>
                  <a:gd name="T24" fmla="*/ 64 w 158"/>
                  <a:gd name="T25" fmla="*/ 7 h 158"/>
                  <a:gd name="T26" fmla="*/ 61 w 158"/>
                  <a:gd name="T27" fmla="*/ 21 h 158"/>
                  <a:gd name="T28" fmla="*/ 52 w 158"/>
                  <a:gd name="T29" fmla="*/ 25 h 158"/>
                  <a:gd name="T30" fmla="*/ 40 w 158"/>
                  <a:gd name="T31" fmla="*/ 18 h 158"/>
                  <a:gd name="T32" fmla="*/ 27 w 158"/>
                  <a:gd name="T33" fmla="*/ 19 h 158"/>
                  <a:gd name="T34" fmla="*/ 20 w 158"/>
                  <a:gd name="T35" fmla="*/ 26 h 158"/>
                  <a:gd name="T36" fmla="*/ 18 w 158"/>
                  <a:gd name="T37" fmla="*/ 39 h 158"/>
                  <a:gd name="T38" fmla="*/ 26 w 158"/>
                  <a:gd name="T39" fmla="*/ 51 h 158"/>
                  <a:gd name="T40" fmla="*/ 22 w 158"/>
                  <a:gd name="T41" fmla="*/ 60 h 158"/>
                  <a:gd name="T42" fmla="*/ 8 w 158"/>
                  <a:gd name="T43" fmla="*/ 64 h 158"/>
                  <a:gd name="T44" fmla="*/ 0 w 158"/>
                  <a:gd name="T45" fmla="*/ 74 h 158"/>
                  <a:gd name="T46" fmla="*/ 0 w 158"/>
                  <a:gd name="T47" fmla="*/ 84 h 158"/>
                  <a:gd name="T48" fmla="*/ 8 w 158"/>
                  <a:gd name="T49" fmla="*/ 94 h 158"/>
                  <a:gd name="T50" fmla="*/ 22 w 158"/>
                  <a:gd name="T51" fmla="*/ 98 h 158"/>
                  <a:gd name="T52" fmla="*/ 26 w 158"/>
                  <a:gd name="T53" fmla="*/ 106 h 158"/>
                  <a:gd name="T54" fmla="*/ 18 w 158"/>
                  <a:gd name="T55" fmla="*/ 118 h 158"/>
                  <a:gd name="T56" fmla="*/ 20 w 158"/>
                  <a:gd name="T57" fmla="*/ 131 h 158"/>
                  <a:gd name="T58" fmla="*/ 27 w 158"/>
                  <a:gd name="T59" fmla="*/ 138 h 158"/>
                  <a:gd name="T60" fmla="*/ 40 w 158"/>
                  <a:gd name="T61" fmla="*/ 140 h 158"/>
                  <a:gd name="T62" fmla="*/ 52 w 158"/>
                  <a:gd name="T63" fmla="*/ 133 h 158"/>
                  <a:gd name="T64" fmla="*/ 61 w 158"/>
                  <a:gd name="T65" fmla="*/ 136 h 158"/>
                  <a:gd name="T66" fmla="*/ 64 w 158"/>
                  <a:gd name="T67" fmla="*/ 150 h 158"/>
                  <a:gd name="T68" fmla="*/ 74 w 158"/>
                  <a:gd name="T69" fmla="*/ 158 h 158"/>
                  <a:gd name="T70" fmla="*/ 84 w 158"/>
                  <a:gd name="T71" fmla="*/ 158 h 158"/>
                  <a:gd name="T72" fmla="*/ 95 w 158"/>
                  <a:gd name="T73" fmla="*/ 150 h 158"/>
                  <a:gd name="T74" fmla="*/ 98 w 158"/>
                  <a:gd name="T75" fmla="*/ 136 h 158"/>
                  <a:gd name="T76" fmla="*/ 107 w 158"/>
                  <a:gd name="T77" fmla="*/ 133 h 158"/>
                  <a:gd name="T78" fmla="*/ 119 w 158"/>
                  <a:gd name="T79" fmla="*/ 140 h 158"/>
                  <a:gd name="T80" fmla="*/ 132 w 158"/>
                  <a:gd name="T81" fmla="*/ 138 h 158"/>
                  <a:gd name="T82" fmla="*/ 139 w 158"/>
                  <a:gd name="T83" fmla="*/ 131 h 158"/>
                  <a:gd name="T84" fmla="*/ 141 w 158"/>
                  <a:gd name="T85" fmla="*/ 118 h 158"/>
                  <a:gd name="T86" fmla="*/ 133 w 158"/>
                  <a:gd name="T87" fmla="*/ 106 h 158"/>
                  <a:gd name="T88" fmla="*/ 137 w 158"/>
                  <a:gd name="T89" fmla="*/ 98 h 158"/>
                  <a:gd name="T90" fmla="*/ 151 w 158"/>
                  <a:gd name="T91" fmla="*/ 94 h 158"/>
                  <a:gd name="T92" fmla="*/ 158 w 158"/>
                  <a:gd name="T93" fmla="*/ 84 h 158"/>
                  <a:gd name="T94" fmla="*/ 158 w 158"/>
                  <a:gd name="T95" fmla="*/ 74 h 158"/>
                  <a:gd name="T96" fmla="*/ 151 w 158"/>
                  <a:gd name="T97" fmla="*/ 64 h 158"/>
                  <a:gd name="T98" fmla="*/ 79 w 158"/>
                  <a:gd name="T99" fmla="*/ 127 h 158"/>
                  <a:gd name="T100" fmla="*/ 32 w 158"/>
                  <a:gd name="T101" fmla="*/ 79 h 158"/>
                  <a:gd name="T102" fmla="*/ 79 w 158"/>
                  <a:gd name="T103" fmla="*/ 31 h 158"/>
                  <a:gd name="T104" fmla="*/ 127 w 158"/>
                  <a:gd name="T105" fmla="*/ 79 h 158"/>
                  <a:gd name="T106" fmla="*/ 79 w 158"/>
                  <a:gd name="T107" fmla="*/ 127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58" h="158">
                    <a:moveTo>
                      <a:pt x="151" y="64"/>
                    </a:moveTo>
                    <a:cubicBezTo>
                      <a:pt x="137" y="60"/>
                      <a:pt x="137" y="60"/>
                      <a:pt x="137" y="60"/>
                    </a:cubicBezTo>
                    <a:cubicBezTo>
                      <a:pt x="136" y="57"/>
                      <a:pt x="135" y="54"/>
                      <a:pt x="133" y="51"/>
                    </a:cubicBezTo>
                    <a:cubicBezTo>
                      <a:pt x="141" y="39"/>
                      <a:pt x="141" y="39"/>
                      <a:pt x="141" y="39"/>
                    </a:cubicBezTo>
                    <a:cubicBezTo>
                      <a:pt x="143" y="35"/>
                      <a:pt x="142" y="30"/>
                      <a:pt x="139" y="26"/>
                    </a:cubicBezTo>
                    <a:cubicBezTo>
                      <a:pt x="132" y="19"/>
                      <a:pt x="132" y="19"/>
                      <a:pt x="132" y="19"/>
                    </a:cubicBezTo>
                    <a:cubicBezTo>
                      <a:pt x="129" y="16"/>
                      <a:pt x="123" y="15"/>
                      <a:pt x="119" y="18"/>
                    </a:cubicBezTo>
                    <a:cubicBezTo>
                      <a:pt x="107" y="25"/>
                      <a:pt x="107" y="25"/>
                      <a:pt x="107" y="25"/>
                    </a:cubicBezTo>
                    <a:cubicBezTo>
                      <a:pt x="104" y="23"/>
                      <a:pt x="101" y="22"/>
                      <a:pt x="98" y="21"/>
                    </a:cubicBezTo>
                    <a:cubicBezTo>
                      <a:pt x="95" y="7"/>
                      <a:pt x="95" y="7"/>
                      <a:pt x="95" y="7"/>
                    </a:cubicBezTo>
                    <a:cubicBezTo>
                      <a:pt x="93" y="3"/>
                      <a:pt x="89" y="0"/>
                      <a:pt x="84" y="0"/>
                    </a:cubicBezTo>
                    <a:cubicBezTo>
                      <a:pt x="74" y="0"/>
                      <a:pt x="74" y="0"/>
                      <a:pt x="74" y="0"/>
                    </a:cubicBezTo>
                    <a:cubicBezTo>
                      <a:pt x="70" y="0"/>
                      <a:pt x="66" y="3"/>
                      <a:pt x="64" y="7"/>
                    </a:cubicBezTo>
                    <a:cubicBezTo>
                      <a:pt x="61" y="21"/>
                      <a:pt x="61" y="21"/>
                      <a:pt x="61" y="21"/>
                    </a:cubicBezTo>
                    <a:cubicBezTo>
                      <a:pt x="58" y="22"/>
                      <a:pt x="55" y="23"/>
                      <a:pt x="52" y="25"/>
                    </a:cubicBezTo>
                    <a:cubicBezTo>
                      <a:pt x="40" y="18"/>
                      <a:pt x="40" y="18"/>
                      <a:pt x="40" y="18"/>
                    </a:cubicBezTo>
                    <a:cubicBezTo>
                      <a:pt x="36" y="15"/>
                      <a:pt x="30" y="16"/>
                      <a:pt x="27" y="19"/>
                    </a:cubicBezTo>
                    <a:cubicBezTo>
                      <a:pt x="20" y="26"/>
                      <a:pt x="20" y="26"/>
                      <a:pt x="20" y="26"/>
                    </a:cubicBezTo>
                    <a:cubicBezTo>
                      <a:pt x="17" y="30"/>
                      <a:pt x="16" y="35"/>
                      <a:pt x="18" y="39"/>
                    </a:cubicBezTo>
                    <a:cubicBezTo>
                      <a:pt x="26" y="51"/>
                      <a:pt x="26" y="51"/>
                      <a:pt x="26" y="51"/>
                    </a:cubicBezTo>
                    <a:cubicBezTo>
                      <a:pt x="24" y="54"/>
                      <a:pt x="23" y="57"/>
                      <a:pt x="22" y="60"/>
                    </a:cubicBezTo>
                    <a:cubicBezTo>
                      <a:pt x="8" y="64"/>
                      <a:pt x="8" y="64"/>
                      <a:pt x="8" y="64"/>
                    </a:cubicBezTo>
                    <a:cubicBezTo>
                      <a:pt x="4" y="65"/>
                      <a:pt x="0" y="69"/>
                      <a:pt x="0" y="74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0" y="88"/>
                      <a:pt x="4" y="93"/>
                      <a:pt x="8" y="94"/>
                    </a:cubicBezTo>
                    <a:cubicBezTo>
                      <a:pt x="22" y="98"/>
                      <a:pt x="22" y="98"/>
                      <a:pt x="22" y="98"/>
                    </a:cubicBezTo>
                    <a:cubicBezTo>
                      <a:pt x="23" y="100"/>
                      <a:pt x="24" y="103"/>
                      <a:pt x="26" y="106"/>
                    </a:cubicBezTo>
                    <a:cubicBezTo>
                      <a:pt x="18" y="118"/>
                      <a:pt x="18" y="118"/>
                      <a:pt x="18" y="118"/>
                    </a:cubicBezTo>
                    <a:cubicBezTo>
                      <a:pt x="16" y="122"/>
                      <a:pt x="17" y="128"/>
                      <a:pt x="20" y="131"/>
                    </a:cubicBezTo>
                    <a:cubicBezTo>
                      <a:pt x="27" y="138"/>
                      <a:pt x="27" y="138"/>
                      <a:pt x="27" y="138"/>
                    </a:cubicBezTo>
                    <a:cubicBezTo>
                      <a:pt x="30" y="141"/>
                      <a:pt x="36" y="142"/>
                      <a:pt x="40" y="140"/>
                    </a:cubicBezTo>
                    <a:cubicBezTo>
                      <a:pt x="52" y="133"/>
                      <a:pt x="52" y="133"/>
                      <a:pt x="52" y="133"/>
                    </a:cubicBezTo>
                    <a:cubicBezTo>
                      <a:pt x="55" y="134"/>
                      <a:pt x="58" y="135"/>
                      <a:pt x="61" y="136"/>
                    </a:cubicBezTo>
                    <a:cubicBezTo>
                      <a:pt x="64" y="150"/>
                      <a:pt x="64" y="150"/>
                      <a:pt x="64" y="150"/>
                    </a:cubicBezTo>
                    <a:cubicBezTo>
                      <a:pt x="66" y="154"/>
                      <a:pt x="70" y="158"/>
                      <a:pt x="74" y="158"/>
                    </a:cubicBezTo>
                    <a:cubicBezTo>
                      <a:pt x="84" y="158"/>
                      <a:pt x="84" y="158"/>
                      <a:pt x="84" y="158"/>
                    </a:cubicBezTo>
                    <a:cubicBezTo>
                      <a:pt x="89" y="158"/>
                      <a:pt x="93" y="154"/>
                      <a:pt x="95" y="150"/>
                    </a:cubicBezTo>
                    <a:cubicBezTo>
                      <a:pt x="98" y="136"/>
                      <a:pt x="98" y="136"/>
                      <a:pt x="98" y="136"/>
                    </a:cubicBezTo>
                    <a:cubicBezTo>
                      <a:pt x="101" y="135"/>
                      <a:pt x="104" y="134"/>
                      <a:pt x="107" y="133"/>
                    </a:cubicBezTo>
                    <a:cubicBezTo>
                      <a:pt x="119" y="140"/>
                      <a:pt x="119" y="140"/>
                      <a:pt x="119" y="140"/>
                    </a:cubicBezTo>
                    <a:cubicBezTo>
                      <a:pt x="123" y="142"/>
                      <a:pt x="129" y="141"/>
                      <a:pt x="132" y="138"/>
                    </a:cubicBezTo>
                    <a:cubicBezTo>
                      <a:pt x="139" y="131"/>
                      <a:pt x="139" y="131"/>
                      <a:pt x="139" y="131"/>
                    </a:cubicBezTo>
                    <a:cubicBezTo>
                      <a:pt x="142" y="128"/>
                      <a:pt x="143" y="122"/>
                      <a:pt x="141" y="118"/>
                    </a:cubicBezTo>
                    <a:cubicBezTo>
                      <a:pt x="133" y="106"/>
                      <a:pt x="133" y="106"/>
                      <a:pt x="133" y="106"/>
                    </a:cubicBezTo>
                    <a:cubicBezTo>
                      <a:pt x="135" y="103"/>
                      <a:pt x="136" y="100"/>
                      <a:pt x="137" y="98"/>
                    </a:cubicBezTo>
                    <a:cubicBezTo>
                      <a:pt x="151" y="94"/>
                      <a:pt x="151" y="94"/>
                      <a:pt x="151" y="94"/>
                    </a:cubicBezTo>
                    <a:cubicBezTo>
                      <a:pt x="155" y="93"/>
                      <a:pt x="158" y="88"/>
                      <a:pt x="158" y="84"/>
                    </a:cubicBezTo>
                    <a:cubicBezTo>
                      <a:pt x="158" y="74"/>
                      <a:pt x="158" y="74"/>
                      <a:pt x="158" y="74"/>
                    </a:cubicBezTo>
                    <a:cubicBezTo>
                      <a:pt x="158" y="69"/>
                      <a:pt x="155" y="65"/>
                      <a:pt x="151" y="64"/>
                    </a:cubicBezTo>
                    <a:close/>
                    <a:moveTo>
                      <a:pt x="79" y="127"/>
                    </a:moveTo>
                    <a:cubicBezTo>
                      <a:pt x="53" y="127"/>
                      <a:pt x="32" y="105"/>
                      <a:pt x="32" y="79"/>
                    </a:cubicBezTo>
                    <a:cubicBezTo>
                      <a:pt x="32" y="52"/>
                      <a:pt x="53" y="31"/>
                      <a:pt x="79" y="31"/>
                    </a:cubicBezTo>
                    <a:cubicBezTo>
                      <a:pt x="106" y="31"/>
                      <a:pt x="127" y="52"/>
                      <a:pt x="127" y="79"/>
                    </a:cubicBezTo>
                    <a:cubicBezTo>
                      <a:pt x="127" y="105"/>
                      <a:pt x="106" y="127"/>
                      <a:pt x="79" y="12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92DE76FF-D280-B9B7-7D69-EF3FA019DAEB}"/>
                  </a:ext>
                </a:extLst>
              </p:cNvPr>
              <p:cNvSpPr/>
              <p:nvPr/>
            </p:nvSpPr>
            <p:spPr>
              <a:xfrm>
                <a:off x="604542" y="1977953"/>
                <a:ext cx="538458" cy="538458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sp>
          <p:nvSpPr>
            <p:cNvPr id="9" name="Freeform 99">
              <a:extLst>
                <a:ext uri="{FF2B5EF4-FFF2-40B4-BE49-F238E27FC236}">
                  <a16:creationId xmlns:a16="http://schemas.microsoft.com/office/drawing/2014/main" id="{4A5753D6-852A-42F2-B52C-FC84C5CB5322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741792" y="2365046"/>
              <a:ext cx="345852" cy="305232"/>
            </a:xfrm>
            <a:custGeom>
              <a:avLst/>
              <a:gdLst>
                <a:gd name="T0" fmla="*/ 3040 w 3040"/>
                <a:gd name="T1" fmla="*/ 109 h 2884"/>
                <a:gd name="T2" fmla="*/ 2860 w 3040"/>
                <a:gd name="T3" fmla="*/ 256 h 2884"/>
                <a:gd name="T4" fmla="*/ 2673 w 3040"/>
                <a:gd name="T5" fmla="*/ 428 h 2884"/>
                <a:gd name="T6" fmla="*/ 2479 w 3040"/>
                <a:gd name="T7" fmla="*/ 627 h 2884"/>
                <a:gd name="T8" fmla="*/ 2277 w 3040"/>
                <a:gd name="T9" fmla="*/ 853 h 2884"/>
                <a:gd name="T10" fmla="*/ 2067 w 3040"/>
                <a:gd name="T11" fmla="*/ 1106 h 2884"/>
                <a:gd name="T12" fmla="*/ 1926 w 3040"/>
                <a:gd name="T13" fmla="*/ 1287 h 2884"/>
                <a:gd name="T14" fmla="*/ 1727 w 3040"/>
                <a:gd name="T15" fmla="*/ 1556 h 2884"/>
                <a:gd name="T16" fmla="*/ 1546 w 3040"/>
                <a:gd name="T17" fmla="*/ 1819 h 2884"/>
                <a:gd name="T18" fmla="*/ 1385 w 3040"/>
                <a:gd name="T19" fmla="*/ 2076 h 2884"/>
                <a:gd name="T20" fmla="*/ 1243 w 3040"/>
                <a:gd name="T21" fmla="*/ 2324 h 2884"/>
                <a:gd name="T22" fmla="*/ 1120 w 3040"/>
                <a:gd name="T23" fmla="*/ 2567 h 2884"/>
                <a:gd name="T24" fmla="*/ 865 w 3040"/>
                <a:gd name="T25" fmla="*/ 2741 h 2884"/>
                <a:gd name="T26" fmla="*/ 704 w 3040"/>
                <a:gd name="T27" fmla="*/ 2867 h 2884"/>
                <a:gd name="T28" fmla="*/ 675 w 3040"/>
                <a:gd name="T29" fmla="*/ 2856 h 2884"/>
                <a:gd name="T30" fmla="*/ 603 w 3040"/>
                <a:gd name="T31" fmla="*/ 2655 h 2884"/>
                <a:gd name="T32" fmla="*/ 498 w 3040"/>
                <a:gd name="T33" fmla="*/ 2404 h 2884"/>
                <a:gd name="T34" fmla="*/ 401 w 3040"/>
                <a:gd name="T35" fmla="*/ 2197 h 2884"/>
                <a:gd name="T36" fmla="*/ 311 w 3040"/>
                <a:gd name="T37" fmla="*/ 2034 h 2884"/>
                <a:gd name="T38" fmla="*/ 253 w 3040"/>
                <a:gd name="T39" fmla="*/ 1950 h 2884"/>
                <a:gd name="T40" fmla="*/ 164 w 3040"/>
                <a:gd name="T41" fmla="*/ 1855 h 2884"/>
                <a:gd name="T42" fmla="*/ 69 w 3040"/>
                <a:gd name="T43" fmla="*/ 1786 h 2884"/>
                <a:gd name="T44" fmla="*/ 0 w 3040"/>
                <a:gd name="T45" fmla="*/ 1757 h 2884"/>
                <a:gd name="T46" fmla="*/ 87 w 3040"/>
                <a:gd name="T47" fmla="*/ 1672 h 2884"/>
                <a:gd name="T48" fmla="*/ 172 w 3040"/>
                <a:gd name="T49" fmla="*/ 1605 h 2884"/>
                <a:gd name="T50" fmla="*/ 254 w 3040"/>
                <a:gd name="T51" fmla="*/ 1555 h 2884"/>
                <a:gd name="T52" fmla="*/ 332 w 3040"/>
                <a:gd name="T53" fmla="*/ 1523 h 2884"/>
                <a:gd name="T54" fmla="*/ 409 w 3040"/>
                <a:gd name="T55" fmla="*/ 1508 h 2884"/>
                <a:gd name="T56" fmla="*/ 444 w 3040"/>
                <a:gd name="T57" fmla="*/ 1507 h 2884"/>
                <a:gd name="T58" fmla="*/ 476 w 3040"/>
                <a:gd name="T59" fmla="*/ 1513 h 2884"/>
                <a:gd name="T60" fmla="*/ 543 w 3040"/>
                <a:gd name="T61" fmla="*/ 1551 h 2884"/>
                <a:gd name="T62" fmla="*/ 612 w 3040"/>
                <a:gd name="T63" fmla="*/ 1621 h 2884"/>
                <a:gd name="T64" fmla="*/ 683 w 3040"/>
                <a:gd name="T65" fmla="*/ 1723 h 2884"/>
                <a:gd name="T66" fmla="*/ 757 w 3040"/>
                <a:gd name="T67" fmla="*/ 1858 h 2884"/>
                <a:gd name="T68" fmla="*/ 877 w 3040"/>
                <a:gd name="T69" fmla="*/ 2117 h 2884"/>
                <a:gd name="T70" fmla="*/ 973 w 3040"/>
                <a:gd name="T71" fmla="*/ 1963 h 2884"/>
                <a:gd name="T72" fmla="*/ 1129 w 3040"/>
                <a:gd name="T73" fmla="*/ 1731 h 2884"/>
                <a:gd name="T74" fmla="*/ 1299 w 3040"/>
                <a:gd name="T75" fmla="*/ 1503 h 2884"/>
                <a:gd name="T76" fmla="*/ 1485 w 3040"/>
                <a:gd name="T77" fmla="*/ 1277 h 2884"/>
                <a:gd name="T78" fmla="*/ 1685 w 3040"/>
                <a:gd name="T79" fmla="*/ 1052 h 2884"/>
                <a:gd name="T80" fmla="*/ 1828 w 3040"/>
                <a:gd name="T81" fmla="*/ 904 h 2884"/>
                <a:gd name="T82" fmla="*/ 2045 w 3040"/>
                <a:gd name="T83" fmla="*/ 693 h 2884"/>
                <a:gd name="T84" fmla="*/ 2260 w 3040"/>
                <a:gd name="T85" fmla="*/ 502 h 2884"/>
                <a:gd name="T86" fmla="*/ 2474 w 3040"/>
                <a:gd name="T87" fmla="*/ 328 h 2884"/>
                <a:gd name="T88" fmla="*/ 2685 w 3040"/>
                <a:gd name="T89" fmla="*/ 175 h 2884"/>
                <a:gd name="T90" fmla="*/ 2893 w 3040"/>
                <a:gd name="T91" fmla="*/ 40 h 28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040" h="2884">
                  <a:moveTo>
                    <a:pt x="2963" y="0"/>
                  </a:moveTo>
                  <a:lnTo>
                    <a:pt x="3040" y="109"/>
                  </a:lnTo>
                  <a:lnTo>
                    <a:pt x="3040" y="109"/>
                  </a:lnTo>
                  <a:lnTo>
                    <a:pt x="2981" y="155"/>
                  </a:lnTo>
                  <a:lnTo>
                    <a:pt x="2922" y="203"/>
                  </a:lnTo>
                  <a:lnTo>
                    <a:pt x="2860" y="256"/>
                  </a:lnTo>
                  <a:lnTo>
                    <a:pt x="2799" y="309"/>
                  </a:lnTo>
                  <a:lnTo>
                    <a:pt x="2736" y="367"/>
                  </a:lnTo>
                  <a:lnTo>
                    <a:pt x="2673" y="428"/>
                  </a:lnTo>
                  <a:lnTo>
                    <a:pt x="2610" y="491"/>
                  </a:lnTo>
                  <a:lnTo>
                    <a:pt x="2545" y="557"/>
                  </a:lnTo>
                  <a:lnTo>
                    <a:pt x="2479" y="627"/>
                  </a:lnTo>
                  <a:lnTo>
                    <a:pt x="2413" y="699"/>
                  </a:lnTo>
                  <a:lnTo>
                    <a:pt x="2346" y="775"/>
                  </a:lnTo>
                  <a:lnTo>
                    <a:pt x="2277" y="853"/>
                  </a:lnTo>
                  <a:lnTo>
                    <a:pt x="2209" y="934"/>
                  </a:lnTo>
                  <a:lnTo>
                    <a:pt x="2139" y="1018"/>
                  </a:lnTo>
                  <a:lnTo>
                    <a:pt x="2067" y="1106"/>
                  </a:lnTo>
                  <a:lnTo>
                    <a:pt x="1996" y="1196"/>
                  </a:lnTo>
                  <a:lnTo>
                    <a:pt x="1996" y="1196"/>
                  </a:lnTo>
                  <a:lnTo>
                    <a:pt x="1926" y="1287"/>
                  </a:lnTo>
                  <a:lnTo>
                    <a:pt x="1858" y="1377"/>
                  </a:lnTo>
                  <a:lnTo>
                    <a:pt x="1790" y="1468"/>
                  </a:lnTo>
                  <a:lnTo>
                    <a:pt x="1727" y="1556"/>
                  </a:lnTo>
                  <a:lnTo>
                    <a:pt x="1664" y="1645"/>
                  </a:lnTo>
                  <a:lnTo>
                    <a:pt x="1605" y="1733"/>
                  </a:lnTo>
                  <a:lnTo>
                    <a:pt x="1546" y="1819"/>
                  </a:lnTo>
                  <a:lnTo>
                    <a:pt x="1490" y="1905"/>
                  </a:lnTo>
                  <a:lnTo>
                    <a:pt x="1437" y="1991"/>
                  </a:lnTo>
                  <a:lnTo>
                    <a:pt x="1385" y="2076"/>
                  </a:lnTo>
                  <a:lnTo>
                    <a:pt x="1336" y="2159"/>
                  </a:lnTo>
                  <a:lnTo>
                    <a:pt x="1289" y="2242"/>
                  </a:lnTo>
                  <a:lnTo>
                    <a:pt x="1243" y="2324"/>
                  </a:lnTo>
                  <a:lnTo>
                    <a:pt x="1200" y="2405"/>
                  </a:lnTo>
                  <a:lnTo>
                    <a:pt x="1160" y="2486"/>
                  </a:lnTo>
                  <a:lnTo>
                    <a:pt x="1120" y="2567"/>
                  </a:lnTo>
                  <a:lnTo>
                    <a:pt x="958" y="2676"/>
                  </a:lnTo>
                  <a:lnTo>
                    <a:pt x="958" y="2676"/>
                  </a:lnTo>
                  <a:lnTo>
                    <a:pt x="865" y="2741"/>
                  </a:lnTo>
                  <a:lnTo>
                    <a:pt x="788" y="2798"/>
                  </a:lnTo>
                  <a:lnTo>
                    <a:pt x="728" y="2845"/>
                  </a:lnTo>
                  <a:lnTo>
                    <a:pt x="704" y="2867"/>
                  </a:lnTo>
                  <a:lnTo>
                    <a:pt x="683" y="2884"/>
                  </a:lnTo>
                  <a:lnTo>
                    <a:pt x="683" y="2884"/>
                  </a:lnTo>
                  <a:lnTo>
                    <a:pt x="675" y="2856"/>
                  </a:lnTo>
                  <a:lnTo>
                    <a:pt x="666" y="2825"/>
                  </a:lnTo>
                  <a:lnTo>
                    <a:pt x="639" y="2748"/>
                  </a:lnTo>
                  <a:lnTo>
                    <a:pt x="603" y="2655"/>
                  </a:lnTo>
                  <a:lnTo>
                    <a:pt x="560" y="2546"/>
                  </a:lnTo>
                  <a:lnTo>
                    <a:pt x="498" y="2404"/>
                  </a:lnTo>
                  <a:lnTo>
                    <a:pt x="498" y="2404"/>
                  </a:lnTo>
                  <a:lnTo>
                    <a:pt x="465" y="2330"/>
                  </a:lnTo>
                  <a:lnTo>
                    <a:pt x="433" y="2261"/>
                  </a:lnTo>
                  <a:lnTo>
                    <a:pt x="401" y="2197"/>
                  </a:lnTo>
                  <a:lnTo>
                    <a:pt x="371" y="2137"/>
                  </a:lnTo>
                  <a:lnTo>
                    <a:pt x="340" y="2084"/>
                  </a:lnTo>
                  <a:lnTo>
                    <a:pt x="311" y="2034"/>
                  </a:lnTo>
                  <a:lnTo>
                    <a:pt x="281" y="1991"/>
                  </a:lnTo>
                  <a:lnTo>
                    <a:pt x="253" y="1950"/>
                  </a:lnTo>
                  <a:lnTo>
                    <a:pt x="253" y="1950"/>
                  </a:lnTo>
                  <a:lnTo>
                    <a:pt x="225" y="1915"/>
                  </a:lnTo>
                  <a:lnTo>
                    <a:pt x="195" y="1885"/>
                  </a:lnTo>
                  <a:lnTo>
                    <a:pt x="164" y="1855"/>
                  </a:lnTo>
                  <a:lnTo>
                    <a:pt x="133" y="1829"/>
                  </a:lnTo>
                  <a:lnTo>
                    <a:pt x="101" y="1807"/>
                  </a:lnTo>
                  <a:lnTo>
                    <a:pt x="69" y="1786"/>
                  </a:lnTo>
                  <a:lnTo>
                    <a:pt x="35" y="1770"/>
                  </a:lnTo>
                  <a:lnTo>
                    <a:pt x="0" y="1757"/>
                  </a:lnTo>
                  <a:lnTo>
                    <a:pt x="0" y="1757"/>
                  </a:lnTo>
                  <a:lnTo>
                    <a:pt x="30" y="1726"/>
                  </a:lnTo>
                  <a:lnTo>
                    <a:pt x="59" y="1698"/>
                  </a:lnTo>
                  <a:lnTo>
                    <a:pt x="87" y="1672"/>
                  </a:lnTo>
                  <a:lnTo>
                    <a:pt x="116" y="1646"/>
                  </a:lnTo>
                  <a:lnTo>
                    <a:pt x="144" y="1625"/>
                  </a:lnTo>
                  <a:lnTo>
                    <a:pt x="172" y="1605"/>
                  </a:lnTo>
                  <a:lnTo>
                    <a:pt x="199" y="1586"/>
                  </a:lnTo>
                  <a:lnTo>
                    <a:pt x="227" y="1568"/>
                  </a:lnTo>
                  <a:lnTo>
                    <a:pt x="254" y="1555"/>
                  </a:lnTo>
                  <a:lnTo>
                    <a:pt x="281" y="1542"/>
                  </a:lnTo>
                  <a:lnTo>
                    <a:pt x="307" y="1531"/>
                  </a:lnTo>
                  <a:lnTo>
                    <a:pt x="332" y="1523"/>
                  </a:lnTo>
                  <a:lnTo>
                    <a:pt x="359" y="1516"/>
                  </a:lnTo>
                  <a:lnTo>
                    <a:pt x="385" y="1511"/>
                  </a:lnTo>
                  <a:lnTo>
                    <a:pt x="409" y="1508"/>
                  </a:lnTo>
                  <a:lnTo>
                    <a:pt x="434" y="1507"/>
                  </a:lnTo>
                  <a:lnTo>
                    <a:pt x="434" y="1507"/>
                  </a:lnTo>
                  <a:lnTo>
                    <a:pt x="444" y="1507"/>
                  </a:lnTo>
                  <a:lnTo>
                    <a:pt x="455" y="1508"/>
                  </a:lnTo>
                  <a:lnTo>
                    <a:pt x="465" y="1511"/>
                  </a:lnTo>
                  <a:lnTo>
                    <a:pt x="476" y="1513"/>
                  </a:lnTo>
                  <a:lnTo>
                    <a:pt x="499" y="1523"/>
                  </a:lnTo>
                  <a:lnTo>
                    <a:pt x="521" y="1535"/>
                  </a:lnTo>
                  <a:lnTo>
                    <a:pt x="543" y="1551"/>
                  </a:lnTo>
                  <a:lnTo>
                    <a:pt x="566" y="1571"/>
                  </a:lnTo>
                  <a:lnTo>
                    <a:pt x="589" y="1594"/>
                  </a:lnTo>
                  <a:lnTo>
                    <a:pt x="612" y="1621"/>
                  </a:lnTo>
                  <a:lnTo>
                    <a:pt x="636" y="1652"/>
                  </a:lnTo>
                  <a:lnTo>
                    <a:pt x="659" y="1685"/>
                  </a:lnTo>
                  <a:lnTo>
                    <a:pt x="683" y="1723"/>
                  </a:lnTo>
                  <a:lnTo>
                    <a:pt x="708" y="1763"/>
                  </a:lnTo>
                  <a:lnTo>
                    <a:pt x="733" y="1809"/>
                  </a:lnTo>
                  <a:lnTo>
                    <a:pt x="757" y="1858"/>
                  </a:lnTo>
                  <a:lnTo>
                    <a:pt x="783" y="1909"/>
                  </a:lnTo>
                  <a:lnTo>
                    <a:pt x="808" y="1964"/>
                  </a:lnTo>
                  <a:lnTo>
                    <a:pt x="877" y="2117"/>
                  </a:lnTo>
                  <a:lnTo>
                    <a:pt x="877" y="2117"/>
                  </a:lnTo>
                  <a:lnTo>
                    <a:pt x="924" y="2039"/>
                  </a:lnTo>
                  <a:lnTo>
                    <a:pt x="973" y="1963"/>
                  </a:lnTo>
                  <a:lnTo>
                    <a:pt x="1024" y="1885"/>
                  </a:lnTo>
                  <a:lnTo>
                    <a:pt x="1075" y="1808"/>
                  </a:lnTo>
                  <a:lnTo>
                    <a:pt x="1129" y="1731"/>
                  </a:lnTo>
                  <a:lnTo>
                    <a:pt x="1184" y="1655"/>
                  </a:lnTo>
                  <a:lnTo>
                    <a:pt x="1242" y="1578"/>
                  </a:lnTo>
                  <a:lnTo>
                    <a:pt x="1299" y="1503"/>
                  </a:lnTo>
                  <a:lnTo>
                    <a:pt x="1360" y="1427"/>
                  </a:lnTo>
                  <a:lnTo>
                    <a:pt x="1422" y="1351"/>
                  </a:lnTo>
                  <a:lnTo>
                    <a:pt x="1485" y="1277"/>
                  </a:lnTo>
                  <a:lnTo>
                    <a:pt x="1551" y="1201"/>
                  </a:lnTo>
                  <a:lnTo>
                    <a:pt x="1618" y="1127"/>
                  </a:lnTo>
                  <a:lnTo>
                    <a:pt x="1685" y="1052"/>
                  </a:lnTo>
                  <a:lnTo>
                    <a:pt x="1757" y="978"/>
                  </a:lnTo>
                  <a:lnTo>
                    <a:pt x="1828" y="904"/>
                  </a:lnTo>
                  <a:lnTo>
                    <a:pt x="1828" y="904"/>
                  </a:lnTo>
                  <a:lnTo>
                    <a:pt x="1901" y="831"/>
                  </a:lnTo>
                  <a:lnTo>
                    <a:pt x="1973" y="761"/>
                  </a:lnTo>
                  <a:lnTo>
                    <a:pt x="2045" y="693"/>
                  </a:lnTo>
                  <a:lnTo>
                    <a:pt x="2117" y="627"/>
                  </a:lnTo>
                  <a:lnTo>
                    <a:pt x="2189" y="564"/>
                  </a:lnTo>
                  <a:lnTo>
                    <a:pt x="2260" y="502"/>
                  </a:lnTo>
                  <a:lnTo>
                    <a:pt x="2331" y="441"/>
                  </a:lnTo>
                  <a:lnTo>
                    <a:pt x="2402" y="383"/>
                  </a:lnTo>
                  <a:lnTo>
                    <a:pt x="2474" y="328"/>
                  </a:lnTo>
                  <a:lnTo>
                    <a:pt x="2544" y="274"/>
                  </a:lnTo>
                  <a:lnTo>
                    <a:pt x="2614" y="223"/>
                  </a:lnTo>
                  <a:lnTo>
                    <a:pt x="2685" y="175"/>
                  </a:lnTo>
                  <a:lnTo>
                    <a:pt x="2755" y="128"/>
                  </a:lnTo>
                  <a:lnTo>
                    <a:pt x="2825" y="83"/>
                  </a:lnTo>
                  <a:lnTo>
                    <a:pt x="2893" y="40"/>
                  </a:lnTo>
                  <a:lnTo>
                    <a:pt x="2963" y="0"/>
                  </a:lnTo>
                  <a:lnTo>
                    <a:pt x="2963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68576" tIns="34288" rIns="68576" bIns="3428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2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CD5544E-1DB5-5760-826C-AE234F0F3E26}"/>
              </a:ext>
            </a:extLst>
          </p:cNvPr>
          <p:cNvGrpSpPr/>
          <p:nvPr/>
        </p:nvGrpSpPr>
        <p:grpSpPr>
          <a:xfrm>
            <a:off x="419099" y="2697318"/>
            <a:ext cx="8669338" cy="601760"/>
            <a:chOff x="550862" y="2274766"/>
            <a:chExt cx="8669338" cy="601760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76808D36-0405-A978-9D54-4FA8A9F6A1A7}"/>
                </a:ext>
              </a:extLst>
            </p:cNvPr>
            <p:cNvSpPr txBox="1">
              <a:spLocks/>
            </p:cNvSpPr>
            <p:nvPr/>
          </p:nvSpPr>
          <p:spPr>
            <a:xfrm>
              <a:off x="1379614" y="2437147"/>
              <a:ext cx="784058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+mn-ea"/>
                  <a:cs typeface="Arial" panose="020B0604020202020204" pitchFamily="34" charset="0"/>
                </a:rPr>
                <a:t>Insert Text Here</a:t>
              </a:r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65717FC1-E58D-6CDC-B398-251E14AB0EF2}"/>
                </a:ext>
              </a:extLst>
            </p:cNvPr>
            <p:cNvGrpSpPr/>
            <p:nvPr/>
          </p:nvGrpSpPr>
          <p:grpSpPr>
            <a:xfrm>
              <a:off x="550862" y="2274766"/>
              <a:ext cx="603372" cy="601760"/>
              <a:chOff x="454269" y="1828800"/>
              <a:chExt cx="839005" cy="836765"/>
            </a:xfrm>
          </p:grpSpPr>
          <p:sp>
            <p:nvSpPr>
              <p:cNvPr id="16" name="Freeform 48">
                <a:extLst>
                  <a:ext uri="{FF2B5EF4-FFF2-40B4-BE49-F238E27FC236}">
                    <a16:creationId xmlns:a16="http://schemas.microsoft.com/office/drawing/2014/main" id="{D3F3D5F1-8986-AE75-F27B-2AE38759856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4269" y="1828800"/>
                <a:ext cx="839005" cy="836765"/>
              </a:xfrm>
              <a:custGeom>
                <a:avLst/>
                <a:gdLst>
                  <a:gd name="T0" fmla="*/ 151 w 158"/>
                  <a:gd name="T1" fmla="*/ 64 h 158"/>
                  <a:gd name="T2" fmla="*/ 137 w 158"/>
                  <a:gd name="T3" fmla="*/ 60 h 158"/>
                  <a:gd name="T4" fmla="*/ 133 w 158"/>
                  <a:gd name="T5" fmla="*/ 51 h 158"/>
                  <a:gd name="T6" fmla="*/ 141 w 158"/>
                  <a:gd name="T7" fmla="*/ 39 h 158"/>
                  <a:gd name="T8" fmla="*/ 139 w 158"/>
                  <a:gd name="T9" fmla="*/ 26 h 158"/>
                  <a:gd name="T10" fmla="*/ 132 w 158"/>
                  <a:gd name="T11" fmla="*/ 19 h 158"/>
                  <a:gd name="T12" fmla="*/ 119 w 158"/>
                  <a:gd name="T13" fmla="*/ 18 h 158"/>
                  <a:gd name="T14" fmla="*/ 107 w 158"/>
                  <a:gd name="T15" fmla="*/ 25 h 158"/>
                  <a:gd name="T16" fmla="*/ 98 w 158"/>
                  <a:gd name="T17" fmla="*/ 21 h 158"/>
                  <a:gd name="T18" fmla="*/ 95 w 158"/>
                  <a:gd name="T19" fmla="*/ 7 h 158"/>
                  <a:gd name="T20" fmla="*/ 84 w 158"/>
                  <a:gd name="T21" fmla="*/ 0 h 158"/>
                  <a:gd name="T22" fmla="*/ 74 w 158"/>
                  <a:gd name="T23" fmla="*/ 0 h 158"/>
                  <a:gd name="T24" fmla="*/ 64 w 158"/>
                  <a:gd name="T25" fmla="*/ 7 h 158"/>
                  <a:gd name="T26" fmla="*/ 61 w 158"/>
                  <a:gd name="T27" fmla="*/ 21 h 158"/>
                  <a:gd name="T28" fmla="*/ 52 w 158"/>
                  <a:gd name="T29" fmla="*/ 25 h 158"/>
                  <a:gd name="T30" fmla="*/ 40 w 158"/>
                  <a:gd name="T31" fmla="*/ 18 h 158"/>
                  <a:gd name="T32" fmla="*/ 27 w 158"/>
                  <a:gd name="T33" fmla="*/ 19 h 158"/>
                  <a:gd name="T34" fmla="*/ 20 w 158"/>
                  <a:gd name="T35" fmla="*/ 26 h 158"/>
                  <a:gd name="T36" fmla="*/ 18 w 158"/>
                  <a:gd name="T37" fmla="*/ 39 h 158"/>
                  <a:gd name="T38" fmla="*/ 26 w 158"/>
                  <a:gd name="T39" fmla="*/ 51 h 158"/>
                  <a:gd name="T40" fmla="*/ 22 w 158"/>
                  <a:gd name="T41" fmla="*/ 60 h 158"/>
                  <a:gd name="T42" fmla="*/ 8 w 158"/>
                  <a:gd name="T43" fmla="*/ 64 h 158"/>
                  <a:gd name="T44" fmla="*/ 0 w 158"/>
                  <a:gd name="T45" fmla="*/ 74 h 158"/>
                  <a:gd name="T46" fmla="*/ 0 w 158"/>
                  <a:gd name="T47" fmla="*/ 84 h 158"/>
                  <a:gd name="T48" fmla="*/ 8 w 158"/>
                  <a:gd name="T49" fmla="*/ 94 h 158"/>
                  <a:gd name="T50" fmla="*/ 22 w 158"/>
                  <a:gd name="T51" fmla="*/ 98 h 158"/>
                  <a:gd name="T52" fmla="*/ 26 w 158"/>
                  <a:gd name="T53" fmla="*/ 106 h 158"/>
                  <a:gd name="T54" fmla="*/ 18 w 158"/>
                  <a:gd name="T55" fmla="*/ 118 h 158"/>
                  <a:gd name="T56" fmla="*/ 20 w 158"/>
                  <a:gd name="T57" fmla="*/ 131 h 158"/>
                  <a:gd name="T58" fmla="*/ 27 w 158"/>
                  <a:gd name="T59" fmla="*/ 138 h 158"/>
                  <a:gd name="T60" fmla="*/ 40 w 158"/>
                  <a:gd name="T61" fmla="*/ 140 h 158"/>
                  <a:gd name="T62" fmla="*/ 52 w 158"/>
                  <a:gd name="T63" fmla="*/ 133 h 158"/>
                  <a:gd name="T64" fmla="*/ 61 w 158"/>
                  <a:gd name="T65" fmla="*/ 136 h 158"/>
                  <a:gd name="T66" fmla="*/ 64 w 158"/>
                  <a:gd name="T67" fmla="*/ 150 h 158"/>
                  <a:gd name="T68" fmla="*/ 74 w 158"/>
                  <a:gd name="T69" fmla="*/ 158 h 158"/>
                  <a:gd name="T70" fmla="*/ 84 w 158"/>
                  <a:gd name="T71" fmla="*/ 158 h 158"/>
                  <a:gd name="T72" fmla="*/ 95 w 158"/>
                  <a:gd name="T73" fmla="*/ 150 h 158"/>
                  <a:gd name="T74" fmla="*/ 98 w 158"/>
                  <a:gd name="T75" fmla="*/ 136 h 158"/>
                  <a:gd name="T76" fmla="*/ 107 w 158"/>
                  <a:gd name="T77" fmla="*/ 133 h 158"/>
                  <a:gd name="T78" fmla="*/ 119 w 158"/>
                  <a:gd name="T79" fmla="*/ 140 h 158"/>
                  <a:gd name="T80" fmla="*/ 132 w 158"/>
                  <a:gd name="T81" fmla="*/ 138 h 158"/>
                  <a:gd name="T82" fmla="*/ 139 w 158"/>
                  <a:gd name="T83" fmla="*/ 131 h 158"/>
                  <a:gd name="T84" fmla="*/ 141 w 158"/>
                  <a:gd name="T85" fmla="*/ 118 h 158"/>
                  <a:gd name="T86" fmla="*/ 133 w 158"/>
                  <a:gd name="T87" fmla="*/ 106 h 158"/>
                  <a:gd name="T88" fmla="*/ 137 w 158"/>
                  <a:gd name="T89" fmla="*/ 98 h 158"/>
                  <a:gd name="T90" fmla="*/ 151 w 158"/>
                  <a:gd name="T91" fmla="*/ 94 h 158"/>
                  <a:gd name="T92" fmla="*/ 158 w 158"/>
                  <a:gd name="T93" fmla="*/ 84 h 158"/>
                  <a:gd name="T94" fmla="*/ 158 w 158"/>
                  <a:gd name="T95" fmla="*/ 74 h 158"/>
                  <a:gd name="T96" fmla="*/ 151 w 158"/>
                  <a:gd name="T97" fmla="*/ 64 h 158"/>
                  <a:gd name="T98" fmla="*/ 79 w 158"/>
                  <a:gd name="T99" fmla="*/ 127 h 158"/>
                  <a:gd name="T100" fmla="*/ 32 w 158"/>
                  <a:gd name="T101" fmla="*/ 79 h 158"/>
                  <a:gd name="T102" fmla="*/ 79 w 158"/>
                  <a:gd name="T103" fmla="*/ 31 h 158"/>
                  <a:gd name="T104" fmla="*/ 127 w 158"/>
                  <a:gd name="T105" fmla="*/ 79 h 158"/>
                  <a:gd name="T106" fmla="*/ 79 w 158"/>
                  <a:gd name="T107" fmla="*/ 127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58" h="158">
                    <a:moveTo>
                      <a:pt x="151" y="64"/>
                    </a:moveTo>
                    <a:cubicBezTo>
                      <a:pt x="137" y="60"/>
                      <a:pt x="137" y="60"/>
                      <a:pt x="137" y="60"/>
                    </a:cubicBezTo>
                    <a:cubicBezTo>
                      <a:pt x="136" y="57"/>
                      <a:pt x="135" y="54"/>
                      <a:pt x="133" y="51"/>
                    </a:cubicBezTo>
                    <a:cubicBezTo>
                      <a:pt x="141" y="39"/>
                      <a:pt x="141" y="39"/>
                      <a:pt x="141" y="39"/>
                    </a:cubicBezTo>
                    <a:cubicBezTo>
                      <a:pt x="143" y="35"/>
                      <a:pt x="142" y="30"/>
                      <a:pt x="139" y="26"/>
                    </a:cubicBezTo>
                    <a:cubicBezTo>
                      <a:pt x="132" y="19"/>
                      <a:pt x="132" y="19"/>
                      <a:pt x="132" y="19"/>
                    </a:cubicBezTo>
                    <a:cubicBezTo>
                      <a:pt x="129" y="16"/>
                      <a:pt x="123" y="15"/>
                      <a:pt x="119" y="18"/>
                    </a:cubicBezTo>
                    <a:cubicBezTo>
                      <a:pt x="107" y="25"/>
                      <a:pt x="107" y="25"/>
                      <a:pt x="107" y="25"/>
                    </a:cubicBezTo>
                    <a:cubicBezTo>
                      <a:pt x="104" y="23"/>
                      <a:pt x="101" y="22"/>
                      <a:pt x="98" y="21"/>
                    </a:cubicBezTo>
                    <a:cubicBezTo>
                      <a:pt x="95" y="7"/>
                      <a:pt x="95" y="7"/>
                      <a:pt x="95" y="7"/>
                    </a:cubicBezTo>
                    <a:cubicBezTo>
                      <a:pt x="93" y="3"/>
                      <a:pt x="89" y="0"/>
                      <a:pt x="84" y="0"/>
                    </a:cubicBezTo>
                    <a:cubicBezTo>
                      <a:pt x="74" y="0"/>
                      <a:pt x="74" y="0"/>
                      <a:pt x="74" y="0"/>
                    </a:cubicBezTo>
                    <a:cubicBezTo>
                      <a:pt x="70" y="0"/>
                      <a:pt x="66" y="3"/>
                      <a:pt x="64" y="7"/>
                    </a:cubicBezTo>
                    <a:cubicBezTo>
                      <a:pt x="61" y="21"/>
                      <a:pt x="61" y="21"/>
                      <a:pt x="61" y="21"/>
                    </a:cubicBezTo>
                    <a:cubicBezTo>
                      <a:pt x="58" y="22"/>
                      <a:pt x="55" y="23"/>
                      <a:pt x="52" y="25"/>
                    </a:cubicBezTo>
                    <a:cubicBezTo>
                      <a:pt x="40" y="18"/>
                      <a:pt x="40" y="18"/>
                      <a:pt x="40" y="18"/>
                    </a:cubicBezTo>
                    <a:cubicBezTo>
                      <a:pt x="36" y="15"/>
                      <a:pt x="30" y="16"/>
                      <a:pt x="27" y="19"/>
                    </a:cubicBezTo>
                    <a:cubicBezTo>
                      <a:pt x="20" y="26"/>
                      <a:pt x="20" y="26"/>
                      <a:pt x="20" y="26"/>
                    </a:cubicBezTo>
                    <a:cubicBezTo>
                      <a:pt x="17" y="30"/>
                      <a:pt x="16" y="35"/>
                      <a:pt x="18" y="39"/>
                    </a:cubicBezTo>
                    <a:cubicBezTo>
                      <a:pt x="26" y="51"/>
                      <a:pt x="26" y="51"/>
                      <a:pt x="26" y="51"/>
                    </a:cubicBezTo>
                    <a:cubicBezTo>
                      <a:pt x="24" y="54"/>
                      <a:pt x="23" y="57"/>
                      <a:pt x="22" y="60"/>
                    </a:cubicBezTo>
                    <a:cubicBezTo>
                      <a:pt x="8" y="64"/>
                      <a:pt x="8" y="64"/>
                      <a:pt x="8" y="64"/>
                    </a:cubicBezTo>
                    <a:cubicBezTo>
                      <a:pt x="4" y="65"/>
                      <a:pt x="0" y="69"/>
                      <a:pt x="0" y="74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0" y="88"/>
                      <a:pt x="4" y="93"/>
                      <a:pt x="8" y="94"/>
                    </a:cubicBezTo>
                    <a:cubicBezTo>
                      <a:pt x="22" y="98"/>
                      <a:pt x="22" y="98"/>
                      <a:pt x="22" y="98"/>
                    </a:cubicBezTo>
                    <a:cubicBezTo>
                      <a:pt x="23" y="100"/>
                      <a:pt x="24" y="103"/>
                      <a:pt x="26" y="106"/>
                    </a:cubicBezTo>
                    <a:cubicBezTo>
                      <a:pt x="18" y="118"/>
                      <a:pt x="18" y="118"/>
                      <a:pt x="18" y="118"/>
                    </a:cubicBezTo>
                    <a:cubicBezTo>
                      <a:pt x="16" y="122"/>
                      <a:pt x="17" y="128"/>
                      <a:pt x="20" y="131"/>
                    </a:cubicBezTo>
                    <a:cubicBezTo>
                      <a:pt x="27" y="138"/>
                      <a:pt x="27" y="138"/>
                      <a:pt x="27" y="138"/>
                    </a:cubicBezTo>
                    <a:cubicBezTo>
                      <a:pt x="30" y="141"/>
                      <a:pt x="36" y="142"/>
                      <a:pt x="40" y="140"/>
                    </a:cubicBezTo>
                    <a:cubicBezTo>
                      <a:pt x="52" y="133"/>
                      <a:pt x="52" y="133"/>
                      <a:pt x="52" y="133"/>
                    </a:cubicBezTo>
                    <a:cubicBezTo>
                      <a:pt x="55" y="134"/>
                      <a:pt x="58" y="135"/>
                      <a:pt x="61" y="136"/>
                    </a:cubicBezTo>
                    <a:cubicBezTo>
                      <a:pt x="64" y="150"/>
                      <a:pt x="64" y="150"/>
                      <a:pt x="64" y="150"/>
                    </a:cubicBezTo>
                    <a:cubicBezTo>
                      <a:pt x="66" y="154"/>
                      <a:pt x="70" y="158"/>
                      <a:pt x="74" y="158"/>
                    </a:cubicBezTo>
                    <a:cubicBezTo>
                      <a:pt x="84" y="158"/>
                      <a:pt x="84" y="158"/>
                      <a:pt x="84" y="158"/>
                    </a:cubicBezTo>
                    <a:cubicBezTo>
                      <a:pt x="89" y="158"/>
                      <a:pt x="93" y="154"/>
                      <a:pt x="95" y="150"/>
                    </a:cubicBezTo>
                    <a:cubicBezTo>
                      <a:pt x="98" y="136"/>
                      <a:pt x="98" y="136"/>
                      <a:pt x="98" y="136"/>
                    </a:cubicBezTo>
                    <a:cubicBezTo>
                      <a:pt x="101" y="135"/>
                      <a:pt x="104" y="134"/>
                      <a:pt x="107" y="133"/>
                    </a:cubicBezTo>
                    <a:cubicBezTo>
                      <a:pt x="119" y="140"/>
                      <a:pt x="119" y="140"/>
                      <a:pt x="119" y="140"/>
                    </a:cubicBezTo>
                    <a:cubicBezTo>
                      <a:pt x="123" y="142"/>
                      <a:pt x="129" y="141"/>
                      <a:pt x="132" y="138"/>
                    </a:cubicBezTo>
                    <a:cubicBezTo>
                      <a:pt x="139" y="131"/>
                      <a:pt x="139" y="131"/>
                      <a:pt x="139" y="131"/>
                    </a:cubicBezTo>
                    <a:cubicBezTo>
                      <a:pt x="142" y="128"/>
                      <a:pt x="143" y="122"/>
                      <a:pt x="141" y="118"/>
                    </a:cubicBezTo>
                    <a:cubicBezTo>
                      <a:pt x="133" y="106"/>
                      <a:pt x="133" y="106"/>
                      <a:pt x="133" y="106"/>
                    </a:cubicBezTo>
                    <a:cubicBezTo>
                      <a:pt x="135" y="103"/>
                      <a:pt x="136" y="100"/>
                      <a:pt x="137" y="98"/>
                    </a:cubicBezTo>
                    <a:cubicBezTo>
                      <a:pt x="151" y="94"/>
                      <a:pt x="151" y="94"/>
                      <a:pt x="151" y="94"/>
                    </a:cubicBezTo>
                    <a:cubicBezTo>
                      <a:pt x="155" y="93"/>
                      <a:pt x="158" y="88"/>
                      <a:pt x="158" y="84"/>
                    </a:cubicBezTo>
                    <a:cubicBezTo>
                      <a:pt x="158" y="74"/>
                      <a:pt x="158" y="74"/>
                      <a:pt x="158" y="74"/>
                    </a:cubicBezTo>
                    <a:cubicBezTo>
                      <a:pt x="158" y="69"/>
                      <a:pt x="155" y="65"/>
                      <a:pt x="151" y="64"/>
                    </a:cubicBezTo>
                    <a:close/>
                    <a:moveTo>
                      <a:pt x="79" y="127"/>
                    </a:moveTo>
                    <a:cubicBezTo>
                      <a:pt x="53" y="127"/>
                      <a:pt x="32" y="105"/>
                      <a:pt x="32" y="79"/>
                    </a:cubicBezTo>
                    <a:cubicBezTo>
                      <a:pt x="32" y="52"/>
                      <a:pt x="53" y="31"/>
                      <a:pt x="79" y="31"/>
                    </a:cubicBezTo>
                    <a:cubicBezTo>
                      <a:pt x="106" y="31"/>
                      <a:pt x="127" y="52"/>
                      <a:pt x="127" y="79"/>
                    </a:cubicBezTo>
                    <a:cubicBezTo>
                      <a:pt x="127" y="105"/>
                      <a:pt x="106" y="127"/>
                      <a:pt x="79" y="12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4BA2AF80-2071-508E-56F4-4E8E5FF6D452}"/>
                  </a:ext>
                </a:extLst>
              </p:cNvPr>
              <p:cNvSpPr/>
              <p:nvPr/>
            </p:nvSpPr>
            <p:spPr>
              <a:xfrm>
                <a:off x="604542" y="1977953"/>
                <a:ext cx="538458" cy="538458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sp>
          <p:nvSpPr>
            <p:cNvPr id="15" name="Freeform 99">
              <a:extLst>
                <a:ext uri="{FF2B5EF4-FFF2-40B4-BE49-F238E27FC236}">
                  <a16:creationId xmlns:a16="http://schemas.microsoft.com/office/drawing/2014/main" id="{BA8369DF-E5FC-6456-7179-AFCFF5882F37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741792" y="2365046"/>
              <a:ext cx="345852" cy="305232"/>
            </a:xfrm>
            <a:custGeom>
              <a:avLst/>
              <a:gdLst>
                <a:gd name="T0" fmla="*/ 3040 w 3040"/>
                <a:gd name="T1" fmla="*/ 109 h 2884"/>
                <a:gd name="T2" fmla="*/ 2860 w 3040"/>
                <a:gd name="T3" fmla="*/ 256 h 2884"/>
                <a:gd name="T4" fmla="*/ 2673 w 3040"/>
                <a:gd name="T5" fmla="*/ 428 h 2884"/>
                <a:gd name="T6" fmla="*/ 2479 w 3040"/>
                <a:gd name="T7" fmla="*/ 627 h 2884"/>
                <a:gd name="T8" fmla="*/ 2277 w 3040"/>
                <a:gd name="T9" fmla="*/ 853 h 2884"/>
                <a:gd name="T10" fmla="*/ 2067 w 3040"/>
                <a:gd name="T11" fmla="*/ 1106 h 2884"/>
                <a:gd name="T12" fmla="*/ 1926 w 3040"/>
                <a:gd name="T13" fmla="*/ 1287 h 2884"/>
                <a:gd name="T14" fmla="*/ 1727 w 3040"/>
                <a:gd name="T15" fmla="*/ 1556 h 2884"/>
                <a:gd name="T16" fmla="*/ 1546 w 3040"/>
                <a:gd name="T17" fmla="*/ 1819 h 2884"/>
                <a:gd name="T18" fmla="*/ 1385 w 3040"/>
                <a:gd name="T19" fmla="*/ 2076 h 2884"/>
                <a:gd name="T20" fmla="*/ 1243 w 3040"/>
                <a:gd name="T21" fmla="*/ 2324 h 2884"/>
                <a:gd name="T22" fmla="*/ 1120 w 3040"/>
                <a:gd name="T23" fmla="*/ 2567 h 2884"/>
                <a:gd name="T24" fmla="*/ 865 w 3040"/>
                <a:gd name="T25" fmla="*/ 2741 h 2884"/>
                <a:gd name="T26" fmla="*/ 704 w 3040"/>
                <a:gd name="T27" fmla="*/ 2867 h 2884"/>
                <a:gd name="T28" fmla="*/ 675 w 3040"/>
                <a:gd name="T29" fmla="*/ 2856 h 2884"/>
                <a:gd name="T30" fmla="*/ 603 w 3040"/>
                <a:gd name="T31" fmla="*/ 2655 h 2884"/>
                <a:gd name="T32" fmla="*/ 498 w 3040"/>
                <a:gd name="T33" fmla="*/ 2404 h 2884"/>
                <a:gd name="T34" fmla="*/ 401 w 3040"/>
                <a:gd name="T35" fmla="*/ 2197 h 2884"/>
                <a:gd name="T36" fmla="*/ 311 w 3040"/>
                <a:gd name="T37" fmla="*/ 2034 h 2884"/>
                <a:gd name="T38" fmla="*/ 253 w 3040"/>
                <a:gd name="T39" fmla="*/ 1950 h 2884"/>
                <a:gd name="T40" fmla="*/ 164 w 3040"/>
                <a:gd name="T41" fmla="*/ 1855 h 2884"/>
                <a:gd name="T42" fmla="*/ 69 w 3040"/>
                <a:gd name="T43" fmla="*/ 1786 h 2884"/>
                <a:gd name="T44" fmla="*/ 0 w 3040"/>
                <a:gd name="T45" fmla="*/ 1757 h 2884"/>
                <a:gd name="T46" fmla="*/ 87 w 3040"/>
                <a:gd name="T47" fmla="*/ 1672 h 2884"/>
                <a:gd name="T48" fmla="*/ 172 w 3040"/>
                <a:gd name="T49" fmla="*/ 1605 h 2884"/>
                <a:gd name="T50" fmla="*/ 254 w 3040"/>
                <a:gd name="T51" fmla="*/ 1555 h 2884"/>
                <a:gd name="T52" fmla="*/ 332 w 3040"/>
                <a:gd name="T53" fmla="*/ 1523 h 2884"/>
                <a:gd name="T54" fmla="*/ 409 w 3040"/>
                <a:gd name="T55" fmla="*/ 1508 h 2884"/>
                <a:gd name="T56" fmla="*/ 444 w 3040"/>
                <a:gd name="T57" fmla="*/ 1507 h 2884"/>
                <a:gd name="T58" fmla="*/ 476 w 3040"/>
                <a:gd name="T59" fmla="*/ 1513 h 2884"/>
                <a:gd name="T60" fmla="*/ 543 w 3040"/>
                <a:gd name="T61" fmla="*/ 1551 h 2884"/>
                <a:gd name="T62" fmla="*/ 612 w 3040"/>
                <a:gd name="T63" fmla="*/ 1621 h 2884"/>
                <a:gd name="T64" fmla="*/ 683 w 3040"/>
                <a:gd name="T65" fmla="*/ 1723 h 2884"/>
                <a:gd name="T66" fmla="*/ 757 w 3040"/>
                <a:gd name="T67" fmla="*/ 1858 h 2884"/>
                <a:gd name="T68" fmla="*/ 877 w 3040"/>
                <a:gd name="T69" fmla="*/ 2117 h 2884"/>
                <a:gd name="T70" fmla="*/ 973 w 3040"/>
                <a:gd name="T71" fmla="*/ 1963 h 2884"/>
                <a:gd name="T72" fmla="*/ 1129 w 3040"/>
                <a:gd name="T73" fmla="*/ 1731 h 2884"/>
                <a:gd name="T74" fmla="*/ 1299 w 3040"/>
                <a:gd name="T75" fmla="*/ 1503 h 2884"/>
                <a:gd name="T76" fmla="*/ 1485 w 3040"/>
                <a:gd name="T77" fmla="*/ 1277 h 2884"/>
                <a:gd name="T78" fmla="*/ 1685 w 3040"/>
                <a:gd name="T79" fmla="*/ 1052 h 2884"/>
                <a:gd name="T80" fmla="*/ 1828 w 3040"/>
                <a:gd name="T81" fmla="*/ 904 h 2884"/>
                <a:gd name="T82" fmla="*/ 2045 w 3040"/>
                <a:gd name="T83" fmla="*/ 693 h 2884"/>
                <a:gd name="T84" fmla="*/ 2260 w 3040"/>
                <a:gd name="T85" fmla="*/ 502 h 2884"/>
                <a:gd name="T86" fmla="*/ 2474 w 3040"/>
                <a:gd name="T87" fmla="*/ 328 h 2884"/>
                <a:gd name="T88" fmla="*/ 2685 w 3040"/>
                <a:gd name="T89" fmla="*/ 175 h 2884"/>
                <a:gd name="T90" fmla="*/ 2893 w 3040"/>
                <a:gd name="T91" fmla="*/ 40 h 28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040" h="2884">
                  <a:moveTo>
                    <a:pt x="2963" y="0"/>
                  </a:moveTo>
                  <a:lnTo>
                    <a:pt x="3040" y="109"/>
                  </a:lnTo>
                  <a:lnTo>
                    <a:pt x="3040" y="109"/>
                  </a:lnTo>
                  <a:lnTo>
                    <a:pt x="2981" y="155"/>
                  </a:lnTo>
                  <a:lnTo>
                    <a:pt x="2922" y="203"/>
                  </a:lnTo>
                  <a:lnTo>
                    <a:pt x="2860" y="256"/>
                  </a:lnTo>
                  <a:lnTo>
                    <a:pt x="2799" y="309"/>
                  </a:lnTo>
                  <a:lnTo>
                    <a:pt x="2736" y="367"/>
                  </a:lnTo>
                  <a:lnTo>
                    <a:pt x="2673" y="428"/>
                  </a:lnTo>
                  <a:lnTo>
                    <a:pt x="2610" y="491"/>
                  </a:lnTo>
                  <a:lnTo>
                    <a:pt x="2545" y="557"/>
                  </a:lnTo>
                  <a:lnTo>
                    <a:pt x="2479" y="627"/>
                  </a:lnTo>
                  <a:lnTo>
                    <a:pt x="2413" y="699"/>
                  </a:lnTo>
                  <a:lnTo>
                    <a:pt x="2346" y="775"/>
                  </a:lnTo>
                  <a:lnTo>
                    <a:pt x="2277" y="853"/>
                  </a:lnTo>
                  <a:lnTo>
                    <a:pt x="2209" y="934"/>
                  </a:lnTo>
                  <a:lnTo>
                    <a:pt x="2139" y="1018"/>
                  </a:lnTo>
                  <a:lnTo>
                    <a:pt x="2067" y="1106"/>
                  </a:lnTo>
                  <a:lnTo>
                    <a:pt x="1996" y="1196"/>
                  </a:lnTo>
                  <a:lnTo>
                    <a:pt x="1996" y="1196"/>
                  </a:lnTo>
                  <a:lnTo>
                    <a:pt x="1926" y="1287"/>
                  </a:lnTo>
                  <a:lnTo>
                    <a:pt x="1858" y="1377"/>
                  </a:lnTo>
                  <a:lnTo>
                    <a:pt x="1790" y="1468"/>
                  </a:lnTo>
                  <a:lnTo>
                    <a:pt x="1727" y="1556"/>
                  </a:lnTo>
                  <a:lnTo>
                    <a:pt x="1664" y="1645"/>
                  </a:lnTo>
                  <a:lnTo>
                    <a:pt x="1605" y="1733"/>
                  </a:lnTo>
                  <a:lnTo>
                    <a:pt x="1546" y="1819"/>
                  </a:lnTo>
                  <a:lnTo>
                    <a:pt x="1490" y="1905"/>
                  </a:lnTo>
                  <a:lnTo>
                    <a:pt x="1437" y="1991"/>
                  </a:lnTo>
                  <a:lnTo>
                    <a:pt x="1385" y="2076"/>
                  </a:lnTo>
                  <a:lnTo>
                    <a:pt x="1336" y="2159"/>
                  </a:lnTo>
                  <a:lnTo>
                    <a:pt x="1289" y="2242"/>
                  </a:lnTo>
                  <a:lnTo>
                    <a:pt x="1243" y="2324"/>
                  </a:lnTo>
                  <a:lnTo>
                    <a:pt x="1200" y="2405"/>
                  </a:lnTo>
                  <a:lnTo>
                    <a:pt x="1160" y="2486"/>
                  </a:lnTo>
                  <a:lnTo>
                    <a:pt x="1120" y="2567"/>
                  </a:lnTo>
                  <a:lnTo>
                    <a:pt x="958" y="2676"/>
                  </a:lnTo>
                  <a:lnTo>
                    <a:pt x="958" y="2676"/>
                  </a:lnTo>
                  <a:lnTo>
                    <a:pt x="865" y="2741"/>
                  </a:lnTo>
                  <a:lnTo>
                    <a:pt x="788" y="2798"/>
                  </a:lnTo>
                  <a:lnTo>
                    <a:pt x="728" y="2845"/>
                  </a:lnTo>
                  <a:lnTo>
                    <a:pt x="704" y="2867"/>
                  </a:lnTo>
                  <a:lnTo>
                    <a:pt x="683" y="2884"/>
                  </a:lnTo>
                  <a:lnTo>
                    <a:pt x="683" y="2884"/>
                  </a:lnTo>
                  <a:lnTo>
                    <a:pt x="675" y="2856"/>
                  </a:lnTo>
                  <a:lnTo>
                    <a:pt x="666" y="2825"/>
                  </a:lnTo>
                  <a:lnTo>
                    <a:pt x="639" y="2748"/>
                  </a:lnTo>
                  <a:lnTo>
                    <a:pt x="603" y="2655"/>
                  </a:lnTo>
                  <a:lnTo>
                    <a:pt x="560" y="2546"/>
                  </a:lnTo>
                  <a:lnTo>
                    <a:pt x="498" y="2404"/>
                  </a:lnTo>
                  <a:lnTo>
                    <a:pt x="498" y="2404"/>
                  </a:lnTo>
                  <a:lnTo>
                    <a:pt x="465" y="2330"/>
                  </a:lnTo>
                  <a:lnTo>
                    <a:pt x="433" y="2261"/>
                  </a:lnTo>
                  <a:lnTo>
                    <a:pt x="401" y="2197"/>
                  </a:lnTo>
                  <a:lnTo>
                    <a:pt x="371" y="2137"/>
                  </a:lnTo>
                  <a:lnTo>
                    <a:pt x="340" y="2084"/>
                  </a:lnTo>
                  <a:lnTo>
                    <a:pt x="311" y="2034"/>
                  </a:lnTo>
                  <a:lnTo>
                    <a:pt x="281" y="1991"/>
                  </a:lnTo>
                  <a:lnTo>
                    <a:pt x="253" y="1950"/>
                  </a:lnTo>
                  <a:lnTo>
                    <a:pt x="253" y="1950"/>
                  </a:lnTo>
                  <a:lnTo>
                    <a:pt x="225" y="1915"/>
                  </a:lnTo>
                  <a:lnTo>
                    <a:pt x="195" y="1885"/>
                  </a:lnTo>
                  <a:lnTo>
                    <a:pt x="164" y="1855"/>
                  </a:lnTo>
                  <a:lnTo>
                    <a:pt x="133" y="1829"/>
                  </a:lnTo>
                  <a:lnTo>
                    <a:pt x="101" y="1807"/>
                  </a:lnTo>
                  <a:lnTo>
                    <a:pt x="69" y="1786"/>
                  </a:lnTo>
                  <a:lnTo>
                    <a:pt x="35" y="1770"/>
                  </a:lnTo>
                  <a:lnTo>
                    <a:pt x="0" y="1757"/>
                  </a:lnTo>
                  <a:lnTo>
                    <a:pt x="0" y="1757"/>
                  </a:lnTo>
                  <a:lnTo>
                    <a:pt x="30" y="1726"/>
                  </a:lnTo>
                  <a:lnTo>
                    <a:pt x="59" y="1698"/>
                  </a:lnTo>
                  <a:lnTo>
                    <a:pt x="87" y="1672"/>
                  </a:lnTo>
                  <a:lnTo>
                    <a:pt x="116" y="1646"/>
                  </a:lnTo>
                  <a:lnTo>
                    <a:pt x="144" y="1625"/>
                  </a:lnTo>
                  <a:lnTo>
                    <a:pt x="172" y="1605"/>
                  </a:lnTo>
                  <a:lnTo>
                    <a:pt x="199" y="1586"/>
                  </a:lnTo>
                  <a:lnTo>
                    <a:pt x="227" y="1568"/>
                  </a:lnTo>
                  <a:lnTo>
                    <a:pt x="254" y="1555"/>
                  </a:lnTo>
                  <a:lnTo>
                    <a:pt x="281" y="1542"/>
                  </a:lnTo>
                  <a:lnTo>
                    <a:pt x="307" y="1531"/>
                  </a:lnTo>
                  <a:lnTo>
                    <a:pt x="332" y="1523"/>
                  </a:lnTo>
                  <a:lnTo>
                    <a:pt x="359" y="1516"/>
                  </a:lnTo>
                  <a:lnTo>
                    <a:pt x="385" y="1511"/>
                  </a:lnTo>
                  <a:lnTo>
                    <a:pt x="409" y="1508"/>
                  </a:lnTo>
                  <a:lnTo>
                    <a:pt x="434" y="1507"/>
                  </a:lnTo>
                  <a:lnTo>
                    <a:pt x="434" y="1507"/>
                  </a:lnTo>
                  <a:lnTo>
                    <a:pt x="444" y="1507"/>
                  </a:lnTo>
                  <a:lnTo>
                    <a:pt x="455" y="1508"/>
                  </a:lnTo>
                  <a:lnTo>
                    <a:pt x="465" y="1511"/>
                  </a:lnTo>
                  <a:lnTo>
                    <a:pt x="476" y="1513"/>
                  </a:lnTo>
                  <a:lnTo>
                    <a:pt x="499" y="1523"/>
                  </a:lnTo>
                  <a:lnTo>
                    <a:pt x="521" y="1535"/>
                  </a:lnTo>
                  <a:lnTo>
                    <a:pt x="543" y="1551"/>
                  </a:lnTo>
                  <a:lnTo>
                    <a:pt x="566" y="1571"/>
                  </a:lnTo>
                  <a:lnTo>
                    <a:pt x="589" y="1594"/>
                  </a:lnTo>
                  <a:lnTo>
                    <a:pt x="612" y="1621"/>
                  </a:lnTo>
                  <a:lnTo>
                    <a:pt x="636" y="1652"/>
                  </a:lnTo>
                  <a:lnTo>
                    <a:pt x="659" y="1685"/>
                  </a:lnTo>
                  <a:lnTo>
                    <a:pt x="683" y="1723"/>
                  </a:lnTo>
                  <a:lnTo>
                    <a:pt x="708" y="1763"/>
                  </a:lnTo>
                  <a:lnTo>
                    <a:pt x="733" y="1809"/>
                  </a:lnTo>
                  <a:lnTo>
                    <a:pt x="757" y="1858"/>
                  </a:lnTo>
                  <a:lnTo>
                    <a:pt x="783" y="1909"/>
                  </a:lnTo>
                  <a:lnTo>
                    <a:pt x="808" y="1964"/>
                  </a:lnTo>
                  <a:lnTo>
                    <a:pt x="877" y="2117"/>
                  </a:lnTo>
                  <a:lnTo>
                    <a:pt x="877" y="2117"/>
                  </a:lnTo>
                  <a:lnTo>
                    <a:pt x="924" y="2039"/>
                  </a:lnTo>
                  <a:lnTo>
                    <a:pt x="973" y="1963"/>
                  </a:lnTo>
                  <a:lnTo>
                    <a:pt x="1024" y="1885"/>
                  </a:lnTo>
                  <a:lnTo>
                    <a:pt x="1075" y="1808"/>
                  </a:lnTo>
                  <a:lnTo>
                    <a:pt x="1129" y="1731"/>
                  </a:lnTo>
                  <a:lnTo>
                    <a:pt x="1184" y="1655"/>
                  </a:lnTo>
                  <a:lnTo>
                    <a:pt x="1242" y="1578"/>
                  </a:lnTo>
                  <a:lnTo>
                    <a:pt x="1299" y="1503"/>
                  </a:lnTo>
                  <a:lnTo>
                    <a:pt x="1360" y="1427"/>
                  </a:lnTo>
                  <a:lnTo>
                    <a:pt x="1422" y="1351"/>
                  </a:lnTo>
                  <a:lnTo>
                    <a:pt x="1485" y="1277"/>
                  </a:lnTo>
                  <a:lnTo>
                    <a:pt x="1551" y="1201"/>
                  </a:lnTo>
                  <a:lnTo>
                    <a:pt x="1618" y="1127"/>
                  </a:lnTo>
                  <a:lnTo>
                    <a:pt x="1685" y="1052"/>
                  </a:lnTo>
                  <a:lnTo>
                    <a:pt x="1757" y="978"/>
                  </a:lnTo>
                  <a:lnTo>
                    <a:pt x="1828" y="904"/>
                  </a:lnTo>
                  <a:lnTo>
                    <a:pt x="1828" y="904"/>
                  </a:lnTo>
                  <a:lnTo>
                    <a:pt x="1901" y="831"/>
                  </a:lnTo>
                  <a:lnTo>
                    <a:pt x="1973" y="761"/>
                  </a:lnTo>
                  <a:lnTo>
                    <a:pt x="2045" y="693"/>
                  </a:lnTo>
                  <a:lnTo>
                    <a:pt x="2117" y="627"/>
                  </a:lnTo>
                  <a:lnTo>
                    <a:pt x="2189" y="564"/>
                  </a:lnTo>
                  <a:lnTo>
                    <a:pt x="2260" y="502"/>
                  </a:lnTo>
                  <a:lnTo>
                    <a:pt x="2331" y="441"/>
                  </a:lnTo>
                  <a:lnTo>
                    <a:pt x="2402" y="383"/>
                  </a:lnTo>
                  <a:lnTo>
                    <a:pt x="2474" y="328"/>
                  </a:lnTo>
                  <a:lnTo>
                    <a:pt x="2544" y="274"/>
                  </a:lnTo>
                  <a:lnTo>
                    <a:pt x="2614" y="223"/>
                  </a:lnTo>
                  <a:lnTo>
                    <a:pt x="2685" y="175"/>
                  </a:lnTo>
                  <a:lnTo>
                    <a:pt x="2755" y="128"/>
                  </a:lnTo>
                  <a:lnTo>
                    <a:pt x="2825" y="83"/>
                  </a:lnTo>
                  <a:lnTo>
                    <a:pt x="2893" y="40"/>
                  </a:lnTo>
                  <a:lnTo>
                    <a:pt x="2963" y="0"/>
                  </a:lnTo>
                  <a:lnTo>
                    <a:pt x="2963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68576" tIns="34288" rIns="68576" bIns="3428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2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1887D801-4782-ED81-E7E2-DEFFBC46AA70}"/>
              </a:ext>
            </a:extLst>
          </p:cNvPr>
          <p:cNvGrpSpPr/>
          <p:nvPr/>
        </p:nvGrpSpPr>
        <p:grpSpPr>
          <a:xfrm>
            <a:off x="419099" y="3659131"/>
            <a:ext cx="8669338" cy="601760"/>
            <a:chOff x="550862" y="2274766"/>
            <a:chExt cx="8669338" cy="601760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C4FD0628-ABD9-5B37-78D2-44BD735879FD}"/>
                </a:ext>
              </a:extLst>
            </p:cNvPr>
            <p:cNvSpPr txBox="1">
              <a:spLocks/>
            </p:cNvSpPr>
            <p:nvPr/>
          </p:nvSpPr>
          <p:spPr>
            <a:xfrm>
              <a:off x="1379614" y="2437147"/>
              <a:ext cx="784058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+mn-ea"/>
                  <a:cs typeface="Arial" panose="020B0604020202020204" pitchFamily="34" charset="0"/>
                </a:rPr>
                <a:t>Insert Text Here</a:t>
              </a:r>
            </a:p>
          </p:txBody>
        </p: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CC5629A1-E482-CB9C-E0A4-23C44F649518}"/>
                </a:ext>
              </a:extLst>
            </p:cNvPr>
            <p:cNvGrpSpPr/>
            <p:nvPr/>
          </p:nvGrpSpPr>
          <p:grpSpPr>
            <a:xfrm>
              <a:off x="550862" y="2274766"/>
              <a:ext cx="603372" cy="601760"/>
              <a:chOff x="454269" y="1828800"/>
              <a:chExt cx="839005" cy="836765"/>
            </a:xfrm>
          </p:grpSpPr>
          <p:sp>
            <p:nvSpPr>
              <p:cNvPr id="22" name="Freeform 48">
                <a:extLst>
                  <a:ext uri="{FF2B5EF4-FFF2-40B4-BE49-F238E27FC236}">
                    <a16:creationId xmlns:a16="http://schemas.microsoft.com/office/drawing/2014/main" id="{54435D35-1F68-0449-098E-31566DDEC40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4269" y="1828800"/>
                <a:ext cx="839005" cy="836765"/>
              </a:xfrm>
              <a:custGeom>
                <a:avLst/>
                <a:gdLst>
                  <a:gd name="T0" fmla="*/ 151 w 158"/>
                  <a:gd name="T1" fmla="*/ 64 h 158"/>
                  <a:gd name="T2" fmla="*/ 137 w 158"/>
                  <a:gd name="T3" fmla="*/ 60 h 158"/>
                  <a:gd name="T4" fmla="*/ 133 w 158"/>
                  <a:gd name="T5" fmla="*/ 51 h 158"/>
                  <a:gd name="T6" fmla="*/ 141 w 158"/>
                  <a:gd name="T7" fmla="*/ 39 h 158"/>
                  <a:gd name="T8" fmla="*/ 139 w 158"/>
                  <a:gd name="T9" fmla="*/ 26 h 158"/>
                  <a:gd name="T10" fmla="*/ 132 w 158"/>
                  <a:gd name="T11" fmla="*/ 19 h 158"/>
                  <a:gd name="T12" fmla="*/ 119 w 158"/>
                  <a:gd name="T13" fmla="*/ 18 h 158"/>
                  <a:gd name="T14" fmla="*/ 107 w 158"/>
                  <a:gd name="T15" fmla="*/ 25 h 158"/>
                  <a:gd name="T16" fmla="*/ 98 w 158"/>
                  <a:gd name="T17" fmla="*/ 21 h 158"/>
                  <a:gd name="T18" fmla="*/ 95 w 158"/>
                  <a:gd name="T19" fmla="*/ 7 h 158"/>
                  <a:gd name="T20" fmla="*/ 84 w 158"/>
                  <a:gd name="T21" fmla="*/ 0 h 158"/>
                  <a:gd name="T22" fmla="*/ 74 w 158"/>
                  <a:gd name="T23" fmla="*/ 0 h 158"/>
                  <a:gd name="T24" fmla="*/ 64 w 158"/>
                  <a:gd name="T25" fmla="*/ 7 h 158"/>
                  <a:gd name="T26" fmla="*/ 61 w 158"/>
                  <a:gd name="T27" fmla="*/ 21 h 158"/>
                  <a:gd name="T28" fmla="*/ 52 w 158"/>
                  <a:gd name="T29" fmla="*/ 25 h 158"/>
                  <a:gd name="T30" fmla="*/ 40 w 158"/>
                  <a:gd name="T31" fmla="*/ 18 h 158"/>
                  <a:gd name="T32" fmla="*/ 27 w 158"/>
                  <a:gd name="T33" fmla="*/ 19 h 158"/>
                  <a:gd name="T34" fmla="*/ 20 w 158"/>
                  <a:gd name="T35" fmla="*/ 26 h 158"/>
                  <a:gd name="T36" fmla="*/ 18 w 158"/>
                  <a:gd name="T37" fmla="*/ 39 h 158"/>
                  <a:gd name="T38" fmla="*/ 26 w 158"/>
                  <a:gd name="T39" fmla="*/ 51 h 158"/>
                  <a:gd name="T40" fmla="*/ 22 w 158"/>
                  <a:gd name="T41" fmla="*/ 60 h 158"/>
                  <a:gd name="T42" fmla="*/ 8 w 158"/>
                  <a:gd name="T43" fmla="*/ 64 h 158"/>
                  <a:gd name="T44" fmla="*/ 0 w 158"/>
                  <a:gd name="T45" fmla="*/ 74 h 158"/>
                  <a:gd name="T46" fmla="*/ 0 w 158"/>
                  <a:gd name="T47" fmla="*/ 84 h 158"/>
                  <a:gd name="T48" fmla="*/ 8 w 158"/>
                  <a:gd name="T49" fmla="*/ 94 h 158"/>
                  <a:gd name="T50" fmla="*/ 22 w 158"/>
                  <a:gd name="T51" fmla="*/ 98 h 158"/>
                  <a:gd name="T52" fmla="*/ 26 w 158"/>
                  <a:gd name="T53" fmla="*/ 106 h 158"/>
                  <a:gd name="T54" fmla="*/ 18 w 158"/>
                  <a:gd name="T55" fmla="*/ 118 h 158"/>
                  <a:gd name="T56" fmla="*/ 20 w 158"/>
                  <a:gd name="T57" fmla="*/ 131 h 158"/>
                  <a:gd name="T58" fmla="*/ 27 w 158"/>
                  <a:gd name="T59" fmla="*/ 138 h 158"/>
                  <a:gd name="T60" fmla="*/ 40 w 158"/>
                  <a:gd name="T61" fmla="*/ 140 h 158"/>
                  <a:gd name="T62" fmla="*/ 52 w 158"/>
                  <a:gd name="T63" fmla="*/ 133 h 158"/>
                  <a:gd name="T64" fmla="*/ 61 w 158"/>
                  <a:gd name="T65" fmla="*/ 136 h 158"/>
                  <a:gd name="T66" fmla="*/ 64 w 158"/>
                  <a:gd name="T67" fmla="*/ 150 h 158"/>
                  <a:gd name="T68" fmla="*/ 74 w 158"/>
                  <a:gd name="T69" fmla="*/ 158 h 158"/>
                  <a:gd name="T70" fmla="*/ 84 w 158"/>
                  <a:gd name="T71" fmla="*/ 158 h 158"/>
                  <a:gd name="T72" fmla="*/ 95 w 158"/>
                  <a:gd name="T73" fmla="*/ 150 h 158"/>
                  <a:gd name="T74" fmla="*/ 98 w 158"/>
                  <a:gd name="T75" fmla="*/ 136 h 158"/>
                  <a:gd name="T76" fmla="*/ 107 w 158"/>
                  <a:gd name="T77" fmla="*/ 133 h 158"/>
                  <a:gd name="T78" fmla="*/ 119 w 158"/>
                  <a:gd name="T79" fmla="*/ 140 h 158"/>
                  <a:gd name="T80" fmla="*/ 132 w 158"/>
                  <a:gd name="T81" fmla="*/ 138 h 158"/>
                  <a:gd name="T82" fmla="*/ 139 w 158"/>
                  <a:gd name="T83" fmla="*/ 131 h 158"/>
                  <a:gd name="T84" fmla="*/ 141 w 158"/>
                  <a:gd name="T85" fmla="*/ 118 h 158"/>
                  <a:gd name="T86" fmla="*/ 133 w 158"/>
                  <a:gd name="T87" fmla="*/ 106 h 158"/>
                  <a:gd name="T88" fmla="*/ 137 w 158"/>
                  <a:gd name="T89" fmla="*/ 98 h 158"/>
                  <a:gd name="T90" fmla="*/ 151 w 158"/>
                  <a:gd name="T91" fmla="*/ 94 h 158"/>
                  <a:gd name="T92" fmla="*/ 158 w 158"/>
                  <a:gd name="T93" fmla="*/ 84 h 158"/>
                  <a:gd name="T94" fmla="*/ 158 w 158"/>
                  <a:gd name="T95" fmla="*/ 74 h 158"/>
                  <a:gd name="T96" fmla="*/ 151 w 158"/>
                  <a:gd name="T97" fmla="*/ 64 h 158"/>
                  <a:gd name="T98" fmla="*/ 79 w 158"/>
                  <a:gd name="T99" fmla="*/ 127 h 158"/>
                  <a:gd name="T100" fmla="*/ 32 w 158"/>
                  <a:gd name="T101" fmla="*/ 79 h 158"/>
                  <a:gd name="T102" fmla="*/ 79 w 158"/>
                  <a:gd name="T103" fmla="*/ 31 h 158"/>
                  <a:gd name="T104" fmla="*/ 127 w 158"/>
                  <a:gd name="T105" fmla="*/ 79 h 158"/>
                  <a:gd name="T106" fmla="*/ 79 w 158"/>
                  <a:gd name="T107" fmla="*/ 127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58" h="158">
                    <a:moveTo>
                      <a:pt x="151" y="64"/>
                    </a:moveTo>
                    <a:cubicBezTo>
                      <a:pt x="137" y="60"/>
                      <a:pt x="137" y="60"/>
                      <a:pt x="137" y="60"/>
                    </a:cubicBezTo>
                    <a:cubicBezTo>
                      <a:pt x="136" y="57"/>
                      <a:pt x="135" y="54"/>
                      <a:pt x="133" y="51"/>
                    </a:cubicBezTo>
                    <a:cubicBezTo>
                      <a:pt x="141" y="39"/>
                      <a:pt x="141" y="39"/>
                      <a:pt x="141" y="39"/>
                    </a:cubicBezTo>
                    <a:cubicBezTo>
                      <a:pt x="143" y="35"/>
                      <a:pt x="142" y="30"/>
                      <a:pt x="139" y="26"/>
                    </a:cubicBezTo>
                    <a:cubicBezTo>
                      <a:pt x="132" y="19"/>
                      <a:pt x="132" y="19"/>
                      <a:pt x="132" y="19"/>
                    </a:cubicBezTo>
                    <a:cubicBezTo>
                      <a:pt x="129" y="16"/>
                      <a:pt x="123" y="15"/>
                      <a:pt x="119" y="18"/>
                    </a:cubicBezTo>
                    <a:cubicBezTo>
                      <a:pt x="107" y="25"/>
                      <a:pt x="107" y="25"/>
                      <a:pt x="107" y="25"/>
                    </a:cubicBezTo>
                    <a:cubicBezTo>
                      <a:pt x="104" y="23"/>
                      <a:pt x="101" y="22"/>
                      <a:pt x="98" y="21"/>
                    </a:cubicBezTo>
                    <a:cubicBezTo>
                      <a:pt x="95" y="7"/>
                      <a:pt x="95" y="7"/>
                      <a:pt x="95" y="7"/>
                    </a:cubicBezTo>
                    <a:cubicBezTo>
                      <a:pt x="93" y="3"/>
                      <a:pt x="89" y="0"/>
                      <a:pt x="84" y="0"/>
                    </a:cubicBezTo>
                    <a:cubicBezTo>
                      <a:pt x="74" y="0"/>
                      <a:pt x="74" y="0"/>
                      <a:pt x="74" y="0"/>
                    </a:cubicBezTo>
                    <a:cubicBezTo>
                      <a:pt x="70" y="0"/>
                      <a:pt x="66" y="3"/>
                      <a:pt x="64" y="7"/>
                    </a:cubicBezTo>
                    <a:cubicBezTo>
                      <a:pt x="61" y="21"/>
                      <a:pt x="61" y="21"/>
                      <a:pt x="61" y="21"/>
                    </a:cubicBezTo>
                    <a:cubicBezTo>
                      <a:pt x="58" y="22"/>
                      <a:pt x="55" y="23"/>
                      <a:pt x="52" y="25"/>
                    </a:cubicBezTo>
                    <a:cubicBezTo>
                      <a:pt x="40" y="18"/>
                      <a:pt x="40" y="18"/>
                      <a:pt x="40" y="18"/>
                    </a:cubicBezTo>
                    <a:cubicBezTo>
                      <a:pt x="36" y="15"/>
                      <a:pt x="30" y="16"/>
                      <a:pt x="27" y="19"/>
                    </a:cubicBezTo>
                    <a:cubicBezTo>
                      <a:pt x="20" y="26"/>
                      <a:pt x="20" y="26"/>
                      <a:pt x="20" y="26"/>
                    </a:cubicBezTo>
                    <a:cubicBezTo>
                      <a:pt x="17" y="30"/>
                      <a:pt x="16" y="35"/>
                      <a:pt x="18" y="39"/>
                    </a:cubicBezTo>
                    <a:cubicBezTo>
                      <a:pt x="26" y="51"/>
                      <a:pt x="26" y="51"/>
                      <a:pt x="26" y="51"/>
                    </a:cubicBezTo>
                    <a:cubicBezTo>
                      <a:pt x="24" y="54"/>
                      <a:pt x="23" y="57"/>
                      <a:pt x="22" y="60"/>
                    </a:cubicBezTo>
                    <a:cubicBezTo>
                      <a:pt x="8" y="64"/>
                      <a:pt x="8" y="64"/>
                      <a:pt x="8" y="64"/>
                    </a:cubicBezTo>
                    <a:cubicBezTo>
                      <a:pt x="4" y="65"/>
                      <a:pt x="0" y="69"/>
                      <a:pt x="0" y="74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0" y="88"/>
                      <a:pt x="4" y="93"/>
                      <a:pt x="8" y="94"/>
                    </a:cubicBezTo>
                    <a:cubicBezTo>
                      <a:pt x="22" y="98"/>
                      <a:pt x="22" y="98"/>
                      <a:pt x="22" y="98"/>
                    </a:cubicBezTo>
                    <a:cubicBezTo>
                      <a:pt x="23" y="100"/>
                      <a:pt x="24" y="103"/>
                      <a:pt x="26" y="106"/>
                    </a:cubicBezTo>
                    <a:cubicBezTo>
                      <a:pt x="18" y="118"/>
                      <a:pt x="18" y="118"/>
                      <a:pt x="18" y="118"/>
                    </a:cubicBezTo>
                    <a:cubicBezTo>
                      <a:pt x="16" y="122"/>
                      <a:pt x="17" y="128"/>
                      <a:pt x="20" y="131"/>
                    </a:cubicBezTo>
                    <a:cubicBezTo>
                      <a:pt x="27" y="138"/>
                      <a:pt x="27" y="138"/>
                      <a:pt x="27" y="138"/>
                    </a:cubicBezTo>
                    <a:cubicBezTo>
                      <a:pt x="30" y="141"/>
                      <a:pt x="36" y="142"/>
                      <a:pt x="40" y="140"/>
                    </a:cubicBezTo>
                    <a:cubicBezTo>
                      <a:pt x="52" y="133"/>
                      <a:pt x="52" y="133"/>
                      <a:pt x="52" y="133"/>
                    </a:cubicBezTo>
                    <a:cubicBezTo>
                      <a:pt x="55" y="134"/>
                      <a:pt x="58" y="135"/>
                      <a:pt x="61" y="136"/>
                    </a:cubicBezTo>
                    <a:cubicBezTo>
                      <a:pt x="64" y="150"/>
                      <a:pt x="64" y="150"/>
                      <a:pt x="64" y="150"/>
                    </a:cubicBezTo>
                    <a:cubicBezTo>
                      <a:pt x="66" y="154"/>
                      <a:pt x="70" y="158"/>
                      <a:pt x="74" y="158"/>
                    </a:cubicBezTo>
                    <a:cubicBezTo>
                      <a:pt x="84" y="158"/>
                      <a:pt x="84" y="158"/>
                      <a:pt x="84" y="158"/>
                    </a:cubicBezTo>
                    <a:cubicBezTo>
                      <a:pt x="89" y="158"/>
                      <a:pt x="93" y="154"/>
                      <a:pt x="95" y="150"/>
                    </a:cubicBezTo>
                    <a:cubicBezTo>
                      <a:pt x="98" y="136"/>
                      <a:pt x="98" y="136"/>
                      <a:pt x="98" y="136"/>
                    </a:cubicBezTo>
                    <a:cubicBezTo>
                      <a:pt x="101" y="135"/>
                      <a:pt x="104" y="134"/>
                      <a:pt x="107" y="133"/>
                    </a:cubicBezTo>
                    <a:cubicBezTo>
                      <a:pt x="119" y="140"/>
                      <a:pt x="119" y="140"/>
                      <a:pt x="119" y="140"/>
                    </a:cubicBezTo>
                    <a:cubicBezTo>
                      <a:pt x="123" y="142"/>
                      <a:pt x="129" y="141"/>
                      <a:pt x="132" y="138"/>
                    </a:cubicBezTo>
                    <a:cubicBezTo>
                      <a:pt x="139" y="131"/>
                      <a:pt x="139" y="131"/>
                      <a:pt x="139" y="131"/>
                    </a:cubicBezTo>
                    <a:cubicBezTo>
                      <a:pt x="142" y="128"/>
                      <a:pt x="143" y="122"/>
                      <a:pt x="141" y="118"/>
                    </a:cubicBezTo>
                    <a:cubicBezTo>
                      <a:pt x="133" y="106"/>
                      <a:pt x="133" y="106"/>
                      <a:pt x="133" y="106"/>
                    </a:cubicBezTo>
                    <a:cubicBezTo>
                      <a:pt x="135" y="103"/>
                      <a:pt x="136" y="100"/>
                      <a:pt x="137" y="98"/>
                    </a:cubicBezTo>
                    <a:cubicBezTo>
                      <a:pt x="151" y="94"/>
                      <a:pt x="151" y="94"/>
                      <a:pt x="151" y="94"/>
                    </a:cubicBezTo>
                    <a:cubicBezTo>
                      <a:pt x="155" y="93"/>
                      <a:pt x="158" y="88"/>
                      <a:pt x="158" y="84"/>
                    </a:cubicBezTo>
                    <a:cubicBezTo>
                      <a:pt x="158" y="74"/>
                      <a:pt x="158" y="74"/>
                      <a:pt x="158" y="74"/>
                    </a:cubicBezTo>
                    <a:cubicBezTo>
                      <a:pt x="158" y="69"/>
                      <a:pt x="155" y="65"/>
                      <a:pt x="151" y="64"/>
                    </a:cubicBezTo>
                    <a:close/>
                    <a:moveTo>
                      <a:pt x="79" y="127"/>
                    </a:moveTo>
                    <a:cubicBezTo>
                      <a:pt x="53" y="127"/>
                      <a:pt x="32" y="105"/>
                      <a:pt x="32" y="79"/>
                    </a:cubicBezTo>
                    <a:cubicBezTo>
                      <a:pt x="32" y="52"/>
                      <a:pt x="53" y="31"/>
                      <a:pt x="79" y="31"/>
                    </a:cubicBezTo>
                    <a:cubicBezTo>
                      <a:pt x="106" y="31"/>
                      <a:pt x="127" y="52"/>
                      <a:pt x="127" y="79"/>
                    </a:cubicBezTo>
                    <a:cubicBezTo>
                      <a:pt x="127" y="105"/>
                      <a:pt x="106" y="127"/>
                      <a:pt x="79" y="12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4B7057F8-B748-C5E9-D9A9-75E7CA74A6A7}"/>
                  </a:ext>
                </a:extLst>
              </p:cNvPr>
              <p:cNvSpPr/>
              <p:nvPr/>
            </p:nvSpPr>
            <p:spPr>
              <a:xfrm>
                <a:off x="604542" y="1977953"/>
                <a:ext cx="538458" cy="538458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sp>
          <p:nvSpPr>
            <p:cNvPr id="21" name="Freeform 99">
              <a:extLst>
                <a:ext uri="{FF2B5EF4-FFF2-40B4-BE49-F238E27FC236}">
                  <a16:creationId xmlns:a16="http://schemas.microsoft.com/office/drawing/2014/main" id="{B04E97BB-C475-7E3D-84DF-EF1F8A688FB3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741792" y="2365046"/>
              <a:ext cx="345852" cy="305232"/>
            </a:xfrm>
            <a:custGeom>
              <a:avLst/>
              <a:gdLst>
                <a:gd name="T0" fmla="*/ 3040 w 3040"/>
                <a:gd name="T1" fmla="*/ 109 h 2884"/>
                <a:gd name="T2" fmla="*/ 2860 w 3040"/>
                <a:gd name="T3" fmla="*/ 256 h 2884"/>
                <a:gd name="T4" fmla="*/ 2673 w 3040"/>
                <a:gd name="T5" fmla="*/ 428 h 2884"/>
                <a:gd name="T6" fmla="*/ 2479 w 3040"/>
                <a:gd name="T7" fmla="*/ 627 h 2884"/>
                <a:gd name="T8" fmla="*/ 2277 w 3040"/>
                <a:gd name="T9" fmla="*/ 853 h 2884"/>
                <a:gd name="T10" fmla="*/ 2067 w 3040"/>
                <a:gd name="T11" fmla="*/ 1106 h 2884"/>
                <a:gd name="T12" fmla="*/ 1926 w 3040"/>
                <a:gd name="T13" fmla="*/ 1287 h 2884"/>
                <a:gd name="T14" fmla="*/ 1727 w 3040"/>
                <a:gd name="T15" fmla="*/ 1556 h 2884"/>
                <a:gd name="T16" fmla="*/ 1546 w 3040"/>
                <a:gd name="T17" fmla="*/ 1819 h 2884"/>
                <a:gd name="T18" fmla="*/ 1385 w 3040"/>
                <a:gd name="T19" fmla="*/ 2076 h 2884"/>
                <a:gd name="T20" fmla="*/ 1243 w 3040"/>
                <a:gd name="T21" fmla="*/ 2324 h 2884"/>
                <a:gd name="T22" fmla="*/ 1120 w 3040"/>
                <a:gd name="T23" fmla="*/ 2567 h 2884"/>
                <a:gd name="T24" fmla="*/ 865 w 3040"/>
                <a:gd name="T25" fmla="*/ 2741 h 2884"/>
                <a:gd name="T26" fmla="*/ 704 w 3040"/>
                <a:gd name="T27" fmla="*/ 2867 h 2884"/>
                <a:gd name="T28" fmla="*/ 675 w 3040"/>
                <a:gd name="T29" fmla="*/ 2856 h 2884"/>
                <a:gd name="T30" fmla="*/ 603 w 3040"/>
                <a:gd name="T31" fmla="*/ 2655 h 2884"/>
                <a:gd name="T32" fmla="*/ 498 w 3040"/>
                <a:gd name="T33" fmla="*/ 2404 h 2884"/>
                <a:gd name="T34" fmla="*/ 401 w 3040"/>
                <a:gd name="T35" fmla="*/ 2197 h 2884"/>
                <a:gd name="T36" fmla="*/ 311 w 3040"/>
                <a:gd name="T37" fmla="*/ 2034 h 2884"/>
                <a:gd name="T38" fmla="*/ 253 w 3040"/>
                <a:gd name="T39" fmla="*/ 1950 h 2884"/>
                <a:gd name="T40" fmla="*/ 164 w 3040"/>
                <a:gd name="T41" fmla="*/ 1855 h 2884"/>
                <a:gd name="T42" fmla="*/ 69 w 3040"/>
                <a:gd name="T43" fmla="*/ 1786 h 2884"/>
                <a:gd name="T44" fmla="*/ 0 w 3040"/>
                <a:gd name="T45" fmla="*/ 1757 h 2884"/>
                <a:gd name="T46" fmla="*/ 87 w 3040"/>
                <a:gd name="T47" fmla="*/ 1672 h 2884"/>
                <a:gd name="T48" fmla="*/ 172 w 3040"/>
                <a:gd name="T49" fmla="*/ 1605 h 2884"/>
                <a:gd name="T50" fmla="*/ 254 w 3040"/>
                <a:gd name="T51" fmla="*/ 1555 h 2884"/>
                <a:gd name="T52" fmla="*/ 332 w 3040"/>
                <a:gd name="T53" fmla="*/ 1523 h 2884"/>
                <a:gd name="T54" fmla="*/ 409 w 3040"/>
                <a:gd name="T55" fmla="*/ 1508 h 2884"/>
                <a:gd name="T56" fmla="*/ 444 w 3040"/>
                <a:gd name="T57" fmla="*/ 1507 h 2884"/>
                <a:gd name="T58" fmla="*/ 476 w 3040"/>
                <a:gd name="T59" fmla="*/ 1513 h 2884"/>
                <a:gd name="T60" fmla="*/ 543 w 3040"/>
                <a:gd name="T61" fmla="*/ 1551 h 2884"/>
                <a:gd name="T62" fmla="*/ 612 w 3040"/>
                <a:gd name="T63" fmla="*/ 1621 h 2884"/>
                <a:gd name="T64" fmla="*/ 683 w 3040"/>
                <a:gd name="T65" fmla="*/ 1723 h 2884"/>
                <a:gd name="T66" fmla="*/ 757 w 3040"/>
                <a:gd name="T67" fmla="*/ 1858 h 2884"/>
                <a:gd name="T68" fmla="*/ 877 w 3040"/>
                <a:gd name="T69" fmla="*/ 2117 h 2884"/>
                <a:gd name="T70" fmla="*/ 973 w 3040"/>
                <a:gd name="T71" fmla="*/ 1963 h 2884"/>
                <a:gd name="T72" fmla="*/ 1129 w 3040"/>
                <a:gd name="T73" fmla="*/ 1731 h 2884"/>
                <a:gd name="T74" fmla="*/ 1299 w 3040"/>
                <a:gd name="T75" fmla="*/ 1503 h 2884"/>
                <a:gd name="T76" fmla="*/ 1485 w 3040"/>
                <a:gd name="T77" fmla="*/ 1277 h 2884"/>
                <a:gd name="T78" fmla="*/ 1685 w 3040"/>
                <a:gd name="T79" fmla="*/ 1052 h 2884"/>
                <a:gd name="T80" fmla="*/ 1828 w 3040"/>
                <a:gd name="T81" fmla="*/ 904 h 2884"/>
                <a:gd name="T82" fmla="*/ 2045 w 3040"/>
                <a:gd name="T83" fmla="*/ 693 h 2884"/>
                <a:gd name="T84" fmla="*/ 2260 w 3040"/>
                <a:gd name="T85" fmla="*/ 502 h 2884"/>
                <a:gd name="T86" fmla="*/ 2474 w 3040"/>
                <a:gd name="T87" fmla="*/ 328 h 2884"/>
                <a:gd name="T88" fmla="*/ 2685 w 3040"/>
                <a:gd name="T89" fmla="*/ 175 h 2884"/>
                <a:gd name="T90" fmla="*/ 2893 w 3040"/>
                <a:gd name="T91" fmla="*/ 40 h 28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040" h="2884">
                  <a:moveTo>
                    <a:pt x="2963" y="0"/>
                  </a:moveTo>
                  <a:lnTo>
                    <a:pt x="3040" y="109"/>
                  </a:lnTo>
                  <a:lnTo>
                    <a:pt x="3040" y="109"/>
                  </a:lnTo>
                  <a:lnTo>
                    <a:pt x="2981" y="155"/>
                  </a:lnTo>
                  <a:lnTo>
                    <a:pt x="2922" y="203"/>
                  </a:lnTo>
                  <a:lnTo>
                    <a:pt x="2860" y="256"/>
                  </a:lnTo>
                  <a:lnTo>
                    <a:pt x="2799" y="309"/>
                  </a:lnTo>
                  <a:lnTo>
                    <a:pt x="2736" y="367"/>
                  </a:lnTo>
                  <a:lnTo>
                    <a:pt x="2673" y="428"/>
                  </a:lnTo>
                  <a:lnTo>
                    <a:pt x="2610" y="491"/>
                  </a:lnTo>
                  <a:lnTo>
                    <a:pt x="2545" y="557"/>
                  </a:lnTo>
                  <a:lnTo>
                    <a:pt x="2479" y="627"/>
                  </a:lnTo>
                  <a:lnTo>
                    <a:pt x="2413" y="699"/>
                  </a:lnTo>
                  <a:lnTo>
                    <a:pt x="2346" y="775"/>
                  </a:lnTo>
                  <a:lnTo>
                    <a:pt x="2277" y="853"/>
                  </a:lnTo>
                  <a:lnTo>
                    <a:pt x="2209" y="934"/>
                  </a:lnTo>
                  <a:lnTo>
                    <a:pt x="2139" y="1018"/>
                  </a:lnTo>
                  <a:lnTo>
                    <a:pt x="2067" y="1106"/>
                  </a:lnTo>
                  <a:lnTo>
                    <a:pt x="1996" y="1196"/>
                  </a:lnTo>
                  <a:lnTo>
                    <a:pt x="1996" y="1196"/>
                  </a:lnTo>
                  <a:lnTo>
                    <a:pt x="1926" y="1287"/>
                  </a:lnTo>
                  <a:lnTo>
                    <a:pt x="1858" y="1377"/>
                  </a:lnTo>
                  <a:lnTo>
                    <a:pt x="1790" y="1468"/>
                  </a:lnTo>
                  <a:lnTo>
                    <a:pt x="1727" y="1556"/>
                  </a:lnTo>
                  <a:lnTo>
                    <a:pt x="1664" y="1645"/>
                  </a:lnTo>
                  <a:lnTo>
                    <a:pt x="1605" y="1733"/>
                  </a:lnTo>
                  <a:lnTo>
                    <a:pt x="1546" y="1819"/>
                  </a:lnTo>
                  <a:lnTo>
                    <a:pt x="1490" y="1905"/>
                  </a:lnTo>
                  <a:lnTo>
                    <a:pt x="1437" y="1991"/>
                  </a:lnTo>
                  <a:lnTo>
                    <a:pt x="1385" y="2076"/>
                  </a:lnTo>
                  <a:lnTo>
                    <a:pt x="1336" y="2159"/>
                  </a:lnTo>
                  <a:lnTo>
                    <a:pt x="1289" y="2242"/>
                  </a:lnTo>
                  <a:lnTo>
                    <a:pt x="1243" y="2324"/>
                  </a:lnTo>
                  <a:lnTo>
                    <a:pt x="1200" y="2405"/>
                  </a:lnTo>
                  <a:lnTo>
                    <a:pt x="1160" y="2486"/>
                  </a:lnTo>
                  <a:lnTo>
                    <a:pt x="1120" y="2567"/>
                  </a:lnTo>
                  <a:lnTo>
                    <a:pt x="958" y="2676"/>
                  </a:lnTo>
                  <a:lnTo>
                    <a:pt x="958" y="2676"/>
                  </a:lnTo>
                  <a:lnTo>
                    <a:pt x="865" y="2741"/>
                  </a:lnTo>
                  <a:lnTo>
                    <a:pt x="788" y="2798"/>
                  </a:lnTo>
                  <a:lnTo>
                    <a:pt x="728" y="2845"/>
                  </a:lnTo>
                  <a:lnTo>
                    <a:pt x="704" y="2867"/>
                  </a:lnTo>
                  <a:lnTo>
                    <a:pt x="683" y="2884"/>
                  </a:lnTo>
                  <a:lnTo>
                    <a:pt x="683" y="2884"/>
                  </a:lnTo>
                  <a:lnTo>
                    <a:pt x="675" y="2856"/>
                  </a:lnTo>
                  <a:lnTo>
                    <a:pt x="666" y="2825"/>
                  </a:lnTo>
                  <a:lnTo>
                    <a:pt x="639" y="2748"/>
                  </a:lnTo>
                  <a:lnTo>
                    <a:pt x="603" y="2655"/>
                  </a:lnTo>
                  <a:lnTo>
                    <a:pt x="560" y="2546"/>
                  </a:lnTo>
                  <a:lnTo>
                    <a:pt x="498" y="2404"/>
                  </a:lnTo>
                  <a:lnTo>
                    <a:pt x="498" y="2404"/>
                  </a:lnTo>
                  <a:lnTo>
                    <a:pt x="465" y="2330"/>
                  </a:lnTo>
                  <a:lnTo>
                    <a:pt x="433" y="2261"/>
                  </a:lnTo>
                  <a:lnTo>
                    <a:pt x="401" y="2197"/>
                  </a:lnTo>
                  <a:lnTo>
                    <a:pt x="371" y="2137"/>
                  </a:lnTo>
                  <a:lnTo>
                    <a:pt x="340" y="2084"/>
                  </a:lnTo>
                  <a:lnTo>
                    <a:pt x="311" y="2034"/>
                  </a:lnTo>
                  <a:lnTo>
                    <a:pt x="281" y="1991"/>
                  </a:lnTo>
                  <a:lnTo>
                    <a:pt x="253" y="1950"/>
                  </a:lnTo>
                  <a:lnTo>
                    <a:pt x="253" y="1950"/>
                  </a:lnTo>
                  <a:lnTo>
                    <a:pt x="225" y="1915"/>
                  </a:lnTo>
                  <a:lnTo>
                    <a:pt x="195" y="1885"/>
                  </a:lnTo>
                  <a:lnTo>
                    <a:pt x="164" y="1855"/>
                  </a:lnTo>
                  <a:lnTo>
                    <a:pt x="133" y="1829"/>
                  </a:lnTo>
                  <a:lnTo>
                    <a:pt x="101" y="1807"/>
                  </a:lnTo>
                  <a:lnTo>
                    <a:pt x="69" y="1786"/>
                  </a:lnTo>
                  <a:lnTo>
                    <a:pt x="35" y="1770"/>
                  </a:lnTo>
                  <a:lnTo>
                    <a:pt x="0" y="1757"/>
                  </a:lnTo>
                  <a:lnTo>
                    <a:pt x="0" y="1757"/>
                  </a:lnTo>
                  <a:lnTo>
                    <a:pt x="30" y="1726"/>
                  </a:lnTo>
                  <a:lnTo>
                    <a:pt x="59" y="1698"/>
                  </a:lnTo>
                  <a:lnTo>
                    <a:pt x="87" y="1672"/>
                  </a:lnTo>
                  <a:lnTo>
                    <a:pt x="116" y="1646"/>
                  </a:lnTo>
                  <a:lnTo>
                    <a:pt x="144" y="1625"/>
                  </a:lnTo>
                  <a:lnTo>
                    <a:pt x="172" y="1605"/>
                  </a:lnTo>
                  <a:lnTo>
                    <a:pt x="199" y="1586"/>
                  </a:lnTo>
                  <a:lnTo>
                    <a:pt x="227" y="1568"/>
                  </a:lnTo>
                  <a:lnTo>
                    <a:pt x="254" y="1555"/>
                  </a:lnTo>
                  <a:lnTo>
                    <a:pt x="281" y="1542"/>
                  </a:lnTo>
                  <a:lnTo>
                    <a:pt x="307" y="1531"/>
                  </a:lnTo>
                  <a:lnTo>
                    <a:pt x="332" y="1523"/>
                  </a:lnTo>
                  <a:lnTo>
                    <a:pt x="359" y="1516"/>
                  </a:lnTo>
                  <a:lnTo>
                    <a:pt x="385" y="1511"/>
                  </a:lnTo>
                  <a:lnTo>
                    <a:pt x="409" y="1508"/>
                  </a:lnTo>
                  <a:lnTo>
                    <a:pt x="434" y="1507"/>
                  </a:lnTo>
                  <a:lnTo>
                    <a:pt x="434" y="1507"/>
                  </a:lnTo>
                  <a:lnTo>
                    <a:pt x="444" y="1507"/>
                  </a:lnTo>
                  <a:lnTo>
                    <a:pt x="455" y="1508"/>
                  </a:lnTo>
                  <a:lnTo>
                    <a:pt x="465" y="1511"/>
                  </a:lnTo>
                  <a:lnTo>
                    <a:pt x="476" y="1513"/>
                  </a:lnTo>
                  <a:lnTo>
                    <a:pt x="499" y="1523"/>
                  </a:lnTo>
                  <a:lnTo>
                    <a:pt x="521" y="1535"/>
                  </a:lnTo>
                  <a:lnTo>
                    <a:pt x="543" y="1551"/>
                  </a:lnTo>
                  <a:lnTo>
                    <a:pt x="566" y="1571"/>
                  </a:lnTo>
                  <a:lnTo>
                    <a:pt x="589" y="1594"/>
                  </a:lnTo>
                  <a:lnTo>
                    <a:pt x="612" y="1621"/>
                  </a:lnTo>
                  <a:lnTo>
                    <a:pt x="636" y="1652"/>
                  </a:lnTo>
                  <a:lnTo>
                    <a:pt x="659" y="1685"/>
                  </a:lnTo>
                  <a:lnTo>
                    <a:pt x="683" y="1723"/>
                  </a:lnTo>
                  <a:lnTo>
                    <a:pt x="708" y="1763"/>
                  </a:lnTo>
                  <a:lnTo>
                    <a:pt x="733" y="1809"/>
                  </a:lnTo>
                  <a:lnTo>
                    <a:pt x="757" y="1858"/>
                  </a:lnTo>
                  <a:lnTo>
                    <a:pt x="783" y="1909"/>
                  </a:lnTo>
                  <a:lnTo>
                    <a:pt x="808" y="1964"/>
                  </a:lnTo>
                  <a:lnTo>
                    <a:pt x="877" y="2117"/>
                  </a:lnTo>
                  <a:lnTo>
                    <a:pt x="877" y="2117"/>
                  </a:lnTo>
                  <a:lnTo>
                    <a:pt x="924" y="2039"/>
                  </a:lnTo>
                  <a:lnTo>
                    <a:pt x="973" y="1963"/>
                  </a:lnTo>
                  <a:lnTo>
                    <a:pt x="1024" y="1885"/>
                  </a:lnTo>
                  <a:lnTo>
                    <a:pt x="1075" y="1808"/>
                  </a:lnTo>
                  <a:lnTo>
                    <a:pt x="1129" y="1731"/>
                  </a:lnTo>
                  <a:lnTo>
                    <a:pt x="1184" y="1655"/>
                  </a:lnTo>
                  <a:lnTo>
                    <a:pt x="1242" y="1578"/>
                  </a:lnTo>
                  <a:lnTo>
                    <a:pt x="1299" y="1503"/>
                  </a:lnTo>
                  <a:lnTo>
                    <a:pt x="1360" y="1427"/>
                  </a:lnTo>
                  <a:lnTo>
                    <a:pt x="1422" y="1351"/>
                  </a:lnTo>
                  <a:lnTo>
                    <a:pt x="1485" y="1277"/>
                  </a:lnTo>
                  <a:lnTo>
                    <a:pt x="1551" y="1201"/>
                  </a:lnTo>
                  <a:lnTo>
                    <a:pt x="1618" y="1127"/>
                  </a:lnTo>
                  <a:lnTo>
                    <a:pt x="1685" y="1052"/>
                  </a:lnTo>
                  <a:lnTo>
                    <a:pt x="1757" y="978"/>
                  </a:lnTo>
                  <a:lnTo>
                    <a:pt x="1828" y="904"/>
                  </a:lnTo>
                  <a:lnTo>
                    <a:pt x="1828" y="904"/>
                  </a:lnTo>
                  <a:lnTo>
                    <a:pt x="1901" y="831"/>
                  </a:lnTo>
                  <a:lnTo>
                    <a:pt x="1973" y="761"/>
                  </a:lnTo>
                  <a:lnTo>
                    <a:pt x="2045" y="693"/>
                  </a:lnTo>
                  <a:lnTo>
                    <a:pt x="2117" y="627"/>
                  </a:lnTo>
                  <a:lnTo>
                    <a:pt x="2189" y="564"/>
                  </a:lnTo>
                  <a:lnTo>
                    <a:pt x="2260" y="502"/>
                  </a:lnTo>
                  <a:lnTo>
                    <a:pt x="2331" y="441"/>
                  </a:lnTo>
                  <a:lnTo>
                    <a:pt x="2402" y="383"/>
                  </a:lnTo>
                  <a:lnTo>
                    <a:pt x="2474" y="328"/>
                  </a:lnTo>
                  <a:lnTo>
                    <a:pt x="2544" y="274"/>
                  </a:lnTo>
                  <a:lnTo>
                    <a:pt x="2614" y="223"/>
                  </a:lnTo>
                  <a:lnTo>
                    <a:pt x="2685" y="175"/>
                  </a:lnTo>
                  <a:lnTo>
                    <a:pt x="2755" y="128"/>
                  </a:lnTo>
                  <a:lnTo>
                    <a:pt x="2825" y="83"/>
                  </a:lnTo>
                  <a:lnTo>
                    <a:pt x="2893" y="40"/>
                  </a:lnTo>
                  <a:lnTo>
                    <a:pt x="2963" y="0"/>
                  </a:lnTo>
                  <a:lnTo>
                    <a:pt x="2963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68576" tIns="34288" rIns="68576" bIns="3428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2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7DF1E0B3-21BA-DF8F-572F-CBAF307E60A1}"/>
              </a:ext>
            </a:extLst>
          </p:cNvPr>
          <p:cNvGrpSpPr/>
          <p:nvPr/>
        </p:nvGrpSpPr>
        <p:grpSpPr>
          <a:xfrm>
            <a:off x="419099" y="4620945"/>
            <a:ext cx="8669338" cy="601760"/>
            <a:chOff x="550862" y="2274766"/>
            <a:chExt cx="8669338" cy="601760"/>
          </a:xfrm>
        </p:grpSpPr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2493769E-2A05-DA6F-D8D7-94624DC2D8FF}"/>
                </a:ext>
              </a:extLst>
            </p:cNvPr>
            <p:cNvSpPr txBox="1">
              <a:spLocks/>
            </p:cNvSpPr>
            <p:nvPr/>
          </p:nvSpPr>
          <p:spPr>
            <a:xfrm>
              <a:off x="1379614" y="2437147"/>
              <a:ext cx="784058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+mn-ea"/>
                  <a:cs typeface="Arial" panose="020B0604020202020204" pitchFamily="34" charset="0"/>
                </a:rPr>
                <a:t>Insert Text Here</a:t>
              </a:r>
            </a:p>
          </p:txBody>
        </p: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0A274BDF-52C7-3282-BCC4-7F6CB757B329}"/>
                </a:ext>
              </a:extLst>
            </p:cNvPr>
            <p:cNvGrpSpPr/>
            <p:nvPr/>
          </p:nvGrpSpPr>
          <p:grpSpPr>
            <a:xfrm>
              <a:off x="550862" y="2274766"/>
              <a:ext cx="603372" cy="601760"/>
              <a:chOff x="454269" y="1828800"/>
              <a:chExt cx="839005" cy="836765"/>
            </a:xfrm>
          </p:grpSpPr>
          <p:sp>
            <p:nvSpPr>
              <p:cNvPr id="28" name="Freeform 48">
                <a:extLst>
                  <a:ext uri="{FF2B5EF4-FFF2-40B4-BE49-F238E27FC236}">
                    <a16:creationId xmlns:a16="http://schemas.microsoft.com/office/drawing/2014/main" id="{6B077B3B-252D-4C94-6E26-7F8340A187E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4269" y="1828800"/>
                <a:ext cx="839005" cy="836765"/>
              </a:xfrm>
              <a:custGeom>
                <a:avLst/>
                <a:gdLst>
                  <a:gd name="T0" fmla="*/ 151 w 158"/>
                  <a:gd name="T1" fmla="*/ 64 h 158"/>
                  <a:gd name="T2" fmla="*/ 137 w 158"/>
                  <a:gd name="T3" fmla="*/ 60 h 158"/>
                  <a:gd name="T4" fmla="*/ 133 w 158"/>
                  <a:gd name="T5" fmla="*/ 51 h 158"/>
                  <a:gd name="T6" fmla="*/ 141 w 158"/>
                  <a:gd name="T7" fmla="*/ 39 h 158"/>
                  <a:gd name="T8" fmla="*/ 139 w 158"/>
                  <a:gd name="T9" fmla="*/ 26 h 158"/>
                  <a:gd name="T10" fmla="*/ 132 w 158"/>
                  <a:gd name="T11" fmla="*/ 19 h 158"/>
                  <a:gd name="T12" fmla="*/ 119 w 158"/>
                  <a:gd name="T13" fmla="*/ 18 h 158"/>
                  <a:gd name="T14" fmla="*/ 107 w 158"/>
                  <a:gd name="T15" fmla="*/ 25 h 158"/>
                  <a:gd name="T16" fmla="*/ 98 w 158"/>
                  <a:gd name="T17" fmla="*/ 21 h 158"/>
                  <a:gd name="T18" fmla="*/ 95 w 158"/>
                  <a:gd name="T19" fmla="*/ 7 h 158"/>
                  <a:gd name="T20" fmla="*/ 84 w 158"/>
                  <a:gd name="T21" fmla="*/ 0 h 158"/>
                  <a:gd name="T22" fmla="*/ 74 w 158"/>
                  <a:gd name="T23" fmla="*/ 0 h 158"/>
                  <a:gd name="T24" fmla="*/ 64 w 158"/>
                  <a:gd name="T25" fmla="*/ 7 h 158"/>
                  <a:gd name="T26" fmla="*/ 61 w 158"/>
                  <a:gd name="T27" fmla="*/ 21 h 158"/>
                  <a:gd name="T28" fmla="*/ 52 w 158"/>
                  <a:gd name="T29" fmla="*/ 25 h 158"/>
                  <a:gd name="T30" fmla="*/ 40 w 158"/>
                  <a:gd name="T31" fmla="*/ 18 h 158"/>
                  <a:gd name="T32" fmla="*/ 27 w 158"/>
                  <a:gd name="T33" fmla="*/ 19 h 158"/>
                  <a:gd name="T34" fmla="*/ 20 w 158"/>
                  <a:gd name="T35" fmla="*/ 26 h 158"/>
                  <a:gd name="T36" fmla="*/ 18 w 158"/>
                  <a:gd name="T37" fmla="*/ 39 h 158"/>
                  <a:gd name="T38" fmla="*/ 26 w 158"/>
                  <a:gd name="T39" fmla="*/ 51 h 158"/>
                  <a:gd name="T40" fmla="*/ 22 w 158"/>
                  <a:gd name="T41" fmla="*/ 60 h 158"/>
                  <a:gd name="T42" fmla="*/ 8 w 158"/>
                  <a:gd name="T43" fmla="*/ 64 h 158"/>
                  <a:gd name="T44" fmla="*/ 0 w 158"/>
                  <a:gd name="T45" fmla="*/ 74 h 158"/>
                  <a:gd name="T46" fmla="*/ 0 w 158"/>
                  <a:gd name="T47" fmla="*/ 84 h 158"/>
                  <a:gd name="T48" fmla="*/ 8 w 158"/>
                  <a:gd name="T49" fmla="*/ 94 h 158"/>
                  <a:gd name="T50" fmla="*/ 22 w 158"/>
                  <a:gd name="T51" fmla="*/ 98 h 158"/>
                  <a:gd name="T52" fmla="*/ 26 w 158"/>
                  <a:gd name="T53" fmla="*/ 106 h 158"/>
                  <a:gd name="T54" fmla="*/ 18 w 158"/>
                  <a:gd name="T55" fmla="*/ 118 h 158"/>
                  <a:gd name="T56" fmla="*/ 20 w 158"/>
                  <a:gd name="T57" fmla="*/ 131 h 158"/>
                  <a:gd name="T58" fmla="*/ 27 w 158"/>
                  <a:gd name="T59" fmla="*/ 138 h 158"/>
                  <a:gd name="T60" fmla="*/ 40 w 158"/>
                  <a:gd name="T61" fmla="*/ 140 h 158"/>
                  <a:gd name="T62" fmla="*/ 52 w 158"/>
                  <a:gd name="T63" fmla="*/ 133 h 158"/>
                  <a:gd name="T64" fmla="*/ 61 w 158"/>
                  <a:gd name="T65" fmla="*/ 136 h 158"/>
                  <a:gd name="T66" fmla="*/ 64 w 158"/>
                  <a:gd name="T67" fmla="*/ 150 h 158"/>
                  <a:gd name="T68" fmla="*/ 74 w 158"/>
                  <a:gd name="T69" fmla="*/ 158 h 158"/>
                  <a:gd name="T70" fmla="*/ 84 w 158"/>
                  <a:gd name="T71" fmla="*/ 158 h 158"/>
                  <a:gd name="T72" fmla="*/ 95 w 158"/>
                  <a:gd name="T73" fmla="*/ 150 h 158"/>
                  <a:gd name="T74" fmla="*/ 98 w 158"/>
                  <a:gd name="T75" fmla="*/ 136 h 158"/>
                  <a:gd name="T76" fmla="*/ 107 w 158"/>
                  <a:gd name="T77" fmla="*/ 133 h 158"/>
                  <a:gd name="T78" fmla="*/ 119 w 158"/>
                  <a:gd name="T79" fmla="*/ 140 h 158"/>
                  <a:gd name="T80" fmla="*/ 132 w 158"/>
                  <a:gd name="T81" fmla="*/ 138 h 158"/>
                  <a:gd name="T82" fmla="*/ 139 w 158"/>
                  <a:gd name="T83" fmla="*/ 131 h 158"/>
                  <a:gd name="T84" fmla="*/ 141 w 158"/>
                  <a:gd name="T85" fmla="*/ 118 h 158"/>
                  <a:gd name="T86" fmla="*/ 133 w 158"/>
                  <a:gd name="T87" fmla="*/ 106 h 158"/>
                  <a:gd name="T88" fmla="*/ 137 w 158"/>
                  <a:gd name="T89" fmla="*/ 98 h 158"/>
                  <a:gd name="T90" fmla="*/ 151 w 158"/>
                  <a:gd name="T91" fmla="*/ 94 h 158"/>
                  <a:gd name="T92" fmla="*/ 158 w 158"/>
                  <a:gd name="T93" fmla="*/ 84 h 158"/>
                  <a:gd name="T94" fmla="*/ 158 w 158"/>
                  <a:gd name="T95" fmla="*/ 74 h 158"/>
                  <a:gd name="T96" fmla="*/ 151 w 158"/>
                  <a:gd name="T97" fmla="*/ 64 h 158"/>
                  <a:gd name="T98" fmla="*/ 79 w 158"/>
                  <a:gd name="T99" fmla="*/ 127 h 158"/>
                  <a:gd name="T100" fmla="*/ 32 w 158"/>
                  <a:gd name="T101" fmla="*/ 79 h 158"/>
                  <a:gd name="T102" fmla="*/ 79 w 158"/>
                  <a:gd name="T103" fmla="*/ 31 h 158"/>
                  <a:gd name="T104" fmla="*/ 127 w 158"/>
                  <a:gd name="T105" fmla="*/ 79 h 158"/>
                  <a:gd name="T106" fmla="*/ 79 w 158"/>
                  <a:gd name="T107" fmla="*/ 127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58" h="158">
                    <a:moveTo>
                      <a:pt x="151" y="64"/>
                    </a:moveTo>
                    <a:cubicBezTo>
                      <a:pt x="137" y="60"/>
                      <a:pt x="137" y="60"/>
                      <a:pt x="137" y="60"/>
                    </a:cubicBezTo>
                    <a:cubicBezTo>
                      <a:pt x="136" y="57"/>
                      <a:pt x="135" y="54"/>
                      <a:pt x="133" y="51"/>
                    </a:cubicBezTo>
                    <a:cubicBezTo>
                      <a:pt x="141" y="39"/>
                      <a:pt x="141" y="39"/>
                      <a:pt x="141" y="39"/>
                    </a:cubicBezTo>
                    <a:cubicBezTo>
                      <a:pt x="143" y="35"/>
                      <a:pt x="142" y="30"/>
                      <a:pt x="139" y="26"/>
                    </a:cubicBezTo>
                    <a:cubicBezTo>
                      <a:pt x="132" y="19"/>
                      <a:pt x="132" y="19"/>
                      <a:pt x="132" y="19"/>
                    </a:cubicBezTo>
                    <a:cubicBezTo>
                      <a:pt x="129" y="16"/>
                      <a:pt x="123" y="15"/>
                      <a:pt x="119" y="18"/>
                    </a:cubicBezTo>
                    <a:cubicBezTo>
                      <a:pt x="107" y="25"/>
                      <a:pt x="107" y="25"/>
                      <a:pt x="107" y="25"/>
                    </a:cubicBezTo>
                    <a:cubicBezTo>
                      <a:pt x="104" y="23"/>
                      <a:pt x="101" y="22"/>
                      <a:pt x="98" y="21"/>
                    </a:cubicBezTo>
                    <a:cubicBezTo>
                      <a:pt x="95" y="7"/>
                      <a:pt x="95" y="7"/>
                      <a:pt x="95" y="7"/>
                    </a:cubicBezTo>
                    <a:cubicBezTo>
                      <a:pt x="93" y="3"/>
                      <a:pt x="89" y="0"/>
                      <a:pt x="84" y="0"/>
                    </a:cubicBezTo>
                    <a:cubicBezTo>
                      <a:pt x="74" y="0"/>
                      <a:pt x="74" y="0"/>
                      <a:pt x="74" y="0"/>
                    </a:cubicBezTo>
                    <a:cubicBezTo>
                      <a:pt x="70" y="0"/>
                      <a:pt x="66" y="3"/>
                      <a:pt x="64" y="7"/>
                    </a:cubicBezTo>
                    <a:cubicBezTo>
                      <a:pt x="61" y="21"/>
                      <a:pt x="61" y="21"/>
                      <a:pt x="61" y="21"/>
                    </a:cubicBezTo>
                    <a:cubicBezTo>
                      <a:pt x="58" y="22"/>
                      <a:pt x="55" y="23"/>
                      <a:pt x="52" y="25"/>
                    </a:cubicBezTo>
                    <a:cubicBezTo>
                      <a:pt x="40" y="18"/>
                      <a:pt x="40" y="18"/>
                      <a:pt x="40" y="18"/>
                    </a:cubicBezTo>
                    <a:cubicBezTo>
                      <a:pt x="36" y="15"/>
                      <a:pt x="30" y="16"/>
                      <a:pt x="27" y="19"/>
                    </a:cubicBezTo>
                    <a:cubicBezTo>
                      <a:pt x="20" y="26"/>
                      <a:pt x="20" y="26"/>
                      <a:pt x="20" y="26"/>
                    </a:cubicBezTo>
                    <a:cubicBezTo>
                      <a:pt x="17" y="30"/>
                      <a:pt x="16" y="35"/>
                      <a:pt x="18" y="39"/>
                    </a:cubicBezTo>
                    <a:cubicBezTo>
                      <a:pt x="26" y="51"/>
                      <a:pt x="26" y="51"/>
                      <a:pt x="26" y="51"/>
                    </a:cubicBezTo>
                    <a:cubicBezTo>
                      <a:pt x="24" y="54"/>
                      <a:pt x="23" y="57"/>
                      <a:pt x="22" y="60"/>
                    </a:cubicBezTo>
                    <a:cubicBezTo>
                      <a:pt x="8" y="64"/>
                      <a:pt x="8" y="64"/>
                      <a:pt x="8" y="64"/>
                    </a:cubicBezTo>
                    <a:cubicBezTo>
                      <a:pt x="4" y="65"/>
                      <a:pt x="0" y="69"/>
                      <a:pt x="0" y="74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0" y="88"/>
                      <a:pt x="4" y="93"/>
                      <a:pt x="8" y="94"/>
                    </a:cubicBezTo>
                    <a:cubicBezTo>
                      <a:pt x="22" y="98"/>
                      <a:pt x="22" y="98"/>
                      <a:pt x="22" y="98"/>
                    </a:cubicBezTo>
                    <a:cubicBezTo>
                      <a:pt x="23" y="100"/>
                      <a:pt x="24" y="103"/>
                      <a:pt x="26" y="106"/>
                    </a:cubicBezTo>
                    <a:cubicBezTo>
                      <a:pt x="18" y="118"/>
                      <a:pt x="18" y="118"/>
                      <a:pt x="18" y="118"/>
                    </a:cubicBezTo>
                    <a:cubicBezTo>
                      <a:pt x="16" y="122"/>
                      <a:pt x="17" y="128"/>
                      <a:pt x="20" y="131"/>
                    </a:cubicBezTo>
                    <a:cubicBezTo>
                      <a:pt x="27" y="138"/>
                      <a:pt x="27" y="138"/>
                      <a:pt x="27" y="138"/>
                    </a:cubicBezTo>
                    <a:cubicBezTo>
                      <a:pt x="30" y="141"/>
                      <a:pt x="36" y="142"/>
                      <a:pt x="40" y="140"/>
                    </a:cubicBezTo>
                    <a:cubicBezTo>
                      <a:pt x="52" y="133"/>
                      <a:pt x="52" y="133"/>
                      <a:pt x="52" y="133"/>
                    </a:cubicBezTo>
                    <a:cubicBezTo>
                      <a:pt x="55" y="134"/>
                      <a:pt x="58" y="135"/>
                      <a:pt x="61" y="136"/>
                    </a:cubicBezTo>
                    <a:cubicBezTo>
                      <a:pt x="64" y="150"/>
                      <a:pt x="64" y="150"/>
                      <a:pt x="64" y="150"/>
                    </a:cubicBezTo>
                    <a:cubicBezTo>
                      <a:pt x="66" y="154"/>
                      <a:pt x="70" y="158"/>
                      <a:pt x="74" y="158"/>
                    </a:cubicBezTo>
                    <a:cubicBezTo>
                      <a:pt x="84" y="158"/>
                      <a:pt x="84" y="158"/>
                      <a:pt x="84" y="158"/>
                    </a:cubicBezTo>
                    <a:cubicBezTo>
                      <a:pt x="89" y="158"/>
                      <a:pt x="93" y="154"/>
                      <a:pt x="95" y="150"/>
                    </a:cubicBezTo>
                    <a:cubicBezTo>
                      <a:pt x="98" y="136"/>
                      <a:pt x="98" y="136"/>
                      <a:pt x="98" y="136"/>
                    </a:cubicBezTo>
                    <a:cubicBezTo>
                      <a:pt x="101" y="135"/>
                      <a:pt x="104" y="134"/>
                      <a:pt x="107" y="133"/>
                    </a:cubicBezTo>
                    <a:cubicBezTo>
                      <a:pt x="119" y="140"/>
                      <a:pt x="119" y="140"/>
                      <a:pt x="119" y="140"/>
                    </a:cubicBezTo>
                    <a:cubicBezTo>
                      <a:pt x="123" y="142"/>
                      <a:pt x="129" y="141"/>
                      <a:pt x="132" y="138"/>
                    </a:cubicBezTo>
                    <a:cubicBezTo>
                      <a:pt x="139" y="131"/>
                      <a:pt x="139" y="131"/>
                      <a:pt x="139" y="131"/>
                    </a:cubicBezTo>
                    <a:cubicBezTo>
                      <a:pt x="142" y="128"/>
                      <a:pt x="143" y="122"/>
                      <a:pt x="141" y="118"/>
                    </a:cubicBezTo>
                    <a:cubicBezTo>
                      <a:pt x="133" y="106"/>
                      <a:pt x="133" y="106"/>
                      <a:pt x="133" y="106"/>
                    </a:cubicBezTo>
                    <a:cubicBezTo>
                      <a:pt x="135" y="103"/>
                      <a:pt x="136" y="100"/>
                      <a:pt x="137" y="98"/>
                    </a:cubicBezTo>
                    <a:cubicBezTo>
                      <a:pt x="151" y="94"/>
                      <a:pt x="151" y="94"/>
                      <a:pt x="151" y="94"/>
                    </a:cubicBezTo>
                    <a:cubicBezTo>
                      <a:pt x="155" y="93"/>
                      <a:pt x="158" y="88"/>
                      <a:pt x="158" y="84"/>
                    </a:cubicBezTo>
                    <a:cubicBezTo>
                      <a:pt x="158" y="74"/>
                      <a:pt x="158" y="74"/>
                      <a:pt x="158" y="74"/>
                    </a:cubicBezTo>
                    <a:cubicBezTo>
                      <a:pt x="158" y="69"/>
                      <a:pt x="155" y="65"/>
                      <a:pt x="151" y="64"/>
                    </a:cubicBezTo>
                    <a:close/>
                    <a:moveTo>
                      <a:pt x="79" y="127"/>
                    </a:moveTo>
                    <a:cubicBezTo>
                      <a:pt x="53" y="127"/>
                      <a:pt x="32" y="105"/>
                      <a:pt x="32" y="79"/>
                    </a:cubicBezTo>
                    <a:cubicBezTo>
                      <a:pt x="32" y="52"/>
                      <a:pt x="53" y="31"/>
                      <a:pt x="79" y="31"/>
                    </a:cubicBezTo>
                    <a:cubicBezTo>
                      <a:pt x="106" y="31"/>
                      <a:pt x="127" y="52"/>
                      <a:pt x="127" y="79"/>
                    </a:cubicBezTo>
                    <a:cubicBezTo>
                      <a:pt x="127" y="105"/>
                      <a:pt x="106" y="127"/>
                      <a:pt x="79" y="12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29" name="Oval 28">
                <a:extLst>
                  <a:ext uri="{FF2B5EF4-FFF2-40B4-BE49-F238E27FC236}">
                    <a16:creationId xmlns:a16="http://schemas.microsoft.com/office/drawing/2014/main" id="{7BE466A1-292A-6DA0-A598-09B4192D5FF1}"/>
                  </a:ext>
                </a:extLst>
              </p:cNvPr>
              <p:cNvSpPr/>
              <p:nvPr/>
            </p:nvSpPr>
            <p:spPr>
              <a:xfrm>
                <a:off x="604542" y="1977953"/>
                <a:ext cx="538458" cy="538458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sp>
          <p:nvSpPr>
            <p:cNvPr id="27" name="Freeform 99">
              <a:extLst>
                <a:ext uri="{FF2B5EF4-FFF2-40B4-BE49-F238E27FC236}">
                  <a16:creationId xmlns:a16="http://schemas.microsoft.com/office/drawing/2014/main" id="{3658258F-C81F-4507-E3BA-F414C5D2E7A2}"/>
                </a:ext>
              </a:extLst>
            </p:cNvPr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741792" y="2365046"/>
              <a:ext cx="345852" cy="305232"/>
            </a:xfrm>
            <a:custGeom>
              <a:avLst/>
              <a:gdLst>
                <a:gd name="T0" fmla="*/ 3040 w 3040"/>
                <a:gd name="T1" fmla="*/ 109 h 2884"/>
                <a:gd name="T2" fmla="*/ 2860 w 3040"/>
                <a:gd name="T3" fmla="*/ 256 h 2884"/>
                <a:gd name="T4" fmla="*/ 2673 w 3040"/>
                <a:gd name="T5" fmla="*/ 428 h 2884"/>
                <a:gd name="T6" fmla="*/ 2479 w 3040"/>
                <a:gd name="T7" fmla="*/ 627 h 2884"/>
                <a:gd name="T8" fmla="*/ 2277 w 3040"/>
                <a:gd name="T9" fmla="*/ 853 h 2884"/>
                <a:gd name="T10" fmla="*/ 2067 w 3040"/>
                <a:gd name="T11" fmla="*/ 1106 h 2884"/>
                <a:gd name="T12" fmla="*/ 1926 w 3040"/>
                <a:gd name="T13" fmla="*/ 1287 h 2884"/>
                <a:gd name="T14" fmla="*/ 1727 w 3040"/>
                <a:gd name="T15" fmla="*/ 1556 h 2884"/>
                <a:gd name="T16" fmla="*/ 1546 w 3040"/>
                <a:gd name="T17" fmla="*/ 1819 h 2884"/>
                <a:gd name="T18" fmla="*/ 1385 w 3040"/>
                <a:gd name="T19" fmla="*/ 2076 h 2884"/>
                <a:gd name="T20" fmla="*/ 1243 w 3040"/>
                <a:gd name="T21" fmla="*/ 2324 h 2884"/>
                <a:gd name="T22" fmla="*/ 1120 w 3040"/>
                <a:gd name="T23" fmla="*/ 2567 h 2884"/>
                <a:gd name="T24" fmla="*/ 865 w 3040"/>
                <a:gd name="T25" fmla="*/ 2741 h 2884"/>
                <a:gd name="T26" fmla="*/ 704 w 3040"/>
                <a:gd name="T27" fmla="*/ 2867 h 2884"/>
                <a:gd name="T28" fmla="*/ 675 w 3040"/>
                <a:gd name="T29" fmla="*/ 2856 h 2884"/>
                <a:gd name="T30" fmla="*/ 603 w 3040"/>
                <a:gd name="T31" fmla="*/ 2655 h 2884"/>
                <a:gd name="T32" fmla="*/ 498 w 3040"/>
                <a:gd name="T33" fmla="*/ 2404 h 2884"/>
                <a:gd name="T34" fmla="*/ 401 w 3040"/>
                <a:gd name="T35" fmla="*/ 2197 h 2884"/>
                <a:gd name="T36" fmla="*/ 311 w 3040"/>
                <a:gd name="T37" fmla="*/ 2034 h 2884"/>
                <a:gd name="T38" fmla="*/ 253 w 3040"/>
                <a:gd name="T39" fmla="*/ 1950 h 2884"/>
                <a:gd name="T40" fmla="*/ 164 w 3040"/>
                <a:gd name="T41" fmla="*/ 1855 h 2884"/>
                <a:gd name="T42" fmla="*/ 69 w 3040"/>
                <a:gd name="T43" fmla="*/ 1786 h 2884"/>
                <a:gd name="T44" fmla="*/ 0 w 3040"/>
                <a:gd name="T45" fmla="*/ 1757 h 2884"/>
                <a:gd name="T46" fmla="*/ 87 w 3040"/>
                <a:gd name="T47" fmla="*/ 1672 h 2884"/>
                <a:gd name="T48" fmla="*/ 172 w 3040"/>
                <a:gd name="T49" fmla="*/ 1605 h 2884"/>
                <a:gd name="T50" fmla="*/ 254 w 3040"/>
                <a:gd name="T51" fmla="*/ 1555 h 2884"/>
                <a:gd name="T52" fmla="*/ 332 w 3040"/>
                <a:gd name="T53" fmla="*/ 1523 h 2884"/>
                <a:gd name="T54" fmla="*/ 409 w 3040"/>
                <a:gd name="T55" fmla="*/ 1508 h 2884"/>
                <a:gd name="T56" fmla="*/ 444 w 3040"/>
                <a:gd name="T57" fmla="*/ 1507 h 2884"/>
                <a:gd name="T58" fmla="*/ 476 w 3040"/>
                <a:gd name="T59" fmla="*/ 1513 h 2884"/>
                <a:gd name="T60" fmla="*/ 543 w 3040"/>
                <a:gd name="T61" fmla="*/ 1551 h 2884"/>
                <a:gd name="T62" fmla="*/ 612 w 3040"/>
                <a:gd name="T63" fmla="*/ 1621 h 2884"/>
                <a:gd name="T64" fmla="*/ 683 w 3040"/>
                <a:gd name="T65" fmla="*/ 1723 h 2884"/>
                <a:gd name="T66" fmla="*/ 757 w 3040"/>
                <a:gd name="T67" fmla="*/ 1858 h 2884"/>
                <a:gd name="T68" fmla="*/ 877 w 3040"/>
                <a:gd name="T69" fmla="*/ 2117 h 2884"/>
                <a:gd name="T70" fmla="*/ 973 w 3040"/>
                <a:gd name="T71" fmla="*/ 1963 h 2884"/>
                <a:gd name="T72" fmla="*/ 1129 w 3040"/>
                <a:gd name="T73" fmla="*/ 1731 h 2884"/>
                <a:gd name="T74" fmla="*/ 1299 w 3040"/>
                <a:gd name="T75" fmla="*/ 1503 h 2884"/>
                <a:gd name="T76" fmla="*/ 1485 w 3040"/>
                <a:gd name="T77" fmla="*/ 1277 h 2884"/>
                <a:gd name="T78" fmla="*/ 1685 w 3040"/>
                <a:gd name="T79" fmla="*/ 1052 h 2884"/>
                <a:gd name="T80" fmla="*/ 1828 w 3040"/>
                <a:gd name="T81" fmla="*/ 904 h 2884"/>
                <a:gd name="T82" fmla="*/ 2045 w 3040"/>
                <a:gd name="T83" fmla="*/ 693 h 2884"/>
                <a:gd name="T84" fmla="*/ 2260 w 3040"/>
                <a:gd name="T85" fmla="*/ 502 h 2884"/>
                <a:gd name="T86" fmla="*/ 2474 w 3040"/>
                <a:gd name="T87" fmla="*/ 328 h 2884"/>
                <a:gd name="T88" fmla="*/ 2685 w 3040"/>
                <a:gd name="T89" fmla="*/ 175 h 2884"/>
                <a:gd name="T90" fmla="*/ 2893 w 3040"/>
                <a:gd name="T91" fmla="*/ 40 h 28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040" h="2884">
                  <a:moveTo>
                    <a:pt x="2963" y="0"/>
                  </a:moveTo>
                  <a:lnTo>
                    <a:pt x="3040" y="109"/>
                  </a:lnTo>
                  <a:lnTo>
                    <a:pt x="3040" y="109"/>
                  </a:lnTo>
                  <a:lnTo>
                    <a:pt x="2981" y="155"/>
                  </a:lnTo>
                  <a:lnTo>
                    <a:pt x="2922" y="203"/>
                  </a:lnTo>
                  <a:lnTo>
                    <a:pt x="2860" y="256"/>
                  </a:lnTo>
                  <a:lnTo>
                    <a:pt x="2799" y="309"/>
                  </a:lnTo>
                  <a:lnTo>
                    <a:pt x="2736" y="367"/>
                  </a:lnTo>
                  <a:lnTo>
                    <a:pt x="2673" y="428"/>
                  </a:lnTo>
                  <a:lnTo>
                    <a:pt x="2610" y="491"/>
                  </a:lnTo>
                  <a:lnTo>
                    <a:pt x="2545" y="557"/>
                  </a:lnTo>
                  <a:lnTo>
                    <a:pt x="2479" y="627"/>
                  </a:lnTo>
                  <a:lnTo>
                    <a:pt x="2413" y="699"/>
                  </a:lnTo>
                  <a:lnTo>
                    <a:pt x="2346" y="775"/>
                  </a:lnTo>
                  <a:lnTo>
                    <a:pt x="2277" y="853"/>
                  </a:lnTo>
                  <a:lnTo>
                    <a:pt x="2209" y="934"/>
                  </a:lnTo>
                  <a:lnTo>
                    <a:pt x="2139" y="1018"/>
                  </a:lnTo>
                  <a:lnTo>
                    <a:pt x="2067" y="1106"/>
                  </a:lnTo>
                  <a:lnTo>
                    <a:pt x="1996" y="1196"/>
                  </a:lnTo>
                  <a:lnTo>
                    <a:pt x="1996" y="1196"/>
                  </a:lnTo>
                  <a:lnTo>
                    <a:pt x="1926" y="1287"/>
                  </a:lnTo>
                  <a:lnTo>
                    <a:pt x="1858" y="1377"/>
                  </a:lnTo>
                  <a:lnTo>
                    <a:pt x="1790" y="1468"/>
                  </a:lnTo>
                  <a:lnTo>
                    <a:pt x="1727" y="1556"/>
                  </a:lnTo>
                  <a:lnTo>
                    <a:pt x="1664" y="1645"/>
                  </a:lnTo>
                  <a:lnTo>
                    <a:pt x="1605" y="1733"/>
                  </a:lnTo>
                  <a:lnTo>
                    <a:pt x="1546" y="1819"/>
                  </a:lnTo>
                  <a:lnTo>
                    <a:pt x="1490" y="1905"/>
                  </a:lnTo>
                  <a:lnTo>
                    <a:pt x="1437" y="1991"/>
                  </a:lnTo>
                  <a:lnTo>
                    <a:pt x="1385" y="2076"/>
                  </a:lnTo>
                  <a:lnTo>
                    <a:pt x="1336" y="2159"/>
                  </a:lnTo>
                  <a:lnTo>
                    <a:pt x="1289" y="2242"/>
                  </a:lnTo>
                  <a:lnTo>
                    <a:pt x="1243" y="2324"/>
                  </a:lnTo>
                  <a:lnTo>
                    <a:pt x="1200" y="2405"/>
                  </a:lnTo>
                  <a:lnTo>
                    <a:pt x="1160" y="2486"/>
                  </a:lnTo>
                  <a:lnTo>
                    <a:pt x="1120" y="2567"/>
                  </a:lnTo>
                  <a:lnTo>
                    <a:pt x="958" y="2676"/>
                  </a:lnTo>
                  <a:lnTo>
                    <a:pt x="958" y="2676"/>
                  </a:lnTo>
                  <a:lnTo>
                    <a:pt x="865" y="2741"/>
                  </a:lnTo>
                  <a:lnTo>
                    <a:pt x="788" y="2798"/>
                  </a:lnTo>
                  <a:lnTo>
                    <a:pt x="728" y="2845"/>
                  </a:lnTo>
                  <a:lnTo>
                    <a:pt x="704" y="2867"/>
                  </a:lnTo>
                  <a:lnTo>
                    <a:pt x="683" y="2884"/>
                  </a:lnTo>
                  <a:lnTo>
                    <a:pt x="683" y="2884"/>
                  </a:lnTo>
                  <a:lnTo>
                    <a:pt x="675" y="2856"/>
                  </a:lnTo>
                  <a:lnTo>
                    <a:pt x="666" y="2825"/>
                  </a:lnTo>
                  <a:lnTo>
                    <a:pt x="639" y="2748"/>
                  </a:lnTo>
                  <a:lnTo>
                    <a:pt x="603" y="2655"/>
                  </a:lnTo>
                  <a:lnTo>
                    <a:pt x="560" y="2546"/>
                  </a:lnTo>
                  <a:lnTo>
                    <a:pt x="498" y="2404"/>
                  </a:lnTo>
                  <a:lnTo>
                    <a:pt x="498" y="2404"/>
                  </a:lnTo>
                  <a:lnTo>
                    <a:pt x="465" y="2330"/>
                  </a:lnTo>
                  <a:lnTo>
                    <a:pt x="433" y="2261"/>
                  </a:lnTo>
                  <a:lnTo>
                    <a:pt x="401" y="2197"/>
                  </a:lnTo>
                  <a:lnTo>
                    <a:pt x="371" y="2137"/>
                  </a:lnTo>
                  <a:lnTo>
                    <a:pt x="340" y="2084"/>
                  </a:lnTo>
                  <a:lnTo>
                    <a:pt x="311" y="2034"/>
                  </a:lnTo>
                  <a:lnTo>
                    <a:pt x="281" y="1991"/>
                  </a:lnTo>
                  <a:lnTo>
                    <a:pt x="253" y="1950"/>
                  </a:lnTo>
                  <a:lnTo>
                    <a:pt x="253" y="1950"/>
                  </a:lnTo>
                  <a:lnTo>
                    <a:pt x="225" y="1915"/>
                  </a:lnTo>
                  <a:lnTo>
                    <a:pt x="195" y="1885"/>
                  </a:lnTo>
                  <a:lnTo>
                    <a:pt x="164" y="1855"/>
                  </a:lnTo>
                  <a:lnTo>
                    <a:pt x="133" y="1829"/>
                  </a:lnTo>
                  <a:lnTo>
                    <a:pt x="101" y="1807"/>
                  </a:lnTo>
                  <a:lnTo>
                    <a:pt x="69" y="1786"/>
                  </a:lnTo>
                  <a:lnTo>
                    <a:pt x="35" y="1770"/>
                  </a:lnTo>
                  <a:lnTo>
                    <a:pt x="0" y="1757"/>
                  </a:lnTo>
                  <a:lnTo>
                    <a:pt x="0" y="1757"/>
                  </a:lnTo>
                  <a:lnTo>
                    <a:pt x="30" y="1726"/>
                  </a:lnTo>
                  <a:lnTo>
                    <a:pt x="59" y="1698"/>
                  </a:lnTo>
                  <a:lnTo>
                    <a:pt x="87" y="1672"/>
                  </a:lnTo>
                  <a:lnTo>
                    <a:pt x="116" y="1646"/>
                  </a:lnTo>
                  <a:lnTo>
                    <a:pt x="144" y="1625"/>
                  </a:lnTo>
                  <a:lnTo>
                    <a:pt x="172" y="1605"/>
                  </a:lnTo>
                  <a:lnTo>
                    <a:pt x="199" y="1586"/>
                  </a:lnTo>
                  <a:lnTo>
                    <a:pt x="227" y="1568"/>
                  </a:lnTo>
                  <a:lnTo>
                    <a:pt x="254" y="1555"/>
                  </a:lnTo>
                  <a:lnTo>
                    <a:pt x="281" y="1542"/>
                  </a:lnTo>
                  <a:lnTo>
                    <a:pt x="307" y="1531"/>
                  </a:lnTo>
                  <a:lnTo>
                    <a:pt x="332" y="1523"/>
                  </a:lnTo>
                  <a:lnTo>
                    <a:pt x="359" y="1516"/>
                  </a:lnTo>
                  <a:lnTo>
                    <a:pt x="385" y="1511"/>
                  </a:lnTo>
                  <a:lnTo>
                    <a:pt x="409" y="1508"/>
                  </a:lnTo>
                  <a:lnTo>
                    <a:pt x="434" y="1507"/>
                  </a:lnTo>
                  <a:lnTo>
                    <a:pt x="434" y="1507"/>
                  </a:lnTo>
                  <a:lnTo>
                    <a:pt x="444" y="1507"/>
                  </a:lnTo>
                  <a:lnTo>
                    <a:pt x="455" y="1508"/>
                  </a:lnTo>
                  <a:lnTo>
                    <a:pt x="465" y="1511"/>
                  </a:lnTo>
                  <a:lnTo>
                    <a:pt x="476" y="1513"/>
                  </a:lnTo>
                  <a:lnTo>
                    <a:pt x="499" y="1523"/>
                  </a:lnTo>
                  <a:lnTo>
                    <a:pt x="521" y="1535"/>
                  </a:lnTo>
                  <a:lnTo>
                    <a:pt x="543" y="1551"/>
                  </a:lnTo>
                  <a:lnTo>
                    <a:pt x="566" y="1571"/>
                  </a:lnTo>
                  <a:lnTo>
                    <a:pt x="589" y="1594"/>
                  </a:lnTo>
                  <a:lnTo>
                    <a:pt x="612" y="1621"/>
                  </a:lnTo>
                  <a:lnTo>
                    <a:pt x="636" y="1652"/>
                  </a:lnTo>
                  <a:lnTo>
                    <a:pt x="659" y="1685"/>
                  </a:lnTo>
                  <a:lnTo>
                    <a:pt x="683" y="1723"/>
                  </a:lnTo>
                  <a:lnTo>
                    <a:pt x="708" y="1763"/>
                  </a:lnTo>
                  <a:lnTo>
                    <a:pt x="733" y="1809"/>
                  </a:lnTo>
                  <a:lnTo>
                    <a:pt x="757" y="1858"/>
                  </a:lnTo>
                  <a:lnTo>
                    <a:pt x="783" y="1909"/>
                  </a:lnTo>
                  <a:lnTo>
                    <a:pt x="808" y="1964"/>
                  </a:lnTo>
                  <a:lnTo>
                    <a:pt x="877" y="2117"/>
                  </a:lnTo>
                  <a:lnTo>
                    <a:pt x="877" y="2117"/>
                  </a:lnTo>
                  <a:lnTo>
                    <a:pt x="924" y="2039"/>
                  </a:lnTo>
                  <a:lnTo>
                    <a:pt x="973" y="1963"/>
                  </a:lnTo>
                  <a:lnTo>
                    <a:pt x="1024" y="1885"/>
                  </a:lnTo>
                  <a:lnTo>
                    <a:pt x="1075" y="1808"/>
                  </a:lnTo>
                  <a:lnTo>
                    <a:pt x="1129" y="1731"/>
                  </a:lnTo>
                  <a:lnTo>
                    <a:pt x="1184" y="1655"/>
                  </a:lnTo>
                  <a:lnTo>
                    <a:pt x="1242" y="1578"/>
                  </a:lnTo>
                  <a:lnTo>
                    <a:pt x="1299" y="1503"/>
                  </a:lnTo>
                  <a:lnTo>
                    <a:pt x="1360" y="1427"/>
                  </a:lnTo>
                  <a:lnTo>
                    <a:pt x="1422" y="1351"/>
                  </a:lnTo>
                  <a:lnTo>
                    <a:pt x="1485" y="1277"/>
                  </a:lnTo>
                  <a:lnTo>
                    <a:pt x="1551" y="1201"/>
                  </a:lnTo>
                  <a:lnTo>
                    <a:pt x="1618" y="1127"/>
                  </a:lnTo>
                  <a:lnTo>
                    <a:pt x="1685" y="1052"/>
                  </a:lnTo>
                  <a:lnTo>
                    <a:pt x="1757" y="978"/>
                  </a:lnTo>
                  <a:lnTo>
                    <a:pt x="1828" y="904"/>
                  </a:lnTo>
                  <a:lnTo>
                    <a:pt x="1828" y="904"/>
                  </a:lnTo>
                  <a:lnTo>
                    <a:pt x="1901" y="831"/>
                  </a:lnTo>
                  <a:lnTo>
                    <a:pt x="1973" y="761"/>
                  </a:lnTo>
                  <a:lnTo>
                    <a:pt x="2045" y="693"/>
                  </a:lnTo>
                  <a:lnTo>
                    <a:pt x="2117" y="627"/>
                  </a:lnTo>
                  <a:lnTo>
                    <a:pt x="2189" y="564"/>
                  </a:lnTo>
                  <a:lnTo>
                    <a:pt x="2260" y="502"/>
                  </a:lnTo>
                  <a:lnTo>
                    <a:pt x="2331" y="441"/>
                  </a:lnTo>
                  <a:lnTo>
                    <a:pt x="2402" y="383"/>
                  </a:lnTo>
                  <a:lnTo>
                    <a:pt x="2474" y="328"/>
                  </a:lnTo>
                  <a:lnTo>
                    <a:pt x="2544" y="274"/>
                  </a:lnTo>
                  <a:lnTo>
                    <a:pt x="2614" y="223"/>
                  </a:lnTo>
                  <a:lnTo>
                    <a:pt x="2685" y="175"/>
                  </a:lnTo>
                  <a:lnTo>
                    <a:pt x="2755" y="128"/>
                  </a:lnTo>
                  <a:lnTo>
                    <a:pt x="2825" y="83"/>
                  </a:lnTo>
                  <a:lnTo>
                    <a:pt x="2893" y="40"/>
                  </a:lnTo>
                  <a:lnTo>
                    <a:pt x="2963" y="0"/>
                  </a:lnTo>
                  <a:lnTo>
                    <a:pt x="2963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68576" tIns="34288" rIns="68576" bIns="3428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2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4042389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4E25F3-8A6D-C8C6-C789-8E6BC21D8D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88AA0EE0-A621-D091-E512-CA76203AAE4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8AA0EE0-A621-D091-E512-CA76203AAE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97B8F4E-944E-BA67-8D36-03C58431E8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1FA91330-D289-8A3E-ACFC-A76597C14719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30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8" name="Google Shape;1178;g6b2a921a3a_2_763">
            <a:extLst>
              <a:ext uri="{FF2B5EF4-FFF2-40B4-BE49-F238E27FC236}">
                <a16:creationId xmlns:a16="http://schemas.microsoft.com/office/drawing/2014/main" id="{42E5ED4E-C84D-8299-89B7-2FDB7D319672}"/>
              </a:ext>
            </a:extLst>
          </p:cNvPr>
          <p:cNvSpPr txBox="1"/>
          <p:nvPr/>
        </p:nvSpPr>
        <p:spPr>
          <a:xfrm>
            <a:off x="549930" y="1067490"/>
            <a:ext cx="2563270" cy="2670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sz="1471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29" name="Google Shape;1185;g6b2a921a3a_2_763">
            <a:extLst>
              <a:ext uri="{FF2B5EF4-FFF2-40B4-BE49-F238E27FC236}">
                <a16:creationId xmlns:a16="http://schemas.microsoft.com/office/drawing/2014/main" id="{B2E5DC2C-ACA3-8B3D-3A84-0B3D00218E29}"/>
              </a:ext>
            </a:extLst>
          </p:cNvPr>
          <p:cNvSpPr txBox="1"/>
          <p:nvPr/>
        </p:nvSpPr>
        <p:spPr>
          <a:xfrm>
            <a:off x="5372134" y="1067490"/>
            <a:ext cx="1852570" cy="2670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1471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30" name="Google Shape;1188;g6b2a921a3a_2_763">
            <a:extLst>
              <a:ext uri="{FF2B5EF4-FFF2-40B4-BE49-F238E27FC236}">
                <a16:creationId xmlns:a16="http://schemas.microsoft.com/office/drawing/2014/main" id="{7359F6B3-C665-3F9D-643D-26525B8DB7E9}"/>
              </a:ext>
            </a:extLst>
          </p:cNvPr>
          <p:cNvSpPr txBox="1"/>
          <p:nvPr/>
        </p:nvSpPr>
        <p:spPr>
          <a:xfrm>
            <a:off x="7513622" y="1067490"/>
            <a:ext cx="1852570" cy="2670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1471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31" name="Google Shape;1191;g6b2a921a3a_2_763">
            <a:extLst>
              <a:ext uri="{FF2B5EF4-FFF2-40B4-BE49-F238E27FC236}">
                <a16:creationId xmlns:a16="http://schemas.microsoft.com/office/drawing/2014/main" id="{E3C39783-C73C-CCEF-EA1A-1D48233B348D}"/>
              </a:ext>
            </a:extLst>
          </p:cNvPr>
          <p:cNvSpPr txBox="1"/>
          <p:nvPr/>
        </p:nvSpPr>
        <p:spPr>
          <a:xfrm>
            <a:off x="9655113" y="1067490"/>
            <a:ext cx="1852570" cy="2670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1471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32" name="Google Shape;1199;g6b2a921a3a_2_763">
            <a:extLst>
              <a:ext uri="{FF2B5EF4-FFF2-40B4-BE49-F238E27FC236}">
                <a16:creationId xmlns:a16="http://schemas.microsoft.com/office/drawing/2014/main" id="{51E17F0D-00DA-E7B8-3897-9260E730E9E8}"/>
              </a:ext>
            </a:extLst>
          </p:cNvPr>
          <p:cNvSpPr txBox="1"/>
          <p:nvPr/>
        </p:nvSpPr>
        <p:spPr>
          <a:xfrm>
            <a:off x="3230645" y="1067490"/>
            <a:ext cx="1852570" cy="2670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1471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33" name="Shape1_20210513_112140">
            <a:extLst>
              <a:ext uri="{FF2B5EF4-FFF2-40B4-BE49-F238E27FC236}">
                <a16:creationId xmlns:a16="http://schemas.microsoft.com/office/drawing/2014/main" id="{6C9BFEF8-E457-64DF-080F-128D8FBFC607}"/>
              </a:ext>
            </a:extLst>
          </p:cNvPr>
          <p:cNvCxnSpPr/>
          <p:nvPr/>
        </p:nvCxnSpPr>
        <p:spPr>
          <a:xfrm>
            <a:off x="3230643" y="3737501"/>
            <a:ext cx="8277039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34" name="Google Shape;1179;g6b2a921a3a_2_763">
            <a:extLst>
              <a:ext uri="{FF2B5EF4-FFF2-40B4-BE49-F238E27FC236}">
                <a16:creationId xmlns:a16="http://schemas.microsoft.com/office/drawing/2014/main" id="{78B01F26-1149-3435-838B-D63B3C46DDEF}"/>
              </a:ext>
            </a:extLst>
          </p:cNvPr>
          <p:cNvSpPr txBox="1"/>
          <p:nvPr/>
        </p:nvSpPr>
        <p:spPr>
          <a:xfrm>
            <a:off x="549928" y="1687754"/>
            <a:ext cx="2563270" cy="18764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rgbClr val="FFFFFF"/>
                </a:solidFill>
              </a:rPr>
              <a:t>Title</a:t>
            </a:r>
            <a:endParaRPr sz="1471" dirty="0"/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188969F8-5C5D-622E-4E90-F62C3019445C}"/>
              </a:ext>
            </a:extLst>
          </p:cNvPr>
          <p:cNvSpPr txBox="1">
            <a:spLocks/>
          </p:cNvSpPr>
          <p:nvPr/>
        </p:nvSpPr>
        <p:spPr bwMode="auto">
          <a:xfrm>
            <a:off x="3230644" y="2512784"/>
            <a:ext cx="1852570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36" name="Content Placeholder 2~1">
            <a:extLst>
              <a:ext uri="{FF2B5EF4-FFF2-40B4-BE49-F238E27FC236}">
                <a16:creationId xmlns:a16="http://schemas.microsoft.com/office/drawing/2014/main" id="{4493EF8F-5ED7-0C88-3994-31A3A439F22D}"/>
              </a:ext>
            </a:extLst>
          </p:cNvPr>
          <p:cNvSpPr txBox="1">
            <a:spLocks/>
          </p:cNvSpPr>
          <p:nvPr/>
        </p:nvSpPr>
        <p:spPr bwMode="auto">
          <a:xfrm>
            <a:off x="5372134" y="2512784"/>
            <a:ext cx="1852570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37" name="Content Placeholder 2~2">
            <a:extLst>
              <a:ext uri="{FF2B5EF4-FFF2-40B4-BE49-F238E27FC236}">
                <a16:creationId xmlns:a16="http://schemas.microsoft.com/office/drawing/2014/main" id="{C5DF55E2-DCB7-CED9-24D3-8BD37CC8CFBE}"/>
              </a:ext>
            </a:extLst>
          </p:cNvPr>
          <p:cNvSpPr txBox="1">
            <a:spLocks/>
          </p:cNvSpPr>
          <p:nvPr/>
        </p:nvSpPr>
        <p:spPr bwMode="auto">
          <a:xfrm>
            <a:off x="7511135" y="2512784"/>
            <a:ext cx="1852570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38" name="Content Placeholder 2~3">
            <a:extLst>
              <a:ext uri="{FF2B5EF4-FFF2-40B4-BE49-F238E27FC236}">
                <a16:creationId xmlns:a16="http://schemas.microsoft.com/office/drawing/2014/main" id="{62238AC2-4038-EB0B-F91F-AC1344186CD7}"/>
              </a:ext>
            </a:extLst>
          </p:cNvPr>
          <p:cNvSpPr txBox="1">
            <a:spLocks/>
          </p:cNvSpPr>
          <p:nvPr/>
        </p:nvSpPr>
        <p:spPr bwMode="auto">
          <a:xfrm>
            <a:off x="9650137" y="2512784"/>
            <a:ext cx="1852570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39" name="Google Shape;1180;g6b2a921a3a_2_763">
            <a:extLst>
              <a:ext uri="{FF2B5EF4-FFF2-40B4-BE49-F238E27FC236}">
                <a16:creationId xmlns:a16="http://schemas.microsoft.com/office/drawing/2014/main" id="{5EB44D6C-8F43-D9B6-7094-CABEDAE7DF83}"/>
              </a:ext>
            </a:extLst>
          </p:cNvPr>
          <p:cNvSpPr txBox="1"/>
          <p:nvPr/>
        </p:nvSpPr>
        <p:spPr>
          <a:xfrm>
            <a:off x="549928" y="3910852"/>
            <a:ext cx="2563270" cy="18764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rgbClr val="FFFFFF"/>
                </a:solidFill>
              </a:rPr>
              <a:t>Title</a:t>
            </a:r>
            <a:endParaRPr lang="en-US" sz="1471" dirty="0"/>
          </a:p>
        </p:txBody>
      </p:sp>
      <p:sp>
        <p:nvSpPr>
          <p:cNvPr id="40" name="Content Placeholder 2~4">
            <a:extLst>
              <a:ext uri="{FF2B5EF4-FFF2-40B4-BE49-F238E27FC236}">
                <a16:creationId xmlns:a16="http://schemas.microsoft.com/office/drawing/2014/main" id="{027F92A9-91DF-EBB4-0E24-8CE746B5D573}"/>
              </a:ext>
            </a:extLst>
          </p:cNvPr>
          <p:cNvSpPr txBox="1">
            <a:spLocks/>
          </p:cNvSpPr>
          <p:nvPr/>
        </p:nvSpPr>
        <p:spPr bwMode="auto">
          <a:xfrm>
            <a:off x="3230644" y="4735881"/>
            <a:ext cx="1852570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41" name="Content Placeholder 2~5">
            <a:extLst>
              <a:ext uri="{FF2B5EF4-FFF2-40B4-BE49-F238E27FC236}">
                <a16:creationId xmlns:a16="http://schemas.microsoft.com/office/drawing/2014/main" id="{AAEEB882-FC52-C3FF-F9C1-FF6E55139FF5}"/>
              </a:ext>
            </a:extLst>
          </p:cNvPr>
          <p:cNvSpPr txBox="1">
            <a:spLocks/>
          </p:cNvSpPr>
          <p:nvPr/>
        </p:nvSpPr>
        <p:spPr bwMode="auto">
          <a:xfrm>
            <a:off x="5372134" y="4735881"/>
            <a:ext cx="1852570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42" name="Content Placeholder 2~6">
            <a:extLst>
              <a:ext uri="{FF2B5EF4-FFF2-40B4-BE49-F238E27FC236}">
                <a16:creationId xmlns:a16="http://schemas.microsoft.com/office/drawing/2014/main" id="{A5CFB505-2FE9-828E-7A20-0574F2B00807}"/>
              </a:ext>
            </a:extLst>
          </p:cNvPr>
          <p:cNvSpPr txBox="1">
            <a:spLocks/>
          </p:cNvSpPr>
          <p:nvPr/>
        </p:nvSpPr>
        <p:spPr bwMode="auto">
          <a:xfrm>
            <a:off x="7511135" y="4735881"/>
            <a:ext cx="1852570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43" name="Content Placeholder 2~7">
            <a:extLst>
              <a:ext uri="{FF2B5EF4-FFF2-40B4-BE49-F238E27FC236}">
                <a16:creationId xmlns:a16="http://schemas.microsoft.com/office/drawing/2014/main" id="{62FD3AC8-29E5-EC69-431D-72FC39636120}"/>
              </a:ext>
            </a:extLst>
          </p:cNvPr>
          <p:cNvSpPr txBox="1">
            <a:spLocks/>
          </p:cNvSpPr>
          <p:nvPr/>
        </p:nvSpPr>
        <p:spPr bwMode="auto">
          <a:xfrm>
            <a:off x="9650137" y="4735881"/>
            <a:ext cx="1852570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cxnSp>
        <p:nvCxnSpPr>
          <p:cNvPr id="44" name="Google Shape;1186;g6b2a921a3a_2_763">
            <a:extLst>
              <a:ext uri="{FF2B5EF4-FFF2-40B4-BE49-F238E27FC236}">
                <a16:creationId xmlns:a16="http://schemas.microsoft.com/office/drawing/2014/main" id="{A880D2FE-8847-4B04-4920-77367E541BC7}"/>
              </a:ext>
            </a:extLst>
          </p:cNvPr>
          <p:cNvCxnSpPr/>
          <p:nvPr/>
        </p:nvCxnSpPr>
        <p:spPr>
          <a:xfrm>
            <a:off x="5372134" y="1403461"/>
            <a:ext cx="1852570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45" name="Google Shape;1189;g6b2a921a3a_2_763">
            <a:extLst>
              <a:ext uri="{FF2B5EF4-FFF2-40B4-BE49-F238E27FC236}">
                <a16:creationId xmlns:a16="http://schemas.microsoft.com/office/drawing/2014/main" id="{129D05D0-741B-E08B-94C6-C3EA0B798401}"/>
              </a:ext>
            </a:extLst>
          </p:cNvPr>
          <p:cNvCxnSpPr/>
          <p:nvPr/>
        </p:nvCxnSpPr>
        <p:spPr>
          <a:xfrm>
            <a:off x="7513622" y="1403461"/>
            <a:ext cx="1852570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46" name="Google Shape;1192;g6b2a921a3a_2_763">
            <a:extLst>
              <a:ext uri="{FF2B5EF4-FFF2-40B4-BE49-F238E27FC236}">
                <a16:creationId xmlns:a16="http://schemas.microsoft.com/office/drawing/2014/main" id="{628FBDB5-A54C-431B-7191-85B7A3339E39}"/>
              </a:ext>
            </a:extLst>
          </p:cNvPr>
          <p:cNvCxnSpPr/>
          <p:nvPr/>
        </p:nvCxnSpPr>
        <p:spPr>
          <a:xfrm>
            <a:off x="9655112" y="1403461"/>
            <a:ext cx="1852570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47" name="Google Shape;1200;g6b2a921a3a_2_763">
            <a:extLst>
              <a:ext uri="{FF2B5EF4-FFF2-40B4-BE49-F238E27FC236}">
                <a16:creationId xmlns:a16="http://schemas.microsoft.com/office/drawing/2014/main" id="{240C3ED1-C651-F845-F81C-20AE2FBFAE46}"/>
              </a:ext>
            </a:extLst>
          </p:cNvPr>
          <p:cNvCxnSpPr/>
          <p:nvPr/>
        </p:nvCxnSpPr>
        <p:spPr>
          <a:xfrm>
            <a:off x="3230644" y="1403461"/>
            <a:ext cx="1852570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295573718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8979A7-1CE7-7D25-B288-CB4ABBFFB5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98463307-105C-5B12-CE10-63519D3F944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8463307-105C-5B12-CE10-63519D3F94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00D680B-C5C1-5E69-C2E2-BA09C6CFA3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E34EAB1A-BFF3-5CF8-309F-69AAC60187A3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3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71" name="Google Shape;1178;g6b2a921a3a_2_763">
            <a:extLst>
              <a:ext uri="{FF2B5EF4-FFF2-40B4-BE49-F238E27FC236}">
                <a16:creationId xmlns:a16="http://schemas.microsoft.com/office/drawing/2014/main" id="{B772EFC5-502F-5F20-3DFC-0C38687698EC}"/>
              </a:ext>
            </a:extLst>
          </p:cNvPr>
          <p:cNvSpPr txBox="1"/>
          <p:nvPr/>
        </p:nvSpPr>
        <p:spPr>
          <a:xfrm>
            <a:off x="549930" y="1067489"/>
            <a:ext cx="2563270" cy="2670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sz="1471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72" name="Google Shape;1185;g6b2a921a3a_2_763">
            <a:extLst>
              <a:ext uri="{FF2B5EF4-FFF2-40B4-BE49-F238E27FC236}">
                <a16:creationId xmlns:a16="http://schemas.microsoft.com/office/drawing/2014/main" id="{F8033770-7DF3-07CB-D81E-C70124306B91}"/>
              </a:ext>
            </a:extLst>
          </p:cNvPr>
          <p:cNvSpPr txBox="1"/>
          <p:nvPr/>
        </p:nvSpPr>
        <p:spPr>
          <a:xfrm>
            <a:off x="5372133" y="1067489"/>
            <a:ext cx="1852569" cy="2670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1471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73" name="Google Shape;1188;g6b2a921a3a_2_763">
            <a:extLst>
              <a:ext uri="{FF2B5EF4-FFF2-40B4-BE49-F238E27FC236}">
                <a16:creationId xmlns:a16="http://schemas.microsoft.com/office/drawing/2014/main" id="{F7298603-5114-8E6E-424D-6BBF745E1C67}"/>
              </a:ext>
            </a:extLst>
          </p:cNvPr>
          <p:cNvSpPr txBox="1"/>
          <p:nvPr/>
        </p:nvSpPr>
        <p:spPr>
          <a:xfrm>
            <a:off x="7513623" y="1067489"/>
            <a:ext cx="1852569" cy="2670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1471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74" name="Google Shape;1191;g6b2a921a3a_2_763">
            <a:extLst>
              <a:ext uri="{FF2B5EF4-FFF2-40B4-BE49-F238E27FC236}">
                <a16:creationId xmlns:a16="http://schemas.microsoft.com/office/drawing/2014/main" id="{7AD4CCB4-3092-2F94-D7CA-26A800E3F8DA}"/>
              </a:ext>
            </a:extLst>
          </p:cNvPr>
          <p:cNvSpPr txBox="1"/>
          <p:nvPr/>
        </p:nvSpPr>
        <p:spPr>
          <a:xfrm>
            <a:off x="9655114" y="1067489"/>
            <a:ext cx="1852569" cy="2670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1471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75" name="Google Shape;1199;g6b2a921a3a_2_763">
            <a:extLst>
              <a:ext uri="{FF2B5EF4-FFF2-40B4-BE49-F238E27FC236}">
                <a16:creationId xmlns:a16="http://schemas.microsoft.com/office/drawing/2014/main" id="{A51EA97A-C05E-C15D-CA81-B6D19390A7B5}"/>
              </a:ext>
            </a:extLst>
          </p:cNvPr>
          <p:cNvSpPr txBox="1"/>
          <p:nvPr/>
        </p:nvSpPr>
        <p:spPr>
          <a:xfrm>
            <a:off x="3230645" y="1067489"/>
            <a:ext cx="1852569" cy="2670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1471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76" name="Shape1_20210513_112140">
            <a:extLst>
              <a:ext uri="{FF2B5EF4-FFF2-40B4-BE49-F238E27FC236}">
                <a16:creationId xmlns:a16="http://schemas.microsoft.com/office/drawing/2014/main" id="{F80A8C43-3919-49A6-AA98-D76E8775B56F}"/>
              </a:ext>
            </a:extLst>
          </p:cNvPr>
          <p:cNvCxnSpPr/>
          <p:nvPr/>
        </p:nvCxnSpPr>
        <p:spPr>
          <a:xfrm>
            <a:off x="3230641" y="2952140"/>
            <a:ext cx="8277039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77" name="Shape2_20210513_112140">
            <a:extLst>
              <a:ext uri="{FF2B5EF4-FFF2-40B4-BE49-F238E27FC236}">
                <a16:creationId xmlns:a16="http://schemas.microsoft.com/office/drawing/2014/main" id="{4211B6E3-F242-6B05-BFF4-447A8CC86CF0}"/>
              </a:ext>
            </a:extLst>
          </p:cNvPr>
          <p:cNvCxnSpPr/>
          <p:nvPr/>
        </p:nvCxnSpPr>
        <p:spPr>
          <a:xfrm>
            <a:off x="3230641" y="4427201"/>
            <a:ext cx="8277039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8" name="Google Shape;1179;g6b2a921a3a_2_763">
            <a:extLst>
              <a:ext uri="{FF2B5EF4-FFF2-40B4-BE49-F238E27FC236}">
                <a16:creationId xmlns:a16="http://schemas.microsoft.com/office/drawing/2014/main" id="{F0211D3C-8097-77C7-4F06-B37D1FAC4956}"/>
              </a:ext>
            </a:extLst>
          </p:cNvPr>
          <p:cNvSpPr txBox="1"/>
          <p:nvPr/>
        </p:nvSpPr>
        <p:spPr>
          <a:xfrm>
            <a:off x="549928" y="1602618"/>
            <a:ext cx="2563270" cy="12450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rgbClr val="FFFFFF"/>
                </a:solidFill>
              </a:rPr>
              <a:t>Title</a:t>
            </a:r>
            <a:endParaRPr sz="1471" dirty="0"/>
          </a:p>
        </p:txBody>
      </p:sp>
      <p:sp>
        <p:nvSpPr>
          <p:cNvPr id="79" name="Content Placeholder 2">
            <a:extLst>
              <a:ext uri="{FF2B5EF4-FFF2-40B4-BE49-F238E27FC236}">
                <a16:creationId xmlns:a16="http://schemas.microsoft.com/office/drawing/2014/main" id="{FAE761F1-DEFC-4DD1-4A96-7829F8B014D0}"/>
              </a:ext>
            </a:extLst>
          </p:cNvPr>
          <p:cNvSpPr txBox="1">
            <a:spLocks/>
          </p:cNvSpPr>
          <p:nvPr/>
        </p:nvSpPr>
        <p:spPr bwMode="auto">
          <a:xfrm>
            <a:off x="3230644" y="2101440"/>
            <a:ext cx="1852569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80" name="Content Placeholder 2~1">
            <a:extLst>
              <a:ext uri="{FF2B5EF4-FFF2-40B4-BE49-F238E27FC236}">
                <a16:creationId xmlns:a16="http://schemas.microsoft.com/office/drawing/2014/main" id="{6C92F3D4-49D5-E587-5A96-0FDF276FF136}"/>
              </a:ext>
            </a:extLst>
          </p:cNvPr>
          <p:cNvSpPr txBox="1">
            <a:spLocks/>
          </p:cNvSpPr>
          <p:nvPr/>
        </p:nvSpPr>
        <p:spPr bwMode="auto">
          <a:xfrm>
            <a:off x="5372133" y="2101440"/>
            <a:ext cx="1852569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81" name="Content Placeholder 2~2">
            <a:extLst>
              <a:ext uri="{FF2B5EF4-FFF2-40B4-BE49-F238E27FC236}">
                <a16:creationId xmlns:a16="http://schemas.microsoft.com/office/drawing/2014/main" id="{6C1C709D-D30C-B14F-79A8-17A7CB6FAB7E}"/>
              </a:ext>
            </a:extLst>
          </p:cNvPr>
          <p:cNvSpPr txBox="1">
            <a:spLocks/>
          </p:cNvSpPr>
          <p:nvPr/>
        </p:nvSpPr>
        <p:spPr bwMode="auto">
          <a:xfrm>
            <a:off x="7511136" y="2101440"/>
            <a:ext cx="1852569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82" name="Content Placeholder 2~3">
            <a:extLst>
              <a:ext uri="{FF2B5EF4-FFF2-40B4-BE49-F238E27FC236}">
                <a16:creationId xmlns:a16="http://schemas.microsoft.com/office/drawing/2014/main" id="{34DAF421-1F06-C416-9BDF-957205D13690}"/>
              </a:ext>
            </a:extLst>
          </p:cNvPr>
          <p:cNvSpPr txBox="1">
            <a:spLocks/>
          </p:cNvSpPr>
          <p:nvPr/>
        </p:nvSpPr>
        <p:spPr bwMode="auto">
          <a:xfrm>
            <a:off x="9650137" y="2101440"/>
            <a:ext cx="1852569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83" name="Google Shape;1180;g6b2a921a3a_2_763">
            <a:extLst>
              <a:ext uri="{FF2B5EF4-FFF2-40B4-BE49-F238E27FC236}">
                <a16:creationId xmlns:a16="http://schemas.microsoft.com/office/drawing/2014/main" id="{D2482282-27A2-1985-9791-4ECB3B432B13}"/>
              </a:ext>
            </a:extLst>
          </p:cNvPr>
          <p:cNvSpPr txBox="1"/>
          <p:nvPr/>
        </p:nvSpPr>
        <p:spPr>
          <a:xfrm>
            <a:off x="549928" y="3077683"/>
            <a:ext cx="2563270" cy="12450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rgbClr val="FFFFFF"/>
                </a:solidFill>
              </a:rPr>
              <a:t>Title</a:t>
            </a:r>
            <a:endParaRPr lang="en-US" sz="1471" dirty="0"/>
          </a:p>
        </p:txBody>
      </p:sp>
      <p:sp>
        <p:nvSpPr>
          <p:cNvPr id="84" name="Content Placeholder 2~4">
            <a:extLst>
              <a:ext uri="{FF2B5EF4-FFF2-40B4-BE49-F238E27FC236}">
                <a16:creationId xmlns:a16="http://schemas.microsoft.com/office/drawing/2014/main" id="{F32281A0-E779-DF6B-D7C1-6627DEA57996}"/>
              </a:ext>
            </a:extLst>
          </p:cNvPr>
          <p:cNvSpPr txBox="1">
            <a:spLocks/>
          </p:cNvSpPr>
          <p:nvPr/>
        </p:nvSpPr>
        <p:spPr bwMode="auto">
          <a:xfrm>
            <a:off x="3230644" y="3576506"/>
            <a:ext cx="1852569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85" name="Content Placeholder 2~5">
            <a:extLst>
              <a:ext uri="{FF2B5EF4-FFF2-40B4-BE49-F238E27FC236}">
                <a16:creationId xmlns:a16="http://schemas.microsoft.com/office/drawing/2014/main" id="{98937D85-23F8-AE34-8524-377737558197}"/>
              </a:ext>
            </a:extLst>
          </p:cNvPr>
          <p:cNvSpPr txBox="1">
            <a:spLocks/>
          </p:cNvSpPr>
          <p:nvPr/>
        </p:nvSpPr>
        <p:spPr bwMode="auto">
          <a:xfrm>
            <a:off x="5372133" y="3576506"/>
            <a:ext cx="1852569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86" name="Content Placeholder 2~6">
            <a:extLst>
              <a:ext uri="{FF2B5EF4-FFF2-40B4-BE49-F238E27FC236}">
                <a16:creationId xmlns:a16="http://schemas.microsoft.com/office/drawing/2014/main" id="{8BCDA8F2-DC5E-824D-2168-407AE923D6FC}"/>
              </a:ext>
            </a:extLst>
          </p:cNvPr>
          <p:cNvSpPr txBox="1">
            <a:spLocks/>
          </p:cNvSpPr>
          <p:nvPr/>
        </p:nvSpPr>
        <p:spPr bwMode="auto">
          <a:xfrm>
            <a:off x="7511136" y="3576506"/>
            <a:ext cx="1852569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87" name="Content Placeholder 2~7">
            <a:extLst>
              <a:ext uri="{FF2B5EF4-FFF2-40B4-BE49-F238E27FC236}">
                <a16:creationId xmlns:a16="http://schemas.microsoft.com/office/drawing/2014/main" id="{E49EBD55-8E8D-1B3B-8361-7ABFF15663C7}"/>
              </a:ext>
            </a:extLst>
          </p:cNvPr>
          <p:cNvSpPr txBox="1">
            <a:spLocks/>
          </p:cNvSpPr>
          <p:nvPr/>
        </p:nvSpPr>
        <p:spPr bwMode="auto">
          <a:xfrm>
            <a:off x="9650137" y="3576506"/>
            <a:ext cx="1852569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88" name="Google Shape;1181;g6b2a921a3a_2_763">
            <a:extLst>
              <a:ext uri="{FF2B5EF4-FFF2-40B4-BE49-F238E27FC236}">
                <a16:creationId xmlns:a16="http://schemas.microsoft.com/office/drawing/2014/main" id="{EE35059D-7368-D020-D70D-D1AAF97D6F92}"/>
              </a:ext>
            </a:extLst>
          </p:cNvPr>
          <p:cNvSpPr txBox="1"/>
          <p:nvPr/>
        </p:nvSpPr>
        <p:spPr>
          <a:xfrm>
            <a:off x="549928" y="4552746"/>
            <a:ext cx="2563270" cy="12450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rgbClr val="FFFFFF"/>
                </a:solidFill>
              </a:rPr>
              <a:t>Title</a:t>
            </a:r>
            <a:endParaRPr lang="en-US" sz="1471" dirty="0"/>
          </a:p>
        </p:txBody>
      </p:sp>
      <p:sp>
        <p:nvSpPr>
          <p:cNvPr id="89" name="Content Placeholder 2~8">
            <a:extLst>
              <a:ext uri="{FF2B5EF4-FFF2-40B4-BE49-F238E27FC236}">
                <a16:creationId xmlns:a16="http://schemas.microsoft.com/office/drawing/2014/main" id="{7FA3D511-6E4E-FF96-6D74-7908CECBDC05}"/>
              </a:ext>
            </a:extLst>
          </p:cNvPr>
          <p:cNvSpPr txBox="1">
            <a:spLocks/>
          </p:cNvSpPr>
          <p:nvPr/>
        </p:nvSpPr>
        <p:spPr bwMode="auto">
          <a:xfrm>
            <a:off x="3230644" y="5051567"/>
            <a:ext cx="1852569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90" name="Content Placeholder 2~9">
            <a:extLst>
              <a:ext uri="{FF2B5EF4-FFF2-40B4-BE49-F238E27FC236}">
                <a16:creationId xmlns:a16="http://schemas.microsoft.com/office/drawing/2014/main" id="{AB2B8BD3-1212-56BC-A7C5-635C5436C655}"/>
              </a:ext>
            </a:extLst>
          </p:cNvPr>
          <p:cNvSpPr txBox="1">
            <a:spLocks/>
          </p:cNvSpPr>
          <p:nvPr/>
        </p:nvSpPr>
        <p:spPr bwMode="auto">
          <a:xfrm>
            <a:off x="5372133" y="5051567"/>
            <a:ext cx="1852569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91" name="Content Placeholder 2~10">
            <a:extLst>
              <a:ext uri="{FF2B5EF4-FFF2-40B4-BE49-F238E27FC236}">
                <a16:creationId xmlns:a16="http://schemas.microsoft.com/office/drawing/2014/main" id="{BC386A87-1E25-0646-14DC-E679BC1513EB}"/>
              </a:ext>
            </a:extLst>
          </p:cNvPr>
          <p:cNvSpPr txBox="1">
            <a:spLocks/>
          </p:cNvSpPr>
          <p:nvPr/>
        </p:nvSpPr>
        <p:spPr bwMode="auto">
          <a:xfrm>
            <a:off x="7511136" y="5051567"/>
            <a:ext cx="1852569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92" name="Content Placeholder 2~11">
            <a:extLst>
              <a:ext uri="{FF2B5EF4-FFF2-40B4-BE49-F238E27FC236}">
                <a16:creationId xmlns:a16="http://schemas.microsoft.com/office/drawing/2014/main" id="{1E4FFF23-E9A6-F003-25B5-3EE2294C88F3}"/>
              </a:ext>
            </a:extLst>
          </p:cNvPr>
          <p:cNvSpPr txBox="1">
            <a:spLocks/>
          </p:cNvSpPr>
          <p:nvPr/>
        </p:nvSpPr>
        <p:spPr bwMode="auto">
          <a:xfrm>
            <a:off x="9650137" y="5051567"/>
            <a:ext cx="1852569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cxnSp>
        <p:nvCxnSpPr>
          <p:cNvPr id="93" name="Google Shape;1186;g6b2a921a3a_2_763">
            <a:extLst>
              <a:ext uri="{FF2B5EF4-FFF2-40B4-BE49-F238E27FC236}">
                <a16:creationId xmlns:a16="http://schemas.microsoft.com/office/drawing/2014/main" id="{F4450B0A-F4B6-AC6B-DF14-8E41CC18D1F4}"/>
              </a:ext>
            </a:extLst>
          </p:cNvPr>
          <p:cNvCxnSpPr/>
          <p:nvPr/>
        </p:nvCxnSpPr>
        <p:spPr>
          <a:xfrm>
            <a:off x="5372133" y="1403466"/>
            <a:ext cx="1852569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94" name="Google Shape;1189;g6b2a921a3a_2_763">
            <a:extLst>
              <a:ext uri="{FF2B5EF4-FFF2-40B4-BE49-F238E27FC236}">
                <a16:creationId xmlns:a16="http://schemas.microsoft.com/office/drawing/2014/main" id="{7D9C2539-1BAB-E652-DC3B-FF9D4C30087D}"/>
              </a:ext>
            </a:extLst>
          </p:cNvPr>
          <p:cNvCxnSpPr/>
          <p:nvPr/>
        </p:nvCxnSpPr>
        <p:spPr>
          <a:xfrm>
            <a:off x="7513623" y="1403466"/>
            <a:ext cx="1852569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95" name="Google Shape;1192;g6b2a921a3a_2_763">
            <a:extLst>
              <a:ext uri="{FF2B5EF4-FFF2-40B4-BE49-F238E27FC236}">
                <a16:creationId xmlns:a16="http://schemas.microsoft.com/office/drawing/2014/main" id="{6A5AFC82-45BE-B946-2828-333DCDA169F2}"/>
              </a:ext>
            </a:extLst>
          </p:cNvPr>
          <p:cNvCxnSpPr/>
          <p:nvPr/>
        </p:nvCxnSpPr>
        <p:spPr>
          <a:xfrm>
            <a:off x="9655113" y="1403466"/>
            <a:ext cx="1852569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96" name="Google Shape;1200;g6b2a921a3a_2_763">
            <a:extLst>
              <a:ext uri="{FF2B5EF4-FFF2-40B4-BE49-F238E27FC236}">
                <a16:creationId xmlns:a16="http://schemas.microsoft.com/office/drawing/2014/main" id="{5D5FB7BF-0B18-9A6E-8A5F-FE5A5CCCB984}"/>
              </a:ext>
            </a:extLst>
          </p:cNvPr>
          <p:cNvCxnSpPr/>
          <p:nvPr/>
        </p:nvCxnSpPr>
        <p:spPr>
          <a:xfrm>
            <a:off x="3230644" y="1403466"/>
            <a:ext cx="1852569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149705555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4774713-013E-0917-0524-E3B5B2543C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9C589F3E-0332-AA3F-F5C3-B3A9B3B9381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C589F3E-0332-AA3F-F5C3-B3A9B3B938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21392B6-8FC2-C592-E829-9FAA1296A4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66DA471F-AD68-E8A1-3E35-E6B73C915D2B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32</a:t>
            </a:fld>
            <a:endParaRPr lang="en-US" sz="1200" dirty="0">
              <a:solidFill>
                <a:schemeClr val="bg1"/>
              </a:solidFill>
            </a:endParaRPr>
          </a:p>
        </p:txBody>
      </p:sp>
      <p:cxnSp>
        <p:nvCxnSpPr>
          <p:cNvPr id="5" name="Shape0_20220715_163354">
            <a:extLst>
              <a:ext uri="{FF2B5EF4-FFF2-40B4-BE49-F238E27FC236}">
                <a16:creationId xmlns:a16="http://schemas.microsoft.com/office/drawing/2014/main" id="{35294796-5823-BF9F-3883-0518A61419DB}"/>
              </a:ext>
            </a:extLst>
          </p:cNvPr>
          <p:cNvCxnSpPr/>
          <p:nvPr/>
        </p:nvCxnSpPr>
        <p:spPr>
          <a:xfrm>
            <a:off x="3237027" y="2478520"/>
            <a:ext cx="8296757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6" name="Shape1_20220715_163354">
            <a:extLst>
              <a:ext uri="{FF2B5EF4-FFF2-40B4-BE49-F238E27FC236}">
                <a16:creationId xmlns:a16="http://schemas.microsoft.com/office/drawing/2014/main" id="{C2260099-73A2-2729-60A3-2B941BDB0E11}"/>
              </a:ext>
            </a:extLst>
          </p:cNvPr>
          <p:cNvCxnSpPr/>
          <p:nvPr/>
        </p:nvCxnSpPr>
        <p:spPr>
          <a:xfrm>
            <a:off x="3237027" y="3567315"/>
            <a:ext cx="8296757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7" name="Shape2_20220715_163354">
            <a:extLst>
              <a:ext uri="{FF2B5EF4-FFF2-40B4-BE49-F238E27FC236}">
                <a16:creationId xmlns:a16="http://schemas.microsoft.com/office/drawing/2014/main" id="{C72E10E1-DB71-9D35-955F-191D79B02029}"/>
              </a:ext>
            </a:extLst>
          </p:cNvPr>
          <p:cNvCxnSpPr/>
          <p:nvPr/>
        </p:nvCxnSpPr>
        <p:spPr>
          <a:xfrm>
            <a:off x="3237027" y="4656116"/>
            <a:ext cx="8296757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" name="Google Shape;1179;g6b2a921a3a_2_763">
            <a:extLst>
              <a:ext uri="{FF2B5EF4-FFF2-40B4-BE49-F238E27FC236}">
                <a16:creationId xmlns:a16="http://schemas.microsoft.com/office/drawing/2014/main" id="{4763573E-1F28-9382-695E-9B948748B7B8}"/>
              </a:ext>
            </a:extLst>
          </p:cNvPr>
          <p:cNvSpPr txBox="1"/>
          <p:nvPr/>
        </p:nvSpPr>
        <p:spPr>
          <a:xfrm>
            <a:off x="549928" y="1474618"/>
            <a:ext cx="2569376" cy="9190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rgbClr val="FFFFFF"/>
                </a:solidFill>
              </a:rPr>
              <a:t>Title</a:t>
            </a:r>
            <a:endParaRPr sz="1471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CAFF10A9-BC2C-34C2-BA82-8C67054E687C}"/>
              </a:ext>
            </a:extLst>
          </p:cNvPr>
          <p:cNvSpPr txBox="1">
            <a:spLocks/>
          </p:cNvSpPr>
          <p:nvPr/>
        </p:nvSpPr>
        <p:spPr bwMode="auto">
          <a:xfrm>
            <a:off x="3237030" y="1820951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11" name="Content Placeholder 2~1">
            <a:extLst>
              <a:ext uri="{FF2B5EF4-FFF2-40B4-BE49-F238E27FC236}">
                <a16:creationId xmlns:a16="http://schemas.microsoft.com/office/drawing/2014/main" id="{05782908-B525-86E2-3B80-7F9729867228}"/>
              </a:ext>
            </a:extLst>
          </p:cNvPr>
          <p:cNvSpPr txBox="1">
            <a:spLocks/>
          </p:cNvSpPr>
          <p:nvPr/>
        </p:nvSpPr>
        <p:spPr bwMode="auto">
          <a:xfrm>
            <a:off x="5383619" y="1820951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12" name="Content Placeholder 2~2">
            <a:extLst>
              <a:ext uri="{FF2B5EF4-FFF2-40B4-BE49-F238E27FC236}">
                <a16:creationId xmlns:a16="http://schemas.microsoft.com/office/drawing/2014/main" id="{18498154-B94F-754D-11F5-041E154685BE}"/>
              </a:ext>
            </a:extLst>
          </p:cNvPr>
          <p:cNvSpPr txBox="1">
            <a:spLocks/>
          </p:cNvSpPr>
          <p:nvPr/>
        </p:nvSpPr>
        <p:spPr bwMode="auto">
          <a:xfrm>
            <a:off x="7527718" y="1820951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13" name="Content Placeholder 2~3">
            <a:extLst>
              <a:ext uri="{FF2B5EF4-FFF2-40B4-BE49-F238E27FC236}">
                <a16:creationId xmlns:a16="http://schemas.microsoft.com/office/drawing/2014/main" id="{2983D1BF-FA5A-2071-9F84-20D6FF6565D8}"/>
              </a:ext>
            </a:extLst>
          </p:cNvPr>
          <p:cNvSpPr txBox="1">
            <a:spLocks/>
          </p:cNvSpPr>
          <p:nvPr/>
        </p:nvSpPr>
        <p:spPr bwMode="auto">
          <a:xfrm>
            <a:off x="9671815" y="1820951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14" name="Google Shape;1180;g6b2a921a3a_2_763">
            <a:extLst>
              <a:ext uri="{FF2B5EF4-FFF2-40B4-BE49-F238E27FC236}">
                <a16:creationId xmlns:a16="http://schemas.microsoft.com/office/drawing/2014/main" id="{E60777AC-F352-EA9A-593D-6CA3D8B95543}"/>
              </a:ext>
            </a:extLst>
          </p:cNvPr>
          <p:cNvSpPr txBox="1"/>
          <p:nvPr/>
        </p:nvSpPr>
        <p:spPr>
          <a:xfrm>
            <a:off x="549928" y="2563416"/>
            <a:ext cx="2569376" cy="9190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rgbClr val="FFFFFF"/>
                </a:solidFill>
              </a:rPr>
              <a:t>Title</a:t>
            </a:r>
            <a:endParaRPr lang="en-US" sz="1471" dirty="0"/>
          </a:p>
        </p:txBody>
      </p:sp>
      <p:sp>
        <p:nvSpPr>
          <p:cNvPr id="15" name="Content Placeholder 2~4">
            <a:extLst>
              <a:ext uri="{FF2B5EF4-FFF2-40B4-BE49-F238E27FC236}">
                <a16:creationId xmlns:a16="http://schemas.microsoft.com/office/drawing/2014/main" id="{F094E09E-3938-6B03-EED8-A9076950EE3D}"/>
              </a:ext>
            </a:extLst>
          </p:cNvPr>
          <p:cNvSpPr txBox="1">
            <a:spLocks/>
          </p:cNvSpPr>
          <p:nvPr/>
        </p:nvSpPr>
        <p:spPr bwMode="auto">
          <a:xfrm>
            <a:off x="3237030" y="2909749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16" name="Content Placeholder 2~5">
            <a:extLst>
              <a:ext uri="{FF2B5EF4-FFF2-40B4-BE49-F238E27FC236}">
                <a16:creationId xmlns:a16="http://schemas.microsoft.com/office/drawing/2014/main" id="{6C05E49F-6401-9793-7507-D60884037E47}"/>
              </a:ext>
            </a:extLst>
          </p:cNvPr>
          <p:cNvSpPr txBox="1">
            <a:spLocks/>
          </p:cNvSpPr>
          <p:nvPr/>
        </p:nvSpPr>
        <p:spPr bwMode="auto">
          <a:xfrm>
            <a:off x="5383619" y="2909749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17" name="Content Placeholder 2~6">
            <a:extLst>
              <a:ext uri="{FF2B5EF4-FFF2-40B4-BE49-F238E27FC236}">
                <a16:creationId xmlns:a16="http://schemas.microsoft.com/office/drawing/2014/main" id="{E694A6F4-A8F3-DF1B-9D26-B24758E98A02}"/>
              </a:ext>
            </a:extLst>
          </p:cNvPr>
          <p:cNvSpPr txBox="1">
            <a:spLocks/>
          </p:cNvSpPr>
          <p:nvPr/>
        </p:nvSpPr>
        <p:spPr bwMode="auto">
          <a:xfrm>
            <a:off x="7527718" y="2909749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18" name="Content Placeholder 2~7">
            <a:extLst>
              <a:ext uri="{FF2B5EF4-FFF2-40B4-BE49-F238E27FC236}">
                <a16:creationId xmlns:a16="http://schemas.microsoft.com/office/drawing/2014/main" id="{05649F47-7EDF-3CED-3C77-C3A3F5B21C39}"/>
              </a:ext>
            </a:extLst>
          </p:cNvPr>
          <p:cNvSpPr txBox="1">
            <a:spLocks/>
          </p:cNvSpPr>
          <p:nvPr/>
        </p:nvSpPr>
        <p:spPr bwMode="auto">
          <a:xfrm>
            <a:off x="9671815" y="2909749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19" name="Google Shape;1181;g6b2a921a3a_2_763">
            <a:extLst>
              <a:ext uri="{FF2B5EF4-FFF2-40B4-BE49-F238E27FC236}">
                <a16:creationId xmlns:a16="http://schemas.microsoft.com/office/drawing/2014/main" id="{4BA391AE-0732-AAC3-2819-54773387B2A8}"/>
              </a:ext>
            </a:extLst>
          </p:cNvPr>
          <p:cNvSpPr txBox="1"/>
          <p:nvPr/>
        </p:nvSpPr>
        <p:spPr>
          <a:xfrm>
            <a:off x="549928" y="3652223"/>
            <a:ext cx="2569376" cy="9190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rgbClr val="FFFFFF"/>
                </a:solidFill>
              </a:rPr>
              <a:t>Title</a:t>
            </a:r>
            <a:endParaRPr lang="en-US" sz="1471" dirty="0"/>
          </a:p>
        </p:txBody>
      </p:sp>
      <p:sp>
        <p:nvSpPr>
          <p:cNvPr id="20" name="Content Placeholder 2~8">
            <a:extLst>
              <a:ext uri="{FF2B5EF4-FFF2-40B4-BE49-F238E27FC236}">
                <a16:creationId xmlns:a16="http://schemas.microsoft.com/office/drawing/2014/main" id="{CAFD347F-7E96-87C4-C305-38D3B2AF5915}"/>
              </a:ext>
            </a:extLst>
          </p:cNvPr>
          <p:cNvSpPr txBox="1">
            <a:spLocks/>
          </p:cNvSpPr>
          <p:nvPr/>
        </p:nvSpPr>
        <p:spPr bwMode="auto">
          <a:xfrm>
            <a:off x="3237030" y="3998546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21" name="Content Placeholder 2~9">
            <a:extLst>
              <a:ext uri="{FF2B5EF4-FFF2-40B4-BE49-F238E27FC236}">
                <a16:creationId xmlns:a16="http://schemas.microsoft.com/office/drawing/2014/main" id="{2EAE6625-2626-E7BA-D592-6B7EAD27DBEE}"/>
              </a:ext>
            </a:extLst>
          </p:cNvPr>
          <p:cNvSpPr txBox="1">
            <a:spLocks/>
          </p:cNvSpPr>
          <p:nvPr/>
        </p:nvSpPr>
        <p:spPr bwMode="auto">
          <a:xfrm>
            <a:off x="5383619" y="3998546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22" name="Content Placeholder 2~10">
            <a:extLst>
              <a:ext uri="{FF2B5EF4-FFF2-40B4-BE49-F238E27FC236}">
                <a16:creationId xmlns:a16="http://schemas.microsoft.com/office/drawing/2014/main" id="{DBF632C8-C1D2-67BC-D734-115F87E0F139}"/>
              </a:ext>
            </a:extLst>
          </p:cNvPr>
          <p:cNvSpPr txBox="1">
            <a:spLocks/>
          </p:cNvSpPr>
          <p:nvPr/>
        </p:nvSpPr>
        <p:spPr bwMode="auto">
          <a:xfrm>
            <a:off x="7527718" y="3998546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23" name="Content Placeholder 2~11">
            <a:extLst>
              <a:ext uri="{FF2B5EF4-FFF2-40B4-BE49-F238E27FC236}">
                <a16:creationId xmlns:a16="http://schemas.microsoft.com/office/drawing/2014/main" id="{A6C0AA96-46E2-6541-64A0-FB188E69D270}"/>
              </a:ext>
            </a:extLst>
          </p:cNvPr>
          <p:cNvSpPr txBox="1">
            <a:spLocks/>
          </p:cNvSpPr>
          <p:nvPr/>
        </p:nvSpPr>
        <p:spPr bwMode="auto">
          <a:xfrm>
            <a:off x="9671815" y="3998546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24" name="Google Shape;1182;g6b2a921a3a_2_763">
            <a:extLst>
              <a:ext uri="{FF2B5EF4-FFF2-40B4-BE49-F238E27FC236}">
                <a16:creationId xmlns:a16="http://schemas.microsoft.com/office/drawing/2014/main" id="{F41600A9-9B48-78D9-8544-347B2F2B0D1A}"/>
              </a:ext>
            </a:extLst>
          </p:cNvPr>
          <p:cNvSpPr txBox="1"/>
          <p:nvPr/>
        </p:nvSpPr>
        <p:spPr>
          <a:xfrm>
            <a:off x="549928" y="4741018"/>
            <a:ext cx="2569376" cy="9190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rgbClr val="FFFFFF"/>
                </a:solidFill>
              </a:rPr>
              <a:t>Title</a:t>
            </a:r>
            <a:endParaRPr lang="en-US" sz="1471" dirty="0"/>
          </a:p>
        </p:txBody>
      </p:sp>
      <p:sp>
        <p:nvSpPr>
          <p:cNvPr id="25" name="Content Placeholder 2~12">
            <a:extLst>
              <a:ext uri="{FF2B5EF4-FFF2-40B4-BE49-F238E27FC236}">
                <a16:creationId xmlns:a16="http://schemas.microsoft.com/office/drawing/2014/main" id="{8EA3853D-A727-F97C-0AA6-E9E3C40B77E7}"/>
              </a:ext>
            </a:extLst>
          </p:cNvPr>
          <p:cNvSpPr txBox="1">
            <a:spLocks/>
          </p:cNvSpPr>
          <p:nvPr/>
        </p:nvSpPr>
        <p:spPr bwMode="auto">
          <a:xfrm>
            <a:off x="3237030" y="5087352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26" name="Content Placeholder 2~13">
            <a:extLst>
              <a:ext uri="{FF2B5EF4-FFF2-40B4-BE49-F238E27FC236}">
                <a16:creationId xmlns:a16="http://schemas.microsoft.com/office/drawing/2014/main" id="{13330A73-5392-34C1-A7B2-1136D72C7A4A}"/>
              </a:ext>
            </a:extLst>
          </p:cNvPr>
          <p:cNvSpPr txBox="1">
            <a:spLocks/>
          </p:cNvSpPr>
          <p:nvPr/>
        </p:nvSpPr>
        <p:spPr bwMode="auto">
          <a:xfrm>
            <a:off x="5383619" y="5087352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27" name="Content Placeholder 2~14">
            <a:extLst>
              <a:ext uri="{FF2B5EF4-FFF2-40B4-BE49-F238E27FC236}">
                <a16:creationId xmlns:a16="http://schemas.microsoft.com/office/drawing/2014/main" id="{4517DEC1-86AF-6B1A-DB64-38121ABBA6D2}"/>
              </a:ext>
            </a:extLst>
          </p:cNvPr>
          <p:cNvSpPr txBox="1">
            <a:spLocks/>
          </p:cNvSpPr>
          <p:nvPr/>
        </p:nvSpPr>
        <p:spPr bwMode="auto">
          <a:xfrm>
            <a:off x="7527718" y="5087352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28" name="Content Placeholder 2~15">
            <a:extLst>
              <a:ext uri="{FF2B5EF4-FFF2-40B4-BE49-F238E27FC236}">
                <a16:creationId xmlns:a16="http://schemas.microsoft.com/office/drawing/2014/main" id="{2948E1F8-3A99-9C7F-8C15-BDEE5756F28B}"/>
              </a:ext>
            </a:extLst>
          </p:cNvPr>
          <p:cNvSpPr txBox="1">
            <a:spLocks/>
          </p:cNvSpPr>
          <p:nvPr/>
        </p:nvSpPr>
        <p:spPr bwMode="auto">
          <a:xfrm>
            <a:off x="9671815" y="5087352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34" name="Google Shape;1178;g6b2a921a3a_2_763">
            <a:extLst>
              <a:ext uri="{FF2B5EF4-FFF2-40B4-BE49-F238E27FC236}">
                <a16:creationId xmlns:a16="http://schemas.microsoft.com/office/drawing/2014/main" id="{417B6E21-B27F-33E1-10BA-399C6B526794}"/>
              </a:ext>
            </a:extLst>
          </p:cNvPr>
          <p:cNvSpPr txBox="1"/>
          <p:nvPr/>
        </p:nvSpPr>
        <p:spPr>
          <a:xfrm>
            <a:off x="549928" y="1021283"/>
            <a:ext cx="2569376" cy="2697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sz="1471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35" name="Google Shape;1185;g6b2a921a3a_2_763">
            <a:extLst>
              <a:ext uri="{FF2B5EF4-FFF2-40B4-BE49-F238E27FC236}">
                <a16:creationId xmlns:a16="http://schemas.microsoft.com/office/drawing/2014/main" id="{39F6598A-6B53-D294-1D4D-2C1AA58B5E90}"/>
              </a:ext>
            </a:extLst>
          </p:cNvPr>
          <p:cNvSpPr txBox="1"/>
          <p:nvPr/>
        </p:nvSpPr>
        <p:spPr>
          <a:xfrm>
            <a:off x="5383619" y="1021283"/>
            <a:ext cx="1856982" cy="2697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1471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36" name="Shape4_20220715_163331">
            <a:extLst>
              <a:ext uri="{FF2B5EF4-FFF2-40B4-BE49-F238E27FC236}">
                <a16:creationId xmlns:a16="http://schemas.microsoft.com/office/drawing/2014/main" id="{FF5CE41C-ED96-8258-D77B-C67099E88888}"/>
              </a:ext>
            </a:extLst>
          </p:cNvPr>
          <p:cNvCxnSpPr/>
          <p:nvPr/>
        </p:nvCxnSpPr>
        <p:spPr>
          <a:xfrm>
            <a:off x="5383619" y="1360543"/>
            <a:ext cx="1856982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37" name="Google Shape;1188;g6b2a921a3a_2_763">
            <a:extLst>
              <a:ext uri="{FF2B5EF4-FFF2-40B4-BE49-F238E27FC236}">
                <a16:creationId xmlns:a16="http://schemas.microsoft.com/office/drawing/2014/main" id="{DC035F36-7956-37F7-2B4D-4B26C11B5812}"/>
              </a:ext>
            </a:extLst>
          </p:cNvPr>
          <p:cNvSpPr txBox="1"/>
          <p:nvPr/>
        </p:nvSpPr>
        <p:spPr>
          <a:xfrm>
            <a:off x="7530211" y="1021283"/>
            <a:ext cx="1856982" cy="2697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1471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38" name="Shape5_20220715_163331">
            <a:extLst>
              <a:ext uri="{FF2B5EF4-FFF2-40B4-BE49-F238E27FC236}">
                <a16:creationId xmlns:a16="http://schemas.microsoft.com/office/drawing/2014/main" id="{FCAAE366-E8EC-1448-2592-505DD8DBAD25}"/>
              </a:ext>
            </a:extLst>
          </p:cNvPr>
          <p:cNvCxnSpPr/>
          <p:nvPr/>
        </p:nvCxnSpPr>
        <p:spPr>
          <a:xfrm>
            <a:off x="7530211" y="1360543"/>
            <a:ext cx="1856982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39" name="Google Shape;1191;g6b2a921a3a_2_763">
            <a:extLst>
              <a:ext uri="{FF2B5EF4-FFF2-40B4-BE49-F238E27FC236}">
                <a16:creationId xmlns:a16="http://schemas.microsoft.com/office/drawing/2014/main" id="{D0EBE568-A0C4-3911-3438-BDBAAE3747B0}"/>
              </a:ext>
            </a:extLst>
          </p:cNvPr>
          <p:cNvSpPr txBox="1"/>
          <p:nvPr/>
        </p:nvSpPr>
        <p:spPr>
          <a:xfrm>
            <a:off x="9676804" y="1021283"/>
            <a:ext cx="1856982" cy="2697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1471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40" name="Shape6_20220715_163331">
            <a:extLst>
              <a:ext uri="{FF2B5EF4-FFF2-40B4-BE49-F238E27FC236}">
                <a16:creationId xmlns:a16="http://schemas.microsoft.com/office/drawing/2014/main" id="{6875B9B7-481A-858D-9117-0542378ECF0A}"/>
              </a:ext>
            </a:extLst>
          </p:cNvPr>
          <p:cNvCxnSpPr/>
          <p:nvPr/>
        </p:nvCxnSpPr>
        <p:spPr>
          <a:xfrm>
            <a:off x="9676804" y="1360543"/>
            <a:ext cx="1856982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41" name="Google Shape;1199;g6b2a921a3a_2_763">
            <a:extLst>
              <a:ext uri="{FF2B5EF4-FFF2-40B4-BE49-F238E27FC236}">
                <a16:creationId xmlns:a16="http://schemas.microsoft.com/office/drawing/2014/main" id="{5F86B9F8-6534-00F4-7112-99B7E8BCADE2}"/>
              </a:ext>
            </a:extLst>
          </p:cNvPr>
          <p:cNvSpPr txBox="1"/>
          <p:nvPr/>
        </p:nvSpPr>
        <p:spPr>
          <a:xfrm>
            <a:off x="3237030" y="1021283"/>
            <a:ext cx="1856982" cy="2697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1471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42" name="Shape7_20220715_163331">
            <a:extLst>
              <a:ext uri="{FF2B5EF4-FFF2-40B4-BE49-F238E27FC236}">
                <a16:creationId xmlns:a16="http://schemas.microsoft.com/office/drawing/2014/main" id="{B11955BB-F266-F5D9-C1C6-A4E6F1256E6C}"/>
              </a:ext>
            </a:extLst>
          </p:cNvPr>
          <p:cNvCxnSpPr/>
          <p:nvPr/>
        </p:nvCxnSpPr>
        <p:spPr>
          <a:xfrm>
            <a:off x="3237030" y="1360543"/>
            <a:ext cx="1856982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292127966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FEEDF0-FDAF-83BC-0FF7-7B75847756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54F5F705-360C-3DEB-79C7-57A76B901F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4F5F705-360C-3DEB-79C7-57A76B901F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009AE21-125D-10EF-3962-8070D9DC98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86013F19-91AF-AF69-0745-769650F33DB4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33</a:t>
            </a:fld>
            <a:endParaRPr lang="en-US" sz="1200" dirty="0">
              <a:solidFill>
                <a:schemeClr val="bg1"/>
              </a:solidFill>
            </a:endParaRPr>
          </a:p>
        </p:txBody>
      </p:sp>
      <p:cxnSp>
        <p:nvCxnSpPr>
          <p:cNvPr id="5" name="Shape0_20220715_163354">
            <a:extLst>
              <a:ext uri="{FF2B5EF4-FFF2-40B4-BE49-F238E27FC236}">
                <a16:creationId xmlns:a16="http://schemas.microsoft.com/office/drawing/2014/main" id="{0A6EE622-ED96-7B3D-9709-173E7D057089}"/>
              </a:ext>
            </a:extLst>
          </p:cNvPr>
          <p:cNvCxnSpPr/>
          <p:nvPr/>
        </p:nvCxnSpPr>
        <p:spPr>
          <a:xfrm>
            <a:off x="3237027" y="2297099"/>
            <a:ext cx="8296757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6" name="Shape1_20220715_163354">
            <a:extLst>
              <a:ext uri="{FF2B5EF4-FFF2-40B4-BE49-F238E27FC236}">
                <a16:creationId xmlns:a16="http://schemas.microsoft.com/office/drawing/2014/main" id="{AE9BE5A8-1CEF-5A39-B884-6515CE796A4E}"/>
              </a:ext>
            </a:extLst>
          </p:cNvPr>
          <p:cNvCxnSpPr/>
          <p:nvPr/>
        </p:nvCxnSpPr>
        <p:spPr>
          <a:xfrm>
            <a:off x="3237027" y="3189130"/>
            <a:ext cx="8296757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7" name="Shape2_20220715_163354">
            <a:extLst>
              <a:ext uri="{FF2B5EF4-FFF2-40B4-BE49-F238E27FC236}">
                <a16:creationId xmlns:a16="http://schemas.microsoft.com/office/drawing/2014/main" id="{103A1977-1F80-1BE3-E363-900164A65A78}"/>
              </a:ext>
            </a:extLst>
          </p:cNvPr>
          <p:cNvCxnSpPr/>
          <p:nvPr/>
        </p:nvCxnSpPr>
        <p:spPr>
          <a:xfrm>
            <a:off x="3237027" y="4081166"/>
            <a:ext cx="8296757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8" name="Shape3_20220715_163354">
            <a:extLst>
              <a:ext uri="{FF2B5EF4-FFF2-40B4-BE49-F238E27FC236}">
                <a16:creationId xmlns:a16="http://schemas.microsoft.com/office/drawing/2014/main" id="{740D2340-14E6-8380-589A-25CDE03198B3}"/>
              </a:ext>
            </a:extLst>
          </p:cNvPr>
          <p:cNvCxnSpPr/>
          <p:nvPr/>
        </p:nvCxnSpPr>
        <p:spPr>
          <a:xfrm>
            <a:off x="3237027" y="4973199"/>
            <a:ext cx="8296757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" name="Google Shape;1179;g6b2a921a3a_2_763">
            <a:extLst>
              <a:ext uri="{FF2B5EF4-FFF2-40B4-BE49-F238E27FC236}">
                <a16:creationId xmlns:a16="http://schemas.microsoft.com/office/drawing/2014/main" id="{9B8396D2-B60B-EAE2-642C-88F7916BD9C0}"/>
              </a:ext>
            </a:extLst>
          </p:cNvPr>
          <p:cNvSpPr txBox="1"/>
          <p:nvPr/>
        </p:nvSpPr>
        <p:spPr>
          <a:xfrm>
            <a:off x="549928" y="1474619"/>
            <a:ext cx="2569376" cy="75292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rgbClr val="FFFFFF"/>
                </a:solidFill>
              </a:rPr>
              <a:t>Title</a:t>
            </a:r>
            <a:endParaRPr sz="1471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69E034F-4B8E-8036-2B4C-D39E47C49F71}"/>
              </a:ext>
            </a:extLst>
          </p:cNvPr>
          <p:cNvSpPr txBox="1">
            <a:spLocks/>
          </p:cNvSpPr>
          <p:nvPr/>
        </p:nvSpPr>
        <p:spPr bwMode="auto">
          <a:xfrm>
            <a:off x="3237030" y="1737911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11" name="Content Placeholder 2~1">
            <a:extLst>
              <a:ext uri="{FF2B5EF4-FFF2-40B4-BE49-F238E27FC236}">
                <a16:creationId xmlns:a16="http://schemas.microsoft.com/office/drawing/2014/main" id="{CC85143D-448D-B0B4-71C4-53DF52A8AB6F}"/>
              </a:ext>
            </a:extLst>
          </p:cNvPr>
          <p:cNvSpPr txBox="1">
            <a:spLocks/>
          </p:cNvSpPr>
          <p:nvPr/>
        </p:nvSpPr>
        <p:spPr bwMode="auto">
          <a:xfrm>
            <a:off x="5383619" y="1737911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12" name="Content Placeholder 2~2">
            <a:extLst>
              <a:ext uri="{FF2B5EF4-FFF2-40B4-BE49-F238E27FC236}">
                <a16:creationId xmlns:a16="http://schemas.microsoft.com/office/drawing/2014/main" id="{BCD5507E-D0B4-356E-AD4B-FB3FBC9DC0ED}"/>
              </a:ext>
            </a:extLst>
          </p:cNvPr>
          <p:cNvSpPr txBox="1">
            <a:spLocks/>
          </p:cNvSpPr>
          <p:nvPr/>
        </p:nvSpPr>
        <p:spPr bwMode="auto">
          <a:xfrm>
            <a:off x="7527718" y="1737911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13" name="Content Placeholder 2~3">
            <a:extLst>
              <a:ext uri="{FF2B5EF4-FFF2-40B4-BE49-F238E27FC236}">
                <a16:creationId xmlns:a16="http://schemas.microsoft.com/office/drawing/2014/main" id="{520602FA-B3ED-2A24-72E8-8E10106E543A}"/>
              </a:ext>
            </a:extLst>
          </p:cNvPr>
          <p:cNvSpPr txBox="1">
            <a:spLocks/>
          </p:cNvSpPr>
          <p:nvPr/>
        </p:nvSpPr>
        <p:spPr bwMode="auto">
          <a:xfrm>
            <a:off x="9671815" y="1737911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14" name="Google Shape;1180;g6b2a921a3a_2_763">
            <a:extLst>
              <a:ext uri="{FF2B5EF4-FFF2-40B4-BE49-F238E27FC236}">
                <a16:creationId xmlns:a16="http://schemas.microsoft.com/office/drawing/2014/main" id="{7F1D7546-8662-81AE-579A-C70964F32AAE}"/>
              </a:ext>
            </a:extLst>
          </p:cNvPr>
          <p:cNvSpPr txBox="1"/>
          <p:nvPr/>
        </p:nvSpPr>
        <p:spPr>
          <a:xfrm>
            <a:off x="549928" y="2366653"/>
            <a:ext cx="2569376" cy="75292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rgbClr val="FFFFFF"/>
                </a:solidFill>
              </a:rPr>
              <a:t>Title</a:t>
            </a:r>
            <a:endParaRPr lang="en-US" sz="1471" dirty="0"/>
          </a:p>
        </p:txBody>
      </p:sp>
      <p:sp>
        <p:nvSpPr>
          <p:cNvPr id="15" name="Content Placeholder 2~4">
            <a:extLst>
              <a:ext uri="{FF2B5EF4-FFF2-40B4-BE49-F238E27FC236}">
                <a16:creationId xmlns:a16="http://schemas.microsoft.com/office/drawing/2014/main" id="{46C1F0DC-003F-6550-2F94-8F510F9981C0}"/>
              </a:ext>
            </a:extLst>
          </p:cNvPr>
          <p:cNvSpPr txBox="1">
            <a:spLocks/>
          </p:cNvSpPr>
          <p:nvPr/>
        </p:nvSpPr>
        <p:spPr bwMode="auto">
          <a:xfrm>
            <a:off x="3237030" y="2629945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16" name="Content Placeholder 2~5">
            <a:extLst>
              <a:ext uri="{FF2B5EF4-FFF2-40B4-BE49-F238E27FC236}">
                <a16:creationId xmlns:a16="http://schemas.microsoft.com/office/drawing/2014/main" id="{CFA186D6-1F2E-1B05-DB77-A890B341304A}"/>
              </a:ext>
            </a:extLst>
          </p:cNvPr>
          <p:cNvSpPr txBox="1">
            <a:spLocks/>
          </p:cNvSpPr>
          <p:nvPr/>
        </p:nvSpPr>
        <p:spPr bwMode="auto">
          <a:xfrm>
            <a:off x="5383619" y="2629945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17" name="Content Placeholder 2~6">
            <a:extLst>
              <a:ext uri="{FF2B5EF4-FFF2-40B4-BE49-F238E27FC236}">
                <a16:creationId xmlns:a16="http://schemas.microsoft.com/office/drawing/2014/main" id="{5EDB7D57-C606-8452-391B-A7A4E2B2705B}"/>
              </a:ext>
            </a:extLst>
          </p:cNvPr>
          <p:cNvSpPr txBox="1">
            <a:spLocks/>
          </p:cNvSpPr>
          <p:nvPr/>
        </p:nvSpPr>
        <p:spPr bwMode="auto">
          <a:xfrm>
            <a:off x="7527718" y="2629945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18" name="Content Placeholder 2~7">
            <a:extLst>
              <a:ext uri="{FF2B5EF4-FFF2-40B4-BE49-F238E27FC236}">
                <a16:creationId xmlns:a16="http://schemas.microsoft.com/office/drawing/2014/main" id="{6B8AD6B8-295C-3F87-4D19-483D3E86CD25}"/>
              </a:ext>
            </a:extLst>
          </p:cNvPr>
          <p:cNvSpPr txBox="1">
            <a:spLocks/>
          </p:cNvSpPr>
          <p:nvPr/>
        </p:nvSpPr>
        <p:spPr bwMode="auto">
          <a:xfrm>
            <a:off x="9671815" y="2629945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19" name="Google Shape;1181;g6b2a921a3a_2_763">
            <a:extLst>
              <a:ext uri="{FF2B5EF4-FFF2-40B4-BE49-F238E27FC236}">
                <a16:creationId xmlns:a16="http://schemas.microsoft.com/office/drawing/2014/main" id="{EF346F65-E53A-1E32-05AC-14B0F5C23E0E}"/>
              </a:ext>
            </a:extLst>
          </p:cNvPr>
          <p:cNvSpPr txBox="1"/>
          <p:nvPr/>
        </p:nvSpPr>
        <p:spPr>
          <a:xfrm>
            <a:off x="549928" y="3258694"/>
            <a:ext cx="2569376" cy="75292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rgbClr val="FFFFFF"/>
                </a:solidFill>
              </a:rPr>
              <a:t>Title</a:t>
            </a:r>
            <a:endParaRPr lang="en-US" sz="1471" dirty="0"/>
          </a:p>
        </p:txBody>
      </p:sp>
      <p:sp>
        <p:nvSpPr>
          <p:cNvPr id="20" name="Content Placeholder 2~8">
            <a:extLst>
              <a:ext uri="{FF2B5EF4-FFF2-40B4-BE49-F238E27FC236}">
                <a16:creationId xmlns:a16="http://schemas.microsoft.com/office/drawing/2014/main" id="{ECC0162F-5F59-B59A-380B-A9C3DB8BC211}"/>
              </a:ext>
            </a:extLst>
          </p:cNvPr>
          <p:cNvSpPr txBox="1">
            <a:spLocks/>
          </p:cNvSpPr>
          <p:nvPr/>
        </p:nvSpPr>
        <p:spPr bwMode="auto">
          <a:xfrm>
            <a:off x="3237030" y="3521978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21" name="Content Placeholder 2~9">
            <a:extLst>
              <a:ext uri="{FF2B5EF4-FFF2-40B4-BE49-F238E27FC236}">
                <a16:creationId xmlns:a16="http://schemas.microsoft.com/office/drawing/2014/main" id="{8EE88001-0BA6-FB53-80F4-F28E2EA19279}"/>
              </a:ext>
            </a:extLst>
          </p:cNvPr>
          <p:cNvSpPr txBox="1">
            <a:spLocks/>
          </p:cNvSpPr>
          <p:nvPr/>
        </p:nvSpPr>
        <p:spPr bwMode="auto">
          <a:xfrm>
            <a:off x="5383619" y="3521978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22" name="Content Placeholder 2~10">
            <a:extLst>
              <a:ext uri="{FF2B5EF4-FFF2-40B4-BE49-F238E27FC236}">
                <a16:creationId xmlns:a16="http://schemas.microsoft.com/office/drawing/2014/main" id="{FE899772-CF8E-59D7-01A8-DD86D88E8E8C}"/>
              </a:ext>
            </a:extLst>
          </p:cNvPr>
          <p:cNvSpPr txBox="1">
            <a:spLocks/>
          </p:cNvSpPr>
          <p:nvPr/>
        </p:nvSpPr>
        <p:spPr bwMode="auto">
          <a:xfrm>
            <a:off x="7527718" y="3521978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23" name="Content Placeholder 2~11">
            <a:extLst>
              <a:ext uri="{FF2B5EF4-FFF2-40B4-BE49-F238E27FC236}">
                <a16:creationId xmlns:a16="http://schemas.microsoft.com/office/drawing/2014/main" id="{9AC50943-89B5-3C06-A0C5-0EE91B14B629}"/>
              </a:ext>
            </a:extLst>
          </p:cNvPr>
          <p:cNvSpPr txBox="1">
            <a:spLocks/>
          </p:cNvSpPr>
          <p:nvPr/>
        </p:nvSpPr>
        <p:spPr bwMode="auto">
          <a:xfrm>
            <a:off x="9671815" y="3521978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24" name="Google Shape;1182;g6b2a921a3a_2_763">
            <a:extLst>
              <a:ext uri="{FF2B5EF4-FFF2-40B4-BE49-F238E27FC236}">
                <a16:creationId xmlns:a16="http://schemas.microsoft.com/office/drawing/2014/main" id="{48F771EE-E9B0-E8DB-7460-F44DAB196CD5}"/>
              </a:ext>
            </a:extLst>
          </p:cNvPr>
          <p:cNvSpPr txBox="1"/>
          <p:nvPr/>
        </p:nvSpPr>
        <p:spPr>
          <a:xfrm>
            <a:off x="549928" y="4150725"/>
            <a:ext cx="2569376" cy="75292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rgbClr val="FFFFFF"/>
                </a:solidFill>
              </a:rPr>
              <a:t>Title</a:t>
            </a:r>
            <a:endParaRPr lang="en-US" sz="1471" dirty="0"/>
          </a:p>
        </p:txBody>
      </p:sp>
      <p:sp>
        <p:nvSpPr>
          <p:cNvPr id="25" name="Content Placeholder 2~12">
            <a:extLst>
              <a:ext uri="{FF2B5EF4-FFF2-40B4-BE49-F238E27FC236}">
                <a16:creationId xmlns:a16="http://schemas.microsoft.com/office/drawing/2014/main" id="{CD95BC03-F2FF-82F4-A3DC-E066115AD489}"/>
              </a:ext>
            </a:extLst>
          </p:cNvPr>
          <p:cNvSpPr txBox="1">
            <a:spLocks/>
          </p:cNvSpPr>
          <p:nvPr/>
        </p:nvSpPr>
        <p:spPr bwMode="auto">
          <a:xfrm>
            <a:off x="3237030" y="4414018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26" name="Content Placeholder 2~13">
            <a:extLst>
              <a:ext uri="{FF2B5EF4-FFF2-40B4-BE49-F238E27FC236}">
                <a16:creationId xmlns:a16="http://schemas.microsoft.com/office/drawing/2014/main" id="{D1BA5ECB-AFEE-90F1-355D-89C65A1DB3ED}"/>
              </a:ext>
            </a:extLst>
          </p:cNvPr>
          <p:cNvSpPr txBox="1">
            <a:spLocks/>
          </p:cNvSpPr>
          <p:nvPr/>
        </p:nvSpPr>
        <p:spPr bwMode="auto">
          <a:xfrm>
            <a:off x="5383619" y="4414018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27" name="Content Placeholder 2~14">
            <a:extLst>
              <a:ext uri="{FF2B5EF4-FFF2-40B4-BE49-F238E27FC236}">
                <a16:creationId xmlns:a16="http://schemas.microsoft.com/office/drawing/2014/main" id="{30EE026B-0E08-0B18-FA9A-3435DC686C2C}"/>
              </a:ext>
            </a:extLst>
          </p:cNvPr>
          <p:cNvSpPr txBox="1">
            <a:spLocks/>
          </p:cNvSpPr>
          <p:nvPr/>
        </p:nvSpPr>
        <p:spPr bwMode="auto">
          <a:xfrm>
            <a:off x="7527718" y="4414018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28" name="Content Placeholder 2~15">
            <a:extLst>
              <a:ext uri="{FF2B5EF4-FFF2-40B4-BE49-F238E27FC236}">
                <a16:creationId xmlns:a16="http://schemas.microsoft.com/office/drawing/2014/main" id="{BCBF644B-E0E1-3D8B-DFE0-F3ED815C23C1}"/>
              </a:ext>
            </a:extLst>
          </p:cNvPr>
          <p:cNvSpPr txBox="1">
            <a:spLocks/>
          </p:cNvSpPr>
          <p:nvPr/>
        </p:nvSpPr>
        <p:spPr bwMode="auto">
          <a:xfrm>
            <a:off x="9671815" y="4414018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29" name="Google Shape;1183;g6b2a921a3a_2_763">
            <a:extLst>
              <a:ext uri="{FF2B5EF4-FFF2-40B4-BE49-F238E27FC236}">
                <a16:creationId xmlns:a16="http://schemas.microsoft.com/office/drawing/2014/main" id="{8CA03723-858A-0283-8397-1AFDDC45D4C8}"/>
              </a:ext>
            </a:extLst>
          </p:cNvPr>
          <p:cNvSpPr txBox="1"/>
          <p:nvPr/>
        </p:nvSpPr>
        <p:spPr>
          <a:xfrm>
            <a:off x="549928" y="5034332"/>
            <a:ext cx="2569376" cy="75292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rgbClr val="FFFFFF"/>
                </a:solidFill>
              </a:rPr>
              <a:t>Title</a:t>
            </a:r>
            <a:endParaRPr lang="en-US" sz="1471" dirty="0"/>
          </a:p>
        </p:txBody>
      </p:sp>
      <p:sp>
        <p:nvSpPr>
          <p:cNvPr id="30" name="Content Placeholder 2~16">
            <a:extLst>
              <a:ext uri="{FF2B5EF4-FFF2-40B4-BE49-F238E27FC236}">
                <a16:creationId xmlns:a16="http://schemas.microsoft.com/office/drawing/2014/main" id="{9D928092-EFCF-2A64-5E07-0569802EE85C}"/>
              </a:ext>
            </a:extLst>
          </p:cNvPr>
          <p:cNvSpPr txBox="1">
            <a:spLocks/>
          </p:cNvSpPr>
          <p:nvPr/>
        </p:nvSpPr>
        <p:spPr bwMode="auto">
          <a:xfrm>
            <a:off x="3237030" y="5297623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31" name="Content Placeholder 2~17">
            <a:extLst>
              <a:ext uri="{FF2B5EF4-FFF2-40B4-BE49-F238E27FC236}">
                <a16:creationId xmlns:a16="http://schemas.microsoft.com/office/drawing/2014/main" id="{6609CA2C-4AA3-D198-BBD8-F14FF22B7A16}"/>
              </a:ext>
            </a:extLst>
          </p:cNvPr>
          <p:cNvSpPr txBox="1">
            <a:spLocks/>
          </p:cNvSpPr>
          <p:nvPr/>
        </p:nvSpPr>
        <p:spPr bwMode="auto">
          <a:xfrm>
            <a:off x="5383619" y="5297623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32" name="Content Placeholder 2~18">
            <a:extLst>
              <a:ext uri="{FF2B5EF4-FFF2-40B4-BE49-F238E27FC236}">
                <a16:creationId xmlns:a16="http://schemas.microsoft.com/office/drawing/2014/main" id="{D72179B6-59A8-2E45-B740-F5FDCCCE4F8E}"/>
              </a:ext>
            </a:extLst>
          </p:cNvPr>
          <p:cNvSpPr txBox="1">
            <a:spLocks/>
          </p:cNvSpPr>
          <p:nvPr/>
        </p:nvSpPr>
        <p:spPr bwMode="auto">
          <a:xfrm>
            <a:off x="7527718" y="5297623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33" name="Content Placeholder 2~19">
            <a:extLst>
              <a:ext uri="{FF2B5EF4-FFF2-40B4-BE49-F238E27FC236}">
                <a16:creationId xmlns:a16="http://schemas.microsoft.com/office/drawing/2014/main" id="{1CAE19B9-8658-7EC1-FEC7-62E064606700}"/>
              </a:ext>
            </a:extLst>
          </p:cNvPr>
          <p:cNvSpPr txBox="1">
            <a:spLocks/>
          </p:cNvSpPr>
          <p:nvPr/>
        </p:nvSpPr>
        <p:spPr bwMode="auto">
          <a:xfrm>
            <a:off x="9671815" y="5297623"/>
            <a:ext cx="1856982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34" name="Google Shape;1178;g6b2a921a3a_2_763">
            <a:extLst>
              <a:ext uri="{FF2B5EF4-FFF2-40B4-BE49-F238E27FC236}">
                <a16:creationId xmlns:a16="http://schemas.microsoft.com/office/drawing/2014/main" id="{B01D59B3-F2A4-017F-8239-C1495C2D5943}"/>
              </a:ext>
            </a:extLst>
          </p:cNvPr>
          <p:cNvSpPr txBox="1"/>
          <p:nvPr/>
        </p:nvSpPr>
        <p:spPr>
          <a:xfrm>
            <a:off x="549928" y="1021283"/>
            <a:ext cx="2569376" cy="2697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sz="1471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35" name="Google Shape;1185;g6b2a921a3a_2_763">
            <a:extLst>
              <a:ext uri="{FF2B5EF4-FFF2-40B4-BE49-F238E27FC236}">
                <a16:creationId xmlns:a16="http://schemas.microsoft.com/office/drawing/2014/main" id="{C1CE852A-7BEA-A23F-967C-9EE2BEE38FFF}"/>
              </a:ext>
            </a:extLst>
          </p:cNvPr>
          <p:cNvSpPr txBox="1"/>
          <p:nvPr/>
        </p:nvSpPr>
        <p:spPr>
          <a:xfrm>
            <a:off x="5383619" y="1021283"/>
            <a:ext cx="1856982" cy="2697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1471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36" name="Shape4_20220715_163331">
            <a:extLst>
              <a:ext uri="{FF2B5EF4-FFF2-40B4-BE49-F238E27FC236}">
                <a16:creationId xmlns:a16="http://schemas.microsoft.com/office/drawing/2014/main" id="{E0D1DAC7-0CB1-2132-0729-3C0D53187BB0}"/>
              </a:ext>
            </a:extLst>
          </p:cNvPr>
          <p:cNvCxnSpPr/>
          <p:nvPr/>
        </p:nvCxnSpPr>
        <p:spPr>
          <a:xfrm>
            <a:off x="5383619" y="1360543"/>
            <a:ext cx="1856982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37" name="Google Shape;1188;g6b2a921a3a_2_763">
            <a:extLst>
              <a:ext uri="{FF2B5EF4-FFF2-40B4-BE49-F238E27FC236}">
                <a16:creationId xmlns:a16="http://schemas.microsoft.com/office/drawing/2014/main" id="{60883CF8-7350-0871-B969-4B95B7DF18A2}"/>
              </a:ext>
            </a:extLst>
          </p:cNvPr>
          <p:cNvSpPr txBox="1"/>
          <p:nvPr/>
        </p:nvSpPr>
        <p:spPr>
          <a:xfrm>
            <a:off x="7530211" y="1021283"/>
            <a:ext cx="1856982" cy="2697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1471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38" name="Shape5_20220715_163331">
            <a:extLst>
              <a:ext uri="{FF2B5EF4-FFF2-40B4-BE49-F238E27FC236}">
                <a16:creationId xmlns:a16="http://schemas.microsoft.com/office/drawing/2014/main" id="{6ACA1876-3DBB-5471-5DE8-372CF57F8421}"/>
              </a:ext>
            </a:extLst>
          </p:cNvPr>
          <p:cNvCxnSpPr/>
          <p:nvPr/>
        </p:nvCxnSpPr>
        <p:spPr>
          <a:xfrm>
            <a:off x="7530211" y="1360543"/>
            <a:ext cx="1856982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39" name="Google Shape;1191;g6b2a921a3a_2_763">
            <a:extLst>
              <a:ext uri="{FF2B5EF4-FFF2-40B4-BE49-F238E27FC236}">
                <a16:creationId xmlns:a16="http://schemas.microsoft.com/office/drawing/2014/main" id="{846B6BF3-67F5-67FD-B6BA-6427C1C63804}"/>
              </a:ext>
            </a:extLst>
          </p:cNvPr>
          <p:cNvSpPr txBox="1"/>
          <p:nvPr/>
        </p:nvSpPr>
        <p:spPr>
          <a:xfrm>
            <a:off x="9676804" y="1021283"/>
            <a:ext cx="1856982" cy="2697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1471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40" name="Shape6_20220715_163331">
            <a:extLst>
              <a:ext uri="{FF2B5EF4-FFF2-40B4-BE49-F238E27FC236}">
                <a16:creationId xmlns:a16="http://schemas.microsoft.com/office/drawing/2014/main" id="{9F7B2FBF-9F8E-59DD-CBB5-2050D67E6D36}"/>
              </a:ext>
            </a:extLst>
          </p:cNvPr>
          <p:cNvCxnSpPr/>
          <p:nvPr/>
        </p:nvCxnSpPr>
        <p:spPr>
          <a:xfrm>
            <a:off x="9676804" y="1360543"/>
            <a:ext cx="1856982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41" name="Google Shape;1199;g6b2a921a3a_2_763">
            <a:extLst>
              <a:ext uri="{FF2B5EF4-FFF2-40B4-BE49-F238E27FC236}">
                <a16:creationId xmlns:a16="http://schemas.microsoft.com/office/drawing/2014/main" id="{310C68A2-DEC5-D718-E87E-014165E5515C}"/>
              </a:ext>
            </a:extLst>
          </p:cNvPr>
          <p:cNvSpPr txBox="1"/>
          <p:nvPr/>
        </p:nvSpPr>
        <p:spPr>
          <a:xfrm>
            <a:off x="3237030" y="1021283"/>
            <a:ext cx="1856982" cy="2697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1471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42" name="Shape7_20220715_163331">
            <a:extLst>
              <a:ext uri="{FF2B5EF4-FFF2-40B4-BE49-F238E27FC236}">
                <a16:creationId xmlns:a16="http://schemas.microsoft.com/office/drawing/2014/main" id="{5C42A3C4-9D78-814C-28B5-02EB13EE2FC5}"/>
              </a:ext>
            </a:extLst>
          </p:cNvPr>
          <p:cNvCxnSpPr/>
          <p:nvPr/>
        </p:nvCxnSpPr>
        <p:spPr>
          <a:xfrm>
            <a:off x="3237030" y="1360543"/>
            <a:ext cx="1856982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295902266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E51396E-5418-147A-5990-B1DAA47383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82CCDFEA-F894-750A-5413-6F7108F8A3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2CCDFEA-F894-750A-5413-6F7108F8A3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2B5BC2B-95AB-CF14-8ACC-9CF442684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B4534316-5B95-D7F9-6958-250E530AE4DF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34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22D2AAE1-DB17-D549-6E71-9C9CB934FF8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8896000"/>
              </p:ext>
            </p:extLst>
          </p:nvPr>
        </p:nvGraphicFramePr>
        <p:xfrm>
          <a:off x="754521" y="1282304"/>
          <a:ext cx="10682958" cy="4166616"/>
        </p:xfrm>
        <a:graphic>
          <a:graphicData uri="http://schemas.openxmlformats.org/drawingml/2006/table">
            <a:tbl>
              <a:tblPr firstRow="1" bandRow="1"/>
              <a:tblGrid>
                <a:gridCol w="1780493">
                  <a:extLst>
                    <a:ext uri="{9D8B030D-6E8A-4147-A177-3AD203B41FA5}">
                      <a16:colId xmlns:a16="http://schemas.microsoft.com/office/drawing/2014/main" val="3659823728"/>
                    </a:ext>
                  </a:extLst>
                </a:gridCol>
                <a:gridCol w="1780493">
                  <a:extLst>
                    <a:ext uri="{9D8B030D-6E8A-4147-A177-3AD203B41FA5}">
                      <a16:colId xmlns:a16="http://schemas.microsoft.com/office/drawing/2014/main" val="4051637255"/>
                    </a:ext>
                  </a:extLst>
                </a:gridCol>
                <a:gridCol w="1780493">
                  <a:extLst>
                    <a:ext uri="{9D8B030D-6E8A-4147-A177-3AD203B41FA5}">
                      <a16:colId xmlns:a16="http://schemas.microsoft.com/office/drawing/2014/main" val="3837199012"/>
                    </a:ext>
                  </a:extLst>
                </a:gridCol>
                <a:gridCol w="1780493">
                  <a:extLst>
                    <a:ext uri="{9D8B030D-6E8A-4147-A177-3AD203B41FA5}">
                      <a16:colId xmlns:a16="http://schemas.microsoft.com/office/drawing/2014/main" val="3754817532"/>
                    </a:ext>
                  </a:extLst>
                </a:gridCol>
                <a:gridCol w="1780493">
                  <a:extLst>
                    <a:ext uri="{9D8B030D-6E8A-4147-A177-3AD203B41FA5}">
                      <a16:colId xmlns:a16="http://schemas.microsoft.com/office/drawing/2014/main" val="2679508145"/>
                    </a:ext>
                  </a:extLst>
                </a:gridCol>
                <a:gridCol w="1780493">
                  <a:extLst>
                    <a:ext uri="{9D8B030D-6E8A-4147-A177-3AD203B41FA5}">
                      <a16:colId xmlns:a16="http://schemas.microsoft.com/office/drawing/2014/main" val="1472900263"/>
                    </a:ext>
                  </a:extLst>
                </a:gridCol>
              </a:tblGrid>
              <a:tr h="41148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itle</a:t>
                      </a:r>
                      <a:endParaRPr lang="en-IN" sz="150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itle</a:t>
                      </a:r>
                      <a:endParaRPr lang="en-IN" sz="150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itle</a:t>
                      </a:r>
                      <a:endParaRPr lang="en-IN" sz="150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itle</a:t>
                      </a:r>
                      <a:endParaRPr lang="en-IN" sz="150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itle</a:t>
                      </a:r>
                      <a:endParaRPr lang="en-IN" sz="150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itle</a:t>
                      </a:r>
                      <a:endParaRPr lang="en-IN" sz="150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6476668"/>
                  </a:ext>
                </a:extLst>
              </a:tr>
              <a:tr h="187756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l"/>
                      <a:r>
                        <a:rPr kumimoji="0" lang="en-IN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itle</a:t>
                      </a:r>
                      <a:endParaRPr lang="en-IN" sz="1500" b="1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…</a:t>
                      </a:r>
                    </a:p>
                  </a:txBody>
                  <a:tcPr marL="84968" marR="84968" marT="42485" marB="42485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…</a:t>
                      </a:r>
                      <a:endParaRPr lang="en-IN" sz="1500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…</a:t>
                      </a:r>
                      <a:endParaRPr lang="en-IN" sz="1500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…</a:t>
                      </a:r>
                      <a:endParaRPr lang="en-IN" sz="1500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…</a:t>
                      </a:r>
                      <a:endParaRPr lang="en-IN" sz="1500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241880"/>
                  </a:ext>
                </a:extLst>
              </a:tr>
              <a:tr h="187756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l"/>
                      <a:r>
                        <a:rPr kumimoji="0" lang="en-IN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itle</a:t>
                      </a:r>
                      <a:endParaRPr lang="en-IN" sz="1500" b="1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…</a:t>
                      </a:r>
                      <a:endParaRPr lang="en-IN" sz="1500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…</a:t>
                      </a:r>
                      <a:endParaRPr lang="en-IN" sz="1500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…</a:t>
                      </a:r>
                      <a:endParaRPr lang="en-IN" sz="1500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…</a:t>
                      </a:r>
                      <a:endParaRPr lang="en-IN" sz="1500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…</a:t>
                      </a:r>
                      <a:endParaRPr lang="en-IN" sz="1500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20813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2611460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04DA14-6EF0-75A0-FEA6-BFFF0C4961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1ACC098D-5BD7-82B7-09A0-CE38B18B9EF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CC098D-5BD7-82B7-09A0-CE38B18B9E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DBAE94E-8403-EE4F-2B69-7893359213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D5DCF6AD-A629-6D00-B37D-23581DBDA37A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35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8FF1AA65-80B6-6041-1F1C-6E5E6F8AD3A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53444753"/>
              </p:ext>
            </p:extLst>
          </p:nvPr>
        </p:nvGraphicFramePr>
        <p:xfrm>
          <a:off x="754521" y="1282309"/>
          <a:ext cx="10682958" cy="4722250"/>
        </p:xfrm>
        <a:graphic>
          <a:graphicData uri="http://schemas.openxmlformats.org/drawingml/2006/table">
            <a:tbl>
              <a:tblPr firstRow="1" bandRow="1"/>
              <a:tblGrid>
                <a:gridCol w="1780493">
                  <a:extLst>
                    <a:ext uri="{9D8B030D-6E8A-4147-A177-3AD203B41FA5}">
                      <a16:colId xmlns:a16="http://schemas.microsoft.com/office/drawing/2014/main" val="3659823728"/>
                    </a:ext>
                  </a:extLst>
                </a:gridCol>
                <a:gridCol w="1780493">
                  <a:extLst>
                    <a:ext uri="{9D8B030D-6E8A-4147-A177-3AD203B41FA5}">
                      <a16:colId xmlns:a16="http://schemas.microsoft.com/office/drawing/2014/main" val="4051637255"/>
                    </a:ext>
                  </a:extLst>
                </a:gridCol>
                <a:gridCol w="1780493">
                  <a:extLst>
                    <a:ext uri="{9D8B030D-6E8A-4147-A177-3AD203B41FA5}">
                      <a16:colId xmlns:a16="http://schemas.microsoft.com/office/drawing/2014/main" val="3837199012"/>
                    </a:ext>
                  </a:extLst>
                </a:gridCol>
                <a:gridCol w="1780493">
                  <a:extLst>
                    <a:ext uri="{9D8B030D-6E8A-4147-A177-3AD203B41FA5}">
                      <a16:colId xmlns:a16="http://schemas.microsoft.com/office/drawing/2014/main" val="3754817532"/>
                    </a:ext>
                  </a:extLst>
                </a:gridCol>
                <a:gridCol w="1780493">
                  <a:extLst>
                    <a:ext uri="{9D8B030D-6E8A-4147-A177-3AD203B41FA5}">
                      <a16:colId xmlns:a16="http://schemas.microsoft.com/office/drawing/2014/main" val="2679508145"/>
                    </a:ext>
                  </a:extLst>
                </a:gridCol>
                <a:gridCol w="1780493">
                  <a:extLst>
                    <a:ext uri="{9D8B030D-6E8A-4147-A177-3AD203B41FA5}">
                      <a16:colId xmlns:a16="http://schemas.microsoft.com/office/drawing/2014/main" val="1472900263"/>
                    </a:ext>
                  </a:extLst>
                </a:gridCol>
              </a:tblGrid>
              <a:tr h="41188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itle</a:t>
                      </a:r>
                      <a:endParaRPr lang="en-IN" sz="150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itle</a:t>
                      </a:r>
                      <a:endParaRPr lang="en-IN" sz="150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itle</a:t>
                      </a:r>
                      <a:endParaRPr lang="en-IN" sz="150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itle</a:t>
                      </a:r>
                      <a:endParaRPr lang="en-IN" sz="150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itle</a:t>
                      </a:r>
                      <a:endParaRPr lang="en-IN" sz="150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itle</a:t>
                      </a:r>
                      <a:endParaRPr lang="en-IN" sz="150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6476668"/>
                  </a:ext>
                </a:extLst>
              </a:tr>
              <a:tr h="143678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l"/>
                      <a:r>
                        <a:rPr kumimoji="0" lang="en-IN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itle</a:t>
                      </a:r>
                      <a:endParaRPr lang="en-IN" sz="1500" b="1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…</a:t>
                      </a:r>
                    </a:p>
                  </a:txBody>
                  <a:tcPr marL="84968" marR="84968" marT="42485" marB="4248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…</a:t>
                      </a:r>
                      <a:endParaRPr lang="en-IN" sz="1500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…</a:t>
                      </a:r>
                      <a:endParaRPr lang="en-IN" sz="1500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…</a:t>
                      </a:r>
                      <a:endParaRPr lang="en-IN" sz="1500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…</a:t>
                      </a:r>
                      <a:endParaRPr lang="en-IN" sz="1500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241880"/>
                  </a:ext>
                </a:extLst>
              </a:tr>
              <a:tr h="143678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l"/>
                      <a:r>
                        <a:rPr kumimoji="0" lang="en-IN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itle</a:t>
                      </a:r>
                      <a:endParaRPr lang="en-IN" sz="1500" b="1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…</a:t>
                      </a:r>
                      <a:endParaRPr lang="en-IN" sz="1500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…</a:t>
                      </a:r>
                      <a:endParaRPr lang="en-IN" sz="1500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…</a:t>
                      </a:r>
                      <a:endParaRPr lang="en-IN" sz="1500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…</a:t>
                      </a:r>
                      <a:endParaRPr lang="en-IN" sz="1500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…</a:t>
                      </a:r>
                      <a:endParaRPr lang="en-IN" sz="1500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208137"/>
                  </a:ext>
                </a:extLst>
              </a:tr>
              <a:tr h="1436788">
                <a:tc>
                  <a:txBody>
                    <a:bodyPr/>
                    <a:lstStyle/>
                    <a:p>
                      <a:pPr algn="l"/>
                      <a:r>
                        <a:rPr kumimoji="0" lang="en-IN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itle</a:t>
                      </a:r>
                      <a:endParaRPr lang="en-IN" sz="1500" b="1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IN" sz="1500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IN" sz="1500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IN" sz="1500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IN" sz="1500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IN" sz="1500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437472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8258175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7A765E4-5558-D03A-34D6-1193260A1E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1D7044C9-DADE-1442-6ECA-24B74AB157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D7044C9-DADE-1442-6ECA-24B74AB157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548B701-0A76-81DB-476B-5605566438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19B5439F-9D6D-F8AB-B9C1-B22FF72D0377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36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7" name="Shape0_20220512_134702">
            <a:extLst>
              <a:ext uri="{FF2B5EF4-FFF2-40B4-BE49-F238E27FC236}">
                <a16:creationId xmlns:a16="http://schemas.microsoft.com/office/drawing/2014/main" id="{F8034AF1-C03F-C162-E734-56A82E28A1CA}"/>
              </a:ext>
            </a:extLst>
          </p:cNvPr>
          <p:cNvSpPr/>
          <p:nvPr/>
        </p:nvSpPr>
        <p:spPr>
          <a:xfrm>
            <a:off x="813256" y="1156607"/>
            <a:ext cx="4117986" cy="6037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471" b="1" dirty="0">
                <a:solidFill>
                  <a:srgbClr val="F8F8F8"/>
                </a:solidFill>
                <a:cs typeface="Arial" panose="020B0604020202020204" pitchFamily="34" charset="0"/>
              </a:rPr>
              <a:t>Text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2F55BFA-40BC-23B4-B368-AE52FF57245B}"/>
              </a:ext>
            </a:extLst>
          </p:cNvPr>
          <p:cNvSpPr>
            <a:spLocks/>
          </p:cNvSpPr>
          <p:nvPr/>
        </p:nvSpPr>
        <p:spPr>
          <a:xfrm>
            <a:off x="747364" y="2250707"/>
            <a:ext cx="4292650" cy="2263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spAutoFit/>
          </a:bodyPr>
          <a:lstStyle/>
          <a:p>
            <a:pPr algn="ctr" defTabSz="866881">
              <a:buClr>
                <a:srgbClr val="000000"/>
              </a:buClr>
              <a:defRPr/>
            </a:pPr>
            <a:r>
              <a:rPr lang="en-US" sz="1471" b="1" kern="0" dirty="0">
                <a:solidFill>
                  <a:schemeClr val="tx1"/>
                </a:solidFill>
                <a:ea typeface="Roboto Lt" pitchFamily="2" charset="0"/>
                <a:cs typeface="Arial" panose="020B0604020202020204" pitchFamily="34" charset="0"/>
                <a:sym typeface="Arial"/>
              </a:rPr>
              <a:t>Title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E2A4B7A3-3C45-CAD3-B8F8-571D0ADECA86}"/>
              </a:ext>
            </a:extLst>
          </p:cNvPr>
          <p:cNvSpPr txBox="1">
            <a:spLocks/>
          </p:cNvSpPr>
          <p:nvPr/>
        </p:nvSpPr>
        <p:spPr>
          <a:xfrm>
            <a:off x="747364" y="2591598"/>
            <a:ext cx="4292650" cy="2263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AD1F25"/>
              </a:buClr>
              <a:buSzPts val="1400"/>
              <a:buFont typeface="Roboto Light"/>
              <a:buChar char="⪢"/>
              <a:defRPr sz="14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1pPr>
            <a:lvl2pPr marL="914400" marR="0" lvl="1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2pPr>
            <a:lvl3pPr marL="1371600" marR="0" lvl="2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3pPr>
            <a:lvl4pPr marL="1828800" marR="0" lvl="3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4pPr>
            <a:lvl5pPr marL="2286000" marR="0" lvl="4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5pPr>
            <a:lvl6pPr marL="2743200" marR="0" lvl="5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6pPr>
            <a:lvl7pPr marL="3200400" marR="0" lvl="6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7pPr>
            <a:lvl8pPr marL="3657600" marR="0" lvl="7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8pPr>
            <a:lvl9pPr marL="4114800" marR="0" lvl="8" indent="-30480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sz="1471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02B0799-2146-CAF6-0C96-0C3DA760A5EC}"/>
              </a:ext>
            </a:extLst>
          </p:cNvPr>
          <p:cNvSpPr txBox="1">
            <a:spLocks/>
          </p:cNvSpPr>
          <p:nvPr/>
        </p:nvSpPr>
        <p:spPr>
          <a:xfrm>
            <a:off x="7135808" y="2591598"/>
            <a:ext cx="4292650" cy="2263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AD1F25"/>
              </a:buClr>
              <a:buSzPts val="1400"/>
              <a:buFont typeface="Roboto Light"/>
              <a:buChar char="⪢"/>
              <a:defRPr sz="14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1pPr>
            <a:lvl2pPr marL="914400" marR="0" lvl="1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2pPr>
            <a:lvl3pPr marL="1371600" marR="0" lvl="2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3pPr>
            <a:lvl4pPr marL="1828800" marR="0" lvl="3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4pPr>
            <a:lvl5pPr marL="2286000" marR="0" lvl="4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5pPr>
            <a:lvl6pPr marL="2743200" marR="0" lvl="5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6pPr>
            <a:lvl7pPr marL="3200400" marR="0" lvl="6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7pPr>
            <a:lvl8pPr marL="3657600" marR="0" lvl="7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8pPr>
            <a:lvl9pPr marL="4114800" marR="0" lvl="8" indent="-30480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sz="1471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EB389C7-B97C-5D78-460F-CC4533DF7F8E}"/>
              </a:ext>
            </a:extLst>
          </p:cNvPr>
          <p:cNvSpPr>
            <a:spLocks/>
          </p:cNvSpPr>
          <p:nvPr/>
        </p:nvSpPr>
        <p:spPr>
          <a:xfrm>
            <a:off x="7135808" y="2250706"/>
            <a:ext cx="4292650" cy="2263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spAutoFit/>
          </a:bodyPr>
          <a:lstStyle/>
          <a:p>
            <a:pPr algn="ctr" defTabSz="866881">
              <a:buClr>
                <a:srgbClr val="000000"/>
              </a:buClr>
              <a:defRPr/>
            </a:pPr>
            <a:r>
              <a:rPr lang="en-US" sz="1471" b="1" kern="0" dirty="0">
                <a:solidFill>
                  <a:schemeClr val="tx1"/>
                </a:solidFill>
                <a:ea typeface="Roboto Lt" pitchFamily="2" charset="0"/>
                <a:cs typeface="Arial" panose="020B0604020202020204" pitchFamily="34" charset="0"/>
                <a:sym typeface="Arial"/>
              </a:rPr>
              <a:t>Title</a:t>
            </a:r>
          </a:p>
        </p:txBody>
      </p:sp>
      <p:sp>
        <p:nvSpPr>
          <p:cNvPr id="11" name="Shape1_20220512_134702">
            <a:extLst>
              <a:ext uri="{FF2B5EF4-FFF2-40B4-BE49-F238E27FC236}">
                <a16:creationId xmlns:a16="http://schemas.microsoft.com/office/drawing/2014/main" id="{54391248-0B1E-C042-67ED-717D64F5D539}"/>
              </a:ext>
            </a:extLst>
          </p:cNvPr>
          <p:cNvSpPr/>
          <p:nvPr/>
        </p:nvSpPr>
        <p:spPr>
          <a:xfrm>
            <a:off x="7201694" y="1156607"/>
            <a:ext cx="4117986" cy="6037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471" b="1" dirty="0">
                <a:solidFill>
                  <a:srgbClr val="F8F8F8"/>
                </a:solidFill>
                <a:cs typeface="Arial" panose="020B0604020202020204" pitchFamily="34" charset="0"/>
              </a:rPr>
              <a:t>Text</a:t>
            </a:r>
          </a:p>
        </p:txBody>
      </p:sp>
      <p:cxnSp>
        <p:nvCxnSpPr>
          <p:cNvPr id="12" name="Shape0_20210625_174740">
            <a:extLst>
              <a:ext uri="{FF2B5EF4-FFF2-40B4-BE49-F238E27FC236}">
                <a16:creationId xmlns:a16="http://schemas.microsoft.com/office/drawing/2014/main" id="{EE025C60-816E-DD8F-9BE1-8E33E161C263}"/>
              </a:ext>
            </a:extLst>
          </p:cNvPr>
          <p:cNvCxnSpPr>
            <a:cxnSpLocks/>
          </p:cNvCxnSpPr>
          <p:nvPr/>
        </p:nvCxnSpPr>
        <p:spPr>
          <a:xfrm>
            <a:off x="6066465" y="2033535"/>
            <a:ext cx="0" cy="414734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hape1_20220317_110454">
            <a:extLst>
              <a:ext uri="{FF2B5EF4-FFF2-40B4-BE49-F238E27FC236}">
                <a16:creationId xmlns:a16="http://schemas.microsoft.com/office/drawing/2014/main" id="{FC89CD21-4C2D-B461-B1E5-0A1AB50A9B1E}"/>
              </a:ext>
            </a:extLst>
          </p:cNvPr>
          <p:cNvCxnSpPr>
            <a:cxnSpLocks/>
          </p:cNvCxnSpPr>
          <p:nvPr/>
        </p:nvCxnSpPr>
        <p:spPr>
          <a:xfrm>
            <a:off x="407823" y="2021182"/>
            <a:ext cx="1137635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hape1_20220317_110454">
            <a:extLst>
              <a:ext uri="{FF2B5EF4-FFF2-40B4-BE49-F238E27FC236}">
                <a16:creationId xmlns:a16="http://schemas.microsoft.com/office/drawing/2014/main" id="{00E8445E-8539-FFA5-C4DF-1D31F62FF0F3}"/>
              </a:ext>
            </a:extLst>
          </p:cNvPr>
          <p:cNvCxnSpPr>
            <a:cxnSpLocks/>
          </p:cNvCxnSpPr>
          <p:nvPr/>
        </p:nvCxnSpPr>
        <p:spPr>
          <a:xfrm>
            <a:off x="407823" y="6180881"/>
            <a:ext cx="1137635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9927316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5105CF-6585-0161-5DFD-8777E95E2A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46F86BE5-8967-F060-575F-133763777D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6F86BE5-8967-F060-575F-133763777D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02EB4A6-B0E8-F31E-CD64-8BA36FACD8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F2CF2E27-498B-DC47-B031-31AA067E68D9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37</a:t>
            </a:fld>
            <a:endParaRPr lang="en-US" sz="1200" dirty="0">
              <a:solidFill>
                <a:schemeClr val="bg1"/>
              </a:solidFill>
            </a:endParaRPr>
          </a:p>
        </p:txBody>
      </p:sp>
      <p:cxnSp>
        <p:nvCxnSpPr>
          <p:cNvPr id="13" name="Shape0_20210625_174740">
            <a:extLst>
              <a:ext uri="{FF2B5EF4-FFF2-40B4-BE49-F238E27FC236}">
                <a16:creationId xmlns:a16="http://schemas.microsoft.com/office/drawing/2014/main" id="{2C1B5A77-74A6-EDE3-4A68-577A17D4E1CD}"/>
              </a:ext>
            </a:extLst>
          </p:cNvPr>
          <p:cNvCxnSpPr>
            <a:cxnSpLocks/>
          </p:cNvCxnSpPr>
          <p:nvPr/>
        </p:nvCxnSpPr>
        <p:spPr>
          <a:xfrm>
            <a:off x="4265335" y="2033535"/>
            <a:ext cx="0" cy="414734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hape1_20220317_110454">
            <a:extLst>
              <a:ext uri="{FF2B5EF4-FFF2-40B4-BE49-F238E27FC236}">
                <a16:creationId xmlns:a16="http://schemas.microsoft.com/office/drawing/2014/main" id="{8E6B2B0B-1FF7-D3B7-1064-3A868EE61D57}"/>
              </a:ext>
            </a:extLst>
          </p:cNvPr>
          <p:cNvCxnSpPr>
            <a:cxnSpLocks/>
          </p:cNvCxnSpPr>
          <p:nvPr/>
        </p:nvCxnSpPr>
        <p:spPr>
          <a:xfrm>
            <a:off x="407823" y="2021182"/>
            <a:ext cx="1137635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hape1_20220317_110454">
            <a:extLst>
              <a:ext uri="{FF2B5EF4-FFF2-40B4-BE49-F238E27FC236}">
                <a16:creationId xmlns:a16="http://schemas.microsoft.com/office/drawing/2014/main" id="{F77D33FC-4D5F-454E-FB59-D62046045DDC}"/>
              </a:ext>
            </a:extLst>
          </p:cNvPr>
          <p:cNvCxnSpPr>
            <a:cxnSpLocks/>
          </p:cNvCxnSpPr>
          <p:nvPr/>
        </p:nvCxnSpPr>
        <p:spPr>
          <a:xfrm>
            <a:off x="407823" y="6180881"/>
            <a:ext cx="1137635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hape0_20220512_134702">
            <a:extLst>
              <a:ext uri="{FF2B5EF4-FFF2-40B4-BE49-F238E27FC236}">
                <a16:creationId xmlns:a16="http://schemas.microsoft.com/office/drawing/2014/main" id="{96CE1BED-5C52-884C-3D6D-C974C22B8FD0}"/>
              </a:ext>
            </a:extLst>
          </p:cNvPr>
          <p:cNvSpPr/>
          <p:nvPr/>
        </p:nvSpPr>
        <p:spPr>
          <a:xfrm>
            <a:off x="812446" y="1156607"/>
            <a:ext cx="3352935" cy="6037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471" b="1" dirty="0">
                <a:solidFill>
                  <a:srgbClr val="F8F8F8"/>
                </a:solidFill>
                <a:cs typeface="Arial" panose="020B0604020202020204" pitchFamily="34" charset="0"/>
              </a:rPr>
              <a:t>Text</a:t>
            </a:r>
          </a:p>
        </p:txBody>
      </p:sp>
      <p:sp>
        <p:nvSpPr>
          <p:cNvPr id="12" name="Shape1_20220512_134702">
            <a:extLst>
              <a:ext uri="{FF2B5EF4-FFF2-40B4-BE49-F238E27FC236}">
                <a16:creationId xmlns:a16="http://schemas.microsoft.com/office/drawing/2014/main" id="{80CD907A-E4E1-ADB6-3E93-C28C72A2B593}"/>
              </a:ext>
            </a:extLst>
          </p:cNvPr>
          <p:cNvSpPr/>
          <p:nvPr/>
        </p:nvSpPr>
        <p:spPr>
          <a:xfrm>
            <a:off x="4423156" y="1156607"/>
            <a:ext cx="3352935" cy="6037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471" b="1" dirty="0">
                <a:solidFill>
                  <a:srgbClr val="F8F8F8"/>
                </a:solidFill>
                <a:cs typeface="Arial" panose="020B0604020202020204" pitchFamily="34" charset="0"/>
              </a:rPr>
              <a:t>Text</a:t>
            </a:r>
          </a:p>
        </p:txBody>
      </p:sp>
      <p:sp>
        <p:nvSpPr>
          <p:cNvPr id="21" name="Shape1_20220512_134702">
            <a:extLst>
              <a:ext uri="{FF2B5EF4-FFF2-40B4-BE49-F238E27FC236}">
                <a16:creationId xmlns:a16="http://schemas.microsoft.com/office/drawing/2014/main" id="{1332E149-7659-AB4F-0C98-630435081EE6}"/>
              </a:ext>
            </a:extLst>
          </p:cNvPr>
          <p:cNvSpPr/>
          <p:nvPr/>
        </p:nvSpPr>
        <p:spPr>
          <a:xfrm>
            <a:off x="8003133" y="1156607"/>
            <a:ext cx="3352935" cy="6037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471" b="1" dirty="0">
                <a:solidFill>
                  <a:srgbClr val="F8F8F8"/>
                </a:solidFill>
                <a:cs typeface="Arial" panose="020B0604020202020204" pitchFamily="34" charset="0"/>
              </a:rPr>
              <a:t>Text</a:t>
            </a:r>
          </a:p>
        </p:txBody>
      </p:sp>
      <p:cxnSp>
        <p:nvCxnSpPr>
          <p:cNvPr id="24" name="Shape0_20210625_174740">
            <a:extLst>
              <a:ext uri="{FF2B5EF4-FFF2-40B4-BE49-F238E27FC236}">
                <a16:creationId xmlns:a16="http://schemas.microsoft.com/office/drawing/2014/main" id="{AFF5D7EC-DEE1-FEBB-9F85-95FFFEAF6882}"/>
              </a:ext>
            </a:extLst>
          </p:cNvPr>
          <p:cNvCxnSpPr>
            <a:cxnSpLocks/>
          </p:cNvCxnSpPr>
          <p:nvPr/>
        </p:nvCxnSpPr>
        <p:spPr>
          <a:xfrm>
            <a:off x="7874314" y="2033535"/>
            <a:ext cx="0" cy="414734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oup 26">
            <a:extLst>
              <a:ext uri="{FF2B5EF4-FFF2-40B4-BE49-F238E27FC236}">
                <a16:creationId xmlns:a16="http://schemas.microsoft.com/office/drawing/2014/main" id="{505CD915-3921-0387-A288-B9345B08D548}"/>
              </a:ext>
            </a:extLst>
          </p:cNvPr>
          <p:cNvGrpSpPr/>
          <p:nvPr/>
        </p:nvGrpSpPr>
        <p:grpSpPr>
          <a:xfrm>
            <a:off x="770186" y="2250706"/>
            <a:ext cx="10674450" cy="567236"/>
            <a:chOff x="770186" y="2633440"/>
            <a:chExt cx="10674450" cy="567236"/>
          </a:xfrm>
        </p:grpSpPr>
        <p:sp>
          <p:nvSpPr>
            <p:cNvPr id="10" name="Text Placeholder 3">
              <a:extLst>
                <a:ext uri="{FF2B5EF4-FFF2-40B4-BE49-F238E27FC236}">
                  <a16:creationId xmlns:a16="http://schemas.microsoft.com/office/drawing/2014/main" id="{2C294508-EB38-4F99-F289-F874CAAF397C}"/>
                </a:ext>
              </a:extLst>
            </p:cNvPr>
            <p:cNvSpPr txBox="1">
              <a:spLocks/>
            </p:cNvSpPr>
            <p:nvPr/>
          </p:nvSpPr>
          <p:spPr>
            <a:xfrm>
              <a:off x="4369510" y="2974332"/>
              <a:ext cx="3495149" cy="22634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L="457200" marR="0" lvl="0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AD1F25"/>
                </a:buClr>
                <a:buSzPts val="1400"/>
                <a:buFont typeface="Roboto Light"/>
                <a:buChar char="⪢"/>
                <a:defRPr sz="14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1pPr>
              <a:lvl2pPr marL="914400" marR="0" lvl="1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2pPr>
              <a:lvl3pPr marL="1371600" marR="0" lvl="2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3pPr>
              <a:lvl4pPr marL="1828800" marR="0" lvl="3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4pPr>
              <a:lvl5pPr marL="2286000" marR="0" lvl="4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5pPr>
              <a:lvl6pPr marL="2743200" marR="0" lvl="5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6pPr>
              <a:lvl7pPr marL="3200400" marR="0" lvl="6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7pPr>
              <a:lvl8pPr marL="3657600" marR="0" lvl="7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8pPr>
              <a:lvl9pPr marL="4114800" marR="0" lvl="8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160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9pPr>
            </a:lstStyle>
            <a:p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r>
                <a:rPr lang="en-US" sz="1471" dirty="0">
                  <a:solidFill>
                    <a:schemeClr val="tx1"/>
                  </a:solidFill>
                  <a:latin typeface="+mn-lt"/>
                  <a:cs typeface="Arial" panose="020B0604020202020204" pitchFamily="34" charset="0"/>
                </a:rPr>
                <a:t>Insert Text Here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CD3AB5F-541B-9F17-1B90-1E03522D3074}"/>
                </a:ext>
              </a:extLst>
            </p:cNvPr>
            <p:cNvSpPr>
              <a:spLocks/>
            </p:cNvSpPr>
            <p:nvPr/>
          </p:nvSpPr>
          <p:spPr>
            <a:xfrm>
              <a:off x="4369510" y="2633440"/>
              <a:ext cx="3495149" cy="22634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b" anchorCtr="0">
              <a:spAutoFit/>
            </a:bodyPr>
            <a:lstStyle/>
            <a:p>
              <a:pPr algn="ctr" defTabSz="866881">
                <a:buClr>
                  <a:srgbClr val="000000"/>
                </a:buClr>
                <a:defRPr/>
              </a:pPr>
              <a:r>
                <a:rPr lang="en-US" sz="1471" b="1" kern="0" dirty="0">
                  <a:solidFill>
                    <a:schemeClr val="tx1"/>
                  </a:solidFill>
                  <a:ea typeface="Roboto Lt" pitchFamily="2" charset="0"/>
                  <a:cs typeface="Arial" panose="020B0604020202020204" pitchFamily="34" charset="0"/>
                  <a:sym typeface="Arial"/>
                </a:rPr>
                <a:t>Title</a:t>
              </a:r>
            </a:p>
          </p:txBody>
        </p:sp>
        <p:sp>
          <p:nvSpPr>
            <p:cNvPr id="19" name="Text Placeholder 3">
              <a:extLst>
                <a:ext uri="{FF2B5EF4-FFF2-40B4-BE49-F238E27FC236}">
                  <a16:creationId xmlns:a16="http://schemas.microsoft.com/office/drawing/2014/main" id="{F56D9F59-F3FF-0B34-E0BF-30287FFA5E3F}"/>
                </a:ext>
              </a:extLst>
            </p:cNvPr>
            <p:cNvSpPr txBox="1">
              <a:spLocks/>
            </p:cNvSpPr>
            <p:nvPr/>
          </p:nvSpPr>
          <p:spPr>
            <a:xfrm>
              <a:off x="7949487" y="2974332"/>
              <a:ext cx="3495149" cy="22634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L="457200" marR="0" lvl="0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AD1F25"/>
                </a:buClr>
                <a:buSzPts val="1400"/>
                <a:buFont typeface="Roboto Light"/>
                <a:buChar char="⪢"/>
                <a:defRPr sz="14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1pPr>
              <a:lvl2pPr marL="914400" marR="0" lvl="1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2pPr>
              <a:lvl3pPr marL="1371600" marR="0" lvl="2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3pPr>
              <a:lvl4pPr marL="1828800" marR="0" lvl="3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4pPr>
              <a:lvl5pPr marL="2286000" marR="0" lvl="4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5pPr>
              <a:lvl6pPr marL="2743200" marR="0" lvl="5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6pPr>
              <a:lvl7pPr marL="3200400" marR="0" lvl="6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7pPr>
              <a:lvl8pPr marL="3657600" marR="0" lvl="7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8pPr>
              <a:lvl9pPr marL="4114800" marR="0" lvl="8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160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9pPr>
            </a:lstStyle>
            <a:p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r>
                <a:rPr lang="en-US" sz="1471" dirty="0">
                  <a:solidFill>
                    <a:schemeClr val="tx1"/>
                  </a:solidFill>
                  <a:latin typeface="+mn-lt"/>
                  <a:cs typeface="Arial" panose="020B0604020202020204" pitchFamily="34" charset="0"/>
                </a:rPr>
                <a:t>Insert Text Here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40EDDB79-F428-BC81-BCEE-A6D0DE08CFCE}"/>
                </a:ext>
              </a:extLst>
            </p:cNvPr>
            <p:cNvSpPr>
              <a:spLocks/>
            </p:cNvSpPr>
            <p:nvPr/>
          </p:nvSpPr>
          <p:spPr>
            <a:xfrm>
              <a:off x="7949487" y="2633440"/>
              <a:ext cx="3495149" cy="22634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b" anchorCtr="0">
              <a:spAutoFit/>
            </a:bodyPr>
            <a:lstStyle/>
            <a:p>
              <a:pPr algn="ctr" defTabSz="866881">
                <a:buClr>
                  <a:srgbClr val="000000"/>
                </a:buClr>
                <a:defRPr/>
              </a:pPr>
              <a:r>
                <a:rPr lang="en-US" sz="1471" b="1" kern="0" dirty="0">
                  <a:solidFill>
                    <a:schemeClr val="tx1"/>
                  </a:solidFill>
                  <a:ea typeface="Roboto Lt" pitchFamily="2" charset="0"/>
                  <a:cs typeface="Arial" panose="020B0604020202020204" pitchFamily="34" charset="0"/>
                  <a:sym typeface="Arial"/>
                </a:rPr>
                <a:t>Title</a:t>
              </a:r>
            </a:p>
          </p:txBody>
        </p:sp>
        <p:sp>
          <p:nvSpPr>
            <p:cNvPr id="25" name="Text Placeholder 3">
              <a:extLst>
                <a:ext uri="{FF2B5EF4-FFF2-40B4-BE49-F238E27FC236}">
                  <a16:creationId xmlns:a16="http://schemas.microsoft.com/office/drawing/2014/main" id="{9A24432C-1422-5CA4-D211-1D22F1E39D9D}"/>
                </a:ext>
              </a:extLst>
            </p:cNvPr>
            <p:cNvSpPr txBox="1">
              <a:spLocks/>
            </p:cNvSpPr>
            <p:nvPr/>
          </p:nvSpPr>
          <p:spPr>
            <a:xfrm>
              <a:off x="770186" y="2974332"/>
              <a:ext cx="3495149" cy="22634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L="457200" marR="0" lvl="0" indent="-31750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AD1F25"/>
                </a:buClr>
                <a:buSzPts val="1400"/>
                <a:buFont typeface="Roboto Light"/>
                <a:buChar char="⪢"/>
                <a:defRPr sz="14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1pPr>
              <a:lvl2pPr marL="914400" marR="0" lvl="1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2pPr>
              <a:lvl3pPr marL="1371600" marR="0" lvl="2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3pPr>
              <a:lvl4pPr marL="1828800" marR="0" lvl="3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4pPr>
              <a:lvl5pPr marL="2286000" marR="0" lvl="4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5pPr>
              <a:lvl6pPr marL="2743200" marR="0" lvl="5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6pPr>
              <a:lvl7pPr marL="3200400" marR="0" lvl="6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7pPr>
              <a:lvl8pPr marL="3657600" marR="0" lvl="7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8pPr>
              <a:lvl9pPr marL="4114800" marR="0" lvl="8" indent="-304800" algn="l" rtl="0">
                <a:lnSpc>
                  <a:spcPct val="115000"/>
                </a:lnSpc>
                <a:spcBef>
                  <a:spcPts val="1600"/>
                </a:spcBef>
                <a:spcAft>
                  <a:spcPts val="1600"/>
                </a:spcAft>
                <a:buClr>
                  <a:srgbClr val="AD1F25"/>
                </a:buClr>
                <a:buSzPts val="1200"/>
                <a:buFont typeface="Roboto Light"/>
                <a:buChar char="⪢"/>
                <a:defRPr sz="1200" b="0" i="0" u="none" strike="noStrike" cap="none">
                  <a:solidFill>
                    <a:schemeClr val="dk2"/>
                  </a:solidFill>
                  <a:latin typeface="Roboto Lt"/>
                  <a:ea typeface="Roboto Lt"/>
                  <a:cs typeface="Roboto Lt"/>
                  <a:sym typeface="Roboto Light"/>
                </a:defRPr>
              </a:lvl9pPr>
            </a:lstStyle>
            <a:p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r>
                <a:rPr lang="en-US" sz="1471" dirty="0">
                  <a:solidFill>
                    <a:schemeClr val="tx1"/>
                  </a:solidFill>
                  <a:latin typeface="+mn-lt"/>
                  <a:cs typeface="Arial" panose="020B0604020202020204" pitchFamily="34" charset="0"/>
                </a:rPr>
                <a:t>Insert Text Here</a:t>
              </a: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1488F272-77EE-A8FB-3254-C99C1B814396}"/>
                </a:ext>
              </a:extLst>
            </p:cNvPr>
            <p:cNvSpPr>
              <a:spLocks/>
            </p:cNvSpPr>
            <p:nvPr/>
          </p:nvSpPr>
          <p:spPr>
            <a:xfrm>
              <a:off x="770186" y="2633440"/>
              <a:ext cx="3495149" cy="22634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b" anchorCtr="0">
              <a:spAutoFit/>
            </a:bodyPr>
            <a:lstStyle/>
            <a:p>
              <a:pPr algn="ctr" defTabSz="866881">
                <a:buClr>
                  <a:srgbClr val="000000"/>
                </a:buClr>
                <a:defRPr/>
              </a:pPr>
              <a:r>
                <a:rPr lang="en-US" sz="1471" b="1" kern="0" dirty="0">
                  <a:solidFill>
                    <a:schemeClr val="tx1"/>
                  </a:solidFill>
                  <a:ea typeface="Roboto Lt" pitchFamily="2" charset="0"/>
                  <a:cs typeface="Arial" panose="020B0604020202020204" pitchFamily="34" charset="0"/>
                  <a:sym typeface="Arial"/>
                </a:rPr>
                <a:t>Tit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5598856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9286D3-FE95-484A-C9FF-6929392086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E76ACE28-B0F2-02CA-879F-A2A9044705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76ACE28-B0F2-02CA-879F-A2A9044705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0" name="Shape1_20220317_110454">
            <a:extLst>
              <a:ext uri="{FF2B5EF4-FFF2-40B4-BE49-F238E27FC236}">
                <a16:creationId xmlns:a16="http://schemas.microsoft.com/office/drawing/2014/main" id="{B966359E-CB25-7E94-D57B-E2785E0E2E43}"/>
              </a:ext>
            </a:extLst>
          </p:cNvPr>
          <p:cNvCxnSpPr>
            <a:cxnSpLocks/>
          </p:cNvCxnSpPr>
          <p:nvPr/>
        </p:nvCxnSpPr>
        <p:spPr>
          <a:xfrm>
            <a:off x="407823" y="2021182"/>
            <a:ext cx="1137635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589BA6FB-8392-3C6C-3659-F5AC1F7F6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EC7B5803-1DA9-1108-DAE9-BCA46D8A74A4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38</a:t>
            </a:fld>
            <a:endParaRPr lang="en-US" sz="1200" dirty="0">
              <a:solidFill>
                <a:schemeClr val="bg1"/>
              </a:solidFill>
            </a:endParaRPr>
          </a:p>
        </p:txBody>
      </p:sp>
      <p:cxnSp>
        <p:nvCxnSpPr>
          <p:cNvPr id="3" name="Shape0_20210625_174740">
            <a:extLst>
              <a:ext uri="{FF2B5EF4-FFF2-40B4-BE49-F238E27FC236}">
                <a16:creationId xmlns:a16="http://schemas.microsoft.com/office/drawing/2014/main" id="{E3B51786-B49A-F413-E2F7-F03ABD77EC10}"/>
              </a:ext>
            </a:extLst>
          </p:cNvPr>
          <p:cNvCxnSpPr>
            <a:cxnSpLocks/>
          </p:cNvCxnSpPr>
          <p:nvPr/>
        </p:nvCxnSpPr>
        <p:spPr>
          <a:xfrm>
            <a:off x="3324578" y="2033535"/>
            <a:ext cx="0" cy="414734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hape1_20220317_110454">
            <a:extLst>
              <a:ext uri="{FF2B5EF4-FFF2-40B4-BE49-F238E27FC236}">
                <a16:creationId xmlns:a16="http://schemas.microsoft.com/office/drawing/2014/main" id="{D1A175D8-6807-C69D-9A84-A71393CCA496}"/>
              </a:ext>
            </a:extLst>
          </p:cNvPr>
          <p:cNvCxnSpPr>
            <a:cxnSpLocks/>
          </p:cNvCxnSpPr>
          <p:nvPr/>
        </p:nvCxnSpPr>
        <p:spPr>
          <a:xfrm>
            <a:off x="407823" y="6180881"/>
            <a:ext cx="1135538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hape0_20220512_134702">
            <a:extLst>
              <a:ext uri="{FF2B5EF4-FFF2-40B4-BE49-F238E27FC236}">
                <a16:creationId xmlns:a16="http://schemas.microsoft.com/office/drawing/2014/main" id="{80435193-4252-18D9-23B6-D341346AB291}"/>
              </a:ext>
            </a:extLst>
          </p:cNvPr>
          <p:cNvSpPr/>
          <p:nvPr/>
        </p:nvSpPr>
        <p:spPr>
          <a:xfrm>
            <a:off x="673022" y="1156607"/>
            <a:ext cx="2574799" cy="6037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471" b="1" dirty="0">
                <a:solidFill>
                  <a:srgbClr val="F8F8F8"/>
                </a:solidFill>
                <a:cs typeface="Arial" panose="020B0604020202020204" pitchFamily="34" charset="0"/>
              </a:rPr>
              <a:t>Text</a:t>
            </a:r>
          </a:p>
        </p:txBody>
      </p:sp>
      <p:sp>
        <p:nvSpPr>
          <p:cNvPr id="11" name="Shape1_20220512_134702">
            <a:extLst>
              <a:ext uri="{FF2B5EF4-FFF2-40B4-BE49-F238E27FC236}">
                <a16:creationId xmlns:a16="http://schemas.microsoft.com/office/drawing/2014/main" id="{23BBF2FA-E877-2D06-F424-26FA9A64677E}"/>
              </a:ext>
            </a:extLst>
          </p:cNvPr>
          <p:cNvSpPr/>
          <p:nvPr/>
        </p:nvSpPr>
        <p:spPr>
          <a:xfrm>
            <a:off x="3445773" y="1156607"/>
            <a:ext cx="2574800" cy="6037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471" b="1" dirty="0">
                <a:solidFill>
                  <a:srgbClr val="F8F8F8"/>
                </a:solidFill>
                <a:cs typeface="Arial" panose="020B0604020202020204" pitchFamily="34" charset="0"/>
              </a:rPr>
              <a:t>Text</a:t>
            </a:r>
          </a:p>
        </p:txBody>
      </p:sp>
      <p:sp>
        <p:nvSpPr>
          <p:cNvPr id="13" name="Shape1_20220512_134702">
            <a:extLst>
              <a:ext uri="{FF2B5EF4-FFF2-40B4-BE49-F238E27FC236}">
                <a16:creationId xmlns:a16="http://schemas.microsoft.com/office/drawing/2014/main" id="{7898A7C1-04E7-1355-1F47-72C8D7B22AEC}"/>
              </a:ext>
            </a:extLst>
          </p:cNvPr>
          <p:cNvSpPr/>
          <p:nvPr/>
        </p:nvSpPr>
        <p:spPr>
          <a:xfrm>
            <a:off x="6194923" y="1156607"/>
            <a:ext cx="2574800" cy="6037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471" b="1" dirty="0">
                <a:solidFill>
                  <a:srgbClr val="F8F8F8"/>
                </a:solidFill>
                <a:cs typeface="Arial" panose="020B0604020202020204" pitchFamily="34" charset="0"/>
              </a:rPr>
              <a:t>Text</a:t>
            </a:r>
          </a:p>
        </p:txBody>
      </p:sp>
      <p:cxnSp>
        <p:nvCxnSpPr>
          <p:cNvPr id="14" name="Shape0_20210625_174740">
            <a:extLst>
              <a:ext uri="{FF2B5EF4-FFF2-40B4-BE49-F238E27FC236}">
                <a16:creationId xmlns:a16="http://schemas.microsoft.com/office/drawing/2014/main" id="{8ECB7299-6F2B-E94F-60F2-F128E2F21141}"/>
              </a:ext>
            </a:extLst>
          </p:cNvPr>
          <p:cNvCxnSpPr>
            <a:cxnSpLocks/>
          </p:cNvCxnSpPr>
          <p:nvPr/>
        </p:nvCxnSpPr>
        <p:spPr>
          <a:xfrm>
            <a:off x="6096000" y="2033535"/>
            <a:ext cx="0" cy="414734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6BA3B2C3-2689-903A-6720-3AAF77CBB813}"/>
              </a:ext>
            </a:extLst>
          </p:cNvPr>
          <p:cNvSpPr txBox="1">
            <a:spLocks/>
          </p:cNvSpPr>
          <p:nvPr/>
        </p:nvSpPr>
        <p:spPr>
          <a:xfrm>
            <a:off x="3404577" y="2591598"/>
            <a:ext cx="2684009" cy="2263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AD1F25"/>
              </a:buClr>
              <a:buSzPts val="1400"/>
              <a:buFont typeface="Roboto Light"/>
              <a:buChar char="⪢"/>
              <a:defRPr sz="14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1pPr>
            <a:lvl2pPr marL="914400" marR="0" lvl="1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2pPr>
            <a:lvl3pPr marL="1371600" marR="0" lvl="2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3pPr>
            <a:lvl4pPr marL="1828800" marR="0" lvl="3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4pPr>
            <a:lvl5pPr marL="2286000" marR="0" lvl="4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5pPr>
            <a:lvl6pPr marL="2743200" marR="0" lvl="5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6pPr>
            <a:lvl7pPr marL="3200400" marR="0" lvl="6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7pPr>
            <a:lvl8pPr marL="3657600" marR="0" lvl="7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8pPr>
            <a:lvl9pPr marL="4114800" marR="0" lvl="8" indent="-30480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sz="1471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ED1FCBB-5F78-6F76-6153-9BD9B5B14D05}"/>
              </a:ext>
            </a:extLst>
          </p:cNvPr>
          <p:cNvSpPr>
            <a:spLocks/>
          </p:cNvSpPr>
          <p:nvPr/>
        </p:nvSpPr>
        <p:spPr>
          <a:xfrm>
            <a:off x="3404577" y="2250706"/>
            <a:ext cx="2684009" cy="2263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spAutoFit/>
          </a:bodyPr>
          <a:lstStyle/>
          <a:p>
            <a:pPr algn="ctr" defTabSz="866881">
              <a:buClr>
                <a:srgbClr val="000000"/>
              </a:buClr>
              <a:defRPr/>
            </a:pPr>
            <a:r>
              <a:rPr lang="en-US" sz="1471" b="1" kern="0" dirty="0">
                <a:solidFill>
                  <a:schemeClr val="tx1"/>
                </a:solidFill>
                <a:ea typeface="Roboto Lt" pitchFamily="2" charset="0"/>
                <a:cs typeface="Arial" panose="020B0604020202020204" pitchFamily="34" charset="0"/>
                <a:sym typeface="Arial"/>
              </a:rPr>
              <a:t>Titl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7513442B-B8A8-8762-5784-467FD72F084E}"/>
              </a:ext>
            </a:extLst>
          </p:cNvPr>
          <p:cNvSpPr txBox="1">
            <a:spLocks/>
          </p:cNvSpPr>
          <p:nvPr/>
        </p:nvSpPr>
        <p:spPr>
          <a:xfrm>
            <a:off x="6153727" y="2591598"/>
            <a:ext cx="2684009" cy="2263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AD1F25"/>
              </a:buClr>
              <a:buSzPts val="1400"/>
              <a:buFont typeface="Roboto Light"/>
              <a:buChar char="⪢"/>
              <a:defRPr sz="14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1pPr>
            <a:lvl2pPr marL="914400" marR="0" lvl="1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2pPr>
            <a:lvl3pPr marL="1371600" marR="0" lvl="2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3pPr>
            <a:lvl4pPr marL="1828800" marR="0" lvl="3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4pPr>
            <a:lvl5pPr marL="2286000" marR="0" lvl="4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5pPr>
            <a:lvl6pPr marL="2743200" marR="0" lvl="5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6pPr>
            <a:lvl7pPr marL="3200400" marR="0" lvl="6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7pPr>
            <a:lvl8pPr marL="3657600" marR="0" lvl="7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8pPr>
            <a:lvl9pPr marL="4114800" marR="0" lvl="8" indent="-30480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sz="1471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B9A2276-A9F7-3C59-8F15-F6DEB09EEE54}"/>
              </a:ext>
            </a:extLst>
          </p:cNvPr>
          <p:cNvSpPr>
            <a:spLocks/>
          </p:cNvSpPr>
          <p:nvPr/>
        </p:nvSpPr>
        <p:spPr>
          <a:xfrm>
            <a:off x="6153727" y="2250706"/>
            <a:ext cx="2684009" cy="2263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spAutoFit/>
          </a:bodyPr>
          <a:lstStyle/>
          <a:p>
            <a:pPr algn="ctr" defTabSz="866881">
              <a:buClr>
                <a:srgbClr val="000000"/>
              </a:buClr>
              <a:defRPr/>
            </a:pPr>
            <a:r>
              <a:rPr lang="en-US" sz="1471" b="1" kern="0" dirty="0">
                <a:solidFill>
                  <a:schemeClr val="tx1"/>
                </a:solidFill>
                <a:ea typeface="Roboto Lt" pitchFamily="2" charset="0"/>
                <a:cs typeface="Arial" panose="020B0604020202020204" pitchFamily="34" charset="0"/>
                <a:sym typeface="Arial"/>
              </a:rPr>
              <a:t>Titl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00B78CCC-D7F3-2DAE-B47C-401DF789F2FB}"/>
              </a:ext>
            </a:extLst>
          </p:cNvPr>
          <p:cNvSpPr txBox="1">
            <a:spLocks/>
          </p:cNvSpPr>
          <p:nvPr/>
        </p:nvSpPr>
        <p:spPr>
          <a:xfrm>
            <a:off x="640569" y="2591598"/>
            <a:ext cx="2684009" cy="2263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AD1F25"/>
              </a:buClr>
              <a:buSzPts val="1400"/>
              <a:buFont typeface="Roboto Light"/>
              <a:buChar char="⪢"/>
              <a:defRPr sz="14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1pPr>
            <a:lvl2pPr marL="914400" marR="0" lvl="1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2pPr>
            <a:lvl3pPr marL="1371600" marR="0" lvl="2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3pPr>
            <a:lvl4pPr marL="1828800" marR="0" lvl="3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4pPr>
            <a:lvl5pPr marL="2286000" marR="0" lvl="4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5pPr>
            <a:lvl6pPr marL="2743200" marR="0" lvl="5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6pPr>
            <a:lvl7pPr marL="3200400" marR="0" lvl="6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7pPr>
            <a:lvl8pPr marL="3657600" marR="0" lvl="7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8pPr>
            <a:lvl9pPr marL="4114800" marR="0" lvl="8" indent="-30480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sz="1471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4F5F805-8E73-216E-20CF-A091F5F2AADF}"/>
              </a:ext>
            </a:extLst>
          </p:cNvPr>
          <p:cNvSpPr>
            <a:spLocks/>
          </p:cNvSpPr>
          <p:nvPr/>
        </p:nvSpPr>
        <p:spPr>
          <a:xfrm>
            <a:off x="640569" y="2250706"/>
            <a:ext cx="2684009" cy="2263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spAutoFit/>
          </a:bodyPr>
          <a:lstStyle/>
          <a:p>
            <a:pPr algn="ctr" defTabSz="866881">
              <a:buClr>
                <a:srgbClr val="000000"/>
              </a:buClr>
              <a:defRPr/>
            </a:pPr>
            <a:r>
              <a:rPr lang="en-US" sz="1471" b="1" kern="0" dirty="0">
                <a:solidFill>
                  <a:schemeClr val="tx1"/>
                </a:solidFill>
                <a:ea typeface="Roboto Lt" pitchFamily="2" charset="0"/>
                <a:cs typeface="Arial" panose="020B0604020202020204" pitchFamily="34" charset="0"/>
                <a:sym typeface="Arial"/>
              </a:rPr>
              <a:t>Title</a:t>
            </a:r>
          </a:p>
        </p:txBody>
      </p:sp>
      <p:sp>
        <p:nvSpPr>
          <p:cNvPr id="24" name="Shape1_20220512_134702">
            <a:extLst>
              <a:ext uri="{FF2B5EF4-FFF2-40B4-BE49-F238E27FC236}">
                <a16:creationId xmlns:a16="http://schemas.microsoft.com/office/drawing/2014/main" id="{316A60F6-33E2-00F2-FF19-FEB1C1AB5923}"/>
              </a:ext>
            </a:extLst>
          </p:cNvPr>
          <p:cNvSpPr/>
          <p:nvPr/>
        </p:nvSpPr>
        <p:spPr>
          <a:xfrm>
            <a:off x="8966345" y="1156607"/>
            <a:ext cx="2574800" cy="6037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471" b="1" dirty="0">
                <a:solidFill>
                  <a:srgbClr val="F8F8F8"/>
                </a:solidFill>
                <a:cs typeface="Arial" panose="020B0604020202020204" pitchFamily="34" charset="0"/>
              </a:rPr>
              <a:t>Text</a:t>
            </a:r>
          </a:p>
        </p:txBody>
      </p:sp>
      <p:cxnSp>
        <p:nvCxnSpPr>
          <p:cNvPr id="25" name="Shape0_20210625_174740">
            <a:extLst>
              <a:ext uri="{FF2B5EF4-FFF2-40B4-BE49-F238E27FC236}">
                <a16:creationId xmlns:a16="http://schemas.microsoft.com/office/drawing/2014/main" id="{26BF24E1-2878-F3D9-6C80-58DF848693A7}"/>
              </a:ext>
            </a:extLst>
          </p:cNvPr>
          <p:cNvCxnSpPr>
            <a:cxnSpLocks/>
          </p:cNvCxnSpPr>
          <p:nvPr/>
        </p:nvCxnSpPr>
        <p:spPr>
          <a:xfrm>
            <a:off x="8867422" y="2033535"/>
            <a:ext cx="0" cy="414734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3DF61028-87B9-A09B-0FDF-C1A6900ED392}"/>
              </a:ext>
            </a:extLst>
          </p:cNvPr>
          <p:cNvSpPr txBox="1">
            <a:spLocks/>
          </p:cNvSpPr>
          <p:nvPr/>
        </p:nvSpPr>
        <p:spPr>
          <a:xfrm>
            <a:off x="8895462" y="2591598"/>
            <a:ext cx="2684009" cy="2263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AD1F25"/>
              </a:buClr>
              <a:buSzPts val="1400"/>
              <a:buFont typeface="Roboto Light"/>
              <a:buChar char="⪢"/>
              <a:defRPr sz="14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1pPr>
            <a:lvl2pPr marL="914400" marR="0" lvl="1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2pPr>
            <a:lvl3pPr marL="1371600" marR="0" lvl="2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3pPr>
            <a:lvl4pPr marL="1828800" marR="0" lvl="3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4pPr>
            <a:lvl5pPr marL="2286000" marR="0" lvl="4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5pPr>
            <a:lvl6pPr marL="2743200" marR="0" lvl="5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6pPr>
            <a:lvl7pPr marL="3200400" marR="0" lvl="6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7pPr>
            <a:lvl8pPr marL="3657600" marR="0" lvl="7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8pPr>
            <a:lvl9pPr marL="4114800" marR="0" lvl="8" indent="-30480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sz="1471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6AB93CB1-642C-C4E8-838C-780B2A2748FA}"/>
              </a:ext>
            </a:extLst>
          </p:cNvPr>
          <p:cNvSpPr>
            <a:spLocks/>
          </p:cNvSpPr>
          <p:nvPr/>
        </p:nvSpPr>
        <p:spPr>
          <a:xfrm>
            <a:off x="8895462" y="2250706"/>
            <a:ext cx="2684009" cy="2263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spAutoFit/>
          </a:bodyPr>
          <a:lstStyle/>
          <a:p>
            <a:pPr algn="ctr" defTabSz="866881">
              <a:buClr>
                <a:srgbClr val="000000"/>
              </a:buClr>
              <a:defRPr/>
            </a:pPr>
            <a:r>
              <a:rPr lang="en-US" sz="1471" b="1" kern="0" dirty="0">
                <a:solidFill>
                  <a:schemeClr val="tx1"/>
                </a:solidFill>
                <a:ea typeface="Roboto Lt" pitchFamily="2" charset="0"/>
                <a:cs typeface="Arial" panose="020B0604020202020204" pitchFamily="34" charset="0"/>
                <a:sym typeface="Arial"/>
              </a:rPr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855397808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69DE5CC-C76D-8779-EA44-FFD115B5D1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think-cell data - do not delete" hidden="1">
            <a:extLst>
              <a:ext uri="{FF2B5EF4-FFF2-40B4-BE49-F238E27FC236}">
                <a16:creationId xmlns:a16="http://schemas.microsoft.com/office/drawing/2014/main" id="{58054F2C-DA50-26C8-B671-7554B5F73F1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054F2C-DA50-26C8-B671-7554B5F73F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95AE696-160F-AE01-D489-40469EFF7A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E9AA4D9-8323-DC68-8122-B823FDF893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39</a:t>
            </a:fld>
            <a:endParaRPr lang="en-US" dirty="0"/>
          </a:p>
        </p:txBody>
      </p:sp>
      <p:sp>
        <p:nvSpPr>
          <p:cNvPr id="9" name="Google Shape;1185;g6b2a921a3a_2_763">
            <a:extLst>
              <a:ext uri="{FF2B5EF4-FFF2-40B4-BE49-F238E27FC236}">
                <a16:creationId xmlns:a16="http://schemas.microsoft.com/office/drawing/2014/main" id="{5F658076-599A-132B-71D0-09A430125514}"/>
              </a:ext>
            </a:extLst>
          </p:cNvPr>
          <p:cNvSpPr txBox="1"/>
          <p:nvPr/>
        </p:nvSpPr>
        <p:spPr>
          <a:xfrm>
            <a:off x="5372134" y="1067490"/>
            <a:ext cx="1852570" cy="2670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10" name="Google Shape;1188;g6b2a921a3a_2_763">
            <a:extLst>
              <a:ext uri="{FF2B5EF4-FFF2-40B4-BE49-F238E27FC236}">
                <a16:creationId xmlns:a16="http://schemas.microsoft.com/office/drawing/2014/main" id="{76FAABCD-9E26-E233-F3C3-48EB60246F99}"/>
              </a:ext>
            </a:extLst>
          </p:cNvPr>
          <p:cNvSpPr txBox="1"/>
          <p:nvPr/>
        </p:nvSpPr>
        <p:spPr>
          <a:xfrm>
            <a:off x="7513622" y="1067490"/>
            <a:ext cx="1852570" cy="2670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11" name="Google Shape;1191;g6b2a921a3a_2_763">
            <a:extLst>
              <a:ext uri="{FF2B5EF4-FFF2-40B4-BE49-F238E27FC236}">
                <a16:creationId xmlns:a16="http://schemas.microsoft.com/office/drawing/2014/main" id="{B65E0286-A7F5-F7B2-C4AF-74D03E1CB415}"/>
              </a:ext>
            </a:extLst>
          </p:cNvPr>
          <p:cNvSpPr txBox="1"/>
          <p:nvPr/>
        </p:nvSpPr>
        <p:spPr>
          <a:xfrm>
            <a:off x="9655113" y="1067490"/>
            <a:ext cx="1852570" cy="2670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12" name="Google Shape;1199;g6b2a921a3a_2_763">
            <a:extLst>
              <a:ext uri="{FF2B5EF4-FFF2-40B4-BE49-F238E27FC236}">
                <a16:creationId xmlns:a16="http://schemas.microsoft.com/office/drawing/2014/main" id="{A82066D1-5828-0473-6D1E-1ABB7C9313D8}"/>
              </a:ext>
            </a:extLst>
          </p:cNvPr>
          <p:cNvSpPr txBox="1"/>
          <p:nvPr/>
        </p:nvSpPr>
        <p:spPr>
          <a:xfrm>
            <a:off x="3230645" y="1067490"/>
            <a:ext cx="1852570" cy="2670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13" name="Shape1_20210513_112140">
            <a:extLst>
              <a:ext uri="{FF2B5EF4-FFF2-40B4-BE49-F238E27FC236}">
                <a16:creationId xmlns:a16="http://schemas.microsoft.com/office/drawing/2014/main" id="{98C69D0C-7CC4-F777-EEBB-515628AD50ED}"/>
              </a:ext>
            </a:extLst>
          </p:cNvPr>
          <p:cNvCxnSpPr/>
          <p:nvPr/>
        </p:nvCxnSpPr>
        <p:spPr>
          <a:xfrm>
            <a:off x="3230643" y="3737501"/>
            <a:ext cx="8277039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4" name="Google Shape;1179;g6b2a921a3a_2_763">
            <a:extLst>
              <a:ext uri="{FF2B5EF4-FFF2-40B4-BE49-F238E27FC236}">
                <a16:creationId xmlns:a16="http://schemas.microsoft.com/office/drawing/2014/main" id="{7215E7B6-A7D7-176B-D283-4C1B854BC3D0}"/>
              </a:ext>
            </a:extLst>
          </p:cNvPr>
          <p:cNvSpPr txBox="1"/>
          <p:nvPr/>
        </p:nvSpPr>
        <p:spPr>
          <a:xfrm>
            <a:off x="549928" y="1687754"/>
            <a:ext cx="2563270" cy="18764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600" b="1" dirty="0">
                <a:solidFill>
                  <a:srgbClr val="FFFFFF"/>
                </a:solidFill>
              </a:rPr>
              <a:t>Title</a:t>
            </a:r>
            <a:endParaRPr sz="1600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266133A9-717C-034E-4E4F-1A157FDA9A05}"/>
              </a:ext>
            </a:extLst>
          </p:cNvPr>
          <p:cNvSpPr txBox="1">
            <a:spLocks/>
          </p:cNvSpPr>
          <p:nvPr/>
        </p:nvSpPr>
        <p:spPr bwMode="auto">
          <a:xfrm>
            <a:off x="3230644" y="2518234"/>
            <a:ext cx="185257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16" name="Content Placeholder 2~1">
            <a:extLst>
              <a:ext uri="{FF2B5EF4-FFF2-40B4-BE49-F238E27FC236}">
                <a16:creationId xmlns:a16="http://schemas.microsoft.com/office/drawing/2014/main" id="{5D0B64D1-B1EF-D8B3-B8AE-3A002CD70C48}"/>
              </a:ext>
            </a:extLst>
          </p:cNvPr>
          <p:cNvSpPr txBox="1">
            <a:spLocks/>
          </p:cNvSpPr>
          <p:nvPr/>
        </p:nvSpPr>
        <p:spPr bwMode="auto">
          <a:xfrm>
            <a:off x="5372134" y="2518234"/>
            <a:ext cx="185257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17" name="Content Placeholder 2~2">
            <a:extLst>
              <a:ext uri="{FF2B5EF4-FFF2-40B4-BE49-F238E27FC236}">
                <a16:creationId xmlns:a16="http://schemas.microsoft.com/office/drawing/2014/main" id="{D9E4572F-B967-DB14-1A81-97E31F0788FE}"/>
              </a:ext>
            </a:extLst>
          </p:cNvPr>
          <p:cNvSpPr txBox="1">
            <a:spLocks/>
          </p:cNvSpPr>
          <p:nvPr/>
        </p:nvSpPr>
        <p:spPr bwMode="auto">
          <a:xfrm>
            <a:off x="7511135" y="2518234"/>
            <a:ext cx="185257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18" name="Content Placeholder 2~3">
            <a:extLst>
              <a:ext uri="{FF2B5EF4-FFF2-40B4-BE49-F238E27FC236}">
                <a16:creationId xmlns:a16="http://schemas.microsoft.com/office/drawing/2014/main" id="{406104DF-16B2-E640-23EC-7977E4D894BF}"/>
              </a:ext>
            </a:extLst>
          </p:cNvPr>
          <p:cNvSpPr txBox="1">
            <a:spLocks/>
          </p:cNvSpPr>
          <p:nvPr/>
        </p:nvSpPr>
        <p:spPr bwMode="auto">
          <a:xfrm>
            <a:off x="9650137" y="2518234"/>
            <a:ext cx="185257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19" name="Google Shape;1180;g6b2a921a3a_2_763">
            <a:extLst>
              <a:ext uri="{FF2B5EF4-FFF2-40B4-BE49-F238E27FC236}">
                <a16:creationId xmlns:a16="http://schemas.microsoft.com/office/drawing/2014/main" id="{56F371C6-C66E-9CD3-CF1D-D252FF42DFEF}"/>
              </a:ext>
            </a:extLst>
          </p:cNvPr>
          <p:cNvSpPr txBox="1"/>
          <p:nvPr/>
        </p:nvSpPr>
        <p:spPr>
          <a:xfrm>
            <a:off x="549928" y="3910852"/>
            <a:ext cx="2563270" cy="18764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600" b="1" dirty="0">
                <a:solidFill>
                  <a:srgbClr val="FFFFFF"/>
                </a:solidFill>
              </a:rPr>
              <a:t>Title</a:t>
            </a:r>
            <a:endParaRPr lang="en-US" sz="1600" dirty="0"/>
          </a:p>
        </p:txBody>
      </p:sp>
      <p:sp>
        <p:nvSpPr>
          <p:cNvPr id="20" name="Content Placeholder 2~4">
            <a:extLst>
              <a:ext uri="{FF2B5EF4-FFF2-40B4-BE49-F238E27FC236}">
                <a16:creationId xmlns:a16="http://schemas.microsoft.com/office/drawing/2014/main" id="{620FFF41-9B1E-810E-24C4-F38B10D8D8CB}"/>
              </a:ext>
            </a:extLst>
          </p:cNvPr>
          <p:cNvSpPr txBox="1">
            <a:spLocks/>
          </p:cNvSpPr>
          <p:nvPr/>
        </p:nvSpPr>
        <p:spPr bwMode="auto">
          <a:xfrm>
            <a:off x="3230644" y="4741331"/>
            <a:ext cx="185257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21" name="Content Placeholder 2~5">
            <a:extLst>
              <a:ext uri="{FF2B5EF4-FFF2-40B4-BE49-F238E27FC236}">
                <a16:creationId xmlns:a16="http://schemas.microsoft.com/office/drawing/2014/main" id="{02227558-ADAD-93BD-0103-9397A8AD22F0}"/>
              </a:ext>
            </a:extLst>
          </p:cNvPr>
          <p:cNvSpPr txBox="1">
            <a:spLocks/>
          </p:cNvSpPr>
          <p:nvPr/>
        </p:nvSpPr>
        <p:spPr bwMode="auto">
          <a:xfrm>
            <a:off x="5372134" y="4741331"/>
            <a:ext cx="185257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22" name="Content Placeholder 2~6">
            <a:extLst>
              <a:ext uri="{FF2B5EF4-FFF2-40B4-BE49-F238E27FC236}">
                <a16:creationId xmlns:a16="http://schemas.microsoft.com/office/drawing/2014/main" id="{8C4A249E-B048-D9F4-71DF-EA186AABBCEA}"/>
              </a:ext>
            </a:extLst>
          </p:cNvPr>
          <p:cNvSpPr txBox="1">
            <a:spLocks/>
          </p:cNvSpPr>
          <p:nvPr/>
        </p:nvSpPr>
        <p:spPr bwMode="auto">
          <a:xfrm>
            <a:off x="7511135" y="4741331"/>
            <a:ext cx="185257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23" name="Content Placeholder 2~7">
            <a:extLst>
              <a:ext uri="{FF2B5EF4-FFF2-40B4-BE49-F238E27FC236}">
                <a16:creationId xmlns:a16="http://schemas.microsoft.com/office/drawing/2014/main" id="{C18CD065-50D5-D89D-D053-CB2DF9D84BE5}"/>
              </a:ext>
            </a:extLst>
          </p:cNvPr>
          <p:cNvSpPr txBox="1">
            <a:spLocks/>
          </p:cNvSpPr>
          <p:nvPr/>
        </p:nvSpPr>
        <p:spPr bwMode="auto">
          <a:xfrm>
            <a:off x="9650137" y="4741331"/>
            <a:ext cx="185257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cxnSp>
        <p:nvCxnSpPr>
          <p:cNvPr id="24" name="Google Shape;1186;g6b2a921a3a_2_763">
            <a:extLst>
              <a:ext uri="{FF2B5EF4-FFF2-40B4-BE49-F238E27FC236}">
                <a16:creationId xmlns:a16="http://schemas.microsoft.com/office/drawing/2014/main" id="{19D28603-D49F-F8B8-42CF-ACEA62324BEF}"/>
              </a:ext>
            </a:extLst>
          </p:cNvPr>
          <p:cNvCxnSpPr/>
          <p:nvPr/>
        </p:nvCxnSpPr>
        <p:spPr>
          <a:xfrm>
            <a:off x="5372134" y="1403461"/>
            <a:ext cx="1852570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25" name="Google Shape;1189;g6b2a921a3a_2_763">
            <a:extLst>
              <a:ext uri="{FF2B5EF4-FFF2-40B4-BE49-F238E27FC236}">
                <a16:creationId xmlns:a16="http://schemas.microsoft.com/office/drawing/2014/main" id="{6C0E9068-7817-1CFF-0596-0A84057E9A91}"/>
              </a:ext>
            </a:extLst>
          </p:cNvPr>
          <p:cNvCxnSpPr/>
          <p:nvPr/>
        </p:nvCxnSpPr>
        <p:spPr>
          <a:xfrm>
            <a:off x="7513622" y="1403461"/>
            <a:ext cx="1852570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26" name="Google Shape;1192;g6b2a921a3a_2_763">
            <a:extLst>
              <a:ext uri="{FF2B5EF4-FFF2-40B4-BE49-F238E27FC236}">
                <a16:creationId xmlns:a16="http://schemas.microsoft.com/office/drawing/2014/main" id="{5E238384-7C87-125D-2E59-AD587DCDCCF5}"/>
              </a:ext>
            </a:extLst>
          </p:cNvPr>
          <p:cNvCxnSpPr/>
          <p:nvPr/>
        </p:nvCxnSpPr>
        <p:spPr>
          <a:xfrm>
            <a:off x="9655112" y="1403461"/>
            <a:ext cx="1852570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27" name="Google Shape;1200;g6b2a921a3a_2_763">
            <a:extLst>
              <a:ext uri="{FF2B5EF4-FFF2-40B4-BE49-F238E27FC236}">
                <a16:creationId xmlns:a16="http://schemas.microsoft.com/office/drawing/2014/main" id="{0F7FD8AA-5CE3-32D5-B47F-4E1216D4E10E}"/>
              </a:ext>
            </a:extLst>
          </p:cNvPr>
          <p:cNvCxnSpPr/>
          <p:nvPr/>
        </p:nvCxnSpPr>
        <p:spPr>
          <a:xfrm>
            <a:off x="3230644" y="1403461"/>
            <a:ext cx="1852570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171763571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think-cell data - do not delete" hidden="1">
            <a:extLst>
              <a:ext uri="{FF2B5EF4-FFF2-40B4-BE49-F238E27FC236}">
                <a16:creationId xmlns:a16="http://schemas.microsoft.com/office/drawing/2014/main" id="{287722BD-60CA-7963-6375-E05614EF153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07582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A609003-8D11-064E-1264-AD346B5AC7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x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CC7A971-68FA-1503-5BEB-B6BABE3E99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D288D26-DBA7-BBFB-9272-B7DD5F0CFD75}"/>
              </a:ext>
            </a:extLst>
          </p:cNvPr>
          <p:cNvSpPr>
            <a:spLocks/>
          </p:cNvSpPr>
          <p:nvPr/>
        </p:nvSpPr>
        <p:spPr>
          <a:xfrm>
            <a:off x="767554" y="1122826"/>
            <a:ext cx="10493982" cy="951624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" name="Shape1_20201019_114757">
            <a:extLst>
              <a:ext uri="{FF2B5EF4-FFF2-40B4-BE49-F238E27FC236}">
                <a16:creationId xmlns:a16="http://schemas.microsoft.com/office/drawing/2014/main" id="{00CB3EA0-C0F4-A5FD-2419-2B261227DB7A}"/>
              </a:ext>
            </a:extLst>
          </p:cNvPr>
          <p:cNvSpPr>
            <a:spLocks/>
          </p:cNvSpPr>
          <p:nvPr/>
        </p:nvSpPr>
        <p:spPr bwMode="auto">
          <a:xfrm>
            <a:off x="738432" y="1033853"/>
            <a:ext cx="1046163" cy="1095375"/>
          </a:xfrm>
          <a:custGeom>
            <a:avLst/>
            <a:gdLst>
              <a:gd name="T0" fmla="*/ 141 w 492"/>
              <a:gd name="T1" fmla="*/ 0 h 515"/>
              <a:gd name="T2" fmla="*/ 47 w 492"/>
              <a:gd name="T3" fmla="*/ 9 h 515"/>
              <a:gd name="T4" fmla="*/ 4 w 492"/>
              <a:gd name="T5" fmla="*/ 49 h 515"/>
              <a:gd name="T6" fmla="*/ 1 w 492"/>
              <a:gd name="T7" fmla="*/ 102 h 515"/>
              <a:gd name="T8" fmla="*/ 1 w 492"/>
              <a:gd name="T9" fmla="*/ 433 h 515"/>
              <a:gd name="T10" fmla="*/ 15 w 492"/>
              <a:gd name="T11" fmla="*/ 480 h 515"/>
              <a:gd name="T12" fmla="*/ 65 w 492"/>
              <a:gd name="T13" fmla="*/ 504 h 515"/>
              <a:gd name="T14" fmla="*/ 123 w 492"/>
              <a:gd name="T15" fmla="*/ 515 h 515"/>
              <a:gd name="T16" fmla="*/ 28 w 492"/>
              <a:gd name="T17" fmla="*/ 486 h 515"/>
              <a:gd name="T18" fmla="*/ 21 w 492"/>
              <a:gd name="T19" fmla="*/ 472 h 515"/>
              <a:gd name="T20" fmla="*/ 61 w 492"/>
              <a:gd name="T21" fmla="*/ 457 h 515"/>
              <a:gd name="T22" fmla="*/ 131 w 492"/>
              <a:gd name="T23" fmla="*/ 451 h 515"/>
              <a:gd name="T24" fmla="*/ 152 w 492"/>
              <a:gd name="T25" fmla="*/ 450 h 515"/>
              <a:gd name="T26" fmla="*/ 207 w 492"/>
              <a:gd name="T27" fmla="*/ 448 h 515"/>
              <a:gd name="T28" fmla="*/ 380 w 492"/>
              <a:gd name="T29" fmla="*/ 447 h 515"/>
              <a:gd name="T30" fmla="*/ 492 w 492"/>
              <a:gd name="T31" fmla="*/ 210 h 515"/>
              <a:gd name="T32" fmla="*/ 380 w 492"/>
              <a:gd name="T33" fmla="*/ 0 h 515"/>
              <a:gd name="T34" fmla="*/ 141 w 492"/>
              <a:gd name="T35" fmla="*/ 0 h 5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492" h="515">
                <a:moveTo>
                  <a:pt x="141" y="0"/>
                </a:moveTo>
                <a:cubicBezTo>
                  <a:pt x="110" y="2"/>
                  <a:pt x="78" y="3"/>
                  <a:pt x="47" y="9"/>
                </a:cubicBezTo>
                <a:cubicBezTo>
                  <a:pt x="26" y="14"/>
                  <a:pt x="9" y="23"/>
                  <a:pt x="4" y="49"/>
                </a:cubicBezTo>
                <a:cubicBezTo>
                  <a:pt x="0" y="66"/>
                  <a:pt x="1" y="84"/>
                  <a:pt x="1" y="102"/>
                </a:cubicBezTo>
                <a:cubicBezTo>
                  <a:pt x="1" y="433"/>
                  <a:pt x="1" y="433"/>
                  <a:pt x="1" y="433"/>
                </a:cubicBezTo>
                <a:cubicBezTo>
                  <a:pt x="3" y="450"/>
                  <a:pt x="3" y="466"/>
                  <a:pt x="15" y="480"/>
                </a:cubicBezTo>
                <a:cubicBezTo>
                  <a:pt x="27" y="494"/>
                  <a:pt x="48" y="499"/>
                  <a:pt x="65" y="504"/>
                </a:cubicBezTo>
                <a:cubicBezTo>
                  <a:pt x="84" y="510"/>
                  <a:pt x="104" y="512"/>
                  <a:pt x="123" y="515"/>
                </a:cubicBezTo>
                <a:cubicBezTo>
                  <a:pt x="94" y="510"/>
                  <a:pt x="54" y="504"/>
                  <a:pt x="28" y="486"/>
                </a:cubicBezTo>
                <a:cubicBezTo>
                  <a:pt x="23" y="483"/>
                  <a:pt x="20" y="478"/>
                  <a:pt x="21" y="472"/>
                </a:cubicBezTo>
                <a:cubicBezTo>
                  <a:pt x="23" y="460"/>
                  <a:pt x="52" y="458"/>
                  <a:pt x="61" y="457"/>
                </a:cubicBezTo>
                <a:cubicBezTo>
                  <a:pt x="84" y="454"/>
                  <a:pt x="108" y="452"/>
                  <a:pt x="131" y="451"/>
                </a:cubicBezTo>
                <a:cubicBezTo>
                  <a:pt x="138" y="450"/>
                  <a:pt x="145" y="450"/>
                  <a:pt x="152" y="450"/>
                </a:cubicBezTo>
                <a:cubicBezTo>
                  <a:pt x="170" y="449"/>
                  <a:pt x="188" y="449"/>
                  <a:pt x="207" y="448"/>
                </a:cubicBezTo>
                <a:cubicBezTo>
                  <a:pt x="380" y="447"/>
                  <a:pt x="380" y="447"/>
                  <a:pt x="380" y="447"/>
                </a:cubicBezTo>
                <a:cubicBezTo>
                  <a:pt x="492" y="210"/>
                  <a:pt x="492" y="210"/>
                  <a:pt x="492" y="210"/>
                </a:cubicBezTo>
                <a:cubicBezTo>
                  <a:pt x="380" y="0"/>
                  <a:pt x="380" y="0"/>
                  <a:pt x="380" y="0"/>
                </a:cubicBezTo>
                <a:lnTo>
                  <a:pt x="141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5E75D92-38AE-CF8F-23F9-A20B4B8FB951}"/>
              </a:ext>
            </a:extLst>
          </p:cNvPr>
          <p:cNvSpPr txBox="1"/>
          <p:nvPr/>
        </p:nvSpPr>
        <p:spPr>
          <a:xfrm>
            <a:off x="887903" y="1263596"/>
            <a:ext cx="6786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3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01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1BC3A48-5A13-15BD-7DA2-F81BCD34E26A}"/>
              </a:ext>
            </a:extLst>
          </p:cNvPr>
          <p:cNvSpPr>
            <a:spLocks/>
          </p:cNvSpPr>
          <p:nvPr/>
        </p:nvSpPr>
        <p:spPr>
          <a:xfrm>
            <a:off x="767554" y="2413146"/>
            <a:ext cx="10493982" cy="951624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" name="Shape3_20201019_114757">
            <a:extLst>
              <a:ext uri="{FF2B5EF4-FFF2-40B4-BE49-F238E27FC236}">
                <a16:creationId xmlns:a16="http://schemas.microsoft.com/office/drawing/2014/main" id="{67A0E9D1-A184-DE58-20CA-88976760B23B}"/>
              </a:ext>
            </a:extLst>
          </p:cNvPr>
          <p:cNvSpPr>
            <a:spLocks/>
          </p:cNvSpPr>
          <p:nvPr/>
        </p:nvSpPr>
        <p:spPr bwMode="auto">
          <a:xfrm>
            <a:off x="738432" y="2324173"/>
            <a:ext cx="1046163" cy="1095375"/>
          </a:xfrm>
          <a:custGeom>
            <a:avLst/>
            <a:gdLst>
              <a:gd name="T0" fmla="*/ 141 w 492"/>
              <a:gd name="T1" fmla="*/ 0 h 515"/>
              <a:gd name="T2" fmla="*/ 47 w 492"/>
              <a:gd name="T3" fmla="*/ 9 h 515"/>
              <a:gd name="T4" fmla="*/ 4 w 492"/>
              <a:gd name="T5" fmla="*/ 49 h 515"/>
              <a:gd name="T6" fmla="*/ 1 w 492"/>
              <a:gd name="T7" fmla="*/ 102 h 515"/>
              <a:gd name="T8" fmla="*/ 1 w 492"/>
              <a:gd name="T9" fmla="*/ 433 h 515"/>
              <a:gd name="T10" fmla="*/ 15 w 492"/>
              <a:gd name="T11" fmla="*/ 480 h 515"/>
              <a:gd name="T12" fmla="*/ 65 w 492"/>
              <a:gd name="T13" fmla="*/ 504 h 515"/>
              <a:gd name="T14" fmla="*/ 123 w 492"/>
              <a:gd name="T15" fmla="*/ 515 h 515"/>
              <a:gd name="T16" fmla="*/ 28 w 492"/>
              <a:gd name="T17" fmla="*/ 486 h 515"/>
              <a:gd name="T18" fmla="*/ 21 w 492"/>
              <a:gd name="T19" fmla="*/ 472 h 515"/>
              <a:gd name="T20" fmla="*/ 61 w 492"/>
              <a:gd name="T21" fmla="*/ 457 h 515"/>
              <a:gd name="T22" fmla="*/ 131 w 492"/>
              <a:gd name="T23" fmla="*/ 451 h 515"/>
              <a:gd name="T24" fmla="*/ 152 w 492"/>
              <a:gd name="T25" fmla="*/ 450 h 515"/>
              <a:gd name="T26" fmla="*/ 207 w 492"/>
              <a:gd name="T27" fmla="*/ 448 h 515"/>
              <a:gd name="T28" fmla="*/ 380 w 492"/>
              <a:gd name="T29" fmla="*/ 447 h 515"/>
              <a:gd name="T30" fmla="*/ 492 w 492"/>
              <a:gd name="T31" fmla="*/ 210 h 515"/>
              <a:gd name="T32" fmla="*/ 380 w 492"/>
              <a:gd name="T33" fmla="*/ 0 h 515"/>
              <a:gd name="T34" fmla="*/ 141 w 492"/>
              <a:gd name="T35" fmla="*/ 0 h 5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492" h="515">
                <a:moveTo>
                  <a:pt x="141" y="0"/>
                </a:moveTo>
                <a:cubicBezTo>
                  <a:pt x="110" y="2"/>
                  <a:pt x="78" y="3"/>
                  <a:pt x="47" y="9"/>
                </a:cubicBezTo>
                <a:cubicBezTo>
                  <a:pt x="26" y="14"/>
                  <a:pt x="9" y="23"/>
                  <a:pt x="4" y="49"/>
                </a:cubicBezTo>
                <a:cubicBezTo>
                  <a:pt x="0" y="66"/>
                  <a:pt x="1" y="84"/>
                  <a:pt x="1" y="102"/>
                </a:cubicBezTo>
                <a:cubicBezTo>
                  <a:pt x="1" y="433"/>
                  <a:pt x="1" y="433"/>
                  <a:pt x="1" y="433"/>
                </a:cubicBezTo>
                <a:cubicBezTo>
                  <a:pt x="3" y="450"/>
                  <a:pt x="3" y="466"/>
                  <a:pt x="15" y="480"/>
                </a:cubicBezTo>
                <a:cubicBezTo>
                  <a:pt x="27" y="494"/>
                  <a:pt x="48" y="499"/>
                  <a:pt x="65" y="504"/>
                </a:cubicBezTo>
                <a:cubicBezTo>
                  <a:pt x="84" y="510"/>
                  <a:pt x="104" y="512"/>
                  <a:pt x="123" y="515"/>
                </a:cubicBezTo>
                <a:cubicBezTo>
                  <a:pt x="94" y="510"/>
                  <a:pt x="54" y="504"/>
                  <a:pt x="28" y="486"/>
                </a:cubicBezTo>
                <a:cubicBezTo>
                  <a:pt x="23" y="483"/>
                  <a:pt x="20" y="478"/>
                  <a:pt x="21" y="472"/>
                </a:cubicBezTo>
                <a:cubicBezTo>
                  <a:pt x="23" y="460"/>
                  <a:pt x="52" y="458"/>
                  <a:pt x="61" y="457"/>
                </a:cubicBezTo>
                <a:cubicBezTo>
                  <a:pt x="84" y="454"/>
                  <a:pt x="108" y="452"/>
                  <a:pt x="131" y="451"/>
                </a:cubicBezTo>
                <a:cubicBezTo>
                  <a:pt x="138" y="450"/>
                  <a:pt x="145" y="450"/>
                  <a:pt x="152" y="450"/>
                </a:cubicBezTo>
                <a:cubicBezTo>
                  <a:pt x="170" y="449"/>
                  <a:pt x="188" y="449"/>
                  <a:pt x="207" y="448"/>
                </a:cubicBezTo>
                <a:cubicBezTo>
                  <a:pt x="380" y="447"/>
                  <a:pt x="380" y="447"/>
                  <a:pt x="380" y="447"/>
                </a:cubicBezTo>
                <a:cubicBezTo>
                  <a:pt x="492" y="210"/>
                  <a:pt x="492" y="210"/>
                  <a:pt x="492" y="210"/>
                </a:cubicBezTo>
                <a:cubicBezTo>
                  <a:pt x="380" y="0"/>
                  <a:pt x="380" y="0"/>
                  <a:pt x="380" y="0"/>
                </a:cubicBezTo>
                <a:lnTo>
                  <a:pt x="141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6BEA897-62DC-C5FC-DA9B-0CE4B18C8B01}"/>
              </a:ext>
            </a:extLst>
          </p:cNvPr>
          <p:cNvSpPr txBox="1"/>
          <p:nvPr/>
        </p:nvSpPr>
        <p:spPr>
          <a:xfrm>
            <a:off x="887903" y="2553916"/>
            <a:ext cx="6786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3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02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8D0A008-964E-CEBA-E98D-78518066BD9F}"/>
              </a:ext>
            </a:extLst>
          </p:cNvPr>
          <p:cNvSpPr>
            <a:spLocks/>
          </p:cNvSpPr>
          <p:nvPr/>
        </p:nvSpPr>
        <p:spPr>
          <a:xfrm>
            <a:off x="767554" y="3703466"/>
            <a:ext cx="10493982" cy="951624"/>
          </a:xfrm>
          <a:prstGeom prst="rect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6" name="Shape5_20201019_114757">
            <a:extLst>
              <a:ext uri="{FF2B5EF4-FFF2-40B4-BE49-F238E27FC236}">
                <a16:creationId xmlns:a16="http://schemas.microsoft.com/office/drawing/2014/main" id="{98301F3C-A972-CF68-5F88-AB3AAEEC313F}"/>
              </a:ext>
            </a:extLst>
          </p:cNvPr>
          <p:cNvSpPr>
            <a:spLocks/>
          </p:cNvSpPr>
          <p:nvPr/>
        </p:nvSpPr>
        <p:spPr bwMode="auto">
          <a:xfrm>
            <a:off x="738432" y="3614493"/>
            <a:ext cx="1046163" cy="1095375"/>
          </a:xfrm>
          <a:custGeom>
            <a:avLst/>
            <a:gdLst>
              <a:gd name="T0" fmla="*/ 141 w 492"/>
              <a:gd name="T1" fmla="*/ 0 h 515"/>
              <a:gd name="T2" fmla="*/ 47 w 492"/>
              <a:gd name="T3" fmla="*/ 9 h 515"/>
              <a:gd name="T4" fmla="*/ 4 w 492"/>
              <a:gd name="T5" fmla="*/ 49 h 515"/>
              <a:gd name="T6" fmla="*/ 1 w 492"/>
              <a:gd name="T7" fmla="*/ 102 h 515"/>
              <a:gd name="T8" fmla="*/ 1 w 492"/>
              <a:gd name="T9" fmla="*/ 433 h 515"/>
              <a:gd name="T10" fmla="*/ 15 w 492"/>
              <a:gd name="T11" fmla="*/ 480 h 515"/>
              <a:gd name="T12" fmla="*/ 65 w 492"/>
              <a:gd name="T13" fmla="*/ 504 h 515"/>
              <a:gd name="T14" fmla="*/ 123 w 492"/>
              <a:gd name="T15" fmla="*/ 515 h 515"/>
              <a:gd name="T16" fmla="*/ 28 w 492"/>
              <a:gd name="T17" fmla="*/ 486 h 515"/>
              <a:gd name="T18" fmla="*/ 21 w 492"/>
              <a:gd name="T19" fmla="*/ 472 h 515"/>
              <a:gd name="T20" fmla="*/ 61 w 492"/>
              <a:gd name="T21" fmla="*/ 457 h 515"/>
              <a:gd name="T22" fmla="*/ 131 w 492"/>
              <a:gd name="T23" fmla="*/ 451 h 515"/>
              <a:gd name="T24" fmla="*/ 152 w 492"/>
              <a:gd name="T25" fmla="*/ 450 h 515"/>
              <a:gd name="T26" fmla="*/ 207 w 492"/>
              <a:gd name="T27" fmla="*/ 448 h 515"/>
              <a:gd name="T28" fmla="*/ 380 w 492"/>
              <a:gd name="T29" fmla="*/ 447 h 515"/>
              <a:gd name="T30" fmla="*/ 492 w 492"/>
              <a:gd name="T31" fmla="*/ 210 h 515"/>
              <a:gd name="T32" fmla="*/ 380 w 492"/>
              <a:gd name="T33" fmla="*/ 0 h 515"/>
              <a:gd name="T34" fmla="*/ 141 w 492"/>
              <a:gd name="T35" fmla="*/ 0 h 5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492" h="515">
                <a:moveTo>
                  <a:pt x="141" y="0"/>
                </a:moveTo>
                <a:cubicBezTo>
                  <a:pt x="110" y="2"/>
                  <a:pt x="78" y="3"/>
                  <a:pt x="47" y="9"/>
                </a:cubicBezTo>
                <a:cubicBezTo>
                  <a:pt x="26" y="14"/>
                  <a:pt x="9" y="23"/>
                  <a:pt x="4" y="49"/>
                </a:cubicBezTo>
                <a:cubicBezTo>
                  <a:pt x="0" y="66"/>
                  <a:pt x="1" y="84"/>
                  <a:pt x="1" y="102"/>
                </a:cubicBezTo>
                <a:cubicBezTo>
                  <a:pt x="1" y="433"/>
                  <a:pt x="1" y="433"/>
                  <a:pt x="1" y="433"/>
                </a:cubicBezTo>
                <a:cubicBezTo>
                  <a:pt x="3" y="450"/>
                  <a:pt x="3" y="466"/>
                  <a:pt x="15" y="480"/>
                </a:cubicBezTo>
                <a:cubicBezTo>
                  <a:pt x="27" y="494"/>
                  <a:pt x="48" y="499"/>
                  <a:pt x="65" y="504"/>
                </a:cubicBezTo>
                <a:cubicBezTo>
                  <a:pt x="84" y="510"/>
                  <a:pt x="104" y="512"/>
                  <a:pt x="123" y="515"/>
                </a:cubicBezTo>
                <a:cubicBezTo>
                  <a:pt x="94" y="510"/>
                  <a:pt x="54" y="504"/>
                  <a:pt x="28" y="486"/>
                </a:cubicBezTo>
                <a:cubicBezTo>
                  <a:pt x="23" y="483"/>
                  <a:pt x="20" y="478"/>
                  <a:pt x="21" y="472"/>
                </a:cubicBezTo>
                <a:cubicBezTo>
                  <a:pt x="23" y="460"/>
                  <a:pt x="52" y="458"/>
                  <a:pt x="61" y="457"/>
                </a:cubicBezTo>
                <a:cubicBezTo>
                  <a:pt x="84" y="454"/>
                  <a:pt x="108" y="452"/>
                  <a:pt x="131" y="451"/>
                </a:cubicBezTo>
                <a:cubicBezTo>
                  <a:pt x="138" y="450"/>
                  <a:pt x="145" y="450"/>
                  <a:pt x="152" y="450"/>
                </a:cubicBezTo>
                <a:cubicBezTo>
                  <a:pt x="170" y="449"/>
                  <a:pt x="188" y="449"/>
                  <a:pt x="207" y="448"/>
                </a:cubicBezTo>
                <a:cubicBezTo>
                  <a:pt x="380" y="447"/>
                  <a:pt x="380" y="447"/>
                  <a:pt x="380" y="447"/>
                </a:cubicBezTo>
                <a:cubicBezTo>
                  <a:pt x="492" y="210"/>
                  <a:pt x="492" y="210"/>
                  <a:pt x="492" y="210"/>
                </a:cubicBezTo>
                <a:cubicBezTo>
                  <a:pt x="380" y="0"/>
                  <a:pt x="380" y="0"/>
                  <a:pt x="380" y="0"/>
                </a:cubicBezTo>
                <a:lnTo>
                  <a:pt x="141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A8F16BE-9C76-E3E5-E6B9-08F189F0FE35}"/>
              </a:ext>
            </a:extLst>
          </p:cNvPr>
          <p:cNvSpPr txBox="1"/>
          <p:nvPr/>
        </p:nvSpPr>
        <p:spPr>
          <a:xfrm>
            <a:off x="887903" y="3844236"/>
            <a:ext cx="6786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3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03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69FB406-9096-08F6-15C9-96721D58EE8E}"/>
              </a:ext>
            </a:extLst>
          </p:cNvPr>
          <p:cNvSpPr>
            <a:spLocks/>
          </p:cNvSpPr>
          <p:nvPr/>
        </p:nvSpPr>
        <p:spPr>
          <a:xfrm>
            <a:off x="767554" y="4993786"/>
            <a:ext cx="10493982" cy="951624"/>
          </a:xfrm>
          <a:prstGeom prst="rect">
            <a:avLst/>
          </a:prstGeom>
          <a:solidFill>
            <a:schemeClr val="bg1"/>
          </a:solidFill>
          <a:ln>
            <a:solidFill>
              <a:srgbClr val="05BAD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0" name="Shape7_20201019_114757">
            <a:extLst>
              <a:ext uri="{FF2B5EF4-FFF2-40B4-BE49-F238E27FC236}">
                <a16:creationId xmlns:a16="http://schemas.microsoft.com/office/drawing/2014/main" id="{6F152CAC-D548-46B8-3859-251DC5DCE094}"/>
              </a:ext>
            </a:extLst>
          </p:cNvPr>
          <p:cNvSpPr>
            <a:spLocks/>
          </p:cNvSpPr>
          <p:nvPr/>
        </p:nvSpPr>
        <p:spPr bwMode="auto">
          <a:xfrm>
            <a:off x="738432" y="4904813"/>
            <a:ext cx="1046163" cy="1095375"/>
          </a:xfrm>
          <a:custGeom>
            <a:avLst/>
            <a:gdLst>
              <a:gd name="T0" fmla="*/ 141 w 492"/>
              <a:gd name="T1" fmla="*/ 0 h 515"/>
              <a:gd name="T2" fmla="*/ 47 w 492"/>
              <a:gd name="T3" fmla="*/ 9 h 515"/>
              <a:gd name="T4" fmla="*/ 4 w 492"/>
              <a:gd name="T5" fmla="*/ 49 h 515"/>
              <a:gd name="T6" fmla="*/ 1 w 492"/>
              <a:gd name="T7" fmla="*/ 102 h 515"/>
              <a:gd name="T8" fmla="*/ 1 w 492"/>
              <a:gd name="T9" fmla="*/ 433 h 515"/>
              <a:gd name="T10" fmla="*/ 15 w 492"/>
              <a:gd name="T11" fmla="*/ 480 h 515"/>
              <a:gd name="T12" fmla="*/ 65 w 492"/>
              <a:gd name="T13" fmla="*/ 504 h 515"/>
              <a:gd name="T14" fmla="*/ 123 w 492"/>
              <a:gd name="T15" fmla="*/ 515 h 515"/>
              <a:gd name="T16" fmla="*/ 28 w 492"/>
              <a:gd name="T17" fmla="*/ 486 h 515"/>
              <a:gd name="T18" fmla="*/ 21 w 492"/>
              <a:gd name="T19" fmla="*/ 472 h 515"/>
              <a:gd name="T20" fmla="*/ 61 w 492"/>
              <a:gd name="T21" fmla="*/ 457 h 515"/>
              <a:gd name="T22" fmla="*/ 131 w 492"/>
              <a:gd name="T23" fmla="*/ 451 h 515"/>
              <a:gd name="T24" fmla="*/ 152 w 492"/>
              <a:gd name="T25" fmla="*/ 450 h 515"/>
              <a:gd name="T26" fmla="*/ 207 w 492"/>
              <a:gd name="T27" fmla="*/ 448 h 515"/>
              <a:gd name="T28" fmla="*/ 380 w 492"/>
              <a:gd name="T29" fmla="*/ 447 h 515"/>
              <a:gd name="T30" fmla="*/ 492 w 492"/>
              <a:gd name="T31" fmla="*/ 210 h 515"/>
              <a:gd name="T32" fmla="*/ 380 w 492"/>
              <a:gd name="T33" fmla="*/ 0 h 515"/>
              <a:gd name="T34" fmla="*/ 141 w 492"/>
              <a:gd name="T35" fmla="*/ 0 h 5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492" h="515">
                <a:moveTo>
                  <a:pt x="141" y="0"/>
                </a:moveTo>
                <a:cubicBezTo>
                  <a:pt x="110" y="2"/>
                  <a:pt x="78" y="3"/>
                  <a:pt x="47" y="9"/>
                </a:cubicBezTo>
                <a:cubicBezTo>
                  <a:pt x="26" y="14"/>
                  <a:pt x="9" y="23"/>
                  <a:pt x="4" y="49"/>
                </a:cubicBezTo>
                <a:cubicBezTo>
                  <a:pt x="0" y="66"/>
                  <a:pt x="1" y="84"/>
                  <a:pt x="1" y="102"/>
                </a:cubicBezTo>
                <a:cubicBezTo>
                  <a:pt x="1" y="433"/>
                  <a:pt x="1" y="433"/>
                  <a:pt x="1" y="433"/>
                </a:cubicBezTo>
                <a:cubicBezTo>
                  <a:pt x="3" y="450"/>
                  <a:pt x="3" y="466"/>
                  <a:pt x="15" y="480"/>
                </a:cubicBezTo>
                <a:cubicBezTo>
                  <a:pt x="27" y="494"/>
                  <a:pt x="48" y="499"/>
                  <a:pt x="65" y="504"/>
                </a:cubicBezTo>
                <a:cubicBezTo>
                  <a:pt x="84" y="510"/>
                  <a:pt x="104" y="512"/>
                  <a:pt x="123" y="515"/>
                </a:cubicBezTo>
                <a:cubicBezTo>
                  <a:pt x="94" y="510"/>
                  <a:pt x="54" y="504"/>
                  <a:pt x="28" y="486"/>
                </a:cubicBezTo>
                <a:cubicBezTo>
                  <a:pt x="23" y="483"/>
                  <a:pt x="20" y="478"/>
                  <a:pt x="21" y="472"/>
                </a:cubicBezTo>
                <a:cubicBezTo>
                  <a:pt x="23" y="460"/>
                  <a:pt x="52" y="458"/>
                  <a:pt x="61" y="457"/>
                </a:cubicBezTo>
                <a:cubicBezTo>
                  <a:pt x="84" y="454"/>
                  <a:pt x="108" y="452"/>
                  <a:pt x="131" y="451"/>
                </a:cubicBezTo>
                <a:cubicBezTo>
                  <a:pt x="138" y="450"/>
                  <a:pt x="145" y="450"/>
                  <a:pt x="152" y="450"/>
                </a:cubicBezTo>
                <a:cubicBezTo>
                  <a:pt x="170" y="449"/>
                  <a:pt x="188" y="449"/>
                  <a:pt x="207" y="448"/>
                </a:cubicBezTo>
                <a:cubicBezTo>
                  <a:pt x="380" y="447"/>
                  <a:pt x="380" y="447"/>
                  <a:pt x="380" y="447"/>
                </a:cubicBezTo>
                <a:cubicBezTo>
                  <a:pt x="492" y="210"/>
                  <a:pt x="492" y="210"/>
                  <a:pt x="492" y="210"/>
                </a:cubicBezTo>
                <a:cubicBezTo>
                  <a:pt x="380" y="0"/>
                  <a:pt x="380" y="0"/>
                  <a:pt x="380" y="0"/>
                </a:cubicBezTo>
                <a:lnTo>
                  <a:pt x="141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53E0A1D-E8A3-5A85-DE88-36DB02B0E27C}"/>
              </a:ext>
            </a:extLst>
          </p:cNvPr>
          <p:cNvSpPr txBox="1"/>
          <p:nvPr/>
        </p:nvSpPr>
        <p:spPr>
          <a:xfrm>
            <a:off x="887903" y="5134556"/>
            <a:ext cx="6786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3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04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8142DC0-A048-1F1B-539F-76D88BB7CA7B}"/>
              </a:ext>
            </a:extLst>
          </p:cNvPr>
          <p:cNvSpPr txBox="1"/>
          <p:nvPr/>
        </p:nvSpPr>
        <p:spPr>
          <a:xfrm>
            <a:off x="2168770" y="1413972"/>
            <a:ext cx="8382000" cy="369332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2000"/>
              </a:spcBef>
              <a:spcAft>
                <a:spcPct val="0"/>
              </a:spcAft>
              <a:buClr>
                <a:srgbClr val="C5103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C779C054-EB47-26F4-C8CA-1F302EBA539B}"/>
              </a:ext>
            </a:extLst>
          </p:cNvPr>
          <p:cNvSpPr txBox="1"/>
          <p:nvPr/>
        </p:nvSpPr>
        <p:spPr>
          <a:xfrm>
            <a:off x="2168770" y="2704292"/>
            <a:ext cx="8382000" cy="369332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2000"/>
              </a:spcBef>
              <a:spcAft>
                <a:spcPct val="0"/>
              </a:spcAft>
              <a:buClr>
                <a:srgbClr val="C5103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514E4AE-2433-8778-4553-E428DA00506E}"/>
              </a:ext>
            </a:extLst>
          </p:cNvPr>
          <p:cNvSpPr txBox="1"/>
          <p:nvPr/>
        </p:nvSpPr>
        <p:spPr>
          <a:xfrm>
            <a:off x="2168770" y="3994612"/>
            <a:ext cx="8382000" cy="369332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2000"/>
              </a:spcBef>
              <a:spcAft>
                <a:spcPct val="0"/>
              </a:spcAft>
              <a:buClr>
                <a:srgbClr val="C5103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5BFD59D-7570-AFB0-52C7-E5D5F24C7818}"/>
              </a:ext>
            </a:extLst>
          </p:cNvPr>
          <p:cNvSpPr txBox="1"/>
          <p:nvPr/>
        </p:nvSpPr>
        <p:spPr>
          <a:xfrm>
            <a:off x="2168770" y="5284932"/>
            <a:ext cx="8382000" cy="369332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2000"/>
              </a:spcBef>
              <a:spcAft>
                <a:spcPct val="0"/>
              </a:spcAft>
              <a:buClr>
                <a:srgbClr val="C5103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anose="020B0604020202020204" pitchFamily="34" charset="0"/>
              </a:rPr>
              <a:t>Insert Text Here</a:t>
            </a:r>
          </a:p>
        </p:txBody>
      </p:sp>
    </p:spTree>
    <p:extLst>
      <p:ext uri="{BB962C8B-B14F-4D97-AF65-F5344CB8AC3E}">
        <p14:creationId xmlns:p14="http://schemas.microsoft.com/office/powerpoint/2010/main" val="1859640860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84F5EB-CFC7-6A93-5257-E9FAED2521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830579A0-5C81-4AD4-EB98-31E788066F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30579A0-5C81-4AD4-EB98-31E788066F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8912DAC-FFB2-AAF4-D5D7-00A373EFF5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2FBFC13D-1D6B-3E30-8FF8-3EB1D7C7C8F5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40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E3A94B96-05EF-2E2C-04FD-70BEAF7C036C}"/>
              </a:ext>
            </a:extLst>
          </p:cNvPr>
          <p:cNvSpPr/>
          <p:nvPr/>
        </p:nvSpPr>
        <p:spPr>
          <a:xfrm>
            <a:off x="625033" y="1690926"/>
            <a:ext cx="1817846" cy="1303787"/>
          </a:xfrm>
          <a:prstGeom prst="rect">
            <a:avLst/>
          </a:prstGeom>
          <a:solidFill>
            <a:schemeClr val="accent1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853168">
              <a:defRPr/>
            </a:pPr>
            <a:endParaRPr lang="en-IN" sz="2771" b="1" dirty="0">
              <a:solidFill>
                <a:srgbClr val="000000"/>
              </a:solidFill>
            </a:endParaRPr>
          </a:p>
        </p:txBody>
      </p:sp>
      <p:sp>
        <p:nvSpPr>
          <p:cNvPr id="29" name="Shape1_20210618_105917">
            <a:extLst>
              <a:ext uri="{FF2B5EF4-FFF2-40B4-BE49-F238E27FC236}">
                <a16:creationId xmlns:a16="http://schemas.microsoft.com/office/drawing/2014/main" id="{17FF6AE2-90F4-5634-A79A-A558BA9048FB}"/>
              </a:ext>
            </a:extLst>
          </p:cNvPr>
          <p:cNvSpPr/>
          <p:nvPr/>
        </p:nvSpPr>
        <p:spPr>
          <a:xfrm>
            <a:off x="760226" y="2183480"/>
            <a:ext cx="1547460" cy="3186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 defTabSz="853168">
              <a:defRPr/>
            </a:pPr>
            <a:r>
              <a:rPr lang="en-US" sz="1471" b="1" dirty="0">
                <a:solidFill>
                  <a:schemeClr val="bg1"/>
                </a:solidFill>
              </a:rPr>
              <a:t>Title</a:t>
            </a:r>
            <a:endParaRPr lang="en-IN" sz="1471" b="1" dirty="0">
              <a:solidFill>
                <a:schemeClr val="bg1"/>
              </a:solidFill>
            </a:endParaRPr>
          </a:p>
        </p:txBody>
      </p:sp>
      <p:sp>
        <p:nvSpPr>
          <p:cNvPr id="30" name="Shape1_20210618_105928">
            <a:extLst>
              <a:ext uri="{FF2B5EF4-FFF2-40B4-BE49-F238E27FC236}">
                <a16:creationId xmlns:a16="http://schemas.microsoft.com/office/drawing/2014/main" id="{0AECE39B-AD8B-2BA5-EA14-9DCC252D5F7A}"/>
              </a:ext>
            </a:extLst>
          </p:cNvPr>
          <p:cNvSpPr>
            <a:spLocks/>
          </p:cNvSpPr>
          <p:nvPr/>
        </p:nvSpPr>
        <p:spPr>
          <a:xfrm>
            <a:off x="2607842" y="1690924"/>
            <a:ext cx="4365956" cy="1303789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5322" bIns="85322" rtlCol="0" anchor="t" anchorCtr="0">
            <a:noAutofit/>
          </a:bodyPr>
          <a:lstStyle/>
          <a:p>
            <a:pPr defTabSz="853168">
              <a:defRPr/>
            </a:pPr>
            <a:endParaRPr lang="en-IN" sz="1493" dirty="0">
              <a:solidFill>
                <a:srgbClr val="000000"/>
              </a:solidFill>
            </a:endParaRPr>
          </a:p>
        </p:txBody>
      </p:sp>
      <p:sp>
        <p:nvSpPr>
          <p:cNvPr id="31" name="Shape0_20210618_105928">
            <a:extLst>
              <a:ext uri="{FF2B5EF4-FFF2-40B4-BE49-F238E27FC236}">
                <a16:creationId xmlns:a16="http://schemas.microsoft.com/office/drawing/2014/main" id="{141D029E-D8EB-8F17-A72E-6A6BDE122F17}"/>
              </a:ext>
            </a:extLst>
          </p:cNvPr>
          <p:cNvSpPr/>
          <p:nvPr/>
        </p:nvSpPr>
        <p:spPr>
          <a:xfrm>
            <a:off x="7138762" y="1690924"/>
            <a:ext cx="4365956" cy="1303789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5322" bIns="85322" rtlCol="0" anchor="t" anchorCtr="0"/>
          <a:lstStyle/>
          <a:p>
            <a:pPr defTabSz="853168">
              <a:defRPr/>
            </a:pPr>
            <a:endParaRPr lang="en-IN" sz="1493" dirty="0">
              <a:solidFill>
                <a:srgbClr val="000000"/>
              </a:solidFill>
            </a:endParaRPr>
          </a:p>
        </p:txBody>
      </p:sp>
      <p:sp>
        <p:nvSpPr>
          <p:cNvPr id="32" name="Shape0_20210618_105917">
            <a:extLst>
              <a:ext uri="{FF2B5EF4-FFF2-40B4-BE49-F238E27FC236}">
                <a16:creationId xmlns:a16="http://schemas.microsoft.com/office/drawing/2014/main" id="{E5155019-F0E3-AE9A-03D3-2239AC732BB2}"/>
              </a:ext>
            </a:extLst>
          </p:cNvPr>
          <p:cNvSpPr>
            <a:spLocks/>
          </p:cNvSpPr>
          <p:nvPr/>
        </p:nvSpPr>
        <p:spPr>
          <a:xfrm>
            <a:off x="2607842" y="1690928"/>
            <a:ext cx="4365956" cy="5450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buClrTx/>
              <a:defRPr/>
            </a:pPr>
            <a:r>
              <a:rPr lang="en-US" sz="1471" b="1" dirty="0"/>
              <a:t>Title</a:t>
            </a:r>
          </a:p>
          <a:p>
            <a:pPr marL="266616" indent="-266616">
              <a:buFont typeface="Arial" panose="020B0604020202020204" pitchFamily="34" charset="0"/>
              <a:buChar char="•"/>
              <a:defRPr/>
            </a:pPr>
            <a:r>
              <a:rPr lang="en-US" sz="1471" dirty="0"/>
              <a:t>Insert Text Here</a:t>
            </a:r>
            <a:endParaRPr lang="en-IN" sz="1471" dirty="0"/>
          </a:p>
        </p:txBody>
      </p:sp>
      <p:sp>
        <p:nvSpPr>
          <p:cNvPr id="33" name="Shape2_20210618_105917">
            <a:extLst>
              <a:ext uri="{FF2B5EF4-FFF2-40B4-BE49-F238E27FC236}">
                <a16:creationId xmlns:a16="http://schemas.microsoft.com/office/drawing/2014/main" id="{81DE7381-9509-7F56-2A51-5BD791B17C39}"/>
              </a:ext>
            </a:extLst>
          </p:cNvPr>
          <p:cNvSpPr>
            <a:spLocks/>
          </p:cNvSpPr>
          <p:nvPr/>
        </p:nvSpPr>
        <p:spPr>
          <a:xfrm>
            <a:off x="7138762" y="1690928"/>
            <a:ext cx="4365956" cy="5450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buClrTx/>
              <a:defRPr/>
            </a:pPr>
            <a:r>
              <a:rPr lang="en-US" sz="1471" b="1" dirty="0"/>
              <a:t>Title</a:t>
            </a:r>
          </a:p>
          <a:p>
            <a:pPr marL="266616" indent="-266616">
              <a:buFont typeface="Arial" panose="020B0604020202020204" pitchFamily="34" charset="0"/>
              <a:buChar char="•"/>
              <a:defRPr/>
            </a:pPr>
            <a:r>
              <a:rPr lang="en-US" sz="1471" dirty="0"/>
              <a:t>Insert Text Here</a:t>
            </a:r>
            <a:endParaRPr lang="en-IN" sz="1471" dirty="0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ED870EAF-03A7-E017-2359-5AC1EB8F81CD}"/>
              </a:ext>
            </a:extLst>
          </p:cNvPr>
          <p:cNvSpPr/>
          <p:nvPr/>
        </p:nvSpPr>
        <p:spPr>
          <a:xfrm>
            <a:off x="625033" y="3169568"/>
            <a:ext cx="1817846" cy="1303787"/>
          </a:xfrm>
          <a:prstGeom prst="rect">
            <a:avLst/>
          </a:prstGeom>
          <a:solidFill>
            <a:schemeClr val="accent1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853168">
              <a:defRPr/>
            </a:pPr>
            <a:endParaRPr lang="en-IN" sz="2771" b="1" dirty="0">
              <a:solidFill>
                <a:srgbClr val="000000"/>
              </a:solidFill>
            </a:endParaRPr>
          </a:p>
        </p:txBody>
      </p:sp>
      <p:sp>
        <p:nvSpPr>
          <p:cNvPr id="35" name="Shape4_20210618_105917">
            <a:extLst>
              <a:ext uri="{FF2B5EF4-FFF2-40B4-BE49-F238E27FC236}">
                <a16:creationId xmlns:a16="http://schemas.microsoft.com/office/drawing/2014/main" id="{D8358766-C760-E670-1439-865B50376C32}"/>
              </a:ext>
            </a:extLst>
          </p:cNvPr>
          <p:cNvSpPr/>
          <p:nvPr/>
        </p:nvSpPr>
        <p:spPr>
          <a:xfrm>
            <a:off x="760226" y="3662122"/>
            <a:ext cx="1547460" cy="3186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 defTabSz="853168">
              <a:defRPr/>
            </a:pPr>
            <a:r>
              <a:rPr lang="en-US" sz="1471" b="1" dirty="0">
                <a:solidFill>
                  <a:schemeClr val="bg1"/>
                </a:solidFill>
              </a:rPr>
              <a:t>Title</a:t>
            </a:r>
            <a:endParaRPr lang="en-IN" sz="1471" b="1" dirty="0">
              <a:solidFill>
                <a:schemeClr val="bg1"/>
              </a:solidFill>
            </a:endParaRPr>
          </a:p>
        </p:txBody>
      </p:sp>
      <p:sp>
        <p:nvSpPr>
          <p:cNvPr id="36" name="Shape2_20210618_105928">
            <a:extLst>
              <a:ext uri="{FF2B5EF4-FFF2-40B4-BE49-F238E27FC236}">
                <a16:creationId xmlns:a16="http://schemas.microsoft.com/office/drawing/2014/main" id="{8FDE9298-B55B-9E8B-E2D0-33E51F78C5C9}"/>
              </a:ext>
            </a:extLst>
          </p:cNvPr>
          <p:cNvSpPr>
            <a:spLocks/>
          </p:cNvSpPr>
          <p:nvPr/>
        </p:nvSpPr>
        <p:spPr>
          <a:xfrm>
            <a:off x="2607842" y="3169568"/>
            <a:ext cx="4365956" cy="1303789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5322" bIns="85322" rtlCol="0" anchor="t" anchorCtr="0">
            <a:noAutofit/>
          </a:bodyPr>
          <a:lstStyle/>
          <a:p>
            <a:pPr defTabSz="853168">
              <a:defRPr/>
            </a:pPr>
            <a:endParaRPr lang="en-IN" sz="1493" dirty="0">
              <a:solidFill>
                <a:srgbClr val="000000"/>
              </a:solidFill>
            </a:endParaRPr>
          </a:p>
        </p:txBody>
      </p:sp>
      <p:sp>
        <p:nvSpPr>
          <p:cNvPr id="37" name="Shape3_20210618_105928">
            <a:extLst>
              <a:ext uri="{FF2B5EF4-FFF2-40B4-BE49-F238E27FC236}">
                <a16:creationId xmlns:a16="http://schemas.microsoft.com/office/drawing/2014/main" id="{D2B1713A-FED9-CD40-5F84-9ADA83F05BD1}"/>
              </a:ext>
            </a:extLst>
          </p:cNvPr>
          <p:cNvSpPr/>
          <p:nvPr/>
        </p:nvSpPr>
        <p:spPr>
          <a:xfrm>
            <a:off x="7138762" y="3169568"/>
            <a:ext cx="4365956" cy="1303789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5322" bIns="85322" rtlCol="0" anchor="t" anchorCtr="0"/>
          <a:lstStyle/>
          <a:p>
            <a:pPr defTabSz="853168">
              <a:defRPr/>
            </a:pPr>
            <a:endParaRPr lang="en-IN" sz="1493" dirty="0">
              <a:solidFill>
                <a:srgbClr val="000000"/>
              </a:solidFill>
            </a:endParaRPr>
          </a:p>
        </p:txBody>
      </p:sp>
      <p:sp>
        <p:nvSpPr>
          <p:cNvPr id="38" name="Shape5_20210618_105917">
            <a:extLst>
              <a:ext uri="{FF2B5EF4-FFF2-40B4-BE49-F238E27FC236}">
                <a16:creationId xmlns:a16="http://schemas.microsoft.com/office/drawing/2014/main" id="{63830D59-4D0B-BAEA-388A-2B07D6CCC1EB}"/>
              </a:ext>
            </a:extLst>
          </p:cNvPr>
          <p:cNvSpPr>
            <a:spLocks/>
          </p:cNvSpPr>
          <p:nvPr/>
        </p:nvSpPr>
        <p:spPr>
          <a:xfrm>
            <a:off x="2607842" y="3169569"/>
            <a:ext cx="4365956" cy="5450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buClrTx/>
              <a:defRPr/>
            </a:pPr>
            <a:r>
              <a:rPr lang="en-US" sz="1471" b="1" dirty="0"/>
              <a:t>Title</a:t>
            </a:r>
          </a:p>
          <a:p>
            <a:pPr marL="266616" indent="-266616">
              <a:buFont typeface="Arial" panose="020B0604020202020204" pitchFamily="34" charset="0"/>
              <a:buChar char="•"/>
              <a:defRPr/>
            </a:pPr>
            <a:r>
              <a:rPr lang="en-US" sz="1471" dirty="0"/>
              <a:t>Insert Text Here</a:t>
            </a:r>
            <a:endParaRPr lang="en-IN" sz="1471" dirty="0"/>
          </a:p>
        </p:txBody>
      </p:sp>
      <p:sp>
        <p:nvSpPr>
          <p:cNvPr id="39" name="Shape6_20210618_105917">
            <a:extLst>
              <a:ext uri="{FF2B5EF4-FFF2-40B4-BE49-F238E27FC236}">
                <a16:creationId xmlns:a16="http://schemas.microsoft.com/office/drawing/2014/main" id="{89FDDC8E-0057-1733-A310-BED356F8D871}"/>
              </a:ext>
            </a:extLst>
          </p:cNvPr>
          <p:cNvSpPr>
            <a:spLocks/>
          </p:cNvSpPr>
          <p:nvPr/>
        </p:nvSpPr>
        <p:spPr>
          <a:xfrm>
            <a:off x="7138762" y="3169569"/>
            <a:ext cx="4365956" cy="5450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buClrTx/>
              <a:defRPr/>
            </a:pPr>
            <a:r>
              <a:rPr lang="en-US" sz="1471" b="1" dirty="0"/>
              <a:t>Title</a:t>
            </a:r>
          </a:p>
          <a:p>
            <a:pPr marL="266616" indent="-266616">
              <a:buFont typeface="Arial" panose="020B0604020202020204" pitchFamily="34" charset="0"/>
              <a:buChar char="•"/>
              <a:defRPr/>
            </a:pPr>
            <a:r>
              <a:rPr lang="en-US" sz="1471" dirty="0"/>
              <a:t>Insert Text Here</a:t>
            </a:r>
            <a:endParaRPr lang="en-IN" sz="1471" dirty="0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607B1CD7-93A9-83BE-3751-8876E8DCAF30}"/>
              </a:ext>
            </a:extLst>
          </p:cNvPr>
          <p:cNvSpPr/>
          <p:nvPr/>
        </p:nvSpPr>
        <p:spPr>
          <a:xfrm>
            <a:off x="625033" y="4648210"/>
            <a:ext cx="1817846" cy="1303787"/>
          </a:xfrm>
          <a:prstGeom prst="rect">
            <a:avLst/>
          </a:prstGeom>
          <a:solidFill>
            <a:schemeClr val="accent1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853168">
              <a:defRPr/>
            </a:pPr>
            <a:endParaRPr lang="en-IN" sz="2771" b="1" dirty="0">
              <a:solidFill>
                <a:srgbClr val="000000"/>
              </a:solidFill>
            </a:endParaRPr>
          </a:p>
        </p:txBody>
      </p:sp>
      <p:sp>
        <p:nvSpPr>
          <p:cNvPr id="41" name="Shape7_20210618_105917">
            <a:extLst>
              <a:ext uri="{FF2B5EF4-FFF2-40B4-BE49-F238E27FC236}">
                <a16:creationId xmlns:a16="http://schemas.microsoft.com/office/drawing/2014/main" id="{A0A85ED4-A2CD-2F1E-BF81-DE974B4E86E9}"/>
              </a:ext>
            </a:extLst>
          </p:cNvPr>
          <p:cNvSpPr/>
          <p:nvPr/>
        </p:nvSpPr>
        <p:spPr>
          <a:xfrm>
            <a:off x="760226" y="5140765"/>
            <a:ext cx="1547460" cy="3186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 defTabSz="853168">
              <a:defRPr/>
            </a:pPr>
            <a:r>
              <a:rPr lang="en-US" sz="1471" b="1" dirty="0">
                <a:solidFill>
                  <a:schemeClr val="bg1"/>
                </a:solidFill>
              </a:rPr>
              <a:t>Title</a:t>
            </a:r>
            <a:endParaRPr lang="en-IN" sz="1471" b="1" dirty="0">
              <a:solidFill>
                <a:schemeClr val="bg1"/>
              </a:solidFill>
            </a:endParaRPr>
          </a:p>
        </p:txBody>
      </p:sp>
      <p:sp>
        <p:nvSpPr>
          <p:cNvPr id="42" name="Shape4_20210618_105928">
            <a:extLst>
              <a:ext uri="{FF2B5EF4-FFF2-40B4-BE49-F238E27FC236}">
                <a16:creationId xmlns:a16="http://schemas.microsoft.com/office/drawing/2014/main" id="{FECDFF28-D1A2-5F7E-E516-979E3C9CCE65}"/>
              </a:ext>
            </a:extLst>
          </p:cNvPr>
          <p:cNvSpPr>
            <a:spLocks/>
          </p:cNvSpPr>
          <p:nvPr/>
        </p:nvSpPr>
        <p:spPr>
          <a:xfrm>
            <a:off x="2607842" y="4648211"/>
            <a:ext cx="4365956" cy="1303789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5322" bIns="85322" rtlCol="0" anchor="t" anchorCtr="0">
            <a:noAutofit/>
          </a:bodyPr>
          <a:lstStyle/>
          <a:p>
            <a:pPr defTabSz="853168">
              <a:defRPr/>
            </a:pPr>
            <a:endParaRPr lang="en-IN" sz="1493" dirty="0">
              <a:solidFill>
                <a:srgbClr val="000000"/>
              </a:solidFill>
            </a:endParaRPr>
          </a:p>
        </p:txBody>
      </p:sp>
      <p:sp>
        <p:nvSpPr>
          <p:cNvPr id="43" name="Shape5_20210618_105928">
            <a:extLst>
              <a:ext uri="{FF2B5EF4-FFF2-40B4-BE49-F238E27FC236}">
                <a16:creationId xmlns:a16="http://schemas.microsoft.com/office/drawing/2014/main" id="{39D3F474-A2E0-8AB7-25F3-7C95739CCA12}"/>
              </a:ext>
            </a:extLst>
          </p:cNvPr>
          <p:cNvSpPr/>
          <p:nvPr/>
        </p:nvSpPr>
        <p:spPr>
          <a:xfrm>
            <a:off x="7138762" y="4648211"/>
            <a:ext cx="4365956" cy="1303789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5322" bIns="85322" rtlCol="0" anchor="t" anchorCtr="0"/>
          <a:lstStyle/>
          <a:p>
            <a:pPr defTabSz="853168">
              <a:defRPr/>
            </a:pPr>
            <a:endParaRPr lang="en-IN" sz="1493" dirty="0">
              <a:solidFill>
                <a:srgbClr val="000000"/>
              </a:solidFill>
            </a:endParaRPr>
          </a:p>
        </p:txBody>
      </p:sp>
      <p:sp>
        <p:nvSpPr>
          <p:cNvPr id="44" name="Shape8_20210618_105917">
            <a:extLst>
              <a:ext uri="{FF2B5EF4-FFF2-40B4-BE49-F238E27FC236}">
                <a16:creationId xmlns:a16="http://schemas.microsoft.com/office/drawing/2014/main" id="{FCDB2E0C-42B4-49D9-2C71-B045F413A50B}"/>
              </a:ext>
            </a:extLst>
          </p:cNvPr>
          <p:cNvSpPr>
            <a:spLocks/>
          </p:cNvSpPr>
          <p:nvPr/>
        </p:nvSpPr>
        <p:spPr>
          <a:xfrm>
            <a:off x="2607842" y="4648211"/>
            <a:ext cx="4365956" cy="5450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buClrTx/>
              <a:defRPr/>
            </a:pPr>
            <a:r>
              <a:rPr lang="en-US" sz="1471" b="1" dirty="0"/>
              <a:t>Title</a:t>
            </a:r>
          </a:p>
          <a:p>
            <a:pPr marL="266616" indent="-266616">
              <a:buFont typeface="Arial" panose="020B0604020202020204" pitchFamily="34" charset="0"/>
              <a:buChar char="•"/>
              <a:defRPr/>
            </a:pPr>
            <a:r>
              <a:rPr lang="en-US" sz="1471" dirty="0"/>
              <a:t>Insert Text Here</a:t>
            </a:r>
            <a:endParaRPr lang="en-IN" sz="1471" dirty="0"/>
          </a:p>
        </p:txBody>
      </p:sp>
      <p:sp>
        <p:nvSpPr>
          <p:cNvPr id="45" name="Shape9_20210618_105917">
            <a:extLst>
              <a:ext uri="{FF2B5EF4-FFF2-40B4-BE49-F238E27FC236}">
                <a16:creationId xmlns:a16="http://schemas.microsoft.com/office/drawing/2014/main" id="{2788A11F-1702-4BC6-3BB7-AACC9938E6D9}"/>
              </a:ext>
            </a:extLst>
          </p:cNvPr>
          <p:cNvSpPr>
            <a:spLocks/>
          </p:cNvSpPr>
          <p:nvPr/>
        </p:nvSpPr>
        <p:spPr>
          <a:xfrm>
            <a:off x="7138762" y="4648211"/>
            <a:ext cx="4365956" cy="5450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buClrTx/>
              <a:defRPr/>
            </a:pPr>
            <a:r>
              <a:rPr lang="en-US" sz="1471" b="1" dirty="0"/>
              <a:t>Title</a:t>
            </a:r>
          </a:p>
          <a:p>
            <a:pPr marL="266616" indent="-266616">
              <a:buFont typeface="Arial" panose="020B0604020202020204" pitchFamily="34" charset="0"/>
              <a:buChar char="•"/>
              <a:defRPr/>
            </a:pPr>
            <a:r>
              <a:rPr lang="en-US" sz="1471" dirty="0"/>
              <a:t>Insert Text Here</a:t>
            </a:r>
            <a:endParaRPr lang="en-IN" sz="1471" dirty="0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61F70672-75F2-4E40-A0A5-2318C5A99F0A}"/>
              </a:ext>
            </a:extLst>
          </p:cNvPr>
          <p:cNvSpPr/>
          <p:nvPr/>
        </p:nvSpPr>
        <p:spPr>
          <a:xfrm>
            <a:off x="7138762" y="990424"/>
            <a:ext cx="4365956" cy="54794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53168">
              <a:defRPr/>
            </a:pPr>
            <a:endParaRPr lang="en-IN" sz="2771" b="1" dirty="0">
              <a:solidFill>
                <a:srgbClr val="FFFFFF"/>
              </a:solidFill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BFF426FE-64D0-564D-1136-A59103F01F60}"/>
              </a:ext>
            </a:extLst>
          </p:cNvPr>
          <p:cNvSpPr/>
          <p:nvPr/>
        </p:nvSpPr>
        <p:spPr>
          <a:xfrm>
            <a:off x="2607844" y="990424"/>
            <a:ext cx="4365956" cy="54794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53168">
              <a:defRPr/>
            </a:pPr>
            <a:endParaRPr lang="en-IN" sz="2771" b="1" dirty="0">
              <a:solidFill>
                <a:srgbClr val="FFFFFF"/>
              </a:solidFill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9DDBBF9B-441F-B9DF-0449-3259E076BFAE}"/>
              </a:ext>
            </a:extLst>
          </p:cNvPr>
          <p:cNvSpPr/>
          <p:nvPr/>
        </p:nvSpPr>
        <p:spPr>
          <a:xfrm>
            <a:off x="2703954" y="1151221"/>
            <a:ext cx="4173736" cy="2263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 defTabSz="853168">
              <a:defRPr/>
            </a:pPr>
            <a:r>
              <a:rPr lang="en-US" sz="1471" b="1" dirty="0">
                <a:solidFill>
                  <a:srgbClr val="FFFFFF"/>
                </a:solidFill>
              </a:rPr>
              <a:t>Title</a:t>
            </a:r>
            <a:endParaRPr lang="en-IN" sz="1471" b="1" dirty="0">
              <a:solidFill>
                <a:srgbClr val="FFFFFF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21FEA9A6-5F51-132C-8ABA-9C81A114B40A}"/>
              </a:ext>
            </a:extLst>
          </p:cNvPr>
          <p:cNvSpPr/>
          <p:nvPr/>
        </p:nvSpPr>
        <p:spPr>
          <a:xfrm>
            <a:off x="7234871" y="1151221"/>
            <a:ext cx="4173736" cy="2263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 defTabSz="853168">
              <a:defRPr/>
            </a:pPr>
            <a:r>
              <a:rPr lang="en-US" sz="1471" b="1" dirty="0">
                <a:solidFill>
                  <a:srgbClr val="FFFFFF"/>
                </a:solidFill>
              </a:rPr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781014221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A52FD04-C810-7612-7070-A6BC23ACD97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48531E59-9834-B7DC-7CFD-2E6F5945BD3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531E59-9834-B7DC-7CFD-2E6F5945BD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DBE4F45-E301-4F1B-2784-BB0F3DA7A0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524F253A-DE82-C264-097F-EF8D2514750C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41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27B76BB1-7DDA-91BE-4657-CB509174E6F9}"/>
              </a:ext>
            </a:extLst>
          </p:cNvPr>
          <p:cNvGraphicFramePr>
            <a:graphicFrameLocks noGrp="1"/>
          </p:cNvGraphicFramePr>
          <p:nvPr/>
        </p:nvGraphicFramePr>
        <p:xfrm>
          <a:off x="762308" y="1062430"/>
          <a:ext cx="10667385" cy="436039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33477">
                  <a:extLst>
                    <a:ext uri="{9D8B030D-6E8A-4147-A177-3AD203B41FA5}">
                      <a16:colId xmlns:a16="http://schemas.microsoft.com/office/drawing/2014/main" val="3077138859"/>
                    </a:ext>
                  </a:extLst>
                </a:gridCol>
                <a:gridCol w="2133477">
                  <a:extLst>
                    <a:ext uri="{9D8B030D-6E8A-4147-A177-3AD203B41FA5}">
                      <a16:colId xmlns:a16="http://schemas.microsoft.com/office/drawing/2014/main" val="2990919094"/>
                    </a:ext>
                  </a:extLst>
                </a:gridCol>
                <a:gridCol w="2133477">
                  <a:extLst>
                    <a:ext uri="{9D8B030D-6E8A-4147-A177-3AD203B41FA5}">
                      <a16:colId xmlns:a16="http://schemas.microsoft.com/office/drawing/2014/main" val="1132258403"/>
                    </a:ext>
                  </a:extLst>
                </a:gridCol>
                <a:gridCol w="2133477">
                  <a:extLst>
                    <a:ext uri="{9D8B030D-6E8A-4147-A177-3AD203B41FA5}">
                      <a16:colId xmlns:a16="http://schemas.microsoft.com/office/drawing/2014/main" val="3423687948"/>
                    </a:ext>
                  </a:extLst>
                </a:gridCol>
                <a:gridCol w="2133477">
                  <a:extLst>
                    <a:ext uri="{9D8B030D-6E8A-4147-A177-3AD203B41FA5}">
                      <a16:colId xmlns:a16="http://schemas.microsoft.com/office/drawing/2014/main" val="3618411138"/>
                    </a:ext>
                  </a:extLst>
                </a:gridCol>
              </a:tblGrid>
              <a:tr h="435489"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Company Product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Target Customer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Key Benefits 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Pric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Value Proposition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4481279"/>
                  </a:ext>
                </a:extLst>
              </a:tr>
              <a:tr h="1962454"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6848440"/>
                  </a:ext>
                </a:extLst>
              </a:tr>
              <a:tr h="1962454"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3171907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35250792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45F815-408F-AB0B-F952-CBFAC9D5B6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E0418B56-CAC3-A5F4-4927-A173704974E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418B56-CAC3-A5F4-4927-A173704974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B55BC75-1747-F7D5-2EE1-FEE8F07672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920D106B-601E-8211-DD29-376518C2DB89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42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8C9AA7DF-437B-A6AE-A60C-01EFDD66DC15}"/>
              </a:ext>
            </a:extLst>
          </p:cNvPr>
          <p:cNvGraphicFramePr>
            <a:graphicFrameLocks noGrp="1"/>
          </p:cNvGraphicFramePr>
          <p:nvPr/>
        </p:nvGraphicFramePr>
        <p:xfrm>
          <a:off x="762308" y="1062429"/>
          <a:ext cx="10667385" cy="436039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33477">
                  <a:extLst>
                    <a:ext uri="{9D8B030D-6E8A-4147-A177-3AD203B41FA5}">
                      <a16:colId xmlns:a16="http://schemas.microsoft.com/office/drawing/2014/main" val="3077138859"/>
                    </a:ext>
                  </a:extLst>
                </a:gridCol>
                <a:gridCol w="2133477">
                  <a:extLst>
                    <a:ext uri="{9D8B030D-6E8A-4147-A177-3AD203B41FA5}">
                      <a16:colId xmlns:a16="http://schemas.microsoft.com/office/drawing/2014/main" val="2990919094"/>
                    </a:ext>
                  </a:extLst>
                </a:gridCol>
                <a:gridCol w="2133477">
                  <a:extLst>
                    <a:ext uri="{9D8B030D-6E8A-4147-A177-3AD203B41FA5}">
                      <a16:colId xmlns:a16="http://schemas.microsoft.com/office/drawing/2014/main" val="1132258403"/>
                    </a:ext>
                  </a:extLst>
                </a:gridCol>
                <a:gridCol w="2133477">
                  <a:extLst>
                    <a:ext uri="{9D8B030D-6E8A-4147-A177-3AD203B41FA5}">
                      <a16:colId xmlns:a16="http://schemas.microsoft.com/office/drawing/2014/main" val="3423687948"/>
                    </a:ext>
                  </a:extLst>
                </a:gridCol>
                <a:gridCol w="2133477">
                  <a:extLst>
                    <a:ext uri="{9D8B030D-6E8A-4147-A177-3AD203B41FA5}">
                      <a16:colId xmlns:a16="http://schemas.microsoft.com/office/drawing/2014/main" val="3618411138"/>
                    </a:ext>
                  </a:extLst>
                </a:gridCol>
              </a:tblGrid>
              <a:tr h="419087"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Company Product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Target Customer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Key Benefits 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Pric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Value Proposition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4481279"/>
                  </a:ext>
                </a:extLst>
              </a:tr>
              <a:tr h="985327"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6848440"/>
                  </a:ext>
                </a:extLst>
              </a:tr>
              <a:tr h="985327"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58427161"/>
                  </a:ext>
                </a:extLst>
              </a:tr>
              <a:tr h="985327"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22799504"/>
                  </a:ext>
                </a:extLst>
              </a:tr>
              <a:tr h="985327"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3171907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32266149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25BC51E-CC96-5CAE-A507-8671D07942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CFD101BB-C011-B02F-76F8-BD4B29FDD2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FD101BB-C011-B02F-76F8-BD4B29FDD2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F5394AD-3DE3-D03D-9E0C-9C1550417B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88015B0B-536F-9577-95CE-7732BD3A9D1D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43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4F619EDE-89F9-91B7-2408-6F7B15236CAD}"/>
              </a:ext>
            </a:extLst>
          </p:cNvPr>
          <p:cNvGraphicFramePr>
            <a:graphicFrameLocks noGrp="1"/>
          </p:cNvGraphicFramePr>
          <p:nvPr/>
        </p:nvGraphicFramePr>
        <p:xfrm>
          <a:off x="762308" y="1062430"/>
          <a:ext cx="10667385" cy="43604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33477">
                  <a:extLst>
                    <a:ext uri="{9D8B030D-6E8A-4147-A177-3AD203B41FA5}">
                      <a16:colId xmlns:a16="http://schemas.microsoft.com/office/drawing/2014/main" val="3077138859"/>
                    </a:ext>
                  </a:extLst>
                </a:gridCol>
                <a:gridCol w="2133477">
                  <a:extLst>
                    <a:ext uri="{9D8B030D-6E8A-4147-A177-3AD203B41FA5}">
                      <a16:colId xmlns:a16="http://schemas.microsoft.com/office/drawing/2014/main" val="2990919094"/>
                    </a:ext>
                  </a:extLst>
                </a:gridCol>
                <a:gridCol w="2133477">
                  <a:extLst>
                    <a:ext uri="{9D8B030D-6E8A-4147-A177-3AD203B41FA5}">
                      <a16:colId xmlns:a16="http://schemas.microsoft.com/office/drawing/2014/main" val="1132258403"/>
                    </a:ext>
                  </a:extLst>
                </a:gridCol>
                <a:gridCol w="2133477">
                  <a:extLst>
                    <a:ext uri="{9D8B030D-6E8A-4147-A177-3AD203B41FA5}">
                      <a16:colId xmlns:a16="http://schemas.microsoft.com/office/drawing/2014/main" val="3423687948"/>
                    </a:ext>
                  </a:extLst>
                </a:gridCol>
                <a:gridCol w="2133477">
                  <a:extLst>
                    <a:ext uri="{9D8B030D-6E8A-4147-A177-3AD203B41FA5}">
                      <a16:colId xmlns:a16="http://schemas.microsoft.com/office/drawing/2014/main" val="3618411138"/>
                    </a:ext>
                  </a:extLst>
                </a:gridCol>
              </a:tblGrid>
              <a:tr h="419086"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Company Product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Target Customer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Key Benefits 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Pric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Value Proposition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4481279"/>
                  </a:ext>
                </a:extLst>
              </a:tr>
              <a:tr h="656886"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6848440"/>
                  </a:ext>
                </a:extLst>
              </a:tr>
              <a:tr h="656886"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58427161"/>
                  </a:ext>
                </a:extLst>
              </a:tr>
              <a:tr h="656886"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6553458"/>
                  </a:ext>
                </a:extLst>
              </a:tr>
              <a:tr h="656886"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5013419"/>
                  </a:ext>
                </a:extLst>
              </a:tr>
              <a:tr h="656886"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22799504"/>
                  </a:ext>
                </a:extLst>
              </a:tr>
              <a:tr h="656886"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3171907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3363956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D1D143-DA90-4F70-3021-808DD1FA34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6439336C-0C86-6EBB-C940-8BEDCDCE58F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439336C-0C86-6EBB-C940-8BEDCDCE58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B6D86B8-A6EE-10CC-FEC9-880F658F19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DBA12672-60D2-EAA7-26CA-4BB370406148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44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5" name="Round Same Side Corner Rectangle 2">
            <a:extLst>
              <a:ext uri="{FF2B5EF4-FFF2-40B4-BE49-F238E27FC236}">
                <a16:creationId xmlns:a16="http://schemas.microsoft.com/office/drawing/2014/main" id="{1DE679E1-C39B-C627-5096-CD483FA7D1C5}"/>
              </a:ext>
            </a:extLst>
          </p:cNvPr>
          <p:cNvSpPr/>
          <p:nvPr/>
        </p:nvSpPr>
        <p:spPr>
          <a:xfrm>
            <a:off x="2258089" y="1103088"/>
            <a:ext cx="2233958" cy="1090210"/>
          </a:xfrm>
          <a:prstGeom prst="rect">
            <a:avLst/>
          </a:prstGeom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/>
                <a:cs typeface="+mn-cs"/>
              </a:rPr>
              <a:t>Text</a:t>
            </a:r>
          </a:p>
        </p:txBody>
      </p:sp>
      <p:sp>
        <p:nvSpPr>
          <p:cNvPr id="6" name="Round Same Side Corner Rectangle 23">
            <a:extLst>
              <a:ext uri="{FF2B5EF4-FFF2-40B4-BE49-F238E27FC236}">
                <a16:creationId xmlns:a16="http://schemas.microsoft.com/office/drawing/2014/main" id="{824E3991-0051-EF76-A880-5E8509B0D8DF}"/>
              </a:ext>
            </a:extLst>
          </p:cNvPr>
          <p:cNvSpPr/>
          <p:nvPr/>
        </p:nvSpPr>
        <p:spPr>
          <a:xfrm>
            <a:off x="4603050" y="1103088"/>
            <a:ext cx="2233958" cy="1090210"/>
          </a:xfrm>
          <a:prstGeom prst="rect">
            <a:avLst/>
          </a:prstGeom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/>
                <a:cs typeface="+mn-cs"/>
              </a:rPr>
              <a:t>Text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E01DFA5-93A0-6ECA-3B59-566A53A3276B}"/>
              </a:ext>
            </a:extLst>
          </p:cNvPr>
          <p:cNvSpPr/>
          <p:nvPr/>
        </p:nvSpPr>
        <p:spPr>
          <a:xfrm>
            <a:off x="2258089" y="2359142"/>
            <a:ext cx="2233958" cy="1670621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/>
                <a:cs typeface="+mn-cs"/>
              </a:rPr>
              <a:t>…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6667427-ADE7-B7C3-B486-89AF29BE917D}"/>
              </a:ext>
            </a:extLst>
          </p:cNvPr>
          <p:cNvSpPr/>
          <p:nvPr/>
        </p:nvSpPr>
        <p:spPr>
          <a:xfrm>
            <a:off x="4603050" y="2359142"/>
            <a:ext cx="2233958" cy="1670621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/>
                <a:cs typeface="+mn-cs"/>
              </a:rPr>
              <a:t>….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6F14D5C-C180-7CEF-457F-2D0441D24E69}"/>
              </a:ext>
            </a:extLst>
          </p:cNvPr>
          <p:cNvSpPr/>
          <p:nvPr/>
        </p:nvSpPr>
        <p:spPr>
          <a:xfrm>
            <a:off x="2258089" y="4195606"/>
            <a:ext cx="2233958" cy="1670621"/>
          </a:xfrm>
          <a:prstGeom prst="rect">
            <a:avLst/>
          </a:prstGeom>
          <a:noFill/>
          <a:ln w="2857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/>
                <a:cs typeface="+mn-cs"/>
              </a:rPr>
              <a:t>…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CE78A02-A08E-E0F4-B89D-CDB811D367F2}"/>
              </a:ext>
            </a:extLst>
          </p:cNvPr>
          <p:cNvSpPr/>
          <p:nvPr/>
        </p:nvSpPr>
        <p:spPr>
          <a:xfrm>
            <a:off x="4603050" y="4195606"/>
            <a:ext cx="2233958" cy="1670621"/>
          </a:xfrm>
          <a:prstGeom prst="rect">
            <a:avLst/>
          </a:prstGeom>
          <a:noFill/>
          <a:ln w="2857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/>
                <a:cs typeface="+mn-cs"/>
              </a:rPr>
              <a:t>…</a:t>
            </a:r>
          </a:p>
        </p:txBody>
      </p:sp>
      <p:sp>
        <p:nvSpPr>
          <p:cNvPr id="7" name="Round Same Side Corner Rectangle 25">
            <a:extLst>
              <a:ext uri="{FF2B5EF4-FFF2-40B4-BE49-F238E27FC236}">
                <a16:creationId xmlns:a16="http://schemas.microsoft.com/office/drawing/2014/main" id="{5CDF883E-404A-DACC-4306-045F37D2A7F2}"/>
              </a:ext>
            </a:extLst>
          </p:cNvPr>
          <p:cNvSpPr/>
          <p:nvPr/>
        </p:nvSpPr>
        <p:spPr>
          <a:xfrm>
            <a:off x="6948011" y="1103088"/>
            <a:ext cx="2233958" cy="1090210"/>
          </a:xfrm>
          <a:prstGeom prst="rect">
            <a:avLst/>
          </a:prstGeom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/>
                <a:cs typeface="+mn-cs"/>
              </a:rPr>
              <a:t>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449B707-DA1C-F086-CCBF-4C3FAB6055C4}"/>
              </a:ext>
            </a:extLst>
          </p:cNvPr>
          <p:cNvSpPr/>
          <p:nvPr/>
        </p:nvSpPr>
        <p:spPr>
          <a:xfrm>
            <a:off x="6948011" y="2359142"/>
            <a:ext cx="2233958" cy="1670621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/>
                <a:cs typeface="+mn-cs"/>
              </a:rPr>
              <a:t>…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0AC4D94-78D5-6399-7C58-B938547C274E}"/>
              </a:ext>
            </a:extLst>
          </p:cNvPr>
          <p:cNvSpPr/>
          <p:nvPr/>
        </p:nvSpPr>
        <p:spPr>
          <a:xfrm>
            <a:off x="6948011" y="4195606"/>
            <a:ext cx="2233958" cy="1670621"/>
          </a:xfrm>
          <a:prstGeom prst="rect">
            <a:avLst/>
          </a:prstGeom>
          <a:noFill/>
          <a:ln w="2857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/>
                <a:cs typeface="+mn-cs"/>
              </a:rPr>
              <a:t>…</a:t>
            </a:r>
          </a:p>
        </p:txBody>
      </p:sp>
      <p:sp>
        <p:nvSpPr>
          <p:cNvPr id="14" name="Round Same Side Corner Rectangle 45">
            <a:extLst>
              <a:ext uri="{FF2B5EF4-FFF2-40B4-BE49-F238E27FC236}">
                <a16:creationId xmlns:a16="http://schemas.microsoft.com/office/drawing/2014/main" id="{E4992599-BFAB-8FF7-A7C7-1703FD87F21D}"/>
              </a:ext>
            </a:extLst>
          </p:cNvPr>
          <p:cNvSpPr/>
          <p:nvPr/>
        </p:nvSpPr>
        <p:spPr>
          <a:xfrm rot="16200000">
            <a:off x="559295" y="2483366"/>
            <a:ext cx="1670621" cy="1422169"/>
          </a:xfrm>
          <a:prstGeom prst="rect">
            <a:avLst/>
          </a:prstGeom>
          <a:solidFill>
            <a:schemeClr val="accent2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/>
                <a:cs typeface="+mn-cs"/>
              </a:rPr>
              <a:t>Insert heading</a:t>
            </a:r>
          </a:p>
        </p:txBody>
      </p:sp>
      <p:sp>
        <p:nvSpPr>
          <p:cNvPr id="15" name="Round Same Side Corner Rectangle 46">
            <a:extLst>
              <a:ext uri="{FF2B5EF4-FFF2-40B4-BE49-F238E27FC236}">
                <a16:creationId xmlns:a16="http://schemas.microsoft.com/office/drawing/2014/main" id="{6D2411B9-1B7E-5443-DE47-108EF78CF0B7}"/>
              </a:ext>
            </a:extLst>
          </p:cNvPr>
          <p:cNvSpPr/>
          <p:nvPr/>
        </p:nvSpPr>
        <p:spPr>
          <a:xfrm rot="16200000">
            <a:off x="559295" y="4319832"/>
            <a:ext cx="1670621" cy="1422169"/>
          </a:xfrm>
          <a:prstGeom prst="rect">
            <a:avLst/>
          </a:prstGeom>
          <a:solidFill>
            <a:schemeClr val="accent4"/>
          </a:solidFill>
          <a:ln w="2857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/>
                <a:cs typeface="+mn-cs"/>
              </a:rPr>
              <a:t>Insert heading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BB66208-3440-484B-FF2E-99BAB0B4A2D2}"/>
              </a:ext>
            </a:extLst>
          </p:cNvPr>
          <p:cNvSpPr/>
          <p:nvPr/>
        </p:nvSpPr>
        <p:spPr>
          <a:xfrm>
            <a:off x="925469" y="1537554"/>
            <a:ext cx="938272" cy="492443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2960"/>
                </a:solidFill>
                <a:effectLst/>
                <a:uLnTx/>
                <a:uFillTx/>
                <a:ea typeface="ＭＳ Ｐゴシック"/>
                <a:cs typeface="+mn-cs"/>
              </a:rPr>
              <a:t>Insert heading</a:t>
            </a:r>
          </a:p>
        </p:txBody>
      </p:sp>
      <p:sp>
        <p:nvSpPr>
          <p:cNvPr id="19" name="Round Same Side Corner Rectangle 25">
            <a:extLst>
              <a:ext uri="{FF2B5EF4-FFF2-40B4-BE49-F238E27FC236}">
                <a16:creationId xmlns:a16="http://schemas.microsoft.com/office/drawing/2014/main" id="{3C8C6EAF-9FE1-BABF-49EE-24614BC3FCC2}"/>
              </a:ext>
            </a:extLst>
          </p:cNvPr>
          <p:cNvSpPr/>
          <p:nvPr/>
        </p:nvSpPr>
        <p:spPr>
          <a:xfrm>
            <a:off x="9274522" y="1103088"/>
            <a:ext cx="2233958" cy="1090210"/>
          </a:xfrm>
          <a:prstGeom prst="rect">
            <a:avLst/>
          </a:prstGeom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/>
                <a:cs typeface="+mn-cs"/>
              </a:rPr>
              <a:t>Text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CF8FCFA-6C06-5B08-391D-DF3AE4BDC337}"/>
              </a:ext>
            </a:extLst>
          </p:cNvPr>
          <p:cNvSpPr/>
          <p:nvPr/>
        </p:nvSpPr>
        <p:spPr>
          <a:xfrm>
            <a:off x="9274522" y="2359142"/>
            <a:ext cx="2233958" cy="1670621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/>
                <a:cs typeface="+mn-cs"/>
              </a:rPr>
              <a:t>…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34DF45B6-FE4E-8A38-921A-D2EEBCFC5E06}"/>
              </a:ext>
            </a:extLst>
          </p:cNvPr>
          <p:cNvSpPr/>
          <p:nvPr/>
        </p:nvSpPr>
        <p:spPr>
          <a:xfrm>
            <a:off x="9274522" y="4195606"/>
            <a:ext cx="2233958" cy="1670621"/>
          </a:xfrm>
          <a:prstGeom prst="rect">
            <a:avLst/>
          </a:prstGeom>
          <a:noFill/>
          <a:ln w="2857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/>
                <a:cs typeface="+mn-cs"/>
              </a:rPr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4082607438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29731E-08F2-50CF-9DD0-5405067CF8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62E16609-C5A1-833A-E846-82DC9F17158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2E16609-C5A1-833A-E846-82DC9F1715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525619C-1C80-9C60-392F-1848906B8D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AF782289-86AC-7D82-444B-DDC43B2BB51A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45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BD98E0B-965A-F068-B1E6-6F60DC1B2AAA}"/>
              </a:ext>
            </a:extLst>
          </p:cNvPr>
          <p:cNvSpPr/>
          <p:nvPr/>
        </p:nvSpPr>
        <p:spPr>
          <a:xfrm>
            <a:off x="1974872" y="1666562"/>
            <a:ext cx="2334236" cy="4532958"/>
          </a:xfrm>
          <a:prstGeom prst="rect">
            <a:avLst/>
          </a:prstGeom>
          <a:noFill/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7211" tIns="33605" rIns="67211" bIns="3360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7261FCF-E8A9-DAD6-F07A-53EBC9F594F9}"/>
              </a:ext>
            </a:extLst>
          </p:cNvPr>
          <p:cNvSpPr/>
          <p:nvPr/>
        </p:nvSpPr>
        <p:spPr>
          <a:xfrm>
            <a:off x="4357932" y="1666562"/>
            <a:ext cx="2334236" cy="4532958"/>
          </a:xfrm>
          <a:prstGeom prst="rect">
            <a:avLst/>
          </a:prstGeom>
          <a:noFill/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7211" tIns="33605" rIns="67211" bIns="3360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3E97877-3BB0-9DCC-C754-713731B653B0}"/>
              </a:ext>
            </a:extLst>
          </p:cNvPr>
          <p:cNvSpPr/>
          <p:nvPr/>
        </p:nvSpPr>
        <p:spPr>
          <a:xfrm>
            <a:off x="6740993" y="1666562"/>
            <a:ext cx="2334236" cy="4532958"/>
          </a:xfrm>
          <a:prstGeom prst="rect">
            <a:avLst/>
          </a:prstGeom>
          <a:noFill/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7211" tIns="33605" rIns="67211" bIns="3360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969D86B-FA31-B1A6-81D8-6F0E42F9A040}"/>
              </a:ext>
            </a:extLst>
          </p:cNvPr>
          <p:cNvSpPr/>
          <p:nvPr/>
        </p:nvSpPr>
        <p:spPr>
          <a:xfrm>
            <a:off x="9124055" y="1666562"/>
            <a:ext cx="2334236" cy="4532958"/>
          </a:xfrm>
          <a:prstGeom prst="rect">
            <a:avLst/>
          </a:prstGeom>
          <a:noFill/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7211" tIns="33605" rIns="67211" bIns="3360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</a:endParaRP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AFABEDFB-FAE7-3B03-20CA-0286B46B118D}"/>
              </a:ext>
            </a:extLst>
          </p:cNvPr>
          <p:cNvGrpSpPr/>
          <p:nvPr/>
        </p:nvGrpSpPr>
        <p:grpSpPr>
          <a:xfrm>
            <a:off x="733710" y="1067888"/>
            <a:ext cx="10724581" cy="5103661"/>
            <a:chOff x="942945" y="1108623"/>
            <a:chExt cx="10306111" cy="4953564"/>
          </a:xfrm>
        </p:grpSpPr>
        <p:sp>
          <p:nvSpPr>
            <p:cNvPr id="6" name="Round Same Side Corner Rectangle 19">
              <a:extLst>
                <a:ext uri="{FF2B5EF4-FFF2-40B4-BE49-F238E27FC236}">
                  <a16:creationId xmlns:a16="http://schemas.microsoft.com/office/drawing/2014/main" id="{08960295-1177-4BD5-C7BF-5FAF4AD9B8AC}"/>
                </a:ext>
              </a:extLst>
            </p:cNvPr>
            <p:cNvSpPr/>
            <p:nvPr/>
          </p:nvSpPr>
          <p:spPr>
            <a:xfrm>
              <a:off x="2135677" y="1108623"/>
              <a:ext cx="2243155" cy="581068"/>
            </a:xfrm>
            <a:prstGeom prst="rect">
              <a:avLst/>
            </a:prstGeom>
            <a:solidFill>
              <a:schemeClr val="accent1"/>
            </a:solidFill>
            <a:ln w="190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7211" tIns="33605" rIns="67211" bIns="3360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eaLnBrk="0" hangingPunct="0"/>
              <a:r>
                <a:rPr lang="en-US" sz="1200" b="1" dirty="0">
                  <a:solidFill>
                    <a:schemeClr val="bg1"/>
                  </a:solidFill>
                  <a:latin typeface="+mn-lt"/>
                </a:rPr>
                <a:t>Insert heading</a:t>
              </a:r>
            </a:p>
          </p:txBody>
        </p:sp>
        <p:sp>
          <p:nvSpPr>
            <p:cNvPr id="8" name="Round Same Side Corner Rectangle 19">
              <a:extLst>
                <a:ext uri="{FF2B5EF4-FFF2-40B4-BE49-F238E27FC236}">
                  <a16:creationId xmlns:a16="http://schemas.microsoft.com/office/drawing/2014/main" id="{43A55037-C6A7-B219-EDF8-6208CF75092F}"/>
                </a:ext>
              </a:extLst>
            </p:cNvPr>
            <p:cNvSpPr/>
            <p:nvPr/>
          </p:nvSpPr>
          <p:spPr>
            <a:xfrm>
              <a:off x="4425751" y="1108623"/>
              <a:ext cx="2243155" cy="581068"/>
            </a:xfrm>
            <a:prstGeom prst="rect">
              <a:avLst/>
            </a:prstGeom>
            <a:solidFill>
              <a:schemeClr val="accent1"/>
            </a:solidFill>
            <a:ln w="190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7211" tIns="33605" rIns="67211" bIns="3360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eaLnBrk="0" hangingPunct="0"/>
              <a:r>
                <a:rPr lang="en-US" sz="1200" b="1" dirty="0">
                  <a:solidFill>
                    <a:schemeClr val="bg1"/>
                  </a:solidFill>
                  <a:latin typeface="+mn-lt"/>
                </a:rPr>
                <a:t>Insert heading</a:t>
              </a:r>
            </a:p>
          </p:txBody>
        </p:sp>
        <p:sp>
          <p:nvSpPr>
            <p:cNvPr id="10" name="Round Same Side Corner Rectangle 19">
              <a:extLst>
                <a:ext uri="{FF2B5EF4-FFF2-40B4-BE49-F238E27FC236}">
                  <a16:creationId xmlns:a16="http://schemas.microsoft.com/office/drawing/2014/main" id="{3099815E-85C9-6DC3-82E8-39E1690E253D}"/>
                </a:ext>
              </a:extLst>
            </p:cNvPr>
            <p:cNvSpPr/>
            <p:nvPr/>
          </p:nvSpPr>
          <p:spPr>
            <a:xfrm>
              <a:off x="6715826" y="1108623"/>
              <a:ext cx="2243155" cy="581068"/>
            </a:xfrm>
            <a:prstGeom prst="rect">
              <a:avLst/>
            </a:prstGeom>
            <a:solidFill>
              <a:schemeClr val="accent1"/>
            </a:solidFill>
            <a:ln w="190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7211" tIns="33605" rIns="67211" bIns="3360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eaLnBrk="0" hangingPunct="0"/>
              <a:r>
                <a:rPr lang="en-US" sz="1200" b="1" dirty="0">
                  <a:solidFill>
                    <a:schemeClr val="bg1"/>
                  </a:solidFill>
                  <a:latin typeface="+mn-lt"/>
                </a:rPr>
                <a:t>Insert heading</a:t>
              </a:r>
            </a:p>
          </p:txBody>
        </p:sp>
        <p:sp>
          <p:nvSpPr>
            <p:cNvPr id="12" name="Round Same Side Corner Rectangle 19">
              <a:extLst>
                <a:ext uri="{FF2B5EF4-FFF2-40B4-BE49-F238E27FC236}">
                  <a16:creationId xmlns:a16="http://schemas.microsoft.com/office/drawing/2014/main" id="{B4FDF370-8B48-E671-003E-9E5A11E7DC83}"/>
                </a:ext>
              </a:extLst>
            </p:cNvPr>
            <p:cNvSpPr/>
            <p:nvPr/>
          </p:nvSpPr>
          <p:spPr>
            <a:xfrm>
              <a:off x="9005901" y="1108623"/>
              <a:ext cx="2243155" cy="581068"/>
            </a:xfrm>
            <a:prstGeom prst="rect">
              <a:avLst/>
            </a:prstGeom>
            <a:solidFill>
              <a:schemeClr val="accent1"/>
            </a:solidFill>
            <a:ln w="190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7211" tIns="33605" rIns="67211" bIns="3360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eaLnBrk="0" hangingPunct="0"/>
              <a:r>
                <a:rPr lang="en-US" sz="1200" b="1" dirty="0">
                  <a:solidFill>
                    <a:schemeClr val="bg1"/>
                  </a:solidFill>
                  <a:latin typeface="+mn-lt"/>
                </a:rPr>
                <a:t>Insert heading</a:t>
              </a:r>
            </a:p>
          </p:txBody>
        </p: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77DA5B10-0371-F93A-BAA3-24EDE2CDA259}"/>
                </a:ext>
              </a:extLst>
            </p:cNvPr>
            <p:cNvCxnSpPr/>
            <p:nvPr/>
          </p:nvCxnSpPr>
          <p:spPr>
            <a:xfrm flipV="1">
              <a:off x="2216076" y="2560755"/>
              <a:ext cx="2082358" cy="0"/>
            </a:xfrm>
            <a:prstGeom prst="line">
              <a:avLst/>
            </a:prstGeom>
            <a:ln w="12700">
              <a:gradFill flip="none" rotWithShape="1">
                <a:gsLst>
                  <a:gs pos="0">
                    <a:schemeClr val="bg1"/>
                  </a:gs>
                  <a:gs pos="64000">
                    <a:schemeClr val="bg1">
                      <a:lumMod val="75000"/>
                    </a:schemeClr>
                  </a:gs>
                  <a:gs pos="30000">
                    <a:schemeClr val="bg1">
                      <a:lumMod val="75000"/>
                    </a:schemeClr>
                  </a:gs>
                  <a:gs pos="100000">
                    <a:schemeClr val="bg1"/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B763F5E4-F98F-A641-31F5-50312489A854}"/>
                </a:ext>
              </a:extLst>
            </p:cNvPr>
            <p:cNvCxnSpPr/>
            <p:nvPr/>
          </p:nvCxnSpPr>
          <p:spPr>
            <a:xfrm flipV="1">
              <a:off x="4506150" y="2560755"/>
              <a:ext cx="2082358" cy="0"/>
            </a:xfrm>
            <a:prstGeom prst="line">
              <a:avLst/>
            </a:prstGeom>
            <a:ln w="12700">
              <a:gradFill flip="none" rotWithShape="1">
                <a:gsLst>
                  <a:gs pos="0">
                    <a:schemeClr val="bg1"/>
                  </a:gs>
                  <a:gs pos="64000">
                    <a:schemeClr val="bg1">
                      <a:lumMod val="75000"/>
                    </a:schemeClr>
                  </a:gs>
                  <a:gs pos="30000">
                    <a:schemeClr val="bg1">
                      <a:lumMod val="75000"/>
                    </a:schemeClr>
                  </a:gs>
                  <a:gs pos="100000">
                    <a:schemeClr val="bg1"/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11FAC453-F113-142D-9241-5EA7D337B794}"/>
                </a:ext>
              </a:extLst>
            </p:cNvPr>
            <p:cNvCxnSpPr/>
            <p:nvPr/>
          </p:nvCxnSpPr>
          <p:spPr>
            <a:xfrm flipV="1">
              <a:off x="6796225" y="2560755"/>
              <a:ext cx="2082358" cy="0"/>
            </a:xfrm>
            <a:prstGeom prst="line">
              <a:avLst/>
            </a:prstGeom>
            <a:ln w="12700">
              <a:gradFill flip="none" rotWithShape="1">
                <a:gsLst>
                  <a:gs pos="0">
                    <a:schemeClr val="bg1"/>
                  </a:gs>
                  <a:gs pos="64000">
                    <a:schemeClr val="bg1">
                      <a:lumMod val="75000"/>
                    </a:schemeClr>
                  </a:gs>
                  <a:gs pos="30000">
                    <a:schemeClr val="bg1">
                      <a:lumMod val="75000"/>
                    </a:schemeClr>
                  </a:gs>
                  <a:gs pos="100000">
                    <a:schemeClr val="bg1"/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574AF9C0-AF96-FBE3-A59C-6FCD3DA2828D}"/>
                </a:ext>
              </a:extLst>
            </p:cNvPr>
            <p:cNvCxnSpPr/>
            <p:nvPr/>
          </p:nvCxnSpPr>
          <p:spPr>
            <a:xfrm flipV="1">
              <a:off x="9086299" y="2560755"/>
              <a:ext cx="2082358" cy="0"/>
            </a:xfrm>
            <a:prstGeom prst="line">
              <a:avLst/>
            </a:prstGeom>
            <a:ln w="12700">
              <a:gradFill flip="none" rotWithShape="1">
                <a:gsLst>
                  <a:gs pos="0">
                    <a:schemeClr val="bg1"/>
                  </a:gs>
                  <a:gs pos="64000">
                    <a:schemeClr val="bg1">
                      <a:lumMod val="75000"/>
                    </a:schemeClr>
                  </a:gs>
                  <a:gs pos="30000">
                    <a:schemeClr val="bg1">
                      <a:lumMod val="75000"/>
                    </a:schemeClr>
                  </a:gs>
                  <a:gs pos="100000">
                    <a:schemeClr val="bg1"/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Round Same Side Corner Rectangle 19">
              <a:extLst>
                <a:ext uri="{FF2B5EF4-FFF2-40B4-BE49-F238E27FC236}">
                  <a16:creationId xmlns:a16="http://schemas.microsoft.com/office/drawing/2014/main" id="{D27FE75B-8297-5A60-2795-5BA1BC3D3844}"/>
                </a:ext>
              </a:extLst>
            </p:cNvPr>
            <p:cNvSpPr/>
            <p:nvPr/>
          </p:nvSpPr>
          <p:spPr>
            <a:xfrm rot="16200000">
              <a:off x="1125158" y="1561744"/>
              <a:ext cx="781390" cy="1145815"/>
            </a:xfrm>
            <a:prstGeom prst="rect">
              <a:avLst/>
            </a:prstGeom>
            <a:solidFill>
              <a:schemeClr val="accent2"/>
            </a:solidFill>
            <a:ln w="1905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vert" wrap="square" lIns="67211" tIns="33605" rIns="0" bIns="3360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1200" dirty="0">
                  <a:solidFill>
                    <a:schemeClr val="bg1"/>
                  </a:solidFill>
                  <a:latin typeface="+mn-lt"/>
                </a:rPr>
                <a:t>Insert heading</a:t>
              </a:r>
            </a:p>
          </p:txBody>
        </p:sp>
        <p:sp>
          <p:nvSpPr>
            <p:cNvPr id="18" name="Content Placeholder 1">
              <a:extLst>
                <a:ext uri="{FF2B5EF4-FFF2-40B4-BE49-F238E27FC236}">
                  <a16:creationId xmlns:a16="http://schemas.microsoft.com/office/drawing/2014/main" id="{BFDA4768-45E7-2A9E-5391-74078D197528}"/>
                </a:ext>
              </a:extLst>
            </p:cNvPr>
            <p:cNvSpPr txBox="1">
              <a:spLocks/>
            </p:cNvSpPr>
            <p:nvPr/>
          </p:nvSpPr>
          <p:spPr>
            <a:xfrm>
              <a:off x="2216076" y="1743956"/>
              <a:ext cx="2082358" cy="184666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>
              <a:defPPr>
                <a:defRPr lang="en-US"/>
              </a:defPPr>
              <a:lvl1pPr marL="228600" indent="-228600">
                <a:lnSpc>
                  <a:spcPct val="10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80000"/>
                <a:buFont typeface="Arial" panose="020B0604020202020204" pitchFamily="34" charset="0"/>
                <a:buChar char="►"/>
                <a:defRPr b="1">
                  <a:solidFill>
                    <a:schemeClr val="tx2"/>
                  </a:solidFill>
                  <a:latin typeface="Trebuchet MS" panose="020B0603020202020204" pitchFamily="34" charset="0"/>
                </a:defRPr>
              </a:lvl1pPr>
              <a:lvl2pPr marL="269875" lvl="1" indent="-265113" eaLnBrk="0" hangingPunct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 sz="1200" b="0" kern="0">
                  <a:latin typeface="+mn-lt"/>
                </a:defRPr>
              </a:lvl2pPr>
              <a:lvl3pPr marL="801688" indent="-173038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6">
                    <a:lumMod val="75000"/>
                  </a:schemeClr>
                </a:buClr>
                <a:buFont typeface="Trebuchet MS" panose="020B0603020202020204" pitchFamily="34" charset="0"/>
                <a:buChar char="—"/>
                <a:defRPr sz="1400">
                  <a:latin typeface="Trebuchet MS" panose="020B0603020202020204" pitchFamily="34" charset="0"/>
                </a:defRPr>
              </a:lvl3pPr>
              <a:lvl4pPr marL="1143000" indent="-168275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3"/>
                </a:buClr>
                <a:buFont typeface="Wingdings" pitchFamily="2" charset="2"/>
                <a:buChar char="§"/>
                <a:defRPr sz="1400">
                  <a:latin typeface="Trebuchet MS" panose="020B0603020202020204" pitchFamily="34" charset="0"/>
                </a:defRPr>
              </a:lvl4pPr>
              <a:lvl5pPr marL="1484313" indent="-171450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Trebuchet MS" pitchFamily="34" charset="0"/>
                <a:buChar char="—"/>
                <a:tabLst/>
                <a:defRPr sz="1200">
                  <a:latin typeface="Trebuchet MS" panose="020B0603020202020204" pitchFamily="34" charset="0"/>
                </a:defRPr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lvl="1"/>
              <a:r>
                <a:rPr lang="en-US" dirty="0"/>
                <a:t>Insert your text here</a:t>
              </a:r>
            </a:p>
          </p:txBody>
        </p:sp>
        <p:sp>
          <p:nvSpPr>
            <p:cNvPr id="19" name="Content Placeholder 1">
              <a:extLst>
                <a:ext uri="{FF2B5EF4-FFF2-40B4-BE49-F238E27FC236}">
                  <a16:creationId xmlns:a16="http://schemas.microsoft.com/office/drawing/2014/main" id="{31B723CE-FC79-908D-9C58-AA3F3C96C522}"/>
                </a:ext>
              </a:extLst>
            </p:cNvPr>
            <p:cNvSpPr txBox="1">
              <a:spLocks/>
            </p:cNvSpPr>
            <p:nvPr/>
          </p:nvSpPr>
          <p:spPr>
            <a:xfrm>
              <a:off x="4506150" y="1743956"/>
              <a:ext cx="2082358" cy="184666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>
              <a:defPPr>
                <a:defRPr lang="en-US"/>
              </a:defPPr>
              <a:lvl1pPr marL="228600" indent="-228600">
                <a:lnSpc>
                  <a:spcPct val="10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80000"/>
                <a:buFont typeface="Arial" panose="020B0604020202020204" pitchFamily="34" charset="0"/>
                <a:buChar char="►"/>
                <a:defRPr b="1">
                  <a:solidFill>
                    <a:schemeClr val="tx2"/>
                  </a:solidFill>
                  <a:latin typeface="Trebuchet MS" panose="020B0603020202020204" pitchFamily="34" charset="0"/>
                </a:defRPr>
              </a:lvl1pPr>
              <a:lvl2pPr marL="269875" lvl="1" indent="-265113" eaLnBrk="0" hangingPunct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 sz="1200" b="0" kern="0">
                  <a:latin typeface="+mn-lt"/>
                </a:defRPr>
              </a:lvl2pPr>
              <a:lvl3pPr marL="801688" indent="-173038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6">
                    <a:lumMod val="75000"/>
                  </a:schemeClr>
                </a:buClr>
                <a:buFont typeface="Trebuchet MS" panose="020B0603020202020204" pitchFamily="34" charset="0"/>
                <a:buChar char="—"/>
                <a:defRPr sz="1400">
                  <a:latin typeface="Trebuchet MS" panose="020B0603020202020204" pitchFamily="34" charset="0"/>
                </a:defRPr>
              </a:lvl3pPr>
              <a:lvl4pPr marL="1143000" indent="-168275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3"/>
                </a:buClr>
                <a:buFont typeface="Wingdings" pitchFamily="2" charset="2"/>
                <a:buChar char="§"/>
                <a:defRPr sz="1400">
                  <a:latin typeface="Trebuchet MS" panose="020B0603020202020204" pitchFamily="34" charset="0"/>
                </a:defRPr>
              </a:lvl4pPr>
              <a:lvl5pPr marL="1484313" indent="-171450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Trebuchet MS" pitchFamily="34" charset="0"/>
                <a:buChar char="—"/>
                <a:tabLst/>
                <a:defRPr sz="1200">
                  <a:latin typeface="Trebuchet MS" panose="020B0603020202020204" pitchFamily="34" charset="0"/>
                </a:defRPr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lvl="1"/>
              <a:r>
                <a:rPr lang="en-US" dirty="0"/>
                <a:t>Insert your text here</a:t>
              </a:r>
            </a:p>
          </p:txBody>
        </p:sp>
        <p:sp>
          <p:nvSpPr>
            <p:cNvPr id="20" name="Content Placeholder 1">
              <a:extLst>
                <a:ext uri="{FF2B5EF4-FFF2-40B4-BE49-F238E27FC236}">
                  <a16:creationId xmlns:a16="http://schemas.microsoft.com/office/drawing/2014/main" id="{817E2707-446B-5C7B-A831-98B8842A51D2}"/>
                </a:ext>
              </a:extLst>
            </p:cNvPr>
            <p:cNvSpPr txBox="1">
              <a:spLocks/>
            </p:cNvSpPr>
            <p:nvPr/>
          </p:nvSpPr>
          <p:spPr>
            <a:xfrm>
              <a:off x="6796225" y="1743956"/>
              <a:ext cx="2082358" cy="184666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>
              <a:defPPr>
                <a:defRPr lang="en-US"/>
              </a:defPPr>
              <a:lvl1pPr marL="228600" indent="-228600">
                <a:lnSpc>
                  <a:spcPct val="10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80000"/>
                <a:buFont typeface="Arial" panose="020B0604020202020204" pitchFamily="34" charset="0"/>
                <a:buChar char="►"/>
                <a:defRPr b="1">
                  <a:solidFill>
                    <a:schemeClr val="tx2"/>
                  </a:solidFill>
                  <a:latin typeface="Trebuchet MS" panose="020B0603020202020204" pitchFamily="34" charset="0"/>
                </a:defRPr>
              </a:lvl1pPr>
              <a:lvl2pPr marL="269875" lvl="1" indent="-265113" eaLnBrk="0" hangingPunct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 sz="1200" b="0" kern="0">
                  <a:latin typeface="+mn-lt"/>
                </a:defRPr>
              </a:lvl2pPr>
              <a:lvl3pPr marL="801688" indent="-173038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6">
                    <a:lumMod val="75000"/>
                  </a:schemeClr>
                </a:buClr>
                <a:buFont typeface="Trebuchet MS" panose="020B0603020202020204" pitchFamily="34" charset="0"/>
                <a:buChar char="—"/>
                <a:defRPr sz="1400">
                  <a:latin typeface="Trebuchet MS" panose="020B0603020202020204" pitchFamily="34" charset="0"/>
                </a:defRPr>
              </a:lvl3pPr>
              <a:lvl4pPr marL="1143000" indent="-168275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3"/>
                </a:buClr>
                <a:buFont typeface="Wingdings" pitchFamily="2" charset="2"/>
                <a:buChar char="§"/>
                <a:defRPr sz="1400">
                  <a:latin typeface="Trebuchet MS" panose="020B0603020202020204" pitchFamily="34" charset="0"/>
                </a:defRPr>
              </a:lvl4pPr>
              <a:lvl5pPr marL="1484313" indent="-171450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Trebuchet MS" pitchFamily="34" charset="0"/>
                <a:buChar char="—"/>
                <a:tabLst/>
                <a:defRPr sz="1200">
                  <a:latin typeface="Trebuchet MS" panose="020B0603020202020204" pitchFamily="34" charset="0"/>
                </a:defRPr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lvl="1"/>
              <a:r>
                <a:rPr lang="en-US" dirty="0"/>
                <a:t>Insert your text here</a:t>
              </a:r>
            </a:p>
          </p:txBody>
        </p:sp>
        <p:sp>
          <p:nvSpPr>
            <p:cNvPr id="21" name="Content Placeholder 1">
              <a:extLst>
                <a:ext uri="{FF2B5EF4-FFF2-40B4-BE49-F238E27FC236}">
                  <a16:creationId xmlns:a16="http://schemas.microsoft.com/office/drawing/2014/main" id="{05A289CA-8B87-DB30-9C13-EAE7E34E3F4E}"/>
                </a:ext>
              </a:extLst>
            </p:cNvPr>
            <p:cNvSpPr txBox="1">
              <a:spLocks/>
            </p:cNvSpPr>
            <p:nvPr/>
          </p:nvSpPr>
          <p:spPr>
            <a:xfrm>
              <a:off x="9086299" y="1743957"/>
              <a:ext cx="2082358" cy="184666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>
              <a:defPPr>
                <a:defRPr lang="en-US"/>
              </a:defPPr>
              <a:lvl1pPr marL="228600" indent="-228600">
                <a:lnSpc>
                  <a:spcPct val="10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80000"/>
                <a:buFont typeface="Arial" panose="020B0604020202020204" pitchFamily="34" charset="0"/>
                <a:buChar char="►"/>
                <a:defRPr b="1">
                  <a:solidFill>
                    <a:schemeClr val="tx2"/>
                  </a:solidFill>
                  <a:latin typeface="Trebuchet MS" panose="020B0603020202020204" pitchFamily="34" charset="0"/>
                </a:defRPr>
              </a:lvl1pPr>
              <a:lvl2pPr marL="269875" lvl="1" indent="-265113" eaLnBrk="0" hangingPunct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 sz="1200" b="0" kern="0">
                  <a:latin typeface="+mn-lt"/>
                </a:defRPr>
              </a:lvl2pPr>
              <a:lvl3pPr marL="801688" indent="-173038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6">
                    <a:lumMod val="75000"/>
                  </a:schemeClr>
                </a:buClr>
                <a:buFont typeface="Trebuchet MS" panose="020B0603020202020204" pitchFamily="34" charset="0"/>
                <a:buChar char="—"/>
                <a:defRPr sz="1400">
                  <a:latin typeface="Trebuchet MS" panose="020B0603020202020204" pitchFamily="34" charset="0"/>
                </a:defRPr>
              </a:lvl3pPr>
              <a:lvl4pPr marL="1143000" indent="-168275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3"/>
                </a:buClr>
                <a:buFont typeface="Wingdings" pitchFamily="2" charset="2"/>
                <a:buChar char="§"/>
                <a:defRPr sz="1400">
                  <a:latin typeface="Trebuchet MS" panose="020B0603020202020204" pitchFamily="34" charset="0"/>
                </a:defRPr>
              </a:lvl4pPr>
              <a:lvl5pPr marL="1484313" indent="-171450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Trebuchet MS" pitchFamily="34" charset="0"/>
                <a:buChar char="—"/>
                <a:tabLst/>
                <a:defRPr sz="1200">
                  <a:latin typeface="Trebuchet MS" panose="020B0603020202020204" pitchFamily="34" charset="0"/>
                </a:defRPr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lvl="1"/>
              <a:r>
                <a:rPr lang="en-US" dirty="0"/>
                <a:t>Insert your text here</a:t>
              </a:r>
            </a:p>
          </p:txBody>
        </p:sp>
        <p:sp>
          <p:nvSpPr>
            <p:cNvPr id="22" name="Round Same Side Corner Rectangle 19">
              <a:extLst>
                <a:ext uri="{FF2B5EF4-FFF2-40B4-BE49-F238E27FC236}">
                  <a16:creationId xmlns:a16="http://schemas.microsoft.com/office/drawing/2014/main" id="{09697870-E845-A6E6-4BBB-B8C807A82644}"/>
                </a:ext>
              </a:extLst>
            </p:cNvPr>
            <p:cNvSpPr/>
            <p:nvPr/>
          </p:nvSpPr>
          <p:spPr>
            <a:xfrm rot="16200000">
              <a:off x="1125159" y="2413951"/>
              <a:ext cx="781390" cy="1145815"/>
            </a:xfrm>
            <a:prstGeom prst="rect">
              <a:avLst/>
            </a:prstGeom>
            <a:solidFill>
              <a:schemeClr val="accent2"/>
            </a:solidFill>
            <a:ln w="1905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vert" wrap="square" lIns="67211" tIns="33605" rIns="0" bIns="3360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1200" dirty="0">
                  <a:solidFill>
                    <a:schemeClr val="bg1"/>
                  </a:solidFill>
                  <a:latin typeface="+mn-lt"/>
                </a:rPr>
                <a:t>Insert heading</a:t>
              </a:r>
            </a:p>
          </p:txBody>
        </p:sp>
        <p:sp>
          <p:nvSpPr>
            <p:cNvPr id="23" name="Content Placeholder 1">
              <a:extLst>
                <a:ext uri="{FF2B5EF4-FFF2-40B4-BE49-F238E27FC236}">
                  <a16:creationId xmlns:a16="http://schemas.microsoft.com/office/drawing/2014/main" id="{6FB39435-7771-47BB-B1B8-204F293F025B}"/>
                </a:ext>
              </a:extLst>
            </p:cNvPr>
            <p:cNvSpPr txBox="1">
              <a:spLocks/>
            </p:cNvSpPr>
            <p:nvPr/>
          </p:nvSpPr>
          <p:spPr>
            <a:xfrm>
              <a:off x="2216074" y="2596166"/>
              <a:ext cx="2082358" cy="605294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>
              <a:defPPr>
                <a:defRPr lang="en-US"/>
              </a:defPPr>
              <a:lvl1pPr marL="228600" indent="-228600">
                <a:lnSpc>
                  <a:spcPct val="10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80000"/>
                <a:buFont typeface="Arial" panose="020B0604020202020204" pitchFamily="34" charset="0"/>
                <a:buChar char="►"/>
                <a:defRPr b="1">
                  <a:solidFill>
                    <a:schemeClr val="tx2"/>
                  </a:solidFill>
                  <a:latin typeface="Trebuchet MS" panose="020B0603020202020204" pitchFamily="34" charset="0"/>
                </a:defRPr>
              </a:lvl1pPr>
              <a:lvl2pPr marL="269875" lvl="1" indent="-265113" eaLnBrk="0" hangingPunct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tx2"/>
                </a:buClr>
                <a:buSzPct val="80000"/>
                <a:buFont typeface="Arial" panose="020B0604020202020204" pitchFamily="34" charset="0"/>
                <a:buChar char="►"/>
                <a:defRPr sz="1150" b="0" kern="0">
                  <a:latin typeface="Trebuchet MS" panose="020B0603020202020204" pitchFamily="34" charset="0"/>
                </a:defRPr>
              </a:lvl2pPr>
              <a:lvl3pPr marL="801688" indent="-173038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6">
                    <a:lumMod val="75000"/>
                  </a:schemeClr>
                </a:buClr>
                <a:buFont typeface="Trebuchet MS" panose="020B0603020202020204" pitchFamily="34" charset="0"/>
                <a:buChar char="—"/>
                <a:defRPr sz="1400">
                  <a:latin typeface="Trebuchet MS" panose="020B0603020202020204" pitchFamily="34" charset="0"/>
                </a:defRPr>
              </a:lvl3pPr>
              <a:lvl4pPr marL="1143000" indent="-168275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3"/>
                </a:buClr>
                <a:buFont typeface="Wingdings" pitchFamily="2" charset="2"/>
                <a:buChar char="§"/>
                <a:defRPr sz="1400">
                  <a:latin typeface="Trebuchet MS" panose="020B0603020202020204" pitchFamily="34" charset="0"/>
                </a:defRPr>
              </a:lvl4pPr>
              <a:lvl5pPr marL="1484313" indent="-171450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Trebuchet MS" pitchFamily="34" charset="0"/>
                <a:buChar char="—"/>
                <a:tabLst/>
                <a:defRPr sz="1200">
                  <a:latin typeface="Trebuchet MS" panose="020B0603020202020204" pitchFamily="34" charset="0"/>
                </a:defRPr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lvl="1"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latin typeface="+mn-lt"/>
                </a:rPr>
                <a:t>Insert bullet text</a:t>
              </a:r>
            </a:p>
            <a:p>
              <a:pPr lvl="1"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latin typeface="+mn-lt"/>
                </a:rPr>
                <a:t>Insert bullet text</a:t>
              </a:r>
            </a:p>
            <a:p>
              <a:pPr lvl="1"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latin typeface="+mn-lt"/>
                </a:rPr>
                <a:t>Insert bullet text</a:t>
              </a:r>
            </a:p>
          </p:txBody>
        </p:sp>
        <p:sp>
          <p:nvSpPr>
            <p:cNvPr id="24" name="Content Placeholder 1">
              <a:extLst>
                <a:ext uri="{FF2B5EF4-FFF2-40B4-BE49-F238E27FC236}">
                  <a16:creationId xmlns:a16="http://schemas.microsoft.com/office/drawing/2014/main" id="{1F148967-E3A3-DC69-DC61-9BB752B64CE5}"/>
                </a:ext>
              </a:extLst>
            </p:cNvPr>
            <p:cNvSpPr txBox="1">
              <a:spLocks/>
            </p:cNvSpPr>
            <p:nvPr/>
          </p:nvSpPr>
          <p:spPr>
            <a:xfrm>
              <a:off x="4506148" y="2596166"/>
              <a:ext cx="2082358" cy="579646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>
              <a:lvl1pPr marL="228600" indent="-22860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80000"/>
                <a:buFont typeface="Arial" panose="020B0604020202020204" pitchFamily="34" charset="0"/>
                <a:buChar char="►"/>
                <a:defRPr lang="en-US" sz="1800" b="1" kern="1200" dirty="0" smtClean="0">
                  <a:solidFill>
                    <a:schemeClr val="tx2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1pPr>
              <a:lvl2pPr marL="460375" indent="-1666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Font typeface="Wingdings" pitchFamily="2" charset="2"/>
                <a:buChar char="§"/>
                <a:defRPr lang="en-US" sz="1600" b="0" kern="1200" dirty="0" smtClean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2pPr>
              <a:lvl3pPr marL="801688" indent="-17303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6">
                    <a:lumMod val="75000"/>
                  </a:schemeClr>
                </a:buClr>
                <a:buFont typeface="Trebuchet MS" panose="020B0603020202020204" pitchFamily="34" charset="0"/>
                <a:buChar char="—"/>
                <a:defRPr lang="en-US" sz="1400" kern="1200" dirty="0" smtClean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3pPr>
              <a:lvl4pPr marL="1143000" indent="-168275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3"/>
                </a:buClr>
                <a:buFont typeface="Wingdings" pitchFamily="2" charset="2"/>
                <a:buChar char="§"/>
                <a:defRPr lang="en-US" sz="1400" kern="1200" dirty="0" smtClean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4pPr>
              <a:lvl5pPr marL="1484313" indent="-17145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Trebuchet MS" pitchFamily="34" charset="0"/>
                <a:buChar char="—"/>
                <a:tabLst/>
                <a:defRPr lang="en-US" sz="1200" kern="1200" dirty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98358" lvl="1" indent="-194858" eaLnBrk="0" hangingPunct="0">
                <a:spcBef>
                  <a:spcPts val="147"/>
                </a:spcBef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kern="0" dirty="0">
                  <a:latin typeface="+mn-lt"/>
                </a:rPr>
                <a:t>Insert bullet text</a:t>
              </a:r>
            </a:p>
            <a:p>
              <a:pPr marL="198358" lvl="1" indent="-194858" eaLnBrk="0" hangingPunct="0">
                <a:spcBef>
                  <a:spcPts val="147"/>
                </a:spcBef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kern="0" dirty="0">
                  <a:latin typeface="+mn-lt"/>
                </a:rPr>
                <a:t>Insert bullet text</a:t>
              </a:r>
            </a:p>
            <a:p>
              <a:pPr marL="198358" lvl="1" indent="-194858" eaLnBrk="0" hangingPunct="0">
                <a:spcBef>
                  <a:spcPts val="147"/>
                </a:spcBef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kern="0" dirty="0">
                  <a:latin typeface="+mn-lt"/>
                </a:rPr>
                <a:t>Insert bullet text</a:t>
              </a:r>
            </a:p>
          </p:txBody>
        </p:sp>
        <p:sp>
          <p:nvSpPr>
            <p:cNvPr id="25" name="Content Placeholder 1">
              <a:extLst>
                <a:ext uri="{FF2B5EF4-FFF2-40B4-BE49-F238E27FC236}">
                  <a16:creationId xmlns:a16="http://schemas.microsoft.com/office/drawing/2014/main" id="{B1835AB0-7750-0AF3-056E-922A4F84CC32}"/>
                </a:ext>
              </a:extLst>
            </p:cNvPr>
            <p:cNvSpPr txBox="1">
              <a:spLocks/>
            </p:cNvSpPr>
            <p:nvPr/>
          </p:nvSpPr>
          <p:spPr>
            <a:xfrm>
              <a:off x="6796222" y="2596166"/>
              <a:ext cx="2082358" cy="605294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>
              <a:defPPr>
                <a:defRPr lang="en-US"/>
              </a:defPPr>
              <a:lvl1pPr marL="228600" indent="-228600">
                <a:lnSpc>
                  <a:spcPct val="10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80000"/>
                <a:buFont typeface="Arial" panose="020B0604020202020204" pitchFamily="34" charset="0"/>
                <a:buChar char="►"/>
                <a:defRPr b="1">
                  <a:solidFill>
                    <a:schemeClr val="tx2"/>
                  </a:solidFill>
                  <a:latin typeface="Trebuchet MS" panose="020B0603020202020204" pitchFamily="34" charset="0"/>
                </a:defRPr>
              </a:lvl1pPr>
              <a:lvl2pPr marL="269875" lvl="1" indent="-265113" eaLnBrk="0" hangingPunct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tx2"/>
                </a:buClr>
                <a:buSzPct val="80000"/>
                <a:buFont typeface="Arial" panose="020B0604020202020204" pitchFamily="34" charset="0"/>
                <a:buChar char="►"/>
                <a:defRPr sz="1150" b="0" kern="0">
                  <a:latin typeface="Trebuchet MS" panose="020B0603020202020204" pitchFamily="34" charset="0"/>
                </a:defRPr>
              </a:lvl2pPr>
              <a:lvl3pPr marL="801688" indent="-173038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6">
                    <a:lumMod val="75000"/>
                  </a:schemeClr>
                </a:buClr>
                <a:buFont typeface="Trebuchet MS" panose="020B0603020202020204" pitchFamily="34" charset="0"/>
                <a:buChar char="—"/>
                <a:defRPr sz="1400">
                  <a:latin typeface="Trebuchet MS" panose="020B0603020202020204" pitchFamily="34" charset="0"/>
                </a:defRPr>
              </a:lvl3pPr>
              <a:lvl4pPr marL="1143000" indent="-168275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3"/>
                </a:buClr>
                <a:buFont typeface="Wingdings" pitchFamily="2" charset="2"/>
                <a:buChar char="§"/>
                <a:defRPr sz="1400">
                  <a:latin typeface="Trebuchet MS" panose="020B0603020202020204" pitchFamily="34" charset="0"/>
                </a:defRPr>
              </a:lvl4pPr>
              <a:lvl5pPr marL="1484313" indent="-171450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Trebuchet MS" pitchFamily="34" charset="0"/>
                <a:buChar char="—"/>
                <a:tabLst/>
                <a:defRPr sz="1200">
                  <a:latin typeface="Trebuchet MS" panose="020B0603020202020204" pitchFamily="34" charset="0"/>
                </a:defRPr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lvl="1"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latin typeface="+mn-lt"/>
                </a:rPr>
                <a:t>Insert bullet text</a:t>
              </a:r>
            </a:p>
            <a:p>
              <a:pPr lvl="1"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latin typeface="+mn-lt"/>
                </a:rPr>
                <a:t>Insert bullet text</a:t>
              </a:r>
            </a:p>
            <a:p>
              <a:pPr lvl="1"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latin typeface="+mn-lt"/>
                </a:rPr>
                <a:t>Insert bullet text</a:t>
              </a:r>
            </a:p>
          </p:txBody>
        </p:sp>
        <p:sp>
          <p:nvSpPr>
            <p:cNvPr id="26" name="Content Placeholder 1">
              <a:extLst>
                <a:ext uri="{FF2B5EF4-FFF2-40B4-BE49-F238E27FC236}">
                  <a16:creationId xmlns:a16="http://schemas.microsoft.com/office/drawing/2014/main" id="{E06AABD5-718E-FF16-5DA8-B1AD6BB702D5}"/>
                </a:ext>
              </a:extLst>
            </p:cNvPr>
            <p:cNvSpPr txBox="1">
              <a:spLocks/>
            </p:cNvSpPr>
            <p:nvPr/>
          </p:nvSpPr>
          <p:spPr>
            <a:xfrm>
              <a:off x="9086297" y="2596166"/>
              <a:ext cx="2082358" cy="579646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>
              <a:lvl1pPr marL="228600" indent="-22860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80000"/>
                <a:buFont typeface="Arial" panose="020B0604020202020204" pitchFamily="34" charset="0"/>
                <a:buChar char="►"/>
                <a:defRPr lang="en-US" sz="1800" b="1" kern="1200" dirty="0" smtClean="0">
                  <a:solidFill>
                    <a:schemeClr val="tx2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1pPr>
              <a:lvl2pPr marL="460375" indent="-1666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Font typeface="Wingdings" pitchFamily="2" charset="2"/>
                <a:buChar char="§"/>
                <a:defRPr lang="en-US" sz="1600" b="0" kern="1200" dirty="0" smtClean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2pPr>
              <a:lvl3pPr marL="801688" indent="-17303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6">
                    <a:lumMod val="75000"/>
                  </a:schemeClr>
                </a:buClr>
                <a:buFont typeface="Trebuchet MS" panose="020B0603020202020204" pitchFamily="34" charset="0"/>
                <a:buChar char="—"/>
                <a:defRPr lang="en-US" sz="1400" kern="1200" dirty="0" smtClean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3pPr>
              <a:lvl4pPr marL="1143000" indent="-168275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3"/>
                </a:buClr>
                <a:buFont typeface="Wingdings" pitchFamily="2" charset="2"/>
                <a:buChar char="§"/>
                <a:defRPr lang="en-US" sz="1400" kern="1200" dirty="0" smtClean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4pPr>
              <a:lvl5pPr marL="1484313" indent="-17145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Trebuchet MS" pitchFamily="34" charset="0"/>
                <a:buChar char="—"/>
                <a:tabLst/>
                <a:defRPr lang="en-US" sz="1200" kern="1200" dirty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98358" lvl="1" indent="-194858" eaLnBrk="0" hangingPunct="0">
                <a:spcBef>
                  <a:spcPts val="147"/>
                </a:spcBef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kern="0" dirty="0">
                  <a:latin typeface="+mn-lt"/>
                </a:rPr>
                <a:t>Insert bullet text</a:t>
              </a:r>
            </a:p>
            <a:p>
              <a:pPr marL="198358" lvl="1" indent="-194858" eaLnBrk="0" hangingPunct="0">
                <a:spcBef>
                  <a:spcPts val="147"/>
                </a:spcBef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kern="0" dirty="0">
                  <a:latin typeface="+mn-lt"/>
                </a:rPr>
                <a:t>Insert bullet text</a:t>
              </a:r>
            </a:p>
            <a:p>
              <a:pPr marL="198358" lvl="1" indent="-194858" eaLnBrk="0" hangingPunct="0">
                <a:spcBef>
                  <a:spcPts val="147"/>
                </a:spcBef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kern="0" dirty="0">
                  <a:latin typeface="+mn-lt"/>
                </a:rPr>
                <a:t>Insert bullet text</a:t>
              </a:r>
            </a:p>
          </p:txBody>
        </p: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D49EFD88-2EB8-7794-D0D7-8D943D8369BB}"/>
                </a:ext>
              </a:extLst>
            </p:cNvPr>
            <p:cNvCxnSpPr/>
            <p:nvPr/>
          </p:nvCxnSpPr>
          <p:spPr>
            <a:xfrm flipV="1">
              <a:off x="2216076" y="3412962"/>
              <a:ext cx="2082358" cy="0"/>
            </a:xfrm>
            <a:prstGeom prst="line">
              <a:avLst/>
            </a:prstGeom>
            <a:ln w="12700">
              <a:gradFill flip="none" rotWithShape="1">
                <a:gsLst>
                  <a:gs pos="0">
                    <a:schemeClr val="bg1"/>
                  </a:gs>
                  <a:gs pos="64000">
                    <a:schemeClr val="bg1">
                      <a:lumMod val="75000"/>
                    </a:schemeClr>
                  </a:gs>
                  <a:gs pos="30000">
                    <a:schemeClr val="bg1">
                      <a:lumMod val="75000"/>
                    </a:schemeClr>
                  </a:gs>
                  <a:gs pos="100000">
                    <a:schemeClr val="bg1"/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7EAB93F7-0D57-77E8-A7FB-3635601F8501}"/>
                </a:ext>
              </a:extLst>
            </p:cNvPr>
            <p:cNvCxnSpPr/>
            <p:nvPr/>
          </p:nvCxnSpPr>
          <p:spPr>
            <a:xfrm flipV="1">
              <a:off x="4506150" y="3412962"/>
              <a:ext cx="2082358" cy="0"/>
            </a:xfrm>
            <a:prstGeom prst="line">
              <a:avLst/>
            </a:prstGeom>
            <a:ln w="12700">
              <a:gradFill flip="none" rotWithShape="1">
                <a:gsLst>
                  <a:gs pos="0">
                    <a:schemeClr val="bg1"/>
                  </a:gs>
                  <a:gs pos="64000">
                    <a:schemeClr val="bg1">
                      <a:lumMod val="75000"/>
                    </a:schemeClr>
                  </a:gs>
                  <a:gs pos="30000">
                    <a:schemeClr val="bg1">
                      <a:lumMod val="75000"/>
                    </a:schemeClr>
                  </a:gs>
                  <a:gs pos="100000">
                    <a:schemeClr val="bg1"/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131A2A1-4BA2-7F1F-B46C-A715A3328B4F}"/>
                </a:ext>
              </a:extLst>
            </p:cNvPr>
            <p:cNvCxnSpPr/>
            <p:nvPr/>
          </p:nvCxnSpPr>
          <p:spPr>
            <a:xfrm flipV="1">
              <a:off x="6796225" y="3412962"/>
              <a:ext cx="2082358" cy="0"/>
            </a:xfrm>
            <a:prstGeom prst="line">
              <a:avLst/>
            </a:prstGeom>
            <a:ln w="12700">
              <a:gradFill flip="none" rotWithShape="1">
                <a:gsLst>
                  <a:gs pos="0">
                    <a:schemeClr val="bg1"/>
                  </a:gs>
                  <a:gs pos="64000">
                    <a:schemeClr val="bg1">
                      <a:lumMod val="75000"/>
                    </a:schemeClr>
                  </a:gs>
                  <a:gs pos="30000">
                    <a:schemeClr val="bg1">
                      <a:lumMod val="75000"/>
                    </a:schemeClr>
                  </a:gs>
                  <a:gs pos="100000">
                    <a:schemeClr val="bg1"/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9DAAA21A-EF75-997D-70E1-F62D5B598F56}"/>
                </a:ext>
              </a:extLst>
            </p:cNvPr>
            <p:cNvCxnSpPr/>
            <p:nvPr/>
          </p:nvCxnSpPr>
          <p:spPr>
            <a:xfrm flipV="1">
              <a:off x="9086299" y="3412962"/>
              <a:ext cx="2082358" cy="0"/>
            </a:xfrm>
            <a:prstGeom prst="line">
              <a:avLst/>
            </a:prstGeom>
            <a:ln w="12700">
              <a:gradFill flip="none" rotWithShape="1">
                <a:gsLst>
                  <a:gs pos="0">
                    <a:schemeClr val="bg1"/>
                  </a:gs>
                  <a:gs pos="64000">
                    <a:schemeClr val="bg1">
                      <a:lumMod val="75000"/>
                    </a:schemeClr>
                  </a:gs>
                  <a:gs pos="30000">
                    <a:schemeClr val="bg1">
                      <a:lumMod val="75000"/>
                    </a:schemeClr>
                  </a:gs>
                  <a:gs pos="100000">
                    <a:schemeClr val="bg1"/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2A304293-30D7-2995-A79B-C82CC1750A6C}"/>
                </a:ext>
              </a:extLst>
            </p:cNvPr>
            <p:cNvCxnSpPr/>
            <p:nvPr/>
          </p:nvCxnSpPr>
          <p:spPr>
            <a:xfrm flipV="1">
              <a:off x="2216076" y="4419031"/>
              <a:ext cx="2082358" cy="0"/>
            </a:xfrm>
            <a:prstGeom prst="line">
              <a:avLst/>
            </a:prstGeom>
            <a:ln w="12700">
              <a:gradFill flip="none" rotWithShape="1">
                <a:gsLst>
                  <a:gs pos="0">
                    <a:schemeClr val="bg1"/>
                  </a:gs>
                  <a:gs pos="64000">
                    <a:schemeClr val="bg1">
                      <a:lumMod val="75000"/>
                    </a:schemeClr>
                  </a:gs>
                  <a:gs pos="30000">
                    <a:schemeClr val="bg1">
                      <a:lumMod val="75000"/>
                    </a:schemeClr>
                  </a:gs>
                  <a:gs pos="100000">
                    <a:schemeClr val="bg1"/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6347DD13-CAF9-0657-5A04-D2D16F426D6F}"/>
                </a:ext>
              </a:extLst>
            </p:cNvPr>
            <p:cNvCxnSpPr/>
            <p:nvPr/>
          </p:nvCxnSpPr>
          <p:spPr>
            <a:xfrm flipV="1">
              <a:off x="4506150" y="4419031"/>
              <a:ext cx="2082358" cy="0"/>
            </a:xfrm>
            <a:prstGeom prst="line">
              <a:avLst/>
            </a:prstGeom>
            <a:ln w="12700">
              <a:gradFill flip="none" rotWithShape="1">
                <a:gsLst>
                  <a:gs pos="0">
                    <a:schemeClr val="bg1"/>
                  </a:gs>
                  <a:gs pos="64000">
                    <a:schemeClr val="bg1">
                      <a:lumMod val="75000"/>
                    </a:schemeClr>
                  </a:gs>
                  <a:gs pos="30000">
                    <a:schemeClr val="bg1">
                      <a:lumMod val="75000"/>
                    </a:schemeClr>
                  </a:gs>
                  <a:gs pos="100000">
                    <a:schemeClr val="bg1"/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7B99ACE0-538B-E787-B5B8-908860E19BDA}"/>
                </a:ext>
              </a:extLst>
            </p:cNvPr>
            <p:cNvCxnSpPr/>
            <p:nvPr/>
          </p:nvCxnSpPr>
          <p:spPr>
            <a:xfrm flipV="1">
              <a:off x="6796225" y="4419031"/>
              <a:ext cx="2082358" cy="0"/>
            </a:xfrm>
            <a:prstGeom prst="line">
              <a:avLst/>
            </a:prstGeom>
            <a:ln w="12700">
              <a:gradFill flip="none" rotWithShape="1">
                <a:gsLst>
                  <a:gs pos="0">
                    <a:schemeClr val="bg1"/>
                  </a:gs>
                  <a:gs pos="64000">
                    <a:schemeClr val="bg1">
                      <a:lumMod val="75000"/>
                    </a:schemeClr>
                  </a:gs>
                  <a:gs pos="30000">
                    <a:schemeClr val="bg1">
                      <a:lumMod val="75000"/>
                    </a:schemeClr>
                  </a:gs>
                  <a:gs pos="100000">
                    <a:schemeClr val="bg1"/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D5066CAC-6AE1-54F1-C706-4B30D91F5341}"/>
                </a:ext>
              </a:extLst>
            </p:cNvPr>
            <p:cNvCxnSpPr/>
            <p:nvPr/>
          </p:nvCxnSpPr>
          <p:spPr>
            <a:xfrm flipV="1">
              <a:off x="9086299" y="4419031"/>
              <a:ext cx="2082358" cy="0"/>
            </a:xfrm>
            <a:prstGeom prst="line">
              <a:avLst/>
            </a:prstGeom>
            <a:ln w="12700">
              <a:gradFill flip="none" rotWithShape="1">
                <a:gsLst>
                  <a:gs pos="0">
                    <a:schemeClr val="bg1"/>
                  </a:gs>
                  <a:gs pos="64000">
                    <a:schemeClr val="bg1">
                      <a:lumMod val="75000"/>
                    </a:schemeClr>
                  </a:gs>
                  <a:gs pos="30000">
                    <a:schemeClr val="bg1">
                      <a:lumMod val="75000"/>
                    </a:schemeClr>
                  </a:gs>
                  <a:gs pos="100000">
                    <a:schemeClr val="bg1"/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" name="Content Placeholder 1">
              <a:extLst>
                <a:ext uri="{FF2B5EF4-FFF2-40B4-BE49-F238E27FC236}">
                  <a16:creationId xmlns:a16="http://schemas.microsoft.com/office/drawing/2014/main" id="{CC8F93B2-143E-FF00-B81C-B7B27B45CCBF}"/>
                </a:ext>
              </a:extLst>
            </p:cNvPr>
            <p:cNvSpPr txBox="1">
              <a:spLocks/>
            </p:cNvSpPr>
            <p:nvPr/>
          </p:nvSpPr>
          <p:spPr>
            <a:xfrm>
              <a:off x="2216074" y="3448374"/>
              <a:ext cx="2082358" cy="605294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>
              <a:defPPr>
                <a:defRPr lang="en-US"/>
              </a:defPPr>
              <a:lvl1pPr marL="228600" indent="-228600">
                <a:lnSpc>
                  <a:spcPct val="10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80000"/>
                <a:buFont typeface="Arial" panose="020B0604020202020204" pitchFamily="34" charset="0"/>
                <a:buChar char="►"/>
                <a:defRPr b="1">
                  <a:solidFill>
                    <a:schemeClr val="tx2"/>
                  </a:solidFill>
                  <a:latin typeface="Trebuchet MS" panose="020B0603020202020204" pitchFamily="34" charset="0"/>
                </a:defRPr>
              </a:lvl1pPr>
              <a:lvl2pPr marL="269875" lvl="1" indent="-265113" eaLnBrk="0" hangingPunct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tx2"/>
                </a:buClr>
                <a:buSzPct val="80000"/>
                <a:buFont typeface="Arial" panose="020B0604020202020204" pitchFamily="34" charset="0"/>
                <a:buChar char="►"/>
                <a:defRPr sz="1150" b="0" kern="0">
                  <a:latin typeface="Trebuchet MS" panose="020B0603020202020204" pitchFamily="34" charset="0"/>
                </a:defRPr>
              </a:lvl2pPr>
              <a:lvl3pPr marL="801688" indent="-173038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6">
                    <a:lumMod val="75000"/>
                  </a:schemeClr>
                </a:buClr>
                <a:buFont typeface="Trebuchet MS" panose="020B0603020202020204" pitchFamily="34" charset="0"/>
                <a:buChar char="—"/>
                <a:defRPr sz="1400">
                  <a:latin typeface="Trebuchet MS" panose="020B0603020202020204" pitchFamily="34" charset="0"/>
                </a:defRPr>
              </a:lvl3pPr>
              <a:lvl4pPr marL="1143000" indent="-168275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3"/>
                </a:buClr>
                <a:buFont typeface="Wingdings" pitchFamily="2" charset="2"/>
                <a:buChar char="§"/>
                <a:defRPr sz="1400">
                  <a:latin typeface="Trebuchet MS" panose="020B0603020202020204" pitchFamily="34" charset="0"/>
                </a:defRPr>
              </a:lvl4pPr>
              <a:lvl5pPr marL="1484313" indent="-171450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Trebuchet MS" pitchFamily="34" charset="0"/>
                <a:buChar char="—"/>
                <a:tabLst/>
                <a:defRPr sz="1200">
                  <a:latin typeface="Trebuchet MS" panose="020B0603020202020204" pitchFamily="34" charset="0"/>
                </a:defRPr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lvl="1"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latin typeface="+mn-lt"/>
                </a:rPr>
                <a:t>Insert bullet text</a:t>
              </a:r>
            </a:p>
            <a:p>
              <a:pPr lvl="1"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latin typeface="+mn-lt"/>
                </a:rPr>
                <a:t>Insert bullet text</a:t>
              </a:r>
            </a:p>
            <a:p>
              <a:pPr lvl="1"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latin typeface="+mn-lt"/>
                </a:rPr>
                <a:t>Insert bullet text</a:t>
              </a:r>
            </a:p>
          </p:txBody>
        </p:sp>
        <p:sp>
          <p:nvSpPr>
            <p:cNvPr id="36" name="Content Placeholder 1">
              <a:extLst>
                <a:ext uri="{FF2B5EF4-FFF2-40B4-BE49-F238E27FC236}">
                  <a16:creationId xmlns:a16="http://schemas.microsoft.com/office/drawing/2014/main" id="{ECEDBD66-0713-D715-CDDC-EFDE4AD193B8}"/>
                </a:ext>
              </a:extLst>
            </p:cNvPr>
            <p:cNvSpPr txBox="1">
              <a:spLocks/>
            </p:cNvSpPr>
            <p:nvPr/>
          </p:nvSpPr>
          <p:spPr>
            <a:xfrm>
              <a:off x="4506148" y="3448374"/>
              <a:ext cx="2082358" cy="579646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>
              <a:lvl1pPr marL="228600" indent="-22860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80000"/>
                <a:buFont typeface="Arial" panose="020B0604020202020204" pitchFamily="34" charset="0"/>
                <a:buChar char="►"/>
                <a:defRPr lang="en-US" sz="1800" b="1" kern="1200" dirty="0" smtClean="0">
                  <a:solidFill>
                    <a:schemeClr val="tx2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1pPr>
              <a:lvl2pPr marL="460375" indent="-1666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Font typeface="Wingdings" pitchFamily="2" charset="2"/>
                <a:buChar char="§"/>
                <a:defRPr lang="en-US" sz="1600" b="0" kern="1200" dirty="0" smtClean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2pPr>
              <a:lvl3pPr marL="801688" indent="-17303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6">
                    <a:lumMod val="75000"/>
                  </a:schemeClr>
                </a:buClr>
                <a:buFont typeface="Trebuchet MS" panose="020B0603020202020204" pitchFamily="34" charset="0"/>
                <a:buChar char="—"/>
                <a:defRPr lang="en-US" sz="1400" kern="1200" dirty="0" smtClean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3pPr>
              <a:lvl4pPr marL="1143000" indent="-168275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3"/>
                </a:buClr>
                <a:buFont typeface="Wingdings" pitchFamily="2" charset="2"/>
                <a:buChar char="§"/>
                <a:defRPr lang="en-US" sz="1400" kern="1200" dirty="0" smtClean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4pPr>
              <a:lvl5pPr marL="1484313" indent="-17145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Trebuchet MS" pitchFamily="34" charset="0"/>
                <a:buChar char="—"/>
                <a:tabLst/>
                <a:defRPr lang="en-US" sz="1200" kern="1200" dirty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98358" lvl="1" indent="-194858" eaLnBrk="0" hangingPunct="0">
                <a:spcBef>
                  <a:spcPts val="147"/>
                </a:spcBef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kern="0" dirty="0">
                  <a:latin typeface="+mn-lt"/>
                </a:rPr>
                <a:t>Insert bullet text</a:t>
              </a:r>
            </a:p>
            <a:p>
              <a:pPr marL="198358" lvl="1" indent="-194858" eaLnBrk="0" hangingPunct="0">
                <a:spcBef>
                  <a:spcPts val="147"/>
                </a:spcBef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kern="0" dirty="0">
                  <a:latin typeface="+mn-lt"/>
                </a:rPr>
                <a:t>Insert bullet text</a:t>
              </a:r>
            </a:p>
            <a:p>
              <a:pPr marL="198358" lvl="1" indent="-194858" eaLnBrk="0" hangingPunct="0">
                <a:spcBef>
                  <a:spcPts val="147"/>
                </a:spcBef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kern="0" dirty="0">
                  <a:latin typeface="+mn-lt"/>
                </a:rPr>
                <a:t>Insert bullet text</a:t>
              </a:r>
            </a:p>
          </p:txBody>
        </p:sp>
        <p:sp>
          <p:nvSpPr>
            <p:cNvPr id="37" name="Content Placeholder 1">
              <a:extLst>
                <a:ext uri="{FF2B5EF4-FFF2-40B4-BE49-F238E27FC236}">
                  <a16:creationId xmlns:a16="http://schemas.microsoft.com/office/drawing/2014/main" id="{BFAB9C43-030A-CB88-9C31-076CFAD04146}"/>
                </a:ext>
              </a:extLst>
            </p:cNvPr>
            <p:cNvSpPr txBox="1">
              <a:spLocks/>
            </p:cNvSpPr>
            <p:nvPr/>
          </p:nvSpPr>
          <p:spPr>
            <a:xfrm>
              <a:off x="6796222" y="3448374"/>
              <a:ext cx="2082358" cy="605294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>
              <a:defPPr>
                <a:defRPr lang="en-US"/>
              </a:defPPr>
              <a:lvl1pPr marL="228600" indent="-228600">
                <a:lnSpc>
                  <a:spcPct val="10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80000"/>
                <a:buFont typeface="Arial" panose="020B0604020202020204" pitchFamily="34" charset="0"/>
                <a:buChar char="►"/>
                <a:defRPr b="1">
                  <a:solidFill>
                    <a:schemeClr val="tx2"/>
                  </a:solidFill>
                  <a:latin typeface="Trebuchet MS" panose="020B0603020202020204" pitchFamily="34" charset="0"/>
                </a:defRPr>
              </a:lvl1pPr>
              <a:lvl2pPr marL="269875" lvl="1" indent="-265113" eaLnBrk="0" hangingPunct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tx2"/>
                </a:buClr>
                <a:buSzPct val="80000"/>
                <a:buFont typeface="Arial" panose="020B0604020202020204" pitchFamily="34" charset="0"/>
                <a:buChar char="►"/>
                <a:defRPr sz="1150" b="0" kern="0">
                  <a:latin typeface="Trebuchet MS" panose="020B0603020202020204" pitchFamily="34" charset="0"/>
                </a:defRPr>
              </a:lvl2pPr>
              <a:lvl3pPr marL="801688" indent="-173038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6">
                    <a:lumMod val="75000"/>
                  </a:schemeClr>
                </a:buClr>
                <a:buFont typeface="Trebuchet MS" panose="020B0603020202020204" pitchFamily="34" charset="0"/>
                <a:buChar char="—"/>
                <a:defRPr sz="1400">
                  <a:latin typeface="Trebuchet MS" panose="020B0603020202020204" pitchFamily="34" charset="0"/>
                </a:defRPr>
              </a:lvl3pPr>
              <a:lvl4pPr marL="1143000" indent="-168275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3"/>
                </a:buClr>
                <a:buFont typeface="Wingdings" pitchFamily="2" charset="2"/>
                <a:buChar char="§"/>
                <a:defRPr sz="1400">
                  <a:latin typeface="Trebuchet MS" panose="020B0603020202020204" pitchFamily="34" charset="0"/>
                </a:defRPr>
              </a:lvl4pPr>
              <a:lvl5pPr marL="1484313" indent="-171450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Trebuchet MS" pitchFamily="34" charset="0"/>
                <a:buChar char="—"/>
                <a:tabLst/>
                <a:defRPr sz="1200">
                  <a:latin typeface="Trebuchet MS" panose="020B0603020202020204" pitchFamily="34" charset="0"/>
                </a:defRPr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lvl="1"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latin typeface="+mn-lt"/>
                </a:rPr>
                <a:t>Insert bullet text</a:t>
              </a:r>
            </a:p>
            <a:p>
              <a:pPr lvl="1"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latin typeface="+mn-lt"/>
                </a:rPr>
                <a:t>Insert bullet text</a:t>
              </a:r>
            </a:p>
            <a:p>
              <a:pPr lvl="1"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latin typeface="+mn-lt"/>
                </a:rPr>
                <a:t>Insert bullet text</a:t>
              </a:r>
            </a:p>
          </p:txBody>
        </p:sp>
        <p:sp>
          <p:nvSpPr>
            <p:cNvPr id="38" name="Content Placeholder 1">
              <a:extLst>
                <a:ext uri="{FF2B5EF4-FFF2-40B4-BE49-F238E27FC236}">
                  <a16:creationId xmlns:a16="http://schemas.microsoft.com/office/drawing/2014/main" id="{040C3BB5-61D8-AE23-B003-D26C7E636253}"/>
                </a:ext>
              </a:extLst>
            </p:cNvPr>
            <p:cNvSpPr txBox="1">
              <a:spLocks/>
            </p:cNvSpPr>
            <p:nvPr/>
          </p:nvSpPr>
          <p:spPr>
            <a:xfrm>
              <a:off x="9086297" y="3448374"/>
              <a:ext cx="2082358" cy="579646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>
              <a:lvl1pPr marL="228600" indent="-22860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80000"/>
                <a:buFont typeface="Arial" panose="020B0604020202020204" pitchFamily="34" charset="0"/>
                <a:buChar char="►"/>
                <a:defRPr lang="en-US" sz="1800" b="1" kern="1200" dirty="0" smtClean="0">
                  <a:solidFill>
                    <a:schemeClr val="tx2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1pPr>
              <a:lvl2pPr marL="460375" indent="-1666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Font typeface="Wingdings" pitchFamily="2" charset="2"/>
                <a:buChar char="§"/>
                <a:defRPr lang="en-US" sz="1600" b="0" kern="1200" dirty="0" smtClean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2pPr>
              <a:lvl3pPr marL="801688" indent="-17303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6">
                    <a:lumMod val="75000"/>
                  </a:schemeClr>
                </a:buClr>
                <a:buFont typeface="Trebuchet MS" panose="020B0603020202020204" pitchFamily="34" charset="0"/>
                <a:buChar char="—"/>
                <a:defRPr lang="en-US" sz="1400" kern="1200" dirty="0" smtClean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3pPr>
              <a:lvl4pPr marL="1143000" indent="-168275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3"/>
                </a:buClr>
                <a:buFont typeface="Wingdings" pitchFamily="2" charset="2"/>
                <a:buChar char="§"/>
                <a:defRPr lang="en-US" sz="1400" kern="1200" dirty="0" smtClean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4pPr>
              <a:lvl5pPr marL="1484313" indent="-17145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Trebuchet MS" pitchFamily="34" charset="0"/>
                <a:buChar char="—"/>
                <a:tabLst/>
                <a:defRPr lang="en-US" sz="1200" kern="1200" dirty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98358" lvl="1" indent="-194858" eaLnBrk="0" hangingPunct="0">
                <a:spcBef>
                  <a:spcPts val="147"/>
                </a:spcBef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kern="0" dirty="0">
                  <a:latin typeface="+mn-lt"/>
                </a:rPr>
                <a:t>Insert bullet text</a:t>
              </a:r>
            </a:p>
            <a:p>
              <a:pPr marL="198358" lvl="1" indent="-194858" eaLnBrk="0" hangingPunct="0">
                <a:spcBef>
                  <a:spcPts val="147"/>
                </a:spcBef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kern="0" dirty="0">
                  <a:latin typeface="+mn-lt"/>
                </a:rPr>
                <a:t>Insert bullet text</a:t>
              </a:r>
            </a:p>
            <a:p>
              <a:pPr marL="198358" lvl="1" indent="-194858" eaLnBrk="0" hangingPunct="0">
                <a:spcBef>
                  <a:spcPts val="147"/>
                </a:spcBef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kern="0" dirty="0">
                  <a:latin typeface="+mn-lt"/>
                </a:rPr>
                <a:t>Insert bullet text</a:t>
              </a:r>
            </a:p>
          </p:txBody>
        </p:sp>
        <p:sp>
          <p:nvSpPr>
            <p:cNvPr id="39" name="Round Same Side Corner Rectangle 19">
              <a:extLst>
                <a:ext uri="{FF2B5EF4-FFF2-40B4-BE49-F238E27FC236}">
                  <a16:creationId xmlns:a16="http://schemas.microsoft.com/office/drawing/2014/main" id="{68F00EBE-617C-179E-75B2-F1680DB1FD61}"/>
                </a:ext>
              </a:extLst>
            </p:cNvPr>
            <p:cNvSpPr/>
            <p:nvPr/>
          </p:nvSpPr>
          <p:spPr>
            <a:xfrm rot="16200000">
              <a:off x="1048227" y="3343089"/>
              <a:ext cx="935252" cy="1145815"/>
            </a:xfrm>
            <a:prstGeom prst="rect">
              <a:avLst/>
            </a:prstGeom>
            <a:solidFill>
              <a:schemeClr val="accent2"/>
            </a:solidFill>
            <a:ln w="1905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vert" wrap="square" lIns="67211" tIns="33605" rIns="0" bIns="3360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1200" dirty="0">
                  <a:solidFill>
                    <a:schemeClr val="bg1"/>
                  </a:solidFill>
                  <a:latin typeface="+mn-lt"/>
                </a:rPr>
                <a:t>Insert heading</a:t>
              </a:r>
            </a:p>
          </p:txBody>
        </p:sp>
        <p:sp>
          <p:nvSpPr>
            <p:cNvPr id="40" name="Content Placeholder 1">
              <a:extLst>
                <a:ext uri="{FF2B5EF4-FFF2-40B4-BE49-F238E27FC236}">
                  <a16:creationId xmlns:a16="http://schemas.microsoft.com/office/drawing/2014/main" id="{38BA11C4-CA24-D579-4F2D-E63B675CBDE3}"/>
                </a:ext>
              </a:extLst>
            </p:cNvPr>
            <p:cNvSpPr txBox="1">
              <a:spLocks/>
            </p:cNvSpPr>
            <p:nvPr/>
          </p:nvSpPr>
          <p:spPr>
            <a:xfrm>
              <a:off x="2216076" y="4454445"/>
              <a:ext cx="2082358" cy="605294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>
              <a:defPPr>
                <a:defRPr lang="en-US"/>
              </a:defPPr>
              <a:lvl1pPr marL="228600" indent="-228600">
                <a:lnSpc>
                  <a:spcPct val="10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80000"/>
                <a:buFont typeface="Arial" panose="020B0604020202020204" pitchFamily="34" charset="0"/>
                <a:buChar char="►"/>
                <a:defRPr b="1">
                  <a:solidFill>
                    <a:schemeClr val="tx2"/>
                  </a:solidFill>
                  <a:latin typeface="Trebuchet MS" panose="020B0603020202020204" pitchFamily="34" charset="0"/>
                </a:defRPr>
              </a:lvl1pPr>
              <a:lvl2pPr marL="269875" lvl="1" indent="-265113" eaLnBrk="0" hangingPunct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tx2"/>
                </a:buClr>
                <a:buSzPct val="80000"/>
                <a:buFont typeface="Arial" panose="020B0604020202020204" pitchFamily="34" charset="0"/>
                <a:buChar char="►"/>
                <a:defRPr sz="1150" b="0" kern="0">
                  <a:latin typeface="Trebuchet MS" panose="020B0603020202020204" pitchFamily="34" charset="0"/>
                </a:defRPr>
              </a:lvl2pPr>
              <a:lvl3pPr marL="801688" indent="-173038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6">
                    <a:lumMod val="75000"/>
                  </a:schemeClr>
                </a:buClr>
                <a:buFont typeface="Trebuchet MS" panose="020B0603020202020204" pitchFamily="34" charset="0"/>
                <a:buChar char="—"/>
                <a:defRPr sz="1400">
                  <a:latin typeface="Trebuchet MS" panose="020B0603020202020204" pitchFamily="34" charset="0"/>
                </a:defRPr>
              </a:lvl3pPr>
              <a:lvl4pPr marL="1143000" indent="-168275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3"/>
                </a:buClr>
                <a:buFont typeface="Wingdings" pitchFamily="2" charset="2"/>
                <a:buChar char="§"/>
                <a:defRPr sz="1400">
                  <a:latin typeface="Trebuchet MS" panose="020B0603020202020204" pitchFamily="34" charset="0"/>
                </a:defRPr>
              </a:lvl4pPr>
              <a:lvl5pPr marL="1484313" indent="-171450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Trebuchet MS" pitchFamily="34" charset="0"/>
                <a:buChar char="—"/>
                <a:tabLst/>
                <a:defRPr sz="1200">
                  <a:latin typeface="Trebuchet MS" panose="020B0603020202020204" pitchFamily="34" charset="0"/>
                </a:defRPr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lvl="1"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latin typeface="+mn-lt"/>
                </a:rPr>
                <a:t>Insert bullet text</a:t>
              </a:r>
            </a:p>
            <a:p>
              <a:pPr lvl="1"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latin typeface="+mn-lt"/>
                </a:rPr>
                <a:t>Insert bullet text</a:t>
              </a:r>
            </a:p>
            <a:p>
              <a:pPr lvl="1"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latin typeface="+mn-lt"/>
                </a:rPr>
                <a:t>Insert bullet text</a:t>
              </a:r>
            </a:p>
          </p:txBody>
        </p:sp>
        <p:sp>
          <p:nvSpPr>
            <p:cNvPr id="41" name="Content Placeholder 1">
              <a:extLst>
                <a:ext uri="{FF2B5EF4-FFF2-40B4-BE49-F238E27FC236}">
                  <a16:creationId xmlns:a16="http://schemas.microsoft.com/office/drawing/2014/main" id="{C181E1ED-FD7E-A431-B068-A81D67A5647A}"/>
                </a:ext>
              </a:extLst>
            </p:cNvPr>
            <p:cNvSpPr txBox="1">
              <a:spLocks/>
            </p:cNvSpPr>
            <p:nvPr/>
          </p:nvSpPr>
          <p:spPr>
            <a:xfrm>
              <a:off x="4506150" y="4454445"/>
              <a:ext cx="2082358" cy="579646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>
              <a:lvl1pPr marL="228600" indent="-22860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80000"/>
                <a:buFont typeface="Arial" panose="020B0604020202020204" pitchFamily="34" charset="0"/>
                <a:buChar char="►"/>
                <a:defRPr lang="en-US" sz="1800" b="1" kern="1200" dirty="0" smtClean="0">
                  <a:solidFill>
                    <a:schemeClr val="tx2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1pPr>
              <a:lvl2pPr marL="460375" indent="-1666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Font typeface="Wingdings" pitchFamily="2" charset="2"/>
                <a:buChar char="§"/>
                <a:defRPr lang="en-US" sz="1600" b="0" kern="1200" dirty="0" smtClean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2pPr>
              <a:lvl3pPr marL="801688" indent="-17303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6">
                    <a:lumMod val="75000"/>
                  </a:schemeClr>
                </a:buClr>
                <a:buFont typeface="Trebuchet MS" panose="020B0603020202020204" pitchFamily="34" charset="0"/>
                <a:buChar char="—"/>
                <a:defRPr lang="en-US" sz="1400" kern="1200" dirty="0" smtClean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3pPr>
              <a:lvl4pPr marL="1143000" indent="-168275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3"/>
                </a:buClr>
                <a:buFont typeface="Wingdings" pitchFamily="2" charset="2"/>
                <a:buChar char="§"/>
                <a:defRPr lang="en-US" sz="1400" kern="1200" dirty="0" smtClean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4pPr>
              <a:lvl5pPr marL="1484313" indent="-17145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Trebuchet MS" pitchFamily="34" charset="0"/>
                <a:buChar char="—"/>
                <a:tabLst/>
                <a:defRPr lang="en-US" sz="1200" kern="1200" dirty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98358" lvl="1" indent="-194858" eaLnBrk="0" hangingPunct="0">
                <a:spcBef>
                  <a:spcPts val="147"/>
                </a:spcBef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kern="0" dirty="0">
                  <a:latin typeface="+mn-lt"/>
                </a:rPr>
                <a:t>Insert bullet text</a:t>
              </a:r>
            </a:p>
            <a:p>
              <a:pPr marL="198358" lvl="1" indent="-194858" eaLnBrk="0" hangingPunct="0">
                <a:spcBef>
                  <a:spcPts val="147"/>
                </a:spcBef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kern="0" dirty="0">
                  <a:latin typeface="+mn-lt"/>
                </a:rPr>
                <a:t>Insert bullet text</a:t>
              </a:r>
            </a:p>
            <a:p>
              <a:pPr marL="198358" lvl="1" indent="-194858" eaLnBrk="0" hangingPunct="0">
                <a:spcBef>
                  <a:spcPts val="147"/>
                </a:spcBef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kern="0" dirty="0">
                  <a:latin typeface="+mn-lt"/>
                </a:rPr>
                <a:t>Insert bullet text</a:t>
              </a:r>
            </a:p>
          </p:txBody>
        </p:sp>
        <p:sp>
          <p:nvSpPr>
            <p:cNvPr id="42" name="Content Placeholder 1">
              <a:extLst>
                <a:ext uri="{FF2B5EF4-FFF2-40B4-BE49-F238E27FC236}">
                  <a16:creationId xmlns:a16="http://schemas.microsoft.com/office/drawing/2014/main" id="{74C84542-E6DE-50EB-D545-7DA9DD2144E6}"/>
                </a:ext>
              </a:extLst>
            </p:cNvPr>
            <p:cNvSpPr txBox="1">
              <a:spLocks/>
            </p:cNvSpPr>
            <p:nvPr/>
          </p:nvSpPr>
          <p:spPr>
            <a:xfrm>
              <a:off x="6796225" y="4454445"/>
              <a:ext cx="2082358" cy="605294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>
              <a:defPPr>
                <a:defRPr lang="en-US"/>
              </a:defPPr>
              <a:lvl1pPr marL="228600" indent="-228600">
                <a:lnSpc>
                  <a:spcPct val="10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80000"/>
                <a:buFont typeface="Arial" panose="020B0604020202020204" pitchFamily="34" charset="0"/>
                <a:buChar char="►"/>
                <a:defRPr b="1">
                  <a:solidFill>
                    <a:schemeClr val="tx2"/>
                  </a:solidFill>
                  <a:latin typeface="Trebuchet MS" panose="020B0603020202020204" pitchFamily="34" charset="0"/>
                </a:defRPr>
              </a:lvl1pPr>
              <a:lvl2pPr marL="269875" lvl="1" indent="-265113" eaLnBrk="0" hangingPunct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tx2"/>
                </a:buClr>
                <a:buSzPct val="80000"/>
                <a:buFont typeface="Arial" panose="020B0604020202020204" pitchFamily="34" charset="0"/>
                <a:buChar char="►"/>
                <a:defRPr sz="1150" b="0" kern="0">
                  <a:latin typeface="Trebuchet MS" panose="020B0603020202020204" pitchFamily="34" charset="0"/>
                </a:defRPr>
              </a:lvl2pPr>
              <a:lvl3pPr marL="801688" indent="-173038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6">
                    <a:lumMod val="75000"/>
                  </a:schemeClr>
                </a:buClr>
                <a:buFont typeface="Trebuchet MS" panose="020B0603020202020204" pitchFamily="34" charset="0"/>
                <a:buChar char="—"/>
                <a:defRPr sz="1400">
                  <a:latin typeface="Trebuchet MS" panose="020B0603020202020204" pitchFamily="34" charset="0"/>
                </a:defRPr>
              </a:lvl3pPr>
              <a:lvl4pPr marL="1143000" indent="-168275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3"/>
                </a:buClr>
                <a:buFont typeface="Wingdings" pitchFamily="2" charset="2"/>
                <a:buChar char="§"/>
                <a:defRPr sz="1400">
                  <a:latin typeface="Trebuchet MS" panose="020B0603020202020204" pitchFamily="34" charset="0"/>
                </a:defRPr>
              </a:lvl4pPr>
              <a:lvl5pPr marL="1484313" indent="-171450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Trebuchet MS" pitchFamily="34" charset="0"/>
                <a:buChar char="—"/>
                <a:tabLst/>
                <a:defRPr sz="1200">
                  <a:latin typeface="Trebuchet MS" panose="020B0603020202020204" pitchFamily="34" charset="0"/>
                </a:defRPr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lvl="1"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latin typeface="+mn-lt"/>
                </a:rPr>
                <a:t>Insert bullet text</a:t>
              </a:r>
            </a:p>
            <a:p>
              <a:pPr lvl="1"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latin typeface="+mn-lt"/>
                </a:rPr>
                <a:t>Insert bullet text</a:t>
              </a:r>
            </a:p>
            <a:p>
              <a:pPr lvl="1"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latin typeface="+mn-lt"/>
                </a:rPr>
                <a:t>Insert bullet text</a:t>
              </a:r>
            </a:p>
          </p:txBody>
        </p:sp>
        <p:sp>
          <p:nvSpPr>
            <p:cNvPr id="43" name="Content Placeholder 1">
              <a:extLst>
                <a:ext uri="{FF2B5EF4-FFF2-40B4-BE49-F238E27FC236}">
                  <a16:creationId xmlns:a16="http://schemas.microsoft.com/office/drawing/2014/main" id="{1FBAB46C-8BF4-0EE3-F520-B79EEC0A99ED}"/>
                </a:ext>
              </a:extLst>
            </p:cNvPr>
            <p:cNvSpPr txBox="1">
              <a:spLocks/>
            </p:cNvSpPr>
            <p:nvPr/>
          </p:nvSpPr>
          <p:spPr>
            <a:xfrm>
              <a:off x="9086299" y="4454445"/>
              <a:ext cx="2082358" cy="579646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>
              <a:lvl1pPr marL="228600" indent="-22860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80000"/>
                <a:buFont typeface="Arial" panose="020B0604020202020204" pitchFamily="34" charset="0"/>
                <a:buChar char="►"/>
                <a:defRPr lang="en-US" sz="1800" b="1" kern="1200" dirty="0" smtClean="0">
                  <a:solidFill>
                    <a:schemeClr val="tx2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1pPr>
              <a:lvl2pPr marL="460375" indent="-1666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Font typeface="Wingdings" pitchFamily="2" charset="2"/>
                <a:buChar char="§"/>
                <a:defRPr lang="en-US" sz="1600" b="0" kern="1200" dirty="0" smtClean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2pPr>
              <a:lvl3pPr marL="801688" indent="-17303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6">
                    <a:lumMod val="75000"/>
                  </a:schemeClr>
                </a:buClr>
                <a:buFont typeface="Trebuchet MS" panose="020B0603020202020204" pitchFamily="34" charset="0"/>
                <a:buChar char="—"/>
                <a:defRPr lang="en-US" sz="1400" kern="1200" dirty="0" smtClean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3pPr>
              <a:lvl4pPr marL="1143000" indent="-168275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3"/>
                </a:buClr>
                <a:buFont typeface="Wingdings" pitchFamily="2" charset="2"/>
                <a:buChar char="§"/>
                <a:defRPr lang="en-US" sz="1400" kern="1200" dirty="0" smtClean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4pPr>
              <a:lvl5pPr marL="1484313" indent="-17145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Trebuchet MS" pitchFamily="34" charset="0"/>
                <a:buChar char="—"/>
                <a:tabLst/>
                <a:defRPr lang="en-US" sz="1200" kern="1200" dirty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98358" lvl="1" indent="-194858" eaLnBrk="0" hangingPunct="0">
                <a:spcBef>
                  <a:spcPts val="147"/>
                </a:spcBef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kern="0" dirty="0">
                  <a:latin typeface="+mn-lt"/>
                </a:rPr>
                <a:t>Insert bullet text</a:t>
              </a:r>
            </a:p>
            <a:p>
              <a:pPr marL="198358" lvl="1" indent="-194858" eaLnBrk="0" hangingPunct="0">
                <a:spcBef>
                  <a:spcPts val="147"/>
                </a:spcBef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kern="0" dirty="0">
                  <a:latin typeface="+mn-lt"/>
                </a:rPr>
                <a:t>Insert bullet text</a:t>
              </a:r>
            </a:p>
            <a:p>
              <a:pPr marL="198358" lvl="1" indent="-194858" eaLnBrk="0" hangingPunct="0">
                <a:spcBef>
                  <a:spcPts val="147"/>
                </a:spcBef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kern="0" dirty="0">
                  <a:latin typeface="+mn-lt"/>
                </a:rPr>
                <a:t>Insert bullet text</a:t>
              </a:r>
            </a:p>
          </p:txBody>
        </p:sp>
        <p:sp>
          <p:nvSpPr>
            <p:cNvPr id="44" name="Round Same Side Corner Rectangle 19">
              <a:extLst>
                <a:ext uri="{FF2B5EF4-FFF2-40B4-BE49-F238E27FC236}">
                  <a16:creationId xmlns:a16="http://schemas.microsoft.com/office/drawing/2014/main" id="{5FA38EC8-7713-F8C7-4C9C-57F3B3F42B20}"/>
                </a:ext>
              </a:extLst>
            </p:cNvPr>
            <p:cNvSpPr/>
            <p:nvPr/>
          </p:nvSpPr>
          <p:spPr>
            <a:xfrm rot="16200000">
              <a:off x="711981" y="4685407"/>
              <a:ext cx="1607744" cy="1145815"/>
            </a:xfrm>
            <a:prstGeom prst="rect">
              <a:avLst/>
            </a:prstGeom>
            <a:solidFill>
              <a:schemeClr val="accent2"/>
            </a:solidFill>
            <a:ln w="1905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vert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1200" dirty="0">
                  <a:solidFill>
                    <a:schemeClr val="bg1"/>
                  </a:solidFill>
                  <a:latin typeface="+mn-lt"/>
                </a:rPr>
                <a:t>Insert headin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8955899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E0BD19-A33C-3EBB-ACAD-8932CF4C69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9EE24CE4-6AEB-A93D-2400-644E0D3408F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EE24CE4-6AEB-A93D-2400-644E0D3408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F666915-076E-6AC1-743C-332CB88EBF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24D060FC-A599-0EA7-9B26-84F027051CAB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46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522455C-99F0-2900-00C7-D91142B1F9C4}"/>
              </a:ext>
            </a:extLst>
          </p:cNvPr>
          <p:cNvSpPr/>
          <p:nvPr/>
        </p:nvSpPr>
        <p:spPr>
          <a:xfrm>
            <a:off x="492528" y="2342319"/>
            <a:ext cx="11091340" cy="560813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F9E9947-47C9-EA09-2C68-367A8F11BCEB}"/>
              </a:ext>
            </a:extLst>
          </p:cNvPr>
          <p:cNvSpPr/>
          <p:nvPr/>
        </p:nvSpPr>
        <p:spPr>
          <a:xfrm>
            <a:off x="492528" y="3081198"/>
            <a:ext cx="11091340" cy="560813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CDDC974-D53D-E4EB-45C4-FF985B378FFA}"/>
              </a:ext>
            </a:extLst>
          </p:cNvPr>
          <p:cNvSpPr/>
          <p:nvPr/>
        </p:nvSpPr>
        <p:spPr>
          <a:xfrm>
            <a:off x="492528" y="3820077"/>
            <a:ext cx="11091340" cy="560813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588EE8C-F253-726E-F289-283F27A15FF1}"/>
              </a:ext>
            </a:extLst>
          </p:cNvPr>
          <p:cNvSpPr/>
          <p:nvPr/>
        </p:nvSpPr>
        <p:spPr>
          <a:xfrm>
            <a:off x="492528" y="4558956"/>
            <a:ext cx="11091340" cy="560813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9B9D671-3134-976C-71D9-40FB0DEAD83F}"/>
              </a:ext>
            </a:extLst>
          </p:cNvPr>
          <p:cNvSpPr/>
          <p:nvPr/>
        </p:nvSpPr>
        <p:spPr>
          <a:xfrm>
            <a:off x="492528" y="5297833"/>
            <a:ext cx="11091340" cy="560813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B9B5B3C-EA13-37A0-5869-E338C6E8BCF6}"/>
              </a:ext>
            </a:extLst>
          </p:cNvPr>
          <p:cNvSpPr/>
          <p:nvPr/>
        </p:nvSpPr>
        <p:spPr>
          <a:xfrm>
            <a:off x="492528" y="1603440"/>
            <a:ext cx="11091340" cy="560813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18633965-85E4-8718-4911-7D70E57923E0}"/>
              </a:ext>
            </a:extLst>
          </p:cNvPr>
          <p:cNvSpPr/>
          <p:nvPr/>
        </p:nvSpPr>
        <p:spPr>
          <a:xfrm>
            <a:off x="624304" y="1776124"/>
            <a:ext cx="3207434" cy="215444"/>
          </a:xfrm>
          <a:prstGeom prst="rect">
            <a:avLst/>
          </a:prstGeom>
          <a:noFill/>
          <a:ln w="12700" cap="rnd" cmpd="sng">
            <a:noFill/>
            <a:prstDash val="solid"/>
            <a:round/>
            <a:headEnd/>
            <a:tailEnd/>
          </a:ln>
          <a:effectLst/>
        </p:spPr>
        <p:txBody>
          <a:bodyPr wrap="square" lIns="0" tIns="0" rIns="0" bIns="0" anchor="ctr" anchorCtr="0">
            <a:spAutoFit/>
          </a:bodyPr>
          <a:lstStyle/>
          <a:p>
            <a:r>
              <a:rPr lang="en-US" sz="1400" b="1" dirty="0">
                <a:solidFill>
                  <a:schemeClr val="accent1"/>
                </a:solidFill>
                <a:latin typeface="+mn-lt"/>
              </a:rPr>
              <a:t>Text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26493CF-B63F-DFC6-7321-7853E78F083D}"/>
              </a:ext>
            </a:extLst>
          </p:cNvPr>
          <p:cNvSpPr/>
          <p:nvPr/>
        </p:nvSpPr>
        <p:spPr>
          <a:xfrm>
            <a:off x="624304" y="2515003"/>
            <a:ext cx="3207434" cy="215444"/>
          </a:xfrm>
          <a:prstGeom prst="rect">
            <a:avLst/>
          </a:prstGeom>
          <a:noFill/>
          <a:ln w="12700" cap="rnd" cmpd="sng">
            <a:noFill/>
            <a:prstDash val="solid"/>
            <a:round/>
            <a:headEnd/>
            <a:tailEnd/>
          </a:ln>
          <a:effectLst/>
        </p:spPr>
        <p:txBody>
          <a:bodyPr wrap="square" lIns="0" tIns="0" rIns="0" bIns="0" anchor="ctr" anchorCtr="0">
            <a:spAutoFit/>
          </a:bodyPr>
          <a:lstStyle/>
          <a:p>
            <a:r>
              <a:rPr lang="en-US" sz="1400" b="1" dirty="0">
                <a:solidFill>
                  <a:schemeClr val="accent1"/>
                </a:solidFill>
                <a:latin typeface="+mn-lt"/>
              </a:rPr>
              <a:t>Text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3C4EDB68-0E7F-7FA2-0B24-8C686AE5A477}"/>
              </a:ext>
            </a:extLst>
          </p:cNvPr>
          <p:cNvSpPr/>
          <p:nvPr/>
        </p:nvSpPr>
        <p:spPr>
          <a:xfrm>
            <a:off x="624304" y="3253882"/>
            <a:ext cx="3207434" cy="215444"/>
          </a:xfrm>
          <a:prstGeom prst="rect">
            <a:avLst/>
          </a:prstGeom>
          <a:noFill/>
          <a:ln w="12700" cap="rnd" cmpd="sng">
            <a:noFill/>
            <a:prstDash val="solid"/>
            <a:round/>
            <a:headEnd/>
            <a:tailEnd/>
          </a:ln>
          <a:effectLst/>
        </p:spPr>
        <p:txBody>
          <a:bodyPr wrap="square" lIns="0" tIns="0" rIns="0" bIns="0" anchor="ctr" anchorCtr="0">
            <a:spAutoFit/>
          </a:bodyPr>
          <a:lstStyle/>
          <a:p>
            <a:r>
              <a:rPr lang="en-US" sz="1400" b="1" dirty="0">
                <a:solidFill>
                  <a:schemeClr val="accent1"/>
                </a:solidFill>
                <a:latin typeface="+mn-lt"/>
              </a:rPr>
              <a:t>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1535854D-A9E2-9098-7FC4-75F80DC4B11B}"/>
              </a:ext>
            </a:extLst>
          </p:cNvPr>
          <p:cNvSpPr/>
          <p:nvPr/>
        </p:nvSpPr>
        <p:spPr>
          <a:xfrm>
            <a:off x="624304" y="3992761"/>
            <a:ext cx="3207434" cy="215444"/>
          </a:xfrm>
          <a:prstGeom prst="rect">
            <a:avLst/>
          </a:prstGeom>
          <a:noFill/>
          <a:ln w="12700" cap="rnd" cmpd="sng">
            <a:noFill/>
            <a:prstDash val="solid"/>
            <a:round/>
            <a:headEnd/>
            <a:tailEnd/>
          </a:ln>
          <a:effectLst/>
        </p:spPr>
        <p:txBody>
          <a:bodyPr wrap="square" lIns="0" tIns="0" rIns="0" bIns="0" anchor="ctr" anchorCtr="0">
            <a:spAutoFit/>
          </a:bodyPr>
          <a:lstStyle/>
          <a:p>
            <a:r>
              <a:rPr lang="en-US" sz="1400" b="1" dirty="0">
                <a:solidFill>
                  <a:schemeClr val="accent1"/>
                </a:solidFill>
                <a:latin typeface="+mn-lt"/>
              </a:rPr>
              <a:t>Text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AAC79F5C-D98A-0C08-6036-4F6C237DC253}"/>
              </a:ext>
            </a:extLst>
          </p:cNvPr>
          <p:cNvSpPr/>
          <p:nvPr/>
        </p:nvSpPr>
        <p:spPr>
          <a:xfrm>
            <a:off x="624304" y="4731640"/>
            <a:ext cx="3207434" cy="215444"/>
          </a:xfrm>
          <a:prstGeom prst="rect">
            <a:avLst/>
          </a:prstGeom>
          <a:noFill/>
          <a:ln w="12700" cap="rnd" cmpd="sng">
            <a:noFill/>
            <a:prstDash val="solid"/>
            <a:round/>
            <a:headEnd/>
            <a:tailEnd/>
          </a:ln>
          <a:effectLst/>
        </p:spPr>
        <p:txBody>
          <a:bodyPr wrap="square" lIns="0" tIns="0" rIns="0" bIns="0" anchor="ctr" anchorCtr="0">
            <a:spAutoFit/>
          </a:bodyPr>
          <a:lstStyle/>
          <a:p>
            <a:r>
              <a:rPr lang="en-US" sz="1400" b="1" dirty="0">
                <a:solidFill>
                  <a:schemeClr val="accent1"/>
                </a:solidFill>
                <a:latin typeface="+mn-lt"/>
              </a:rPr>
              <a:t>Text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270A08D1-E21C-2B08-C95A-3072A272EFC8}"/>
              </a:ext>
            </a:extLst>
          </p:cNvPr>
          <p:cNvSpPr/>
          <p:nvPr/>
        </p:nvSpPr>
        <p:spPr>
          <a:xfrm>
            <a:off x="624304" y="5470517"/>
            <a:ext cx="3207434" cy="215444"/>
          </a:xfrm>
          <a:prstGeom prst="rect">
            <a:avLst/>
          </a:prstGeom>
          <a:noFill/>
          <a:ln w="12700" cap="rnd" cmpd="sng">
            <a:noFill/>
            <a:prstDash val="solid"/>
            <a:round/>
            <a:headEnd/>
            <a:tailEnd/>
          </a:ln>
          <a:effectLst/>
        </p:spPr>
        <p:txBody>
          <a:bodyPr wrap="square" lIns="0" tIns="0" rIns="0" bIns="0" anchor="ctr" anchorCtr="0">
            <a:spAutoFit/>
          </a:bodyPr>
          <a:lstStyle/>
          <a:p>
            <a:r>
              <a:rPr lang="en-US" sz="1400" b="1" dirty="0">
                <a:solidFill>
                  <a:schemeClr val="accent1"/>
                </a:solidFill>
                <a:latin typeface="+mn-lt"/>
              </a:rPr>
              <a:t>Text</a:t>
            </a:r>
          </a:p>
        </p:txBody>
      </p:sp>
      <p:grpSp>
        <p:nvGrpSpPr>
          <p:cNvPr id="136" name="Group 135">
            <a:extLst>
              <a:ext uri="{FF2B5EF4-FFF2-40B4-BE49-F238E27FC236}">
                <a16:creationId xmlns:a16="http://schemas.microsoft.com/office/drawing/2014/main" id="{04ED0D8D-1DC2-AC3A-DF95-7115AC9B77D6}"/>
              </a:ext>
            </a:extLst>
          </p:cNvPr>
          <p:cNvGrpSpPr/>
          <p:nvPr/>
        </p:nvGrpSpPr>
        <p:grpSpPr>
          <a:xfrm>
            <a:off x="4659694" y="1258786"/>
            <a:ext cx="6613267" cy="4504704"/>
            <a:chOff x="3976787" y="1258786"/>
            <a:chExt cx="6613267" cy="4504704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ADBE5277-66F6-0F6E-E00B-8E3338EA6A86}"/>
                </a:ext>
              </a:extLst>
            </p:cNvPr>
            <p:cNvSpPr/>
            <p:nvPr/>
          </p:nvSpPr>
          <p:spPr>
            <a:xfrm>
              <a:off x="7331773" y="1258786"/>
              <a:ext cx="928468" cy="215444"/>
            </a:xfrm>
            <a:prstGeom prst="rect">
              <a:avLst/>
            </a:prstGeom>
            <a:noFill/>
            <a:ln w="12700" cap="rnd" cmpd="sng">
              <a:noFill/>
              <a:prstDash val="solid"/>
              <a:round/>
              <a:headEnd/>
              <a:tailEnd/>
            </a:ln>
            <a:effectLst/>
          </p:spPr>
          <p:txBody>
            <a:bodyPr wrap="square" lIns="0" tIns="0" rIns="0" bIns="0" anchor="ctr" anchorCtr="0">
              <a:spAutoFit/>
            </a:bodyPr>
            <a:lstStyle/>
            <a:p>
              <a:pPr algn="ctr"/>
              <a:r>
                <a:rPr lang="en-US" sz="1400" b="1" dirty="0">
                  <a:solidFill>
                    <a:schemeClr val="accent1"/>
                  </a:solidFill>
                  <a:latin typeface="+mn-lt"/>
                </a:rPr>
                <a:t>Heading 4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EA367ADC-0623-8EC2-EBAB-93FD334BDF41}"/>
                </a:ext>
              </a:extLst>
            </p:cNvPr>
            <p:cNvSpPr/>
            <p:nvPr/>
          </p:nvSpPr>
          <p:spPr>
            <a:xfrm>
              <a:off x="3976787" y="1258786"/>
              <a:ext cx="928468" cy="215444"/>
            </a:xfrm>
            <a:prstGeom prst="rect">
              <a:avLst/>
            </a:prstGeom>
            <a:noFill/>
            <a:ln w="12700" cap="rnd" cmpd="sng">
              <a:noFill/>
              <a:prstDash val="solid"/>
              <a:round/>
              <a:headEnd/>
              <a:tailEnd/>
            </a:ln>
            <a:effectLst/>
          </p:spPr>
          <p:txBody>
            <a:bodyPr wrap="square" lIns="0" tIns="0" rIns="0" bIns="0" anchor="ctr" anchorCtr="0">
              <a:spAutoFit/>
            </a:bodyPr>
            <a:lstStyle/>
            <a:p>
              <a:pPr algn="ctr"/>
              <a:r>
                <a:rPr lang="en-US" sz="1400" b="1" dirty="0">
                  <a:solidFill>
                    <a:schemeClr val="accent1"/>
                  </a:solidFill>
                  <a:latin typeface="+mn-lt"/>
                </a:rPr>
                <a:t>Heading 1</a:t>
              </a:r>
            </a:p>
          </p:txBody>
        </p: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7387EEA4-574A-D3CA-754F-22A406BEA201}"/>
                </a:ext>
              </a:extLst>
            </p:cNvPr>
            <p:cNvGrpSpPr/>
            <p:nvPr/>
          </p:nvGrpSpPr>
          <p:grpSpPr>
            <a:xfrm>
              <a:off x="4255770" y="1698595"/>
              <a:ext cx="370502" cy="370502"/>
              <a:chOff x="3551571" y="1283110"/>
              <a:chExt cx="589936" cy="589936"/>
            </a:xfrm>
          </p:grpSpPr>
          <p:sp>
            <p:nvSpPr>
              <p:cNvPr id="92" name="Oval 91">
                <a:extLst>
                  <a:ext uri="{FF2B5EF4-FFF2-40B4-BE49-F238E27FC236}">
                    <a16:creationId xmlns:a16="http://schemas.microsoft.com/office/drawing/2014/main" id="{FBD7E2DC-5A4B-D102-B599-826521D5B8AF}"/>
                  </a:ext>
                </a:extLst>
              </p:cNvPr>
              <p:cNvSpPr/>
              <p:nvPr/>
            </p:nvSpPr>
            <p:spPr>
              <a:xfrm>
                <a:off x="3551571" y="1283110"/>
                <a:ext cx="589936" cy="589936"/>
              </a:xfrm>
              <a:prstGeom prst="ellipse">
                <a:avLst/>
              </a:prstGeom>
              <a:solidFill>
                <a:srgbClr val="FF000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93" name="Freeform 280">
                <a:extLst>
                  <a:ext uri="{FF2B5EF4-FFF2-40B4-BE49-F238E27FC236}">
                    <a16:creationId xmlns:a16="http://schemas.microsoft.com/office/drawing/2014/main" id="{1ADDB4D1-2FB0-64CA-34C6-24A1195F0D2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645782" y="1380088"/>
                <a:ext cx="401514" cy="395981"/>
              </a:xfrm>
              <a:custGeom>
                <a:avLst/>
                <a:gdLst>
                  <a:gd name="T0" fmla="*/ 0 w 648"/>
                  <a:gd name="T1" fmla="*/ 131 h 618"/>
                  <a:gd name="T2" fmla="*/ 33 w 648"/>
                  <a:gd name="T3" fmla="*/ 112 h 618"/>
                  <a:gd name="T4" fmla="*/ 46 w 648"/>
                  <a:gd name="T5" fmla="*/ 119 h 618"/>
                  <a:gd name="T6" fmla="*/ 70 w 648"/>
                  <a:gd name="T7" fmla="*/ 158 h 618"/>
                  <a:gd name="T8" fmla="*/ 106 w 648"/>
                  <a:gd name="T9" fmla="*/ 110 h 618"/>
                  <a:gd name="T10" fmla="*/ 165 w 648"/>
                  <a:gd name="T11" fmla="*/ 52 h 618"/>
                  <a:gd name="T12" fmla="*/ 203 w 648"/>
                  <a:gd name="T13" fmla="*/ 21 h 618"/>
                  <a:gd name="T14" fmla="*/ 240 w 648"/>
                  <a:gd name="T15" fmla="*/ 0 h 618"/>
                  <a:gd name="T16" fmla="*/ 246 w 648"/>
                  <a:gd name="T17" fmla="*/ 9 h 618"/>
                  <a:gd name="T18" fmla="*/ 215 w 648"/>
                  <a:gd name="T19" fmla="*/ 34 h 618"/>
                  <a:gd name="T20" fmla="*/ 170 w 648"/>
                  <a:gd name="T21" fmla="*/ 80 h 618"/>
                  <a:gd name="T22" fmla="*/ 131 w 648"/>
                  <a:gd name="T23" fmla="*/ 126 h 618"/>
                  <a:gd name="T24" fmla="*/ 89 w 648"/>
                  <a:gd name="T25" fmla="*/ 194 h 618"/>
                  <a:gd name="T26" fmla="*/ 55 w 648"/>
                  <a:gd name="T27" fmla="*/ 216 h 618"/>
                  <a:gd name="T28" fmla="*/ 31 w 648"/>
                  <a:gd name="T29" fmla="*/ 163 h 618"/>
                  <a:gd name="T30" fmla="*/ 16 w 648"/>
                  <a:gd name="T31" fmla="*/ 141 h 618"/>
                  <a:gd name="T32" fmla="*/ 0 w 648"/>
                  <a:gd name="T33" fmla="*/ 131 h 61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648" h="618">
                    <a:moveTo>
                      <a:pt x="0" y="374"/>
                    </a:moveTo>
                    <a:lnTo>
                      <a:pt x="88" y="320"/>
                    </a:lnTo>
                    <a:lnTo>
                      <a:pt x="122" y="340"/>
                    </a:lnTo>
                    <a:lnTo>
                      <a:pt x="184" y="452"/>
                    </a:lnTo>
                    <a:lnTo>
                      <a:pt x="278" y="316"/>
                    </a:lnTo>
                    <a:lnTo>
                      <a:pt x="434" y="148"/>
                    </a:lnTo>
                    <a:lnTo>
                      <a:pt x="534" y="60"/>
                    </a:lnTo>
                    <a:lnTo>
                      <a:pt x="632" y="0"/>
                    </a:lnTo>
                    <a:lnTo>
                      <a:pt x="648" y="26"/>
                    </a:lnTo>
                    <a:lnTo>
                      <a:pt x="566" y="98"/>
                    </a:lnTo>
                    <a:lnTo>
                      <a:pt x="448" y="230"/>
                    </a:lnTo>
                    <a:lnTo>
                      <a:pt x="346" y="360"/>
                    </a:lnTo>
                    <a:lnTo>
                      <a:pt x="234" y="554"/>
                    </a:lnTo>
                    <a:lnTo>
                      <a:pt x="144" y="618"/>
                    </a:lnTo>
                    <a:lnTo>
                      <a:pt x="82" y="466"/>
                    </a:lnTo>
                    <a:lnTo>
                      <a:pt x="42" y="404"/>
                    </a:lnTo>
                    <a:lnTo>
                      <a:pt x="0" y="374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9776285B-6646-BAF9-B40F-DA6C0AE16629}"/>
                </a:ext>
              </a:extLst>
            </p:cNvPr>
            <p:cNvGrpSpPr/>
            <p:nvPr/>
          </p:nvGrpSpPr>
          <p:grpSpPr>
            <a:xfrm>
              <a:off x="7610756" y="1698595"/>
              <a:ext cx="370502" cy="370502"/>
              <a:chOff x="3551571" y="1283110"/>
              <a:chExt cx="589936" cy="589936"/>
            </a:xfrm>
          </p:grpSpPr>
          <p:sp>
            <p:nvSpPr>
              <p:cNvPr id="86" name="Oval 85">
                <a:extLst>
                  <a:ext uri="{FF2B5EF4-FFF2-40B4-BE49-F238E27FC236}">
                    <a16:creationId xmlns:a16="http://schemas.microsoft.com/office/drawing/2014/main" id="{65B342C0-433C-1ABB-D06D-A32B68B04652}"/>
                  </a:ext>
                </a:extLst>
              </p:cNvPr>
              <p:cNvSpPr/>
              <p:nvPr/>
            </p:nvSpPr>
            <p:spPr>
              <a:xfrm>
                <a:off x="3551571" y="1283110"/>
                <a:ext cx="589936" cy="589936"/>
              </a:xfrm>
              <a:prstGeom prst="ellipse">
                <a:avLst/>
              </a:prstGeom>
              <a:solidFill>
                <a:srgbClr val="FF000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87" name="Freeform 280">
                <a:extLst>
                  <a:ext uri="{FF2B5EF4-FFF2-40B4-BE49-F238E27FC236}">
                    <a16:creationId xmlns:a16="http://schemas.microsoft.com/office/drawing/2014/main" id="{390A0F27-533D-983D-A274-E47CBF88F88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645782" y="1380088"/>
                <a:ext cx="401514" cy="395981"/>
              </a:xfrm>
              <a:custGeom>
                <a:avLst/>
                <a:gdLst>
                  <a:gd name="T0" fmla="*/ 0 w 648"/>
                  <a:gd name="T1" fmla="*/ 131 h 618"/>
                  <a:gd name="T2" fmla="*/ 33 w 648"/>
                  <a:gd name="T3" fmla="*/ 112 h 618"/>
                  <a:gd name="T4" fmla="*/ 46 w 648"/>
                  <a:gd name="T5" fmla="*/ 119 h 618"/>
                  <a:gd name="T6" fmla="*/ 70 w 648"/>
                  <a:gd name="T7" fmla="*/ 158 h 618"/>
                  <a:gd name="T8" fmla="*/ 106 w 648"/>
                  <a:gd name="T9" fmla="*/ 110 h 618"/>
                  <a:gd name="T10" fmla="*/ 165 w 648"/>
                  <a:gd name="T11" fmla="*/ 52 h 618"/>
                  <a:gd name="T12" fmla="*/ 203 w 648"/>
                  <a:gd name="T13" fmla="*/ 21 h 618"/>
                  <a:gd name="T14" fmla="*/ 240 w 648"/>
                  <a:gd name="T15" fmla="*/ 0 h 618"/>
                  <a:gd name="T16" fmla="*/ 246 w 648"/>
                  <a:gd name="T17" fmla="*/ 9 h 618"/>
                  <a:gd name="T18" fmla="*/ 215 w 648"/>
                  <a:gd name="T19" fmla="*/ 34 h 618"/>
                  <a:gd name="T20" fmla="*/ 170 w 648"/>
                  <a:gd name="T21" fmla="*/ 80 h 618"/>
                  <a:gd name="T22" fmla="*/ 131 w 648"/>
                  <a:gd name="T23" fmla="*/ 126 h 618"/>
                  <a:gd name="T24" fmla="*/ 89 w 648"/>
                  <a:gd name="T25" fmla="*/ 194 h 618"/>
                  <a:gd name="T26" fmla="*/ 55 w 648"/>
                  <a:gd name="T27" fmla="*/ 216 h 618"/>
                  <a:gd name="T28" fmla="*/ 31 w 648"/>
                  <a:gd name="T29" fmla="*/ 163 h 618"/>
                  <a:gd name="T30" fmla="*/ 16 w 648"/>
                  <a:gd name="T31" fmla="*/ 141 h 618"/>
                  <a:gd name="T32" fmla="*/ 0 w 648"/>
                  <a:gd name="T33" fmla="*/ 131 h 61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648" h="618">
                    <a:moveTo>
                      <a:pt x="0" y="374"/>
                    </a:moveTo>
                    <a:lnTo>
                      <a:pt x="88" y="320"/>
                    </a:lnTo>
                    <a:lnTo>
                      <a:pt x="122" y="340"/>
                    </a:lnTo>
                    <a:lnTo>
                      <a:pt x="184" y="452"/>
                    </a:lnTo>
                    <a:lnTo>
                      <a:pt x="278" y="316"/>
                    </a:lnTo>
                    <a:lnTo>
                      <a:pt x="434" y="148"/>
                    </a:lnTo>
                    <a:lnTo>
                      <a:pt x="534" y="60"/>
                    </a:lnTo>
                    <a:lnTo>
                      <a:pt x="632" y="0"/>
                    </a:lnTo>
                    <a:lnTo>
                      <a:pt x="648" y="26"/>
                    </a:lnTo>
                    <a:lnTo>
                      <a:pt x="566" y="98"/>
                    </a:lnTo>
                    <a:lnTo>
                      <a:pt x="448" y="230"/>
                    </a:lnTo>
                    <a:lnTo>
                      <a:pt x="346" y="360"/>
                    </a:lnTo>
                    <a:lnTo>
                      <a:pt x="234" y="554"/>
                    </a:lnTo>
                    <a:lnTo>
                      <a:pt x="144" y="618"/>
                    </a:lnTo>
                    <a:lnTo>
                      <a:pt x="82" y="466"/>
                    </a:lnTo>
                    <a:lnTo>
                      <a:pt x="42" y="404"/>
                    </a:lnTo>
                    <a:lnTo>
                      <a:pt x="0" y="374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AD6F0C30-E44E-BECB-1950-67682CC33613}"/>
                </a:ext>
              </a:extLst>
            </p:cNvPr>
            <p:cNvGrpSpPr/>
            <p:nvPr/>
          </p:nvGrpSpPr>
          <p:grpSpPr>
            <a:xfrm>
              <a:off x="4255770" y="2437474"/>
              <a:ext cx="370502" cy="370502"/>
              <a:chOff x="3551571" y="1283110"/>
              <a:chExt cx="589936" cy="589936"/>
            </a:xfrm>
          </p:grpSpPr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D32E07A9-712F-BAD3-82F5-BE886F61467A}"/>
                  </a:ext>
                </a:extLst>
              </p:cNvPr>
              <p:cNvSpPr/>
              <p:nvPr/>
            </p:nvSpPr>
            <p:spPr>
              <a:xfrm>
                <a:off x="3551571" y="1283110"/>
                <a:ext cx="589936" cy="589936"/>
              </a:xfrm>
              <a:prstGeom prst="ellipse">
                <a:avLst/>
              </a:prstGeom>
              <a:solidFill>
                <a:srgbClr val="FF000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85" name="Freeform 280">
                <a:extLst>
                  <a:ext uri="{FF2B5EF4-FFF2-40B4-BE49-F238E27FC236}">
                    <a16:creationId xmlns:a16="http://schemas.microsoft.com/office/drawing/2014/main" id="{3C1545A4-9178-932F-380E-6030DDF5E2E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645782" y="1380088"/>
                <a:ext cx="401514" cy="395981"/>
              </a:xfrm>
              <a:custGeom>
                <a:avLst/>
                <a:gdLst>
                  <a:gd name="T0" fmla="*/ 0 w 648"/>
                  <a:gd name="T1" fmla="*/ 131 h 618"/>
                  <a:gd name="T2" fmla="*/ 33 w 648"/>
                  <a:gd name="T3" fmla="*/ 112 h 618"/>
                  <a:gd name="T4" fmla="*/ 46 w 648"/>
                  <a:gd name="T5" fmla="*/ 119 h 618"/>
                  <a:gd name="T6" fmla="*/ 70 w 648"/>
                  <a:gd name="T7" fmla="*/ 158 h 618"/>
                  <a:gd name="T8" fmla="*/ 106 w 648"/>
                  <a:gd name="T9" fmla="*/ 110 h 618"/>
                  <a:gd name="T10" fmla="*/ 165 w 648"/>
                  <a:gd name="T11" fmla="*/ 52 h 618"/>
                  <a:gd name="T12" fmla="*/ 203 w 648"/>
                  <a:gd name="T13" fmla="*/ 21 h 618"/>
                  <a:gd name="T14" fmla="*/ 240 w 648"/>
                  <a:gd name="T15" fmla="*/ 0 h 618"/>
                  <a:gd name="T16" fmla="*/ 246 w 648"/>
                  <a:gd name="T17" fmla="*/ 9 h 618"/>
                  <a:gd name="T18" fmla="*/ 215 w 648"/>
                  <a:gd name="T19" fmla="*/ 34 h 618"/>
                  <a:gd name="T20" fmla="*/ 170 w 648"/>
                  <a:gd name="T21" fmla="*/ 80 h 618"/>
                  <a:gd name="T22" fmla="*/ 131 w 648"/>
                  <a:gd name="T23" fmla="*/ 126 h 618"/>
                  <a:gd name="T24" fmla="*/ 89 w 648"/>
                  <a:gd name="T25" fmla="*/ 194 h 618"/>
                  <a:gd name="T26" fmla="*/ 55 w 648"/>
                  <a:gd name="T27" fmla="*/ 216 h 618"/>
                  <a:gd name="T28" fmla="*/ 31 w 648"/>
                  <a:gd name="T29" fmla="*/ 163 h 618"/>
                  <a:gd name="T30" fmla="*/ 16 w 648"/>
                  <a:gd name="T31" fmla="*/ 141 h 618"/>
                  <a:gd name="T32" fmla="*/ 0 w 648"/>
                  <a:gd name="T33" fmla="*/ 131 h 61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648" h="618">
                    <a:moveTo>
                      <a:pt x="0" y="374"/>
                    </a:moveTo>
                    <a:lnTo>
                      <a:pt x="88" y="320"/>
                    </a:lnTo>
                    <a:lnTo>
                      <a:pt x="122" y="340"/>
                    </a:lnTo>
                    <a:lnTo>
                      <a:pt x="184" y="452"/>
                    </a:lnTo>
                    <a:lnTo>
                      <a:pt x="278" y="316"/>
                    </a:lnTo>
                    <a:lnTo>
                      <a:pt x="434" y="148"/>
                    </a:lnTo>
                    <a:lnTo>
                      <a:pt x="534" y="60"/>
                    </a:lnTo>
                    <a:lnTo>
                      <a:pt x="632" y="0"/>
                    </a:lnTo>
                    <a:lnTo>
                      <a:pt x="648" y="26"/>
                    </a:lnTo>
                    <a:lnTo>
                      <a:pt x="566" y="98"/>
                    </a:lnTo>
                    <a:lnTo>
                      <a:pt x="448" y="230"/>
                    </a:lnTo>
                    <a:lnTo>
                      <a:pt x="346" y="360"/>
                    </a:lnTo>
                    <a:lnTo>
                      <a:pt x="234" y="554"/>
                    </a:lnTo>
                    <a:lnTo>
                      <a:pt x="144" y="618"/>
                    </a:lnTo>
                    <a:lnTo>
                      <a:pt x="82" y="466"/>
                    </a:lnTo>
                    <a:lnTo>
                      <a:pt x="42" y="404"/>
                    </a:lnTo>
                    <a:lnTo>
                      <a:pt x="0" y="374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ED523C95-18C5-E023-01B5-804595EC92EB}"/>
                </a:ext>
              </a:extLst>
            </p:cNvPr>
            <p:cNvGrpSpPr/>
            <p:nvPr/>
          </p:nvGrpSpPr>
          <p:grpSpPr>
            <a:xfrm>
              <a:off x="7610756" y="2437474"/>
              <a:ext cx="370502" cy="370502"/>
              <a:chOff x="3551571" y="1283110"/>
              <a:chExt cx="589936" cy="589936"/>
            </a:xfrm>
          </p:grpSpPr>
          <p:sp>
            <p:nvSpPr>
              <p:cNvPr id="78" name="Oval 77">
                <a:extLst>
                  <a:ext uri="{FF2B5EF4-FFF2-40B4-BE49-F238E27FC236}">
                    <a16:creationId xmlns:a16="http://schemas.microsoft.com/office/drawing/2014/main" id="{D120B2D1-ADB0-2FC5-80F4-EA1E56765AFF}"/>
                  </a:ext>
                </a:extLst>
              </p:cNvPr>
              <p:cNvSpPr/>
              <p:nvPr/>
            </p:nvSpPr>
            <p:spPr>
              <a:xfrm>
                <a:off x="3551571" y="1283110"/>
                <a:ext cx="589936" cy="589936"/>
              </a:xfrm>
              <a:prstGeom prst="ellipse">
                <a:avLst/>
              </a:prstGeom>
              <a:solidFill>
                <a:srgbClr val="FF000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79" name="Freeform 280">
                <a:extLst>
                  <a:ext uri="{FF2B5EF4-FFF2-40B4-BE49-F238E27FC236}">
                    <a16:creationId xmlns:a16="http://schemas.microsoft.com/office/drawing/2014/main" id="{04804888-6E37-4227-7D53-60C3586EB2D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645782" y="1380088"/>
                <a:ext cx="401514" cy="395981"/>
              </a:xfrm>
              <a:custGeom>
                <a:avLst/>
                <a:gdLst>
                  <a:gd name="T0" fmla="*/ 0 w 648"/>
                  <a:gd name="T1" fmla="*/ 131 h 618"/>
                  <a:gd name="T2" fmla="*/ 33 w 648"/>
                  <a:gd name="T3" fmla="*/ 112 h 618"/>
                  <a:gd name="T4" fmla="*/ 46 w 648"/>
                  <a:gd name="T5" fmla="*/ 119 h 618"/>
                  <a:gd name="T6" fmla="*/ 70 w 648"/>
                  <a:gd name="T7" fmla="*/ 158 h 618"/>
                  <a:gd name="T8" fmla="*/ 106 w 648"/>
                  <a:gd name="T9" fmla="*/ 110 h 618"/>
                  <a:gd name="T10" fmla="*/ 165 w 648"/>
                  <a:gd name="T11" fmla="*/ 52 h 618"/>
                  <a:gd name="T12" fmla="*/ 203 w 648"/>
                  <a:gd name="T13" fmla="*/ 21 h 618"/>
                  <a:gd name="T14" fmla="*/ 240 w 648"/>
                  <a:gd name="T15" fmla="*/ 0 h 618"/>
                  <a:gd name="T16" fmla="*/ 246 w 648"/>
                  <a:gd name="T17" fmla="*/ 9 h 618"/>
                  <a:gd name="T18" fmla="*/ 215 w 648"/>
                  <a:gd name="T19" fmla="*/ 34 h 618"/>
                  <a:gd name="T20" fmla="*/ 170 w 648"/>
                  <a:gd name="T21" fmla="*/ 80 h 618"/>
                  <a:gd name="T22" fmla="*/ 131 w 648"/>
                  <a:gd name="T23" fmla="*/ 126 h 618"/>
                  <a:gd name="T24" fmla="*/ 89 w 648"/>
                  <a:gd name="T25" fmla="*/ 194 h 618"/>
                  <a:gd name="T26" fmla="*/ 55 w 648"/>
                  <a:gd name="T27" fmla="*/ 216 h 618"/>
                  <a:gd name="T28" fmla="*/ 31 w 648"/>
                  <a:gd name="T29" fmla="*/ 163 h 618"/>
                  <a:gd name="T30" fmla="*/ 16 w 648"/>
                  <a:gd name="T31" fmla="*/ 141 h 618"/>
                  <a:gd name="T32" fmla="*/ 0 w 648"/>
                  <a:gd name="T33" fmla="*/ 131 h 61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648" h="618">
                    <a:moveTo>
                      <a:pt x="0" y="374"/>
                    </a:moveTo>
                    <a:lnTo>
                      <a:pt x="88" y="320"/>
                    </a:lnTo>
                    <a:lnTo>
                      <a:pt x="122" y="340"/>
                    </a:lnTo>
                    <a:lnTo>
                      <a:pt x="184" y="452"/>
                    </a:lnTo>
                    <a:lnTo>
                      <a:pt x="278" y="316"/>
                    </a:lnTo>
                    <a:lnTo>
                      <a:pt x="434" y="148"/>
                    </a:lnTo>
                    <a:lnTo>
                      <a:pt x="534" y="60"/>
                    </a:lnTo>
                    <a:lnTo>
                      <a:pt x="632" y="0"/>
                    </a:lnTo>
                    <a:lnTo>
                      <a:pt x="648" y="26"/>
                    </a:lnTo>
                    <a:lnTo>
                      <a:pt x="566" y="98"/>
                    </a:lnTo>
                    <a:lnTo>
                      <a:pt x="448" y="230"/>
                    </a:lnTo>
                    <a:lnTo>
                      <a:pt x="346" y="360"/>
                    </a:lnTo>
                    <a:lnTo>
                      <a:pt x="234" y="554"/>
                    </a:lnTo>
                    <a:lnTo>
                      <a:pt x="144" y="618"/>
                    </a:lnTo>
                    <a:lnTo>
                      <a:pt x="82" y="466"/>
                    </a:lnTo>
                    <a:lnTo>
                      <a:pt x="42" y="404"/>
                    </a:lnTo>
                    <a:lnTo>
                      <a:pt x="0" y="374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EA9DDACF-CE3D-2EC5-EE59-C076C7EF92FD}"/>
                </a:ext>
              </a:extLst>
            </p:cNvPr>
            <p:cNvGrpSpPr/>
            <p:nvPr/>
          </p:nvGrpSpPr>
          <p:grpSpPr>
            <a:xfrm>
              <a:off x="4255770" y="3176353"/>
              <a:ext cx="370502" cy="370502"/>
              <a:chOff x="3551571" y="1283110"/>
              <a:chExt cx="589936" cy="589936"/>
            </a:xfrm>
          </p:grpSpPr>
          <p:sp>
            <p:nvSpPr>
              <p:cNvPr id="76" name="Oval 75">
                <a:extLst>
                  <a:ext uri="{FF2B5EF4-FFF2-40B4-BE49-F238E27FC236}">
                    <a16:creationId xmlns:a16="http://schemas.microsoft.com/office/drawing/2014/main" id="{279348C6-673A-9377-534C-E1F0CD0CB8E3}"/>
                  </a:ext>
                </a:extLst>
              </p:cNvPr>
              <p:cNvSpPr/>
              <p:nvPr/>
            </p:nvSpPr>
            <p:spPr>
              <a:xfrm>
                <a:off x="3551571" y="1283110"/>
                <a:ext cx="589936" cy="589936"/>
              </a:xfrm>
              <a:prstGeom prst="ellipse">
                <a:avLst/>
              </a:prstGeom>
              <a:solidFill>
                <a:srgbClr val="FF000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77" name="Freeform 280">
                <a:extLst>
                  <a:ext uri="{FF2B5EF4-FFF2-40B4-BE49-F238E27FC236}">
                    <a16:creationId xmlns:a16="http://schemas.microsoft.com/office/drawing/2014/main" id="{5099C67C-6FDD-6E39-6E12-C5E354DF2EE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645782" y="1380088"/>
                <a:ext cx="401514" cy="395981"/>
              </a:xfrm>
              <a:custGeom>
                <a:avLst/>
                <a:gdLst>
                  <a:gd name="T0" fmla="*/ 0 w 648"/>
                  <a:gd name="T1" fmla="*/ 131 h 618"/>
                  <a:gd name="T2" fmla="*/ 33 w 648"/>
                  <a:gd name="T3" fmla="*/ 112 h 618"/>
                  <a:gd name="T4" fmla="*/ 46 w 648"/>
                  <a:gd name="T5" fmla="*/ 119 h 618"/>
                  <a:gd name="T6" fmla="*/ 70 w 648"/>
                  <a:gd name="T7" fmla="*/ 158 h 618"/>
                  <a:gd name="T8" fmla="*/ 106 w 648"/>
                  <a:gd name="T9" fmla="*/ 110 h 618"/>
                  <a:gd name="T10" fmla="*/ 165 w 648"/>
                  <a:gd name="T11" fmla="*/ 52 h 618"/>
                  <a:gd name="T12" fmla="*/ 203 w 648"/>
                  <a:gd name="T13" fmla="*/ 21 h 618"/>
                  <a:gd name="T14" fmla="*/ 240 w 648"/>
                  <a:gd name="T15" fmla="*/ 0 h 618"/>
                  <a:gd name="T16" fmla="*/ 246 w 648"/>
                  <a:gd name="T17" fmla="*/ 9 h 618"/>
                  <a:gd name="T18" fmla="*/ 215 w 648"/>
                  <a:gd name="T19" fmla="*/ 34 h 618"/>
                  <a:gd name="T20" fmla="*/ 170 w 648"/>
                  <a:gd name="T21" fmla="*/ 80 h 618"/>
                  <a:gd name="T22" fmla="*/ 131 w 648"/>
                  <a:gd name="T23" fmla="*/ 126 h 618"/>
                  <a:gd name="T24" fmla="*/ 89 w 648"/>
                  <a:gd name="T25" fmla="*/ 194 h 618"/>
                  <a:gd name="T26" fmla="*/ 55 w 648"/>
                  <a:gd name="T27" fmla="*/ 216 h 618"/>
                  <a:gd name="T28" fmla="*/ 31 w 648"/>
                  <a:gd name="T29" fmla="*/ 163 h 618"/>
                  <a:gd name="T30" fmla="*/ 16 w 648"/>
                  <a:gd name="T31" fmla="*/ 141 h 618"/>
                  <a:gd name="T32" fmla="*/ 0 w 648"/>
                  <a:gd name="T33" fmla="*/ 131 h 61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648" h="618">
                    <a:moveTo>
                      <a:pt x="0" y="374"/>
                    </a:moveTo>
                    <a:lnTo>
                      <a:pt x="88" y="320"/>
                    </a:lnTo>
                    <a:lnTo>
                      <a:pt x="122" y="340"/>
                    </a:lnTo>
                    <a:lnTo>
                      <a:pt x="184" y="452"/>
                    </a:lnTo>
                    <a:lnTo>
                      <a:pt x="278" y="316"/>
                    </a:lnTo>
                    <a:lnTo>
                      <a:pt x="434" y="148"/>
                    </a:lnTo>
                    <a:lnTo>
                      <a:pt x="534" y="60"/>
                    </a:lnTo>
                    <a:lnTo>
                      <a:pt x="632" y="0"/>
                    </a:lnTo>
                    <a:lnTo>
                      <a:pt x="648" y="26"/>
                    </a:lnTo>
                    <a:lnTo>
                      <a:pt x="566" y="98"/>
                    </a:lnTo>
                    <a:lnTo>
                      <a:pt x="448" y="230"/>
                    </a:lnTo>
                    <a:lnTo>
                      <a:pt x="346" y="360"/>
                    </a:lnTo>
                    <a:lnTo>
                      <a:pt x="234" y="554"/>
                    </a:lnTo>
                    <a:lnTo>
                      <a:pt x="144" y="618"/>
                    </a:lnTo>
                    <a:lnTo>
                      <a:pt x="82" y="466"/>
                    </a:lnTo>
                    <a:lnTo>
                      <a:pt x="42" y="404"/>
                    </a:lnTo>
                    <a:lnTo>
                      <a:pt x="0" y="374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443E7C98-6AC2-2AF1-D933-2A9BE8116403}"/>
                </a:ext>
              </a:extLst>
            </p:cNvPr>
            <p:cNvGrpSpPr/>
            <p:nvPr/>
          </p:nvGrpSpPr>
          <p:grpSpPr>
            <a:xfrm>
              <a:off x="7610756" y="3176353"/>
              <a:ext cx="370502" cy="370502"/>
              <a:chOff x="3551571" y="1283110"/>
              <a:chExt cx="589936" cy="589936"/>
            </a:xfrm>
          </p:grpSpPr>
          <p:sp>
            <p:nvSpPr>
              <p:cNvPr id="74" name="Oval 73">
                <a:extLst>
                  <a:ext uri="{FF2B5EF4-FFF2-40B4-BE49-F238E27FC236}">
                    <a16:creationId xmlns:a16="http://schemas.microsoft.com/office/drawing/2014/main" id="{2EC85FCA-7A77-0EC4-8D7A-7BDBDCED6473}"/>
                  </a:ext>
                </a:extLst>
              </p:cNvPr>
              <p:cNvSpPr/>
              <p:nvPr/>
            </p:nvSpPr>
            <p:spPr>
              <a:xfrm>
                <a:off x="3551571" y="1283110"/>
                <a:ext cx="589936" cy="589936"/>
              </a:xfrm>
              <a:prstGeom prst="ellipse">
                <a:avLst/>
              </a:prstGeom>
              <a:solidFill>
                <a:srgbClr val="FF000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75" name="Freeform 280">
                <a:extLst>
                  <a:ext uri="{FF2B5EF4-FFF2-40B4-BE49-F238E27FC236}">
                    <a16:creationId xmlns:a16="http://schemas.microsoft.com/office/drawing/2014/main" id="{BF545388-3F49-8D0B-9479-E2E8E9E23E8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645782" y="1380088"/>
                <a:ext cx="401514" cy="395981"/>
              </a:xfrm>
              <a:custGeom>
                <a:avLst/>
                <a:gdLst>
                  <a:gd name="T0" fmla="*/ 0 w 648"/>
                  <a:gd name="T1" fmla="*/ 131 h 618"/>
                  <a:gd name="T2" fmla="*/ 33 w 648"/>
                  <a:gd name="T3" fmla="*/ 112 h 618"/>
                  <a:gd name="T4" fmla="*/ 46 w 648"/>
                  <a:gd name="T5" fmla="*/ 119 h 618"/>
                  <a:gd name="T6" fmla="*/ 70 w 648"/>
                  <a:gd name="T7" fmla="*/ 158 h 618"/>
                  <a:gd name="T8" fmla="*/ 106 w 648"/>
                  <a:gd name="T9" fmla="*/ 110 h 618"/>
                  <a:gd name="T10" fmla="*/ 165 w 648"/>
                  <a:gd name="T11" fmla="*/ 52 h 618"/>
                  <a:gd name="T12" fmla="*/ 203 w 648"/>
                  <a:gd name="T13" fmla="*/ 21 h 618"/>
                  <a:gd name="T14" fmla="*/ 240 w 648"/>
                  <a:gd name="T15" fmla="*/ 0 h 618"/>
                  <a:gd name="T16" fmla="*/ 246 w 648"/>
                  <a:gd name="T17" fmla="*/ 9 h 618"/>
                  <a:gd name="T18" fmla="*/ 215 w 648"/>
                  <a:gd name="T19" fmla="*/ 34 h 618"/>
                  <a:gd name="T20" fmla="*/ 170 w 648"/>
                  <a:gd name="T21" fmla="*/ 80 h 618"/>
                  <a:gd name="T22" fmla="*/ 131 w 648"/>
                  <a:gd name="T23" fmla="*/ 126 h 618"/>
                  <a:gd name="T24" fmla="*/ 89 w 648"/>
                  <a:gd name="T25" fmla="*/ 194 h 618"/>
                  <a:gd name="T26" fmla="*/ 55 w 648"/>
                  <a:gd name="T27" fmla="*/ 216 h 618"/>
                  <a:gd name="T28" fmla="*/ 31 w 648"/>
                  <a:gd name="T29" fmla="*/ 163 h 618"/>
                  <a:gd name="T30" fmla="*/ 16 w 648"/>
                  <a:gd name="T31" fmla="*/ 141 h 618"/>
                  <a:gd name="T32" fmla="*/ 0 w 648"/>
                  <a:gd name="T33" fmla="*/ 131 h 61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648" h="618">
                    <a:moveTo>
                      <a:pt x="0" y="374"/>
                    </a:moveTo>
                    <a:lnTo>
                      <a:pt x="88" y="320"/>
                    </a:lnTo>
                    <a:lnTo>
                      <a:pt x="122" y="340"/>
                    </a:lnTo>
                    <a:lnTo>
                      <a:pt x="184" y="452"/>
                    </a:lnTo>
                    <a:lnTo>
                      <a:pt x="278" y="316"/>
                    </a:lnTo>
                    <a:lnTo>
                      <a:pt x="434" y="148"/>
                    </a:lnTo>
                    <a:lnTo>
                      <a:pt x="534" y="60"/>
                    </a:lnTo>
                    <a:lnTo>
                      <a:pt x="632" y="0"/>
                    </a:lnTo>
                    <a:lnTo>
                      <a:pt x="648" y="26"/>
                    </a:lnTo>
                    <a:lnTo>
                      <a:pt x="566" y="98"/>
                    </a:lnTo>
                    <a:lnTo>
                      <a:pt x="448" y="230"/>
                    </a:lnTo>
                    <a:lnTo>
                      <a:pt x="346" y="360"/>
                    </a:lnTo>
                    <a:lnTo>
                      <a:pt x="234" y="554"/>
                    </a:lnTo>
                    <a:lnTo>
                      <a:pt x="144" y="618"/>
                    </a:lnTo>
                    <a:lnTo>
                      <a:pt x="82" y="466"/>
                    </a:lnTo>
                    <a:lnTo>
                      <a:pt x="42" y="404"/>
                    </a:lnTo>
                    <a:lnTo>
                      <a:pt x="0" y="374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B74C5BD7-AB55-4C27-3CA3-8D0B23375F36}"/>
                </a:ext>
              </a:extLst>
            </p:cNvPr>
            <p:cNvGrpSpPr/>
            <p:nvPr/>
          </p:nvGrpSpPr>
          <p:grpSpPr>
            <a:xfrm>
              <a:off x="7610756" y="3915232"/>
              <a:ext cx="370502" cy="370502"/>
              <a:chOff x="3551571" y="1283110"/>
              <a:chExt cx="589936" cy="589936"/>
            </a:xfrm>
          </p:grpSpPr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F7933FFE-59C3-EACD-E75F-FE58F06F63C9}"/>
                  </a:ext>
                </a:extLst>
              </p:cNvPr>
              <p:cNvSpPr/>
              <p:nvPr/>
            </p:nvSpPr>
            <p:spPr>
              <a:xfrm>
                <a:off x="3551571" y="1283110"/>
                <a:ext cx="589936" cy="589936"/>
              </a:xfrm>
              <a:prstGeom prst="ellipse">
                <a:avLst/>
              </a:prstGeom>
              <a:solidFill>
                <a:srgbClr val="FF000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65" name="Freeform 280">
                <a:extLst>
                  <a:ext uri="{FF2B5EF4-FFF2-40B4-BE49-F238E27FC236}">
                    <a16:creationId xmlns:a16="http://schemas.microsoft.com/office/drawing/2014/main" id="{0E5199AB-C67E-7BB8-96A6-8E580F75AC1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645782" y="1380088"/>
                <a:ext cx="401514" cy="395981"/>
              </a:xfrm>
              <a:custGeom>
                <a:avLst/>
                <a:gdLst>
                  <a:gd name="T0" fmla="*/ 0 w 648"/>
                  <a:gd name="T1" fmla="*/ 131 h 618"/>
                  <a:gd name="T2" fmla="*/ 33 w 648"/>
                  <a:gd name="T3" fmla="*/ 112 h 618"/>
                  <a:gd name="T4" fmla="*/ 46 w 648"/>
                  <a:gd name="T5" fmla="*/ 119 h 618"/>
                  <a:gd name="T6" fmla="*/ 70 w 648"/>
                  <a:gd name="T7" fmla="*/ 158 h 618"/>
                  <a:gd name="T8" fmla="*/ 106 w 648"/>
                  <a:gd name="T9" fmla="*/ 110 h 618"/>
                  <a:gd name="T10" fmla="*/ 165 w 648"/>
                  <a:gd name="T11" fmla="*/ 52 h 618"/>
                  <a:gd name="T12" fmla="*/ 203 w 648"/>
                  <a:gd name="T13" fmla="*/ 21 h 618"/>
                  <a:gd name="T14" fmla="*/ 240 w 648"/>
                  <a:gd name="T15" fmla="*/ 0 h 618"/>
                  <a:gd name="T16" fmla="*/ 246 w 648"/>
                  <a:gd name="T17" fmla="*/ 9 h 618"/>
                  <a:gd name="T18" fmla="*/ 215 w 648"/>
                  <a:gd name="T19" fmla="*/ 34 h 618"/>
                  <a:gd name="T20" fmla="*/ 170 w 648"/>
                  <a:gd name="T21" fmla="*/ 80 h 618"/>
                  <a:gd name="T22" fmla="*/ 131 w 648"/>
                  <a:gd name="T23" fmla="*/ 126 h 618"/>
                  <a:gd name="T24" fmla="*/ 89 w 648"/>
                  <a:gd name="T25" fmla="*/ 194 h 618"/>
                  <a:gd name="T26" fmla="*/ 55 w 648"/>
                  <a:gd name="T27" fmla="*/ 216 h 618"/>
                  <a:gd name="T28" fmla="*/ 31 w 648"/>
                  <a:gd name="T29" fmla="*/ 163 h 618"/>
                  <a:gd name="T30" fmla="*/ 16 w 648"/>
                  <a:gd name="T31" fmla="*/ 141 h 618"/>
                  <a:gd name="T32" fmla="*/ 0 w 648"/>
                  <a:gd name="T33" fmla="*/ 131 h 61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648" h="618">
                    <a:moveTo>
                      <a:pt x="0" y="374"/>
                    </a:moveTo>
                    <a:lnTo>
                      <a:pt x="88" y="320"/>
                    </a:lnTo>
                    <a:lnTo>
                      <a:pt x="122" y="340"/>
                    </a:lnTo>
                    <a:lnTo>
                      <a:pt x="184" y="452"/>
                    </a:lnTo>
                    <a:lnTo>
                      <a:pt x="278" y="316"/>
                    </a:lnTo>
                    <a:lnTo>
                      <a:pt x="434" y="148"/>
                    </a:lnTo>
                    <a:lnTo>
                      <a:pt x="534" y="60"/>
                    </a:lnTo>
                    <a:lnTo>
                      <a:pt x="632" y="0"/>
                    </a:lnTo>
                    <a:lnTo>
                      <a:pt x="648" y="26"/>
                    </a:lnTo>
                    <a:lnTo>
                      <a:pt x="566" y="98"/>
                    </a:lnTo>
                    <a:lnTo>
                      <a:pt x="448" y="230"/>
                    </a:lnTo>
                    <a:lnTo>
                      <a:pt x="346" y="360"/>
                    </a:lnTo>
                    <a:lnTo>
                      <a:pt x="234" y="554"/>
                    </a:lnTo>
                    <a:lnTo>
                      <a:pt x="144" y="618"/>
                    </a:lnTo>
                    <a:lnTo>
                      <a:pt x="82" y="466"/>
                    </a:lnTo>
                    <a:lnTo>
                      <a:pt x="42" y="404"/>
                    </a:lnTo>
                    <a:lnTo>
                      <a:pt x="0" y="374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D6B0B135-D04A-C5CC-1FE8-7332DA923B60}"/>
                </a:ext>
              </a:extLst>
            </p:cNvPr>
            <p:cNvGrpSpPr/>
            <p:nvPr/>
          </p:nvGrpSpPr>
          <p:grpSpPr>
            <a:xfrm>
              <a:off x="4255770" y="3915232"/>
              <a:ext cx="370502" cy="370502"/>
              <a:chOff x="7577881" y="1283110"/>
              <a:chExt cx="589936" cy="589936"/>
            </a:xfrm>
          </p:grpSpPr>
          <p:sp>
            <p:nvSpPr>
              <p:cNvPr id="62" name="Oval 61">
                <a:extLst>
                  <a:ext uri="{FF2B5EF4-FFF2-40B4-BE49-F238E27FC236}">
                    <a16:creationId xmlns:a16="http://schemas.microsoft.com/office/drawing/2014/main" id="{91A92084-A15C-E618-8A28-6511E084B82F}"/>
                  </a:ext>
                </a:extLst>
              </p:cNvPr>
              <p:cNvSpPr/>
              <p:nvPr/>
            </p:nvSpPr>
            <p:spPr>
              <a:xfrm>
                <a:off x="7577881" y="1283110"/>
                <a:ext cx="589936" cy="589936"/>
              </a:xfrm>
              <a:prstGeom prst="ellipse">
                <a:avLst/>
              </a:prstGeom>
              <a:solidFill>
                <a:srgbClr val="00B05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63" name="Freeform 281">
                <a:extLst>
                  <a:ext uri="{FF2B5EF4-FFF2-40B4-BE49-F238E27FC236}">
                    <a16:creationId xmlns:a16="http://schemas.microsoft.com/office/drawing/2014/main" id="{352640A2-D079-2B97-B623-D8C90BC3E64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721173" y="1425050"/>
                <a:ext cx="303352" cy="306056"/>
              </a:xfrm>
              <a:custGeom>
                <a:avLst/>
                <a:gdLst>
                  <a:gd name="T0" fmla="*/ 33 w 336"/>
                  <a:gd name="T1" fmla="*/ 47 h 340"/>
                  <a:gd name="T2" fmla="*/ 48 w 336"/>
                  <a:gd name="T3" fmla="*/ 24 h 340"/>
                  <a:gd name="T4" fmla="*/ 71 w 336"/>
                  <a:gd name="T5" fmla="*/ 0 h 340"/>
                  <a:gd name="T6" fmla="*/ 73 w 336"/>
                  <a:gd name="T7" fmla="*/ 21 h 340"/>
                  <a:gd name="T8" fmla="*/ 82 w 336"/>
                  <a:gd name="T9" fmla="*/ 42 h 340"/>
                  <a:gd name="T10" fmla="*/ 102 w 336"/>
                  <a:gd name="T11" fmla="*/ 81 h 340"/>
                  <a:gd name="T12" fmla="*/ 119 w 336"/>
                  <a:gd name="T13" fmla="*/ 62 h 340"/>
                  <a:gd name="T14" fmla="*/ 136 w 336"/>
                  <a:gd name="T15" fmla="*/ 43 h 340"/>
                  <a:gd name="T16" fmla="*/ 161 w 336"/>
                  <a:gd name="T17" fmla="*/ 26 h 340"/>
                  <a:gd name="T18" fmla="*/ 181 w 336"/>
                  <a:gd name="T19" fmla="*/ 24 h 340"/>
                  <a:gd name="T20" fmla="*/ 200 w 336"/>
                  <a:gd name="T21" fmla="*/ 36 h 340"/>
                  <a:gd name="T22" fmla="*/ 209 w 336"/>
                  <a:gd name="T23" fmla="*/ 60 h 340"/>
                  <a:gd name="T24" fmla="*/ 196 w 336"/>
                  <a:gd name="T25" fmla="*/ 63 h 340"/>
                  <a:gd name="T26" fmla="*/ 185 w 336"/>
                  <a:gd name="T27" fmla="*/ 67 h 340"/>
                  <a:gd name="T28" fmla="*/ 136 w 336"/>
                  <a:gd name="T29" fmla="*/ 119 h 340"/>
                  <a:gd name="T30" fmla="*/ 165 w 336"/>
                  <a:gd name="T31" fmla="*/ 144 h 340"/>
                  <a:gd name="T32" fmla="*/ 190 w 336"/>
                  <a:gd name="T33" fmla="*/ 157 h 340"/>
                  <a:gd name="T34" fmla="*/ 216 w 336"/>
                  <a:gd name="T35" fmla="*/ 160 h 340"/>
                  <a:gd name="T36" fmla="*/ 209 w 336"/>
                  <a:gd name="T37" fmla="*/ 176 h 340"/>
                  <a:gd name="T38" fmla="*/ 190 w 336"/>
                  <a:gd name="T39" fmla="*/ 199 h 340"/>
                  <a:gd name="T40" fmla="*/ 172 w 336"/>
                  <a:gd name="T41" fmla="*/ 205 h 340"/>
                  <a:gd name="T42" fmla="*/ 144 w 336"/>
                  <a:gd name="T43" fmla="*/ 190 h 340"/>
                  <a:gd name="T44" fmla="*/ 107 w 336"/>
                  <a:gd name="T45" fmla="*/ 158 h 340"/>
                  <a:gd name="T46" fmla="*/ 87 w 336"/>
                  <a:gd name="T47" fmla="*/ 188 h 340"/>
                  <a:gd name="T48" fmla="*/ 65 w 336"/>
                  <a:gd name="T49" fmla="*/ 212 h 340"/>
                  <a:gd name="T50" fmla="*/ 48 w 336"/>
                  <a:gd name="T51" fmla="*/ 218 h 340"/>
                  <a:gd name="T52" fmla="*/ 21 w 336"/>
                  <a:gd name="T53" fmla="*/ 204 h 340"/>
                  <a:gd name="T54" fmla="*/ 0 w 336"/>
                  <a:gd name="T55" fmla="*/ 176 h 340"/>
                  <a:gd name="T56" fmla="*/ 23 w 336"/>
                  <a:gd name="T57" fmla="*/ 173 h 340"/>
                  <a:gd name="T58" fmla="*/ 43 w 336"/>
                  <a:gd name="T59" fmla="*/ 158 h 340"/>
                  <a:gd name="T60" fmla="*/ 72 w 336"/>
                  <a:gd name="T61" fmla="*/ 121 h 340"/>
                  <a:gd name="T62" fmla="*/ 44 w 336"/>
                  <a:gd name="T63" fmla="*/ 81 h 340"/>
                  <a:gd name="T64" fmla="*/ 37 w 336"/>
                  <a:gd name="T65" fmla="*/ 63 h 340"/>
                  <a:gd name="T66" fmla="*/ 33 w 336"/>
                  <a:gd name="T67" fmla="*/ 47 h 340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336" h="340">
                    <a:moveTo>
                      <a:pt x="51" y="74"/>
                    </a:moveTo>
                    <a:lnTo>
                      <a:pt x="75" y="37"/>
                    </a:lnTo>
                    <a:lnTo>
                      <a:pt x="111" y="0"/>
                    </a:lnTo>
                    <a:lnTo>
                      <a:pt x="113" y="33"/>
                    </a:lnTo>
                    <a:lnTo>
                      <a:pt x="127" y="66"/>
                    </a:lnTo>
                    <a:lnTo>
                      <a:pt x="159" y="126"/>
                    </a:lnTo>
                    <a:lnTo>
                      <a:pt x="185" y="97"/>
                    </a:lnTo>
                    <a:lnTo>
                      <a:pt x="212" y="67"/>
                    </a:lnTo>
                    <a:lnTo>
                      <a:pt x="250" y="40"/>
                    </a:lnTo>
                    <a:lnTo>
                      <a:pt x="281" y="37"/>
                    </a:lnTo>
                    <a:lnTo>
                      <a:pt x="311" y="56"/>
                    </a:lnTo>
                    <a:lnTo>
                      <a:pt x="325" y="94"/>
                    </a:lnTo>
                    <a:lnTo>
                      <a:pt x="305" y="99"/>
                    </a:lnTo>
                    <a:lnTo>
                      <a:pt x="288" y="104"/>
                    </a:lnTo>
                    <a:lnTo>
                      <a:pt x="212" y="185"/>
                    </a:lnTo>
                    <a:lnTo>
                      <a:pt x="257" y="224"/>
                    </a:lnTo>
                    <a:lnTo>
                      <a:pt x="296" y="245"/>
                    </a:lnTo>
                    <a:lnTo>
                      <a:pt x="336" y="250"/>
                    </a:lnTo>
                    <a:lnTo>
                      <a:pt x="325" y="275"/>
                    </a:lnTo>
                    <a:lnTo>
                      <a:pt x="296" y="310"/>
                    </a:lnTo>
                    <a:lnTo>
                      <a:pt x="267" y="319"/>
                    </a:lnTo>
                    <a:lnTo>
                      <a:pt x="224" y="297"/>
                    </a:lnTo>
                    <a:lnTo>
                      <a:pt x="167" y="247"/>
                    </a:lnTo>
                    <a:lnTo>
                      <a:pt x="135" y="293"/>
                    </a:lnTo>
                    <a:lnTo>
                      <a:pt x="101" y="330"/>
                    </a:lnTo>
                    <a:lnTo>
                      <a:pt x="74" y="340"/>
                    </a:lnTo>
                    <a:lnTo>
                      <a:pt x="33" y="318"/>
                    </a:lnTo>
                    <a:lnTo>
                      <a:pt x="0" y="274"/>
                    </a:lnTo>
                    <a:lnTo>
                      <a:pt x="35" y="270"/>
                    </a:lnTo>
                    <a:lnTo>
                      <a:pt x="67" y="247"/>
                    </a:lnTo>
                    <a:lnTo>
                      <a:pt x="112" y="188"/>
                    </a:lnTo>
                    <a:lnTo>
                      <a:pt x="69" y="127"/>
                    </a:lnTo>
                    <a:lnTo>
                      <a:pt x="57" y="99"/>
                    </a:lnTo>
                    <a:lnTo>
                      <a:pt x="51" y="74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EE780DE3-6137-BEF1-EBF7-7C711152C5E2}"/>
                </a:ext>
              </a:extLst>
            </p:cNvPr>
            <p:cNvGrpSpPr/>
            <p:nvPr/>
          </p:nvGrpSpPr>
          <p:grpSpPr>
            <a:xfrm>
              <a:off x="7610756" y="4654111"/>
              <a:ext cx="370502" cy="370502"/>
              <a:chOff x="3551571" y="1283110"/>
              <a:chExt cx="589936" cy="589936"/>
            </a:xfrm>
          </p:grpSpPr>
          <p:sp>
            <p:nvSpPr>
              <p:cNvPr id="56" name="Oval 55">
                <a:extLst>
                  <a:ext uri="{FF2B5EF4-FFF2-40B4-BE49-F238E27FC236}">
                    <a16:creationId xmlns:a16="http://schemas.microsoft.com/office/drawing/2014/main" id="{B2ABDE2D-DD86-45FF-A27C-1CCC402248D5}"/>
                  </a:ext>
                </a:extLst>
              </p:cNvPr>
              <p:cNvSpPr/>
              <p:nvPr/>
            </p:nvSpPr>
            <p:spPr>
              <a:xfrm>
                <a:off x="3551571" y="1283110"/>
                <a:ext cx="589936" cy="589936"/>
              </a:xfrm>
              <a:prstGeom prst="ellipse">
                <a:avLst/>
              </a:prstGeom>
              <a:solidFill>
                <a:srgbClr val="FF000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57" name="Freeform 280">
                <a:extLst>
                  <a:ext uri="{FF2B5EF4-FFF2-40B4-BE49-F238E27FC236}">
                    <a16:creationId xmlns:a16="http://schemas.microsoft.com/office/drawing/2014/main" id="{2F644159-3C16-A2A9-0028-ED13558710C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645782" y="1380088"/>
                <a:ext cx="401514" cy="395981"/>
              </a:xfrm>
              <a:custGeom>
                <a:avLst/>
                <a:gdLst>
                  <a:gd name="T0" fmla="*/ 0 w 648"/>
                  <a:gd name="T1" fmla="*/ 131 h 618"/>
                  <a:gd name="T2" fmla="*/ 33 w 648"/>
                  <a:gd name="T3" fmla="*/ 112 h 618"/>
                  <a:gd name="T4" fmla="*/ 46 w 648"/>
                  <a:gd name="T5" fmla="*/ 119 h 618"/>
                  <a:gd name="T6" fmla="*/ 70 w 648"/>
                  <a:gd name="T7" fmla="*/ 158 h 618"/>
                  <a:gd name="T8" fmla="*/ 106 w 648"/>
                  <a:gd name="T9" fmla="*/ 110 h 618"/>
                  <a:gd name="T10" fmla="*/ 165 w 648"/>
                  <a:gd name="T11" fmla="*/ 52 h 618"/>
                  <a:gd name="T12" fmla="*/ 203 w 648"/>
                  <a:gd name="T13" fmla="*/ 21 h 618"/>
                  <a:gd name="T14" fmla="*/ 240 w 648"/>
                  <a:gd name="T15" fmla="*/ 0 h 618"/>
                  <a:gd name="T16" fmla="*/ 246 w 648"/>
                  <a:gd name="T17" fmla="*/ 9 h 618"/>
                  <a:gd name="T18" fmla="*/ 215 w 648"/>
                  <a:gd name="T19" fmla="*/ 34 h 618"/>
                  <a:gd name="T20" fmla="*/ 170 w 648"/>
                  <a:gd name="T21" fmla="*/ 80 h 618"/>
                  <a:gd name="T22" fmla="*/ 131 w 648"/>
                  <a:gd name="T23" fmla="*/ 126 h 618"/>
                  <a:gd name="T24" fmla="*/ 89 w 648"/>
                  <a:gd name="T25" fmla="*/ 194 h 618"/>
                  <a:gd name="T26" fmla="*/ 55 w 648"/>
                  <a:gd name="T27" fmla="*/ 216 h 618"/>
                  <a:gd name="T28" fmla="*/ 31 w 648"/>
                  <a:gd name="T29" fmla="*/ 163 h 618"/>
                  <a:gd name="T30" fmla="*/ 16 w 648"/>
                  <a:gd name="T31" fmla="*/ 141 h 618"/>
                  <a:gd name="T32" fmla="*/ 0 w 648"/>
                  <a:gd name="T33" fmla="*/ 131 h 61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648" h="618">
                    <a:moveTo>
                      <a:pt x="0" y="374"/>
                    </a:moveTo>
                    <a:lnTo>
                      <a:pt x="88" y="320"/>
                    </a:lnTo>
                    <a:lnTo>
                      <a:pt x="122" y="340"/>
                    </a:lnTo>
                    <a:lnTo>
                      <a:pt x="184" y="452"/>
                    </a:lnTo>
                    <a:lnTo>
                      <a:pt x="278" y="316"/>
                    </a:lnTo>
                    <a:lnTo>
                      <a:pt x="434" y="148"/>
                    </a:lnTo>
                    <a:lnTo>
                      <a:pt x="534" y="60"/>
                    </a:lnTo>
                    <a:lnTo>
                      <a:pt x="632" y="0"/>
                    </a:lnTo>
                    <a:lnTo>
                      <a:pt x="648" y="26"/>
                    </a:lnTo>
                    <a:lnTo>
                      <a:pt x="566" y="98"/>
                    </a:lnTo>
                    <a:lnTo>
                      <a:pt x="448" y="230"/>
                    </a:lnTo>
                    <a:lnTo>
                      <a:pt x="346" y="360"/>
                    </a:lnTo>
                    <a:lnTo>
                      <a:pt x="234" y="554"/>
                    </a:lnTo>
                    <a:lnTo>
                      <a:pt x="144" y="618"/>
                    </a:lnTo>
                    <a:lnTo>
                      <a:pt x="82" y="466"/>
                    </a:lnTo>
                    <a:lnTo>
                      <a:pt x="42" y="404"/>
                    </a:lnTo>
                    <a:lnTo>
                      <a:pt x="0" y="374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12D07220-276B-406D-10D7-C99C8E4695A3}"/>
                </a:ext>
              </a:extLst>
            </p:cNvPr>
            <p:cNvGrpSpPr/>
            <p:nvPr/>
          </p:nvGrpSpPr>
          <p:grpSpPr>
            <a:xfrm>
              <a:off x="4255770" y="4654111"/>
              <a:ext cx="370502" cy="370502"/>
              <a:chOff x="7577881" y="1283110"/>
              <a:chExt cx="589936" cy="589936"/>
            </a:xfrm>
          </p:grpSpPr>
          <p:sp>
            <p:nvSpPr>
              <p:cNvPr id="53" name="Oval 52">
                <a:extLst>
                  <a:ext uri="{FF2B5EF4-FFF2-40B4-BE49-F238E27FC236}">
                    <a16:creationId xmlns:a16="http://schemas.microsoft.com/office/drawing/2014/main" id="{DC0A6169-6B51-3B92-6B3A-BBB1F4FC08EC}"/>
                  </a:ext>
                </a:extLst>
              </p:cNvPr>
              <p:cNvSpPr/>
              <p:nvPr/>
            </p:nvSpPr>
            <p:spPr>
              <a:xfrm>
                <a:off x="7577881" y="1283110"/>
                <a:ext cx="589936" cy="589936"/>
              </a:xfrm>
              <a:prstGeom prst="ellipse">
                <a:avLst/>
              </a:prstGeom>
              <a:solidFill>
                <a:srgbClr val="00B05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54" name="Freeform 281">
                <a:extLst>
                  <a:ext uri="{FF2B5EF4-FFF2-40B4-BE49-F238E27FC236}">
                    <a16:creationId xmlns:a16="http://schemas.microsoft.com/office/drawing/2014/main" id="{3898C27B-0481-78CF-7C20-C161304B24C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721173" y="1425050"/>
                <a:ext cx="303352" cy="306056"/>
              </a:xfrm>
              <a:custGeom>
                <a:avLst/>
                <a:gdLst>
                  <a:gd name="T0" fmla="*/ 33 w 336"/>
                  <a:gd name="T1" fmla="*/ 47 h 340"/>
                  <a:gd name="T2" fmla="*/ 48 w 336"/>
                  <a:gd name="T3" fmla="*/ 24 h 340"/>
                  <a:gd name="T4" fmla="*/ 71 w 336"/>
                  <a:gd name="T5" fmla="*/ 0 h 340"/>
                  <a:gd name="T6" fmla="*/ 73 w 336"/>
                  <a:gd name="T7" fmla="*/ 21 h 340"/>
                  <a:gd name="T8" fmla="*/ 82 w 336"/>
                  <a:gd name="T9" fmla="*/ 42 h 340"/>
                  <a:gd name="T10" fmla="*/ 102 w 336"/>
                  <a:gd name="T11" fmla="*/ 81 h 340"/>
                  <a:gd name="T12" fmla="*/ 119 w 336"/>
                  <a:gd name="T13" fmla="*/ 62 h 340"/>
                  <a:gd name="T14" fmla="*/ 136 w 336"/>
                  <a:gd name="T15" fmla="*/ 43 h 340"/>
                  <a:gd name="T16" fmla="*/ 161 w 336"/>
                  <a:gd name="T17" fmla="*/ 26 h 340"/>
                  <a:gd name="T18" fmla="*/ 181 w 336"/>
                  <a:gd name="T19" fmla="*/ 24 h 340"/>
                  <a:gd name="T20" fmla="*/ 200 w 336"/>
                  <a:gd name="T21" fmla="*/ 36 h 340"/>
                  <a:gd name="T22" fmla="*/ 209 w 336"/>
                  <a:gd name="T23" fmla="*/ 60 h 340"/>
                  <a:gd name="T24" fmla="*/ 196 w 336"/>
                  <a:gd name="T25" fmla="*/ 63 h 340"/>
                  <a:gd name="T26" fmla="*/ 185 w 336"/>
                  <a:gd name="T27" fmla="*/ 67 h 340"/>
                  <a:gd name="T28" fmla="*/ 136 w 336"/>
                  <a:gd name="T29" fmla="*/ 119 h 340"/>
                  <a:gd name="T30" fmla="*/ 165 w 336"/>
                  <a:gd name="T31" fmla="*/ 144 h 340"/>
                  <a:gd name="T32" fmla="*/ 190 w 336"/>
                  <a:gd name="T33" fmla="*/ 157 h 340"/>
                  <a:gd name="T34" fmla="*/ 216 w 336"/>
                  <a:gd name="T35" fmla="*/ 160 h 340"/>
                  <a:gd name="T36" fmla="*/ 209 w 336"/>
                  <a:gd name="T37" fmla="*/ 176 h 340"/>
                  <a:gd name="T38" fmla="*/ 190 w 336"/>
                  <a:gd name="T39" fmla="*/ 199 h 340"/>
                  <a:gd name="T40" fmla="*/ 172 w 336"/>
                  <a:gd name="T41" fmla="*/ 205 h 340"/>
                  <a:gd name="T42" fmla="*/ 144 w 336"/>
                  <a:gd name="T43" fmla="*/ 190 h 340"/>
                  <a:gd name="T44" fmla="*/ 107 w 336"/>
                  <a:gd name="T45" fmla="*/ 158 h 340"/>
                  <a:gd name="T46" fmla="*/ 87 w 336"/>
                  <a:gd name="T47" fmla="*/ 188 h 340"/>
                  <a:gd name="T48" fmla="*/ 65 w 336"/>
                  <a:gd name="T49" fmla="*/ 212 h 340"/>
                  <a:gd name="T50" fmla="*/ 48 w 336"/>
                  <a:gd name="T51" fmla="*/ 218 h 340"/>
                  <a:gd name="T52" fmla="*/ 21 w 336"/>
                  <a:gd name="T53" fmla="*/ 204 h 340"/>
                  <a:gd name="T54" fmla="*/ 0 w 336"/>
                  <a:gd name="T55" fmla="*/ 176 h 340"/>
                  <a:gd name="T56" fmla="*/ 23 w 336"/>
                  <a:gd name="T57" fmla="*/ 173 h 340"/>
                  <a:gd name="T58" fmla="*/ 43 w 336"/>
                  <a:gd name="T59" fmla="*/ 158 h 340"/>
                  <a:gd name="T60" fmla="*/ 72 w 336"/>
                  <a:gd name="T61" fmla="*/ 121 h 340"/>
                  <a:gd name="T62" fmla="*/ 44 w 336"/>
                  <a:gd name="T63" fmla="*/ 81 h 340"/>
                  <a:gd name="T64" fmla="*/ 37 w 336"/>
                  <a:gd name="T65" fmla="*/ 63 h 340"/>
                  <a:gd name="T66" fmla="*/ 33 w 336"/>
                  <a:gd name="T67" fmla="*/ 47 h 340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336" h="340">
                    <a:moveTo>
                      <a:pt x="51" y="74"/>
                    </a:moveTo>
                    <a:lnTo>
                      <a:pt x="75" y="37"/>
                    </a:lnTo>
                    <a:lnTo>
                      <a:pt x="111" y="0"/>
                    </a:lnTo>
                    <a:lnTo>
                      <a:pt x="113" y="33"/>
                    </a:lnTo>
                    <a:lnTo>
                      <a:pt x="127" y="66"/>
                    </a:lnTo>
                    <a:lnTo>
                      <a:pt x="159" y="126"/>
                    </a:lnTo>
                    <a:lnTo>
                      <a:pt x="185" y="97"/>
                    </a:lnTo>
                    <a:lnTo>
                      <a:pt x="212" y="67"/>
                    </a:lnTo>
                    <a:lnTo>
                      <a:pt x="250" y="40"/>
                    </a:lnTo>
                    <a:lnTo>
                      <a:pt x="281" y="37"/>
                    </a:lnTo>
                    <a:lnTo>
                      <a:pt x="311" y="56"/>
                    </a:lnTo>
                    <a:lnTo>
                      <a:pt x="325" y="94"/>
                    </a:lnTo>
                    <a:lnTo>
                      <a:pt x="305" y="99"/>
                    </a:lnTo>
                    <a:lnTo>
                      <a:pt x="288" y="104"/>
                    </a:lnTo>
                    <a:lnTo>
                      <a:pt x="212" y="185"/>
                    </a:lnTo>
                    <a:lnTo>
                      <a:pt x="257" y="224"/>
                    </a:lnTo>
                    <a:lnTo>
                      <a:pt x="296" y="245"/>
                    </a:lnTo>
                    <a:lnTo>
                      <a:pt x="336" y="250"/>
                    </a:lnTo>
                    <a:lnTo>
                      <a:pt x="325" y="275"/>
                    </a:lnTo>
                    <a:lnTo>
                      <a:pt x="296" y="310"/>
                    </a:lnTo>
                    <a:lnTo>
                      <a:pt x="267" y="319"/>
                    </a:lnTo>
                    <a:lnTo>
                      <a:pt x="224" y="297"/>
                    </a:lnTo>
                    <a:lnTo>
                      <a:pt x="167" y="247"/>
                    </a:lnTo>
                    <a:lnTo>
                      <a:pt x="135" y="293"/>
                    </a:lnTo>
                    <a:lnTo>
                      <a:pt x="101" y="330"/>
                    </a:lnTo>
                    <a:lnTo>
                      <a:pt x="74" y="340"/>
                    </a:lnTo>
                    <a:lnTo>
                      <a:pt x="33" y="318"/>
                    </a:lnTo>
                    <a:lnTo>
                      <a:pt x="0" y="274"/>
                    </a:lnTo>
                    <a:lnTo>
                      <a:pt x="35" y="270"/>
                    </a:lnTo>
                    <a:lnTo>
                      <a:pt x="67" y="247"/>
                    </a:lnTo>
                    <a:lnTo>
                      <a:pt x="112" y="188"/>
                    </a:lnTo>
                    <a:lnTo>
                      <a:pt x="69" y="127"/>
                    </a:lnTo>
                    <a:lnTo>
                      <a:pt x="57" y="99"/>
                    </a:lnTo>
                    <a:lnTo>
                      <a:pt x="51" y="74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95" name="Group 94">
              <a:extLst>
                <a:ext uri="{FF2B5EF4-FFF2-40B4-BE49-F238E27FC236}">
                  <a16:creationId xmlns:a16="http://schemas.microsoft.com/office/drawing/2014/main" id="{8FC9F407-25FD-5345-946B-4CEB74AD1C10}"/>
                </a:ext>
              </a:extLst>
            </p:cNvPr>
            <p:cNvGrpSpPr/>
            <p:nvPr/>
          </p:nvGrpSpPr>
          <p:grpSpPr>
            <a:xfrm>
              <a:off x="5095116" y="1258786"/>
              <a:ext cx="2046797" cy="4504704"/>
              <a:chOff x="5095116" y="1258786"/>
              <a:chExt cx="2046797" cy="4504704"/>
            </a:xfrm>
          </p:grpSpPr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A26B1F50-20EC-3BCC-74A3-D9DDDE3FC368}"/>
                  </a:ext>
                </a:extLst>
              </p:cNvPr>
              <p:cNvSpPr/>
              <p:nvPr/>
            </p:nvSpPr>
            <p:spPr>
              <a:xfrm>
                <a:off x="5095116" y="1258786"/>
                <a:ext cx="928468" cy="215444"/>
              </a:xfrm>
              <a:prstGeom prst="rect">
                <a:avLst/>
              </a:prstGeom>
              <a:noFill/>
              <a:ln w="12700" cap="rnd" cmpd="sng">
                <a:noFill/>
                <a:prstDash val="solid"/>
                <a:round/>
                <a:headEnd/>
                <a:tailEnd/>
              </a:ln>
              <a:effectLst/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/>
                <a:r>
                  <a:rPr lang="en-US" sz="1400" b="1" dirty="0">
                    <a:solidFill>
                      <a:schemeClr val="accent1"/>
                    </a:solidFill>
                    <a:latin typeface="+mn-lt"/>
                  </a:rPr>
                  <a:t>Heading 2</a:t>
                </a:r>
              </a:p>
            </p:txBody>
          </p:sp>
          <p:grpSp>
            <p:nvGrpSpPr>
              <p:cNvPr id="16" name="Group 15">
                <a:extLst>
                  <a:ext uri="{FF2B5EF4-FFF2-40B4-BE49-F238E27FC236}">
                    <a16:creationId xmlns:a16="http://schemas.microsoft.com/office/drawing/2014/main" id="{1CEF33BA-FD30-DF7E-701E-19CC80D91FE6}"/>
                  </a:ext>
                </a:extLst>
              </p:cNvPr>
              <p:cNvGrpSpPr/>
              <p:nvPr/>
            </p:nvGrpSpPr>
            <p:grpSpPr>
              <a:xfrm>
                <a:off x="5374099" y="1698595"/>
                <a:ext cx="370502" cy="370502"/>
                <a:chOff x="7577881" y="1283110"/>
                <a:chExt cx="589936" cy="589936"/>
              </a:xfrm>
            </p:grpSpPr>
            <p:sp>
              <p:nvSpPr>
                <p:cNvPr id="90" name="Oval 89">
                  <a:extLst>
                    <a:ext uri="{FF2B5EF4-FFF2-40B4-BE49-F238E27FC236}">
                      <a16:creationId xmlns:a16="http://schemas.microsoft.com/office/drawing/2014/main" id="{AA6A9F43-F9CC-D33E-CED4-FCBEF85CF8CB}"/>
                    </a:ext>
                  </a:extLst>
                </p:cNvPr>
                <p:cNvSpPr/>
                <p:nvPr/>
              </p:nvSpPr>
              <p:spPr>
                <a:xfrm>
                  <a:off x="7577881" y="1283110"/>
                  <a:ext cx="589936" cy="589936"/>
                </a:xfrm>
                <a:prstGeom prst="ellipse">
                  <a:avLst/>
                </a:prstGeom>
                <a:solidFill>
                  <a:srgbClr val="00B050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91" name="Freeform 281">
                  <a:extLst>
                    <a:ext uri="{FF2B5EF4-FFF2-40B4-BE49-F238E27FC236}">
                      <a16:creationId xmlns:a16="http://schemas.microsoft.com/office/drawing/2014/main" id="{A99ADACF-732A-BA96-C6CF-28A69073B24A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721173" y="1425050"/>
                  <a:ext cx="303352" cy="306056"/>
                </a:xfrm>
                <a:custGeom>
                  <a:avLst/>
                  <a:gdLst>
                    <a:gd name="T0" fmla="*/ 33 w 336"/>
                    <a:gd name="T1" fmla="*/ 47 h 340"/>
                    <a:gd name="T2" fmla="*/ 48 w 336"/>
                    <a:gd name="T3" fmla="*/ 24 h 340"/>
                    <a:gd name="T4" fmla="*/ 71 w 336"/>
                    <a:gd name="T5" fmla="*/ 0 h 340"/>
                    <a:gd name="T6" fmla="*/ 73 w 336"/>
                    <a:gd name="T7" fmla="*/ 21 h 340"/>
                    <a:gd name="T8" fmla="*/ 82 w 336"/>
                    <a:gd name="T9" fmla="*/ 42 h 340"/>
                    <a:gd name="T10" fmla="*/ 102 w 336"/>
                    <a:gd name="T11" fmla="*/ 81 h 340"/>
                    <a:gd name="T12" fmla="*/ 119 w 336"/>
                    <a:gd name="T13" fmla="*/ 62 h 340"/>
                    <a:gd name="T14" fmla="*/ 136 w 336"/>
                    <a:gd name="T15" fmla="*/ 43 h 340"/>
                    <a:gd name="T16" fmla="*/ 161 w 336"/>
                    <a:gd name="T17" fmla="*/ 26 h 340"/>
                    <a:gd name="T18" fmla="*/ 181 w 336"/>
                    <a:gd name="T19" fmla="*/ 24 h 340"/>
                    <a:gd name="T20" fmla="*/ 200 w 336"/>
                    <a:gd name="T21" fmla="*/ 36 h 340"/>
                    <a:gd name="T22" fmla="*/ 209 w 336"/>
                    <a:gd name="T23" fmla="*/ 60 h 340"/>
                    <a:gd name="T24" fmla="*/ 196 w 336"/>
                    <a:gd name="T25" fmla="*/ 63 h 340"/>
                    <a:gd name="T26" fmla="*/ 185 w 336"/>
                    <a:gd name="T27" fmla="*/ 67 h 340"/>
                    <a:gd name="T28" fmla="*/ 136 w 336"/>
                    <a:gd name="T29" fmla="*/ 119 h 340"/>
                    <a:gd name="T30" fmla="*/ 165 w 336"/>
                    <a:gd name="T31" fmla="*/ 144 h 340"/>
                    <a:gd name="T32" fmla="*/ 190 w 336"/>
                    <a:gd name="T33" fmla="*/ 157 h 340"/>
                    <a:gd name="T34" fmla="*/ 216 w 336"/>
                    <a:gd name="T35" fmla="*/ 160 h 340"/>
                    <a:gd name="T36" fmla="*/ 209 w 336"/>
                    <a:gd name="T37" fmla="*/ 176 h 340"/>
                    <a:gd name="T38" fmla="*/ 190 w 336"/>
                    <a:gd name="T39" fmla="*/ 199 h 340"/>
                    <a:gd name="T40" fmla="*/ 172 w 336"/>
                    <a:gd name="T41" fmla="*/ 205 h 340"/>
                    <a:gd name="T42" fmla="*/ 144 w 336"/>
                    <a:gd name="T43" fmla="*/ 190 h 340"/>
                    <a:gd name="T44" fmla="*/ 107 w 336"/>
                    <a:gd name="T45" fmla="*/ 158 h 340"/>
                    <a:gd name="T46" fmla="*/ 87 w 336"/>
                    <a:gd name="T47" fmla="*/ 188 h 340"/>
                    <a:gd name="T48" fmla="*/ 65 w 336"/>
                    <a:gd name="T49" fmla="*/ 212 h 340"/>
                    <a:gd name="T50" fmla="*/ 48 w 336"/>
                    <a:gd name="T51" fmla="*/ 218 h 340"/>
                    <a:gd name="T52" fmla="*/ 21 w 336"/>
                    <a:gd name="T53" fmla="*/ 204 h 340"/>
                    <a:gd name="T54" fmla="*/ 0 w 336"/>
                    <a:gd name="T55" fmla="*/ 176 h 340"/>
                    <a:gd name="T56" fmla="*/ 23 w 336"/>
                    <a:gd name="T57" fmla="*/ 173 h 340"/>
                    <a:gd name="T58" fmla="*/ 43 w 336"/>
                    <a:gd name="T59" fmla="*/ 158 h 340"/>
                    <a:gd name="T60" fmla="*/ 72 w 336"/>
                    <a:gd name="T61" fmla="*/ 121 h 340"/>
                    <a:gd name="T62" fmla="*/ 44 w 336"/>
                    <a:gd name="T63" fmla="*/ 81 h 340"/>
                    <a:gd name="T64" fmla="*/ 37 w 336"/>
                    <a:gd name="T65" fmla="*/ 63 h 340"/>
                    <a:gd name="T66" fmla="*/ 33 w 336"/>
                    <a:gd name="T67" fmla="*/ 47 h 340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336" h="340">
                      <a:moveTo>
                        <a:pt x="51" y="74"/>
                      </a:moveTo>
                      <a:lnTo>
                        <a:pt x="75" y="37"/>
                      </a:lnTo>
                      <a:lnTo>
                        <a:pt x="111" y="0"/>
                      </a:lnTo>
                      <a:lnTo>
                        <a:pt x="113" y="33"/>
                      </a:lnTo>
                      <a:lnTo>
                        <a:pt x="127" y="66"/>
                      </a:lnTo>
                      <a:lnTo>
                        <a:pt x="159" y="126"/>
                      </a:lnTo>
                      <a:lnTo>
                        <a:pt x="185" y="97"/>
                      </a:lnTo>
                      <a:lnTo>
                        <a:pt x="212" y="67"/>
                      </a:lnTo>
                      <a:lnTo>
                        <a:pt x="250" y="40"/>
                      </a:lnTo>
                      <a:lnTo>
                        <a:pt x="281" y="37"/>
                      </a:lnTo>
                      <a:lnTo>
                        <a:pt x="311" y="56"/>
                      </a:lnTo>
                      <a:lnTo>
                        <a:pt x="325" y="94"/>
                      </a:lnTo>
                      <a:lnTo>
                        <a:pt x="305" y="99"/>
                      </a:lnTo>
                      <a:lnTo>
                        <a:pt x="288" y="104"/>
                      </a:lnTo>
                      <a:lnTo>
                        <a:pt x="212" y="185"/>
                      </a:lnTo>
                      <a:lnTo>
                        <a:pt x="257" y="224"/>
                      </a:lnTo>
                      <a:lnTo>
                        <a:pt x="296" y="245"/>
                      </a:lnTo>
                      <a:lnTo>
                        <a:pt x="336" y="250"/>
                      </a:lnTo>
                      <a:lnTo>
                        <a:pt x="325" y="275"/>
                      </a:lnTo>
                      <a:lnTo>
                        <a:pt x="296" y="310"/>
                      </a:lnTo>
                      <a:lnTo>
                        <a:pt x="267" y="319"/>
                      </a:lnTo>
                      <a:lnTo>
                        <a:pt x="224" y="297"/>
                      </a:lnTo>
                      <a:lnTo>
                        <a:pt x="167" y="247"/>
                      </a:lnTo>
                      <a:lnTo>
                        <a:pt x="135" y="293"/>
                      </a:lnTo>
                      <a:lnTo>
                        <a:pt x="101" y="330"/>
                      </a:lnTo>
                      <a:lnTo>
                        <a:pt x="74" y="340"/>
                      </a:lnTo>
                      <a:lnTo>
                        <a:pt x="33" y="318"/>
                      </a:lnTo>
                      <a:lnTo>
                        <a:pt x="0" y="274"/>
                      </a:lnTo>
                      <a:lnTo>
                        <a:pt x="35" y="270"/>
                      </a:lnTo>
                      <a:lnTo>
                        <a:pt x="67" y="247"/>
                      </a:lnTo>
                      <a:lnTo>
                        <a:pt x="112" y="188"/>
                      </a:lnTo>
                      <a:lnTo>
                        <a:pt x="69" y="127"/>
                      </a:lnTo>
                      <a:lnTo>
                        <a:pt x="57" y="99"/>
                      </a:lnTo>
                      <a:lnTo>
                        <a:pt x="51" y="74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grpSp>
            <p:nvGrpSpPr>
              <p:cNvPr id="20" name="Group 19">
                <a:extLst>
                  <a:ext uri="{FF2B5EF4-FFF2-40B4-BE49-F238E27FC236}">
                    <a16:creationId xmlns:a16="http://schemas.microsoft.com/office/drawing/2014/main" id="{8C6C2E2E-E99B-A9A4-F42E-16A017049DAD}"/>
                  </a:ext>
                </a:extLst>
              </p:cNvPr>
              <p:cNvGrpSpPr/>
              <p:nvPr/>
            </p:nvGrpSpPr>
            <p:grpSpPr>
              <a:xfrm>
                <a:off x="5374099" y="2437474"/>
                <a:ext cx="370502" cy="370502"/>
                <a:chOff x="7577881" y="1283110"/>
                <a:chExt cx="589936" cy="589936"/>
              </a:xfrm>
            </p:grpSpPr>
            <p:sp>
              <p:nvSpPr>
                <p:cNvPr id="82" name="Oval 81">
                  <a:extLst>
                    <a:ext uri="{FF2B5EF4-FFF2-40B4-BE49-F238E27FC236}">
                      <a16:creationId xmlns:a16="http://schemas.microsoft.com/office/drawing/2014/main" id="{735453BD-1B5B-23E3-6A68-7EBDFF3ADEC2}"/>
                    </a:ext>
                  </a:extLst>
                </p:cNvPr>
                <p:cNvSpPr/>
                <p:nvPr/>
              </p:nvSpPr>
              <p:spPr>
                <a:xfrm>
                  <a:off x="7577881" y="1283110"/>
                  <a:ext cx="589936" cy="589936"/>
                </a:xfrm>
                <a:prstGeom prst="ellipse">
                  <a:avLst/>
                </a:prstGeom>
                <a:solidFill>
                  <a:srgbClr val="00B050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83" name="Freeform 281">
                  <a:extLst>
                    <a:ext uri="{FF2B5EF4-FFF2-40B4-BE49-F238E27FC236}">
                      <a16:creationId xmlns:a16="http://schemas.microsoft.com/office/drawing/2014/main" id="{F74C1636-6280-83E7-ECF9-CBB7FFC1DD2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721173" y="1425050"/>
                  <a:ext cx="303352" cy="306056"/>
                </a:xfrm>
                <a:custGeom>
                  <a:avLst/>
                  <a:gdLst>
                    <a:gd name="T0" fmla="*/ 33 w 336"/>
                    <a:gd name="T1" fmla="*/ 47 h 340"/>
                    <a:gd name="T2" fmla="*/ 48 w 336"/>
                    <a:gd name="T3" fmla="*/ 24 h 340"/>
                    <a:gd name="T4" fmla="*/ 71 w 336"/>
                    <a:gd name="T5" fmla="*/ 0 h 340"/>
                    <a:gd name="T6" fmla="*/ 73 w 336"/>
                    <a:gd name="T7" fmla="*/ 21 h 340"/>
                    <a:gd name="T8" fmla="*/ 82 w 336"/>
                    <a:gd name="T9" fmla="*/ 42 h 340"/>
                    <a:gd name="T10" fmla="*/ 102 w 336"/>
                    <a:gd name="T11" fmla="*/ 81 h 340"/>
                    <a:gd name="T12" fmla="*/ 119 w 336"/>
                    <a:gd name="T13" fmla="*/ 62 h 340"/>
                    <a:gd name="T14" fmla="*/ 136 w 336"/>
                    <a:gd name="T15" fmla="*/ 43 h 340"/>
                    <a:gd name="T16" fmla="*/ 161 w 336"/>
                    <a:gd name="T17" fmla="*/ 26 h 340"/>
                    <a:gd name="T18" fmla="*/ 181 w 336"/>
                    <a:gd name="T19" fmla="*/ 24 h 340"/>
                    <a:gd name="T20" fmla="*/ 200 w 336"/>
                    <a:gd name="T21" fmla="*/ 36 h 340"/>
                    <a:gd name="T22" fmla="*/ 209 w 336"/>
                    <a:gd name="T23" fmla="*/ 60 h 340"/>
                    <a:gd name="T24" fmla="*/ 196 w 336"/>
                    <a:gd name="T25" fmla="*/ 63 h 340"/>
                    <a:gd name="T26" fmla="*/ 185 w 336"/>
                    <a:gd name="T27" fmla="*/ 67 h 340"/>
                    <a:gd name="T28" fmla="*/ 136 w 336"/>
                    <a:gd name="T29" fmla="*/ 119 h 340"/>
                    <a:gd name="T30" fmla="*/ 165 w 336"/>
                    <a:gd name="T31" fmla="*/ 144 h 340"/>
                    <a:gd name="T32" fmla="*/ 190 w 336"/>
                    <a:gd name="T33" fmla="*/ 157 h 340"/>
                    <a:gd name="T34" fmla="*/ 216 w 336"/>
                    <a:gd name="T35" fmla="*/ 160 h 340"/>
                    <a:gd name="T36" fmla="*/ 209 w 336"/>
                    <a:gd name="T37" fmla="*/ 176 h 340"/>
                    <a:gd name="T38" fmla="*/ 190 w 336"/>
                    <a:gd name="T39" fmla="*/ 199 h 340"/>
                    <a:gd name="T40" fmla="*/ 172 w 336"/>
                    <a:gd name="T41" fmla="*/ 205 h 340"/>
                    <a:gd name="T42" fmla="*/ 144 w 336"/>
                    <a:gd name="T43" fmla="*/ 190 h 340"/>
                    <a:gd name="T44" fmla="*/ 107 w 336"/>
                    <a:gd name="T45" fmla="*/ 158 h 340"/>
                    <a:gd name="T46" fmla="*/ 87 w 336"/>
                    <a:gd name="T47" fmla="*/ 188 h 340"/>
                    <a:gd name="T48" fmla="*/ 65 w 336"/>
                    <a:gd name="T49" fmla="*/ 212 h 340"/>
                    <a:gd name="T50" fmla="*/ 48 w 336"/>
                    <a:gd name="T51" fmla="*/ 218 h 340"/>
                    <a:gd name="T52" fmla="*/ 21 w 336"/>
                    <a:gd name="T53" fmla="*/ 204 h 340"/>
                    <a:gd name="T54" fmla="*/ 0 w 336"/>
                    <a:gd name="T55" fmla="*/ 176 h 340"/>
                    <a:gd name="T56" fmla="*/ 23 w 336"/>
                    <a:gd name="T57" fmla="*/ 173 h 340"/>
                    <a:gd name="T58" fmla="*/ 43 w 336"/>
                    <a:gd name="T59" fmla="*/ 158 h 340"/>
                    <a:gd name="T60" fmla="*/ 72 w 336"/>
                    <a:gd name="T61" fmla="*/ 121 h 340"/>
                    <a:gd name="T62" fmla="*/ 44 w 336"/>
                    <a:gd name="T63" fmla="*/ 81 h 340"/>
                    <a:gd name="T64" fmla="*/ 37 w 336"/>
                    <a:gd name="T65" fmla="*/ 63 h 340"/>
                    <a:gd name="T66" fmla="*/ 33 w 336"/>
                    <a:gd name="T67" fmla="*/ 47 h 340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336" h="340">
                      <a:moveTo>
                        <a:pt x="51" y="74"/>
                      </a:moveTo>
                      <a:lnTo>
                        <a:pt x="75" y="37"/>
                      </a:lnTo>
                      <a:lnTo>
                        <a:pt x="111" y="0"/>
                      </a:lnTo>
                      <a:lnTo>
                        <a:pt x="113" y="33"/>
                      </a:lnTo>
                      <a:lnTo>
                        <a:pt x="127" y="66"/>
                      </a:lnTo>
                      <a:lnTo>
                        <a:pt x="159" y="126"/>
                      </a:lnTo>
                      <a:lnTo>
                        <a:pt x="185" y="97"/>
                      </a:lnTo>
                      <a:lnTo>
                        <a:pt x="212" y="67"/>
                      </a:lnTo>
                      <a:lnTo>
                        <a:pt x="250" y="40"/>
                      </a:lnTo>
                      <a:lnTo>
                        <a:pt x="281" y="37"/>
                      </a:lnTo>
                      <a:lnTo>
                        <a:pt x="311" y="56"/>
                      </a:lnTo>
                      <a:lnTo>
                        <a:pt x="325" y="94"/>
                      </a:lnTo>
                      <a:lnTo>
                        <a:pt x="305" y="99"/>
                      </a:lnTo>
                      <a:lnTo>
                        <a:pt x="288" y="104"/>
                      </a:lnTo>
                      <a:lnTo>
                        <a:pt x="212" y="185"/>
                      </a:lnTo>
                      <a:lnTo>
                        <a:pt x="257" y="224"/>
                      </a:lnTo>
                      <a:lnTo>
                        <a:pt x="296" y="245"/>
                      </a:lnTo>
                      <a:lnTo>
                        <a:pt x="336" y="250"/>
                      </a:lnTo>
                      <a:lnTo>
                        <a:pt x="325" y="275"/>
                      </a:lnTo>
                      <a:lnTo>
                        <a:pt x="296" y="310"/>
                      </a:lnTo>
                      <a:lnTo>
                        <a:pt x="267" y="319"/>
                      </a:lnTo>
                      <a:lnTo>
                        <a:pt x="224" y="297"/>
                      </a:lnTo>
                      <a:lnTo>
                        <a:pt x="167" y="247"/>
                      </a:lnTo>
                      <a:lnTo>
                        <a:pt x="135" y="293"/>
                      </a:lnTo>
                      <a:lnTo>
                        <a:pt x="101" y="330"/>
                      </a:lnTo>
                      <a:lnTo>
                        <a:pt x="74" y="340"/>
                      </a:lnTo>
                      <a:lnTo>
                        <a:pt x="33" y="318"/>
                      </a:lnTo>
                      <a:lnTo>
                        <a:pt x="0" y="274"/>
                      </a:lnTo>
                      <a:lnTo>
                        <a:pt x="35" y="270"/>
                      </a:lnTo>
                      <a:lnTo>
                        <a:pt x="67" y="247"/>
                      </a:lnTo>
                      <a:lnTo>
                        <a:pt x="112" y="188"/>
                      </a:lnTo>
                      <a:lnTo>
                        <a:pt x="69" y="127"/>
                      </a:lnTo>
                      <a:lnTo>
                        <a:pt x="57" y="99"/>
                      </a:lnTo>
                      <a:lnTo>
                        <a:pt x="51" y="74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grpSp>
            <p:nvGrpSpPr>
              <p:cNvPr id="25" name="Group 24">
                <a:extLst>
                  <a:ext uri="{FF2B5EF4-FFF2-40B4-BE49-F238E27FC236}">
                    <a16:creationId xmlns:a16="http://schemas.microsoft.com/office/drawing/2014/main" id="{5FCA2048-AAF4-B203-061F-58B63F1C3448}"/>
                  </a:ext>
                </a:extLst>
              </p:cNvPr>
              <p:cNvGrpSpPr/>
              <p:nvPr/>
            </p:nvGrpSpPr>
            <p:grpSpPr>
              <a:xfrm>
                <a:off x="5374099" y="3176353"/>
                <a:ext cx="370502" cy="370502"/>
                <a:chOff x="3551571" y="1283110"/>
                <a:chExt cx="589936" cy="589936"/>
              </a:xfrm>
            </p:grpSpPr>
            <p:sp>
              <p:nvSpPr>
                <p:cNvPr id="72" name="Oval 71">
                  <a:extLst>
                    <a:ext uri="{FF2B5EF4-FFF2-40B4-BE49-F238E27FC236}">
                      <a16:creationId xmlns:a16="http://schemas.microsoft.com/office/drawing/2014/main" id="{B0133495-1AB2-D34F-382E-381FD208B043}"/>
                    </a:ext>
                  </a:extLst>
                </p:cNvPr>
                <p:cNvSpPr/>
                <p:nvPr/>
              </p:nvSpPr>
              <p:spPr>
                <a:xfrm>
                  <a:off x="3551571" y="1283110"/>
                  <a:ext cx="589936" cy="589936"/>
                </a:xfrm>
                <a:prstGeom prst="ellipse">
                  <a:avLst/>
                </a:prstGeom>
                <a:solidFill>
                  <a:srgbClr val="FF0000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73" name="Freeform 280">
                  <a:extLst>
                    <a:ext uri="{FF2B5EF4-FFF2-40B4-BE49-F238E27FC236}">
                      <a16:creationId xmlns:a16="http://schemas.microsoft.com/office/drawing/2014/main" id="{CE757EB8-DB2F-2B0F-8262-7CD2E51CD04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645782" y="1380088"/>
                  <a:ext cx="401514" cy="395981"/>
                </a:xfrm>
                <a:custGeom>
                  <a:avLst/>
                  <a:gdLst>
                    <a:gd name="T0" fmla="*/ 0 w 648"/>
                    <a:gd name="T1" fmla="*/ 131 h 618"/>
                    <a:gd name="T2" fmla="*/ 33 w 648"/>
                    <a:gd name="T3" fmla="*/ 112 h 618"/>
                    <a:gd name="T4" fmla="*/ 46 w 648"/>
                    <a:gd name="T5" fmla="*/ 119 h 618"/>
                    <a:gd name="T6" fmla="*/ 70 w 648"/>
                    <a:gd name="T7" fmla="*/ 158 h 618"/>
                    <a:gd name="T8" fmla="*/ 106 w 648"/>
                    <a:gd name="T9" fmla="*/ 110 h 618"/>
                    <a:gd name="T10" fmla="*/ 165 w 648"/>
                    <a:gd name="T11" fmla="*/ 52 h 618"/>
                    <a:gd name="T12" fmla="*/ 203 w 648"/>
                    <a:gd name="T13" fmla="*/ 21 h 618"/>
                    <a:gd name="T14" fmla="*/ 240 w 648"/>
                    <a:gd name="T15" fmla="*/ 0 h 618"/>
                    <a:gd name="T16" fmla="*/ 246 w 648"/>
                    <a:gd name="T17" fmla="*/ 9 h 618"/>
                    <a:gd name="T18" fmla="*/ 215 w 648"/>
                    <a:gd name="T19" fmla="*/ 34 h 618"/>
                    <a:gd name="T20" fmla="*/ 170 w 648"/>
                    <a:gd name="T21" fmla="*/ 80 h 618"/>
                    <a:gd name="T22" fmla="*/ 131 w 648"/>
                    <a:gd name="T23" fmla="*/ 126 h 618"/>
                    <a:gd name="T24" fmla="*/ 89 w 648"/>
                    <a:gd name="T25" fmla="*/ 194 h 618"/>
                    <a:gd name="T26" fmla="*/ 55 w 648"/>
                    <a:gd name="T27" fmla="*/ 216 h 618"/>
                    <a:gd name="T28" fmla="*/ 31 w 648"/>
                    <a:gd name="T29" fmla="*/ 163 h 618"/>
                    <a:gd name="T30" fmla="*/ 16 w 648"/>
                    <a:gd name="T31" fmla="*/ 141 h 618"/>
                    <a:gd name="T32" fmla="*/ 0 w 648"/>
                    <a:gd name="T33" fmla="*/ 131 h 618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0" t="0" r="r" b="b"/>
                  <a:pathLst>
                    <a:path w="648" h="618">
                      <a:moveTo>
                        <a:pt x="0" y="374"/>
                      </a:moveTo>
                      <a:lnTo>
                        <a:pt x="88" y="320"/>
                      </a:lnTo>
                      <a:lnTo>
                        <a:pt x="122" y="340"/>
                      </a:lnTo>
                      <a:lnTo>
                        <a:pt x="184" y="452"/>
                      </a:lnTo>
                      <a:lnTo>
                        <a:pt x="278" y="316"/>
                      </a:lnTo>
                      <a:lnTo>
                        <a:pt x="434" y="148"/>
                      </a:lnTo>
                      <a:lnTo>
                        <a:pt x="534" y="60"/>
                      </a:lnTo>
                      <a:lnTo>
                        <a:pt x="632" y="0"/>
                      </a:lnTo>
                      <a:lnTo>
                        <a:pt x="648" y="26"/>
                      </a:lnTo>
                      <a:lnTo>
                        <a:pt x="566" y="98"/>
                      </a:lnTo>
                      <a:lnTo>
                        <a:pt x="448" y="230"/>
                      </a:lnTo>
                      <a:lnTo>
                        <a:pt x="346" y="360"/>
                      </a:lnTo>
                      <a:lnTo>
                        <a:pt x="234" y="554"/>
                      </a:lnTo>
                      <a:lnTo>
                        <a:pt x="144" y="618"/>
                      </a:lnTo>
                      <a:lnTo>
                        <a:pt x="82" y="466"/>
                      </a:lnTo>
                      <a:lnTo>
                        <a:pt x="42" y="404"/>
                      </a:lnTo>
                      <a:lnTo>
                        <a:pt x="0" y="374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grpSp>
            <p:nvGrpSpPr>
              <p:cNvPr id="33" name="Group 32">
                <a:extLst>
                  <a:ext uri="{FF2B5EF4-FFF2-40B4-BE49-F238E27FC236}">
                    <a16:creationId xmlns:a16="http://schemas.microsoft.com/office/drawing/2014/main" id="{B572E34D-6E7F-18EC-1590-8B2FABF390BF}"/>
                  </a:ext>
                </a:extLst>
              </p:cNvPr>
              <p:cNvGrpSpPr/>
              <p:nvPr/>
            </p:nvGrpSpPr>
            <p:grpSpPr>
              <a:xfrm>
                <a:off x="5374099" y="3915232"/>
                <a:ext cx="370502" cy="370502"/>
                <a:chOff x="7577881" y="1283110"/>
                <a:chExt cx="589936" cy="589936"/>
              </a:xfrm>
            </p:grpSpPr>
            <p:sp>
              <p:nvSpPr>
                <p:cNvPr id="68" name="Oval 67">
                  <a:extLst>
                    <a:ext uri="{FF2B5EF4-FFF2-40B4-BE49-F238E27FC236}">
                      <a16:creationId xmlns:a16="http://schemas.microsoft.com/office/drawing/2014/main" id="{94974DAC-E367-CCB7-B02E-1A4087F99729}"/>
                    </a:ext>
                  </a:extLst>
                </p:cNvPr>
                <p:cNvSpPr/>
                <p:nvPr/>
              </p:nvSpPr>
              <p:spPr>
                <a:xfrm>
                  <a:off x="7577881" y="1283110"/>
                  <a:ext cx="589936" cy="589936"/>
                </a:xfrm>
                <a:prstGeom prst="ellipse">
                  <a:avLst/>
                </a:prstGeom>
                <a:solidFill>
                  <a:srgbClr val="00B050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69" name="Freeform 281">
                  <a:extLst>
                    <a:ext uri="{FF2B5EF4-FFF2-40B4-BE49-F238E27FC236}">
                      <a16:creationId xmlns:a16="http://schemas.microsoft.com/office/drawing/2014/main" id="{DD1EA5B4-5127-D390-98CE-9EA443CC367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721173" y="1425050"/>
                  <a:ext cx="303352" cy="306056"/>
                </a:xfrm>
                <a:custGeom>
                  <a:avLst/>
                  <a:gdLst>
                    <a:gd name="T0" fmla="*/ 33 w 336"/>
                    <a:gd name="T1" fmla="*/ 47 h 340"/>
                    <a:gd name="T2" fmla="*/ 48 w 336"/>
                    <a:gd name="T3" fmla="*/ 24 h 340"/>
                    <a:gd name="T4" fmla="*/ 71 w 336"/>
                    <a:gd name="T5" fmla="*/ 0 h 340"/>
                    <a:gd name="T6" fmla="*/ 73 w 336"/>
                    <a:gd name="T7" fmla="*/ 21 h 340"/>
                    <a:gd name="T8" fmla="*/ 82 w 336"/>
                    <a:gd name="T9" fmla="*/ 42 h 340"/>
                    <a:gd name="T10" fmla="*/ 102 w 336"/>
                    <a:gd name="T11" fmla="*/ 81 h 340"/>
                    <a:gd name="T12" fmla="*/ 119 w 336"/>
                    <a:gd name="T13" fmla="*/ 62 h 340"/>
                    <a:gd name="T14" fmla="*/ 136 w 336"/>
                    <a:gd name="T15" fmla="*/ 43 h 340"/>
                    <a:gd name="T16" fmla="*/ 161 w 336"/>
                    <a:gd name="T17" fmla="*/ 26 h 340"/>
                    <a:gd name="T18" fmla="*/ 181 w 336"/>
                    <a:gd name="T19" fmla="*/ 24 h 340"/>
                    <a:gd name="T20" fmla="*/ 200 w 336"/>
                    <a:gd name="T21" fmla="*/ 36 h 340"/>
                    <a:gd name="T22" fmla="*/ 209 w 336"/>
                    <a:gd name="T23" fmla="*/ 60 h 340"/>
                    <a:gd name="T24" fmla="*/ 196 w 336"/>
                    <a:gd name="T25" fmla="*/ 63 h 340"/>
                    <a:gd name="T26" fmla="*/ 185 w 336"/>
                    <a:gd name="T27" fmla="*/ 67 h 340"/>
                    <a:gd name="T28" fmla="*/ 136 w 336"/>
                    <a:gd name="T29" fmla="*/ 119 h 340"/>
                    <a:gd name="T30" fmla="*/ 165 w 336"/>
                    <a:gd name="T31" fmla="*/ 144 h 340"/>
                    <a:gd name="T32" fmla="*/ 190 w 336"/>
                    <a:gd name="T33" fmla="*/ 157 h 340"/>
                    <a:gd name="T34" fmla="*/ 216 w 336"/>
                    <a:gd name="T35" fmla="*/ 160 h 340"/>
                    <a:gd name="T36" fmla="*/ 209 w 336"/>
                    <a:gd name="T37" fmla="*/ 176 h 340"/>
                    <a:gd name="T38" fmla="*/ 190 w 336"/>
                    <a:gd name="T39" fmla="*/ 199 h 340"/>
                    <a:gd name="T40" fmla="*/ 172 w 336"/>
                    <a:gd name="T41" fmla="*/ 205 h 340"/>
                    <a:gd name="T42" fmla="*/ 144 w 336"/>
                    <a:gd name="T43" fmla="*/ 190 h 340"/>
                    <a:gd name="T44" fmla="*/ 107 w 336"/>
                    <a:gd name="T45" fmla="*/ 158 h 340"/>
                    <a:gd name="T46" fmla="*/ 87 w 336"/>
                    <a:gd name="T47" fmla="*/ 188 h 340"/>
                    <a:gd name="T48" fmla="*/ 65 w 336"/>
                    <a:gd name="T49" fmla="*/ 212 h 340"/>
                    <a:gd name="T50" fmla="*/ 48 w 336"/>
                    <a:gd name="T51" fmla="*/ 218 h 340"/>
                    <a:gd name="T52" fmla="*/ 21 w 336"/>
                    <a:gd name="T53" fmla="*/ 204 h 340"/>
                    <a:gd name="T54" fmla="*/ 0 w 336"/>
                    <a:gd name="T55" fmla="*/ 176 h 340"/>
                    <a:gd name="T56" fmla="*/ 23 w 336"/>
                    <a:gd name="T57" fmla="*/ 173 h 340"/>
                    <a:gd name="T58" fmla="*/ 43 w 336"/>
                    <a:gd name="T59" fmla="*/ 158 h 340"/>
                    <a:gd name="T60" fmla="*/ 72 w 336"/>
                    <a:gd name="T61" fmla="*/ 121 h 340"/>
                    <a:gd name="T62" fmla="*/ 44 w 336"/>
                    <a:gd name="T63" fmla="*/ 81 h 340"/>
                    <a:gd name="T64" fmla="*/ 37 w 336"/>
                    <a:gd name="T65" fmla="*/ 63 h 340"/>
                    <a:gd name="T66" fmla="*/ 33 w 336"/>
                    <a:gd name="T67" fmla="*/ 47 h 340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336" h="340">
                      <a:moveTo>
                        <a:pt x="51" y="74"/>
                      </a:moveTo>
                      <a:lnTo>
                        <a:pt x="75" y="37"/>
                      </a:lnTo>
                      <a:lnTo>
                        <a:pt x="111" y="0"/>
                      </a:lnTo>
                      <a:lnTo>
                        <a:pt x="113" y="33"/>
                      </a:lnTo>
                      <a:lnTo>
                        <a:pt x="127" y="66"/>
                      </a:lnTo>
                      <a:lnTo>
                        <a:pt x="159" y="126"/>
                      </a:lnTo>
                      <a:lnTo>
                        <a:pt x="185" y="97"/>
                      </a:lnTo>
                      <a:lnTo>
                        <a:pt x="212" y="67"/>
                      </a:lnTo>
                      <a:lnTo>
                        <a:pt x="250" y="40"/>
                      </a:lnTo>
                      <a:lnTo>
                        <a:pt x="281" y="37"/>
                      </a:lnTo>
                      <a:lnTo>
                        <a:pt x="311" y="56"/>
                      </a:lnTo>
                      <a:lnTo>
                        <a:pt x="325" y="94"/>
                      </a:lnTo>
                      <a:lnTo>
                        <a:pt x="305" y="99"/>
                      </a:lnTo>
                      <a:lnTo>
                        <a:pt x="288" y="104"/>
                      </a:lnTo>
                      <a:lnTo>
                        <a:pt x="212" y="185"/>
                      </a:lnTo>
                      <a:lnTo>
                        <a:pt x="257" y="224"/>
                      </a:lnTo>
                      <a:lnTo>
                        <a:pt x="296" y="245"/>
                      </a:lnTo>
                      <a:lnTo>
                        <a:pt x="336" y="250"/>
                      </a:lnTo>
                      <a:lnTo>
                        <a:pt x="325" y="275"/>
                      </a:lnTo>
                      <a:lnTo>
                        <a:pt x="296" y="310"/>
                      </a:lnTo>
                      <a:lnTo>
                        <a:pt x="267" y="319"/>
                      </a:lnTo>
                      <a:lnTo>
                        <a:pt x="224" y="297"/>
                      </a:lnTo>
                      <a:lnTo>
                        <a:pt x="167" y="247"/>
                      </a:lnTo>
                      <a:lnTo>
                        <a:pt x="135" y="293"/>
                      </a:lnTo>
                      <a:lnTo>
                        <a:pt x="101" y="330"/>
                      </a:lnTo>
                      <a:lnTo>
                        <a:pt x="74" y="340"/>
                      </a:lnTo>
                      <a:lnTo>
                        <a:pt x="33" y="318"/>
                      </a:lnTo>
                      <a:lnTo>
                        <a:pt x="0" y="274"/>
                      </a:lnTo>
                      <a:lnTo>
                        <a:pt x="35" y="270"/>
                      </a:lnTo>
                      <a:lnTo>
                        <a:pt x="67" y="247"/>
                      </a:lnTo>
                      <a:lnTo>
                        <a:pt x="112" y="188"/>
                      </a:lnTo>
                      <a:lnTo>
                        <a:pt x="69" y="127"/>
                      </a:lnTo>
                      <a:lnTo>
                        <a:pt x="57" y="99"/>
                      </a:lnTo>
                      <a:lnTo>
                        <a:pt x="51" y="74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grpSp>
            <p:nvGrpSpPr>
              <p:cNvPr id="37" name="Group 36">
                <a:extLst>
                  <a:ext uri="{FF2B5EF4-FFF2-40B4-BE49-F238E27FC236}">
                    <a16:creationId xmlns:a16="http://schemas.microsoft.com/office/drawing/2014/main" id="{CA393C7A-1791-5F74-AAF4-A6C0C894D08D}"/>
                  </a:ext>
                </a:extLst>
              </p:cNvPr>
              <p:cNvGrpSpPr/>
              <p:nvPr/>
            </p:nvGrpSpPr>
            <p:grpSpPr>
              <a:xfrm>
                <a:off x="5374099" y="4654111"/>
                <a:ext cx="370502" cy="370502"/>
                <a:chOff x="7577881" y="1283110"/>
                <a:chExt cx="589936" cy="589936"/>
              </a:xfrm>
            </p:grpSpPr>
            <p:sp>
              <p:nvSpPr>
                <p:cNvPr id="60" name="Oval 59">
                  <a:extLst>
                    <a:ext uri="{FF2B5EF4-FFF2-40B4-BE49-F238E27FC236}">
                      <a16:creationId xmlns:a16="http://schemas.microsoft.com/office/drawing/2014/main" id="{D8809D17-570D-A498-38D9-E5A7A5A0FD1C}"/>
                    </a:ext>
                  </a:extLst>
                </p:cNvPr>
                <p:cNvSpPr/>
                <p:nvPr/>
              </p:nvSpPr>
              <p:spPr>
                <a:xfrm>
                  <a:off x="7577881" y="1283110"/>
                  <a:ext cx="589936" cy="589936"/>
                </a:xfrm>
                <a:prstGeom prst="ellipse">
                  <a:avLst/>
                </a:prstGeom>
                <a:solidFill>
                  <a:srgbClr val="00B050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61" name="Freeform 281">
                  <a:extLst>
                    <a:ext uri="{FF2B5EF4-FFF2-40B4-BE49-F238E27FC236}">
                      <a16:creationId xmlns:a16="http://schemas.microsoft.com/office/drawing/2014/main" id="{40AED3D4-1378-5A6A-902E-36B30574328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721173" y="1425050"/>
                  <a:ext cx="303352" cy="306056"/>
                </a:xfrm>
                <a:custGeom>
                  <a:avLst/>
                  <a:gdLst>
                    <a:gd name="T0" fmla="*/ 33 w 336"/>
                    <a:gd name="T1" fmla="*/ 47 h 340"/>
                    <a:gd name="T2" fmla="*/ 48 w 336"/>
                    <a:gd name="T3" fmla="*/ 24 h 340"/>
                    <a:gd name="T4" fmla="*/ 71 w 336"/>
                    <a:gd name="T5" fmla="*/ 0 h 340"/>
                    <a:gd name="T6" fmla="*/ 73 w 336"/>
                    <a:gd name="T7" fmla="*/ 21 h 340"/>
                    <a:gd name="T8" fmla="*/ 82 w 336"/>
                    <a:gd name="T9" fmla="*/ 42 h 340"/>
                    <a:gd name="T10" fmla="*/ 102 w 336"/>
                    <a:gd name="T11" fmla="*/ 81 h 340"/>
                    <a:gd name="T12" fmla="*/ 119 w 336"/>
                    <a:gd name="T13" fmla="*/ 62 h 340"/>
                    <a:gd name="T14" fmla="*/ 136 w 336"/>
                    <a:gd name="T15" fmla="*/ 43 h 340"/>
                    <a:gd name="T16" fmla="*/ 161 w 336"/>
                    <a:gd name="T17" fmla="*/ 26 h 340"/>
                    <a:gd name="T18" fmla="*/ 181 w 336"/>
                    <a:gd name="T19" fmla="*/ 24 h 340"/>
                    <a:gd name="T20" fmla="*/ 200 w 336"/>
                    <a:gd name="T21" fmla="*/ 36 h 340"/>
                    <a:gd name="T22" fmla="*/ 209 w 336"/>
                    <a:gd name="T23" fmla="*/ 60 h 340"/>
                    <a:gd name="T24" fmla="*/ 196 w 336"/>
                    <a:gd name="T25" fmla="*/ 63 h 340"/>
                    <a:gd name="T26" fmla="*/ 185 w 336"/>
                    <a:gd name="T27" fmla="*/ 67 h 340"/>
                    <a:gd name="T28" fmla="*/ 136 w 336"/>
                    <a:gd name="T29" fmla="*/ 119 h 340"/>
                    <a:gd name="T30" fmla="*/ 165 w 336"/>
                    <a:gd name="T31" fmla="*/ 144 h 340"/>
                    <a:gd name="T32" fmla="*/ 190 w 336"/>
                    <a:gd name="T33" fmla="*/ 157 h 340"/>
                    <a:gd name="T34" fmla="*/ 216 w 336"/>
                    <a:gd name="T35" fmla="*/ 160 h 340"/>
                    <a:gd name="T36" fmla="*/ 209 w 336"/>
                    <a:gd name="T37" fmla="*/ 176 h 340"/>
                    <a:gd name="T38" fmla="*/ 190 w 336"/>
                    <a:gd name="T39" fmla="*/ 199 h 340"/>
                    <a:gd name="T40" fmla="*/ 172 w 336"/>
                    <a:gd name="T41" fmla="*/ 205 h 340"/>
                    <a:gd name="T42" fmla="*/ 144 w 336"/>
                    <a:gd name="T43" fmla="*/ 190 h 340"/>
                    <a:gd name="T44" fmla="*/ 107 w 336"/>
                    <a:gd name="T45" fmla="*/ 158 h 340"/>
                    <a:gd name="T46" fmla="*/ 87 w 336"/>
                    <a:gd name="T47" fmla="*/ 188 h 340"/>
                    <a:gd name="T48" fmla="*/ 65 w 336"/>
                    <a:gd name="T49" fmla="*/ 212 h 340"/>
                    <a:gd name="T50" fmla="*/ 48 w 336"/>
                    <a:gd name="T51" fmla="*/ 218 h 340"/>
                    <a:gd name="T52" fmla="*/ 21 w 336"/>
                    <a:gd name="T53" fmla="*/ 204 h 340"/>
                    <a:gd name="T54" fmla="*/ 0 w 336"/>
                    <a:gd name="T55" fmla="*/ 176 h 340"/>
                    <a:gd name="T56" fmla="*/ 23 w 336"/>
                    <a:gd name="T57" fmla="*/ 173 h 340"/>
                    <a:gd name="T58" fmla="*/ 43 w 336"/>
                    <a:gd name="T59" fmla="*/ 158 h 340"/>
                    <a:gd name="T60" fmla="*/ 72 w 336"/>
                    <a:gd name="T61" fmla="*/ 121 h 340"/>
                    <a:gd name="T62" fmla="*/ 44 w 336"/>
                    <a:gd name="T63" fmla="*/ 81 h 340"/>
                    <a:gd name="T64" fmla="*/ 37 w 336"/>
                    <a:gd name="T65" fmla="*/ 63 h 340"/>
                    <a:gd name="T66" fmla="*/ 33 w 336"/>
                    <a:gd name="T67" fmla="*/ 47 h 340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336" h="340">
                      <a:moveTo>
                        <a:pt x="51" y="74"/>
                      </a:moveTo>
                      <a:lnTo>
                        <a:pt x="75" y="37"/>
                      </a:lnTo>
                      <a:lnTo>
                        <a:pt x="111" y="0"/>
                      </a:lnTo>
                      <a:lnTo>
                        <a:pt x="113" y="33"/>
                      </a:lnTo>
                      <a:lnTo>
                        <a:pt x="127" y="66"/>
                      </a:lnTo>
                      <a:lnTo>
                        <a:pt x="159" y="126"/>
                      </a:lnTo>
                      <a:lnTo>
                        <a:pt x="185" y="97"/>
                      </a:lnTo>
                      <a:lnTo>
                        <a:pt x="212" y="67"/>
                      </a:lnTo>
                      <a:lnTo>
                        <a:pt x="250" y="40"/>
                      </a:lnTo>
                      <a:lnTo>
                        <a:pt x="281" y="37"/>
                      </a:lnTo>
                      <a:lnTo>
                        <a:pt x="311" y="56"/>
                      </a:lnTo>
                      <a:lnTo>
                        <a:pt x="325" y="94"/>
                      </a:lnTo>
                      <a:lnTo>
                        <a:pt x="305" y="99"/>
                      </a:lnTo>
                      <a:lnTo>
                        <a:pt x="288" y="104"/>
                      </a:lnTo>
                      <a:lnTo>
                        <a:pt x="212" y="185"/>
                      </a:lnTo>
                      <a:lnTo>
                        <a:pt x="257" y="224"/>
                      </a:lnTo>
                      <a:lnTo>
                        <a:pt x="296" y="245"/>
                      </a:lnTo>
                      <a:lnTo>
                        <a:pt x="336" y="250"/>
                      </a:lnTo>
                      <a:lnTo>
                        <a:pt x="325" y="275"/>
                      </a:lnTo>
                      <a:lnTo>
                        <a:pt x="296" y="310"/>
                      </a:lnTo>
                      <a:lnTo>
                        <a:pt x="267" y="319"/>
                      </a:lnTo>
                      <a:lnTo>
                        <a:pt x="224" y="297"/>
                      </a:lnTo>
                      <a:lnTo>
                        <a:pt x="167" y="247"/>
                      </a:lnTo>
                      <a:lnTo>
                        <a:pt x="135" y="293"/>
                      </a:lnTo>
                      <a:lnTo>
                        <a:pt x="101" y="330"/>
                      </a:lnTo>
                      <a:lnTo>
                        <a:pt x="74" y="340"/>
                      </a:lnTo>
                      <a:lnTo>
                        <a:pt x="33" y="318"/>
                      </a:lnTo>
                      <a:lnTo>
                        <a:pt x="0" y="274"/>
                      </a:lnTo>
                      <a:lnTo>
                        <a:pt x="35" y="270"/>
                      </a:lnTo>
                      <a:lnTo>
                        <a:pt x="67" y="247"/>
                      </a:lnTo>
                      <a:lnTo>
                        <a:pt x="112" y="188"/>
                      </a:lnTo>
                      <a:lnTo>
                        <a:pt x="69" y="127"/>
                      </a:lnTo>
                      <a:lnTo>
                        <a:pt x="57" y="99"/>
                      </a:lnTo>
                      <a:lnTo>
                        <a:pt x="51" y="74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grpSp>
            <p:nvGrpSpPr>
              <p:cNvPr id="41" name="Group 40">
                <a:extLst>
                  <a:ext uri="{FF2B5EF4-FFF2-40B4-BE49-F238E27FC236}">
                    <a16:creationId xmlns:a16="http://schemas.microsoft.com/office/drawing/2014/main" id="{EB3C54E5-A2DF-0470-4984-F64CF4A9EB4B}"/>
                  </a:ext>
                </a:extLst>
              </p:cNvPr>
              <p:cNvGrpSpPr/>
              <p:nvPr/>
            </p:nvGrpSpPr>
            <p:grpSpPr>
              <a:xfrm>
                <a:off x="5374099" y="5392988"/>
                <a:ext cx="370502" cy="370502"/>
                <a:chOff x="7577881" y="1283110"/>
                <a:chExt cx="589936" cy="589936"/>
              </a:xfrm>
            </p:grpSpPr>
            <p:sp>
              <p:nvSpPr>
                <p:cNvPr id="51" name="Oval 50">
                  <a:extLst>
                    <a:ext uri="{FF2B5EF4-FFF2-40B4-BE49-F238E27FC236}">
                      <a16:creationId xmlns:a16="http://schemas.microsoft.com/office/drawing/2014/main" id="{5943BA00-365E-45E2-392B-D66004C62712}"/>
                    </a:ext>
                  </a:extLst>
                </p:cNvPr>
                <p:cNvSpPr/>
                <p:nvPr/>
              </p:nvSpPr>
              <p:spPr>
                <a:xfrm>
                  <a:off x="7577881" y="1283110"/>
                  <a:ext cx="589936" cy="589936"/>
                </a:xfrm>
                <a:prstGeom prst="ellipse">
                  <a:avLst/>
                </a:prstGeom>
                <a:solidFill>
                  <a:srgbClr val="00B050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52" name="Freeform 281">
                  <a:extLst>
                    <a:ext uri="{FF2B5EF4-FFF2-40B4-BE49-F238E27FC236}">
                      <a16:creationId xmlns:a16="http://schemas.microsoft.com/office/drawing/2014/main" id="{65184889-8C47-F4C3-9276-C1C6822A68C9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721173" y="1425050"/>
                  <a:ext cx="303352" cy="306056"/>
                </a:xfrm>
                <a:custGeom>
                  <a:avLst/>
                  <a:gdLst>
                    <a:gd name="T0" fmla="*/ 33 w 336"/>
                    <a:gd name="T1" fmla="*/ 47 h 340"/>
                    <a:gd name="T2" fmla="*/ 48 w 336"/>
                    <a:gd name="T3" fmla="*/ 24 h 340"/>
                    <a:gd name="T4" fmla="*/ 71 w 336"/>
                    <a:gd name="T5" fmla="*/ 0 h 340"/>
                    <a:gd name="T6" fmla="*/ 73 w 336"/>
                    <a:gd name="T7" fmla="*/ 21 h 340"/>
                    <a:gd name="T8" fmla="*/ 82 w 336"/>
                    <a:gd name="T9" fmla="*/ 42 h 340"/>
                    <a:gd name="T10" fmla="*/ 102 w 336"/>
                    <a:gd name="T11" fmla="*/ 81 h 340"/>
                    <a:gd name="T12" fmla="*/ 119 w 336"/>
                    <a:gd name="T13" fmla="*/ 62 h 340"/>
                    <a:gd name="T14" fmla="*/ 136 w 336"/>
                    <a:gd name="T15" fmla="*/ 43 h 340"/>
                    <a:gd name="T16" fmla="*/ 161 w 336"/>
                    <a:gd name="T17" fmla="*/ 26 h 340"/>
                    <a:gd name="T18" fmla="*/ 181 w 336"/>
                    <a:gd name="T19" fmla="*/ 24 h 340"/>
                    <a:gd name="T20" fmla="*/ 200 w 336"/>
                    <a:gd name="T21" fmla="*/ 36 h 340"/>
                    <a:gd name="T22" fmla="*/ 209 w 336"/>
                    <a:gd name="T23" fmla="*/ 60 h 340"/>
                    <a:gd name="T24" fmla="*/ 196 w 336"/>
                    <a:gd name="T25" fmla="*/ 63 h 340"/>
                    <a:gd name="T26" fmla="*/ 185 w 336"/>
                    <a:gd name="T27" fmla="*/ 67 h 340"/>
                    <a:gd name="T28" fmla="*/ 136 w 336"/>
                    <a:gd name="T29" fmla="*/ 119 h 340"/>
                    <a:gd name="T30" fmla="*/ 165 w 336"/>
                    <a:gd name="T31" fmla="*/ 144 h 340"/>
                    <a:gd name="T32" fmla="*/ 190 w 336"/>
                    <a:gd name="T33" fmla="*/ 157 h 340"/>
                    <a:gd name="T34" fmla="*/ 216 w 336"/>
                    <a:gd name="T35" fmla="*/ 160 h 340"/>
                    <a:gd name="T36" fmla="*/ 209 w 336"/>
                    <a:gd name="T37" fmla="*/ 176 h 340"/>
                    <a:gd name="T38" fmla="*/ 190 w 336"/>
                    <a:gd name="T39" fmla="*/ 199 h 340"/>
                    <a:gd name="T40" fmla="*/ 172 w 336"/>
                    <a:gd name="T41" fmla="*/ 205 h 340"/>
                    <a:gd name="T42" fmla="*/ 144 w 336"/>
                    <a:gd name="T43" fmla="*/ 190 h 340"/>
                    <a:gd name="T44" fmla="*/ 107 w 336"/>
                    <a:gd name="T45" fmla="*/ 158 h 340"/>
                    <a:gd name="T46" fmla="*/ 87 w 336"/>
                    <a:gd name="T47" fmla="*/ 188 h 340"/>
                    <a:gd name="T48" fmla="*/ 65 w 336"/>
                    <a:gd name="T49" fmla="*/ 212 h 340"/>
                    <a:gd name="T50" fmla="*/ 48 w 336"/>
                    <a:gd name="T51" fmla="*/ 218 h 340"/>
                    <a:gd name="T52" fmla="*/ 21 w 336"/>
                    <a:gd name="T53" fmla="*/ 204 h 340"/>
                    <a:gd name="T54" fmla="*/ 0 w 336"/>
                    <a:gd name="T55" fmla="*/ 176 h 340"/>
                    <a:gd name="T56" fmla="*/ 23 w 336"/>
                    <a:gd name="T57" fmla="*/ 173 h 340"/>
                    <a:gd name="T58" fmla="*/ 43 w 336"/>
                    <a:gd name="T59" fmla="*/ 158 h 340"/>
                    <a:gd name="T60" fmla="*/ 72 w 336"/>
                    <a:gd name="T61" fmla="*/ 121 h 340"/>
                    <a:gd name="T62" fmla="*/ 44 w 336"/>
                    <a:gd name="T63" fmla="*/ 81 h 340"/>
                    <a:gd name="T64" fmla="*/ 37 w 336"/>
                    <a:gd name="T65" fmla="*/ 63 h 340"/>
                    <a:gd name="T66" fmla="*/ 33 w 336"/>
                    <a:gd name="T67" fmla="*/ 47 h 340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336" h="340">
                      <a:moveTo>
                        <a:pt x="51" y="74"/>
                      </a:moveTo>
                      <a:lnTo>
                        <a:pt x="75" y="37"/>
                      </a:lnTo>
                      <a:lnTo>
                        <a:pt x="111" y="0"/>
                      </a:lnTo>
                      <a:lnTo>
                        <a:pt x="113" y="33"/>
                      </a:lnTo>
                      <a:lnTo>
                        <a:pt x="127" y="66"/>
                      </a:lnTo>
                      <a:lnTo>
                        <a:pt x="159" y="126"/>
                      </a:lnTo>
                      <a:lnTo>
                        <a:pt x="185" y="97"/>
                      </a:lnTo>
                      <a:lnTo>
                        <a:pt x="212" y="67"/>
                      </a:lnTo>
                      <a:lnTo>
                        <a:pt x="250" y="40"/>
                      </a:lnTo>
                      <a:lnTo>
                        <a:pt x="281" y="37"/>
                      </a:lnTo>
                      <a:lnTo>
                        <a:pt x="311" y="56"/>
                      </a:lnTo>
                      <a:lnTo>
                        <a:pt x="325" y="94"/>
                      </a:lnTo>
                      <a:lnTo>
                        <a:pt x="305" y="99"/>
                      </a:lnTo>
                      <a:lnTo>
                        <a:pt x="288" y="104"/>
                      </a:lnTo>
                      <a:lnTo>
                        <a:pt x="212" y="185"/>
                      </a:lnTo>
                      <a:lnTo>
                        <a:pt x="257" y="224"/>
                      </a:lnTo>
                      <a:lnTo>
                        <a:pt x="296" y="245"/>
                      </a:lnTo>
                      <a:lnTo>
                        <a:pt x="336" y="250"/>
                      </a:lnTo>
                      <a:lnTo>
                        <a:pt x="325" y="275"/>
                      </a:lnTo>
                      <a:lnTo>
                        <a:pt x="296" y="310"/>
                      </a:lnTo>
                      <a:lnTo>
                        <a:pt x="267" y="319"/>
                      </a:lnTo>
                      <a:lnTo>
                        <a:pt x="224" y="297"/>
                      </a:lnTo>
                      <a:lnTo>
                        <a:pt x="167" y="247"/>
                      </a:lnTo>
                      <a:lnTo>
                        <a:pt x="135" y="293"/>
                      </a:lnTo>
                      <a:lnTo>
                        <a:pt x="101" y="330"/>
                      </a:lnTo>
                      <a:lnTo>
                        <a:pt x="74" y="340"/>
                      </a:lnTo>
                      <a:lnTo>
                        <a:pt x="33" y="318"/>
                      </a:lnTo>
                      <a:lnTo>
                        <a:pt x="0" y="274"/>
                      </a:lnTo>
                      <a:lnTo>
                        <a:pt x="35" y="270"/>
                      </a:lnTo>
                      <a:lnTo>
                        <a:pt x="67" y="247"/>
                      </a:lnTo>
                      <a:lnTo>
                        <a:pt x="112" y="188"/>
                      </a:lnTo>
                      <a:lnTo>
                        <a:pt x="69" y="127"/>
                      </a:lnTo>
                      <a:lnTo>
                        <a:pt x="57" y="99"/>
                      </a:lnTo>
                      <a:lnTo>
                        <a:pt x="51" y="74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grpSp>
            <p:nvGrpSpPr>
              <p:cNvPr id="94" name="Group 93">
                <a:extLst>
                  <a:ext uri="{FF2B5EF4-FFF2-40B4-BE49-F238E27FC236}">
                    <a16:creationId xmlns:a16="http://schemas.microsoft.com/office/drawing/2014/main" id="{A5BB3BF8-369B-71E5-E604-FFA076CB11C8}"/>
                  </a:ext>
                </a:extLst>
              </p:cNvPr>
              <p:cNvGrpSpPr/>
              <p:nvPr/>
            </p:nvGrpSpPr>
            <p:grpSpPr>
              <a:xfrm>
                <a:off x="6213445" y="1258786"/>
                <a:ext cx="928468" cy="4504704"/>
                <a:chOff x="6213445" y="1258786"/>
                <a:chExt cx="928468" cy="4504704"/>
              </a:xfrm>
            </p:grpSpPr>
            <p:sp>
              <p:nvSpPr>
                <p:cNvPr id="12" name="Rectangle 11">
                  <a:extLst>
                    <a:ext uri="{FF2B5EF4-FFF2-40B4-BE49-F238E27FC236}">
                      <a16:creationId xmlns:a16="http://schemas.microsoft.com/office/drawing/2014/main" id="{E0E1624D-6F8E-4EB6-7AC1-A105E66F223F}"/>
                    </a:ext>
                  </a:extLst>
                </p:cNvPr>
                <p:cNvSpPr/>
                <p:nvPr/>
              </p:nvSpPr>
              <p:spPr>
                <a:xfrm>
                  <a:off x="6213445" y="1258786"/>
                  <a:ext cx="928468" cy="215444"/>
                </a:xfrm>
                <a:prstGeom prst="rect">
                  <a:avLst/>
                </a:prstGeom>
                <a:noFill/>
                <a:ln w="12700" cap="rnd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square" lIns="0" tIns="0" rIns="0" bIns="0" anchor="ctr" anchorCtr="0">
                  <a:sp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chemeClr val="accent1"/>
                      </a:solidFill>
                      <a:latin typeface="+mn-lt"/>
                    </a:rPr>
                    <a:t>Heading 3</a:t>
                  </a:r>
                </a:p>
              </p:txBody>
            </p:sp>
            <p:grpSp>
              <p:nvGrpSpPr>
                <p:cNvPr id="17" name="Group 16">
                  <a:extLst>
                    <a:ext uri="{FF2B5EF4-FFF2-40B4-BE49-F238E27FC236}">
                      <a16:creationId xmlns:a16="http://schemas.microsoft.com/office/drawing/2014/main" id="{A1E2C11E-B7E6-FCEC-938D-07092CB19BBD}"/>
                    </a:ext>
                  </a:extLst>
                </p:cNvPr>
                <p:cNvGrpSpPr/>
                <p:nvPr/>
              </p:nvGrpSpPr>
              <p:grpSpPr>
                <a:xfrm>
                  <a:off x="6492428" y="1698595"/>
                  <a:ext cx="370502" cy="370502"/>
                  <a:chOff x="7577881" y="1283110"/>
                  <a:chExt cx="589936" cy="589936"/>
                </a:xfrm>
              </p:grpSpPr>
              <p:sp>
                <p:nvSpPr>
                  <p:cNvPr id="88" name="Oval 87">
                    <a:extLst>
                      <a:ext uri="{FF2B5EF4-FFF2-40B4-BE49-F238E27FC236}">
                        <a16:creationId xmlns:a16="http://schemas.microsoft.com/office/drawing/2014/main" id="{46D1791E-B136-AC8C-996B-FADDF601C16E}"/>
                      </a:ext>
                    </a:extLst>
                  </p:cNvPr>
                  <p:cNvSpPr/>
                  <p:nvPr/>
                </p:nvSpPr>
                <p:spPr>
                  <a:xfrm>
                    <a:off x="7577881" y="1283110"/>
                    <a:ext cx="589936" cy="589936"/>
                  </a:xfrm>
                  <a:prstGeom prst="ellipse">
                    <a:avLst/>
                  </a:prstGeom>
                  <a:solidFill>
                    <a:srgbClr val="00B050"/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 err="1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89" name="Freeform 281">
                    <a:extLst>
                      <a:ext uri="{FF2B5EF4-FFF2-40B4-BE49-F238E27FC236}">
                        <a16:creationId xmlns:a16="http://schemas.microsoft.com/office/drawing/2014/main" id="{14DE23CF-D545-07AA-E6CC-83BEF366000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7721173" y="1425050"/>
                    <a:ext cx="303352" cy="306056"/>
                  </a:xfrm>
                  <a:custGeom>
                    <a:avLst/>
                    <a:gdLst>
                      <a:gd name="T0" fmla="*/ 33 w 336"/>
                      <a:gd name="T1" fmla="*/ 47 h 340"/>
                      <a:gd name="T2" fmla="*/ 48 w 336"/>
                      <a:gd name="T3" fmla="*/ 24 h 340"/>
                      <a:gd name="T4" fmla="*/ 71 w 336"/>
                      <a:gd name="T5" fmla="*/ 0 h 340"/>
                      <a:gd name="T6" fmla="*/ 73 w 336"/>
                      <a:gd name="T7" fmla="*/ 21 h 340"/>
                      <a:gd name="T8" fmla="*/ 82 w 336"/>
                      <a:gd name="T9" fmla="*/ 42 h 340"/>
                      <a:gd name="T10" fmla="*/ 102 w 336"/>
                      <a:gd name="T11" fmla="*/ 81 h 340"/>
                      <a:gd name="T12" fmla="*/ 119 w 336"/>
                      <a:gd name="T13" fmla="*/ 62 h 340"/>
                      <a:gd name="T14" fmla="*/ 136 w 336"/>
                      <a:gd name="T15" fmla="*/ 43 h 340"/>
                      <a:gd name="T16" fmla="*/ 161 w 336"/>
                      <a:gd name="T17" fmla="*/ 26 h 340"/>
                      <a:gd name="T18" fmla="*/ 181 w 336"/>
                      <a:gd name="T19" fmla="*/ 24 h 340"/>
                      <a:gd name="T20" fmla="*/ 200 w 336"/>
                      <a:gd name="T21" fmla="*/ 36 h 340"/>
                      <a:gd name="T22" fmla="*/ 209 w 336"/>
                      <a:gd name="T23" fmla="*/ 60 h 340"/>
                      <a:gd name="T24" fmla="*/ 196 w 336"/>
                      <a:gd name="T25" fmla="*/ 63 h 340"/>
                      <a:gd name="T26" fmla="*/ 185 w 336"/>
                      <a:gd name="T27" fmla="*/ 67 h 340"/>
                      <a:gd name="T28" fmla="*/ 136 w 336"/>
                      <a:gd name="T29" fmla="*/ 119 h 340"/>
                      <a:gd name="T30" fmla="*/ 165 w 336"/>
                      <a:gd name="T31" fmla="*/ 144 h 340"/>
                      <a:gd name="T32" fmla="*/ 190 w 336"/>
                      <a:gd name="T33" fmla="*/ 157 h 340"/>
                      <a:gd name="T34" fmla="*/ 216 w 336"/>
                      <a:gd name="T35" fmla="*/ 160 h 340"/>
                      <a:gd name="T36" fmla="*/ 209 w 336"/>
                      <a:gd name="T37" fmla="*/ 176 h 340"/>
                      <a:gd name="T38" fmla="*/ 190 w 336"/>
                      <a:gd name="T39" fmla="*/ 199 h 340"/>
                      <a:gd name="T40" fmla="*/ 172 w 336"/>
                      <a:gd name="T41" fmla="*/ 205 h 340"/>
                      <a:gd name="T42" fmla="*/ 144 w 336"/>
                      <a:gd name="T43" fmla="*/ 190 h 340"/>
                      <a:gd name="T44" fmla="*/ 107 w 336"/>
                      <a:gd name="T45" fmla="*/ 158 h 340"/>
                      <a:gd name="T46" fmla="*/ 87 w 336"/>
                      <a:gd name="T47" fmla="*/ 188 h 340"/>
                      <a:gd name="T48" fmla="*/ 65 w 336"/>
                      <a:gd name="T49" fmla="*/ 212 h 340"/>
                      <a:gd name="T50" fmla="*/ 48 w 336"/>
                      <a:gd name="T51" fmla="*/ 218 h 340"/>
                      <a:gd name="T52" fmla="*/ 21 w 336"/>
                      <a:gd name="T53" fmla="*/ 204 h 340"/>
                      <a:gd name="T54" fmla="*/ 0 w 336"/>
                      <a:gd name="T55" fmla="*/ 176 h 340"/>
                      <a:gd name="T56" fmla="*/ 23 w 336"/>
                      <a:gd name="T57" fmla="*/ 173 h 340"/>
                      <a:gd name="T58" fmla="*/ 43 w 336"/>
                      <a:gd name="T59" fmla="*/ 158 h 340"/>
                      <a:gd name="T60" fmla="*/ 72 w 336"/>
                      <a:gd name="T61" fmla="*/ 121 h 340"/>
                      <a:gd name="T62" fmla="*/ 44 w 336"/>
                      <a:gd name="T63" fmla="*/ 81 h 340"/>
                      <a:gd name="T64" fmla="*/ 37 w 336"/>
                      <a:gd name="T65" fmla="*/ 63 h 340"/>
                      <a:gd name="T66" fmla="*/ 33 w 336"/>
                      <a:gd name="T67" fmla="*/ 47 h 340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</a:gdLst>
                    <a:ahLst/>
                    <a:cxnLst>
                      <a:cxn ang="T68">
                        <a:pos x="T0" y="T1"/>
                      </a:cxn>
                      <a:cxn ang="T69">
                        <a:pos x="T2" y="T3"/>
                      </a:cxn>
                      <a:cxn ang="T70">
                        <a:pos x="T4" y="T5"/>
                      </a:cxn>
                      <a:cxn ang="T71">
                        <a:pos x="T6" y="T7"/>
                      </a:cxn>
                      <a:cxn ang="T72">
                        <a:pos x="T8" y="T9"/>
                      </a:cxn>
                      <a:cxn ang="T73">
                        <a:pos x="T10" y="T11"/>
                      </a:cxn>
                      <a:cxn ang="T74">
                        <a:pos x="T12" y="T13"/>
                      </a:cxn>
                      <a:cxn ang="T75">
                        <a:pos x="T14" y="T15"/>
                      </a:cxn>
                      <a:cxn ang="T76">
                        <a:pos x="T16" y="T17"/>
                      </a:cxn>
                      <a:cxn ang="T77">
                        <a:pos x="T18" y="T19"/>
                      </a:cxn>
                      <a:cxn ang="T78">
                        <a:pos x="T20" y="T21"/>
                      </a:cxn>
                      <a:cxn ang="T79">
                        <a:pos x="T22" y="T23"/>
                      </a:cxn>
                      <a:cxn ang="T80">
                        <a:pos x="T24" y="T25"/>
                      </a:cxn>
                      <a:cxn ang="T81">
                        <a:pos x="T26" y="T27"/>
                      </a:cxn>
                      <a:cxn ang="T82">
                        <a:pos x="T28" y="T29"/>
                      </a:cxn>
                      <a:cxn ang="T83">
                        <a:pos x="T30" y="T31"/>
                      </a:cxn>
                      <a:cxn ang="T84">
                        <a:pos x="T32" y="T33"/>
                      </a:cxn>
                      <a:cxn ang="T85">
                        <a:pos x="T34" y="T35"/>
                      </a:cxn>
                      <a:cxn ang="T86">
                        <a:pos x="T36" y="T37"/>
                      </a:cxn>
                      <a:cxn ang="T87">
                        <a:pos x="T38" y="T39"/>
                      </a:cxn>
                      <a:cxn ang="T88">
                        <a:pos x="T40" y="T41"/>
                      </a:cxn>
                      <a:cxn ang="T89">
                        <a:pos x="T42" y="T43"/>
                      </a:cxn>
                      <a:cxn ang="T90">
                        <a:pos x="T44" y="T45"/>
                      </a:cxn>
                      <a:cxn ang="T91">
                        <a:pos x="T46" y="T47"/>
                      </a:cxn>
                      <a:cxn ang="T92">
                        <a:pos x="T48" y="T49"/>
                      </a:cxn>
                      <a:cxn ang="T93">
                        <a:pos x="T50" y="T51"/>
                      </a:cxn>
                      <a:cxn ang="T94">
                        <a:pos x="T52" y="T53"/>
                      </a:cxn>
                      <a:cxn ang="T95">
                        <a:pos x="T54" y="T55"/>
                      </a:cxn>
                      <a:cxn ang="T96">
                        <a:pos x="T56" y="T57"/>
                      </a:cxn>
                      <a:cxn ang="T97">
                        <a:pos x="T58" y="T59"/>
                      </a:cxn>
                      <a:cxn ang="T98">
                        <a:pos x="T60" y="T61"/>
                      </a:cxn>
                      <a:cxn ang="T99">
                        <a:pos x="T62" y="T63"/>
                      </a:cxn>
                      <a:cxn ang="T100">
                        <a:pos x="T64" y="T65"/>
                      </a:cxn>
                      <a:cxn ang="T101">
                        <a:pos x="T66" y="T67"/>
                      </a:cxn>
                    </a:cxnLst>
                    <a:rect l="0" t="0" r="r" b="b"/>
                    <a:pathLst>
                      <a:path w="336" h="340">
                        <a:moveTo>
                          <a:pt x="51" y="74"/>
                        </a:moveTo>
                        <a:lnTo>
                          <a:pt x="75" y="37"/>
                        </a:lnTo>
                        <a:lnTo>
                          <a:pt x="111" y="0"/>
                        </a:lnTo>
                        <a:lnTo>
                          <a:pt x="113" y="33"/>
                        </a:lnTo>
                        <a:lnTo>
                          <a:pt x="127" y="66"/>
                        </a:lnTo>
                        <a:lnTo>
                          <a:pt x="159" y="126"/>
                        </a:lnTo>
                        <a:lnTo>
                          <a:pt x="185" y="97"/>
                        </a:lnTo>
                        <a:lnTo>
                          <a:pt x="212" y="67"/>
                        </a:lnTo>
                        <a:lnTo>
                          <a:pt x="250" y="40"/>
                        </a:lnTo>
                        <a:lnTo>
                          <a:pt x="281" y="37"/>
                        </a:lnTo>
                        <a:lnTo>
                          <a:pt x="311" y="56"/>
                        </a:lnTo>
                        <a:lnTo>
                          <a:pt x="325" y="94"/>
                        </a:lnTo>
                        <a:lnTo>
                          <a:pt x="305" y="99"/>
                        </a:lnTo>
                        <a:lnTo>
                          <a:pt x="288" y="104"/>
                        </a:lnTo>
                        <a:lnTo>
                          <a:pt x="212" y="185"/>
                        </a:lnTo>
                        <a:lnTo>
                          <a:pt x="257" y="224"/>
                        </a:lnTo>
                        <a:lnTo>
                          <a:pt x="296" y="245"/>
                        </a:lnTo>
                        <a:lnTo>
                          <a:pt x="336" y="250"/>
                        </a:lnTo>
                        <a:lnTo>
                          <a:pt x="325" y="275"/>
                        </a:lnTo>
                        <a:lnTo>
                          <a:pt x="296" y="310"/>
                        </a:lnTo>
                        <a:lnTo>
                          <a:pt x="267" y="319"/>
                        </a:lnTo>
                        <a:lnTo>
                          <a:pt x="224" y="297"/>
                        </a:lnTo>
                        <a:lnTo>
                          <a:pt x="167" y="247"/>
                        </a:lnTo>
                        <a:lnTo>
                          <a:pt x="135" y="293"/>
                        </a:lnTo>
                        <a:lnTo>
                          <a:pt x="101" y="330"/>
                        </a:lnTo>
                        <a:lnTo>
                          <a:pt x="74" y="340"/>
                        </a:lnTo>
                        <a:lnTo>
                          <a:pt x="33" y="318"/>
                        </a:lnTo>
                        <a:lnTo>
                          <a:pt x="0" y="274"/>
                        </a:lnTo>
                        <a:lnTo>
                          <a:pt x="35" y="270"/>
                        </a:lnTo>
                        <a:lnTo>
                          <a:pt x="67" y="247"/>
                        </a:lnTo>
                        <a:lnTo>
                          <a:pt x="112" y="188"/>
                        </a:lnTo>
                        <a:lnTo>
                          <a:pt x="69" y="127"/>
                        </a:lnTo>
                        <a:lnTo>
                          <a:pt x="57" y="99"/>
                        </a:lnTo>
                        <a:lnTo>
                          <a:pt x="51" y="74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  <a:ln w="9525" cap="flat" cmpd="sng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21" name="Group 20">
                  <a:extLst>
                    <a:ext uri="{FF2B5EF4-FFF2-40B4-BE49-F238E27FC236}">
                      <a16:creationId xmlns:a16="http://schemas.microsoft.com/office/drawing/2014/main" id="{9CA5F993-D55D-70CC-8437-728B6CD7EAC3}"/>
                    </a:ext>
                  </a:extLst>
                </p:cNvPr>
                <p:cNvGrpSpPr/>
                <p:nvPr/>
              </p:nvGrpSpPr>
              <p:grpSpPr>
                <a:xfrm>
                  <a:off x="6492428" y="2437474"/>
                  <a:ext cx="370502" cy="370502"/>
                  <a:chOff x="7577881" y="1283110"/>
                  <a:chExt cx="589936" cy="589936"/>
                </a:xfrm>
              </p:grpSpPr>
              <p:sp>
                <p:nvSpPr>
                  <p:cNvPr id="80" name="Oval 79">
                    <a:extLst>
                      <a:ext uri="{FF2B5EF4-FFF2-40B4-BE49-F238E27FC236}">
                        <a16:creationId xmlns:a16="http://schemas.microsoft.com/office/drawing/2014/main" id="{4A25072D-E146-4FD6-0441-4BFCB60F5810}"/>
                      </a:ext>
                    </a:extLst>
                  </p:cNvPr>
                  <p:cNvSpPr/>
                  <p:nvPr/>
                </p:nvSpPr>
                <p:spPr>
                  <a:xfrm>
                    <a:off x="7577881" y="1283110"/>
                    <a:ext cx="589936" cy="589936"/>
                  </a:xfrm>
                  <a:prstGeom prst="ellipse">
                    <a:avLst/>
                  </a:prstGeom>
                  <a:solidFill>
                    <a:srgbClr val="00B050"/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 err="1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81" name="Freeform 281">
                    <a:extLst>
                      <a:ext uri="{FF2B5EF4-FFF2-40B4-BE49-F238E27FC236}">
                        <a16:creationId xmlns:a16="http://schemas.microsoft.com/office/drawing/2014/main" id="{7A17D9FE-C8E2-A9D9-34C7-246A84C4130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7721173" y="1425050"/>
                    <a:ext cx="303352" cy="306056"/>
                  </a:xfrm>
                  <a:custGeom>
                    <a:avLst/>
                    <a:gdLst>
                      <a:gd name="T0" fmla="*/ 33 w 336"/>
                      <a:gd name="T1" fmla="*/ 47 h 340"/>
                      <a:gd name="T2" fmla="*/ 48 w 336"/>
                      <a:gd name="T3" fmla="*/ 24 h 340"/>
                      <a:gd name="T4" fmla="*/ 71 w 336"/>
                      <a:gd name="T5" fmla="*/ 0 h 340"/>
                      <a:gd name="T6" fmla="*/ 73 w 336"/>
                      <a:gd name="T7" fmla="*/ 21 h 340"/>
                      <a:gd name="T8" fmla="*/ 82 w 336"/>
                      <a:gd name="T9" fmla="*/ 42 h 340"/>
                      <a:gd name="T10" fmla="*/ 102 w 336"/>
                      <a:gd name="T11" fmla="*/ 81 h 340"/>
                      <a:gd name="T12" fmla="*/ 119 w 336"/>
                      <a:gd name="T13" fmla="*/ 62 h 340"/>
                      <a:gd name="T14" fmla="*/ 136 w 336"/>
                      <a:gd name="T15" fmla="*/ 43 h 340"/>
                      <a:gd name="T16" fmla="*/ 161 w 336"/>
                      <a:gd name="T17" fmla="*/ 26 h 340"/>
                      <a:gd name="T18" fmla="*/ 181 w 336"/>
                      <a:gd name="T19" fmla="*/ 24 h 340"/>
                      <a:gd name="T20" fmla="*/ 200 w 336"/>
                      <a:gd name="T21" fmla="*/ 36 h 340"/>
                      <a:gd name="T22" fmla="*/ 209 w 336"/>
                      <a:gd name="T23" fmla="*/ 60 h 340"/>
                      <a:gd name="T24" fmla="*/ 196 w 336"/>
                      <a:gd name="T25" fmla="*/ 63 h 340"/>
                      <a:gd name="T26" fmla="*/ 185 w 336"/>
                      <a:gd name="T27" fmla="*/ 67 h 340"/>
                      <a:gd name="T28" fmla="*/ 136 w 336"/>
                      <a:gd name="T29" fmla="*/ 119 h 340"/>
                      <a:gd name="T30" fmla="*/ 165 w 336"/>
                      <a:gd name="T31" fmla="*/ 144 h 340"/>
                      <a:gd name="T32" fmla="*/ 190 w 336"/>
                      <a:gd name="T33" fmla="*/ 157 h 340"/>
                      <a:gd name="T34" fmla="*/ 216 w 336"/>
                      <a:gd name="T35" fmla="*/ 160 h 340"/>
                      <a:gd name="T36" fmla="*/ 209 w 336"/>
                      <a:gd name="T37" fmla="*/ 176 h 340"/>
                      <a:gd name="T38" fmla="*/ 190 w 336"/>
                      <a:gd name="T39" fmla="*/ 199 h 340"/>
                      <a:gd name="T40" fmla="*/ 172 w 336"/>
                      <a:gd name="T41" fmla="*/ 205 h 340"/>
                      <a:gd name="T42" fmla="*/ 144 w 336"/>
                      <a:gd name="T43" fmla="*/ 190 h 340"/>
                      <a:gd name="T44" fmla="*/ 107 w 336"/>
                      <a:gd name="T45" fmla="*/ 158 h 340"/>
                      <a:gd name="T46" fmla="*/ 87 w 336"/>
                      <a:gd name="T47" fmla="*/ 188 h 340"/>
                      <a:gd name="T48" fmla="*/ 65 w 336"/>
                      <a:gd name="T49" fmla="*/ 212 h 340"/>
                      <a:gd name="T50" fmla="*/ 48 w 336"/>
                      <a:gd name="T51" fmla="*/ 218 h 340"/>
                      <a:gd name="T52" fmla="*/ 21 w 336"/>
                      <a:gd name="T53" fmla="*/ 204 h 340"/>
                      <a:gd name="T54" fmla="*/ 0 w 336"/>
                      <a:gd name="T55" fmla="*/ 176 h 340"/>
                      <a:gd name="T56" fmla="*/ 23 w 336"/>
                      <a:gd name="T57" fmla="*/ 173 h 340"/>
                      <a:gd name="T58" fmla="*/ 43 w 336"/>
                      <a:gd name="T59" fmla="*/ 158 h 340"/>
                      <a:gd name="T60" fmla="*/ 72 w 336"/>
                      <a:gd name="T61" fmla="*/ 121 h 340"/>
                      <a:gd name="T62" fmla="*/ 44 w 336"/>
                      <a:gd name="T63" fmla="*/ 81 h 340"/>
                      <a:gd name="T64" fmla="*/ 37 w 336"/>
                      <a:gd name="T65" fmla="*/ 63 h 340"/>
                      <a:gd name="T66" fmla="*/ 33 w 336"/>
                      <a:gd name="T67" fmla="*/ 47 h 340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</a:gdLst>
                    <a:ahLst/>
                    <a:cxnLst>
                      <a:cxn ang="T68">
                        <a:pos x="T0" y="T1"/>
                      </a:cxn>
                      <a:cxn ang="T69">
                        <a:pos x="T2" y="T3"/>
                      </a:cxn>
                      <a:cxn ang="T70">
                        <a:pos x="T4" y="T5"/>
                      </a:cxn>
                      <a:cxn ang="T71">
                        <a:pos x="T6" y="T7"/>
                      </a:cxn>
                      <a:cxn ang="T72">
                        <a:pos x="T8" y="T9"/>
                      </a:cxn>
                      <a:cxn ang="T73">
                        <a:pos x="T10" y="T11"/>
                      </a:cxn>
                      <a:cxn ang="T74">
                        <a:pos x="T12" y="T13"/>
                      </a:cxn>
                      <a:cxn ang="T75">
                        <a:pos x="T14" y="T15"/>
                      </a:cxn>
                      <a:cxn ang="T76">
                        <a:pos x="T16" y="T17"/>
                      </a:cxn>
                      <a:cxn ang="T77">
                        <a:pos x="T18" y="T19"/>
                      </a:cxn>
                      <a:cxn ang="T78">
                        <a:pos x="T20" y="T21"/>
                      </a:cxn>
                      <a:cxn ang="T79">
                        <a:pos x="T22" y="T23"/>
                      </a:cxn>
                      <a:cxn ang="T80">
                        <a:pos x="T24" y="T25"/>
                      </a:cxn>
                      <a:cxn ang="T81">
                        <a:pos x="T26" y="T27"/>
                      </a:cxn>
                      <a:cxn ang="T82">
                        <a:pos x="T28" y="T29"/>
                      </a:cxn>
                      <a:cxn ang="T83">
                        <a:pos x="T30" y="T31"/>
                      </a:cxn>
                      <a:cxn ang="T84">
                        <a:pos x="T32" y="T33"/>
                      </a:cxn>
                      <a:cxn ang="T85">
                        <a:pos x="T34" y="T35"/>
                      </a:cxn>
                      <a:cxn ang="T86">
                        <a:pos x="T36" y="T37"/>
                      </a:cxn>
                      <a:cxn ang="T87">
                        <a:pos x="T38" y="T39"/>
                      </a:cxn>
                      <a:cxn ang="T88">
                        <a:pos x="T40" y="T41"/>
                      </a:cxn>
                      <a:cxn ang="T89">
                        <a:pos x="T42" y="T43"/>
                      </a:cxn>
                      <a:cxn ang="T90">
                        <a:pos x="T44" y="T45"/>
                      </a:cxn>
                      <a:cxn ang="T91">
                        <a:pos x="T46" y="T47"/>
                      </a:cxn>
                      <a:cxn ang="T92">
                        <a:pos x="T48" y="T49"/>
                      </a:cxn>
                      <a:cxn ang="T93">
                        <a:pos x="T50" y="T51"/>
                      </a:cxn>
                      <a:cxn ang="T94">
                        <a:pos x="T52" y="T53"/>
                      </a:cxn>
                      <a:cxn ang="T95">
                        <a:pos x="T54" y="T55"/>
                      </a:cxn>
                      <a:cxn ang="T96">
                        <a:pos x="T56" y="T57"/>
                      </a:cxn>
                      <a:cxn ang="T97">
                        <a:pos x="T58" y="T59"/>
                      </a:cxn>
                      <a:cxn ang="T98">
                        <a:pos x="T60" y="T61"/>
                      </a:cxn>
                      <a:cxn ang="T99">
                        <a:pos x="T62" y="T63"/>
                      </a:cxn>
                      <a:cxn ang="T100">
                        <a:pos x="T64" y="T65"/>
                      </a:cxn>
                      <a:cxn ang="T101">
                        <a:pos x="T66" y="T67"/>
                      </a:cxn>
                    </a:cxnLst>
                    <a:rect l="0" t="0" r="r" b="b"/>
                    <a:pathLst>
                      <a:path w="336" h="340">
                        <a:moveTo>
                          <a:pt x="51" y="74"/>
                        </a:moveTo>
                        <a:lnTo>
                          <a:pt x="75" y="37"/>
                        </a:lnTo>
                        <a:lnTo>
                          <a:pt x="111" y="0"/>
                        </a:lnTo>
                        <a:lnTo>
                          <a:pt x="113" y="33"/>
                        </a:lnTo>
                        <a:lnTo>
                          <a:pt x="127" y="66"/>
                        </a:lnTo>
                        <a:lnTo>
                          <a:pt x="159" y="126"/>
                        </a:lnTo>
                        <a:lnTo>
                          <a:pt x="185" y="97"/>
                        </a:lnTo>
                        <a:lnTo>
                          <a:pt x="212" y="67"/>
                        </a:lnTo>
                        <a:lnTo>
                          <a:pt x="250" y="40"/>
                        </a:lnTo>
                        <a:lnTo>
                          <a:pt x="281" y="37"/>
                        </a:lnTo>
                        <a:lnTo>
                          <a:pt x="311" y="56"/>
                        </a:lnTo>
                        <a:lnTo>
                          <a:pt x="325" y="94"/>
                        </a:lnTo>
                        <a:lnTo>
                          <a:pt x="305" y="99"/>
                        </a:lnTo>
                        <a:lnTo>
                          <a:pt x="288" y="104"/>
                        </a:lnTo>
                        <a:lnTo>
                          <a:pt x="212" y="185"/>
                        </a:lnTo>
                        <a:lnTo>
                          <a:pt x="257" y="224"/>
                        </a:lnTo>
                        <a:lnTo>
                          <a:pt x="296" y="245"/>
                        </a:lnTo>
                        <a:lnTo>
                          <a:pt x="336" y="250"/>
                        </a:lnTo>
                        <a:lnTo>
                          <a:pt x="325" y="275"/>
                        </a:lnTo>
                        <a:lnTo>
                          <a:pt x="296" y="310"/>
                        </a:lnTo>
                        <a:lnTo>
                          <a:pt x="267" y="319"/>
                        </a:lnTo>
                        <a:lnTo>
                          <a:pt x="224" y="297"/>
                        </a:lnTo>
                        <a:lnTo>
                          <a:pt x="167" y="247"/>
                        </a:lnTo>
                        <a:lnTo>
                          <a:pt x="135" y="293"/>
                        </a:lnTo>
                        <a:lnTo>
                          <a:pt x="101" y="330"/>
                        </a:lnTo>
                        <a:lnTo>
                          <a:pt x="74" y="340"/>
                        </a:lnTo>
                        <a:lnTo>
                          <a:pt x="33" y="318"/>
                        </a:lnTo>
                        <a:lnTo>
                          <a:pt x="0" y="274"/>
                        </a:lnTo>
                        <a:lnTo>
                          <a:pt x="35" y="270"/>
                        </a:lnTo>
                        <a:lnTo>
                          <a:pt x="67" y="247"/>
                        </a:lnTo>
                        <a:lnTo>
                          <a:pt x="112" y="188"/>
                        </a:lnTo>
                        <a:lnTo>
                          <a:pt x="69" y="127"/>
                        </a:lnTo>
                        <a:lnTo>
                          <a:pt x="57" y="99"/>
                        </a:lnTo>
                        <a:lnTo>
                          <a:pt x="51" y="74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  <a:ln w="9525" cap="flat" cmpd="sng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26" name="Group 25">
                  <a:extLst>
                    <a:ext uri="{FF2B5EF4-FFF2-40B4-BE49-F238E27FC236}">
                      <a16:creationId xmlns:a16="http://schemas.microsoft.com/office/drawing/2014/main" id="{8E2B0422-8FEA-2A7C-9B6D-668BF3386346}"/>
                    </a:ext>
                  </a:extLst>
                </p:cNvPr>
                <p:cNvGrpSpPr/>
                <p:nvPr/>
              </p:nvGrpSpPr>
              <p:grpSpPr>
                <a:xfrm>
                  <a:off x="6492428" y="3176353"/>
                  <a:ext cx="370502" cy="370502"/>
                  <a:chOff x="3551571" y="1283110"/>
                  <a:chExt cx="589936" cy="589936"/>
                </a:xfrm>
              </p:grpSpPr>
              <p:sp>
                <p:nvSpPr>
                  <p:cNvPr id="70" name="Oval 69">
                    <a:extLst>
                      <a:ext uri="{FF2B5EF4-FFF2-40B4-BE49-F238E27FC236}">
                        <a16:creationId xmlns:a16="http://schemas.microsoft.com/office/drawing/2014/main" id="{19E68C7C-7871-AD50-3E71-3A4F666AA86B}"/>
                      </a:ext>
                    </a:extLst>
                  </p:cNvPr>
                  <p:cNvSpPr/>
                  <p:nvPr/>
                </p:nvSpPr>
                <p:spPr>
                  <a:xfrm>
                    <a:off x="3551571" y="1283110"/>
                    <a:ext cx="589936" cy="589936"/>
                  </a:xfrm>
                  <a:prstGeom prst="ellipse">
                    <a:avLst/>
                  </a:prstGeom>
                  <a:solidFill>
                    <a:srgbClr val="FF0000"/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 err="1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71" name="Freeform 280">
                    <a:extLst>
                      <a:ext uri="{FF2B5EF4-FFF2-40B4-BE49-F238E27FC236}">
                        <a16:creationId xmlns:a16="http://schemas.microsoft.com/office/drawing/2014/main" id="{39C0E2EB-4E2B-F130-B9B1-A32EEB62419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3645782" y="1380088"/>
                    <a:ext cx="401514" cy="395981"/>
                  </a:xfrm>
                  <a:custGeom>
                    <a:avLst/>
                    <a:gdLst>
                      <a:gd name="T0" fmla="*/ 0 w 648"/>
                      <a:gd name="T1" fmla="*/ 131 h 618"/>
                      <a:gd name="T2" fmla="*/ 33 w 648"/>
                      <a:gd name="T3" fmla="*/ 112 h 618"/>
                      <a:gd name="T4" fmla="*/ 46 w 648"/>
                      <a:gd name="T5" fmla="*/ 119 h 618"/>
                      <a:gd name="T6" fmla="*/ 70 w 648"/>
                      <a:gd name="T7" fmla="*/ 158 h 618"/>
                      <a:gd name="T8" fmla="*/ 106 w 648"/>
                      <a:gd name="T9" fmla="*/ 110 h 618"/>
                      <a:gd name="T10" fmla="*/ 165 w 648"/>
                      <a:gd name="T11" fmla="*/ 52 h 618"/>
                      <a:gd name="T12" fmla="*/ 203 w 648"/>
                      <a:gd name="T13" fmla="*/ 21 h 618"/>
                      <a:gd name="T14" fmla="*/ 240 w 648"/>
                      <a:gd name="T15" fmla="*/ 0 h 618"/>
                      <a:gd name="T16" fmla="*/ 246 w 648"/>
                      <a:gd name="T17" fmla="*/ 9 h 618"/>
                      <a:gd name="T18" fmla="*/ 215 w 648"/>
                      <a:gd name="T19" fmla="*/ 34 h 618"/>
                      <a:gd name="T20" fmla="*/ 170 w 648"/>
                      <a:gd name="T21" fmla="*/ 80 h 618"/>
                      <a:gd name="T22" fmla="*/ 131 w 648"/>
                      <a:gd name="T23" fmla="*/ 126 h 618"/>
                      <a:gd name="T24" fmla="*/ 89 w 648"/>
                      <a:gd name="T25" fmla="*/ 194 h 618"/>
                      <a:gd name="T26" fmla="*/ 55 w 648"/>
                      <a:gd name="T27" fmla="*/ 216 h 618"/>
                      <a:gd name="T28" fmla="*/ 31 w 648"/>
                      <a:gd name="T29" fmla="*/ 163 h 618"/>
                      <a:gd name="T30" fmla="*/ 16 w 648"/>
                      <a:gd name="T31" fmla="*/ 141 h 618"/>
                      <a:gd name="T32" fmla="*/ 0 w 648"/>
                      <a:gd name="T33" fmla="*/ 131 h 618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</a:gdLst>
                    <a:ahLst/>
                    <a:cxnLst>
                      <a:cxn ang="T34">
                        <a:pos x="T0" y="T1"/>
                      </a:cxn>
                      <a:cxn ang="T35">
                        <a:pos x="T2" y="T3"/>
                      </a:cxn>
                      <a:cxn ang="T36">
                        <a:pos x="T4" y="T5"/>
                      </a:cxn>
                      <a:cxn ang="T37">
                        <a:pos x="T6" y="T7"/>
                      </a:cxn>
                      <a:cxn ang="T38">
                        <a:pos x="T8" y="T9"/>
                      </a:cxn>
                      <a:cxn ang="T39">
                        <a:pos x="T10" y="T11"/>
                      </a:cxn>
                      <a:cxn ang="T40">
                        <a:pos x="T12" y="T13"/>
                      </a:cxn>
                      <a:cxn ang="T41">
                        <a:pos x="T14" y="T15"/>
                      </a:cxn>
                      <a:cxn ang="T42">
                        <a:pos x="T16" y="T17"/>
                      </a:cxn>
                      <a:cxn ang="T43">
                        <a:pos x="T18" y="T19"/>
                      </a:cxn>
                      <a:cxn ang="T44">
                        <a:pos x="T20" y="T21"/>
                      </a:cxn>
                      <a:cxn ang="T45">
                        <a:pos x="T22" y="T23"/>
                      </a:cxn>
                      <a:cxn ang="T46">
                        <a:pos x="T24" y="T25"/>
                      </a:cxn>
                      <a:cxn ang="T47">
                        <a:pos x="T26" y="T27"/>
                      </a:cxn>
                      <a:cxn ang="T48">
                        <a:pos x="T28" y="T29"/>
                      </a:cxn>
                      <a:cxn ang="T49">
                        <a:pos x="T30" y="T31"/>
                      </a:cxn>
                      <a:cxn ang="T50">
                        <a:pos x="T32" y="T33"/>
                      </a:cxn>
                    </a:cxnLst>
                    <a:rect l="0" t="0" r="r" b="b"/>
                    <a:pathLst>
                      <a:path w="648" h="618">
                        <a:moveTo>
                          <a:pt x="0" y="374"/>
                        </a:moveTo>
                        <a:lnTo>
                          <a:pt x="88" y="320"/>
                        </a:lnTo>
                        <a:lnTo>
                          <a:pt x="122" y="340"/>
                        </a:lnTo>
                        <a:lnTo>
                          <a:pt x="184" y="452"/>
                        </a:lnTo>
                        <a:lnTo>
                          <a:pt x="278" y="316"/>
                        </a:lnTo>
                        <a:lnTo>
                          <a:pt x="434" y="148"/>
                        </a:lnTo>
                        <a:lnTo>
                          <a:pt x="534" y="60"/>
                        </a:lnTo>
                        <a:lnTo>
                          <a:pt x="632" y="0"/>
                        </a:lnTo>
                        <a:lnTo>
                          <a:pt x="648" y="26"/>
                        </a:lnTo>
                        <a:lnTo>
                          <a:pt x="566" y="98"/>
                        </a:lnTo>
                        <a:lnTo>
                          <a:pt x="448" y="230"/>
                        </a:lnTo>
                        <a:lnTo>
                          <a:pt x="346" y="360"/>
                        </a:lnTo>
                        <a:lnTo>
                          <a:pt x="234" y="554"/>
                        </a:lnTo>
                        <a:lnTo>
                          <a:pt x="144" y="618"/>
                        </a:lnTo>
                        <a:lnTo>
                          <a:pt x="82" y="466"/>
                        </a:lnTo>
                        <a:lnTo>
                          <a:pt x="42" y="404"/>
                        </a:lnTo>
                        <a:lnTo>
                          <a:pt x="0" y="374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  <a:ln w="9525" cap="flat" cmpd="sng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34" name="Group 33">
                  <a:extLst>
                    <a:ext uri="{FF2B5EF4-FFF2-40B4-BE49-F238E27FC236}">
                      <a16:creationId xmlns:a16="http://schemas.microsoft.com/office/drawing/2014/main" id="{6CCA2164-62FF-67F3-8EFF-31EF5AA791E2}"/>
                    </a:ext>
                  </a:extLst>
                </p:cNvPr>
                <p:cNvGrpSpPr/>
                <p:nvPr/>
              </p:nvGrpSpPr>
              <p:grpSpPr>
                <a:xfrm>
                  <a:off x="6492428" y="3915232"/>
                  <a:ext cx="370502" cy="370502"/>
                  <a:chOff x="7577881" y="1283110"/>
                  <a:chExt cx="589936" cy="589936"/>
                </a:xfrm>
              </p:grpSpPr>
              <p:sp>
                <p:nvSpPr>
                  <p:cNvPr id="66" name="Oval 65">
                    <a:extLst>
                      <a:ext uri="{FF2B5EF4-FFF2-40B4-BE49-F238E27FC236}">
                        <a16:creationId xmlns:a16="http://schemas.microsoft.com/office/drawing/2014/main" id="{6BFC3F43-3F4F-2433-ABF4-C25C27989B4D}"/>
                      </a:ext>
                    </a:extLst>
                  </p:cNvPr>
                  <p:cNvSpPr/>
                  <p:nvPr/>
                </p:nvSpPr>
                <p:spPr>
                  <a:xfrm>
                    <a:off x="7577881" y="1283110"/>
                    <a:ext cx="589936" cy="589936"/>
                  </a:xfrm>
                  <a:prstGeom prst="ellipse">
                    <a:avLst/>
                  </a:prstGeom>
                  <a:solidFill>
                    <a:srgbClr val="00B050"/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 err="1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67" name="Freeform 281">
                    <a:extLst>
                      <a:ext uri="{FF2B5EF4-FFF2-40B4-BE49-F238E27FC236}">
                        <a16:creationId xmlns:a16="http://schemas.microsoft.com/office/drawing/2014/main" id="{727CD332-EE6F-EBC1-582D-32AFE1FC166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7721173" y="1425050"/>
                    <a:ext cx="303352" cy="306056"/>
                  </a:xfrm>
                  <a:custGeom>
                    <a:avLst/>
                    <a:gdLst>
                      <a:gd name="T0" fmla="*/ 33 w 336"/>
                      <a:gd name="T1" fmla="*/ 47 h 340"/>
                      <a:gd name="T2" fmla="*/ 48 w 336"/>
                      <a:gd name="T3" fmla="*/ 24 h 340"/>
                      <a:gd name="T4" fmla="*/ 71 w 336"/>
                      <a:gd name="T5" fmla="*/ 0 h 340"/>
                      <a:gd name="T6" fmla="*/ 73 w 336"/>
                      <a:gd name="T7" fmla="*/ 21 h 340"/>
                      <a:gd name="T8" fmla="*/ 82 w 336"/>
                      <a:gd name="T9" fmla="*/ 42 h 340"/>
                      <a:gd name="T10" fmla="*/ 102 w 336"/>
                      <a:gd name="T11" fmla="*/ 81 h 340"/>
                      <a:gd name="T12" fmla="*/ 119 w 336"/>
                      <a:gd name="T13" fmla="*/ 62 h 340"/>
                      <a:gd name="T14" fmla="*/ 136 w 336"/>
                      <a:gd name="T15" fmla="*/ 43 h 340"/>
                      <a:gd name="T16" fmla="*/ 161 w 336"/>
                      <a:gd name="T17" fmla="*/ 26 h 340"/>
                      <a:gd name="T18" fmla="*/ 181 w 336"/>
                      <a:gd name="T19" fmla="*/ 24 h 340"/>
                      <a:gd name="T20" fmla="*/ 200 w 336"/>
                      <a:gd name="T21" fmla="*/ 36 h 340"/>
                      <a:gd name="T22" fmla="*/ 209 w 336"/>
                      <a:gd name="T23" fmla="*/ 60 h 340"/>
                      <a:gd name="T24" fmla="*/ 196 w 336"/>
                      <a:gd name="T25" fmla="*/ 63 h 340"/>
                      <a:gd name="T26" fmla="*/ 185 w 336"/>
                      <a:gd name="T27" fmla="*/ 67 h 340"/>
                      <a:gd name="T28" fmla="*/ 136 w 336"/>
                      <a:gd name="T29" fmla="*/ 119 h 340"/>
                      <a:gd name="T30" fmla="*/ 165 w 336"/>
                      <a:gd name="T31" fmla="*/ 144 h 340"/>
                      <a:gd name="T32" fmla="*/ 190 w 336"/>
                      <a:gd name="T33" fmla="*/ 157 h 340"/>
                      <a:gd name="T34" fmla="*/ 216 w 336"/>
                      <a:gd name="T35" fmla="*/ 160 h 340"/>
                      <a:gd name="T36" fmla="*/ 209 w 336"/>
                      <a:gd name="T37" fmla="*/ 176 h 340"/>
                      <a:gd name="T38" fmla="*/ 190 w 336"/>
                      <a:gd name="T39" fmla="*/ 199 h 340"/>
                      <a:gd name="T40" fmla="*/ 172 w 336"/>
                      <a:gd name="T41" fmla="*/ 205 h 340"/>
                      <a:gd name="T42" fmla="*/ 144 w 336"/>
                      <a:gd name="T43" fmla="*/ 190 h 340"/>
                      <a:gd name="T44" fmla="*/ 107 w 336"/>
                      <a:gd name="T45" fmla="*/ 158 h 340"/>
                      <a:gd name="T46" fmla="*/ 87 w 336"/>
                      <a:gd name="T47" fmla="*/ 188 h 340"/>
                      <a:gd name="T48" fmla="*/ 65 w 336"/>
                      <a:gd name="T49" fmla="*/ 212 h 340"/>
                      <a:gd name="T50" fmla="*/ 48 w 336"/>
                      <a:gd name="T51" fmla="*/ 218 h 340"/>
                      <a:gd name="T52" fmla="*/ 21 w 336"/>
                      <a:gd name="T53" fmla="*/ 204 h 340"/>
                      <a:gd name="T54" fmla="*/ 0 w 336"/>
                      <a:gd name="T55" fmla="*/ 176 h 340"/>
                      <a:gd name="T56" fmla="*/ 23 w 336"/>
                      <a:gd name="T57" fmla="*/ 173 h 340"/>
                      <a:gd name="T58" fmla="*/ 43 w 336"/>
                      <a:gd name="T59" fmla="*/ 158 h 340"/>
                      <a:gd name="T60" fmla="*/ 72 w 336"/>
                      <a:gd name="T61" fmla="*/ 121 h 340"/>
                      <a:gd name="T62" fmla="*/ 44 w 336"/>
                      <a:gd name="T63" fmla="*/ 81 h 340"/>
                      <a:gd name="T64" fmla="*/ 37 w 336"/>
                      <a:gd name="T65" fmla="*/ 63 h 340"/>
                      <a:gd name="T66" fmla="*/ 33 w 336"/>
                      <a:gd name="T67" fmla="*/ 47 h 340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</a:gdLst>
                    <a:ahLst/>
                    <a:cxnLst>
                      <a:cxn ang="T68">
                        <a:pos x="T0" y="T1"/>
                      </a:cxn>
                      <a:cxn ang="T69">
                        <a:pos x="T2" y="T3"/>
                      </a:cxn>
                      <a:cxn ang="T70">
                        <a:pos x="T4" y="T5"/>
                      </a:cxn>
                      <a:cxn ang="T71">
                        <a:pos x="T6" y="T7"/>
                      </a:cxn>
                      <a:cxn ang="T72">
                        <a:pos x="T8" y="T9"/>
                      </a:cxn>
                      <a:cxn ang="T73">
                        <a:pos x="T10" y="T11"/>
                      </a:cxn>
                      <a:cxn ang="T74">
                        <a:pos x="T12" y="T13"/>
                      </a:cxn>
                      <a:cxn ang="T75">
                        <a:pos x="T14" y="T15"/>
                      </a:cxn>
                      <a:cxn ang="T76">
                        <a:pos x="T16" y="T17"/>
                      </a:cxn>
                      <a:cxn ang="T77">
                        <a:pos x="T18" y="T19"/>
                      </a:cxn>
                      <a:cxn ang="T78">
                        <a:pos x="T20" y="T21"/>
                      </a:cxn>
                      <a:cxn ang="T79">
                        <a:pos x="T22" y="T23"/>
                      </a:cxn>
                      <a:cxn ang="T80">
                        <a:pos x="T24" y="T25"/>
                      </a:cxn>
                      <a:cxn ang="T81">
                        <a:pos x="T26" y="T27"/>
                      </a:cxn>
                      <a:cxn ang="T82">
                        <a:pos x="T28" y="T29"/>
                      </a:cxn>
                      <a:cxn ang="T83">
                        <a:pos x="T30" y="T31"/>
                      </a:cxn>
                      <a:cxn ang="T84">
                        <a:pos x="T32" y="T33"/>
                      </a:cxn>
                      <a:cxn ang="T85">
                        <a:pos x="T34" y="T35"/>
                      </a:cxn>
                      <a:cxn ang="T86">
                        <a:pos x="T36" y="T37"/>
                      </a:cxn>
                      <a:cxn ang="T87">
                        <a:pos x="T38" y="T39"/>
                      </a:cxn>
                      <a:cxn ang="T88">
                        <a:pos x="T40" y="T41"/>
                      </a:cxn>
                      <a:cxn ang="T89">
                        <a:pos x="T42" y="T43"/>
                      </a:cxn>
                      <a:cxn ang="T90">
                        <a:pos x="T44" y="T45"/>
                      </a:cxn>
                      <a:cxn ang="T91">
                        <a:pos x="T46" y="T47"/>
                      </a:cxn>
                      <a:cxn ang="T92">
                        <a:pos x="T48" y="T49"/>
                      </a:cxn>
                      <a:cxn ang="T93">
                        <a:pos x="T50" y="T51"/>
                      </a:cxn>
                      <a:cxn ang="T94">
                        <a:pos x="T52" y="T53"/>
                      </a:cxn>
                      <a:cxn ang="T95">
                        <a:pos x="T54" y="T55"/>
                      </a:cxn>
                      <a:cxn ang="T96">
                        <a:pos x="T56" y="T57"/>
                      </a:cxn>
                      <a:cxn ang="T97">
                        <a:pos x="T58" y="T59"/>
                      </a:cxn>
                      <a:cxn ang="T98">
                        <a:pos x="T60" y="T61"/>
                      </a:cxn>
                      <a:cxn ang="T99">
                        <a:pos x="T62" y="T63"/>
                      </a:cxn>
                      <a:cxn ang="T100">
                        <a:pos x="T64" y="T65"/>
                      </a:cxn>
                      <a:cxn ang="T101">
                        <a:pos x="T66" y="T67"/>
                      </a:cxn>
                    </a:cxnLst>
                    <a:rect l="0" t="0" r="r" b="b"/>
                    <a:pathLst>
                      <a:path w="336" h="340">
                        <a:moveTo>
                          <a:pt x="51" y="74"/>
                        </a:moveTo>
                        <a:lnTo>
                          <a:pt x="75" y="37"/>
                        </a:lnTo>
                        <a:lnTo>
                          <a:pt x="111" y="0"/>
                        </a:lnTo>
                        <a:lnTo>
                          <a:pt x="113" y="33"/>
                        </a:lnTo>
                        <a:lnTo>
                          <a:pt x="127" y="66"/>
                        </a:lnTo>
                        <a:lnTo>
                          <a:pt x="159" y="126"/>
                        </a:lnTo>
                        <a:lnTo>
                          <a:pt x="185" y="97"/>
                        </a:lnTo>
                        <a:lnTo>
                          <a:pt x="212" y="67"/>
                        </a:lnTo>
                        <a:lnTo>
                          <a:pt x="250" y="40"/>
                        </a:lnTo>
                        <a:lnTo>
                          <a:pt x="281" y="37"/>
                        </a:lnTo>
                        <a:lnTo>
                          <a:pt x="311" y="56"/>
                        </a:lnTo>
                        <a:lnTo>
                          <a:pt x="325" y="94"/>
                        </a:lnTo>
                        <a:lnTo>
                          <a:pt x="305" y="99"/>
                        </a:lnTo>
                        <a:lnTo>
                          <a:pt x="288" y="104"/>
                        </a:lnTo>
                        <a:lnTo>
                          <a:pt x="212" y="185"/>
                        </a:lnTo>
                        <a:lnTo>
                          <a:pt x="257" y="224"/>
                        </a:lnTo>
                        <a:lnTo>
                          <a:pt x="296" y="245"/>
                        </a:lnTo>
                        <a:lnTo>
                          <a:pt x="336" y="250"/>
                        </a:lnTo>
                        <a:lnTo>
                          <a:pt x="325" y="275"/>
                        </a:lnTo>
                        <a:lnTo>
                          <a:pt x="296" y="310"/>
                        </a:lnTo>
                        <a:lnTo>
                          <a:pt x="267" y="319"/>
                        </a:lnTo>
                        <a:lnTo>
                          <a:pt x="224" y="297"/>
                        </a:lnTo>
                        <a:lnTo>
                          <a:pt x="167" y="247"/>
                        </a:lnTo>
                        <a:lnTo>
                          <a:pt x="135" y="293"/>
                        </a:lnTo>
                        <a:lnTo>
                          <a:pt x="101" y="330"/>
                        </a:lnTo>
                        <a:lnTo>
                          <a:pt x="74" y="340"/>
                        </a:lnTo>
                        <a:lnTo>
                          <a:pt x="33" y="318"/>
                        </a:lnTo>
                        <a:lnTo>
                          <a:pt x="0" y="274"/>
                        </a:lnTo>
                        <a:lnTo>
                          <a:pt x="35" y="270"/>
                        </a:lnTo>
                        <a:lnTo>
                          <a:pt x="67" y="247"/>
                        </a:lnTo>
                        <a:lnTo>
                          <a:pt x="112" y="188"/>
                        </a:lnTo>
                        <a:lnTo>
                          <a:pt x="69" y="127"/>
                        </a:lnTo>
                        <a:lnTo>
                          <a:pt x="57" y="99"/>
                        </a:lnTo>
                        <a:lnTo>
                          <a:pt x="51" y="74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  <a:ln w="9525" cap="flat" cmpd="sng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38" name="Group 37">
                  <a:extLst>
                    <a:ext uri="{FF2B5EF4-FFF2-40B4-BE49-F238E27FC236}">
                      <a16:creationId xmlns:a16="http://schemas.microsoft.com/office/drawing/2014/main" id="{954AA4B9-2988-9AAE-A11E-7BF04305D811}"/>
                    </a:ext>
                  </a:extLst>
                </p:cNvPr>
                <p:cNvGrpSpPr/>
                <p:nvPr/>
              </p:nvGrpSpPr>
              <p:grpSpPr>
                <a:xfrm>
                  <a:off x="6492428" y="4654111"/>
                  <a:ext cx="370502" cy="370502"/>
                  <a:chOff x="7577881" y="1283110"/>
                  <a:chExt cx="589936" cy="589936"/>
                </a:xfrm>
              </p:grpSpPr>
              <p:sp>
                <p:nvSpPr>
                  <p:cNvPr id="58" name="Oval 57">
                    <a:extLst>
                      <a:ext uri="{FF2B5EF4-FFF2-40B4-BE49-F238E27FC236}">
                        <a16:creationId xmlns:a16="http://schemas.microsoft.com/office/drawing/2014/main" id="{D3B4C01A-2D8E-F162-61A7-2E73C4F3843C}"/>
                      </a:ext>
                    </a:extLst>
                  </p:cNvPr>
                  <p:cNvSpPr/>
                  <p:nvPr/>
                </p:nvSpPr>
                <p:spPr>
                  <a:xfrm>
                    <a:off x="7577881" y="1283110"/>
                    <a:ext cx="589936" cy="589936"/>
                  </a:xfrm>
                  <a:prstGeom prst="ellipse">
                    <a:avLst/>
                  </a:prstGeom>
                  <a:solidFill>
                    <a:srgbClr val="00B050"/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 err="1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9" name="Freeform 281">
                    <a:extLst>
                      <a:ext uri="{FF2B5EF4-FFF2-40B4-BE49-F238E27FC236}">
                        <a16:creationId xmlns:a16="http://schemas.microsoft.com/office/drawing/2014/main" id="{3D82F586-68E8-195D-A4F4-A8A0381495C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7721173" y="1425050"/>
                    <a:ext cx="303352" cy="306056"/>
                  </a:xfrm>
                  <a:custGeom>
                    <a:avLst/>
                    <a:gdLst>
                      <a:gd name="T0" fmla="*/ 33 w 336"/>
                      <a:gd name="T1" fmla="*/ 47 h 340"/>
                      <a:gd name="T2" fmla="*/ 48 w 336"/>
                      <a:gd name="T3" fmla="*/ 24 h 340"/>
                      <a:gd name="T4" fmla="*/ 71 w 336"/>
                      <a:gd name="T5" fmla="*/ 0 h 340"/>
                      <a:gd name="T6" fmla="*/ 73 w 336"/>
                      <a:gd name="T7" fmla="*/ 21 h 340"/>
                      <a:gd name="T8" fmla="*/ 82 w 336"/>
                      <a:gd name="T9" fmla="*/ 42 h 340"/>
                      <a:gd name="T10" fmla="*/ 102 w 336"/>
                      <a:gd name="T11" fmla="*/ 81 h 340"/>
                      <a:gd name="T12" fmla="*/ 119 w 336"/>
                      <a:gd name="T13" fmla="*/ 62 h 340"/>
                      <a:gd name="T14" fmla="*/ 136 w 336"/>
                      <a:gd name="T15" fmla="*/ 43 h 340"/>
                      <a:gd name="T16" fmla="*/ 161 w 336"/>
                      <a:gd name="T17" fmla="*/ 26 h 340"/>
                      <a:gd name="T18" fmla="*/ 181 w 336"/>
                      <a:gd name="T19" fmla="*/ 24 h 340"/>
                      <a:gd name="T20" fmla="*/ 200 w 336"/>
                      <a:gd name="T21" fmla="*/ 36 h 340"/>
                      <a:gd name="T22" fmla="*/ 209 w 336"/>
                      <a:gd name="T23" fmla="*/ 60 h 340"/>
                      <a:gd name="T24" fmla="*/ 196 w 336"/>
                      <a:gd name="T25" fmla="*/ 63 h 340"/>
                      <a:gd name="T26" fmla="*/ 185 w 336"/>
                      <a:gd name="T27" fmla="*/ 67 h 340"/>
                      <a:gd name="T28" fmla="*/ 136 w 336"/>
                      <a:gd name="T29" fmla="*/ 119 h 340"/>
                      <a:gd name="T30" fmla="*/ 165 w 336"/>
                      <a:gd name="T31" fmla="*/ 144 h 340"/>
                      <a:gd name="T32" fmla="*/ 190 w 336"/>
                      <a:gd name="T33" fmla="*/ 157 h 340"/>
                      <a:gd name="T34" fmla="*/ 216 w 336"/>
                      <a:gd name="T35" fmla="*/ 160 h 340"/>
                      <a:gd name="T36" fmla="*/ 209 w 336"/>
                      <a:gd name="T37" fmla="*/ 176 h 340"/>
                      <a:gd name="T38" fmla="*/ 190 w 336"/>
                      <a:gd name="T39" fmla="*/ 199 h 340"/>
                      <a:gd name="T40" fmla="*/ 172 w 336"/>
                      <a:gd name="T41" fmla="*/ 205 h 340"/>
                      <a:gd name="T42" fmla="*/ 144 w 336"/>
                      <a:gd name="T43" fmla="*/ 190 h 340"/>
                      <a:gd name="T44" fmla="*/ 107 w 336"/>
                      <a:gd name="T45" fmla="*/ 158 h 340"/>
                      <a:gd name="T46" fmla="*/ 87 w 336"/>
                      <a:gd name="T47" fmla="*/ 188 h 340"/>
                      <a:gd name="T48" fmla="*/ 65 w 336"/>
                      <a:gd name="T49" fmla="*/ 212 h 340"/>
                      <a:gd name="T50" fmla="*/ 48 w 336"/>
                      <a:gd name="T51" fmla="*/ 218 h 340"/>
                      <a:gd name="T52" fmla="*/ 21 w 336"/>
                      <a:gd name="T53" fmla="*/ 204 h 340"/>
                      <a:gd name="T54" fmla="*/ 0 w 336"/>
                      <a:gd name="T55" fmla="*/ 176 h 340"/>
                      <a:gd name="T56" fmla="*/ 23 w 336"/>
                      <a:gd name="T57" fmla="*/ 173 h 340"/>
                      <a:gd name="T58" fmla="*/ 43 w 336"/>
                      <a:gd name="T59" fmla="*/ 158 h 340"/>
                      <a:gd name="T60" fmla="*/ 72 w 336"/>
                      <a:gd name="T61" fmla="*/ 121 h 340"/>
                      <a:gd name="T62" fmla="*/ 44 w 336"/>
                      <a:gd name="T63" fmla="*/ 81 h 340"/>
                      <a:gd name="T64" fmla="*/ 37 w 336"/>
                      <a:gd name="T65" fmla="*/ 63 h 340"/>
                      <a:gd name="T66" fmla="*/ 33 w 336"/>
                      <a:gd name="T67" fmla="*/ 47 h 340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</a:gdLst>
                    <a:ahLst/>
                    <a:cxnLst>
                      <a:cxn ang="T68">
                        <a:pos x="T0" y="T1"/>
                      </a:cxn>
                      <a:cxn ang="T69">
                        <a:pos x="T2" y="T3"/>
                      </a:cxn>
                      <a:cxn ang="T70">
                        <a:pos x="T4" y="T5"/>
                      </a:cxn>
                      <a:cxn ang="T71">
                        <a:pos x="T6" y="T7"/>
                      </a:cxn>
                      <a:cxn ang="T72">
                        <a:pos x="T8" y="T9"/>
                      </a:cxn>
                      <a:cxn ang="T73">
                        <a:pos x="T10" y="T11"/>
                      </a:cxn>
                      <a:cxn ang="T74">
                        <a:pos x="T12" y="T13"/>
                      </a:cxn>
                      <a:cxn ang="T75">
                        <a:pos x="T14" y="T15"/>
                      </a:cxn>
                      <a:cxn ang="T76">
                        <a:pos x="T16" y="T17"/>
                      </a:cxn>
                      <a:cxn ang="T77">
                        <a:pos x="T18" y="T19"/>
                      </a:cxn>
                      <a:cxn ang="T78">
                        <a:pos x="T20" y="T21"/>
                      </a:cxn>
                      <a:cxn ang="T79">
                        <a:pos x="T22" y="T23"/>
                      </a:cxn>
                      <a:cxn ang="T80">
                        <a:pos x="T24" y="T25"/>
                      </a:cxn>
                      <a:cxn ang="T81">
                        <a:pos x="T26" y="T27"/>
                      </a:cxn>
                      <a:cxn ang="T82">
                        <a:pos x="T28" y="T29"/>
                      </a:cxn>
                      <a:cxn ang="T83">
                        <a:pos x="T30" y="T31"/>
                      </a:cxn>
                      <a:cxn ang="T84">
                        <a:pos x="T32" y="T33"/>
                      </a:cxn>
                      <a:cxn ang="T85">
                        <a:pos x="T34" y="T35"/>
                      </a:cxn>
                      <a:cxn ang="T86">
                        <a:pos x="T36" y="T37"/>
                      </a:cxn>
                      <a:cxn ang="T87">
                        <a:pos x="T38" y="T39"/>
                      </a:cxn>
                      <a:cxn ang="T88">
                        <a:pos x="T40" y="T41"/>
                      </a:cxn>
                      <a:cxn ang="T89">
                        <a:pos x="T42" y="T43"/>
                      </a:cxn>
                      <a:cxn ang="T90">
                        <a:pos x="T44" y="T45"/>
                      </a:cxn>
                      <a:cxn ang="T91">
                        <a:pos x="T46" y="T47"/>
                      </a:cxn>
                      <a:cxn ang="T92">
                        <a:pos x="T48" y="T49"/>
                      </a:cxn>
                      <a:cxn ang="T93">
                        <a:pos x="T50" y="T51"/>
                      </a:cxn>
                      <a:cxn ang="T94">
                        <a:pos x="T52" y="T53"/>
                      </a:cxn>
                      <a:cxn ang="T95">
                        <a:pos x="T54" y="T55"/>
                      </a:cxn>
                      <a:cxn ang="T96">
                        <a:pos x="T56" y="T57"/>
                      </a:cxn>
                      <a:cxn ang="T97">
                        <a:pos x="T58" y="T59"/>
                      </a:cxn>
                      <a:cxn ang="T98">
                        <a:pos x="T60" y="T61"/>
                      </a:cxn>
                      <a:cxn ang="T99">
                        <a:pos x="T62" y="T63"/>
                      </a:cxn>
                      <a:cxn ang="T100">
                        <a:pos x="T64" y="T65"/>
                      </a:cxn>
                      <a:cxn ang="T101">
                        <a:pos x="T66" y="T67"/>
                      </a:cxn>
                    </a:cxnLst>
                    <a:rect l="0" t="0" r="r" b="b"/>
                    <a:pathLst>
                      <a:path w="336" h="340">
                        <a:moveTo>
                          <a:pt x="51" y="74"/>
                        </a:moveTo>
                        <a:lnTo>
                          <a:pt x="75" y="37"/>
                        </a:lnTo>
                        <a:lnTo>
                          <a:pt x="111" y="0"/>
                        </a:lnTo>
                        <a:lnTo>
                          <a:pt x="113" y="33"/>
                        </a:lnTo>
                        <a:lnTo>
                          <a:pt x="127" y="66"/>
                        </a:lnTo>
                        <a:lnTo>
                          <a:pt x="159" y="126"/>
                        </a:lnTo>
                        <a:lnTo>
                          <a:pt x="185" y="97"/>
                        </a:lnTo>
                        <a:lnTo>
                          <a:pt x="212" y="67"/>
                        </a:lnTo>
                        <a:lnTo>
                          <a:pt x="250" y="40"/>
                        </a:lnTo>
                        <a:lnTo>
                          <a:pt x="281" y="37"/>
                        </a:lnTo>
                        <a:lnTo>
                          <a:pt x="311" y="56"/>
                        </a:lnTo>
                        <a:lnTo>
                          <a:pt x="325" y="94"/>
                        </a:lnTo>
                        <a:lnTo>
                          <a:pt x="305" y="99"/>
                        </a:lnTo>
                        <a:lnTo>
                          <a:pt x="288" y="104"/>
                        </a:lnTo>
                        <a:lnTo>
                          <a:pt x="212" y="185"/>
                        </a:lnTo>
                        <a:lnTo>
                          <a:pt x="257" y="224"/>
                        </a:lnTo>
                        <a:lnTo>
                          <a:pt x="296" y="245"/>
                        </a:lnTo>
                        <a:lnTo>
                          <a:pt x="336" y="250"/>
                        </a:lnTo>
                        <a:lnTo>
                          <a:pt x="325" y="275"/>
                        </a:lnTo>
                        <a:lnTo>
                          <a:pt x="296" y="310"/>
                        </a:lnTo>
                        <a:lnTo>
                          <a:pt x="267" y="319"/>
                        </a:lnTo>
                        <a:lnTo>
                          <a:pt x="224" y="297"/>
                        </a:lnTo>
                        <a:lnTo>
                          <a:pt x="167" y="247"/>
                        </a:lnTo>
                        <a:lnTo>
                          <a:pt x="135" y="293"/>
                        </a:lnTo>
                        <a:lnTo>
                          <a:pt x="101" y="330"/>
                        </a:lnTo>
                        <a:lnTo>
                          <a:pt x="74" y="340"/>
                        </a:lnTo>
                        <a:lnTo>
                          <a:pt x="33" y="318"/>
                        </a:lnTo>
                        <a:lnTo>
                          <a:pt x="0" y="274"/>
                        </a:lnTo>
                        <a:lnTo>
                          <a:pt x="35" y="270"/>
                        </a:lnTo>
                        <a:lnTo>
                          <a:pt x="67" y="247"/>
                        </a:lnTo>
                        <a:lnTo>
                          <a:pt x="112" y="188"/>
                        </a:lnTo>
                        <a:lnTo>
                          <a:pt x="69" y="127"/>
                        </a:lnTo>
                        <a:lnTo>
                          <a:pt x="57" y="99"/>
                        </a:lnTo>
                        <a:lnTo>
                          <a:pt x="51" y="74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  <a:ln w="9525" cap="flat" cmpd="sng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42" name="Group 41">
                  <a:extLst>
                    <a:ext uri="{FF2B5EF4-FFF2-40B4-BE49-F238E27FC236}">
                      <a16:creationId xmlns:a16="http://schemas.microsoft.com/office/drawing/2014/main" id="{4B2E3047-6427-9D03-0990-FA94E1651BD9}"/>
                    </a:ext>
                  </a:extLst>
                </p:cNvPr>
                <p:cNvGrpSpPr/>
                <p:nvPr/>
              </p:nvGrpSpPr>
              <p:grpSpPr>
                <a:xfrm>
                  <a:off x="6492428" y="5392988"/>
                  <a:ext cx="370502" cy="370502"/>
                  <a:chOff x="7577881" y="1283110"/>
                  <a:chExt cx="589936" cy="589936"/>
                </a:xfrm>
              </p:grpSpPr>
              <p:sp>
                <p:nvSpPr>
                  <p:cNvPr id="49" name="Oval 48">
                    <a:extLst>
                      <a:ext uri="{FF2B5EF4-FFF2-40B4-BE49-F238E27FC236}">
                        <a16:creationId xmlns:a16="http://schemas.microsoft.com/office/drawing/2014/main" id="{ACFB6634-A0FF-8938-5B12-486A2BC29944}"/>
                      </a:ext>
                    </a:extLst>
                  </p:cNvPr>
                  <p:cNvSpPr/>
                  <p:nvPr/>
                </p:nvSpPr>
                <p:spPr>
                  <a:xfrm>
                    <a:off x="7577881" y="1283110"/>
                    <a:ext cx="589936" cy="589936"/>
                  </a:xfrm>
                  <a:prstGeom prst="ellipse">
                    <a:avLst/>
                  </a:prstGeom>
                  <a:solidFill>
                    <a:srgbClr val="00B050"/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 err="1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0" name="Freeform 281">
                    <a:extLst>
                      <a:ext uri="{FF2B5EF4-FFF2-40B4-BE49-F238E27FC236}">
                        <a16:creationId xmlns:a16="http://schemas.microsoft.com/office/drawing/2014/main" id="{D9705B5C-1A45-9C21-7909-46ADD649D64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7721173" y="1425050"/>
                    <a:ext cx="303352" cy="306056"/>
                  </a:xfrm>
                  <a:custGeom>
                    <a:avLst/>
                    <a:gdLst>
                      <a:gd name="T0" fmla="*/ 33 w 336"/>
                      <a:gd name="T1" fmla="*/ 47 h 340"/>
                      <a:gd name="T2" fmla="*/ 48 w 336"/>
                      <a:gd name="T3" fmla="*/ 24 h 340"/>
                      <a:gd name="T4" fmla="*/ 71 w 336"/>
                      <a:gd name="T5" fmla="*/ 0 h 340"/>
                      <a:gd name="T6" fmla="*/ 73 w 336"/>
                      <a:gd name="T7" fmla="*/ 21 h 340"/>
                      <a:gd name="T8" fmla="*/ 82 w 336"/>
                      <a:gd name="T9" fmla="*/ 42 h 340"/>
                      <a:gd name="T10" fmla="*/ 102 w 336"/>
                      <a:gd name="T11" fmla="*/ 81 h 340"/>
                      <a:gd name="T12" fmla="*/ 119 w 336"/>
                      <a:gd name="T13" fmla="*/ 62 h 340"/>
                      <a:gd name="T14" fmla="*/ 136 w 336"/>
                      <a:gd name="T15" fmla="*/ 43 h 340"/>
                      <a:gd name="T16" fmla="*/ 161 w 336"/>
                      <a:gd name="T17" fmla="*/ 26 h 340"/>
                      <a:gd name="T18" fmla="*/ 181 w 336"/>
                      <a:gd name="T19" fmla="*/ 24 h 340"/>
                      <a:gd name="T20" fmla="*/ 200 w 336"/>
                      <a:gd name="T21" fmla="*/ 36 h 340"/>
                      <a:gd name="T22" fmla="*/ 209 w 336"/>
                      <a:gd name="T23" fmla="*/ 60 h 340"/>
                      <a:gd name="T24" fmla="*/ 196 w 336"/>
                      <a:gd name="T25" fmla="*/ 63 h 340"/>
                      <a:gd name="T26" fmla="*/ 185 w 336"/>
                      <a:gd name="T27" fmla="*/ 67 h 340"/>
                      <a:gd name="T28" fmla="*/ 136 w 336"/>
                      <a:gd name="T29" fmla="*/ 119 h 340"/>
                      <a:gd name="T30" fmla="*/ 165 w 336"/>
                      <a:gd name="T31" fmla="*/ 144 h 340"/>
                      <a:gd name="T32" fmla="*/ 190 w 336"/>
                      <a:gd name="T33" fmla="*/ 157 h 340"/>
                      <a:gd name="T34" fmla="*/ 216 w 336"/>
                      <a:gd name="T35" fmla="*/ 160 h 340"/>
                      <a:gd name="T36" fmla="*/ 209 w 336"/>
                      <a:gd name="T37" fmla="*/ 176 h 340"/>
                      <a:gd name="T38" fmla="*/ 190 w 336"/>
                      <a:gd name="T39" fmla="*/ 199 h 340"/>
                      <a:gd name="T40" fmla="*/ 172 w 336"/>
                      <a:gd name="T41" fmla="*/ 205 h 340"/>
                      <a:gd name="T42" fmla="*/ 144 w 336"/>
                      <a:gd name="T43" fmla="*/ 190 h 340"/>
                      <a:gd name="T44" fmla="*/ 107 w 336"/>
                      <a:gd name="T45" fmla="*/ 158 h 340"/>
                      <a:gd name="T46" fmla="*/ 87 w 336"/>
                      <a:gd name="T47" fmla="*/ 188 h 340"/>
                      <a:gd name="T48" fmla="*/ 65 w 336"/>
                      <a:gd name="T49" fmla="*/ 212 h 340"/>
                      <a:gd name="T50" fmla="*/ 48 w 336"/>
                      <a:gd name="T51" fmla="*/ 218 h 340"/>
                      <a:gd name="T52" fmla="*/ 21 w 336"/>
                      <a:gd name="T53" fmla="*/ 204 h 340"/>
                      <a:gd name="T54" fmla="*/ 0 w 336"/>
                      <a:gd name="T55" fmla="*/ 176 h 340"/>
                      <a:gd name="T56" fmla="*/ 23 w 336"/>
                      <a:gd name="T57" fmla="*/ 173 h 340"/>
                      <a:gd name="T58" fmla="*/ 43 w 336"/>
                      <a:gd name="T59" fmla="*/ 158 h 340"/>
                      <a:gd name="T60" fmla="*/ 72 w 336"/>
                      <a:gd name="T61" fmla="*/ 121 h 340"/>
                      <a:gd name="T62" fmla="*/ 44 w 336"/>
                      <a:gd name="T63" fmla="*/ 81 h 340"/>
                      <a:gd name="T64" fmla="*/ 37 w 336"/>
                      <a:gd name="T65" fmla="*/ 63 h 340"/>
                      <a:gd name="T66" fmla="*/ 33 w 336"/>
                      <a:gd name="T67" fmla="*/ 47 h 340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</a:gdLst>
                    <a:ahLst/>
                    <a:cxnLst>
                      <a:cxn ang="T68">
                        <a:pos x="T0" y="T1"/>
                      </a:cxn>
                      <a:cxn ang="T69">
                        <a:pos x="T2" y="T3"/>
                      </a:cxn>
                      <a:cxn ang="T70">
                        <a:pos x="T4" y="T5"/>
                      </a:cxn>
                      <a:cxn ang="T71">
                        <a:pos x="T6" y="T7"/>
                      </a:cxn>
                      <a:cxn ang="T72">
                        <a:pos x="T8" y="T9"/>
                      </a:cxn>
                      <a:cxn ang="T73">
                        <a:pos x="T10" y="T11"/>
                      </a:cxn>
                      <a:cxn ang="T74">
                        <a:pos x="T12" y="T13"/>
                      </a:cxn>
                      <a:cxn ang="T75">
                        <a:pos x="T14" y="T15"/>
                      </a:cxn>
                      <a:cxn ang="T76">
                        <a:pos x="T16" y="T17"/>
                      </a:cxn>
                      <a:cxn ang="T77">
                        <a:pos x="T18" y="T19"/>
                      </a:cxn>
                      <a:cxn ang="T78">
                        <a:pos x="T20" y="T21"/>
                      </a:cxn>
                      <a:cxn ang="T79">
                        <a:pos x="T22" y="T23"/>
                      </a:cxn>
                      <a:cxn ang="T80">
                        <a:pos x="T24" y="T25"/>
                      </a:cxn>
                      <a:cxn ang="T81">
                        <a:pos x="T26" y="T27"/>
                      </a:cxn>
                      <a:cxn ang="T82">
                        <a:pos x="T28" y="T29"/>
                      </a:cxn>
                      <a:cxn ang="T83">
                        <a:pos x="T30" y="T31"/>
                      </a:cxn>
                      <a:cxn ang="T84">
                        <a:pos x="T32" y="T33"/>
                      </a:cxn>
                      <a:cxn ang="T85">
                        <a:pos x="T34" y="T35"/>
                      </a:cxn>
                      <a:cxn ang="T86">
                        <a:pos x="T36" y="T37"/>
                      </a:cxn>
                      <a:cxn ang="T87">
                        <a:pos x="T38" y="T39"/>
                      </a:cxn>
                      <a:cxn ang="T88">
                        <a:pos x="T40" y="T41"/>
                      </a:cxn>
                      <a:cxn ang="T89">
                        <a:pos x="T42" y="T43"/>
                      </a:cxn>
                      <a:cxn ang="T90">
                        <a:pos x="T44" y="T45"/>
                      </a:cxn>
                      <a:cxn ang="T91">
                        <a:pos x="T46" y="T47"/>
                      </a:cxn>
                      <a:cxn ang="T92">
                        <a:pos x="T48" y="T49"/>
                      </a:cxn>
                      <a:cxn ang="T93">
                        <a:pos x="T50" y="T51"/>
                      </a:cxn>
                      <a:cxn ang="T94">
                        <a:pos x="T52" y="T53"/>
                      </a:cxn>
                      <a:cxn ang="T95">
                        <a:pos x="T54" y="T55"/>
                      </a:cxn>
                      <a:cxn ang="T96">
                        <a:pos x="T56" y="T57"/>
                      </a:cxn>
                      <a:cxn ang="T97">
                        <a:pos x="T58" y="T59"/>
                      </a:cxn>
                      <a:cxn ang="T98">
                        <a:pos x="T60" y="T61"/>
                      </a:cxn>
                      <a:cxn ang="T99">
                        <a:pos x="T62" y="T63"/>
                      </a:cxn>
                      <a:cxn ang="T100">
                        <a:pos x="T64" y="T65"/>
                      </a:cxn>
                      <a:cxn ang="T101">
                        <a:pos x="T66" y="T67"/>
                      </a:cxn>
                    </a:cxnLst>
                    <a:rect l="0" t="0" r="r" b="b"/>
                    <a:pathLst>
                      <a:path w="336" h="340">
                        <a:moveTo>
                          <a:pt x="51" y="74"/>
                        </a:moveTo>
                        <a:lnTo>
                          <a:pt x="75" y="37"/>
                        </a:lnTo>
                        <a:lnTo>
                          <a:pt x="111" y="0"/>
                        </a:lnTo>
                        <a:lnTo>
                          <a:pt x="113" y="33"/>
                        </a:lnTo>
                        <a:lnTo>
                          <a:pt x="127" y="66"/>
                        </a:lnTo>
                        <a:lnTo>
                          <a:pt x="159" y="126"/>
                        </a:lnTo>
                        <a:lnTo>
                          <a:pt x="185" y="97"/>
                        </a:lnTo>
                        <a:lnTo>
                          <a:pt x="212" y="67"/>
                        </a:lnTo>
                        <a:lnTo>
                          <a:pt x="250" y="40"/>
                        </a:lnTo>
                        <a:lnTo>
                          <a:pt x="281" y="37"/>
                        </a:lnTo>
                        <a:lnTo>
                          <a:pt x="311" y="56"/>
                        </a:lnTo>
                        <a:lnTo>
                          <a:pt x="325" y="94"/>
                        </a:lnTo>
                        <a:lnTo>
                          <a:pt x="305" y="99"/>
                        </a:lnTo>
                        <a:lnTo>
                          <a:pt x="288" y="104"/>
                        </a:lnTo>
                        <a:lnTo>
                          <a:pt x="212" y="185"/>
                        </a:lnTo>
                        <a:lnTo>
                          <a:pt x="257" y="224"/>
                        </a:lnTo>
                        <a:lnTo>
                          <a:pt x="296" y="245"/>
                        </a:lnTo>
                        <a:lnTo>
                          <a:pt x="336" y="250"/>
                        </a:lnTo>
                        <a:lnTo>
                          <a:pt x="325" y="275"/>
                        </a:lnTo>
                        <a:lnTo>
                          <a:pt x="296" y="310"/>
                        </a:lnTo>
                        <a:lnTo>
                          <a:pt x="267" y="319"/>
                        </a:lnTo>
                        <a:lnTo>
                          <a:pt x="224" y="297"/>
                        </a:lnTo>
                        <a:lnTo>
                          <a:pt x="167" y="247"/>
                        </a:lnTo>
                        <a:lnTo>
                          <a:pt x="135" y="293"/>
                        </a:lnTo>
                        <a:lnTo>
                          <a:pt x="101" y="330"/>
                        </a:lnTo>
                        <a:lnTo>
                          <a:pt x="74" y="340"/>
                        </a:lnTo>
                        <a:lnTo>
                          <a:pt x="33" y="318"/>
                        </a:lnTo>
                        <a:lnTo>
                          <a:pt x="0" y="274"/>
                        </a:lnTo>
                        <a:lnTo>
                          <a:pt x="35" y="270"/>
                        </a:lnTo>
                        <a:lnTo>
                          <a:pt x="67" y="247"/>
                        </a:lnTo>
                        <a:lnTo>
                          <a:pt x="112" y="188"/>
                        </a:lnTo>
                        <a:lnTo>
                          <a:pt x="69" y="127"/>
                        </a:lnTo>
                        <a:lnTo>
                          <a:pt x="57" y="99"/>
                        </a:lnTo>
                        <a:lnTo>
                          <a:pt x="51" y="74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  <a:ln w="9525" cap="flat" cmpd="sng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</p:grpSp>
          </p:grpSp>
        </p:grp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E0533788-CE29-69D6-50D9-F42C043B4655}"/>
                </a:ext>
              </a:extLst>
            </p:cNvPr>
            <p:cNvGrpSpPr/>
            <p:nvPr/>
          </p:nvGrpSpPr>
          <p:grpSpPr>
            <a:xfrm>
              <a:off x="7610756" y="5392988"/>
              <a:ext cx="370502" cy="370502"/>
              <a:chOff x="3551571" y="1283110"/>
              <a:chExt cx="589936" cy="589936"/>
            </a:xfrm>
          </p:grpSpPr>
          <p:sp>
            <p:nvSpPr>
              <p:cNvPr id="47" name="Oval 46">
                <a:extLst>
                  <a:ext uri="{FF2B5EF4-FFF2-40B4-BE49-F238E27FC236}">
                    <a16:creationId xmlns:a16="http://schemas.microsoft.com/office/drawing/2014/main" id="{D3CE3EB1-1D71-0E67-CD1B-9CFDEA0825C9}"/>
                  </a:ext>
                </a:extLst>
              </p:cNvPr>
              <p:cNvSpPr/>
              <p:nvPr/>
            </p:nvSpPr>
            <p:spPr>
              <a:xfrm>
                <a:off x="3551571" y="1283110"/>
                <a:ext cx="589936" cy="589936"/>
              </a:xfrm>
              <a:prstGeom prst="ellipse">
                <a:avLst/>
              </a:prstGeom>
              <a:solidFill>
                <a:srgbClr val="FF000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8" name="Freeform 280">
                <a:extLst>
                  <a:ext uri="{FF2B5EF4-FFF2-40B4-BE49-F238E27FC236}">
                    <a16:creationId xmlns:a16="http://schemas.microsoft.com/office/drawing/2014/main" id="{C42CFD82-36CD-3B1E-B3FA-BA3EEA40F92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645782" y="1380088"/>
                <a:ext cx="401514" cy="395981"/>
              </a:xfrm>
              <a:custGeom>
                <a:avLst/>
                <a:gdLst>
                  <a:gd name="T0" fmla="*/ 0 w 648"/>
                  <a:gd name="T1" fmla="*/ 131 h 618"/>
                  <a:gd name="T2" fmla="*/ 33 w 648"/>
                  <a:gd name="T3" fmla="*/ 112 h 618"/>
                  <a:gd name="T4" fmla="*/ 46 w 648"/>
                  <a:gd name="T5" fmla="*/ 119 h 618"/>
                  <a:gd name="T6" fmla="*/ 70 w 648"/>
                  <a:gd name="T7" fmla="*/ 158 h 618"/>
                  <a:gd name="T8" fmla="*/ 106 w 648"/>
                  <a:gd name="T9" fmla="*/ 110 h 618"/>
                  <a:gd name="T10" fmla="*/ 165 w 648"/>
                  <a:gd name="T11" fmla="*/ 52 h 618"/>
                  <a:gd name="T12" fmla="*/ 203 w 648"/>
                  <a:gd name="T13" fmla="*/ 21 h 618"/>
                  <a:gd name="T14" fmla="*/ 240 w 648"/>
                  <a:gd name="T15" fmla="*/ 0 h 618"/>
                  <a:gd name="T16" fmla="*/ 246 w 648"/>
                  <a:gd name="T17" fmla="*/ 9 h 618"/>
                  <a:gd name="T18" fmla="*/ 215 w 648"/>
                  <a:gd name="T19" fmla="*/ 34 h 618"/>
                  <a:gd name="T20" fmla="*/ 170 w 648"/>
                  <a:gd name="T21" fmla="*/ 80 h 618"/>
                  <a:gd name="T22" fmla="*/ 131 w 648"/>
                  <a:gd name="T23" fmla="*/ 126 h 618"/>
                  <a:gd name="T24" fmla="*/ 89 w 648"/>
                  <a:gd name="T25" fmla="*/ 194 h 618"/>
                  <a:gd name="T26" fmla="*/ 55 w 648"/>
                  <a:gd name="T27" fmla="*/ 216 h 618"/>
                  <a:gd name="T28" fmla="*/ 31 w 648"/>
                  <a:gd name="T29" fmla="*/ 163 h 618"/>
                  <a:gd name="T30" fmla="*/ 16 w 648"/>
                  <a:gd name="T31" fmla="*/ 141 h 618"/>
                  <a:gd name="T32" fmla="*/ 0 w 648"/>
                  <a:gd name="T33" fmla="*/ 131 h 61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648" h="618">
                    <a:moveTo>
                      <a:pt x="0" y="374"/>
                    </a:moveTo>
                    <a:lnTo>
                      <a:pt x="88" y="320"/>
                    </a:lnTo>
                    <a:lnTo>
                      <a:pt x="122" y="340"/>
                    </a:lnTo>
                    <a:lnTo>
                      <a:pt x="184" y="452"/>
                    </a:lnTo>
                    <a:lnTo>
                      <a:pt x="278" y="316"/>
                    </a:lnTo>
                    <a:lnTo>
                      <a:pt x="434" y="148"/>
                    </a:lnTo>
                    <a:lnTo>
                      <a:pt x="534" y="60"/>
                    </a:lnTo>
                    <a:lnTo>
                      <a:pt x="632" y="0"/>
                    </a:lnTo>
                    <a:lnTo>
                      <a:pt x="648" y="26"/>
                    </a:lnTo>
                    <a:lnTo>
                      <a:pt x="566" y="98"/>
                    </a:lnTo>
                    <a:lnTo>
                      <a:pt x="448" y="230"/>
                    </a:lnTo>
                    <a:lnTo>
                      <a:pt x="346" y="360"/>
                    </a:lnTo>
                    <a:lnTo>
                      <a:pt x="234" y="554"/>
                    </a:lnTo>
                    <a:lnTo>
                      <a:pt x="144" y="618"/>
                    </a:lnTo>
                    <a:lnTo>
                      <a:pt x="82" y="466"/>
                    </a:lnTo>
                    <a:lnTo>
                      <a:pt x="42" y="404"/>
                    </a:lnTo>
                    <a:lnTo>
                      <a:pt x="0" y="374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9B86E662-87EB-BD51-D63B-ECC4C1461A52}"/>
                </a:ext>
              </a:extLst>
            </p:cNvPr>
            <p:cNvGrpSpPr/>
            <p:nvPr/>
          </p:nvGrpSpPr>
          <p:grpSpPr>
            <a:xfrm>
              <a:off x="4255770" y="5392988"/>
              <a:ext cx="370502" cy="370502"/>
              <a:chOff x="7577881" y="1283110"/>
              <a:chExt cx="589936" cy="589936"/>
            </a:xfrm>
          </p:grpSpPr>
          <p:sp>
            <p:nvSpPr>
              <p:cNvPr id="45" name="Oval 44">
                <a:extLst>
                  <a:ext uri="{FF2B5EF4-FFF2-40B4-BE49-F238E27FC236}">
                    <a16:creationId xmlns:a16="http://schemas.microsoft.com/office/drawing/2014/main" id="{6217A130-608B-C458-1DF6-BD02BE030AE9}"/>
                  </a:ext>
                </a:extLst>
              </p:cNvPr>
              <p:cNvSpPr/>
              <p:nvPr/>
            </p:nvSpPr>
            <p:spPr>
              <a:xfrm>
                <a:off x="7577881" y="1283110"/>
                <a:ext cx="589936" cy="589936"/>
              </a:xfrm>
              <a:prstGeom prst="ellipse">
                <a:avLst/>
              </a:prstGeom>
              <a:solidFill>
                <a:srgbClr val="00B05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6" name="Freeform 281">
                <a:extLst>
                  <a:ext uri="{FF2B5EF4-FFF2-40B4-BE49-F238E27FC236}">
                    <a16:creationId xmlns:a16="http://schemas.microsoft.com/office/drawing/2014/main" id="{5858CE33-64D1-242E-1168-604B4E98BBC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721173" y="1425050"/>
                <a:ext cx="303352" cy="306056"/>
              </a:xfrm>
              <a:custGeom>
                <a:avLst/>
                <a:gdLst>
                  <a:gd name="T0" fmla="*/ 33 w 336"/>
                  <a:gd name="T1" fmla="*/ 47 h 340"/>
                  <a:gd name="T2" fmla="*/ 48 w 336"/>
                  <a:gd name="T3" fmla="*/ 24 h 340"/>
                  <a:gd name="T4" fmla="*/ 71 w 336"/>
                  <a:gd name="T5" fmla="*/ 0 h 340"/>
                  <a:gd name="T6" fmla="*/ 73 w 336"/>
                  <a:gd name="T7" fmla="*/ 21 h 340"/>
                  <a:gd name="T8" fmla="*/ 82 w 336"/>
                  <a:gd name="T9" fmla="*/ 42 h 340"/>
                  <a:gd name="T10" fmla="*/ 102 w 336"/>
                  <a:gd name="T11" fmla="*/ 81 h 340"/>
                  <a:gd name="T12" fmla="*/ 119 w 336"/>
                  <a:gd name="T13" fmla="*/ 62 h 340"/>
                  <a:gd name="T14" fmla="*/ 136 w 336"/>
                  <a:gd name="T15" fmla="*/ 43 h 340"/>
                  <a:gd name="T16" fmla="*/ 161 w 336"/>
                  <a:gd name="T17" fmla="*/ 26 h 340"/>
                  <a:gd name="T18" fmla="*/ 181 w 336"/>
                  <a:gd name="T19" fmla="*/ 24 h 340"/>
                  <a:gd name="T20" fmla="*/ 200 w 336"/>
                  <a:gd name="T21" fmla="*/ 36 h 340"/>
                  <a:gd name="T22" fmla="*/ 209 w 336"/>
                  <a:gd name="T23" fmla="*/ 60 h 340"/>
                  <a:gd name="T24" fmla="*/ 196 w 336"/>
                  <a:gd name="T25" fmla="*/ 63 h 340"/>
                  <a:gd name="T26" fmla="*/ 185 w 336"/>
                  <a:gd name="T27" fmla="*/ 67 h 340"/>
                  <a:gd name="T28" fmla="*/ 136 w 336"/>
                  <a:gd name="T29" fmla="*/ 119 h 340"/>
                  <a:gd name="T30" fmla="*/ 165 w 336"/>
                  <a:gd name="T31" fmla="*/ 144 h 340"/>
                  <a:gd name="T32" fmla="*/ 190 w 336"/>
                  <a:gd name="T33" fmla="*/ 157 h 340"/>
                  <a:gd name="T34" fmla="*/ 216 w 336"/>
                  <a:gd name="T35" fmla="*/ 160 h 340"/>
                  <a:gd name="T36" fmla="*/ 209 w 336"/>
                  <a:gd name="T37" fmla="*/ 176 h 340"/>
                  <a:gd name="T38" fmla="*/ 190 w 336"/>
                  <a:gd name="T39" fmla="*/ 199 h 340"/>
                  <a:gd name="T40" fmla="*/ 172 w 336"/>
                  <a:gd name="T41" fmla="*/ 205 h 340"/>
                  <a:gd name="T42" fmla="*/ 144 w 336"/>
                  <a:gd name="T43" fmla="*/ 190 h 340"/>
                  <a:gd name="T44" fmla="*/ 107 w 336"/>
                  <a:gd name="T45" fmla="*/ 158 h 340"/>
                  <a:gd name="T46" fmla="*/ 87 w 336"/>
                  <a:gd name="T47" fmla="*/ 188 h 340"/>
                  <a:gd name="T48" fmla="*/ 65 w 336"/>
                  <a:gd name="T49" fmla="*/ 212 h 340"/>
                  <a:gd name="T50" fmla="*/ 48 w 336"/>
                  <a:gd name="T51" fmla="*/ 218 h 340"/>
                  <a:gd name="T52" fmla="*/ 21 w 336"/>
                  <a:gd name="T53" fmla="*/ 204 h 340"/>
                  <a:gd name="T54" fmla="*/ 0 w 336"/>
                  <a:gd name="T55" fmla="*/ 176 h 340"/>
                  <a:gd name="T56" fmla="*/ 23 w 336"/>
                  <a:gd name="T57" fmla="*/ 173 h 340"/>
                  <a:gd name="T58" fmla="*/ 43 w 336"/>
                  <a:gd name="T59" fmla="*/ 158 h 340"/>
                  <a:gd name="T60" fmla="*/ 72 w 336"/>
                  <a:gd name="T61" fmla="*/ 121 h 340"/>
                  <a:gd name="T62" fmla="*/ 44 w 336"/>
                  <a:gd name="T63" fmla="*/ 81 h 340"/>
                  <a:gd name="T64" fmla="*/ 37 w 336"/>
                  <a:gd name="T65" fmla="*/ 63 h 340"/>
                  <a:gd name="T66" fmla="*/ 33 w 336"/>
                  <a:gd name="T67" fmla="*/ 47 h 340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336" h="340">
                    <a:moveTo>
                      <a:pt x="51" y="74"/>
                    </a:moveTo>
                    <a:lnTo>
                      <a:pt x="75" y="37"/>
                    </a:lnTo>
                    <a:lnTo>
                      <a:pt x="111" y="0"/>
                    </a:lnTo>
                    <a:lnTo>
                      <a:pt x="113" y="33"/>
                    </a:lnTo>
                    <a:lnTo>
                      <a:pt x="127" y="66"/>
                    </a:lnTo>
                    <a:lnTo>
                      <a:pt x="159" y="126"/>
                    </a:lnTo>
                    <a:lnTo>
                      <a:pt x="185" y="97"/>
                    </a:lnTo>
                    <a:lnTo>
                      <a:pt x="212" y="67"/>
                    </a:lnTo>
                    <a:lnTo>
                      <a:pt x="250" y="40"/>
                    </a:lnTo>
                    <a:lnTo>
                      <a:pt x="281" y="37"/>
                    </a:lnTo>
                    <a:lnTo>
                      <a:pt x="311" y="56"/>
                    </a:lnTo>
                    <a:lnTo>
                      <a:pt x="325" y="94"/>
                    </a:lnTo>
                    <a:lnTo>
                      <a:pt x="305" y="99"/>
                    </a:lnTo>
                    <a:lnTo>
                      <a:pt x="288" y="104"/>
                    </a:lnTo>
                    <a:lnTo>
                      <a:pt x="212" y="185"/>
                    </a:lnTo>
                    <a:lnTo>
                      <a:pt x="257" y="224"/>
                    </a:lnTo>
                    <a:lnTo>
                      <a:pt x="296" y="245"/>
                    </a:lnTo>
                    <a:lnTo>
                      <a:pt x="336" y="250"/>
                    </a:lnTo>
                    <a:lnTo>
                      <a:pt x="325" y="275"/>
                    </a:lnTo>
                    <a:lnTo>
                      <a:pt x="296" y="310"/>
                    </a:lnTo>
                    <a:lnTo>
                      <a:pt x="267" y="319"/>
                    </a:lnTo>
                    <a:lnTo>
                      <a:pt x="224" y="297"/>
                    </a:lnTo>
                    <a:lnTo>
                      <a:pt x="167" y="247"/>
                    </a:lnTo>
                    <a:lnTo>
                      <a:pt x="135" y="293"/>
                    </a:lnTo>
                    <a:lnTo>
                      <a:pt x="101" y="330"/>
                    </a:lnTo>
                    <a:lnTo>
                      <a:pt x="74" y="340"/>
                    </a:lnTo>
                    <a:lnTo>
                      <a:pt x="33" y="318"/>
                    </a:lnTo>
                    <a:lnTo>
                      <a:pt x="0" y="274"/>
                    </a:lnTo>
                    <a:lnTo>
                      <a:pt x="35" y="270"/>
                    </a:lnTo>
                    <a:lnTo>
                      <a:pt x="67" y="247"/>
                    </a:lnTo>
                    <a:lnTo>
                      <a:pt x="112" y="188"/>
                    </a:lnTo>
                    <a:lnTo>
                      <a:pt x="69" y="127"/>
                    </a:lnTo>
                    <a:lnTo>
                      <a:pt x="57" y="99"/>
                    </a:lnTo>
                    <a:lnTo>
                      <a:pt x="51" y="74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sp>
          <p:nvSpPr>
            <p:cNvPr id="97" name="Rectangle 96">
              <a:extLst>
                <a:ext uri="{FF2B5EF4-FFF2-40B4-BE49-F238E27FC236}">
                  <a16:creationId xmlns:a16="http://schemas.microsoft.com/office/drawing/2014/main" id="{F1C113A4-C860-67B5-9F00-3B02F1339691}"/>
                </a:ext>
              </a:extLst>
            </p:cNvPr>
            <p:cNvSpPr/>
            <p:nvPr/>
          </p:nvSpPr>
          <p:spPr>
            <a:xfrm>
              <a:off x="8543257" y="1258786"/>
              <a:ext cx="928468" cy="215444"/>
            </a:xfrm>
            <a:prstGeom prst="rect">
              <a:avLst/>
            </a:prstGeom>
            <a:noFill/>
            <a:ln w="12700" cap="rnd" cmpd="sng">
              <a:noFill/>
              <a:prstDash val="solid"/>
              <a:round/>
              <a:headEnd/>
              <a:tailEnd/>
            </a:ln>
            <a:effectLst/>
          </p:spPr>
          <p:txBody>
            <a:bodyPr wrap="square" lIns="0" tIns="0" rIns="0" bIns="0" anchor="ctr" anchorCtr="0">
              <a:spAutoFit/>
            </a:bodyPr>
            <a:lstStyle/>
            <a:p>
              <a:pPr algn="ctr"/>
              <a:r>
                <a:rPr lang="en-US" sz="1400" b="1" dirty="0">
                  <a:solidFill>
                    <a:schemeClr val="accent1"/>
                  </a:solidFill>
                  <a:latin typeface="+mn-lt"/>
                </a:rPr>
                <a:t>Heading 5</a:t>
              </a:r>
            </a:p>
          </p:txBody>
        </p:sp>
        <p:grpSp>
          <p:nvGrpSpPr>
            <p:cNvPr id="98" name="Group 97">
              <a:extLst>
                <a:ext uri="{FF2B5EF4-FFF2-40B4-BE49-F238E27FC236}">
                  <a16:creationId xmlns:a16="http://schemas.microsoft.com/office/drawing/2014/main" id="{5810C285-304C-4D3E-370E-275FCA8EF08E}"/>
                </a:ext>
              </a:extLst>
            </p:cNvPr>
            <p:cNvGrpSpPr/>
            <p:nvPr/>
          </p:nvGrpSpPr>
          <p:grpSpPr>
            <a:xfrm>
              <a:off x="8822240" y="1698595"/>
              <a:ext cx="370502" cy="370502"/>
              <a:chOff x="7577881" y="1283110"/>
              <a:chExt cx="589936" cy="589936"/>
            </a:xfrm>
          </p:grpSpPr>
          <p:sp>
            <p:nvSpPr>
              <p:cNvPr id="134" name="Oval 133">
                <a:extLst>
                  <a:ext uri="{FF2B5EF4-FFF2-40B4-BE49-F238E27FC236}">
                    <a16:creationId xmlns:a16="http://schemas.microsoft.com/office/drawing/2014/main" id="{C7B2B8C1-C7A4-B205-1194-98CDDF2BF29B}"/>
                  </a:ext>
                </a:extLst>
              </p:cNvPr>
              <p:cNvSpPr/>
              <p:nvPr/>
            </p:nvSpPr>
            <p:spPr>
              <a:xfrm>
                <a:off x="7577881" y="1283110"/>
                <a:ext cx="589936" cy="589936"/>
              </a:xfrm>
              <a:prstGeom prst="ellipse">
                <a:avLst/>
              </a:prstGeom>
              <a:solidFill>
                <a:srgbClr val="00B05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35" name="Freeform 281">
                <a:extLst>
                  <a:ext uri="{FF2B5EF4-FFF2-40B4-BE49-F238E27FC236}">
                    <a16:creationId xmlns:a16="http://schemas.microsoft.com/office/drawing/2014/main" id="{87AC6CEB-8DF3-F31F-81B4-9B0D4F8DDAD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721173" y="1425050"/>
                <a:ext cx="303352" cy="306056"/>
              </a:xfrm>
              <a:custGeom>
                <a:avLst/>
                <a:gdLst>
                  <a:gd name="T0" fmla="*/ 33 w 336"/>
                  <a:gd name="T1" fmla="*/ 47 h 340"/>
                  <a:gd name="T2" fmla="*/ 48 w 336"/>
                  <a:gd name="T3" fmla="*/ 24 h 340"/>
                  <a:gd name="T4" fmla="*/ 71 w 336"/>
                  <a:gd name="T5" fmla="*/ 0 h 340"/>
                  <a:gd name="T6" fmla="*/ 73 w 336"/>
                  <a:gd name="T7" fmla="*/ 21 h 340"/>
                  <a:gd name="T8" fmla="*/ 82 w 336"/>
                  <a:gd name="T9" fmla="*/ 42 h 340"/>
                  <a:gd name="T10" fmla="*/ 102 w 336"/>
                  <a:gd name="T11" fmla="*/ 81 h 340"/>
                  <a:gd name="T12" fmla="*/ 119 w 336"/>
                  <a:gd name="T13" fmla="*/ 62 h 340"/>
                  <a:gd name="T14" fmla="*/ 136 w 336"/>
                  <a:gd name="T15" fmla="*/ 43 h 340"/>
                  <a:gd name="T16" fmla="*/ 161 w 336"/>
                  <a:gd name="T17" fmla="*/ 26 h 340"/>
                  <a:gd name="T18" fmla="*/ 181 w 336"/>
                  <a:gd name="T19" fmla="*/ 24 h 340"/>
                  <a:gd name="T20" fmla="*/ 200 w 336"/>
                  <a:gd name="T21" fmla="*/ 36 h 340"/>
                  <a:gd name="T22" fmla="*/ 209 w 336"/>
                  <a:gd name="T23" fmla="*/ 60 h 340"/>
                  <a:gd name="T24" fmla="*/ 196 w 336"/>
                  <a:gd name="T25" fmla="*/ 63 h 340"/>
                  <a:gd name="T26" fmla="*/ 185 w 336"/>
                  <a:gd name="T27" fmla="*/ 67 h 340"/>
                  <a:gd name="T28" fmla="*/ 136 w 336"/>
                  <a:gd name="T29" fmla="*/ 119 h 340"/>
                  <a:gd name="T30" fmla="*/ 165 w 336"/>
                  <a:gd name="T31" fmla="*/ 144 h 340"/>
                  <a:gd name="T32" fmla="*/ 190 w 336"/>
                  <a:gd name="T33" fmla="*/ 157 h 340"/>
                  <a:gd name="T34" fmla="*/ 216 w 336"/>
                  <a:gd name="T35" fmla="*/ 160 h 340"/>
                  <a:gd name="T36" fmla="*/ 209 w 336"/>
                  <a:gd name="T37" fmla="*/ 176 h 340"/>
                  <a:gd name="T38" fmla="*/ 190 w 336"/>
                  <a:gd name="T39" fmla="*/ 199 h 340"/>
                  <a:gd name="T40" fmla="*/ 172 w 336"/>
                  <a:gd name="T41" fmla="*/ 205 h 340"/>
                  <a:gd name="T42" fmla="*/ 144 w 336"/>
                  <a:gd name="T43" fmla="*/ 190 h 340"/>
                  <a:gd name="T44" fmla="*/ 107 w 336"/>
                  <a:gd name="T45" fmla="*/ 158 h 340"/>
                  <a:gd name="T46" fmla="*/ 87 w 336"/>
                  <a:gd name="T47" fmla="*/ 188 h 340"/>
                  <a:gd name="T48" fmla="*/ 65 w 336"/>
                  <a:gd name="T49" fmla="*/ 212 h 340"/>
                  <a:gd name="T50" fmla="*/ 48 w 336"/>
                  <a:gd name="T51" fmla="*/ 218 h 340"/>
                  <a:gd name="T52" fmla="*/ 21 w 336"/>
                  <a:gd name="T53" fmla="*/ 204 h 340"/>
                  <a:gd name="T54" fmla="*/ 0 w 336"/>
                  <a:gd name="T55" fmla="*/ 176 h 340"/>
                  <a:gd name="T56" fmla="*/ 23 w 336"/>
                  <a:gd name="T57" fmla="*/ 173 h 340"/>
                  <a:gd name="T58" fmla="*/ 43 w 336"/>
                  <a:gd name="T59" fmla="*/ 158 h 340"/>
                  <a:gd name="T60" fmla="*/ 72 w 336"/>
                  <a:gd name="T61" fmla="*/ 121 h 340"/>
                  <a:gd name="T62" fmla="*/ 44 w 336"/>
                  <a:gd name="T63" fmla="*/ 81 h 340"/>
                  <a:gd name="T64" fmla="*/ 37 w 336"/>
                  <a:gd name="T65" fmla="*/ 63 h 340"/>
                  <a:gd name="T66" fmla="*/ 33 w 336"/>
                  <a:gd name="T67" fmla="*/ 47 h 340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336" h="340">
                    <a:moveTo>
                      <a:pt x="51" y="74"/>
                    </a:moveTo>
                    <a:lnTo>
                      <a:pt x="75" y="37"/>
                    </a:lnTo>
                    <a:lnTo>
                      <a:pt x="111" y="0"/>
                    </a:lnTo>
                    <a:lnTo>
                      <a:pt x="113" y="33"/>
                    </a:lnTo>
                    <a:lnTo>
                      <a:pt x="127" y="66"/>
                    </a:lnTo>
                    <a:lnTo>
                      <a:pt x="159" y="126"/>
                    </a:lnTo>
                    <a:lnTo>
                      <a:pt x="185" y="97"/>
                    </a:lnTo>
                    <a:lnTo>
                      <a:pt x="212" y="67"/>
                    </a:lnTo>
                    <a:lnTo>
                      <a:pt x="250" y="40"/>
                    </a:lnTo>
                    <a:lnTo>
                      <a:pt x="281" y="37"/>
                    </a:lnTo>
                    <a:lnTo>
                      <a:pt x="311" y="56"/>
                    </a:lnTo>
                    <a:lnTo>
                      <a:pt x="325" y="94"/>
                    </a:lnTo>
                    <a:lnTo>
                      <a:pt x="305" y="99"/>
                    </a:lnTo>
                    <a:lnTo>
                      <a:pt x="288" y="104"/>
                    </a:lnTo>
                    <a:lnTo>
                      <a:pt x="212" y="185"/>
                    </a:lnTo>
                    <a:lnTo>
                      <a:pt x="257" y="224"/>
                    </a:lnTo>
                    <a:lnTo>
                      <a:pt x="296" y="245"/>
                    </a:lnTo>
                    <a:lnTo>
                      <a:pt x="336" y="250"/>
                    </a:lnTo>
                    <a:lnTo>
                      <a:pt x="325" y="275"/>
                    </a:lnTo>
                    <a:lnTo>
                      <a:pt x="296" y="310"/>
                    </a:lnTo>
                    <a:lnTo>
                      <a:pt x="267" y="319"/>
                    </a:lnTo>
                    <a:lnTo>
                      <a:pt x="224" y="297"/>
                    </a:lnTo>
                    <a:lnTo>
                      <a:pt x="167" y="247"/>
                    </a:lnTo>
                    <a:lnTo>
                      <a:pt x="135" y="293"/>
                    </a:lnTo>
                    <a:lnTo>
                      <a:pt x="101" y="330"/>
                    </a:lnTo>
                    <a:lnTo>
                      <a:pt x="74" y="340"/>
                    </a:lnTo>
                    <a:lnTo>
                      <a:pt x="33" y="318"/>
                    </a:lnTo>
                    <a:lnTo>
                      <a:pt x="0" y="274"/>
                    </a:lnTo>
                    <a:lnTo>
                      <a:pt x="35" y="270"/>
                    </a:lnTo>
                    <a:lnTo>
                      <a:pt x="67" y="247"/>
                    </a:lnTo>
                    <a:lnTo>
                      <a:pt x="112" y="188"/>
                    </a:lnTo>
                    <a:lnTo>
                      <a:pt x="69" y="127"/>
                    </a:lnTo>
                    <a:lnTo>
                      <a:pt x="57" y="99"/>
                    </a:lnTo>
                    <a:lnTo>
                      <a:pt x="51" y="74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99" name="Group 98">
              <a:extLst>
                <a:ext uri="{FF2B5EF4-FFF2-40B4-BE49-F238E27FC236}">
                  <a16:creationId xmlns:a16="http://schemas.microsoft.com/office/drawing/2014/main" id="{450EFEC1-53B2-589B-2141-8DA4DDEEFD0D}"/>
                </a:ext>
              </a:extLst>
            </p:cNvPr>
            <p:cNvGrpSpPr/>
            <p:nvPr/>
          </p:nvGrpSpPr>
          <p:grpSpPr>
            <a:xfrm>
              <a:off x="8822240" y="2437474"/>
              <a:ext cx="370502" cy="370502"/>
              <a:chOff x="7577881" y="1283110"/>
              <a:chExt cx="589936" cy="589936"/>
            </a:xfrm>
          </p:grpSpPr>
          <p:sp>
            <p:nvSpPr>
              <p:cNvPr id="132" name="Oval 131">
                <a:extLst>
                  <a:ext uri="{FF2B5EF4-FFF2-40B4-BE49-F238E27FC236}">
                    <a16:creationId xmlns:a16="http://schemas.microsoft.com/office/drawing/2014/main" id="{7B968E92-5626-C63C-A068-6A491543C0D3}"/>
                  </a:ext>
                </a:extLst>
              </p:cNvPr>
              <p:cNvSpPr/>
              <p:nvPr/>
            </p:nvSpPr>
            <p:spPr>
              <a:xfrm>
                <a:off x="7577881" y="1283110"/>
                <a:ext cx="589936" cy="589936"/>
              </a:xfrm>
              <a:prstGeom prst="ellipse">
                <a:avLst/>
              </a:prstGeom>
              <a:solidFill>
                <a:srgbClr val="00B05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33" name="Freeform 281">
                <a:extLst>
                  <a:ext uri="{FF2B5EF4-FFF2-40B4-BE49-F238E27FC236}">
                    <a16:creationId xmlns:a16="http://schemas.microsoft.com/office/drawing/2014/main" id="{4CEC5BE1-D061-B5DF-759B-2981C62AF9A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721173" y="1425050"/>
                <a:ext cx="303352" cy="306056"/>
              </a:xfrm>
              <a:custGeom>
                <a:avLst/>
                <a:gdLst>
                  <a:gd name="T0" fmla="*/ 33 w 336"/>
                  <a:gd name="T1" fmla="*/ 47 h 340"/>
                  <a:gd name="T2" fmla="*/ 48 w 336"/>
                  <a:gd name="T3" fmla="*/ 24 h 340"/>
                  <a:gd name="T4" fmla="*/ 71 w 336"/>
                  <a:gd name="T5" fmla="*/ 0 h 340"/>
                  <a:gd name="T6" fmla="*/ 73 w 336"/>
                  <a:gd name="T7" fmla="*/ 21 h 340"/>
                  <a:gd name="T8" fmla="*/ 82 w 336"/>
                  <a:gd name="T9" fmla="*/ 42 h 340"/>
                  <a:gd name="T10" fmla="*/ 102 w 336"/>
                  <a:gd name="T11" fmla="*/ 81 h 340"/>
                  <a:gd name="T12" fmla="*/ 119 w 336"/>
                  <a:gd name="T13" fmla="*/ 62 h 340"/>
                  <a:gd name="T14" fmla="*/ 136 w 336"/>
                  <a:gd name="T15" fmla="*/ 43 h 340"/>
                  <a:gd name="T16" fmla="*/ 161 w 336"/>
                  <a:gd name="T17" fmla="*/ 26 h 340"/>
                  <a:gd name="T18" fmla="*/ 181 w 336"/>
                  <a:gd name="T19" fmla="*/ 24 h 340"/>
                  <a:gd name="T20" fmla="*/ 200 w 336"/>
                  <a:gd name="T21" fmla="*/ 36 h 340"/>
                  <a:gd name="T22" fmla="*/ 209 w 336"/>
                  <a:gd name="T23" fmla="*/ 60 h 340"/>
                  <a:gd name="T24" fmla="*/ 196 w 336"/>
                  <a:gd name="T25" fmla="*/ 63 h 340"/>
                  <a:gd name="T26" fmla="*/ 185 w 336"/>
                  <a:gd name="T27" fmla="*/ 67 h 340"/>
                  <a:gd name="T28" fmla="*/ 136 w 336"/>
                  <a:gd name="T29" fmla="*/ 119 h 340"/>
                  <a:gd name="T30" fmla="*/ 165 w 336"/>
                  <a:gd name="T31" fmla="*/ 144 h 340"/>
                  <a:gd name="T32" fmla="*/ 190 w 336"/>
                  <a:gd name="T33" fmla="*/ 157 h 340"/>
                  <a:gd name="T34" fmla="*/ 216 w 336"/>
                  <a:gd name="T35" fmla="*/ 160 h 340"/>
                  <a:gd name="T36" fmla="*/ 209 w 336"/>
                  <a:gd name="T37" fmla="*/ 176 h 340"/>
                  <a:gd name="T38" fmla="*/ 190 w 336"/>
                  <a:gd name="T39" fmla="*/ 199 h 340"/>
                  <a:gd name="T40" fmla="*/ 172 w 336"/>
                  <a:gd name="T41" fmla="*/ 205 h 340"/>
                  <a:gd name="T42" fmla="*/ 144 w 336"/>
                  <a:gd name="T43" fmla="*/ 190 h 340"/>
                  <a:gd name="T44" fmla="*/ 107 w 336"/>
                  <a:gd name="T45" fmla="*/ 158 h 340"/>
                  <a:gd name="T46" fmla="*/ 87 w 336"/>
                  <a:gd name="T47" fmla="*/ 188 h 340"/>
                  <a:gd name="T48" fmla="*/ 65 w 336"/>
                  <a:gd name="T49" fmla="*/ 212 h 340"/>
                  <a:gd name="T50" fmla="*/ 48 w 336"/>
                  <a:gd name="T51" fmla="*/ 218 h 340"/>
                  <a:gd name="T52" fmla="*/ 21 w 336"/>
                  <a:gd name="T53" fmla="*/ 204 h 340"/>
                  <a:gd name="T54" fmla="*/ 0 w 336"/>
                  <a:gd name="T55" fmla="*/ 176 h 340"/>
                  <a:gd name="T56" fmla="*/ 23 w 336"/>
                  <a:gd name="T57" fmla="*/ 173 h 340"/>
                  <a:gd name="T58" fmla="*/ 43 w 336"/>
                  <a:gd name="T59" fmla="*/ 158 h 340"/>
                  <a:gd name="T60" fmla="*/ 72 w 336"/>
                  <a:gd name="T61" fmla="*/ 121 h 340"/>
                  <a:gd name="T62" fmla="*/ 44 w 336"/>
                  <a:gd name="T63" fmla="*/ 81 h 340"/>
                  <a:gd name="T64" fmla="*/ 37 w 336"/>
                  <a:gd name="T65" fmla="*/ 63 h 340"/>
                  <a:gd name="T66" fmla="*/ 33 w 336"/>
                  <a:gd name="T67" fmla="*/ 47 h 340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336" h="340">
                    <a:moveTo>
                      <a:pt x="51" y="74"/>
                    </a:moveTo>
                    <a:lnTo>
                      <a:pt x="75" y="37"/>
                    </a:lnTo>
                    <a:lnTo>
                      <a:pt x="111" y="0"/>
                    </a:lnTo>
                    <a:lnTo>
                      <a:pt x="113" y="33"/>
                    </a:lnTo>
                    <a:lnTo>
                      <a:pt x="127" y="66"/>
                    </a:lnTo>
                    <a:lnTo>
                      <a:pt x="159" y="126"/>
                    </a:lnTo>
                    <a:lnTo>
                      <a:pt x="185" y="97"/>
                    </a:lnTo>
                    <a:lnTo>
                      <a:pt x="212" y="67"/>
                    </a:lnTo>
                    <a:lnTo>
                      <a:pt x="250" y="40"/>
                    </a:lnTo>
                    <a:lnTo>
                      <a:pt x="281" y="37"/>
                    </a:lnTo>
                    <a:lnTo>
                      <a:pt x="311" y="56"/>
                    </a:lnTo>
                    <a:lnTo>
                      <a:pt x="325" y="94"/>
                    </a:lnTo>
                    <a:lnTo>
                      <a:pt x="305" y="99"/>
                    </a:lnTo>
                    <a:lnTo>
                      <a:pt x="288" y="104"/>
                    </a:lnTo>
                    <a:lnTo>
                      <a:pt x="212" y="185"/>
                    </a:lnTo>
                    <a:lnTo>
                      <a:pt x="257" y="224"/>
                    </a:lnTo>
                    <a:lnTo>
                      <a:pt x="296" y="245"/>
                    </a:lnTo>
                    <a:lnTo>
                      <a:pt x="336" y="250"/>
                    </a:lnTo>
                    <a:lnTo>
                      <a:pt x="325" y="275"/>
                    </a:lnTo>
                    <a:lnTo>
                      <a:pt x="296" y="310"/>
                    </a:lnTo>
                    <a:lnTo>
                      <a:pt x="267" y="319"/>
                    </a:lnTo>
                    <a:lnTo>
                      <a:pt x="224" y="297"/>
                    </a:lnTo>
                    <a:lnTo>
                      <a:pt x="167" y="247"/>
                    </a:lnTo>
                    <a:lnTo>
                      <a:pt x="135" y="293"/>
                    </a:lnTo>
                    <a:lnTo>
                      <a:pt x="101" y="330"/>
                    </a:lnTo>
                    <a:lnTo>
                      <a:pt x="74" y="340"/>
                    </a:lnTo>
                    <a:lnTo>
                      <a:pt x="33" y="318"/>
                    </a:lnTo>
                    <a:lnTo>
                      <a:pt x="0" y="274"/>
                    </a:lnTo>
                    <a:lnTo>
                      <a:pt x="35" y="270"/>
                    </a:lnTo>
                    <a:lnTo>
                      <a:pt x="67" y="247"/>
                    </a:lnTo>
                    <a:lnTo>
                      <a:pt x="112" y="188"/>
                    </a:lnTo>
                    <a:lnTo>
                      <a:pt x="69" y="127"/>
                    </a:lnTo>
                    <a:lnTo>
                      <a:pt x="57" y="99"/>
                    </a:lnTo>
                    <a:lnTo>
                      <a:pt x="51" y="74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100" name="Group 99">
              <a:extLst>
                <a:ext uri="{FF2B5EF4-FFF2-40B4-BE49-F238E27FC236}">
                  <a16:creationId xmlns:a16="http://schemas.microsoft.com/office/drawing/2014/main" id="{2297D7DF-F43F-32DB-90C1-67F419D591E1}"/>
                </a:ext>
              </a:extLst>
            </p:cNvPr>
            <p:cNvGrpSpPr/>
            <p:nvPr/>
          </p:nvGrpSpPr>
          <p:grpSpPr>
            <a:xfrm>
              <a:off x="8822240" y="3176353"/>
              <a:ext cx="370502" cy="370502"/>
              <a:chOff x="3551571" y="1283110"/>
              <a:chExt cx="589936" cy="589936"/>
            </a:xfrm>
          </p:grpSpPr>
          <p:sp>
            <p:nvSpPr>
              <p:cNvPr id="130" name="Oval 129">
                <a:extLst>
                  <a:ext uri="{FF2B5EF4-FFF2-40B4-BE49-F238E27FC236}">
                    <a16:creationId xmlns:a16="http://schemas.microsoft.com/office/drawing/2014/main" id="{FC8296B6-CD15-9C41-FE7C-B7B832BB3021}"/>
                  </a:ext>
                </a:extLst>
              </p:cNvPr>
              <p:cNvSpPr/>
              <p:nvPr/>
            </p:nvSpPr>
            <p:spPr>
              <a:xfrm>
                <a:off x="3551571" y="1283110"/>
                <a:ext cx="589936" cy="589936"/>
              </a:xfrm>
              <a:prstGeom prst="ellipse">
                <a:avLst/>
              </a:prstGeom>
              <a:solidFill>
                <a:srgbClr val="FF000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31" name="Freeform 280">
                <a:extLst>
                  <a:ext uri="{FF2B5EF4-FFF2-40B4-BE49-F238E27FC236}">
                    <a16:creationId xmlns:a16="http://schemas.microsoft.com/office/drawing/2014/main" id="{F59F5171-7FF5-CE0D-9663-0741E78FE59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645782" y="1380088"/>
                <a:ext cx="401514" cy="395981"/>
              </a:xfrm>
              <a:custGeom>
                <a:avLst/>
                <a:gdLst>
                  <a:gd name="T0" fmla="*/ 0 w 648"/>
                  <a:gd name="T1" fmla="*/ 131 h 618"/>
                  <a:gd name="T2" fmla="*/ 33 w 648"/>
                  <a:gd name="T3" fmla="*/ 112 h 618"/>
                  <a:gd name="T4" fmla="*/ 46 w 648"/>
                  <a:gd name="T5" fmla="*/ 119 h 618"/>
                  <a:gd name="T6" fmla="*/ 70 w 648"/>
                  <a:gd name="T7" fmla="*/ 158 h 618"/>
                  <a:gd name="T8" fmla="*/ 106 w 648"/>
                  <a:gd name="T9" fmla="*/ 110 h 618"/>
                  <a:gd name="T10" fmla="*/ 165 w 648"/>
                  <a:gd name="T11" fmla="*/ 52 h 618"/>
                  <a:gd name="T12" fmla="*/ 203 w 648"/>
                  <a:gd name="T13" fmla="*/ 21 h 618"/>
                  <a:gd name="T14" fmla="*/ 240 w 648"/>
                  <a:gd name="T15" fmla="*/ 0 h 618"/>
                  <a:gd name="T16" fmla="*/ 246 w 648"/>
                  <a:gd name="T17" fmla="*/ 9 h 618"/>
                  <a:gd name="T18" fmla="*/ 215 w 648"/>
                  <a:gd name="T19" fmla="*/ 34 h 618"/>
                  <a:gd name="T20" fmla="*/ 170 w 648"/>
                  <a:gd name="T21" fmla="*/ 80 h 618"/>
                  <a:gd name="T22" fmla="*/ 131 w 648"/>
                  <a:gd name="T23" fmla="*/ 126 h 618"/>
                  <a:gd name="T24" fmla="*/ 89 w 648"/>
                  <a:gd name="T25" fmla="*/ 194 h 618"/>
                  <a:gd name="T26" fmla="*/ 55 w 648"/>
                  <a:gd name="T27" fmla="*/ 216 h 618"/>
                  <a:gd name="T28" fmla="*/ 31 w 648"/>
                  <a:gd name="T29" fmla="*/ 163 h 618"/>
                  <a:gd name="T30" fmla="*/ 16 w 648"/>
                  <a:gd name="T31" fmla="*/ 141 h 618"/>
                  <a:gd name="T32" fmla="*/ 0 w 648"/>
                  <a:gd name="T33" fmla="*/ 131 h 61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648" h="618">
                    <a:moveTo>
                      <a:pt x="0" y="374"/>
                    </a:moveTo>
                    <a:lnTo>
                      <a:pt x="88" y="320"/>
                    </a:lnTo>
                    <a:lnTo>
                      <a:pt x="122" y="340"/>
                    </a:lnTo>
                    <a:lnTo>
                      <a:pt x="184" y="452"/>
                    </a:lnTo>
                    <a:lnTo>
                      <a:pt x="278" y="316"/>
                    </a:lnTo>
                    <a:lnTo>
                      <a:pt x="434" y="148"/>
                    </a:lnTo>
                    <a:lnTo>
                      <a:pt x="534" y="60"/>
                    </a:lnTo>
                    <a:lnTo>
                      <a:pt x="632" y="0"/>
                    </a:lnTo>
                    <a:lnTo>
                      <a:pt x="648" y="26"/>
                    </a:lnTo>
                    <a:lnTo>
                      <a:pt x="566" y="98"/>
                    </a:lnTo>
                    <a:lnTo>
                      <a:pt x="448" y="230"/>
                    </a:lnTo>
                    <a:lnTo>
                      <a:pt x="346" y="360"/>
                    </a:lnTo>
                    <a:lnTo>
                      <a:pt x="234" y="554"/>
                    </a:lnTo>
                    <a:lnTo>
                      <a:pt x="144" y="618"/>
                    </a:lnTo>
                    <a:lnTo>
                      <a:pt x="82" y="466"/>
                    </a:lnTo>
                    <a:lnTo>
                      <a:pt x="42" y="404"/>
                    </a:lnTo>
                    <a:lnTo>
                      <a:pt x="0" y="374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101" name="Group 100">
              <a:extLst>
                <a:ext uri="{FF2B5EF4-FFF2-40B4-BE49-F238E27FC236}">
                  <a16:creationId xmlns:a16="http://schemas.microsoft.com/office/drawing/2014/main" id="{40770F1B-DB06-56F4-F207-915D5B8E7828}"/>
                </a:ext>
              </a:extLst>
            </p:cNvPr>
            <p:cNvGrpSpPr/>
            <p:nvPr/>
          </p:nvGrpSpPr>
          <p:grpSpPr>
            <a:xfrm>
              <a:off x="8822240" y="3915232"/>
              <a:ext cx="370502" cy="370502"/>
              <a:chOff x="7577881" y="1283110"/>
              <a:chExt cx="589936" cy="589936"/>
            </a:xfrm>
          </p:grpSpPr>
          <p:sp>
            <p:nvSpPr>
              <p:cNvPr id="128" name="Oval 127">
                <a:extLst>
                  <a:ext uri="{FF2B5EF4-FFF2-40B4-BE49-F238E27FC236}">
                    <a16:creationId xmlns:a16="http://schemas.microsoft.com/office/drawing/2014/main" id="{D5CB708D-A0A5-1B8B-847E-025CB2029C37}"/>
                  </a:ext>
                </a:extLst>
              </p:cNvPr>
              <p:cNvSpPr/>
              <p:nvPr/>
            </p:nvSpPr>
            <p:spPr>
              <a:xfrm>
                <a:off x="7577881" y="1283110"/>
                <a:ext cx="589936" cy="589936"/>
              </a:xfrm>
              <a:prstGeom prst="ellipse">
                <a:avLst/>
              </a:prstGeom>
              <a:solidFill>
                <a:srgbClr val="00B05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29" name="Freeform 281">
                <a:extLst>
                  <a:ext uri="{FF2B5EF4-FFF2-40B4-BE49-F238E27FC236}">
                    <a16:creationId xmlns:a16="http://schemas.microsoft.com/office/drawing/2014/main" id="{FE21707F-DC4A-6317-E59F-FFE191A4C7D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721173" y="1425050"/>
                <a:ext cx="303352" cy="306056"/>
              </a:xfrm>
              <a:custGeom>
                <a:avLst/>
                <a:gdLst>
                  <a:gd name="T0" fmla="*/ 33 w 336"/>
                  <a:gd name="T1" fmla="*/ 47 h 340"/>
                  <a:gd name="T2" fmla="*/ 48 w 336"/>
                  <a:gd name="T3" fmla="*/ 24 h 340"/>
                  <a:gd name="T4" fmla="*/ 71 w 336"/>
                  <a:gd name="T5" fmla="*/ 0 h 340"/>
                  <a:gd name="T6" fmla="*/ 73 w 336"/>
                  <a:gd name="T7" fmla="*/ 21 h 340"/>
                  <a:gd name="T8" fmla="*/ 82 w 336"/>
                  <a:gd name="T9" fmla="*/ 42 h 340"/>
                  <a:gd name="T10" fmla="*/ 102 w 336"/>
                  <a:gd name="T11" fmla="*/ 81 h 340"/>
                  <a:gd name="T12" fmla="*/ 119 w 336"/>
                  <a:gd name="T13" fmla="*/ 62 h 340"/>
                  <a:gd name="T14" fmla="*/ 136 w 336"/>
                  <a:gd name="T15" fmla="*/ 43 h 340"/>
                  <a:gd name="T16" fmla="*/ 161 w 336"/>
                  <a:gd name="T17" fmla="*/ 26 h 340"/>
                  <a:gd name="T18" fmla="*/ 181 w 336"/>
                  <a:gd name="T19" fmla="*/ 24 h 340"/>
                  <a:gd name="T20" fmla="*/ 200 w 336"/>
                  <a:gd name="T21" fmla="*/ 36 h 340"/>
                  <a:gd name="T22" fmla="*/ 209 w 336"/>
                  <a:gd name="T23" fmla="*/ 60 h 340"/>
                  <a:gd name="T24" fmla="*/ 196 w 336"/>
                  <a:gd name="T25" fmla="*/ 63 h 340"/>
                  <a:gd name="T26" fmla="*/ 185 w 336"/>
                  <a:gd name="T27" fmla="*/ 67 h 340"/>
                  <a:gd name="T28" fmla="*/ 136 w 336"/>
                  <a:gd name="T29" fmla="*/ 119 h 340"/>
                  <a:gd name="T30" fmla="*/ 165 w 336"/>
                  <a:gd name="T31" fmla="*/ 144 h 340"/>
                  <a:gd name="T32" fmla="*/ 190 w 336"/>
                  <a:gd name="T33" fmla="*/ 157 h 340"/>
                  <a:gd name="T34" fmla="*/ 216 w 336"/>
                  <a:gd name="T35" fmla="*/ 160 h 340"/>
                  <a:gd name="T36" fmla="*/ 209 w 336"/>
                  <a:gd name="T37" fmla="*/ 176 h 340"/>
                  <a:gd name="T38" fmla="*/ 190 w 336"/>
                  <a:gd name="T39" fmla="*/ 199 h 340"/>
                  <a:gd name="T40" fmla="*/ 172 w 336"/>
                  <a:gd name="T41" fmla="*/ 205 h 340"/>
                  <a:gd name="T42" fmla="*/ 144 w 336"/>
                  <a:gd name="T43" fmla="*/ 190 h 340"/>
                  <a:gd name="T44" fmla="*/ 107 w 336"/>
                  <a:gd name="T45" fmla="*/ 158 h 340"/>
                  <a:gd name="T46" fmla="*/ 87 w 336"/>
                  <a:gd name="T47" fmla="*/ 188 h 340"/>
                  <a:gd name="T48" fmla="*/ 65 w 336"/>
                  <a:gd name="T49" fmla="*/ 212 h 340"/>
                  <a:gd name="T50" fmla="*/ 48 w 336"/>
                  <a:gd name="T51" fmla="*/ 218 h 340"/>
                  <a:gd name="T52" fmla="*/ 21 w 336"/>
                  <a:gd name="T53" fmla="*/ 204 h 340"/>
                  <a:gd name="T54" fmla="*/ 0 w 336"/>
                  <a:gd name="T55" fmla="*/ 176 h 340"/>
                  <a:gd name="T56" fmla="*/ 23 w 336"/>
                  <a:gd name="T57" fmla="*/ 173 h 340"/>
                  <a:gd name="T58" fmla="*/ 43 w 336"/>
                  <a:gd name="T59" fmla="*/ 158 h 340"/>
                  <a:gd name="T60" fmla="*/ 72 w 336"/>
                  <a:gd name="T61" fmla="*/ 121 h 340"/>
                  <a:gd name="T62" fmla="*/ 44 w 336"/>
                  <a:gd name="T63" fmla="*/ 81 h 340"/>
                  <a:gd name="T64" fmla="*/ 37 w 336"/>
                  <a:gd name="T65" fmla="*/ 63 h 340"/>
                  <a:gd name="T66" fmla="*/ 33 w 336"/>
                  <a:gd name="T67" fmla="*/ 47 h 340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336" h="340">
                    <a:moveTo>
                      <a:pt x="51" y="74"/>
                    </a:moveTo>
                    <a:lnTo>
                      <a:pt x="75" y="37"/>
                    </a:lnTo>
                    <a:lnTo>
                      <a:pt x="111" y="0"/>
                    </a:lnTo>
                    <a:lnTo>
                      <a:pt x="113" y="33"/>
                    </a:lnTo>
                    <a:lnTo>
                      <a:pt x="127" y="66"/>
                    </a:lnTo>
                    <a:lnTo>
                      <a:pt x="159" y="126"/>
                    </a:lnTo>
                    <a:lnTo>
                      <a:pt x="185" y="97"/>
                    </a:lnTo>
                    <a:lnTo>
                      <a:pt x="212" y="67"/>
                    </a:lnTo>
                    <a:lnTo>
                      <a:pt x="250" y="40"/>
                    </a:lnTo>
                    <a:lnTo>
                      <a:pt x="281" y="37"/>
                    </a:lnTo>
                    <a:lnTo>
                      <a:pt x="311" y="56"/>
                    </a:lnTo>
                    <a:lnTo>
                      <a:pt x="325" y="94"/>
                    </a:lnTo>
                    <a:lnTo>
                      <a:pt x="305" y="99"/>
                    </a:lnTo>
                    <a:lnTo>
                      <a:pt x="288" y="104"/>
                    </a:lnTo>
                    <a:lnTo>
                      <a:pt x="212" y="185"/>
                    </a:lnTo>
                    <a:lnTo>
                      <a:pt x="257" y="224"/>
                    </a:lnTo>
                    <a:lnTo>
                      <a:pt x="296" y="245"/>
                    </a:lnTo>
                    <a:lnTo>
                      <a:pt x="336" y="250"/>
                    </a:lnTo>
                    <a:lnTo>
                      <a:pt x="325" y="275"/>
                    </a:lnTo>
                    <a:lnTo>
                      <a:pt x="296" y="310"/>
                    </a:lnTo>
                    <a:lnTo>
                      <a:pt x="267" y="319"/>
                    </a:lnTo>
                    <a:lnTo>
                      <a:pt x="224" y="297"/>
                    </a:lnTo>
                    <a:lnTo>
                      <a:pt x="167" y="247"/>
                    </a:lnTo>
                    <a:lnTo>
                      <a:pt x="135" y="293"/>
                    </a:lnTo>
                    <a:lnTo>
                      <a:pt x="101" y="330"/>
                    </a:lnTo>
                    <a:lnTo>
                      <a:pt x="74" y="340"/>
                    </a:lnTo>
                    <a:lnTo>
                      <a:pt x="33" y="318"/>
                    </a:lnTo>
                    <a:lnTo>
                      <a:pt x="0" y="274"/>
                    </a:lnTo>
                    <a:lnTo>
                      <a:pt x="35" y="270"/>
                    </a:lnTo>
                    <a:lnTo>
                      <a:pt x="67" y="247"/>
                    </a:lnTo>
                    <a:lnTo>
                      <a:pt x="112" y="188"/>
                    </a:lnTo>
                    <a:lnTo>
                      <a:pt x="69" y="127"/>
                    </a:lnTo>
                    <a:lnTo>
                      <a:pt x="57" y="99"/>
                    </a:lnTo>
                    <a:lnTo>
                      <a:pt x="51" y="74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102" name="Group 101">
              <a:extLst>
                <a:ext uri="{FF2B5EF4-FFF2-40B4-BE49-F238E27FC236}">
                  <a16:creationId xmlns:a16="http://schemas.microsoft.com/office/drawing/2014/main" id="{D5C75D20-8ACF-C8C8-1E5B-00AC91E517A1}"/>
                </a:ext>
              </a:extLst>
            </p:cNvPr>
            <p:cNvGrpSpPr/>
            <p:nvPr/>
          </p:nvGrpSpPr>
          <p:grpSpPr>
            <a:xfrm>
              <a:off x="8822240" y="4654111"/>
              <a:ext cx="370502" cy="370502"/>
              <a:chOff x="7577881" y="1283110"/>
              <a:chExt cx="589936" cy="589936"/>
            </a:xfrm>
          </p:grpSpPr>
          <p:sp>
            <p:nvSpPr>
              <p:cNvPr id="126" name="Oval 125">
                <a:extLst>
                  <a:ext uri="{FF2B5EF4-FFF2-40B4-BE49-F238E27FC236}">
                    <a16:creationId xmlns:a16="http://schemas.microsoft.com/office/drawing/2014/main" id="{D86E860A-416E-10FB-19D5-9BD6706C19D1}"/>
                  </a:ext>
                </a:extLst>
              </p:cNvPr>
              <p:cNvSpPr/>
              <p:nvPr/>
            </p:nvSpPr>
            <p:spPr>
              <a:xfrm>
                <a:off x="7577881" y="1283110"/>
                <a:ext cx="589936" cy="589936"/>
              </a:xfrm>
              <a:prstGeom prst="ellipse">
                <a:avLst/>
              </a:prstGeom>
              <a:solidFill>
                <a:srgbClr val="00B05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27" name="Freeform 281">
                <a:extLst>
                  <a:ext uri="{FF2B5EF4-FFF2-40B4-BE49-F238E27FC236}">
                    <a16:creationId xmlns:a16="http://schemas.microsoft.com/office/drawing/2014/main" id="{22202FCE-320F-742C-B572-F111335CFCD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721173" y="1425050"/>
                <a:ext cx="303352" cy="306056"/>
              </a:xfrm>
              <a:custGeom>
                <a:avLst/>
                <a:gdLst>
                  <a:gd name="T0" fmla="*/ 33 w 336"/>
                  <a:gd name="T1" fmla="*/ 47 h 340"/>
                  <a:gd name="T2" fmla="*/ 48 w 336"/>
                  <a:gd name="T3" fmla="*/ 24 h 340"/>
                  <a:gd name="T4" fmla="*/ 71 w 336"/>
                  <a:gd name="T5" fmla="*/ 0 h 340"/>
                  <a:gd name="T6" fmla="*/ 73 w 336"/>
                  <a:gd name="T7" fmla="*/ 21 h 340"/>
                  <a:gd name="T8" fmla="*/ 82 w 336"/>
                  <a:gd name="T9" fmla="*/ 42 h 340"/>
                  <a:gd name="T10" fmla="*/ 102 w 336"/>
                  <a:gd name="T11" fmla="*/ 81 h 340"/>
                  <a:gd name="T12" fmla="*/ 119 w 336"/>
                  <a:gd name="T13" fmla="*/ 62 h 340"/>
                  <a:gd name="T14" fmla="*/ 136 w 336"/>
                  <a:gd name="T15" fmla="*/ 43 h 340"/>
                  <a:gd name="T16" fmla="*/ 161 w 336"/>
                  <a:gd name="T17" fmla="*/ 26 h 340"/>
                  <a:gd name="T18" fmla="*/ 181 w 336"/>
                  <a:gd name="T19" fmla="*/ 24 h 340"/>
                  <a:gd name="T20" fmla="*/ 200 w 336"/>
                  <a:gd name="T21" fmla="*/ 36 h 340"/>
                  <a:gd name="T22" fmla="*/ 209 w 336"/>
                  <a:gd name="T23" fmla="*/ 60 h 340"/>
                  <a:gd name="T24" fmla="*/ 196 w 336"/>
                  <a:gd name="T25" fmla="*/ 63 h 340"/>
                  <a:gd name="T26" fmla="*/ 185 w 336"/>
                  <a:gd name="T27" fmla="*/ 67 h 340"/>
                  <a:gd name="T28" fmla="*/ 136 w 336"/>
                  <a:gd name="T29" fmla="*/ 119 h 340"/>
                  <a:gd name="T30" fmla="*/ 165 w 336"/>
                  <a:gd name="T31" fmla="*/ 144 h 340"/>
                  <a:gd name="T32" fmla="*/ 190 w 336"/>
                  <a:gd name="T33" fmla="*/ 157 h 340"/>
                  <a:gd name="T34" fmla="*/ 216 w 336"/>
                  <a:gd name="T35" fmla="*/ 160 h 340"/>
                  <a:gd name="T36" fmla="*/ 209 w 336"/>
                  <a:gd name="T37" fmla="*/ 176 h 340"/>
                  <a:gd name="T38" fmla="*/ 190 w 336"/>
                  <a:gd name="T39" fmla="*/ 199 h 340"/>
                  <a:gd name="T40" fmla="*/ 172 w 336"/>
                  <a:gd name="T41" fmla="*/ 205 h 340"/>
                  <a:gd name="T42" fmla="*/ 144 w 336"/>
                  <a:gd name="T43" fmla="*/ 190 h 340"/>
                  <a:gd name="T44" fmla="*/ 107 w 336"/>
                  <a:gd name="T45" fmla="*/ 158 h 340"/>
                  <a:gd name="T46" fmla="*/ 87 w 336"/>
                  <a:gd name="T47" fmla="*/ 188 h 340"/>
                  <a:gd name="T48" fmla="*/ 65 w 336"/>
                  <a:gd name="T49" fmla="*/ 212 h 340"/>
                  <a:gd name="T50" fmla="*/ 48 w 336"/>
                  <a:gd name="T51" fmla="*/ 218 h 340"/>
                  <a:gd name="T52" fmla="*/ 21 w 336"/>
                  <a:gd name="T53" fmla="*/ 204 h 340"/>
                  <a:gd name="T54" fmla="*/ 0 w 336"/>
                  <a:gd name="T55" fmla="*/ 176 h 340"/>
                  <a:gd name="T56" fmla="*/ 23 w 336"/>
                  <a:gd name="T57" fmla="*/ 173 h 340"/>
                  <a:gd name="T58" fmla="*/ 43 w 336"/>
                  <a:gd name="T59" fmla="*/ 158 h 340"/>
                  <a:gd name="T60" fmla="*/ 72 w 336"/>
                  <a:gd name="T61" fmla="*/ 121 h 340"/>
                  <a:gd name="T62" fmla="*/ 44 w 336"/>
                  <a:gd name="T63" fmla="*/ 81 h 340"/>
                  <a:gd name="T64" fmla="*/ 37 w 336"/>
                  <a:gd name="T65" fmla="*/ 63 h 340"/>
                  <a:gd name="T66" fmla="*/ 33 w 336"/>
                  <a:gd name="T67" fmla="*/ 47 h 340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336" h="340">
                    <a:moveTo>
                      <a:pt x="51" y="74"/>
                    </a:moveTo>
                    <a:lnTo>
                      <a:pt x="75" y="37"/>
                    </a:lnTo>
                    <a:lnTo>
                      <a:pt x="111" y="0"/>
                    </a:lnTo>
                    <a:lnTo>
                      <a:pt x="113" y="33"/>
                    </a:lnTo>
                    <a:lnTo>
                      <a:pt x="127" y="66"/>
                    </a:lnTo>
                    <a:lnTo>
                      <a:pt x="159" y="126"/>
                    </a:lnTo>
                    <a:lnTo>
                      <a:pt x="185" y="97"/>
                    </a:lnTo>
                    <a:lnTo>
                      <a:pt x="212" y="67"/>
                    </a:lnTo>
                    <a:lnTo>
                      <a:pt x="250" y="40"/>
                    </a:lnTo>
                    <a:lnTo>
                      <a:pt x="281" y="37"/>
                    </a:lnTo>
                    <a:lnTo>
                      <a:pt x="311" y="56"/>
                    </a:lnTo>
                    <a:lnTo>
                      <a:pt x="325" y="94"/>
                    </a:lnTo>
                    <a:lnTo>
                      <a:pt x="305" y="99"/>
                    </a:lnTo>
                    <a:lnTo>
                      <a:pt x="288" y="104"/>
                    </a:lnTo>
                    <a:lnTo>
                      <a:pt x="212" y="185"/>
                    </a:lnTo>
                    <a:lnTo>
                      <a:pt x="257" y="224"/>
                    </a:lnTo>
                    <a:lnTo>
                      <a:pt x="296" y="245"/>
                    </a:lnTo>
                    <a:lnTo>
                      <a:pt x="336" y="250"/>
                    </a:lnTo>
                    <a:lnTo>
                      <a:pt x="325" y="275"/>
                    </a:lnTo>
                    <a:lnTo>
                      <a:pt x="296" y="310"/>
                    </a:lnTo>
                    <a:lnTo>
                      <a:pt x="267" y="319"/>
                    </a:lnTo>
                    <a:lnTo>
                      <a:pt x="224" y="297"/>
                    </a:lnTo>
                    <a:lnTo>
                      <a:pt x="167" y="247"/>
                    </a:lnTo>
                    <a:lnTo>
                      <a:pt x="135" y="293"/>
                    </a:lnTo>
                    <a:lnTo>
                      <a:pt x="101" y="330"/>
                    </a:lnTo>
                    <a:lnTo>
                      <a:pt x="74" y="340"/>
                    </a:lnTo>
                    <a:lnTo>
                      <a:pt x="33" y="318"/>
                    </a:lnTo>
                    <a:lnTo>
                      <a:pt x="0" y="274"/>
                    </a:lnTo>
                    <a:lnTo>
                      <a:pt x="35" y="270"/>
                    </a:lnTo>
                    <a:lnTo>
                      <a:pt x="67" y="247"/>
                    </a:lnTo>
                    <a:lnTo>
                      <a:pt x="112" y="188"/>
                    </a:lnTo>
                    <a:lnTo>
                      <a:pt x="69" y="127"/>
                    </a:lnTo>
                    <a:lnTo>
                      <a:pt x="57" y="99"/>
                    </a:lnTo>
                    <a:lnTo>
                      <a:pt x="51" y="74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103" name="Group 102">
              <a:extLst>
                <a:ext uri="{FF2B5EF4-FFF2-40B4-BE49-F238E27FC236}">
                  <a16:creationId xmlns:a16="http://schemas.microsoft.com/office/drawing/2014/main" id="{CA1FA585-7F95-707F-A7E5-C26E405F70AB}"/>
                </a:ext>
              </a:extLst>
            </p:cNvPr>
            <p:cNvGrpSpPr/>
            <p:nvPr/>
          </p:nvGrpSpPr>
          <p:grpSpPr>
            <a:xfrm>
              <a:off x="8822240" y="5392988"/>
              <a:ext cx="370502" cy="370502"/>
              <a:chOff x="7577881" y="1283110"/>
              <a:chExt cx="589936" cy="589936"/>
            </a:xfrm>
          </p:grpSpPr>
          <p:sp>
            <p:nvSpPr>
              <p:cNvPr id="124" name="Oval 123">
                <a:extLst>
                  <a:ext uri="{FF2B5EF4-FFF2-40B4-BE49-F238E27FC236}">
                    <a16:creationId xmlns:a16="http://schemas.microsoft.com/office/drawing/2014/main" id="{9FFF6277-02B6-0246-2041-86B9178BB150}"/>
                  </a:ext>
                </a:extLst>
              </p:cNvPr>
              <p:cNvSpPr/>
              <p:nvPr/>
            </p:nvSpPr>
            <p:spPr>
              <a:xfrm>
                <a:off x="7577881" y="1283110"/>
                <a:ext cx="589936" cy="589936"/>
              </a:xfrm>
              <a:prstGeom prst="ellipse">
                <a:avLst/>
              </a:prstGeom>
              <a:solidFill>
                <a:srgbClr val="00B05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25" name="Freeform 281">
                <a:extLst>
                  <a:ext uri="{FF2B5EF4-FFF2-40B4-BE49-F238E27FC236}">
                    <a16:creationId xmlns:a16="http://schemas.microsoft.com/office/drawing/2014/main" id="{1B6E808C-2668-2D73-ED2F-809C16CA0D5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721173" y="1425050"/>
                <a:ext cx="303352" cy="306056"/>
              </a:xfrm>
              <a:custGeom>
                <a:avLst/>
                <a:gdLst>
                  <a:gd name="T0" fmla="*/ 33 w 336"/>
                  <a:gd name="T1" fmla="*/ 47 h 340"/>
                  <a:gd name="T2" fmla="*/ 48 w 336"/>
                  <a:gd name="T3" fmla="*/ 24 h 340"/>
                  <a:gd name="T4" fmla="*/ 71 w 336"/>
                  <a:gd name="T5" fmla="*/ 0 h 340"/>
                  <a:gd name="T6" fmla="*/ 73 w 336"/>
                  <a:gd name="T7" fmla="*/ 21 h 340"/>
                  <a:gd name="T8" fmla="*/ 82 w 336"/>
                  <a:gd name="T9" fmla="*/ 42 h 340"/>
                  <a:gd name="T10" fmla="*/ 102 w 336"/>
                  <a:gd name="T11" fmla="*/ 81 h 340"/>
                  <a:gd name="T12" fmla="*/ 119 w 336"/>
                  <a:gd name="T13" fmla="*/ 62 h 340"/>
                  <a:gd name="T14" fmla="*/ 136 w 336"/>
                  <a:gd name="T15" fmla="*/ 43 h 340"/>
                  <a:gd name="T16" fmla="*/ 161 w 336"/>
                  <a:gd name="T17" fmla="*/ 26 h 340"/>
                  <a:gd name="T18" fmla="*/ 181 w 336"/>
                  <a:gd name="T19" fmla="*/ 24 h 340"/>
                  <a:gd name="T20" fmla="*/ 200 w 336"/>
                  <a:gd name="T21" fmla="*/ 36 h 340"/>
                  <a:gd name="T22" fmla="*/ 209 w 336"/>
                  <a:gd name="T23" fmla="*/ 60 h 340"/>
                  <a:gd name="T24" fmla="*/ 196 w 336"/>
                  <a:gd name="T25" fmla="*/ 63 h 340"/>
                  <a:gd name="T26" fmla="*/ 185 w 336"/>
                  <a:gd name="T27" fmla="*/ 67 h 340"/>
                  <a:gd name="T28" fmla="*/ 136 w 336"/>
                  <a:gd name="T29" fmla="*/ 119 h 340"/>
                  <a:gd name="T30" fmla="*/ 165 w 336"/>
                  <a:gd name="T31" fmla="*/ 144 h 340"/>
                  <a:gd name="T32" fmla="*/ 190 w 336"/>
                  <a:gd name="T33" fmla="*/ 157 h 340"/>
                  <a:gd name="T34" fmla="*/ 216 w 336"/>
                  <a:gd name="T35" fmla="*/ 160 h 340"/>
                  <a:gd name="T36" fmla="*/ 209 w 336"/>
                  <a:gd name="T37" fmla="*/ 176 h 340"/>
                  <a:gd name="T38" fmla="*/ 190 w 336"/>
                  <a:gd name="T39" fmla="*/ 199 h 340"/>
                  <a:gd name="T40" fmla="*/ 172 w 336"/>
                  <a:gd name="T41" fmla="*/ 205 h 340"/>
                  <a:gd name="T42" fmla="*/ 144 w 336"/>
                  <a:gd name="T43" fmla="*/ 190 h 340"/>
                  <a:gd name="T44" fmla="*/ 107 w 336"/>
                  <a:gd name="T45" fmla="*/ 158 h 340"/>
                  <a:gd name="T46" fmla="*/ 87 w 336"/>
                  <a:gd name="T47" fmla="*/ 188 h 340"/>
                  <a:gd name="T48" fmla="*/ 65 w 336"/>
                  <a:gd name="T49" fmla="*/ 212 h 340"/>
                  <a:gd name="T50" fmla="*/ 48 w 336"/>
                  <a:gd name="T51" fmla="*/ 218 h 340"/>
                  <a:gd name="T52" fmla="*/ 21 w 336"/>
                  <a:gd name="T53" fmla="*/ 204 h 340"/>
                  <a:gd name="T54" fmla="*/ 0 w 336"/>
                  <a:gd name="T55" fmla="*/ 176 h 340"/>
                  <a:gd name="T56" fmla="*/ 23 w 336"/>
                  <a:gd name="T57" fmla="*/ 173 h 340"/>
                  <a:gd name="T58" fmla="*/ 43 w 336"/>
                  <a:gd name="T59" fmla="*/ 158 h 340"/>
                  <a:gd name="T60" fmla="*/ 72 w 336"/>
                  <a:gd name="T61" fmla="*/ 121 h 340"/>
                  <a:gd name="T62" fmla="*/ 44 w 336"/>
                  <a:gd name="T63" fmla="*/ 81 h 340"/>
                  <a:gd name="T64" fmla="*/ 37 w 336"/>
                  <a:gd name="T65" fmla="*/ 63 h 340"/>
                  <a:gd name="T66" fmla="*/ 33 w 336"/>
                  <a:gd name="T67" fmla="*/ 47 h 340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336" h="340">
                    <a:moveTo>
                      <a:pt x="51" y="74"/>
                    </a:moveTo>
                    <a:lnTo>
                      <a:pt x="75" y="37"/>
                    </a:lnTo>
                    <a:lnTo>
                      <a:pt x="111" y="0"/>
                    </a:lnTo>
                    <a:lnTo>
                      <a:pt x="113" y="33"/>
                    </a:lnTo>
                    <a:lnTo>
                      <a:pt x="127" y="66"/>
                    </a:lnTo>
                    <a:lnTo>
                      <a:pt x="159" y="126"/>
                    </a:lnTo>
                    <a:lnTo>
                      <a:pt x="185" y="97"/>
                    </a:lnTo>
                    <a:lnTo>
                      <a:pt x="212" y="67"/>
                    </a:lnTo>
                    <a:lnTo>
                      <a:pt x="250" y="40"/>
                    </a:lnTo>
                    <a:lnTo>
                      <a:pt x="281" y="37"/>
                    </a:lnTo>
                    <a:lnTo>
                      <a:pt x="311" y="56"/>
                    </a:lnTo>
                    <a:lnTo>
                      <a:pt x="325" y="94"/>
                    </a:lnTo>
                    <a:lnTo>
                      <a:pt x="305" y="99"/>
                    </a:lnTo>
                    <a:lnTo>
                      <a:pt x="288" y="104"/>
                    </a:lnTo>
                    <a:lnTo>
                      <a:pt x="212" y="185"/>
                    </a:lnTo>
                    <a:lnTo>
                      <a:pt x="257" y="224"/>
                    </a:lnTo>
                    <a:lnTo>
                      <a:pt x="296" y="245"/>
                    </a:lnTo>
                    <a:lnTo>
                      <a:pt x="336" y="250"/>
                    </a:lnTo>
                    <a:lnTo>
                      <a:pt x="325" y="275"/>
                    </a:lnTo>
                    <a:lnTo>
                      <a:pt x="296" y="310"/>
                    </a:lnTo>
                    <a:lnTo>
                      <a:pt x="267" y="319"/>
                    </a:lnTo>
                    <a:lnTo>
                      <a:pt x="224" y="297"/>
                    </a:lnTo>
                    <a:lnTo>
                      <a:pt x="167" y="247"/>
                    </a:lnTo>
                    <a:lnTo>
                      <a:pt x="135" y="293"/>
                    </a:lnTo>
                    <a:lnTo>
                      <a:pt x="101" y="330"/>
                    </a:lnTo>
                    <a:lnTo>
                      <a:pt x="74" y="340"/>
                    </a:lnTo>
                    <a:lnTo>
                      <a:pt x="33" y="318"/>
                    </a:lnTo>
                    <a:lnTo>
                      <a:pt x="0" y="274"/>
                    </a:lnTo>
                    <a:lnTo>
                      <a:pt x="35" y="270"/>
                    </a:lnTo>
                    <a:lnTo>
                      <a:pt x="67" y="247"/>
                    </a:lnTo>
                    <a:lnTo>
                      <a:pt x="112" y="188"/>
                    </a:lnTo>
                    <a:lnTo>
                      <a:pt x="69" y="127"/>
                    </a:lnTo>
                    <a:lnTo>
                      <a:pt x="57" y="99"/>
                    </a:lnTo>
                    <a:lnTo>
                      <a:pt x="51" y="74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104" name="Group 103">
              <a:extLst>
                <a:ext uri="{FF2B5EF4-FFF2-40B4-BE49-F238E27FC236}">
                  <a16:creationId xmlns:a16="http://schemas.microsoft.com/office/drawing/2014/main" id="{1C9E5309-B687-6B84-FC8D-71F2DEA96D01}"/>
                </a:ext>
              </a:extLst>
            </p:cNvPr>
            <p:cNvGrpSpPr/>
            <p:nvPr/>
          </p:nvGrpSpPr>
          <p:grpSpPr>
            <a:xfrm>
              <a:off x="9661586" y="1258786"/>
              <a:ext cx="928468" cy="4504704"/>
              <a:chOff x="6213445" y="1258786"/>
              <a:chExt cx="928468" cy="4504704"/>
            </a:xfrm>
          </p:grpSpPr>
          <p:sp>
            <p:nvSpPr>
              <p:cNvPr id="105" name="Rectangle 104">
                <a:extLst>
                  <a:ext uri="{FF2B5EF4-FFF2-40B4-BE49-F238E27FC236}">
                    <a16:creationId xmlns:a16="http://schemas.microsoft.com/office/drawing/2014/main" id="{D0F8CC41-E1DF-D9F0-F9E9-7D02A85B5595}"/>
                  </a:ext>
                </a:extLst>
              </p:cNvPr>
              <p:cNvSpPr/>
              <p:nvPr/>
            </p:nvSpPr>
            <p:spPr>
              <a:xfrm>
                <a:off x="6213445" y="1258786"/>
                <a:ext cx="928468" cy="215444"/>
              </a:xfrm>
              <a:prstGeom prst="rect">
                <a:avLst/>
              </a:prstGeom>
              <a:noFill/>
              <a:ln w="12700" cap="rnd" cmpd="sng">
                <a:noFill/>
                <a:prstDash val="solid"/>
                <a:round/>
                <a:headEnd/>
                <a:tailEnd/>
              </a:ln>
              <a:effectLst/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/>
                <a:r>
                  <a:rPr lang="en-US" sz="1400" b="1" dirty="0">
                    <a:solidFill>
                      <a:schemeClr val="accent1"/>
                    </a:solidFill>
                    <a:latin typeface="+mn-lt"/>
                  </a:rPr>
                  <a:t>Heading 6</a:t>
                </a:r>
              </a:p>
            </p:txBody>
          </p:sp>
          <p:grpSp>
            <p:nvGrpSpPr>
              <p:cNvPr id="106" name="Group 105">
                <a:extLst>
                  <a:ext uri="{FF2B5EF4-FFF2-40B4-BE49-F238E27FC236}">
                    <a16:creationId xmlns:a16="http://schemas.microsoft.com/office/drawing/2014/main" id="{7AB4FC34-945C-B6FA-94F6-CE40FDF5A879}"/>
                  </a:ext>
                </a:extLst>
              </p:cNvPr>
              <p:cNvGrpSpPr/>
              <p:nvPr/>
            </p:nvGrpSpPr>
            <p:grpSpPr>
              <a:xfrm>
                <a:off x="6492428" y="1698595"/>
                <a:ext cx="370502" cy="370502"/>
                <a:chOff x="7577881" y="1283110"/>
                <a:chExt cx="589936" cy="589936"/>
              </a:xfrm>
            </p:grpSpPr>
            <p:sp>
              <p:nvSpPr>
                <p:cNvPr id="122" name="Oval 121">
                  <a:extLst>
                    <a:ext uri="{FF2B5EF4-FFF2-40B4-BE49-F238E27FC236}">
                      <a16:creationId xmlns:a16="http://schemas.microsoft.com/office/drawing/2014/main" id="{C53B8277-2530-79E8-C0E9-050B27D0A613}"/>
                    </a:ext>
                  </a:extLst>
                </p:cNvPr>
                <p:cNvSpPr/>
                <p:nvPr/>
              </p:nvSpPr>
              <p:spPr>
                <a:xfrm>
                  <a:off x="7577881" y="1283110"/>
                  <a:ext cx="589936" cy="589936"/>
                </a:xfrm>
                <a:prstGeom prst="ellipse">
                  <a:avLst/>
                </a:prstGeom>
                <a:solidFill>
                  <a:srgbClr val="00B050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23" name="Freeform 281">
                  <a:extLst>
                    <a:ext uri="{FF2B5EF4-FFF2-40B4-BE49-F238E27FC236}">
                      <a16:creationId xmlns:a16="http://schemas.microsoft.com/office/drawing/2014/main" id="{E5F5A468-3B79-EF7E-39EC-32A9206F6BE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721173" y="1425050"/>
                  <a:ext cx="303352" cy="306056"/>
                </a:xfrm>
                <a:custGeom>
                  <a:avLst/>
                  <a:gdLst>
                    <a:gd name="T0" fmla="*/ 33 w 336"/>
                    <a:gd name="T1" fmla="*/ 47 h 340"/>
                    <a:gd name="T2" fmla="*/ 48 w 336"/>
                    <a:gd name="T3" fmla="*/ 24 h 340"/>
                    <a:gd name="T4" fmla="*/ 71 w 336"/>
                    <a:gd name="T5" fmla="*/ 0 h 340"/>
                    <a:gd name="T6" fmla="*/ 73 w 336"/>
                    <a:gd name="T7" fmla="*/ 21 h 340"/>
                    <a:gd name="T8" fmla="*/ 82 w 336"/>
                    <a:gd name="T9" fmla="*/ 42 h 340"/>
                    <a:gd name="T10" fmla="*/ 102 w 336"/>
                    <a:gd name="T11" fmla="*/ 81 h 340"/>
                    <a:gd name="T12" fmla="*/ 119 w 336"/>
                    <a:gd name="T13" fmla="*/ 62 h 340"/>
                    <a:gd name="T14" fmla="*/ 136 w 336"/>
                    <a:gd name="T15" fmla="*/ 43 h 340"/>
                    <a:gd name="T16" fmla="*/ 161 w 336"/>
                    <a:gd name="T17" fmla="*/ 26 h 340"/>
                    <a:gd name="T18" fmla="*/ 181 w 336"/>
                    <a:gd name="T19" fmla="*/ 24 h 340"/>
                    <a:gd name="T20" fmla="*/ 200 w 336"/>
                    <a:gd name="T21" fmla="*/ 36 h 340"/>
                    <a:gd name="T22" fmla="*/ 209 w 336"/>
                    <a:gd name="T23" fmla="*/ 60 h 340"/>
                    <a:gd name="T24" fmla="*/ 196 w 336"/>
                    <a:gd name="T25" fmla="*/ 63 h 340"/>
                    <a:gd name="T26" fmla="*/ 185 w 336"/>
                    <a:gd name="T27" fmla="*/ 67 h 340"/>
                    <a:gd name="T28" fmla="*/ 136 w 336"/>
                    <a:gd name="T29" fmla="*/ 119 h 340"/>
                    <a:gd name="T30" fmla="*/ 165 w 336"/>
                    <a:gd name="T31" fmla="*/ 144 h 340"/>
                    <a:gd name="T32" fmla="*/ 190 w 336"/>
                    <a:gd name="T33" fmla="*/ 157 h 340"/>
                    <a:gd name="T34" fmla="*/ 216 w 336"/>
                    <a:gd name="T35" fmla="*/ 160 h 340"/>
                    <a:gd name="T36" fmla="*/ 209 w 336"/>
                    <a:gd name="T37" fmla="*/ 176 h 340"/>
                    <a:gd name="T38" fmla="*/ 190 w 336"/>
                    <a:gd name="T39" fmla="*/ 199 h 340"/>
                    <a:gd name="T40" fmla="*/ 172 w 336"/>
                    <a:gd name="T41" fmla="*/ 205 h 340"/>
                    <a:gd name="T42" fmla="*/ 144 w 336"/>
                    <a:gd name="T43" fmla="*/ 190 h 340"/>
                    <a:gd name="T44" fmla="*/ 107 w 336"/>
                    <a:gd name="T45" fmla="*/ 158 h 340"/>
                    <a:gd name="T46" fmla="*/ 87 w 336"/>
                    <a:gd name="T47" fmla="*/ 188 h 340"/>
                    <a:gd name="T48" fmla="*/ 65 w 336"/>
                    <a:gd name="T49" fmla="*/ 212 h 340"/>
                    <a:gd name="T50" fmla="*/ 48 w 336"/>
                    <a:gd name="T51" fmla="*/ 218 h 340"/>
                    <a:gd name="T52" fmla="*/ 21 w 336"/>
                    <a:gd name="T53" fmla="*/ 204 h 340"/>
                    <a:gd name="T54" fmla="*/ 0 w 336"/>
                    <a:gd name="T55" fmla="*/ 176 h 340"/>
                    <a:gd name="T56" fmla="*/ 23 w 336"/>
                    <a:gd name="T57" fmla="*/ 173 h 340"/>
                    <a:gd name="T58" fmla="*/ 43 w 336"/>
                    <a:gd name="T59" fmla="*/ 158 h 340"/>
                    <a:gd name="T60" fmla="*/ 72 w 336"/>
                    <a:gd name="T61" fmla="*/ 121 h 340"/>
                    <a:gd name="T62" fmla="*/ 44 w 336"/>
                    <a:gd name="T63" fmla="*/ 81 h 340"/>
                    <a:gd name="T64" fmla="*/ 37 w 336"/>
                    <a:gd name="T65" fmla="*/ 63 h 340"/>
                    <a:gd name="T66" fmla="*/ 33 w 336"/>
                    <a:gd name="T67" fmla="*/ 47 h 340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336" h="340">
                      <a:moveTo>
                        <a:pt x="51" y="74"/>
                      </a:moveTo>
                      <a:lnTo>
                        <a:pt x="75" y="37"/>
                      </a:lnTo>
                      <a:lnTo>
                        <a:pt x="111" y="0"/>
                      </a:lnTo>
                      <a:lnTo>
                        <a:pt x="113" y="33"/>
                      </a:lnTo>
                      <a:lnTo>
                        <a:pt x="127" y="66"/>
                      </a:lnTo>
                      <a:lnTo>
                        <a:pt x="159" y="126"/>
                      </a:lnTo>
                      <a:lnTo>
                        <a:pt x="185" y="97"/>
                      </a:lnTo>
                      <a:lnTo>
                        <a:pt x="212" y="67"/>
                      </a:lnTo>
                      <a:lnTo>
                        <a:pt x="250" y="40"/>
                      </a:lnTo>
                      <a:lnTo>
                        <a:pt x="281" y="37"/>
                      </a:lnTo>
                      <a:lnTo>
                        <a:pt x="311" y="56"/>
                      </a:lnTo>
                      <a:lnTo>
                        <a:pt x="325" y="94"/>
                      </a:lnTo>
                      <a:lnTo>
                        <a:pt x="305" y="99"/>
                      </a:lnTo>
                      <a:lnTo>
                        <a:pt x="288" y="104"/>
                      </a:lnTo>
                      <a:lnTo>
                        <a:pt x="212" y="185"/>
                      </a:lnTo>
                      <a:lnTo>
                        <a:pt x="257" y="224"/>
                      </a:lnTo>
                      <a:lnTo>
                        <a:pt x="296" y="245"/>
                      </a:lnTo>
                      <a:lnTo>
                        <a:pt x="336" y="250"/>
                      </a:lnTo>
                      <a:lnTo>
                        <a:pt x="325" y="275"/>
                      </a:lnTo>
                      <a:lnTo>
                        <a:pt x="296" y="310"/>
                      </a:lnTo>
                      <a:lnTo>
                        <a:pt x="267" y="319"/>
                      </a:lnTo>
                      <a:lnTo>
                        <a:pt x="224" y="297"/>
                      </a:lnTo>
                      <a:lnTo>
                        <a:pt x="167" y="247"/>
                      </a:lnTo>
                      <a:lnTo>
                        <a:pt x="135" y="293"/>
                      </a:lnTo>
                      <a:lnTo>
                        <a:pt x="101" y="330"/>
                      </a:lnTo>
                      <a:lnTo>
                        <a:pt x="74" y="340"/>
                      </a:lnTo>
                      <a:lnTo>
                        <a:pt x="33" y="318"/>
                      </a:lnTo>
                      <a:lnTo>
                        <a:pt x="0" y="274"/>
                      </a:lnTo>
                      <a:lnTo>
                        <a:pt x="35" y="270"/>
                      </a:lnTo>
                      <a:lnTo>
                        <a:pt x="67" y="247"/>
                      </a:lnTo>
                      <a:lnTo>
                        <a:pt x="112" y="188"/>
                      </a:lnTo>
                      <a:lnTo>
                        <a:pt x="69" y="127"/>
                      </a:lnTo>
                      <a:lnTo>
                        <a:pt x="57" y="99"/>
                      </a:lnTo>
                      <a:lnTo>
                        <a:pt x="51" y="74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grpSp>
            <p:nvGrpSpPr>
              <p:cNvPr id="107" name="Group 106">
                <a:extLst>
                  <a:ext uri="{FF2B5EF4-FFF2-40B4-BE49-F238E27FC236}">
                    <a16:creationId xmlns:a16="http://schemas.microsoft.com/office/drawing/2014/main" id="{49B24CBB-5F9F-9E21-5DA1-45AD6EF4BA95}"/>
                  </a:ext>
                </a:extLst>
              </p:cNvPr>
              <p:cNvGrpSpPr/>
              <p:nvPr/>
            </p:nvGrpSpPr>
            <p:grpSpPr>
              <a:xfrm>
                <a:off x="6492428" y="2437474"/>
                <a:ext cx="370502" cy="370502"/>
                <a:chOff x="7577881" y="1283110"/>
                <a:chExt cx="589936" cy="589936"/>
              </a:xfrm>
            </p:grpSpPr>
            <p:sp>
              <p:nvSpPr>
                <p:cNvPr id="120" name="Oval 119">
                  <a:extLst>
                    <a:ext uri="{FF2B5EF4-FFF2-40B4-BE49-F238E27FC236}">
                      <a16:creationId xmlns:a16="http://schemas.microsoft.com/office/drawing/2014/main" id="{EAD7576C-EEE9-9823-B6FD-2D3478CC9EF9}"/>
                    </a:ext>
                  </a:extLst>
                </p:cNvPr>
                <p:cNvSpPr/>
                <p:nvPr/>
              </p:nvSpPr>
              <p:spPr>
                <a:xfrm>
                  <a:off x="7577881" y="1283110"/>
                  <a:ext cx="589936" cy="589936"/>
                </a:xfrm>
                <a:prstGeom prst="ellipse">
                  <a:avLst/>
                </a:prstGeom>
                <a:solidFill>
                  <a:srgbClr val="00B050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21" name="Freeform 281">
                  <a:extLst>
                    <a:ext uri="{FF2B5EF4-FFF2-40B4-BE49-F238E27FC236}">
                      <a16:creationId xmlns:a16="http://schemas.microsoft.com/office/drawing/2014/main" id="{96791465-3122-451E-7EE5-3E42BD6DDD9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721173" y="1425050"/>
                  <a:ext cx="303352" cy="306056"/>
                </a:xfrm>
                <a:custGeom>
                  <a:avLst/>
                  <a:gdLst>
                    <a:gd name="T0" fmla="*/ 33 w 336"/>
                    <a:gd name="T1" fmla="*/ 47 h 340"/>
                    <a:gd name="T2" fmla="*/ 48 w 336"/>
                    <a:gd name="T3" fmla="*/ 24 h 340"/>
                    <a:gd name="T4" fmla="*/ 71 w 336"/>
                    <a:gd name="T5" fmla="*/ 0 h 340"/>
                    <a:gd name="T6" fmla="*/ 73 w 336"/>
                    <a:gd name="T7" fmla="*/ 21 h 340"/>
                    <a:gd name="T8" fmla="*/ 82 w 336"/>
                    <a:gd name="T9" fmla="*/ 42 h 340"/>
                    <a:gd name="T10" fmla="*/ 102 w 336"/>
                    <a:gd name="T11" fmla="*/ 81 h 340"/>
                    <a:gd name="T12" fmla="*/ 119 w 336"/>
                    <a:gd name="T13" fmla="*/ 62 h 340"/>
                    <a:gd name="T14" fmla="*/ 136 w 336"/>
                    <a:gd name="T15" fmla="*/ 43 h 340"/>
                    <a:gd name="T16" fmla="*/ 161 w 336"/>
                    <a:gd name="T17" fmla="*/ 26 h 340"/>
                    <a:gd name="T18" fmla="*/ 181 w 336"/>
                    <a:gd name="T19" fmla="*/ 24 h 340"/>
                    <a:gd name="T20" fmla="*/ 200 w 336"/>
                    <a:gd name="T21" fmla="*/ 36 h 340"/>
                    <a:gd name="T22" fmla="*/ 209 w 336"/>
                    <a:gd name="T23" fmla="*/ 60 h 340"/>
                    <a:gd name="T24" fmla="*/ 196 w 336"/>
                    <a:gd name="T25" fmla="*/ 63 h 340"/>
                    <a:gd name="T26" fmla="*/ 185 w 336"/>
                    <a:gd name="T27" fmla="*/ 67 h 340"/>
                    <a:gd name="T28" fmla="*/ 136 w 336"/>
                    <a:gd name="T29" fmla="*/ 119 h 340"/>
                    <a:gd name="T30" fmla="*/ 165 w 336"/>
                    <a:gd name="T31" fmla="*/ 144 h 340"/>
                    <a:gd name="T32" fmla="*/ 190 w 336"/>
                    <a:gd name="T33" fmla="*/ 157 h 340"/>
                    <a:gd name="T34" fmla="*/ 216 w 336"/>
                    <a:gd name="T35" fmla="*/ 160 h 340"/>
                    <a:gd name="T36" fmla="*/ 209 w 336"/>
                    <a:gd name="T37" fmla="*/ 176 h 340"/>
                    <a:gd name="T38" fmla="*/ 190 w 336"/>
                    <a:gd name="T39" fmla="*/ 199 h 340"/>
                    <a:gd name="T40" fmla="*/ 172 w 336"/>
                    <a:gd name="T41" fmla="*/ 205 h 340"/>
                    <a:gd name="T42" fmla="*/ 144 w 336"/>
                    <a:gd name="T43" fmla="*/ 190 h 340"/>
                    <a:gd name="T44" fmla="*/ 107 w 336"/>
                    <a:gd name="T45" fmla="*/ 158 h 340"/>
                    <a:gd name="T46" fmla="*/ 87 w 336"/>
                    <a:gd name="T47" fmla="*/ 188 h 340"/>
                    <a:gd name="T48" fmla="*/ 65 w 336"/>
                    <a:gd name="T49" fmla="*/ 212 h 340"/>
                    <a:gd name="T50" fmla="*/ 48 w 336"/>
                    <a:gd name="T51" fmla="*/ 218 h 340"/>
                    <a:gd name="T52" fmla="*/ 21 w 336"/>
                    <a:gd name="T53" fmla="*/ 204 h 340"/>
                    <a:gd name="T54" fmla="*/ 0 w 336"/>
                    <a:gd name="T55" fmla="*/ 176 h 340"/>
                    <a:gd name="T56" fmla="*/ 23 w 336"/>
                    <a:gd name="T57" fmla="*/ 173 h 340"/>
                    <a:gd name="T58" fmla="*/ 43 w 336"/>
                    <a:gd name="T59" fmla="*/ 158 h 340"/>
                    <a:gd name="T60" fmla="*/ 72 w 336"/>
                    <a:gd name="T61" fmla="*/ 121 h 340"/>
                    <a:gd name="T62" fmla="*/ 44 w 336"/>
                    <a:gd name="T63" fmla="*/ 81 h 340"/>
                    <a:gd name="T64" fmla="*/ 37 w 336"/>
                    <a:gd name="T65" fmla="*/ 63 h 340"/>
                    <a:gd name="T66" fmla="*/ 33 w 336"/>
                    <a:gd name="T67" fmla="*/ 47 h 340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336" h="340">
                      <a:moveTo>
                        <a:pt x="51" y="74"/>
                      </a:moveTo>
                      <a:lnTo>
                        <a:pt x="75" y="37"/>
                      </a:lnTo>
                      <a:lnTo>
                        <a:pt x="111" y="0"/>
                      </a:lnTo>
                      <a:lnTo>
                        <a:pt x="113" y="33"/>
                      </a:lnTo>
                      <a:lnTo>
                        <a:pt x="127" y="66"/>
                      </a:lnTo>
                      <a:lnTo>
                        <a:pt x="159" y="126"/>
                      </a:lnTo>
                      <a:lnTo>
                        <a:pt x="185" y="97"/>
                      </a:lnTo>
                      <a:lnTo>
                        <a:pt x="212" y="67"/>
                      </a:lnTo>
                      <a:lnTo>
                        <a:pt x="250" y="40"/>
                      </a:lnTo>
                      <a:lnTo>
                        <a:pt x="281" y="37"/>
                      </a:lnTo>
                      <a:lnTo>
                        <a:pt x="311" y="56"/>
                      </a:lnTo>
                      <a:lnTo>
                        <a:pt x="325" y="94"/>
                      </a:lnTo>
                      <a:lnTo>
                        <a:pt x="305" y="99"/>
                      </a:lnTo>
                      <a:lnTo>
                        <a:pt x="288" y="104"/>
                      </a:lnTo>
                      <a:lnTo>
                        <a:pt x="212" y="185"/>
                      </a:lnTo>
                      <a:lnTo>
                        <a:pt x="257" y="224"/>
                      </a:lnTo>
                      <a:lnTo>
                        <a:pt x="296" y="245"/>
                      </a:lnTo>
                      <a:lnTo>
                        <a:pt x="336" y="250"/>
                      </a:lnTo>
                      <a:lnTo>
                        <a:pt x="325" y="275"/>
                      </a:lnTo>
                      <a:lnTo>
                        <a:pt x="296" y="310"/>
                      </a:lnTo>
                      <a:lnTo>
                        <a:pt x="267" y="319"/>
                      </a:lnTo>
                      <a:lnTo>
                        <a:pt x="224" y="297"/>
                      </a:lnTo>
                      <a:lnTo>
                        <a:pt x="167" y="247"/>
                      </a:lnTo>
                      <a:lnTo>
                        <a:pt x="135" y="293"/>
                      </a:lnTo>
                      <a:lnTo>
                        <a:pt x="101" y="330"/>
                      </a:lnTo>
                      <a:lnTo>
                        <a:pt x="74" y="340"/>
                      </a:lnTo>
                      <a:lnTo>
                        <a:pt x="33" y="318"/>
                      </a:lnTo>
                      <a:lnTo>
                        <a:pt x="0" y="274"/>
                      </a:lnTo>
                      <a:lnTo>
                        <a:pt x="35" y="270"/>
                      </a:lnTo>
                      <a:lnTo>
                        <a:pt x="67" y="247"/>
                      </a:lnTo>
                      <a:lnTo>
                        <a:pt x="112" y="188"/>
                      </a:lnTo>
                      <a:lnTo>
                        <a:pt x="69" y="127"/>
                      </a:lnTo>
                      <a:lnTo>
                        <a:pt x="57" y="99"/>
                      </a:lnTo>
                      <a:lnTo>
                        <a:pt x="51" y="74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grpSp>
            <p:nvGrpSpPr>
              <p:cNvPr id="108" name="Group 107">
                <a:extLst>
                  <a:ext uri="{FF2B5EF4-FFF2-40B4-BE49-F238E27FC236}">
                    <a16:creationId xmlns:a16="http://schemas.microsoft.com/office/drawing/2014/main" id="{430CA6AE-2B3F-A7C4-AE33-ACE2A10A86C8}"/>
                  </a:ext>
                </a:extLst>
              </p:cNvPr>
              <p:cNvGrpSpPr/>
              <p:nvPr/>
            </p:nvGrpSpPr>
            <p:grpSpPr>
              <a:xfrm>
                <a:off x="6492428" y="3176353"/>
                <a:ext cx="370502" cy="370502"/>
                <a:chOff x="3551571" y="1283110"/>
                <a:chExt cx="589936" cy="589936"/>
              </a:xfrm>
            </p:grpSpPr>
            <p:sp>
              <p:nvSpPr>
                <p:cNvPr id="118" name="Oval 117">
                  <a:extLst>
                    <a:ext uri="{FF2B5EF4-FFF2-40B4-BE49-F238E27FC236}">
                      <a16:creationId xmlns:a16="http://schemas.microsoft.com/office/drawing/2014/main" id="{48202EBE-61C3-67E4-6AF2-8F6D26B7715F}"/>
                    </a:ext>
                  </a:extLst>
                </p:cNvPr>
                <p:cNvSpPr/>
                <p:nvPr/>
              </p:nvSpPr>
              <p:spPr>
                <a:xfrm>
                  <a:off x="3551571" y="1283110"/>
                  <a:ext cx="589936" cy="589936"/>
                </a:xfrm>
                <a:prstGeom prst="ellipse">
                  <a:avLst/>
                </a:prstGeom>
                <a:solidFill>
                  <a:srgbClr val="FF0000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19" name="Freeform 280">
                  <a:extLst>
                    <a:ext uri="{FF2B5EF4-FFF2-40B4-BE49-F238E27FC236}">
                      <a16:creationId xmlns:a16="http://schemas.microsoft.com/office/drawing/2014/main" id="{D0A53578-5D7B-CBAC-C823-E602C666DF8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645782" y="1380088"/>
                  <a:ext cx="401514" cy="395981"/>
                </a:xfrm>
                <a:custGeom>
                  <a:avLst/>
                  <a:gdLst>
                    <a:gd name="T0" fmla="*/ 0 w 648"/>
                    <a:gd name="T1" fmla="*/ 131 h 618"/>
                    <a:gd name="T2" fmla="*/ 33 w 648"/>
                    <a:gd name="T3" fmla="*/ 112 h 618"/>
                    <a:gd name="T4" fmla="*/ 46 w 648"/>
                    <a:gd name="T5" fmla="*/ 119 h 618"/>
                    <a:gd name="T6" fmla="*/ 70 w 648"/>
                    <a:gd name="T7" fmla="*/ 158 h 618"/>
                    <a:gd name="T8" fmla="*/ 106 w 648"/>
                    <a:gd name="T9" fmla="*/ 110 h 618"/>
                    <a:gd name="T10" fmla="*/ 165 w 648"/>
                    <a:gd name="T11" fmla="*/ 52 h 618"/>
                    <a:gd name="T12" fmla="*/ 203 w 648"/>
                    <a:gd name="T13" fmla="*/ 21 h 618"/>
                    <a:gd name="T14" fmla="*/ 240 w 648"/>
                    <a:gd name="T15" fmla="*/ 0 h 618"/>
                    <a:gd name="T16" fmla="*/ 246 w 648"/>
                    <a:gd name="T17" fmla="*/ 9 h 618"/>
                    <a:gd name="T18" fmla="*/ 215 w 648"/>
                    <a:gd name="T19" fmla="*/ 34 h 618"/>
                    <a:gd name="T20" fmla="*/ 170 w 648"/>
                    <a:gd name="T21" fmla="*/ 80 h 618"/>
                    <a:gd name="T22" fmla="*/ 131 w 648"/>
                    <a:gd name="T23" fmla="*/ 126 h 618"/>
                    <a:gd name="T24" fmla="*/ 89 w 648"/>
                    <a:gd name="T25" fmla="*/ 194 h 618"/>
                    <a:gd name="T26" fmla="*/ 55 w 648"/>
                    <a:gd name="T27" fmla="*/ 216 h 618"/>
                    <a:gd name="T28" fmla="*/ 31 w 648"/>
                    <a:gd name="T29" fmla="*/ 163 h 618"/>
                    <a:gd name="T30" fmla="*/ 16 w 648"/>
                    <a:gd name="T31" fmla="*/ 141 h 618"/>
                    <a:gd name="T32" fmla="*/ 0 w 648"/>
                    <a:gd name="T33" fmla="*/ 131 h 618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0" t="0" r="r" b="b"/>
                  <a:pathLst>
                    <a:path w="648" h="618">
                      <a:moveTo>
                        <a:pt x="0" y="374"/>
                      </a:moveTo>
                      <a:lnTo>
                        <a:pt x="88" y="320"/>
                      </a:lnTo>
                      <a:lnTo>
                        <a:pt x="122" y="340"/>
                      </a:lnTo>
                      <a:lnTo>
                        <a:pt x="184" y="452"/>
                      </a:lnTo>
                      <a:lnTo>
                        <a:pt x="278" y="316"/>
                      </a:lnTo>
                      <a:lnTo>
                        <a:pt x="434" y="148"/>
                      </a:lnTo>
                      <a:lnTo>
                        <a:pt x="534" y="60"/>
                      </a:lnTo>
                      <a:lnTo>
                        <a:pt x="632" y="0"/>
                      </a:lnTo>
                      <a:lnTo>
                        <a:pt x="648" y="26"/>
                      </a:lnTo>
                      <a:lnTo>
                        <a:pt x="566" y="98"/>
                      </a:lnTo>
                      <a:lnTo>
                        <a:pt x="448" y="230"/>
                      </a:lnTo>
                      <a:lnTo>
                        <a:pt x="346" y="360"/>
                      </a:lnTo>
                      <a:lnTo>
                        <a:pt x="234" y="554"/>
                      </a:lnTo>
                      <a:lnTo>
                        <a:pt x="144" y="618"/>
                      </a:lnTo>
                      <a:lnTo>
                        <a:pt x="82" y="466"/>
                      </a:lnTo>
                      <a:lnTo>
                        <a:pt x="42" y="404"/>
                      </a:lnTo>
                      <a:lnTo>
                        <a:pt x="0" y="374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grpSp>
            <p:nvGrpSpPr>
              <p:cNvPr id="109" name="Group 108">
                <a:extLst>
                  <a:ext uri="{FF2B5EF4-FFF2-40B4-BE49-F238E27FC236}">
                    <a16:creationId xmlns:a16="http://schemas.microsoft.com/office/drawing/2014/main" id="{EF335FFC-FCEE-284D-6CA1-2FA86E65C8B3}"/>
                  </a:ext>
                </a:extLst>
              </p:cNvPr>
              <p:cNvGrpSpPr/>
              <p:nvPr/>
            </p:nvGrpSpPr>
            <p:grpSpPr>
              <a:xfrm>
                <a:off x="6492428" y="3915232"/>
                <a:ext cx="370502" cy="370502"/>
                <a:chOff x="7577881" y="1283110"/>
                <a:chExt cx="589936" cy="589936"/>
              </a:xfrm>
            </p:grpSpPr>
            <p:sp>
              <p:nvSpPr>
                <p:cNvPr id="116" name="Oval 115">
                  <a:extLst>
                    <a:ext uri="{FF2B5EF4-FFF2-40B4-BE49-F238E27FC236}">
                      <a16:creationId xmlns:a16="http://schemas.microsoft.com/office/drawing/2014/main" id="{8CB24EAC-E5CB-9388-C29D-D3CC82B797DB}"/>
                    </a:ext>
                  </a:extLst>
                </p:cNvPr>
                <p:cNvSpPr/>
                <p:nvPr/>
              </p:nvSpPr>
              <p:spPr>
                <a:xfrm>
                  <a:off x="7577881" y="1283110"/>
                  <a:ext cx="589936" cy="589936"/>
                </a:xfrm>
                <a:prstGeom prst="ellipse">
                  <a:avLst/>
                </a:prstGeom>
                <a:solidFill>
                  <a:srgbClr val="00B050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17" name="Freeform 281">
                  <a:extLst>
                    <a:ext uri="{FF2B5EF4-FFF2-40B4-BE49-F238E27FC236}">
                      <a16:creationId xmlns:a16="http://schemas.microsoft.com/office/drawing/2014/main" id="{8A9F2A25-05BA-F21F-4AF1-20C813F4870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721173" y="1425050"/>
                  <a:ext cx="303352" cy="306056"/>
                </a:xfrm>
                <a:custGeom>
                  <a:avLst/>
                  <a:gdLst>
                    <a:gd name="T0" fmla="*/ 33 w 336"/>
                    <a:gd name="T1" fmla="*/ 47 h 340"/>
                    <a:gd name="T2" fmla="*/ 48 w 336"/>
                    <a:gd name="T3" fmla="*/ 24 h 340"/>
                    <a:gd name="T4" fmla="*/ 71 w 336"/>
                    <a:gd name="T5" fmla="*/ 0 h 340"/>
                    <a:gd name="T6" fmla="*/ 73 w 336"/>
                    <a:gd name="T7" fmla="*/ 21 h 340"/>
                    <a:gd name="T8" fmla="*/ 82 w 336"/>
                    <a:gd name="T9" fmla="*/ 42 h 340"/>
                    <a:gd name="T10" fmla="*/ 102 w 336"/>
                    <a:gd name="T11" fmla="*/ 81 h 340"/>
                    <a:gd name="T12" fmla="*/ 119 w 336"/>
                    <a:gd name="T13" fmla="*/ 62 h 340"/>
                    <a:gd name="T14" fmla="*/ 136 w 336"/>
                    <a:gd name="T15" fmla="*/ 43 h 340"/>
                    <a:gd name="T16" fmla="*/ 161 w 336"/>
                    <a:gd name="T17" fmla="*/ 26 h 340"/>
                    <a:gd name="T18" fmla="*/ 181 w 336"/>
                    <a:gd name="T19" fmla="*/ 24 h 340"/>
                    <a:gd name="T20" fmla="*/ 200 w 336"/>
                    <a:gd name="T21" fmla="*/ 36 h 340"/>
                    <a:gd name="T22" fmla="*/ 209 w 336"/>
                    <a:gd name="T23" fmla="*/ 60 h 340"/>
                    <a:gd name="T24" fmla="*/ 196 w 336"/>
                    <a:gd name="T25" fmla="*/ 63 h 340"/>
                    <a:gd name="T26" fmla="*/ 185 w 336"/>
                    <a:gd name="T27" fmla="*/ 67 h 340"/>
                    <a:gd name="T28" fmla="*/ 136 w 336"/>
                    <a:gd name="T29" fmla="*/ 119 h 340"/>
                    <a:gd name="T30" fmla="*/ 165 w 336"/>
                    <a:gd name="T31" fmla="*/ 144 h 340"/>
                    <a:gd name="T32" fmla="*/ 190 w 336"/>
                    <a:gd name="T33" fmla="*/ 157 h 340"/>
                    <a:gd name="T34" fmla="*/ 216 w 336"/>
                    <a:gd name="T35" fmla="*/ 160 h 340"/>
                    <a:gd name="T36" fmla="*/ 209 w 336"/>
                    <a:gd name="T37" fmla="*/ 176 h 340"/>
                    <a:gd name="T38" fmla="*/ 190 w 336"/>
                    <a:gd name="T39" fmla="*/ 199 h 340"/>
                    <a:gd name="T40" fmla="*/ 172 w 336"/>
                    <a:gd name="T41" fmla="*/ 205 h 340"/>
                    <a:gd name="T42" fmla="*/ 144 w 336"/>
                    <a:gd name="T43" fmla="*/ 190 h 340"/>
                    <a:gd name="T44" fmla="*/ 107 w 336"/>
                    <a:gd name="T45" fmla="*/ 158 h 340"/>
                    <a:gd name="T46" fmla="*/ 87 w 336"/>
                    <a:gd name="T47" fmla="*/ 188 h 340"/>
                    <a:gd name="T48" fmla="*/ 65 w 336"/>
                    <a:gd name="T49" fmla="*/ 212 h 340"/>
                    <a:gd name="T50" fmla="*/ 48 w 336"/>
                    <a:gd name="T51" fmla="*/ 218 h 340"/>
                    <a:gd name="T52" fmla="*/ 21 w 336"/>
                    <a:gd name="T53" fmla="*/ 204 h 340"/>
                    <a:gd name="T54" fmla="*/ 0 w 336"/>
                    <a:gd name="T55" fmla="*/ 176 h 340"/>
                    <a:gd name="T56" fmla="*/ 23 w 336"/>
                    <a:gd name="T57" fmla="*/ 173 h 340"/>
                    <a:gd name="T58" fmla="*/ 43 w 336"/>
                    <a:gd name="T59" fmla="*/ 158 h 340"/>
                    <a:gd name="T60" fmla="*/ 72 w 336"/>
                    <a:gd name="T61" fmla="*/ 121 h 340"/>
                    <a:gd name="T62" fmla="*/ 44 w 336"/>
                    <a:gd name="T63" fmla="*/ 81 h 340"/>
                    <a:gd name="T64" fmla="*/ 37 w 336"/>
                    <a:gd name="T65" fmla="*/ 63 h 340"/>
                    <a:gd name="T66" fmla="*/ 33 w 336"/>
                    <a:gd name="T67" fmla="*/ 47 h 340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336" h="340">
                      <a:moveTo>
                        <a:pt x="51" y="74"/>
                      </a:moveTo>
                      <a:lnTo>
                        <a:pt x="75" y="37"/>
                      </a:lnTo>
                      <a:lnTo>
                        <a:pt x="111" y="0"/>
                      </a:lnTo>
                      <a:lnTo>
                        <a:pt x="113" y="33"/>
                      </a:lnTo>
                      <a:lnTo>
                        <a:pt x="127" y="66"/>
                      </a:lnTo>
                      <a:lnTo>
                        <a:pt x="159" y="126"/>
                      </a:lnTo>
                      <a:lnTo>
                        <a:pt x="185" y="97"/>
                      </a:lnTo>
                      <a:lnTo>
                        <a:pt x="212" y="67"/>
                      </a:lnTo>
                      <a:lnTo>
                        <a:pt x="250" y="40"/>
                      </a:lnTo>
                      <a:lnTo>
                        <a:pt x="281" y="37"/>
                      </a:lnTo>
                      <a:lnTo>
                        <a:pt x="311" y="56"/>
                      </a:lnTo>
                      <a:lnTo>
                        <a:pt x="325" y="94"/>
                      </a:lnTo>
                      <a:lnTo>
                        <a:pt x="305" y="99"/>
                      </a:lnTo>
                      <a:lnTo>
                        <a:pt x="288" y="104"/>
                      </a:lnTo>
                      <a:lnTo>
                        <a:pt x="212" y="185"/>
                      </a:lnTo>
                      <a:lnTo>
                        <a:pt x="257" y="224"/>
                      </a:lnTo>
                      <a:lnTo>
                        <a:pt x="296" y="245"/>
                      </a:lnTo>
                      <a:lnTo>
                        <a:pt x="336" y="250"/>
                      </a:lnTo>
                      <a:lnTo>
                        <a:pt x="325" y="275"/>
                      </a:lnTo>
                      <a:lnTo>
                        <a:pt x="296" y="310"/>
                      </a:lnTo>
                      <a:lnTo>
                        <a:pt x="267" y="319"/>
                      </a:lnTo>
                      <a:lnTo>
                        <a:pt x="224" y="297"/>
                      </a:lnTo>
                      <a:lnTo>
                        <a:pt x="167" y="247"/>
                      </a:lnTo>
                      <a:lnTo>
                        <a:pt x="135" y="293"/>
                      </a:lnTo>
                      <a:lnTo>
                        <a:pt x="101" y="330"/>
                      </a:lnTo>
                      <a:lnTo>
                        <a:pt x="74" y="340"/>
                      </a:lnTo>
                      <a:lnTo>
                        <a:pt x="33" y="318"/>
                      </a:lnTo>
                      <a:lnTo>
                        <a:pt x="0" y="274"/>
                      </a:lnTo>
                      <a:lnTo>
                        <a:pt x="35" y="270"/>
                      </a:lnTo>
                      <a:lnTo>
                        <a:pt x="67" y="247"/>
                      </a:lnTo>
                      <a:lnTo>
                        <a:pt x="112" y="188"/>
                      </a:lnTo>
                      <a:lnTo>
                        <a:pt x="69" y="127"/>
                      </a:lnTo>
                      <a:lnTo>
                        <a:pt x="57" y="99"/>
                      </a:lnTo>
                      <a:lnTo>
                        <a:pt x="51" y="74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grpSp>
            <p:nvGrpSpPr>
              <p:cNvPr id="110" name="Group 109">
                <a:extLst>
                  <a:ext uri="{FF2B5EF4-FFF2-40B4-BE49-F238E27FC236}">
                    <a16:creationId xmlns:a16="http://schemas.microsoft.com/office/drawing/2014/main" id="{5D0F01B4-AF7F-3EFF-DD01-E6EBAD1F71D7}"/>
                  </a:ext>
                </a:extLst>
              </p:cNvPr>
              <p:cNvGrpSpPr/>
              <p:nvPr/>
            </p:nvGrpSpPr>
            <p:grpSpPr>
              <a:xfrm>
                <a:off x="6492428" y="4654111"/>
                <a:ext cx="370502" cy="370502"/>
                <a:chOff x="7577881" y="1283110"/>
                <a:chExt cx="589936" cy="589936"/>
              </a:xfrm>
            </p:grpSpPr>
            <p:sp>
              <p:nvSpPr>
                <p:cNvPr id="114" name="Oval 113">
                  <a:extLst>
                    <a:ext uri="{FF2B5EF4-FFF2-40B4-BE49-F238E27FC236}">
                      <a16:creationId xmlns:a16="http://schemas.microsoft.com/office/drawing/2014/main" id="{9BAD8328-4138-F8F8-FB95-95A4B13E25E8}"/>
                    </a:ext>
                  </a:extLst>
                </p:cNvPr>
                <p:cNvSpPr/>
                <p:nvPr/>
              </p:nvSpPr>
              <p:spPr>
                <a:xfrm>
                  <a:off x="7577881" y="1283110"/>
                  <a:ext cx="589936" cy="589936"/>
                </a:xfrm>
                <a:prstGeom prst="ellipse">
                  <a:avLst/>
                </a:prstGeom>
                <a:solidFill>
                  <a:srgbClr val="00B050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15" name="Freeform 281">
                  <a:extLst>
                    <a:ext uri="{FF2B5EF4-FFF2-40B4-BE49-F238E27FC236}">
                      <a16:creationId xmlns:a16="http://schemas.microsoft.com/office/drawing/2014/main" id="{30B3D59C-6268-42C6-20EF-2CAC4C6B213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721173" y="1425050"/>
                  <a:ext cx="303352" cy="306056"/>
                </a:xfrm>
                <a:custGeom>
                  <a:avLst/>
                  <a:gdLst>
                    <a:gd name="T0" fmla="*/ 33 w 336"/>
                    <a:gd name="T1" fmla="*/ 47 h 340"/>
                    <a:gd name="T2" fmla="*/ 48 w 336"/>
                    <a:gd name="T3" fmla="*/ 24 h 340"/>
                    <a:gd name="T4" fmla="*/ 71 w 336"/>
                    <a:gd name="T5" fmla="*/ 0 h 340"/>
                    <a:gd name="T6" fmla="*/ 73 w 336"/>
                    <a:gd name="T7" fmla="*/ 21 h 340"/>
                    <a:gd name="T8" fmla="*/ 82 w 336"/>
                    <a:gd name="T9" fmla="*/ 42 h 340"/>
                    <a:gd name="T10" fmla="*/ 102 w 336"/>
                    <a:gd name="T11" fmla="*/ 81 h 340"/>
                    <a:gd name="T12" fmla="*/ 119 w 336"/>
                    <a:gd name="T13" fmla="*/ 62 h 340"/>
                    <a:gd name="T14" fmla="*/ 136 w 336"/>
                    <a:gd name="T15" fmla="*/ 43 h 340"/>
                    <a:gd name="T16" fmla="*/ 161 w 336"/>
                    <a:gd name="T17" fmla="*/ 26 h 340"/>
                    <a:gd name="T18" fmla="*/ 181 w 336"/>
                    <a:gd name="T19" fmla="*/ 24 h 340"/>
                    <a:gd name="T20" fmla="*/ 200 w 336"/>
                    <a:gd name="T21" fmla="*/ 36 h 340"/>
                    <a:gd name="T22" fmla="*/ 209 w 336"/>
                    <a:gd name="T23" fmla="*/ 60 h 340"/>
                    <a:gd name="T24" fmla="*/ 196 w 336"/>
                    <a:gd name="T25" fmla="*/ 63 h 340"/>
                    <a:gd name="T26" fmla="*/ 185 w 336"/>
                    <a:gd name="T27" fmla="*/ 67 h 340"/>
                    <a:gd name="T28" fmla="*/ 136 w 336"/>
                    <a:gd name="T29" fmla="*/ 119 h 340"/>
                    <a:gd name="T30" fmla="*/ 165 w 336"/>
                    <a:gd name="T31" fmla="*/ 144 h 340"/>
                    <a:gd name="T32" fmla="*/ 190 w 336"/>
                    <a:gd name="T33" fmla="*/ 157 h 340"/>
                    <a:gd name="T34" fmla="*/ 216 w 336"/>
                    <a:gd name="T35" fmla="*/ 160 h 340"/>
                    <a:gd name="T36" fmla="*/ 209 w 336"/>
                    <a:gd name="T37" fmla="*/ 176 h 340"/>
                    <a:gd name="T38" fmla="*/ 190 w 336"/>
                    <a:gd name="T39" fmla="*/ 199 h 340"/>
                    <a:gd name="T40" fmla="*/ 172 w 336"/>
                    <a:gd name="T41" fmla="*/ 205 h 340"/>
                    <a:gd name="T42" fmla="*/ 144 w 336"/>
                    <a:gd name="T43" fmla="*/ 190 h 340"/>
                    <a:gd name="T44" fmla="*/ 107 w 336"/>
                    <a:gd name="T45" fmla="*/ 158 h 340"/>
                    <a:gd name="T46" fmla="*/ 87 w 336"/>
                    <a:gd name="T47" fmla="*/ 188 h 340"/>
                    <a:gd name="T48" fmla="*/ 65 w 336"/>
                    <a:gd name="T49" fmla="*/ 212 h 340"/>
                    <a:gd name="T50" fmla="*/ 48 w 336"/>
                    <a:gd name="T51" fmla="*/ 218 h 340"/>
                    <a:gd name="T52" fmla="*/ 21 w 336"/>
                    <a:gd name="T53" fmla="*/ 204 h 340"/>
                    <a:gd name="T54" fmla="*/ 0 w 336"/>
                    <a:gd name="T55" fmla="*/ 176 h 340"/>
                    <a:gd name="T56" fmla="*/ 23 w 336"/>
                    <a:gd name="T57" fmla="*/ 173 h 340"/>
                    <a:gd name="T58" fmla="*/ 43 w 336"/>
                    <a:gd name="T59" fmla="*/ 158 h 340"/>
                    <a:gd name="T60" fmla="*/ 72 w 336"/>
                    <a:gd name="T61" fmla="*/ 121 h 340"/>
                    <a:gd name="T62" fmla="*/ 44 w 336"/>
                    <a:gd name="T63" fmla="*/ 81 h 340"/>
                    <a:gd name="T64" fmla="*/ 37 w 336"/>
                    <a:gd name="T65" fmla="*/ 63 h 340"/>
                    <a:gd name="T66" fmla="*/ 33 w 336"/>
                    <a:gd name="T67" fmla="*/ 47 h 340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336" h="340">
                      <a:moveTo>
                        <a:pt x="51" y="74"/>
                      </a:moveTo>
                      <a:lnTo>
                        <a:pt x="75" y="37"/>
                      </a:lnTo>
                      <a:lnTo>
                        <a:pt x="111" y="0"/>
                      </a:lnTo>
                      <a:lnTo>
                        <a:pt x="113" y="33"/>
                      </a:lnTo>
                      <a:lnTo>
                        <a:pt x="127" y="66"/>
                      </a:lnTo>
                      <a:lnTo>
                        <a:pt x="159" y="126"/>
                      </a:lnTo>
                      <a:lnTo>
                        <a:pt x="185" y="97"/>
                      </a:lnTo>
                      <a:lnTo>
                        <a:pt x="212" y="67"/>
                      </a:lnTo>
                      <a:lnTo>
                        <a:pt x="250" y="40"/>
                      </a:lnTo>
                      <a:lnTo>
                        <a:pt x="281" y="37"/>
                      </a:lnTo>
                      <a:lnTo>
                        <a:pt x="311" y="56"/>
                      </a:lnTo>
                      <a:lnTo>
                        <a:pt x="325" y="94"/>
                      </a:lnTo>
                      <a:lnTo>
                        <a:pt x="305" y="99"/>
                      </a:lnTo>
                      <a:lnTo>
                        <a:pt x="288" y="104"/>
                      </a:lnTo>
                      <a:lnTo>
                        <a:pt x="212" y="185"/>
                      </a:lnTo>
                      <a:lnTo>
                        <a:pt x="257" y="224"/>
                      </a:lnTo>
                      <a:lnTo>
                        <a:pt x="296" y="245"/>
                      </a:lnTo>
                      <a:lnTo>
                        <a:pt x="336" y="250"/>
                      </a:lnTo>
                      <a:lnTo>
                        <a:pt x="325" y="275"/>
                      </a:lnTo>
                      <a:lnTo>
                        <a:pt x="296" y="310"/>
                      </a:lnTo>
                      <a:lnTo>
                        <a:pt x="267" y="319"/>
                      </a:lnTo>
                      <a:lnTo>
                        <a:pt x="224" y="297"/>
                      </a:lnTo>
                      <a:lnTo>
                        <a:pt x="167" y="247"/>
                      </a:lnTo>
                      <a:lnTo>
                        <a:pt x="135" y="293"/>
                      </a:lnTo>
                      <a:lnTo>
                        <a:pt x="101" y="330"/>
                      </a:lnTo>
                      <a:lnTo>
                        <a:pt x="74" y="340"/>
                      </a:lnTo>
                      <a:lnTo>
                        <a:pt x="33" y="318"/>
                      </a:lnTo>
                      <a:lnTo>
                        <a:pt x="0" y="274"/>
                      </a:lnTo>
                      <a:lnTo>
                        <a:pt x="35" y="270"/>
                      </a:lnTo>
                      <a:lnTo>
                        <a:pt x="67" y="247"/>
                      </a:lnTo>
                      <a:lnTo>
                        <a:pt x="112" y="188"/>
                      </a:lnTo>
                      <a:lnTo>
                        <a:pt x="69" y="127"/>
                      </a:lnTo>
                      <a:lnTo>
                        <a:pt x="57" y="99"/>
                      </a:lnTo>
                      <a:lnTo>
                        <a:pt x="51" y="74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grpSp>
            <p:nvGrpSpPr>
              <p:cNvPr id="111" name="Group 110">
                <a:extLst>
                  <a:ext uri="{FF2B5EF4-FFF2-40B4-BE49-F238E27FC236}">
                    <a16:creationId xmlns:a16="http://schemas.microsoft.com/office/drawing/2014/main" id="{A02D448C-FAA1-D3B4-5A41-5AF76728900D}"/>
                  </a:ext>
                </a:extLst>
              </p:cNvPr>
              <p:cNvGrpSpPr/>
              <p:nvPr/>
            </p:nvGrpSpPr>
            <p:grpSpPr>
              <a:xfrm>
                <a:off x="6492428" y="5392988"/>
                <a:ext cx="370502" cy="370502"/>
                <a:chOff x="7577881" y="1283110"/>
                <a:chExt cx="589936" cy="589936"/>
              </a:xfrm>
            </p:grpSpPr>
            <p:sp>
              <p:nvSpPr>
                <p:cNvPr id="112" name="Oval 111">
                  <a:extLst>
                    <a:ext uri="{FF2B5EF4-FFF2-40B4-BE49-F238E27FC236}">
                      <a16:creationId xmlns:a16="http://schemas.microsoft.com/office/drawing/2014/main" id="{2340A3B1-E241-5DC0-56D4-5D1A43C21190}"/>
                    </a:ext>
                  </a:extLst>
                </p:cNvPr>
                <p:cNvSpPr/>
                <p:nvPr/>
              </p:nvSpPr>
              <p:spPr>
                <a:xfrm>
                  <a:off x="7577881" y="1283110"/>
                  <a:ext cx="589936" cy="589936"/>
                </a:xfrm>
                <a:prstGeom prst="ellipse">
                  <a:avLst/>
                </a:prstGeom>
                <a:solidFill>
                  <a:srgbClr val="00B050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13" name="Freeform 281">
                  <a:extLst>
                    <a:ext uri="{FF2B5EF4-FFF2-40B4-BE49-F238E27FC236}">
                      <a16:creationId xmlns:a16="http://schemas.microsoft.com/office/drawing/2014/main" id="{95C4B03C-F397-791C-003D-820C790A8811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721173" y="1425050"/>
                  <a:ext cx="303352" cy="306056"/>
                </a:xfrm>
                <a:custGeom>
                  <a:avLst/>
                  <a:gdLst>
                    <a:gd name="T0" fmla="*/ 33 w 336"/>
                    <a:gd name="T1" fmla="*/ 47 h 340"/>
                    <a:gd name="T2" fmla="*/ 48 w 336"/>
                    <a:gd name="T3" fmla="*/ 24 h 340"/>
                    <a:gd name="T4" fmla="*/ 71 w 336"/>
                    <a:gd name="T5" fmla="*/ 0 h 340"/>
                    <a:gd name="T6" fmla="*/ 73 w 336"/>
                    <a:gd name="T7" fmla="*/ 21 h 340"/>
                    <a:gd name="T8" fmla="*/ 82 w 336"/>
                    <a:gd name="T9" fmla="*/ 42 h 340"/>
                    <a:gd name="T10" fmla="*/ 102 w 336"/>
                    <a:gd name="T11" fmla="*/ 81 h 340"/>
                    <a:gd name="T12" fmla="*/ 119 w 336"/>
                    <a:gd name="T13" fmla="*/ 62 h 340"/>
                    <a:gd name="T14" fmla="*/ 136 w 336"/>
                    <a:gd name="T15" fmla="*/ 43 h 340"/>
                    <a:gd name="T16" fmla="*/ 161 w 336"/>
                    <a:gd name="T17" fmla="*/ 26 h 340"/>
                    <a:gd name="T18" fmla="*/ 181 w 336"/>
                    <a:gd name="T19" fmla="*/ 24 h 340"/>
                    <a:gd name="T20" fmla="*/ 200 w 336"/>
                    <a:gd name="T21" fmla="*/ 36 h 340"/>
                    <a:gd name="T22" fmla="*/ 209 w 336"/>
                    <a:gd name="T23" fmla="*/ 60 h 340"/>
                    <a:gd name="T24" fmla="*/ 196 w 336"/>
                    <a:gd name="T25" fmla="*/ 63 h 340"/>
                    <a:gd name="T26" fmla="*/ 185 w 336"/>
                    <a:gd name="T27" fmla="*/ 67 h 340"/>
                    <a:gd name="T28" fmla="*/ 136 w 336"/>
                    <a:gd name="T29" fmla="*/ 119 h 340"/>
                    <a:gd name="T30" fmla="*/ 165 w 336"/>
                    <a:gd name="T31" fmla="*/ 144 h 340"/>
                    <a:gd name="T32" fmla="*/ 190 w 336"/>
                    <a:gd name="T33" fmla="*/ 157 h 340"/>
                    <a:gd name="T34" fmla="*/ 216 w 336"/>
                    <a:gd name="T35" fmla="*/ 160 h 340"/>
                    <a:gd name="T36" fmla="*/ 209 w 336"/>
                    <a:gd name="T37" fmla="*/ 176 h 340"/>
                    <a:gd name="T38" fmla="*/ 190 w 336"/>
                    <a:gd name="T39" fmla="*/ 199 h 340"/>
                    <a:gd name="T40" fmla="*/ 172 w 336"/>
                    <a:gd name="T41" fmla="*/ 205 h 340"/>
                    <a:gd name="T42" fmla="*/ 144 w 336"/>
                    <a:gd name="T43" fmla="*/ 190 h 340"/>
                    <a:gd name="T44" fmla="*/ 107 w 336"/>
                    <a:gd name="T45" fmla="*/ 158 h 340"/>
                    <a:gd name="T46" fmla="*/ 87 w 336"/>
                    <a:gd name="T47" fmla="*/ 188 h 340"/>
                    <a:gd name="T48" fmla="*/ 65 w 336"/>
                    <a:gd name="T49" fmla="*/ 212 h 340"/>
                    <a:gd name="T50" fmla="*/ 48 w 336"/>
                    <a:gd name="T51" fmla="*/ 218 h 340"/>
                    <a:gd name="T52" fmla="*/ 21 w 336"/>
                    <a:gd name="T53" fmla="*/ 204 h 340"/>
                    <a:gd name="T54" fmla="*/ 0 w 336"/>
                    <a:gd name="T55" fmla="*/ 176 h 340"/>
                    <a:gd name="T56" fmla="*/ 23 w 336"/>
                    <a:gd name="T57" fmla="*/ 173 h 340"/>
                    <a:gd name="T58" fmla="*/ 43 w 336"/>
                    <a:gd name="T59" fmla="*/ 158 h 340"/>
                    <a:gd name="T60" fmla="*/ 72 w 336"/>
                    <a:gd name="T61" fmla="*/ 121 h 340"/>
                    <a:gd name="T62" fmla="*/ 44 w 336"/>
                    <a:gd name="T63" fmla="*/ 81 h 340"/>
                    <a:gd name="T64" fmla="*/ 37 w 336"/>
                    <a:gd name="T65" fmla="*/ 63 h 340"/>
                    <a:gd name="T66" fmla="*/ 33 w 336"/>
                    <a:gd name="T67" fmla="*/ 47 h 340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336" h="340">
                      <a:moveTo>
                        <a:pt x="51" y="74"/>
                      </a:moveTo>
                      <a:lnTo>
                        <a:pt x="75" y="37"/>
                      </a:lnTo>
                      <a:lnTo>
                        <a:pt x="111" y="0"/>
                      </a:lnTo>
                      <a:lnTo>
                        <a:pt x="113" y="33"/>
                      </a:lnTo>
                      <a:lnTo>
                        <a:pt x="127" y="66"/>
                      </a:lnTo>
                      <a:lnTo>
                        <a:pt x="159" y="126"/>
                      </a:lnTo>
                      <a:lnTo>
                        <a:pt x="185" y="97"/>
                      </a:lnTo>
                      <a:lnTo>
                        <a:pt x="212" y="67"/>
                      </a:lnTo>
                      <a:lnTo>
                        <a:pt x="250" y="40"/>
                      </a:lnTo>
                      <a:lnTo>
                        <a:pt x="281" y="37"/>
                      </a:lnTo>
                      <a:lnTo>
                        <a:pt x="311" y="56"/>
                      </a:lnTo>
                      <a:lnTo>
                        <a:pt x="325" y="94"/>
                      </a:lnTo>
                      <a:lnTo>
                        <a:pt x="305" y="99"/>
                      </a:lnTo>
                      <a:lnTo>
                        <a:pt x="288" y="104"/>
                      </a:lnTo>
                      <a:lnTo>
                        <a:pt x="212" y="185"/>
                      </a:lnTo>
                      <a:lnTo>
                        <a:pt x="257" y="224"/>
                      </a:lnTo>
                      <a:lnTo>
                        <a:pt x="296" y="245"/>
                      </a:lnTo>
                      <a:lnTo>
                        <a:pt x="336" y="250"/>
                      </a:lnTo>
                      <a:lnTo>
                        <a:pt x="325" y="275"/>
                      </a:lnTo>
                      <a:lnTo>
                        <a:pt x="296" y="310"/>
                      </a:lnTo>
                      <a:lnTo>
                        <a:pt x="267" y="319"/>
                      </a:lnTo>
                      <a:lnTo>
                        <a:pt x="224" y="297"/>
                      </a:lnTo>
                      <a:lnTo>
                        <a:pt x="167" y="247"/>
                      </a:lnTo>
                      <a:lnTo>
                        <a:pt x="135" y="293"/>
                      </a:lnTo>
                      <a:lnTo>
                        <a:pt x="101" y="330"/>
                      </a:lnTo>
                      <a:lnTo>
                        <a:pt x="74" y="340"/>
                      </a:lnTo>
                      <a:lnTo>
                        <a:pt x="33" y="318"/>
                      </a:lnTo>
                      <a:lnTo>
                        <a:pt x="0" y="274"/>
                      </a:lnTo>
                      <a:lnTo>
                        <a:pt x="35" y="270"/>
                      </a:lnTo>
                      <a:lnTo>
                        <a:pt x="67" y="247"/>
                      </a:lnTo>
                      <a:lnTo>
                        <a:pt x="112" y="188"/>
                      </a:lnTo>
                      <a:lnTo>
                        <a:pt x="69" y="127"/>
                      </a:lnTo>
                      <a:lnTo>
                        <a:pt x="57" y="99"/>
                      </a:lnTo>
                      <a:lnTo>
                        <a:pt x="51" y="74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4027722232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91587C-C7B8-B40D-4355-57C2B9C86E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9236F354-89CA-23B2-B2AE-ECED5B6322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236F354-89CA-23B2-B2AE-ECED5B6322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68BF2A7-F0E1-3FD0-63CB-59820407D5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87605EF2-4281-26F7-391A-DA78BD09F126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47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B254DBA5-E976-FD38-F2F1-E0B75922AB23}"/>
              </a:ext>
            </a:extLst>
          </p:cNvPr>
          <p:cNvSpPr txBox="1">
            <a:spLocks/>
          </p:cNvSpPr>
          <p:nvPr/>
        </p:nvSpPr>
        <p:spPr>
          <a:xfrm>
            <a:off x="884694" y="1447558"/>
            <a:ext cx="3389622" cy="734718"/>
          </a:xfrm>
          <a:prstGeom prst="rect">
            <a:avLst/>
          </a:prstGeom>
          <a:solidFill>
            <a:schemeClr val="accent1"/>
          </a:solidFill>
        </p:spPr>
        <p:txBody>
          <a:bodyPr wrap="square" lIns="72000" tIns="72000" rIns="72000" bIns="72000" anchor="ctr" anchorCtr="0">
            <a:noAutofit/>
          </a:bodyPr>
          <a:lstStyle/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Tahoma" pitchFamily="34" charset="0"/>
                <a:cs typeface="Tahoma" pitchFamily="34" charset="0"/>
              </a:rPr>
              <a:t>Text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8D0F91F3-863A-8CE1-80B0-C0FF3F7B0000}"/>
              </a:ext>
            </a:extLst>
          </p:cNvPr>
          <p:cNvSpPr txBox="1">
            <a:spLocks/>
          </p:cNvSpPr>
          <p:nvPr/>
        </p:nvSpPr>
        <p:spPr>
          <a:xfrm>
            <a:off x="884694" y="2417600"/>
            <a:ext cx="3389622" cy="734718"/>
          </a:xfrm>
          <a:prstGeom prst="rect">
            <a:avLst/>
          </a:prstGeom>
          <a:solidFill>
            <a:schemeClr val="accent1"/>
          </a:solidFill>
        </p:spPr>
        <p:txBody>
          <a:bodyPr wrap="square" lIns="72000" tIns="72000" rIns="72000" bIns="72000" anchor="ctr" anchorCtr="0">
            <a:noAutofit/>
          </a:bodyPr>
          <a:lstStyle/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Tahoma" pitchFamily="34" charset="0"/>
                <a:cs typeface="Tahoma" pitchFamily="34" charset="0"/>
              </a:rPr>
              <a:t>Text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25099166-8BCB-78E2-230C-C1F01C0E8859}"/>
              </a:ext>
            </a:extLst>
          </p:cNvPr>
          <p:cNvSpPr txBox="1">
            <a:spLocks/>
          </p:cNvSpPr>
          <p:nvPr/>
        </p:nvSpPr>
        <p:spPr>
          <a:xfrm>
            <a:off x="884694" y="3387641"/>
            <a:ext cx="3389622" cy="734718"/>
          </a:xfrm>
          <a:prstGeom prst="rect">
            <a:avLst/>
          </a:prstGeom>
          <a:solidFill>
            <a:schemeClr val="accent1"/>
          </a:solidFill>
        </p:spPr>
        <p:txBody>
          <a:bodyPr wrap="square" lIns="72000" tIns="72000" rIns="72000" bIns="72000" anchor="ctr" anchorCtr="0">
            <a:noAutofit/>
          </a:bodyPr>
          <a:lstStyle/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Tahoma" pitchFamily="34" charset="0"/>
                <a:cs typeface="Tahoma" pitchFamily="34" charset="0"/>
              </a:rPr>
              <a:t>Text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54C2C973-7E29-EBEA-1F81-B12B05A54E0E}"/>
              </a:ext>
            </a:extLst>
          </p:cNvPr>
          <p:cNvSpPr txBox="1">
            <a:spLocks/>
          </p:cNvSpPr>
          <p:nvPr/>
        </p:nvSpPr>
        <p:spPr>
          <a:xfrm>
            <a:off x="884694" y="4357683"/>
            <a:ext cx="3389622" cy="734718"/>
          </a:xfrm>
          <a:prstGeom prst="rect">
            <a:avLst/>
          </a:prstGeom>
          <a:solidFill>
            <a:schemeClr val="accent1"/>
          </a:solidFill>
        </p:spPr>
        <p:txBody>
          <a:bodyPr wrap="square" lIns="72000" tIns="72000" rIns="72000" bIns="72000" anchor="ctr" anchorCtr="0">
            <a:noAutofit/>
          </a:bodyPr>
          <a:lstStyle/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Tahoma" pitchFamily="34" charset="0"/>
                <a:cs typeface="Tahoma" pitchFamily="34" charset="0"/>
              </a:rPr>
              <a:t>Text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2A30EA4D-95E6-0DB6-3BAB-B57C62FC84B7}"/>
              </a:ext>
            </a:extLst>
          </p:cNvPr>
          <p:cNvSpPr txBox="1">
            <a:spLocks/>
          </p:cNvSpPr>
          <p:nvPr/>
        </p:nvSpPr>
        <p:spPr>
          <a:xfrm>
            <a:off x="884694" y="5327722"/>
            <a:ext cx="3389622" cy="734718"/>
          </a:xfrm>
          <a:prstGeom prst="rect">
            <a:avLst/>
          </a:prstGeom>
          <a:solidFill>
            <a:schemeClr val="accent1"/>
          </a:solidFill>
        </p:spPr>
        <p:txBody>
          <a:bodyPr wrap="square" lIns="72000" tIns="72000" rIns="72000" bIns="72000" anchor="ctr" anchorCtr="0">
            <a:noAutofit/>
          </a:bodyPr>
          <a:lstStyle/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Tahoma" pitchFamily="34" charset="0"/>
                <a:cs typeface="Tahoma" pitchFamily="34" charset="0"/>
              </a:rPr>
              <a:t>Text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8BE80E1A-C048-13BA-E4CC-CCC1896EC892}"/>
              </a:ext>
            </a:extLst>
          </p:cNvPr>
          <p:cNvSpPr txBox="1">
            <a:spLocks/>
          </p:cNvSpPr>
          <p:nvPr/>
        </p:nvSpPr>
        <p:spPr>
          <a:xfrm>
            <a:off x="4529657" y="980757"/>
            <a:ext cx="2088989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Tahoma" pitchFamily="34" charset="0"/>
                <a:cs typeface="Tahoma" pitchFamily="34" charset="0"/>
              </a:rPr>
              <a:t>Past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C7EB8918-C52F-8BBD-131D-07A90D89A1FA}"/>
              </a:ext>
            </a:extLst>
          </p:cNvPr>
          <p:cNvCxnSpPr/>
          <p:nvPr/>
        </p:nvCxnSpPr>
        <p:spPr>
          <a:xfrm>
            <a:off x="4529657" y="1282563"/>
            <a:ext cx="208995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Group 18">
            <a:extLst>
              <a:ext uri="{FF2B5EF4-FFF2-40B4-BE49-F238E27FC236}">
                <a16:creationId xmlns:a16="http://schemas.microsoft.com/office/drawing/2014/main" id="{337209F4-150C-5FB4-1DD6-A771C57FF961}"/>
              </a:ext>
            </a:extLst>
          </p:cNvPr>
          <p:cNvGrpSpPr/>
          <p:nvPr/>
        </p:nvGrpSpPr>
        <p:grpSpPr>
          <a:xfrm>
            <a:off x="6873018" y="980757"/>
            <a:ext cx="2089958" cy="301806"/>
            <a:chOff x="4394557" y="1537636"/>
            <a:chExt cx="1188000" cy="247343"/>
          </a:xfrm>
        </p:grpSpPr>
        <p:sp>
          <p:nvSpPr>
            <p:cNvPr id="34" name="Subtitle 2">
              <a:extLst>
                <a:ext uri="{FF2B5EF4-FFF2-40B4-BE49-F238E27FC236}">
                  <a16:creationId xmlns:a16="http://schemas.microsoft.com/office/drawing/2014/main" id="{E7FB4317-48F4-A6B0-9210-4426BFEE05D5}"/>
                </a:ext>
              </a:extLst>
            </p:cNvPr>
            <p:cNvSpPr txBox="1">
              <a:spLocks/>
            </p:cNvSpPr>
            <p:nvPr/>
          </p:nvSpPr>
          <p:spPr>
            <a:xfrm>
              <a:off x="4395108" y="1537636"/>
              <a:ext cx="1187449" cy="201789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Tahoma" pitchFamily="34" charset="0"/>
                  <a:cs typeface="Tahoma" pitchFamily="34" charset="0"/>
                </a:rPr>
                <a:t>Present</a:t>
              </a:r>
            </a:p>
          </p:txBody>
        </p: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8D836233-B072-1066-295A-CEA952AA1983}"/>
                </a:ext>
              </a:extLst>
            </p:cNvPr>
            <p:cNvCxnSpPr/>
            <p:nvPr/>
          </p:nvCxnSpPr>
          <p:spPr>
            <a:xfrm>
              <a:off x="4394557" y="1784979"/>
              <a:ext cx="1188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Group 19">
            <a:extLst>
              <a:ext uri="{FF2B5EF4-FFF2-40B4-BE49-F238E27FC236}">
                <a16:creationId xmlns:a16="http://schemas.microsoft.com/office/drawing/2014/main" id="{984C286F-9922-3600-09C7-FA845A65DA55}"/>
              </a:ext>
            </a:extLst>
          </p:cNvPr>
          <p:cNvGrpSpPr/>
          <p:nvPr/>
        </p:nvGrpSpPr>
        <p:grpSpPr>
          <a:xfrm>
            <a:off x="9217348" y="980757"/>
            <a:ext cx="2089958" cy="301806"/>
            <a:chOff x="5727150" y="1537636"/>
            <a:chExt cx="1188000" cy="247343"/>
          </a:xfrm>
        </p:grpSpPr>
        <p:sp>
          <p:nvSpPr>
            <p:cNvPr id="32" name="Subtitle 2">
              <a:extLst>
                <a:ext uri="{FF2B5EF4-FFF2-40B4-BE49-F238E27FC236}">
                  <a16:creationId xmlns:a16="http://schemas.microsoft.com/office/drawing/2014/main" id="{CE01F941-7B3F-4B02-8DD7-3CD9FAFA5F55}"/>
                </a:ext>
              </a:extLst>
            </p:cNvPr>
            <p:cNvSpPr txBox="1">
              <a:spLocks/>
            </p:cNvSpPr>
            <p:nvPr/>
          </p:nvSpPr>
          <p:spPr>
            <a:xfrm>
              <a:off x="5727701" y="1537636"/>
              <a:ext cx="1187449" cy="201789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Tahoma" pitchFamily="34" charset="0"/>
                  <a:cs typeface="Tahoma" pitchFamily="34" charset="0"/>
                </a:rPr>
                <a:t>Future</a:t>
              </a:r>
            </a:p>
          </p:txBody>
        </p: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6BB992B9-B736-E3A8-5499-467A41FA095A}"/>
                </a:ext>
              </a:extLst>
            </p:cNvPr>
            <p:cNvCxnSpPr/>
            <p:nvPr/>
          </p:nvCxnSpPr>
          <p:spPr>
            <a:xfrm>
              <a:off x="5727150" y="1784979"/>
              <a:ext cx="1188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11C1451-5BBC-4EEE-8EA5-12B01EC98288}"/>
              </a:ext>
            </a:extLst>
          </p:cNvPr>
          <p:cNvCxnSpPr/>
          <p:nvPr/>
        </p:nvCxnSpPr>
        <p:spPr>
          <a:xfrm>
            <a:off x="4529657" y="2299938"/>
            <a:ext cx="6776532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9EDABC7-B491-4E79-8FA0-7EE9DB6B2043}"/>
              </a:ext>
            </a:extLst>
          </p:cNvPr>
          <p:cNvCxnSpPr/>
          <p:nvPr/>
        </p:nvCxnSpPr>
        <p:spPr>
          <a:xfrm>
            <a:off x="4529657" y="3269979"/>
            <a:ext cx="6776532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D9FE2E0-336E-7AD1-4C9A-C518CE16DD10}"/>
              </a:ext>
            </a:extLst>
          </p:cNvPr>
          <p:cNvCxnSpPr/>
          <p:nvPr/>
        </p:nvCxnSpPr>
        <p:spPr>
          <a:xfrm>
            <a:off x="4529657" y="4240021"/>
            <a:ext cx="6776532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A7D8C7E-DB7A-229C-2E5C-FD380DE22E3C}"/>
              </a:ext>
            </a:extLst>
          </p:cNvPr>
          <p:cNvCxnSpPr/>
          <p:nvPr/>
        </p:nvCxnSpPr>
        <p:spPr>
          <a:xfrm>
            <a:off x="4529657" y="5210063"/>
            <a:ext cx="6776532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" name="Picture 3" descr="C:\Users\akila\AppData\Local\Microsoft\Windows\INetCache\IE\DXN6MWRJ\1024px-Red_x.svg[1].png">
            <a:extLst>
              <a:ext uri="{FF2B5EF4-FFF2-40B4-BE49-F238E27FC236}">
                <a16:creationId xmlns:a16="http://schemas.microsoft.com/office/drawing/2014/main" id="{8C1C6258-155E-3E3D-55F5-87BAD0C763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451948" y="2699862"/>
            <a:ext cx="245377" cy="170193"/>
          </a:xfrm>
          <a:prstGeom prst="rect">
            <a:avLst/>
          </a:prstGeom>
          <a:noFill/>
        </p:spPr>
      </p:pic>
      <p:pic>
        <p:nvPicPr>
          <p:cNvPr id="27" name="Picture 3" descr="C:\Users\akila\AppData\Local\Microsoft\Windows\INetCache\IE\DXN6MWRJ\1024px-Red_x.svg[1].png">
            <a:extLst>
              <a:ext uri="{FF2B5EF4-FFF2-40B4-BE49-F238E27FC236}">
                <a16:creationId xmlns:a16="http://schemas.microsoft.com/office/drawing/2014/main" id="{2C103691-71FD-233C-6AC8-151FAE5C77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451948" y="3669904"/>
            <a:ext cx="245377" cy="170193"/>
          </a:xfrm>
          <a:prstGeom prst="rect">
            <a:avLst/>
          </a:prstGeom>
          <a:noFill/>
        </p:spPr>
      </p:pic>
      <p:pic>
        <p:nvPicPr>
          <p:cNvPr id="28" name="Picture 3" descr="C:\Users\akila\AppData\Local\Microsoft\Windows\INetCache\IE\DXN6MWRJ\1024px-Red_x.svg[1].png">
            <a:extLst>
              <a:ext uri="{FF2B5EF4-FFF2-40B4-BE49-F238E27FC236}">
                <a16:creationId xmlns:a16="http://schemas.microsoft.com/office/drawing/2014/main" id="{3F8FD846-BBB4-14C0-181A-46838F45E1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795308" y="3669904"/>
            <a:ext cx="245377" cy="170193"/>
          </a:xfrm>
          <a:prstGeom prst="rect">
            <a:avLst/>
          </a:prstGeom>
          <a:noFill/>
        </p:spPr>
      </p:pic>
      <p:pic>
        <p:nvPicPr>
          <p:cNvPr id="29" name="Picture 3" descr="C:\Users\akila\AppData\Local\Microsoft\Windows\INetCache\IE\DXN6MWRJ\1024px-Red_x.svg[1].png">
            <a:extLst>
              <a:ext uri="{FF2B5EF4-FFF2-40B4-BE49-F238E27FC236}">
                <a16:creationId xmlns:a16="http://schemas.microsoft.com/office/drawing/2014/main" id="{0C8A7247-FB34-6D7A-4FD1-9D429E0DC4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795308" y="5609985"/>
            <a:ext cx="245377" cy="170193"/>
          </a:xfrm>
          <a:prstGeom prst="rect">
            <a:avLst/>
          </a:prstGeom>
          <a:noFill/>
        </p:spPr>
      </p:pic>
      <p:pic>
        <p:nvPicPr>
          <p:cNvPr id="30" name="Picture 3" descr="C:\Users\akila\AppData\Local\Microsoft\Windows\INetCache\IE\DXN6MWRJ\1024px-Red_x.svg[1].png">
            <a:extLst>
              <a:ext uri="{FF2B5EF4-FFF2-40B4-BE49-F238E27FC236}">
                <a16:creationId xmlns:a16="http://schemas.microsoft.com/office/drawing/2014/main" id="{62A26AA0-5790-0E91-E756-839AEB707A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0139638" y="5609985"/>
            <a:ext cx="245377" cy="170193"/>
          </a:xfrm>
          <a:prstGeom prst="rect">
            <a:avLst/>
          </a:prstGeom>
          <a:noFill/>
        </p:spPr>
      </p:pic>
      <p:pic>
        <p:nvPicPr>
          <p:cNvPr id="31" name="Picture 3" descr="C:\Users\akila\AppData\Local\Microsoft\Windows\INetCache\IE\DXN6MWRJ\1024px-Red_x.svg[1].png">
            <a:extLst>
              <a:ext uri="{FF2B5EF4-FFF2-40B4-BE49-F238E27FC236}">
                <a16:creationId xmlns:a16="http://schemas.microsoft.com/office/drawing/2014/main" id="{A03F3965-E78F-C137-DD03-7FCD47AF61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0139638" y="1729821"/>
            <a:ext cx="245377" cy="170193"/>
          </a:xfrm>
          <a:prstGeom prst="rect">
            <a:avLst/>
          </a:prstGeom>
          <a:noFill/>
        </p:spPr>
      </p:pic>
      <p:sp>
        <p:nvSpPr>
          <p:cNvPr id="3" name="Shape5_20220929_150341">
            <a:extLst>
              <a:ext uri="{FF2B5EF4-FFF2-40B4-BE49-F238E27FC236}">
                <a16:creationId xmlns:a16="http://schemas.microsoft.com/office/drawing/2014/main" id="{34DC03C5-5D24-ED33-0CB9-3A4D407C01F3}"/>
              </a:ext>
            </a:extLst>
          </p:cNvPr>
          <p:cNvSpPr/>
          <p:nvPr/>
        </p:nvSpPr>
        <p:spPr>
          <a:xfrm>
            <a:off x="5451948" y="1720517"/>
            <a:ext cx="244406" cy="194240"/>
          </a:xfrm>
          <a:custGeom>
            <a:avLst/>
            <a:gdLst/>
            <a:ahLst/>
            <a:cxnLst/>
            <a:rect l="l" t="t" r="r" b="b"/>
            <a:pathLst>
              <a:path w="141664" h="163196" extrusionOk="0">
                <a:moveTo>
                  <a:pt x="54484" y="163197"/>
                </a:moveTo>
                <a:cubicBezTo>
                  <a:pt x="50314" y="163197"/>
                  <a:pt x="46458" y="160915"/>
                  <a:pt x="44490" y="157216"/>
                </a:cubicBezTo>
                <a:lnTo>
                  <a:pt x="1367" y="77344"/>
                </a:lnTo>
                <a:cubicBezTo>
                  <a:pt x="-1623" y="71836"/>
                  <a:pt x="462" y="64911"/>
                  <a:pt x="5971" y="61960"/>
                </a:cubicBezTo>
                <a:cubicBezTo>
                  <a:pt x="11518" y="58969"/>
                  <a:pt x="18365" y="61055"/>
                  <a:pt x="21355" y="66563"/>
                </a:cubicBezTo>
                <a:lnTo>
                  <a:pt x="54484" y="127904"/>
                </a:lnTo>
                <a:lnTo>
                  <a:pt x="120310" y="5970"/>
                </a:lnTo>
                <a:cubicBezTo>
                  <a:pt x="123300" y="462"/>
                  <a:pt x="130186" y="-1623"/>
                  <a:pt x="135694" y="1367"/>
                </a:cubicBezTo>
                <a:cubicBezTo>
                  <a:pt x="141203" y="4357"/>
                  <a:pt x="143288" y="11243"/>
                  <a:pt x="140298" y="16751"/>
                </a:cubicBezTo>
                <a:lnTo>
                  <a:pt x="64478" y="157216"/>
                </a:lnTo>
                <a:cubicBezTo>
                  <a:pt x="62511" y="160915"/>
                  <a:pt x="58655" y="163197"/>
                  <a:pt x="54484" y="163197"/>
                </a:cubicBezTo>
                <a:close/>
              </a:path>
            </a:pathLst>
          </a:custGeom>
          <a:solidFill>
            <a:srgbClr val="24A148"/>
          </a:solidFill>
          <a:ln>
            <a:noFill/>
          </a:ln>
        </p:spPr>
        <p:txBody>
          <a:bodyPr spcFirstLastPara="1" wrap="square" lIns="85284" tIns="42642" rIns="85284" bIns="42642" anchor="ctr" anchorCtr="0">
            <a:noAutofit/>
          </a:bodyPr>
          <a:lstStyle/>
          <a:p>
            <a:endParaRPr sz="1307" dirty="0">
              <a:solidFill>
                <a:schemeClr val="dk1"/>
              </a:solidFill>
              <a:ea typeface="Calibri"/>
              <a:cs typeface="Arial" panose="020B0604020202020204" pitchFamily="34" charset="0"/>
              <a:sym typeface="Calibri"/>
            </a:endParaRPr>
          </a:p>
        </p:txBody>
      </p:sp>
      <p:sp>
        <p:nvSpPr>
          <p:cNvPr id="38" name="Shape5_20220929_150341">
            <a:extLst>
              <a:ext uri="{FF2B5EF4-FFF2-40B4-BE49-F238E27FC236}">
                <a16:creationId xmlns:a16="http://schemas.microsoft.com/office/drawing/2014/main" id="{EB221A67-1FC2-86EA-E730-90FE0C3B9258}"/>
              </a:ext>
            </a:extLst>
          </p:cNvPr>
          <p:cNvSpPr/>
          <p:nvPr/>
        </p:nvSpPr>
        <p:spPr>
          <a:xfrm>
            <a:off x="7768107" y="1705774"/>
            <a:ext cx="244406" cy="194240"/>
          </a:xfrm>
          <a:custGeom>
            <a:avLst/>
            <a:gdLst/>
            <a:ahLst/>
            <a:cxnLst/>
            <a:rect l="l" t="t" r="r" b="b"/>
            <a:pathLst>
              <a:path w="141664" h="163196" extrusionOk="0">
                <a:moveTo>
                  <a:pt x="54484" y="163197"/>
                </a:moveTo>
                <a:cubicBezTo>
                  <a:pt x="50314" y="163197"/>
                  <a:pt x="46458" y="160915"/>
                  <a:pt x="44490" y="157216"/>
                </a:cubicBezTo>
                <a:lnTo>
                  <a:pt x="1367" y="77344"/>
                </a:lnTo>
                <a:cubicBezTo>
                  <a:pt x="-1623" y="71836"/>
                  <a:pt x="462" y="64911"/>
                  <a:pt x="5971" y="61960"/>
                </a:cubicBezTo>
                <a:cubicBezTo>
                  <a:pt x="11518" y="58969"/>
                  <a:pt x="18365" y="61055"/>
                  <a:pt x="21355" y="66563"/>
                </a:cubicBezTo>
                <a:lnTo>
                  <a:pt x="54484" y="127904"/>
                </a:lnTo>
                <a:lnTo>
                  <a:pt x="120310" y="5970"/>
                </a:lnTo>
                <a:cubicBezTo>
                  <a:pt x="123300" y="462"/>
                  <a:pt x="130186" y="-1623"/>
                  <a:pt x="135694" y="1367"/>
                </a:cubicBezTo>
                <a:cubicBezTo>
                  <a:pt x="141203" y="4357"/>
                  <a:pt x="143288" y="11243"/>
                  <a:pt x="140298" y="16751"/>
                </a:cubicBezTo>
                <a:lnTo>
                  <a:pt x="64478" y="157216"/>
                </a:lnTo>
                <a:cubicBezTo>
                  <a:pt x="62511" y="160915"/>
                  <a:pt x="58655" y="163197"/>
                  <a:pt x="54484" y="163197"/>
                </a:cubicBezTo>
                <a:close/>
              </a:path>
            </a:pathLst>
          </a:custGeom>
          <a:solidFill>
            <a:srgbClr val="24A148"/>
          </a:solidFill>
          <a:ln>
            <a:noFill/>
          </a:ln>
        </p:spPr>
        <p:txBody>
          <a:bodyPr spcFirstLastPara="1" wrap="square" lIns="85284" tIns="42642" rIns="85284" bIns="42642" anchor="ctr" anchorCtr="0">
            <a:noAutofit/>
          </a:bodyPr>
          <a:lstStyle/>
          <a:p>
            <a:endParaRPr sz="1307" dirty="0">
              <a:solidFill>
                <a:schemeClr val="dk1"/>
              </a:solidFill>
              <a:ea typeface="Calibri"/>
              <a:cs typeface="Arial" panose="020B0604020202020204" pitchFamily="34" charset="0"/>
              <a:sym typeface="Calibri"/>
            </a:endParaRPr>
          </a:p>
        </p:txBody>
      </p:sp>
      <p:sp>
        <p:nvSpPr>
          <p:cNvPr id="39" name="Shape5_20220929_150341">
            <a:extLst>
              <a:ext uri="{FF2B5EF4-FFF2-40B4-BE49-F238E27FC236}">
                <a16:creationId xmlns:a16="http://schemas.microsoft.com/office/drawing/2014/main" id="{EA830555-D2DD-579F-07E5-7A213D515AB7}"/>
              </a:ext>
            </a:extLst>
          </p:cNvPr>
          <p:cNvSpPr/>
          <p:nvPr/>
        </p:nvSpPr>
        <p:spPr>
          <a:xfrm>
            <a:off x="7768107" y="2687838"/>
            <a:ext cx="244406" cy="194240"/>
          </a:xfrm>
          <a:custGeom>
            <a:avLst/>
            <a:gdLst/>
            <a:ahLst/>
            <a:cxnLst/>
            <a:rect l="l" t="t" r="r" b="b"/>
            <a:pathLst>
              <a:path w="141664" h="163196" extrusionOk="0">
                <a:moveTo>
                  <a:pt x="54484" y="163197"/>
                </a:moveTo>
                <a:cubicBezTo>
                  <a:pt x="50314" y="163197"/>
                  <a:pt x="46458" y="160915"/>
                  <a:pt x="44490" y="157216"/>
                </a:cubicBezTo>
                <a:lnTo>
                  <a:pt x="1367" y="77344"/>
                </a:lnTo>
                <a:cubicBezTo>
                  <a:pt x="-1623" y="71836"/>
                  <a:pt x="462" y="64911"/>
                  <a:pt x="5971" y="61960"/>
                </a:cubicBezTo>
                <a:cubicBezTo>
                  <a:pt x="11518" y="58969"/>
                  <a:pt x="18365" y="61055"/>
                  <a:pt x="21355" y="66563"/>
                </a:cubicBezTo>
                <a:lnTo>
                  <a:pt x="54484" y="127904"/>
                </a:lnTo>
                <a:lnTo>
                  <a:pt x="120310" y="5970"/>
                </a:lnTo>
                <a:cubicBezTo>
                  <a:pt x="123300" y="462"/>
                  <a:pt x="130186" y="-1623"/>
                  <a:pt x="135694" y="1367"/>
                </a:cubicBezTo>
                <a:cubicBezTo>
                  <a:pt x="141203" y="4357"/>
                  <a:pt x="143288" y="11243"/>
                  <a:pt x="140298" y="16751"/>
                </a:cubicBezTo>
                <a:lnTo>
                  <a:pt x="64478" y="157216"/>
                </a:lnTo>
                <a:cubicBezTo>
                  <a:pt x="62511" y="160915"/>
                  <a:pt x="58655" y="163197"/>
                  <a:pt x="54484" y="163197"/>
                </a:cubicBezTo>
                <a:close/>
              </a:path>
            </a:pathLst>
          </a:custGeom>
          <a:solidFill>
            <a:srgbClr val="24A148"/>
          </a:solidFill>
          <a:ln>
            <a:noFill/>
          </a:ln>
        </p:spPr>
        <p:txBody>
          <a:bodyPr spcFirstLastPara="1" wrap="square" lIns="85284" tIns="42642" rIns="85284" bIns="42642" anchor="ctr" anchorCtr="0">
            <a:noAutofit/>
          </a:bodyPr>
          <a:lstStyle/>
          <a:p>
            <a:endParaRPr sz="1307" dirty="0">
              <a:solidFill>
                <a:schemeClr val="dk1"/>
              </a:solidFill>
              <a:ea typeface="Calibri"/>
              <a:cs typeface="Arial" panose="020B0604020202020204" pitchFamily="34" charset="0"/>
              <a:sym typeface="Calibri"/>
            </a:endParaRPr>
          </a:p>
        </p:txBody>
      </p:sp>
      <p:sp>
        <p:nvSpPr>
          <p:cNvPr id="40" name="Shape5_20220929_150341">
            <a:extLst>
              <a:ext uri="{FF2B5EF4-FFF2-40B4-BE49-F238E27FC236}">
                <a16:creationId xmlns:a16="http://schemas.microsoft.com/office/drawing/2014/main" id="{C14E618D-4F5C-D9A6-9E1E-1257B38208CD}"/>
              </a:ext>
            </a:extLst>
          </p:cNvPr>
          <p:cNvSpPr/>
          <p:nvPr/>
        </p:nvSpPr>
        <p:spPr>
          <a:xfrm>
            <a:off x="10139638" y="2687838"/>
            <a:ext cx="244406" cy="194240"/>
          </a:xfrm>
          <a:custGeom>
            <a:avLst/>
            <a:gdLst/>
            <a:ahLst/>
            <a:cxnLst/>
            <a:rect l="l" t="t" r="r" b="b"/>
            <a:pathLst>
              <a:path w="141664" h="163196" extrusionOk="0">
                <a:moveTo>
                  <a:pt x="54484" y="163197"/>
                </a:moveTo>
                <a:cubicBezTo>
                  <a:pt x="50314" y="163197"/>
                  <a:pt x="46458" y="160915"/>
                  <a:pt x="44490" y="157216"/>
                </a:cubicBezTo>
                <a:lnTo>
                  <a:pt x="1367" y="77344"/>
                </a:lnTo>
                <a:cubicBezTo>
                  <a:pt x="-1623" y="71836"/>
                  <a:pt x="462" y="64911"/>
                  <a:pt x="5971" y="61960"/>
                </a:cubicBezTo>
                <a:cubicBezTo>
                  <a:pt x="11518" y="58969"/>
                  <a:pt x="18365" y="61055"/>
                  <a:pt x="21355" y="66563"/>
                </a:cubicBezTo>
                <a:lnTo>
                  <a:pt x="54484" y="127904"/>
                </a:lnTo>
                <a:lnTo>
                  <a:pt x="120310" y="5970"/>
                </a:lnTo>
                <a:cubicBezTo>
                  <a:pt x="123300" y="462"/>
                  <a:pt x="130186" y="-1623"/>
                  <a:pt x="135694" y="1367"/>
                </a:cubicBezTo>
                <a:cubicBezTo>
                  <a:pt x="141203" y="4357"/>
                  <a:pt x="143288" y="11243"/>
                  <a:pt x="140298" y="16751"/>
                </a:cubicBezTo>
                <a:lnTo>
                  <a:pt x="64478" y="157216"/>
                </a:lnTo>
                <a:cubicBezTo>
                  <a:pt x="62511" y="160915"/>
                  <a:pt x="58655" y="163197"/>
                  <a:pt x="54484" y="163197"/>
                </a:cubicBezTo>
                <a:close/>
              </a:path>
            </a:pathLst>
          </a:custGeom>
          <a:solidFill>
            <a:srgbClr val="24A148"/>
          </a:solidFill>
          <a:ln>
            <a:noFill/>
          </a:ln>
        </p:spPr>
        <p:txBody>
          <a:bodyPr spcFirstLastPara="1" wrap="square" lIns="85284" tIns="42642" rIns="85284" bIns="42642" anchor="ctr" anchorCtr="0">
            <a:noAutofit/>
          </a:bodyPr>
          <a:lstStyle/>
          <a:p>
            <a:endParaRPr sz="1307" dirty="0">
              <a:solidFill>
                <a:schemeClr val="dk1"/>
              </a:solidFill>
              <a:ea typeface="Calibri"/>
              <a:cs typeface="Arial" panose="020B0604020202020204" pitchFamily="34" charset="0"/>
              <a:sym typeface="Calibri"/>
            </a:endParaRPr>
          </a:p>
        </p:txBody>
      </p:sp>
      <p:sp>
        <p:nvSpPr>
          <p:cNvPr id="41" name="Shape5_20220929_150341">
            <a:extLst>
              <a:ext uri="{FF2B5EF4-FFF2-40B4-BE49-F238E27FC236}">
                <a16:creationId xmlns:a16="http://schemas.microsoft.com/office/drawing/2014/main" id="{DE7D8F50-E288-28BD-A069-F5FB2065403A}"/>
              </a:ext>
            </a:extLst>
          </p:cNvPr>
          <p:cNvSpPr/>
          <p:nvPr/>
        </p:nvSpPr>
        <p:spPr>
          <a:xfrm>
            <a:off x="10108414" y="3648553"/>
            <a:ext cx="244406" cy="194240"/>
          </a:xfrm>
          <a:custGeom>
            <a:avLst/>
            <a:gdLst/>
            <a:ahLst/>
            <a:cxnLst/>
            <a:rect l="l" t="t" r="r" b="b"/>
            <a:pathLst>
              <a:path w="141664" h="163196" extrusionOk="0">
                <a:moveTo>
                  <a:pt x="54484" y="163197"/>
                </a:moveTo>
                <a:cubicBezTo>
                  <a:pt x="50314" y="163197"/>
                  <a:pt x="46458" y="160915"/>
                  <a:pt x="44490" y="157216"/>
                </a:cubicBezTo>
                <a:lnTo>
                  <a:pt x="1367" y="77344"/>
                </a:lnTo>
                <a:cubicBezTo>
                  <a:pt x="-1623" y="71836"/>
                  <a:pt x="462" y="64911"/>
                  <a:pt x="5971" y="61960"/>
                </a:cubicBezTo>
                <a:cubicBezTo>
                  <a:pt x="11518" y="58969"/>
                  <a:pt x="18365" y="61055"/>
                  <a:pt x="21355" y="66563"/>
                </a:cubicBezTo>
                <a:lnTo>
                  <a:pt x="54484" y="127904"/>
                </a:lnTo>
                <a:lnTo>
                  <a:pt x="120310" y="5970"/>
                </a:lnTo>
                <a:cubicBezTo>
                  <a:pt x="123300" y="462"/>
                  <a:pt x="130186" y="-1623"/>
                  <a:pt x="135694" y="1367"/>
                </a:cubicBezTo>
                <a:cubicBezTo>
                  <a:pt x="141203" y="4357"/>
                  <a:pt x="143288" y="11243"/>
                  <a:pt x="140298" y="16751"/>
                </a:cubicBezTo>
                <a:lnTo>
                  <a:pt x="64478" y="157216"/>
                </a:lnTo>
                <a:cubicBezTo>
                  <a:pt x="62511" y="160915"/>
                  <a:pt x="58655" y="163197"/>
                  <a:pt x="54484" y="163197"/>
                </a:cubicBezTo>
                <a:close/>
              </a:path>
            </a:pathLst>
          </a:custGeom>
          <a:solidFill>
            <a:srgbClr val="24A148"/>
          </a:solidFill>
          <a:ln>
            <a:noFill/>
          </a:ln>
        </p:spPr>
        <p:txBody>
          <a:bodyPr spcFirstLastPara="1" wrap="square" lIns="85284" tIns="42642" rIns="85284" bIns="42642" anchor="ctr" anchorCtr="0">
            <a:noAutofit/>
          </a:bodyPr>
          <a:lstStyle/>
          <a:p>
            <a:endParaRPr sz="1307" dirty="0">
              <a:solidFill>
                <a:schemeClr val="dk1"/>
              </a:solidFill>
              <a:ea typeface="Calibri"/>
              <a:cs typeface="Arial" panose="020B0604020202020204" pitchFamily="34" charset="0"/>
              <a:sym typeface="Calibri"/>
            </a:endParaRPr>
          </a:p>
        </p:txBody>
      </p:sp>
      <p:sp>
        <p:nvSpPr>
          <p:cNvPr id="42" name="Shape5_20220929_150341">
            <a:extLst>
              <a:ext uri="{FF2B5EF4-FFF2-40B4-BE49-F238E27FC236}">
                <a16:creationId xmlns:a16="http://schemas.microsoft.com/office/drawing/2014/main" id="{900055AC-B0C5-7BE1-DC89-F781A6D6B66D}"/>
              </a:ext>
            </a:extLst>
          </p:cNvPr>
          <p:cNvSpPr/>
          <p:nvPr/>
        </p:nvSpPr>
        <p:spPr>
          <a:xfrm>
            <a:off x="5484142" y="4576106"/>
            <a:ext cx="244406" cy="194240"/>
          </a:xfrm>
          <a:custGeom>
            <a:avLst/>
            <a:gdLst/>
            <a:ahLst/>
            <a:cxnLst/>
            <a:rect l="l" t="t" r="r" b="b"/>
            <a:pathLst>
              <a:path w="141664" h="163196" extrusionOk="0">
                <a:moveTo>
                  <a:pt x="54484" y="163197"/>
                </a:moveTo>
                <a:cubicBezTo>
                  <a:pt x="50314" y="163197"/>
                  <a:pt x="46458" y="160915"/>
                  <a:pt x="44490" y="157216"/>
                </a:cubicBezTo>
                <a:lnTo>
                  <a:pt x="1367" y="77344"/>
                </a:lnTo>
                <a:cubicBezTo>
                  <a:pt x="-1623" y="71836"/>
                  <a:pt x="462" y="64911"/>
                  <a:pt x="5971" y="61960"/>
                </a:cubicBezTo>
                <a:cubicBezTo>
                  <a:pt x="11518" y="58969"/>
                  <a:pt x="18365" y="61055"/>
                  <a:pt x="21355" y="66563"/>
                </a:cubicBezTo>
                <a:lnTo>
                  <a:pt x="54484" y="127904"/>
                </a:lnTo>
                <a:lnTo>
                  <a:pt x="120310" y="5970"/>
                </a:lnTo>
                <a:cubicBezTo>
                  <a:pt x="123300" y="462"/>
                  <a:pt x="130186" y="-1623"/>
                  <a:pt x="135694" y="1367"/>
                </a:cubicBezTo>
                <a:cubicBezTo>
                  <a:pt x="141203" y="4357"/>
                  <a:pt x="143288" y="11243"/>
                  <a:pt x="140298" y="16751"/>
                </a:cubicBezTo>
                <a:lnTo>
                  <a:pt x="64478" y="157216"/>
                </a:lnTo>
                <a:cubicBezTo>
                  <a:pt x="62511" y="160915"/>
                  <a:pt x="58655" y="163197"/>
                  <a:pt x="54484" y="163197"/>
                </a:cubicBezTo>
                <a:close/>
              </a:path>
            </a:pathLst>
          </a:custGeom>
          <a:solidFill>
            <a:srgbClr val="24A148"/>
          </a:solidFill>
          <a:ln>
            <a:noFill/>
          </a:ln>
        </p:spPr>
        <p:txBody>
          <a:bodyPr spcFirstLastPara="1" wrap="square" lIns="85284" tIns="42642" rIns="85284" bIns="42642" anchor="ctr" anchorCtr="0">
            <a:noAutofit/>
          </a:bodyPr>
          <a:lstStyle/>
          <a:p>
            <a:endParaRPr sz="1307" dirty="0">
              <a:solidFill>
                <a:schemeClr val="dk1"/>
              </a:solidFill>
              <a:ea typeface="Calibri"/>
              <a:cs typeface="Arial" panose="020B0604020202020204" pitchFamily="34" charset="0"/>
              <a:sym typeface="Calibri"/>
            </a:endParaRPr>
          </a:p>
        </p:txBody>
      </p:sp>
      <p:sp>
        <p:nvSpPr>
          <p:cNvPr id="43" name="Shape5_20220929_150341">
            <a:extLst>
              <a:ext uri="{FF2B5EF4-FFF2-40B4-BE49-F238E27FC236}">
                <a16:creationId xmlns:a16="http://schemas.microsoft.com/office/drawing/2014/main" id="{07E6D31E-881C-1EB8-72AF-BFF3315A3F49}"/>
              </a:ext>
            </a:extLst>
          </p:cNvPr>
          <p:cNvSpPr/>
          <p:nvPr/>
        </p:nvSpPr>
        <p:spPr>
          <a:xfrm>
            <a:off x="7796279" y="4576106"/>
            <a:ext cx="244406" cy="194240"/>
          </a:xfrm>
          <a:custGeom>
            <a:avLst/>
            <a:gdLst/>
            <a:ahLst/>
            <a:cxnLst/>
            <a:rect l="l" t="t" r="r" b="b"/>
            <a:pathLst>
              <a:path w="141664" h="163196" extrusionOk="0">
                <a:moveTo>
                  <a:pt x="54484" y="163197"/>
                </a:moveTo>
                <a:cubicBezTo>
                  <a:pt x="50314" y="163197"/>
                  <a:pt x="46458" y="160915"/>
                  <a:pt x="44490" y="157216"/>
                </a:cubicBezTo>
                <a:lnTo>
                  <a:pt x="1367" y="77344"/>
                </a:lnTo>
                <a:cubicBezTo>
                  <a:pt x="-1623" y="71836"/>
                  <a:pt x="462" y="64911"/>
                  <a:pt x="5971" y="61960"/>
                </a:cubicBezTo>
                <a:cubicBezTo>
                  <a:pt x="11518" y="58969"/>
                  <a:pt x="18365" y="61055"/>
                  <a:pt x="21355" y="66563"/>
                </a:cubicBezTo>
                <a:lnTo>
                  <a:pt x="54484" y="127904"/>
                </a:lnTo>
                <a:lnTo>
                  <a:pt x="120310" y="5970"/>
                </a:lnTo>
                <a:cubicBezTo>
                  <a:pt x="123300" y="462"/>
                  <a:pt x="130186" y="-1623"/>
                  <a:pt x="135694" y="1367"/>
                </a:cubicBezTo>
                <a:cubicBezTo>
                  <a:pt x="141203" y="4357"/>
                  <a:pt x="143288" y="11243"/>
                  <a:pt x="140298" y="16751"/>
                </a:cubicBezTo>
                <a:lnTo>
                  <a:pt x="64478" y="157216"/>
                </a:lnTo>
                <a:cubicBezTo>
                  <a:pt x="62511" y="160915"/>
                  <a:pt x="58655" y="163197"/>
                  <a:pt x="54484" y="163197"/>
                </a:cubicBezTo>
                <a:close/>
              </a:path>
            </a:pathLst>
          </a:custGeom>
          <a:solidFill>
            <a:srgbClr val="24A148"/>
          </a:solidFill>
          <a:ln>
            <a:noFill/>
          </a:ln>
        </p:spPr>
        <p:txBody>
          <a:bodyPr spcFirstLastPara="1" wrap="square" lIns="85284" tIns="42642" rIns="85284" bIns="42642" anchor="ctr" anchorCtr="0">
            <a:noAutofit/>
          </a:bodyPr>
          <a:lstStyle/>
          <a:p>
            <a:endParaRPr sz="1307" dirty="0">
              <a:solidFill>
                <a:schemeClr val="dk1"/>
              </a:solidFill>
              <a:ea typeface="Calibri"/>
              <a:cs typeface="Arial" panose="020B0604020202020204" pitchFamily="34" charset="0"/>
              <a:sym typeface="Calibri"/>
            </a:endParaRPr>
          </a:p>
        </p:txBody>
      </p:sp>
      <p:sp>
        <p:nvSpPr>
          <p:cNvPr id="44" name="Shape5_20220929_150341">
            <a:extLst>
              <a:ext uri="{FF2B5EF4-FFF2-40B4-BE49-F238E27FC236}">
                <a16:creationId xmlns:a16="http://schemas.microsoft.com/office/drawing/2014/main" id="{B49C3987-1E69-61B4-79DD-832CC21F52B1}"/>
              </a:ext>
            </a:extLst>
          </p:cNvPr>
          <p:cNvSpPr/>
          <p:nvPr/>
        </p:nvSpPr>
        <p:spPr>
          <a:xfrm>
            <a:off x="10112648" y="4573805"/>
            <a:ext cx="244406" cy="194240"/>
          </a:xfrm>
          <a:custGeom>
            <a:avLst/>
            <a:gdLst/>
            <a:ahLst/>
            <a:cxnLst/>
            <a:rect l="l" t="t" r="r" b="b"/>
            <a:pathLst>
              <a:path w="141664" h="163196" extrusionOk="0">
                <a:moveTo>
                  <a:pt x="54484" y="163197"/>
                </a:moveTo>
                <a:cubicBezTo>
                  <a:pt x="50314" y="163197"/>
                  <a:pt x="46458" y="160915"/>
                  <a:pt x="44490" y="157216"/>
                </a:cubicBezTo>
                <a:lnTo>
                  <a:pt x="1367" y="77344"/>
                </a:lnTo>
                <a:cubicBezTo>
                  <a:pt x="-1623" y="71836"/>
                  <a:pt x="462" y="64911"/>
                  <a:pt x="5971" y="61960"/>
                </a:cubicBezTo>
                <a:cubicBezTo>
                  <a:pt x="11518" y="58969"/>
                  <a:pt x="18365" y="61055"/>
                  <a:pt x="21355" y="66563"/>
                </a:cubicBezTo>
                <a:lnTo>
                  <a:pt x="54484" y="127904"/>
                </a:lnTo>
                <a:lnTo>
                  <a:pt x="120310" y="5970"/>
                </a:lnTo>
                <a:cubicBezTo>
                  <a:pt x="123300" y="462"/>
                  <a:pt x="130186" y="-1623"/>
                  <a:pt x="135694" y="1367"/>
                </a:cubicBezTo>
                <a:cubicBezTo>
                  <a:pt x="141203" y="4357"/>
                  <a:pt x="143288" y="11243"/>
                  <a:pt x="140298" y="16751"/>
                </a:cubicBezTo>
                <a:lnTo>
                  <a:pt x="64478" y="157216"/>
                </a:lnTo>
                <a:cubicBezTo>
                  <a:pt x="62511" y="160915"/>
                  <a:pt x="58655" y="163197"/>
                  <a:pt x="54484" y="163197"/>
                </a:cubicBezTo>
                <a:close/>
              </a:path>
            </a:pathLst>
          </a:custGeom>
          <a:solidFill>
            <a:srgbClr val="24A148"/>
          </a:solidFill>
          <a:ln>
            <a:noFill/>
          </a:ln>
        </p:spPr>
        <p:txBody>
          <a:bodyPr spcFirstLastPara="1" wrap="square" lIns="85284" tIns="42642" rIns="85284" bIns="42642" anchor="ctr" anchorCtr="0">
            <a:noAutofit/>
          </a:bodyPr>
          <a:lstStyle/>
          <a:p>
            <a:endParaRPr sz="1307" dirty="0">
              <a:solidFill>
                <a:schemeClr val="dk1"/>
              </a:solidFill>
              <a:ea typeface="Calibri"/>
              <a:cs typeface="Arial" panose="020B0604020202020204" pitchFamily="34" charset="0"/>
              <a:sym typeface="Calibri"/>
            </a:endParaRPr>
          </a:p>
        </p:txBody>
      </p:sp>
      <p:sp>
        <p:nvSpPr>
          <p:cNvPr id="45" name="Shape5_20220929_150341">
            <a:extLst>
              <a:ext uri="{FF2B5EF4-FFF2-40B4-BE49-F238E27FC236}">
                <a16:creationId xmlns:a16="http://schemas.microsoft.com/office/drawing/2014/main" id="{1B8554B4-65B9-1069-27F7-95AA41F17623}"/>
              </a:ext>
            </a:extLst>
          </p:cNvPr>
          <p:cNvSpPr/>
          <p:nvPr/>
        </p:nvSpPr>
        <p:spPr>
          <a:xfrm>
            <a:off x="5489787" y="5597961"/>
            <a:ext cx="244406" cy="194240"/>
          </a:xfrm>
          <a:custGeom>
            <a:avLst/>
            <a:gdLst/>
            <a:ahLst/>
            <a:cxnLst/>
            <a:rect l="l" t="t" r="r" b="b"/>
            <a:pathLst>
              <a:path w="141664" h="163196" extrusionOk="0">
                <a:moveTo>
                  <a:pt x="54484" y="163197"/>
                </a:moveTo>
                <a:cubicBezTo>
                  <a:pt x="50314" y="163197"/>
                  <a:pt x="46458" y="160915"/>
                  <a:pt x="44490" y="157216"/>
                </a:cubicBezTo>
                <a:lnTo>
                  <a:pt x="1367" y="77344"/>
                </a:lnTo>
                <a:cubicBezTo>
                  <a:pt x="-1623" y="71836"/>
                  <a:pt x="462" y="64911"/>
                  <a:pt x="5971" y="61960"/>
                </a:cubicBezTo>
                <a:cubicBezTo>
                  <a:pt x="11518" y="58969"/>
                  <a:pt x="18365" y="61055"/>
                  <a:pt x="21355" y="66563"/>
                </a:cubicBezTo>
                <a:lnTo>
                  <a:pt x="54484" y="127904"/>
                </a:lnTo>
                <a:lnTo>
                  <a:pt x="120310" y="5970"/>
                </a:lnTo>
                <a:cubicBezTo>
                  <a:pt x="123300" y="462"/>
                  <a:pt x="130186" y="-1623"/>
                  <a:pt x="135694" y="1367"/>
                </a:cubicBezTo>
                <a:cubicBezTo>
                  <a:pt x="141203" y="4357"/>
                  <a:pt x="143288" y="11243"/>
                  <a:pt x="140298" y="16751"/>
                </a:cubicBezTo>
                <a:lnTo>
                  <a:pt x="64478" y="157216"/>
                </a:lnTo>
                <a:cubicBezTo>
                  <a:pt x="62511" y="160915"/>
                  <a:pt x="58655" y="163197"/>
                  <a:pt x="54484" y="163197"/>
                </a:cubicBezTo>
                <a:close/>
              </a:path>
            </a:pathLst>
          </a:custGeom>
          <a:solidFill>
            <a:srgbClr val="24A148"/>
          </a:solidFill>
          <a:ln>
            <a:noFill/>
          </a:ln>
        </p:spPr>
        <p:txBody>
          <a:bodyPr spcFirstLastPara="1" wrap="square" lIns="85284" tIns="42642" rIns="85284" bIns="42642" anchor="ctr" anchorCtr="0">
            <a:noAutofit/>
          </a:bodyPr>
          <a:lstStyle/>
          <a:p>
            <a:endParaRPr sz="1307" dirty="0">
              <a:solidFill>
                <a:schemeClr val="dk1"/>
              </a:solidFill>
              <a:ea typeface="Calibri"/>
              <a:cs typeface="Arial" panose="020B0604020202020204" pitchFamily="34" charset="0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248327567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2E74A3-19B4-BD3E-C5C2-54C34A256E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A09A0717-829E-B0EC-4D90-4767B8D06F9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09A0717-829E-B0EC-4D90-4767B8D06F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8AB56AF4-057E-83A5-0027-378DD512962E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48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FDED7CA-9F05-2299-4E15-88909CBB40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grpSp>
        <p:nvGrpSpPr>
          <p:cNvPr id="99" name="Group 98">
            <a:extLst>
              <a:ext uri="{FF2B5EF4-FFF2-40B4-BE49-F238E27FC236}">
                <a16:creationId xmlns:a16="http://schemas.microsoft.com/office/drawing/2014/main" id="{DDA2223A-C607-7A1E-C58E-7921B884F1D5}"/>
              </a:ext>
            </a:extLst>
          </p:cNvPr>
          <p:cNvGrpSpPr/>
          <p:nvPr/>
        </p:nvGrpSpPr>
        <p:grpSpPr>
          <a:xfrm>
            <a:off x="839683" y="1066799"/>
            <a:ext cx="10667999" cy="4998333"/>
            <a:chOff x="839683" y="1066800"/>
            <a:chExt cx="10667999" cy="4362026"/>
          </a:xfrm>
        </p:grpSpPr>
        <p:sp>
          <p:nvSpPr>
            <p:cNvPr id="2" name="Shape0_20220721_110914">
              <a:extLst>
                <a:ext uri="{FF2B5EF4-FFF2-40B4-BE49-F238E27FC236}">
                  <a16:creationId xmlns:a16="http://schemas.microsoft.com/office/drawing/2014/main" id="{39FDFF03-6618-093C-04DD-D4DA6721F7AB}"/>
                </a:ext>
              </a:extLst>
            </p:cNvPr>
            <p:cNvSpPr/>
            <p:nvPr/>
          </p:nvSpPr>
          <p:spPr>
            <a:xfrm>
              <a:off x="839683" y="1066800"/>
              <a:ext cx="4089399" cy="4362026"/>
            </a:xfrm>
            <a:custGeom>
              <a:avLst/>
              <a:gdLst/>
              <a:ahLst/>
              <a:cxnLst/>
              <a:rect l="l" t="t" r="r" b="b"/>
              <a:pathLst>
                <a:path w="2891927" h="5618602" extrusionOk="0">
                  <a:moveTo>
                    <a:pt x="2767988" y="5618603"/>
                  </a:moveTo>
                  <a:lnTo>
                    <a:pt x="123940" y="5618603"/>
                  </a:lnTo>
                  <a:cubicBezTo>
                    <a:pt x="55478" y="5618603"/>
                    <a:pt x="0" y="5563125"/>
                    <a:pt x="0" y="5494663"/>
                  </a:cubicBezTo>
                  <a:lnTo>
                    <a:pt x="0" y="123940"/>
                  </a:lnTo>
                  <a:cubicBezTo>
                    <a:pt x="0" y="55478"/>
                    <a:pt x="55478" y="0"/>
                    <a:pt x="123940" y="0"/>
                  </a:cubicBezTo>
                  <a:lnTo>
                    <a:pt x="2767988" y="0"/>
                  </a:lnTo>
                  <a:cubicBezTo>
                    <a:pt x="2836450" y="0"/>
                    <a:pt x="2891928" y="55478"/>
                    <a:pt x="2891928" y="123940"/>
                  </a:cubicBezTo>
                  <a:lnTo>
                    <a:pt x="2891928" y="5494663"/>
                  </a:lnTo>
                  <a:cubicBezTo>
                    <a:pt x="2891928" y="5563125"/>
                    <a:pt x="2836450" y="5618603"/>
                    <a:pt x="2767988" y="5618603"/>
                  </a:cubicBezTo>
                  <a:close/>
                </a:path>
              </a:pathLst>
            </a:custGeom>
            <a:noFill/>
            <a:ln>
              <a:noFill/>
            </a:ln>
            <a:effectLst/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27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" name="Google Shape;3712;p66">
              <a:extLst>
                <a:ext uri="{FF2B5EF4-FFF2-40B4-BE49-F238E27FC236}">
                  <a16:creationId xmlns:a16="http://schemas.microsoft.com/office/drawing/2014/main" id="{BD8B6675-7A27-D5AF-D6AE-D1BB78242AFB}"/>
                </a:ext>
              </a:extLst>
            </p:cNvPr>
            <p:cNvSpPr/>
            <p:nvPr/>
          </p:nvSpPr>
          <p:spPr>
            <a:xfrm>
              <a:off x="933347" y="1123919"/>
              <a:ext cx="3910433" cy="80447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pPr algn="ctr"/>
              <a:r>
                <a:rPr lang="en-US" sz="1471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Title</a:t>
              </a:r>
              <a:endParaRPr sz="14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" name="Google Shape;3718;p66">
              <a:extLst>
                <a:ext uri="{FF2B5EF4-FFF2-40B4-BE49-F238E27FC236}">
                  <a16:creationId xmlns:a16="http://schemas.microsoft.com/office/drawing/2014/main" id="{0D3A749D-F861-08AE-CA4C-3FF7F41D4C01}"/>
                </a:ext>
              </a:extLst>
            </p:cNvPr>
            <p:cNvSpPr txBox="1"/>
            <p:nvPr/>
          </p:nvSpPr>
          <p:spPr>
            <a:xfrm>
              <a:off x="1030584" y="3833707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6" name="Google Shape;3719;p66">
              <a:extLst>
                <a:ext uri="{FF2B5EF4-FFF2-40B4-BE49-F238E27FC236}">
                  <a16:creationId xmlns:a16="http://schemas.microsoft.com/office/drawing/2014/main" id="{27F58C85-7CFF-5988-C060-41E9835A7433}"/>
                </a:ext>
              </a:extLst>
            </p:cNvPr>
            <p:cNvSpPr txBox="1"/>
            <p:nvPr/>
          </p:nvSpPr>
          <p:spPr>
            <a:xfrm>
              <a:off x="1030584" y="4193902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7" name="Google Shape;3720;p66">
              <a:extLst>
                <a:ext uri="{FF2B5EF4-FFF2-40B4-BE49-F238E27FC236}">
                  <a16:creationId xmlns:a16="http://schemas.microsoft.com/office/drawing/2014/main" id="{7D330DD4-FA9D-BCB3-77C1-624E7054EC89}"/>
                </a:ext>
              </a:extLst>
            </p:cNvPr>
            <p:cNvSpPr txBox="1"/>
            <p:nvPr/>
          </p:nvSpPr>
          <p:spPr>
            <a:xfrm>
              <a:off x="1030584" y="4554097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8" name="Google Shape;3713;p66">
              <a:extLst>
                <a:ext uri="{FF2B5EF4-FFF2-40B4-BE49-F238E27FC236}">
                  <a16:creationId xmlns:a16="http://schemas.microsoft.com/office/drawing/2014/main" id="{1A6C0A9C-1784-DE82-9DC9-5CBA705AD779}"/>
                </a:ext>
              </a:extLst>
            </p:cNvPr>
            <p:cNvSpPr txBox="1"/>
            <p:nvPr/>
          </p:nvSpPr>
          <p:spPr>
            <a:xfrm>
              <a:off x="1030584" y="2032727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9" name="Google Shape;3714;p66">
              <a:extLst>
                <a:ext uri="{FF2B5EF4-FFF2-40B4-BE49-F238E27FC236}">
                  <a16:creationId xmlns:a16="http://schemas.microsoft.com/office/drawing/2014/main" id="{FBF53B67-D46E-2CBC-6819-F0D02300E4B4}"/>
                </a:ext>
              </a:extLst>
            </p:cNvPr>
            <p:cNvSpPr txBox="1"/>
            <p:nvPr/>
          </p:nvSpPr>
          <p:spPr>
            <a:xfrm>
              <a:off x="1030584" y="2392924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10" name="Google Shape;3715;p66">
              <a:extLst>
                <a:ext uri="{FF2B5EF4-FFF2-40B4-BE49-F238E27FC236}">
                  <a16:creationId xmlns:a16="http://schemas.microsoft.com/office/drawing/2014/main" id="{64DF71B3-4DCF-8EE7-CFE6-059B7A0133EB}"/>
                </a:ext>
              </a:extLst>
            </p:cNvPr>
            <p:cNvSpPr txBox="1"/>
            <p:nvPr/>
          </p:nvSpPr>
          <p:spPr>
            <a:xfrm>
              <a:off x="1030584" y="2753118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11" name="Google Shape;3716;p66">
              <a:extLst>
                <a:ext uri="{FF2B5EF4-FFF2-40B4-BE49-F238E27FC236}">
                  <a16:creationId xmlns:a16="http://schemas.microsoft.com/office/drawing/2014/main" id="{4D46A073-A973-09DD-5D2F-6B4B77274F38}"/>
                </a:ext>
              </a:extLst>
            </p:cNvPr>
            <p:cNvSpPr txBox="1"/>
            <p:nvPr/>
          </p:nvSpPr>
          <p:spPr>
            <a:xfrm>
              <a:off x="1030584" y="3113314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13" name="Google Shape;3717;p66">
              <a:extLst>
                <a:ext uri="{FF2B5EF4-FFF2-40B4-BE49-F238E27FC236}">
                  <a16:creationId xmlns:a16="http://schemas.microsoft.com/office/drawing/2014/main" id="{7A61DCF6-3F9C-6BEB-9B44-EDDFBBB60B67}"/>
                </a:ext>
              </a:extLst>
            </p:cNvPr>
            <p:cNvSpPr txBox="1"/>
            <p:nvPr/>
          </p:nvSpPr>
          <p:spPr>
            <a:xfrm>
              <a:off x="1030584" y="3473509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cxnSp>
          <p:nvCxnSpPr>
            <p:cNvPr id="14" name="Google Shape;3721;p66">
              <a:extLst>
                <a:ext uri="{FF2B5EF4-FFF2-40B4-BE49-F238E27FC236}">
                  <a16:creationId xmlns:a16="http://schemas.microsoft.com/office/drawing/2014/main" id="{72B8D36A-4684-758D-54A3-A97CCC50C2CA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2311589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5" name="Google Shape;3722;p66">
              <a:extLst>
                <a:ext uri="{FF2B5EF4-FFF2-40B4-BE49-F238E27FC236}">
                  <a16:creationId xmlns:a16="http://schemas.microsoft.com/office/drawing/2014/main" id="{C3841AED-F75E-F5E2-E1AB-79D1F6805CD9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2671784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6" name="Google Shape;3723;p66">
              <a:extLst>
                <a:ext uri="{FF2B5EF4-FFF2-40B4-BE49-F238E27FC236}">
                  <a16:creationId xmlns:a16="http://schemas.microsoft.com/office/drawing/2014/main" id="{32D3E8AB-676B-60C0-F6DC-C5E88ED78D06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3031979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7" name="Google Shape;3724;p66">
              <a:extLst>
                <a:ext uri="{FF2B5EF4-FFF2-40B4-BE49-F238E27FC236}">
                  <a16:creationId xmlns:a16="http://schemas.microsoft.com/office/drawing/2014/main" id="{CAF8E72D-7294-3D0B-91F9-E36F86C9B99C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3392177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8" name="Google Shape;3725;p66">
              <a:extLst>
                <a:ext uri="{FF2B5EF4-FFF2-40B4-BE49-F238E27FC236}">
                  <a16:creationId xmlns:a16="http://schemas.microsoft.com/office/drawing/2014/main" id="{53D6D5F7-0D13-AB09-76D2-43B57E34FD31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3752371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9" name="Google Shape;3726;p66">
              <a:extLst>
                <a:ext uri="{FF2B5EF4-FFF2-40B4-BE49-F238E27FC236}">
                  <a16:creationId xmlns:a16="http://schemas.microsoft.com/office/drawing/2014/main" id="{98E622FE-BE7E-FBD9-A8C9-D3F73425B3D0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4112566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0" name="Google Shape;3727;p66">
              <a:extLst>
                <a:ext uri="{FF2B5EF4-FFF2-40B4-BE49-F238E27FC236}">
                  <a16:creationId xmlns:a16="http://schemas.microsoft.com/office/drawing/2014/main" id="{6EE7F6BD-0487-212E-D66A-6F0E912629DB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4472762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1" name="Google Shape;3728;p66">
              <a:extLst>
                <a:ext uri="{FF2B5EF4-FFF2-40B4-BE49-F238E27FC236}">
                  <a16:creationId xmlns:a16="http://schemas.microsoft.com/office/drawing/2014/main" id="{4A9EF1B7-7DA2-3234-3FBA-B61A60E1C9D7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4832958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22" name="Shape3_20220721_110914">
              <a:extLst>
                <a:ext uri="{FF2B5EF4-FFF2-40B4-BE49-F238E27FC236}">
                  <a16:creationId xmlns:a16="http://schemas.microsoft.com/office/drawing/2014/main" id="{670013BE-AFDD-93C4-C5BB-806B4EB3A955}"/>
                </a:ext>
              </a:extLst>
            </p:cNvPr>
            <p:cNvSpPr/>
            <p:nvPr/>
          </p:nvSpPr>
          <p:spPr>
            <a:xfrm>
              <a:off x="9335358" y="1066800"/>
              <a:ext cx="2172324" cy="4362026"/>
            </a:xfrm>
            <a:custGeom>
              <a:avLst/>
              <a:gdLst/>
              <a:ahLst/>
              <a:cxnLst/>
              <a:rect l="l" t="t" r="r" b="b"/>
              <a:pathLst>
                <a:path w="1652530" h="5618602" extrusionOk="0">
                  <a:moveTo>
                    <a:pt x="1528590" y="5618603"/>
                  </a:moveTo>
                  <a:lnTo>
                    <a:pt x="123940" y="5618603"/>
                  </a:lnTo>
                  <a:cubicBezTo>
                    <a:pt x="55478" y="5618603"/>
                    <a:pt x="0" y="5563125"/>
                    <a:pt x="0" y="5494663"/>
                  </a:cubicBezTo>
                  <a:lnTo>
                    <a:pt x="0" y="123940"/>
                  </a:lnTo>
                  <a:cubicBezTo>
                    <a:pt x="0" y="55478"/>
                    <a:pt x="55478" y="0"/>
                    <a:pt x="123940" y="0"/>
                  </a:cubicBezTo>
                  <a:lnTo>
                    <a:pt x="1528590" y="0"/>
                  </a:lnTo>
                  <a:cubicBezTo>
                    <a:pt x="1597052" y="0"/>
                    <a:pt x="1652530" y="55478"/>
                    <a:pt x="1652530" y="123940"/>
                  </a:cubicBezTo>
                  <a:lnTo>
                    <a:pt x="1652530" y="5494663"/>
                  </a:lnTo>
                  <a:cubicBezTo>
                    <a:pt x="1652530" y="5563125"/>
                    <a:pt x="1597052" y="5618603"/>
                    <a:pt x="1528590" y="5618603"/>
                  </a:cubicBezTo>
                  <a:close/>
                </a:path>
              </a:pathLst>
            </a:custGeom>
            <a:noFill/>
            <a:ln>
              <a:noFill/>
            </a:ln>
            <a:effectLst/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27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3" name="Shape1_20220721_110914">
              <a:extLst>
                <a:ext uri="{FF2B5EF4-FFF2-40B4-BE49-F238E27FC236}">
                  <a16:creationId xmlns:a16="http://schemas.microsoft.com/office/drawing/2014/main" id="{1085EC71-DDF1-2318-3739-AF626D89E611}"/>
                </a:ext>
              </a:extLst>
            </p:cNvPr>
            <p:cNvSpPr/>
            <p:nvPr/>
          </p:nvSpPr>
          <p:spPr>
            <a:xfrm>
              <a:off x="4947101" y="1066800"/>
              <a:ext cx="2172324" cy="4362026"/>
            </a:xfrm>
            <a:custGeom>
              <a:avLst/>
              <a:gdLst/>
              <a:ahLst/>
              <a:cxnLst/>
              <a:rect l="l" t="t" r="r" b="b"/>
              <a:pathLst>
                <a:path w="1652530" h="5618602" extrusionOk="0">
                  <a:moveTo>
                    <a:pt x="1528590" y="5618603"/>
                  </a:moveTo>
                  <a:lnTo>
                    <a:pt x="123940" y="5618603"/>
                  </a:lnTo>
                  <a:cubicBezTo>
                    <a:pt x="55478" y="5618603"/>
                    <a:pt x="0" y="5563125"/>
                    <a:pt x="0" y="5494663"/>
                  </a:cubicBezTo>
                  <a:lnTo>
                    <a:pt x="0" y="123940"/>
                  </a:lnTo>
                  <a:cubicBezTo>
                    <a:pt x="0" y="55478"/>
                    <a:pt x="55478" y="0"/>
                    <a:pt x="123940" y="0"/>
                  </a:cubicBezTo>
                  <a:lnTo>
                    <a:pt x="1528590" y="0"/>
                  </a:lnTo>
                  <a:cubicBezTo>
                    <a:pt x="1597052" y="0"/>
                    <a:pt x="1652530" y="55478"/>
                    <a:pt x="1652530" y="123940"/>
                  </a:cubicBezTo>
                  <a:lnTo>
                    <a:pt x="1652530" y="5494663"/>
                  </a:lnTo>
                  <a:cubicBezTo>
                    <a:pt x="1652530" y="5563125"/>
                    <a:pt x="1597052" y="5618603"/>
                    <a:pt x="1528590" y="5618603"/>
                  </a:cubicBezTo>
                  <a:close/>
                </a:path>
              </a:pathLst>
            </a:custGeom>
            <a:noFill/>
            <a:ln>
              <a:noFill/>
            </a:ln>
            <a:effectLst/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27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4" name="Google Shape;3730;p66">
              <a:extLst>
                <a:ext uri="{FF2B5EF4-FFF2-40B4-BE49-F238E27FC236}">
                  <a16:creationId xmlns:a16="http://schemas.microsoft.com/office/drawing/2014/main" id="{C74DF7A4-E79A-9655-AFFD-5A54B5D14CB2}"/>
                </a:ext>
              </a:extLst>
            </p:cNvPr>
            <p:cNvSpPr/>
            <p:nvPr/>
          </p:nvSpPr>
          <p:spPr>
            <a:xfrm>
              <a:off x="5044169" y="1123919"/>
              <a:ext cx="1998539" cy="80447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5" name="Google Shape;3731;p66">
              <a:extLst>
                <a:ext uri="{FF2B5EF4-FFF2-40B4-BE49-F238E27FC236}">
                  <a16:creationId xmlns:a16="http://schemas.microsoft.com/office/drawing/2014/main" id="{BABFC1B3-A918-E569-B60A-E21908903DF6}"/>
                </a:ext>
              </a:extLst>
            </p:cNvPr>
            <p:cNvSpPr/>
            <p:nvPr/>
          </p:nvSpPr>
          <p:spPr>
            <a:xfrm>
              <a:off x="5053251" y="4933092"/>
              <a:ext cx="1998539" cy="442652"/>
            </a:xfrm>
            <a:prstGeom prst="roundRect">
              <a:avLst>
                <a:gd name="adj" fmla="val 11531"/>
              </a:avLst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pPr algn="ctr"/>
              <a:r>
                <a:rPr lang="en-US" sz="147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</a:p>
          </p:txBody>
        </p:sp>
        <p:sp>
          <p:nvSpPr>
            <p:cNvPr id="26" name="Google Shape;3732;p66">
              <a:extLst>
                <a:ext uri="{FF2B5EF4-FFF2-40B4-BE49-F238E27FC236}">
                  <a16:creationId xmlns:a16="http://schemas.microsoft.com/office/drawing/2014/main" id="{109EA72D-F96E-8BA1-AC50-209014B98C6D}"/>
                </a:ext>
              </a:extLst>
            </p:cNvPr>
            <p:cNvSpPr txBox="1"/>
            <p:nvPr/>
          </p:nvSpPr>
          <p:spPr>
            <a:xfrm>
              <a:off x="5271050" y="1210814"/>
              <a:ext cx="1544778" cy="27268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5284" tIns="42642" rIns="85284" bIns="42642" anchor="ctr" anchorCtr="0">
              <a:spAutoFit/>
            </a:bodyPr>
            <a:lstStyle/>
            <a:p>
              <a:pPr algn="ctr"/>
              <a:r>
                <a:rPr lang="en-US" sz="1471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Title</a:t>
              </a:r>
              <a:endParaRPr sz="1471" b="1" dirty="0">
                <a:solidFill>
                  <a:schemeClr val="lt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7" name="Google Shape;3733;p66">
              <a:extLst>
                <a:ext uri="{FF2B5EF4-FFF2-40B4-BE49-F238E27FC236}">
                  <a16:creationId xmlns:a16="http://schemas.microsoft.com/office/drawing/2014/main" id="{91D51684-4255-C399-B95E-6E5054A61832}"/>
                </a:ext>
              </a:extLst>
            </p:cNvPr>
            <p:cNvSpPr txBox="1"/>
            <p:nvPr/>
          </p:nvSpPr>
          <p:spPr>
            <a:xfrm>
              <a:off x="5384634" y="1548360"/>
              <a:ext cx="1317610" cy="27268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5284" tIns="42642" rIns="85284" bIns="42642" anchor="ctr" anchorCtr="0">
              <a:spAutoFit/>
            </a:bodyPr>
            <a:lstStyle/>
            <a:p>
              <a:pPr algn="ctr"/>
              <a:r>
                <a:rPr lang="en-US" sz="1471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$x</a:t>
              </a:r>
              <a:endParaRPr sz="14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8" name="Shape1_20220929_150446">
              <a:extLst>
                <a:ext uri="{FF2B5EF4-FFF2-40B4-BE49-F238E27FC236}">
                  <a16:creationId xmlns:a16="http://schemas.microsoft.com/office/drawing/2014/main" id="{155DC01B-D7D4-06B2-493B-DC5E41D835B1}"/>
                </a:ext>
              </a:extLst>
            </p:cNvPr>
            <p:cNvSpPr/>
            <p:nvPr/>
          </p:nvSpPr>
          <p:spPr>
            <a:xfrm>
              <a:off x="5994710" y="4603326"/>
              <a:ext cx="115617" cy="99071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3335" y="118697"/>
                  </a:move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81"/>
                    <a:pt x="123143" y="14981"/>
                    <a:pt x="118697" y="19388"/>
                  </a:cubicBez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9" name="Shape2_20220929_150446">
              <a:extLst>
                <a:ext uri="{FF2B5EF4-FFF2-40B4-BE49-F238E27FC236}">
                  <a16:creationId xmlns:a16="http://schemas.microsoft.com/office/drawing/2014/main" id="{2219040C-EF6B-DE9A-8BFC-6F0F54A32B6A}"/>
                </a:ext>
              </a:extLst>
            </p:cNvPr>
            <p:cNvSpPr/>
            <p:nvPr/>
          </p:nvSpPr>
          <p:spPr>
            <a:xfrm>
              <a:off x="5994710" y="4603326"/>
              <a:ext cx="115617" cy="99071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02644" y="118697"/>
                  </a:move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90"/>
                    <a:pt x="123143" y="114290"/>
                    <a:pt x="118697" y="118697"/>
                  </a:cubicBezTo>
                  <a:cubicBezTo>
                    <a:pt x="114290" y="123143"/>
                    <a:pt x="107090" y="123143"/>
                    <a:pt x="102644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0" name="Shape3_20220929_150446">
              <a:extLst>
                <a:ext uri="{FF2B5EF4-FFF2-40B4-BE49-F238E27FC236}">
                  <a16:creationId xmlns:a16="http://schemas.microsoft.com/office/drawing/2014/main" id="{427EEFF3-FC7E-98AE-270E-C76D429F41CA}"/>
                </a:ext>
              </a:extLst>
            </p:cNvPr>
            <p:cNvSpPr/>
            <p:nvPr/>
          </p:nvSpPr>
          <p:spPr>
            <a:xfrm>
              <a:off x="5994710" y="4243146"/>
              <a:ext cx="115617" cy="99038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18697"/>
                  </a:moveTo>
                  <a:cubicBezTo>
                    <a:pt x="114251" y="123143"/>
                    <a:pt x="107050" y="123143"/>
                    <a:pt x="102644" y="118697"/>
                  </a:cubicBez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50"/>
                    <a:pt x="123143" y="114251"/>
                    <a:pt x="118697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1" name="Shape4_20220929_150446">
              <a:extLst>
                <a:ext uri="{FF2B5EF4-FFF2-40B4-BE49-F238E27FC236}">
                  <a16:creationId xmlns:a16="http://schemas.microsoft.com/office/drawing/2014/main" id="{3C18F25A-FC14-9886-615A-D2CBECA4ADB4}"/>
                </a:ext>
              </a:extLst>
            </p:cNvPr>
            <p:cNvSpPr/>
            <p:nvPr/>
          </p:nvSpPr>
          <p:spPr>
            <a:xfrm>
              <a:off x="5994710" y="4243113"/>
              <a:ext cx="115617" cy="99038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9388"/>
                  </a:move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81"/>
                    <a:pt x="123143" y="14981"/>
                    <a:pt x="118697" y="19388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2" name="Shape5_20220929_150446">
              <a:extLst>
                <a:ext uri="{FF2B5EF4-FFF2-40B4-BE49-F238E27FC236}">
                  <a16:creationId xmlns:a16="http://schemas.microsoft.com/office/drawing/2014/main" id="{1AC2DF67-76F9-E48C-41C4-830FA602303D}"/>
                </a:ext>
              </a:extLst>
            </p:cNvPr>
            <p:cNvSpPr/>
            <p:nvPr/>
          </p:nvSpPr>
          <p:spPr>
            <a:xfrm>
              <a:off x="5994710" y="3882936"/>
              <a:ext cx="115617" cy="99071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18697"/>
                  </a:moveTo>
                  <a:cubicBezTo>
                    <a:pt x="114251" y="123143"/>
                    <a:pt x="107050" y="123143"/>
                    <a:pt x="102644" y="118697"/>
                  </a:cubicBez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90"/>
                    <a:pt x="123143" y="114251"/>
                    <a:pt x="118697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3" name="Shape6_20220929_150446">
              <a:extLst>
                <a:ext uri="{FF2B5EF4-FFF2-40B4-BE49-F238E27FC236}">
                  <a16:creationId xmlns:a16="http://schemas.microsoft.com/office/drawing/2014/main" id="{6408CB5B-A6AF-0C31-0093-D1BECFEB82E5}"/>
                </a:ext>
              </a:extLst>
            </p:cNvPr>
            <p:cNvSpPr/>
            <p:nvPr/>
          </p:nvSpPr>
          <p:spPr>
            <a:xfrm>
              <a:off x="5994710" y="3882936"/>
              <a:ext cx="115617" cy="99071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9388"/>
                  </a:move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41"/>
                    <a:pt x="123143" y="14941"/>
                    <a:pt x="118697" y="19388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4" name="Shape2_20220721_110914">
              <a:extLst>
                <a:ext uri="{FF2B5EF4-FFF2-40B4-BE49-F238E27FC236}">
                  <a16:creationId xmlns:a16="http://schemas.microsoft.com/office/drawing/2014/main" id="{1D87F85C-44B3-EA5F-FC7E-0557D2E63E75}"/>
                </a:ext>
              </a:extLst>
            </p:cNvPr>
            <p:cNvSpPr/>
            <p:nvPr/>
          </p:nvSpPr>
          <p:spPr>
            <a:xfrm>
              <a:off x="7141230" y="1066800"/>
              <a:ext cx="2172324" cy="4362026"/>
            </a:xfrm>
            <a:custGeom>
              <a:avLst/>
              <a:gdLst/>
              <a:ahLst/>
              <a:cxnLst/>
              <a:rect l="l" t="t" r="r" b="b"/>
              <a:pathLst>
                <a:path w="1652530" h="5618602" extrusionOk="0">
                  <a:moveTo>
                    <a:pt x="1528590" y="5618603"/>
                  </a:moveTo>
                  <a:lnTo>
                    <a:pt x="123940" y="5618603"/>
                  </a:lnTo>
                  <a:cubicBezTo>
                    <a:pt x="55478" y="5618603"/>
                    <a:pt x="0" y="5563125"/>
                    <a:pt x="0" y="5494663"/>
                  </a:cubicBezTo>
                  <a:lnTo>
                    <a:pt x="0" y="123940"/>
                  </a:lnTo>
                  <a:cubicBezTo>
                    <a:pt x="0" y="55478"/>
                    <a:pt x="55478" y="0"/>
                    <a:pt x="123940" y="0"/>
                  </a:cubicBezTo>
                  <a:lnTo>
                    <a:pt x="1528590" y="0"/>
                  </a:lnTo>
                  <a:cubicBezTo>
                    <a:pt x="1597052" y="0"/>
                    <a:pt x="1652530" y="55478"/>
                    <a:pt x="1652530" y="123940"/>
                  </a:cubicBezTo>
                  <a:lnTo>
                    <a:pt x="1652530" y="5494663"/>
                  </a:lnTo>
                  <a:cubicBezTo>
                    <a:pt x="1652530" y="5563125"/>
                    <a:pt x="1597052" y="5618603"/>
                    <a:pt x="1528590" y="5618603"/>
                  </a:cubicBezTo>
                  <a:close/>
                </a:path>
              </a:pathLst>
            </a:custGeom>
            <a:noFill/>
            <a:ln>
              <a:noFill/>
            </a:ln>
            <a:effectLst/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27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5" name="Shape0_20220721_110731">
              <a:extLst>
                <a:ext uri="{FF2B5EF4-FFF2-40B4-BE49-F238E27FC236}">
                  <a16:creationId xmlns:a16="http://schemas.microsoft.com/office/drawing/2014/main" id="{326AADC2-2ECA-875E-8231-C616B35E390E}"/>
                </a:ext>
              </a:extLst>
            </p:cNvPr>
            <p:cNvSpPr/>
            <p:nvPr/>
          </p:nvSpPr>
          <p:spPr>
            <a:xfrm>
              <a:off x="7254937" y="1123919"/>
              <a:ext cx="1955092" cy="804473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6" name="Shape1_20220721_110731">
              <a:extLst>
                <a:ext uri="{FF2B5EF4-FFF2-40B4-BE49-F238E27FC236}">
                  <a16:creationId xmlns:a16="http://schemas.microsoft.com/office/drawing/2014/main" id="{4CD2D56D-A77F-8747-31C2-8C2A72CE30D2}"/>
                </a:ext>
              </a:extLst>
            </p:cNvPr>
            <p:cNvSpPr/>
            <p:nvPr/>
          </p:nvSpPr>
          <p:spPr>
            <a:xfrm>
              <a:off x="7237750" y="4933092"/>
              <a:ext cx="1998539" cy="442652"/>
            </a:xfrm>
            <a:prstGeom prst="roundRect">
              <a:avLst>
                <a:gd name="adj" fmla="val 11531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pPr algn="ctr"/>
              <a:r>
                <a:rPr lang="en-US" sz="147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</a:p>
          </p:txBody>
        </p:sp>
        <p:sp>
          <p:nvSpPr>
            <p:cNvPr id="37" name="Google Shape;3766;p66">
              <a:extLst>
                <a:ext uri="{FF2B5EF4-FFF2-40B4-BE49-F238E27FC236}">
                  <a16:creationId xmlns:a16="http://schemas.microsoft.com/office/drawing/2014/main" id="{2F246740-07E1-7CC2-306B-3A96AB92D77C}"/>
                </a:ext>
              </a:extLst>
            </p:cNvPr>
            <p:cNvSpPr txBox="1"/>
            <p:nvPr/>
          </p:nvSpPr>
          <p:spPr>
            <a:xfrm>
              <a:off x="7460093" y="1210814"/>
              <a:ext cx="1544778" cy="27268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5284" tIns="42642" rIns="85284" bIns="42642" anchor="ctr" anchorCtr="0">
              <a:spAutoFit/>
            </a:bodyPr>
            <a:lstStyle/>
            <a:p>
              <a:pPr algn="ctr"/>
              <a:r>
                <a:rPr lang="en-US" sz="1471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Title</a:t>
              </a:r>
              <a:endParaRPr sz="1471" b="1" dirty="0">
                <a:solidFill>
                  <a:schemeClr val="lt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8" name="Google Shape;3767;p66">
              <a:extLst>
                <a:ext uri="{FF2B5EF4-FFF2-40B4-BE49-F238E27FC236}">
                  <a16:creationId xmlns:a16="http://schemas.microsoft.com/office/drawing/2014/main" id="{13494C82-4949-CC92-B7DA-859AF6AD9FD9}"/>
                </a:ext>
              </a:extLst>
            </p:cNvPr>
            <p:cNvSpPr txBox="1"/>
            <p:nvPr/>
          </p:nvSpPr>
          <p:spPr>
            <a:xfrm>
              <a:off x="7573679" y="1548360"/>
              <a:ext cx="1317610" cy="27268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5284" tIns="42642" rIns="85284" bIns="42642" anchor="ctr" anchorCtr="0">
              <a:spAutoFit/>
            </a:bodyPr>
            <a:lstStyle/>
            <a:p>
              <a:pPr algn="ctr"/>
              <a:r>
                <a:rPr lang="en-US" sz="1471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$x</a:t>
              </a:r>
              <a:endParaRPr sz="14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9" name="Shape1_20220929_150341">
              <a:extLst>
                <a:ext uri="{FF2B5EF4-FFF2-40B4-BE49-F238E27FC236}">
                  <a16:creationId xmlns:a16="http://schemas.microsoft.com/office/drawing/2014/main" id="{D8CDD800-1313-36E5-942F-4583F329BED6}"/>
                </a:ext>
              </a:extLst>
            </p:cNvPr>
            <p:cNvSpPr/>
            <p:nvPr/>
          </p:nvSpPr>
          <p:spPr>
            <a:xfrm>
              <a:off x="8140529" y="3852746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7"/>
                  </a:cubicBezTo>
                  <a:lnTo>
                    <a:pt x="1367" y="77344"/>
                  </a:lnTo>
                  <a:cubicBezTo>
                    <a:pt x="-1623" y="71836"/>
                    <a:pt x="462" y="64911"/>
                    <a:pt x="5971" y="61960"/>
                  </a:cubicBezTo>
                  <a:cubicBezTo>
                    <a:pt x="11479" y="58969"/>
                    <a:pt x="18365" y="61055"/>
                    <a:pt x="21355" y="66563"/>
                  </a:cubicBezTo>
                  <a:lnTo>
                    <a:pt x="54484" y="127904"/>
                  </a:lnTo>
                  <a:lnTo>
                    <a:pt x="120310" y="5971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7"/>
                  </a:lnTo>
                  <a:cubicBezTo>
                    <a:pt x="62511" y="160876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0" name="Shape7_20220929_150446">
              <a:extLst>
                <a:ext uri="{FF2B5EF4-FFF2-40B4-BE49-F238E27FC236}">
                  <a16:creationId xmlns:a16="http://schemas.microsoft.com/office/drawing/2014/main" id="{E8217790-A88F-B2F1-9875-401BD5B64728}"/>
                </a:ext>
              </a:extLst>
            </p:cNvPr>
            <p:cNvSpPr/>
            <p:nvPr/>
          </p:nvSpPr>
          <p:spPr>
            <a:xfrm>
              <a:off x="8179212" y="4603326"/>
              <a:ext cx="115617" cy="99071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3335" y="118697"/>
                  </a:move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81"/>
                    <a:pt x="123143" y="14981"/>
                    <a:pt x="118697" y="19388"/>
                  </a:cubicBez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1" name="Shape8_20220929_150446">
              <a:extLst>
                <a:ext uri="{FF2B5EF4-FFF2-40B4-BE49-F238E27FC236}">
                  <a16:creationId xmlns:a16="http://schemas.microsoft.com/office/drawing/2014/main" id="{FB93D612-74E7-BC20-BB01-125D3AF565D9}"/>
                </a:ext>
              </a:extLst>
            </p:cNvPr>
            <p:cNvSpPr/>
            <p:nvPr/>
          </p:nvSpPr>
          <p:spPr>
            <a:xfrm>
              <a:off x="8179212" y="4603326"/>
              <a:ext cx="115617" cy="99071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02644" y="118697"/>
                  </a:move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90"/>
                    <a:pt x="123143" y="114290"/>
                    <a:pt x="118697" y="118697"/>
                  </a:cubicBezTo>
                  <a:cubicBezTo>
                    <a:pt x="114290" y="123143"/>
                    <a:pt x="107090" y="123143"/>
                    <a:pt x="102644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2" name="Shape9_20220929_150446">
              <a:extLst>
                <a:ext uri="{FF2B5EF4-FFF2-40B4-BE49-F238E27FC236}">
                  <a16:creationId xmlns:a16="http://schemas.microsoft.com/office/drawing/2014/main" id="{33362877-8DB6-5425-BFDD-C37F6E85108E}"/>
                </a:ext>
              </a:extLst>
            </p:cNvPr>
            <p:cNvSpPr/>
            <p:nvPr/>
          </p:nvSpPr>
          <p:spPr>
            <a:xfrm>
              <a:off x="8179212" y="4243146"/>
              <a:ext cx="115617" cy="99038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18697"/>
                  </a:moveTo>
                  <a:cubicBezTo>
                    <a:pt x="114251" y="123143"/>
                    <a:pt x="107050" y="123143"/>
                    <a:pt x="102644" y="118697"/>
                  </a:cubicBez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50"/>
                    <a:pt x="123143" y="114251"/>
                    <a:pt x="118697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3" name="Shape10_20220929_150446">
              <a:extLst>
                <a:ext uri="{FF2B5EF4-FFF2-40B4-BE49-F238E27FC236}">
                  <a16:creationId xmlns:a16="http://schemas.microsoft.com/office/drawing/2014/main" id="{7D99A459-E07B-C886-AAAE-8AB2A1A3BF7A}"/>
                </a:ext>
              </a:extLst>
            </p:cNvPr>
            <p:cNvSpPr/>
            <p:nvPr/>
          </p:nvSpPr>
          <p:spPr>
            <a:xfrm>
              <a:off x="8179212" y="4243113"/>
              <a:ext cx="115617" cy="99038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9388"/>
                  </a:move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81"/>
                    <a:pt x="123143" y="14981"/>
                    <a:pt x="118697" y="19388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4" name="Shape0_20220721_110735">
              <a:extLst>
                <a:ext uri="{FF2B5EF4-FFF2-40B4-BE49-F238E27FC236}">
                  <a16:creationId xmlns:a16="http://schemas.microsoft.com/office/drawing/2014/main" id="{3A44B63A-C629-1D31-D9A3-A34D3EDB94D6}"/>
                </a:ext>
              </a:extLst>
            </p:cNvPr>
            <p:cNvSpPr/>
            <p:nvPr/>
          </p:nvSpPr>
          <p:spPr>
            <a:xfrm>
              <a:off x="9422253" y="1123919"/>
              <a:ext cx="1998539" cy="804473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5" name="Shape1_20220721_110735">
              <a:extLst>
                <a:ext uri="{FF2B5EF4-FFF2-40B4-BE49-F238E27FC236}">
                  <a16:creationId xmlns:a16="http://schemas.microsoft.com/office/drawing/2014/main" id="{332F8061-DAF5-B863-266A-9070D7325F64}"/>
                </a:ext>
              </a:extLst>
            </p:cNvPr>
            <p:cNvSpPr/>
            <p:nvPr/>
          </p:nvSpPr>
          <p:spPr>
            <a:xfrm>
              <a:off x="9422253" y="4933092"/>
              <a:ext cx="1998539" cy="442652"/>
            </a:xfrm>
            <a:prstGeom prst="roundRect">
              <a:avLst>
                <a:gd name="adj" fmla="val 11531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pPr algn="ctr"/>
              <a:r>
                <a:rPr lang="en-US" sz="147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</a:p>
          </p:txBody>
        </p:sp>
        <p:sp>
          <p:nvSpPr>
            <p:cNvPr id="46" name="Google Shape;3794;p66">
              <a:extLst>
                <a:ext uri="{FF2B5EF4-FFF2-40B4-BE49-F238E27FC236}">
                  <a16:creationId xmlns:a16="http://schemas.microsoft.com/office/drawing/2014/main" id="{F49C5778-C0FC-A263-0DD5-A27228F2E9C2}"/>
                </a:ext>
              </a:extLst>
            </p:cNvPr>
            <p:cNvSpPr txBox="1"/>
            <p:nvPr/>
          </p:nvSpPr>
          <p:spPr>
            <a:xfrm>
              <a:off x="9649136" y="1210814"/>
              <a:ext cx="1544778" cy="27268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5284" tIns="42642" rIns="85284" bIns="42642" anchor="ctr" anchorCtr="0">
              <a:spAutoFit/>
            </a:bodyPr>
            <a:lstStyle/>
            <a:p>
              <a:pPr algn="ctr"/>
              <a:r>
                <a:rPr lang="en-US" sz="1471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Title</a:t>
              </a:r>
              <a:endParaRPr sz="1471" b="1" dirty="0">
                <a:solidFill>
                  <a:schemeClr val="lt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7" name="Google Shape;3795;p66">
              <a:extLst>
                <a:ext uri="{FF2B5EF4-FFF2-40B4-BE49-F238E27FC236}">
                  <a16:creationId xmlns:a16="http://schemas.microsoft.com/office/drawing/2014/main" id="{1346DCBB-FE34-1592-6B19-F91054165257}"/>
                </a:ext>
              </a:extLst>
            </p:cNvPr>
            <p:cNvSpPr txBox="1"/>
            <p:nvPr/>
          </p:nvSpPr>
          <p:spPr>
            <a:xfrm>
              <a:off x="9762720" y="1548360"/>
              <a:ext cx="1317610" cy="27268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5284" tIns="42642" rIns="85284" bIns="42642" anchor="ctr" anchorCtr="0">
              <a:spAutoFit/>
            </a:bodyPr>
            <a:lstStyle/>
            <a:p>
              <a:pPr algn="ctr"/>
              <a:r>
                <a:rPr lang="en-US" sz="1471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$x</a:t>
              </a:r>
              <a:endParaRPr sz="14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8" name="Shape2_20220929_150341">
              <a:extLst>
                <a:ext uri="{FF2B5EF4-FFF2-40B4-BE49-F238E27FC236}">
                  <a16:creationId xmlns:a16="http://schemas.microsoft.com/office/drawing/2014/main" id="{AA1F71D8-E096-F2D8-21A6-CEE9059CD724}"/>
                </a:ext>
              </a:extLst>
            </p:cNvPr>
            <p:cNvSpPr/>
            <p:nvPr/>
          </p:nvSpPr>
          <p:spPr>
            <a:xfrm>
              <a:off x="10325032" y="3852746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7"/>
                  </a:cubicBezTo>
                  <a:lnTo>
                    <a:pt x="1367" y="77344"/>
                  </a:lnTo>
                  <a:cubicBezTo>
                    <a:pt x="-1623" y="71836"/>
                    <a:pt x="462" y="64911"/>
                    <a:pt x="5971" y="61960"/>
                  </a:cubicBezTo>
                  <a:cubicBezTo>
                    <a:pt x="11479" y="58969"/>
                    <a:pt x="18365" y="61055"/>
                    <a:pt x="21355" y="66563"/>
                  </a:cubicBezTo>
                  <a:lnTo>
                    <a:pt x="54484" y="127904"/>
                  </a:lnTo>
                  <a:lnTo>
                    <a:pt x="120310" y="5971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7"/>
                  </a:lnTo>
                  <a:cubicBezTo>
                    <a:pt x="62511" y="160876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9" name="Shape3_20220929_150341">
              <a:extLst>
                <a:ext uri="{FF2B5EF4-FFF2-40B4-BE49-F238E27FC236}">
                  <a16:creationId xmlns:a16="http://schemas.microsoft.com/office/drawing/2014/main" id="{A1DDF56C-8080-CB95-267C-59C2C7EA499C}"/>
                </a:ext>
              </a:extLst>
            </p:cNvPr>
            <p:cNvSpPr/>
            <p:nvPr/>
          </p:nvSpPr>
          <p:spPr>
            <a:xfrm>
              <a:off x="10325032" y="4209362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lnTo>
                    <a:pt x="54484" y="163197"/>
                  </a:ln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0"/>
                    <a:pt x="5971" y="61960"/>
                  </a:cubicBezTo>
                  <a:cubicBezTo>
                    <a:pt x="11479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0" name="Shape4_20220929_150341">
              <a:extLst>
                <a:ext uri="{FF2B5EF4-FFF2-40B4-BE49-F238E27FC236}">
                  <a16:creationId xmlns:a16="http://schemas.microsoft.com/office/drawing/2014/main" id="{11588B86-A74F-712A-1228-995659B99AD8}"/>
                </a:ext>
              </a:extLst>
            </p:cNvPr>
            <p:cNvSpPr/>
            <p:nvPr/>
          </p:nvSpPr>
          <p:spPr>
            <a:xfrm>
              <a:off x="10325032" y="4598745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lnTo>
                    <a:pt x="54484" y="163197"/>
                  </a:ln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0"/>
                    <a:pt x="5971" y="61960"/>
                  </a:cubicBezTo>
                  <a:cubicBezTo>
                    <a:pt x="11479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87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1" name="Shape5_20220929_150341">
              <a:extLst>
                <a:ext uri="{FF2B5EF4-FFF2-40B4-BE49-F238E27FC236}">
                  <a16:creationId xmlns:a16="http://schemas.microsoft.com/office/drawing/2014/main" id="{7FF201D2-1E8D-8A94-93FE-69F8B031EBCA}"/>
                </a:ext>
              </a:extLst>
            </p:cNvPr>
            <p:cNvSpPr/>
            <p:nvPr/>
          </p:nvSpPr>
          <p:spPr>
            <a:xfrm>
              <a:off x="5956029" y="2077377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6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4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2" name="Shape0_20220929_150341">
              <a:extLst>
                <a:ext uri="{FF2B5EF4-FFF2-40B4-BE49-F238E27FC236}">
                  <a16:creationId xmlns:a16="http://schemas.microsoft.com/office/drawing/2014/main" id="{594788C8-FA2D-B95A-7773-96AE343FCA0D}"/>
                </a:ext>
              </a:extLst>
            </p:cNvPr>
            <p:cNvSpPr/>
            <p:nvPr/>
          </p:nvSpPr>
          <p:spPr>
            <a:xfrm>
              <a:off x="8140529" y="2077377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6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4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3" name="Shape6_20220929_150341">
              <a:extLst>
                <a:ext uri="{FF2B5EF4-FFF2-40B4-BE49-F238E27FC236}">
                  <a16:creationId xmlns:a16="http://schemas.microsoft.com/office/drawing/2014/main" id="{548725A6-5AA7-B8BF-2C83-796C1C302F22}"/>
                </a:ext>
              </a:extLst>
            </p:cNvPr>
            <p:cNvSpPr/>
            <p:nvPr/>
          </p:nvSpPr>
          <p:spPr>
            <a:xfrm>
              <a:off x="10325032" y="2077377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6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4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4" name="Shape7_20220929_150341">
              <a:extLst>
                <a:ext uri="{FF2B5EF4-FFF2-40B4-BE49-F238E27FC236}">
                  <a16:creationId xmlns:a16="http://schemas.microsoft.com/office/drawing/2014/main" id="{33845FC4-5AA5-88AF-C875-5A29CAF3C8FA}"/>
                </a:ext>
              </a:extLst>
            </p:cNvPr>
            <p:cNvSpPr/>
            <p:nvPr/>
          </p:nvSpPr>
          <p:spPr>
            <a:xfrm>
              <a:off x="5956029" y="2437572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50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6" name="Shape8_20220929_150341">
              <a:extLst>
                <a:ext uri="{FF2B5EF4-FFF2-40B4-BE49-F238E27FC236}">
                  <a16:creationId xmlns:a16="http://schemas.microsoft.com/office/drawing/2014/main" id="{6D5BC4DB-45D6-F2FD-3749-DEEF4AE2C4BB}"/>
                </a:ext>
              </a:extLst>
            </p:cNvPr>
            <p:cNvSpPr/>
            <p:nvPr/>
          </p:nvSpPr>
          <p:spPr>
            <a:xfrm>
              <a:off x="8140529" y="2437572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50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7" name="Shape9_20220929_150341">
              <a:extLst>
                <a:ext uri="{FF2B5EF4-FFF2-40B4-BE49-F238E27FC236}">
                  <a16:creationId xmlns:a16="http://schemas.microsoft.com/office/drawing/2014/main" id="{E6BFA3E4-5D5B-DA25-5D64-132306EEF0E0}"/>
                </a:ext>
              </a:extLst>
            </p:cNvPr>
            <p:cNvSpPr/>
            <p:nvPr/>
          </p:nvSpPr>
          <p:spPr>
            <a:xfrm>
              <a:off x="10325032" y="2437572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50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3490D30D-4DF2-C821-55FC-121E810B2A5A}"/>
                </a:ext>
              </a:extLst>
            </p:cNvPr>
            <p:cNvGrpSpPr/>
            <p:nvPr/>
          </p:nvGrpSpPr>
          <p:grpSpPr>
            <a:xfrm>
              <a:off x="5994710" y="2802347"/>
              <a:ext cx="115617" cy="99071"/>
              <a:chOff x="5914609" y="3274525"/>
              <a:chExt cx="122060" cy="104023"/>
            </a:xfrm>
          </p:grpSpPr>
          <p:sp>
            <p:nvSpPr>
              <p:cNvPr id="59" name="Google Shape;3752;p66">
                <a:extLst>
                  <a:ext uri="{FF2B5EF4-FFF2-40B4-BE49-F238E27FC236}">
                    <a16:creationId xmlns:a16="http://schemas.microsoft.com/office/drawing/2014/main" id="{2636FF83-3931-1F10-6D65-9E597BACC031}"/>
                  </a:ext>
                </a:extLst>
              </p:cNvPr>
              <p:cNvSpPr/>
              <p:nvPr/>
            </p:nvSpPr>
            <p:spPr>
              <a:xfrm>
                <a:off x="5914609" y="3274525"/>
                <a:ext cx="122060" cy="104023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18697"/>
                    </a:moveTo>
                    <a:cubicBezTo>
                      <a:pt x="114251" y="123143"/>
                      <a:pt x="107050" y="123143"/>
                      <a:pt x="102644" y="118697"/>
                    </a:cubicBezTo>
                    <a:lnTo>
                      <a:pt x="3335" y="19388"/>
                    </a:lnTo>
                    <a:cubicBezTo>
                      <a:pt x="-1112" y="14942"/>
                      <a:pt x="-1112" y="7741"/>
                      <a:pt x="3335" y="3335"/>
                    </a:cubicBezTo>
                    <a:cubicBezTo>
                      <a:pt x="7781" y="-1112"/>
                      <a:pt x="14981" y="-1112"/>
                      <a:pt x="19388" y="3335"/>
                    </a:cubicBezTo>
                    <a:lnTo>
                      <a:pt x="118697" y="102644"/>
                    </a:lnTo>
                    <a:cubicBezTo>
                      <a:pt x="123143" y="107090"/>
                      <a:pt x="123143" y="114290"/>
                      <a:pt x="118697" y="118697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  <p:sp>
            <p:nvSpPr>
              <p:cNvPr id="60" name="Google Shape;3753;p66">
                <a:extLst>
                  <a:ext uri="{FF2B5EF4-FFF2-40B4-BE49-F238E27FC236}">
                    <a16:creationId xmlns:a16="http://schemas.microsoft.com/office/drawing/2014/main" id="{D5E8125A-8F06-BF3E-7A14-77884362996D}"/>
                  </a:ext>
                </a:extLst>
              </p:cNvPr>
              <p:cNvSpPr/>
              <p:nvPr/>
            </p:nvSpPr>
            <p:spPr>
              <a:xfrm>
                <a:off x="5914609" y="3274525"/>
                <a:ext cx="122060" cy="104023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9388"/>
                    </a:moveTo>
                    <a:lnTo>
                      <a:pt x="19388" y="118697"/>
                    </a:lnTo>
                    <a:cubicBezTo>
                      <a:pt x="14942" y="123143"/>
                      <a:pt x="7741" y="123143"/>
                      <a:pt x="3335" y="118697"/>
                    </a:cubicBezTo>
                    <a:cubicBezTo>
                      <a:pt x="-1112" y="114251"/>
                      <a:pt x="-1112" y="107050"/>
                      <a:pt x="3335" y="102644"/>
                    </a:cubicBezTo>
                    <a:lnTo>
                      <a:pt x="102644" y="3335"/>
                    </a:lnTo>
                    <a:cubicBezTo>
                      <a:pt x="107090" y="-1112"/>
                      <a:pt x="114290" y="-1112"/>
                      <a:pt x="118697" y="3335"/>
                    </a:cubicBezTo>
                    <a:cubicBezTo>
                      <a:pt x="123143" y="7781"/>
                      <a:pt x="123143" y="14942"/>
                      <a:pt x="118697" y="19388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</p:grpSp>
        <p:sp>
          <p:nvSpPr>
            <p:cNvPr id="61" name="Shape10_20220929_150341">
              <a:extLst>
                <a:ext uri="{FF2B5EF4-FFF2-40B4-BE49-F238E27FC236}">
                  <a16:creationId xmlns:a16="http://schemas.microsoft.com/office/drawing/2014/main" id="{B5493CFC-2273-AD87-D540-500373FF2E31}"/>
                </a:ext>
              </a:extLst>
            </p:cNvPr>
            <p:cNvSpPr/>
            <p:nvPr/>
          </p:nvSpPr>
          <p:spPr>
            <a:xfrm>
              <a:off x="8140529" y="2797768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62" name="Shape11_20220929_150341">
              <a:extLst>
                <a:ext uri="{FF2B5EF4-FFF2-40B4-BE49-F238E27FC236}">
                  <a16:creationId xmlns:a16="http://schemas.microsoft.com/office/drawing/2014/main" id="{66112923-9638-8B53-8A9C-598BC1F6E6B3}"/>
                </a:ext>
              </a:extLst>
            </p:cNvPr>
            <p:cNvSpPr/>
            <p:nvPr/>
          </p:nvSpPr>
          <p:spPr>
            <a:xfrm>
              <a:off x="10325032" y="2782901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09B0D3FD-6AED-FA16-EC72-C9073D2F8807}"/>
                </a:ext>
              </a:extLst>
            </p:cNvPr>
            <p:cNvGrpSpPr/>
            <p:nvPr/>
          </p:nvGrpSpPr>
          <p:grpSpPr>
            <a:xfrm>
              <a:off x="5994710" y="3162543"/>
              <a:ext cx="115617" cy="99071"/>
              <a:chOff x="5914609" y="3652727"/>
              <a:chExt cx="122060" cy="104023"/>
            </a:xfrm>
          </p:grpSpPr>
          <p:sp>
            <p:nvSpPr>
              <p:cNvPr id="64" name="Google Shape;3749;p66">
                <a:extLst>
                  <a:ext uri="{FF2B5EF4-FFF2-40B4-BE49-F238E27FC236}">
                    <a16:creationId xmlns:a16="http://schemas.microsoft.com/office/drawing/2014/main" id="{C707F69C-B20A-B979-E5E8-959829FB05FD}"/>
                  </a:ext>
                </a:extLst>
              </p:cNvPr>
              <p:cNvSpPr/>
              <p:nvPr/>
            </p:nvSpPr>
            <p:spPr>
              <a:xfrm>
                <a:off x="5914609" y="3652727"/>
                <a:ext cx="122060" cy="104023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18697"/>
                    </a:moveTo>
                    <a:cubicBezTo>
                      <a:pt x="114251" y="123143"/>
                      <a:pt x="107050" y="123143"/>
                      <a:pt x="102644" y="118697"/>
                    </a:cubicBezTo>
                    <a:lnTo>
                      <a:pt x="3335" y="19388"/>
                    </a:lnTo>
                    <a:cubicBezTo>
                      <a:pt x="-1112" y="14942"/>
                      <a:pt x="-1112" y="7741"/>
                      <a:pt x="3335" y="3335"/>
                    </a:cubicBezTo>
                    <a:cubicBezTo>
                      <a:pt x="7781" y="-1112"/>
                      <a:pt x="14981" y="-1112"/>
                      <a:pt x="19388" y="3335"/>
                    </a:cubicBezTo>
                    <a:lnTo>
                      <a:pt x="118697" y="102644"/>
                    </a:lnTo>
                    <a:cubicBezTo>
                      <a:pt x="123143" y="107050"/>
                      <a:pt x="123143" y="114251"/>
                      <a:pt x="118697" y="118697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  <p:sp>
            <p:nvSpPr>
              <p:cNvPr id="65" name="Google Shape;3750;p66">
                <a:extLst>
                  <a:ext uri="{FF2B5EF4-FFF2-40B4-BE49-F238E27FC236}">
                    <a16:creationId xmlns:a16="http://schemas.microsoft.com/office/drawing/2014/main" id="{590D5880-A970-3A5A-5700-643782F3CB7E}"/>
                  </a:ext>
                </a:extLst>
              </p:cNvPr>
              <p:cNvSpPr/>
              <p:nvPr/>
            </p:nvSpPr>
            <p:spPr>
              <a:xfrm>
                <a:off x="5914609" y="3652727"/>
                <a:ext cx="122060" cy="104023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9388"/>
                    </a:moveTo>
                    <a:lnTo>
                      <a:pt x="19388" y="118697"/>
                    </a:lnTo>
                    <a:cubicBezTo>
                      <a:pt x="14942" y="123143"/>
                      <a:pt x="7741" y="123143"/>
                      <a:pt x="3335" y="118697"/>
                    </a:cubicBezTo>
                    <a:cubicBezTo>
                      <a:pt x="-1112" y="114251"/>
                      <a:pt x="-1112" y="107050"/>
                      <a:pt x="3335" y="102644"/>
                    </a:cubicBezTo>
                    <a:lnTo>
                      <a:pt x="102644" y="3335"/>
                    </a:lnTo>
                    <a:cubicBezTo>
                      <a:pt x="107090" y="-1112"/>
                      <a:pt x="114290" y="-1112"/>
                      <a:pt x="118697" y="3335"/>
                    </a:cubicBezTo>
                    <a:cubicBezTo>
                      <a:pt x="123143" y="7741"/>
                      <a:pt x="123143" y="14942"/>
                      <a:pt x="118697" y="19388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</p:grpSp>
        <p:sp>
          <p:nvSpPr>
            <p:cNvPr id="66" name="Shape12_20220929_150341">
              <a:extLst>
                <a:ext uri="{FF2B5EF4-FFF2-40B4-BE49-F238E27FC236}">
                  <a16:creationId xmlns:a16="http://schemas.microsoft.com/office/drawing/2014/main" id="{EF6B2EDD-20A6-2365-2155-C086C766451D}"/>
                </a:ext>
              </a:extLst>
            </p:cNvPr>
            <p:cNvSpPr/>
            <p:nvPr/>
          </p:nvSpPr>
          <p:spPr>
            <a:xfrm>
              <a:off x="8140529" y="3157963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67" name="Shape13_20220929_150341">
              <a:extLst>
                <a:ext uri="{FF2B5EF4-FFF2-40B4-BE49-F238E27FC236}">
                  <a16:creationId xmlns:a16="http://schemas.microsoft.com/office/drawing/2014/main" id="{CB4FC17B-79FC-8CEE-85C5-82AB48151656}"/>
                </a:ext>
              </a:extLst>
            </p:cNvPr>
            <p:cNvSpPr/>
            <p:nvPr/>
          </p:nvSpPr>
          <p:spPr>
            <a:xfrm>
              <a:off x="10325032" y="3139518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69504100-7DE2-5420-00B2-8B5370D9B15A}"/>
                </a:ext>
              </a:extLst>
            </p:cNvPr>
            <p:cNvGrpSpPr/>
            <p:nvPr/>
          </p:nvGrpSpPr>
          <p:grpSpPr>
            <a:xfrm>
              <a:off x="5994710" y="3522724"/>
              <a:ext cx="115617" cy="99071"/>
              <a:chOff x="5914609" y="4030911"/>
              <a:chExt cx="122060" cy="104023"/>
            </a:xfrm>
          </p:grpSpPr>
          <p:sp>
            <p:nvSpPr>
              <p:cNvPr id="69" name="Google Shape;3746;p66">
                <a:extLst>
                  <a:ext uri="{FF2B5EF4-FFF2-40B4-BE49-F238E27FC236}">
                    <a16:creationId xmlns:a16="http://schemas.microsoft.com/office/drawing/2014/main" id="{149935A6-96A9-F5CF-7BEA-17BF64BD4736}"/>
                  </a:ext>
                </a:extLst>
              </p:cNvPr>
              <p:cNvSpPr/>
              <p:nvPr/>
            </p:nvSpPr>
            <p:spPr>
              <a:xfrm>
                <a:off x="5914609" y="4030945"/>
                <a:ext cx="122060" cy="103989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18697"/>
                    </a:moveTo>
                    <a:cubicBezTo>
                      <a:pt x="114251" y="123143"/>
                      <a:pt x="107050" y="123143"/>
                      <a:pt x="102644" y="118697"/>
                    </a:cubicBezTo>
                    <a:lnTo>
                      <a:pt x="3335" y="19388"/>
                    </a:lnTo>
                    <a:cubicBezTo>
                      <a:pt x="-1112" y="14942"/>
                      <a:pt x="-1112" y="7741"/>
                      <a:pt x="3335" y="3335"/>
                    </a:cubicBezTo>
                    <a:cubicBezTo>
                      <a:pt x="7781" y="-1112"/>
                      <a:pt x="14981" y="-1112"/>
                      <a:pt x="19388" y="3335"/>
                    </a:cubicBezTo>
                    <a:lnTo>
                      <a:pt x="118697" y="102644"/>
                    </a:lnTo>
                    <a:cubicBezTo>
                      <a:pt x="123143" y="107050"/>
                      <a:pt x="123143" y="114251"/>
                      <a:pt x="118697" y="118697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  <p:sp>
            <p:nvSpPr>
              <p:cNvPr id="70" name="Google Shape;3747;p66">
                <a:extLst>
                  <a:ext uri="{FF2B5EF4-FFF2-40B4-BE49-F238E27FC236}">
                    <a16:creationId xmlns:a16="http://schemas.microsoft.com/office/drawing/2014/main" id="{5718771A-F9E8-F38A-D71F-D815528B2ABB}"/>
                  </a:ext>
                </a:extLst>
              </p:cNvPr>
              <p:cNvSpPr/>
              <p:nvPr/>
            </p:nvSpPr>
            <p:spPr>
              <a:xfrm>
                <a:off x="5914609" y="4030911"/>
                <a:ext cx="122060" cy="103989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9388"/>
                    </a:moveTo>
                    <a:lnTo>
                      <a:pt x="19388" y="118697"/>
                    </a:lnTo>
                    <a:cubicBezTo>
                      <a:pt x="14942" y="123143"/>
                      <a:pt x="7741" y="123143"/>
                      <a:pt x="3335" y="118697"/>
                    </a:cubicBezTo>
                    <a:cubicBezTo>
                      <a:pt x="-1112" y="114251"/>
                      <a:pt x="-1112" y="107050"/>
                      <a:pt x="3335" y="102644"/>
                    </a:cubicBezTo>
                    <a:lnTo>
                      <a:pt x="102644" y="3335"/>
                    </a:lnTo>
                    <a:cubicBezTo>
                      <a:pt x="107090" y="-1112"/>
                      <a:pt x="114290" y="-1112"/>
                      <a:pt x="118697" y="3335"/>
                    </a:cubicBezTo>
                    <a:cubicBezTo>
                      <a:pt x="123143" y="7781"/>
                      <a:pt x="123143" y="14942"/>
                      <a:pt x="118697" y="19388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</p:grp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671FDDBB-23EF-C4C0-086E-FD8E420EC1DB}"/>
                </a:ext>
              </a:extLst>
            </p:cNvPr>
            <p:cNvGrpSpPr/>
            <p:nvPr/>
          </p:nvGrpSpPr>
          <p:grpSpPr>
            <a:xfrm>
              <a:off x="8179212" y="3522724"/>
              <a:ext cx="115617" cy="99071"/>
              <a:chOff x="8220842" y="4030911"/>
              <a:chExt cx="122060" cy="104023"/>
            </a:xfrm>
          </p:grpSpPr>
          <p:sp>
            <p:nvSpPr>
              <p:cNvPr id="72" name="Google Shape;3780;p66">
                <a:extLst>
                  <a:ext uri="{FF2B5EF4-FFF2-40B4-BE49-F238E27FC236}">
                    <a16:creationId xmlns:a16="http://schemas.microsoft.com/office/drawing/2014/main" id="{0C8743D1-5BCB-06B7-4CBF-A3C911845794}"/>
                  </a:ext>
                </a:extLst>
              </p:cNvPr>
              <p:cNvSpPr/>
              <p:nvPr/>
            </p:nvSpPr>
            <p:spPr>
              <a:xfrm>
                <a:off x="8220842" y="4030945"/>
                <a:ext cx="122060" cy="103989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18697"/>
                    </a:moveTo>
                    <a:cubicBezTo>
                      <a:pt x="114251" y="123143"/>
                      <a:pt x="107050" y="123143"/>
                      <a:pt x="102644" y="118697"/>
                    </a:cubicBezTo>
                    <a:lnTo>
                      <a:pt x="3335" y="19388"/>
                    </a:lnTo>
                    <a:cubicBezTo>
                      <a:pt x="-1112" y="14942"/>
                      <a:pt x="-1112" y="7741"/>
                      <a:pt x="3335" y="3335"/>
                    </a:cubicBezTo>
                    <a:cubicBezTo>
                      <a:pt x="7781" y="-1112"/>
                      <a:pt x="14981" y="-1112"/>
                      <a:pt x="19388" y="3335"/>
                    </a:cubicBezTo>
                    <a:lnTo>
                      <a:pt x="118697" y="102644"/>
                    </a:lnTo>
                    <a:cubicBezTo>
                      <a:pt x="123143" y="107050"/>
                      <a:pt x="123143" y="114251"/>
                      <a:pt x="118697" y="118697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  <p:sp>
            <p:nvSpPr>
              <p:cNvPr id="73" name="Google Shape;3781;p66">
                <a:extLst>
                  <a:ext uri="{FF2B5EF4-FFF2-40B4-BE49-F238E27FC236}">
                    <a16:creationId xmlns:a16="http://schemas.microsoft.com/office/drawing/2014/main" id="{368C2802-31B7-1A75-6A36-8F25557D4644}"/>
                  </a:ext>
                </a:extLst>
              </p:cNvPr>
              <p:cNvSpPr/>
              <p:nvPr/>
            </p:nvSpPr>
            <p:spPr>
              <a:xfrm>
                <a:off x="8220842" y="4030911"/>
                <a:ext cx="122060" cy="103989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9388"/>
                    </a:moveTo>
                    <a:lnTo>
                      <a:pt x="19388" y="118697"/>
                    </a:lnTo>
                    <a:cubicBezTo>
                      <a:pt x="14942" y="123143"/>
                      <a:pt x="7741" y="123143"/>
                      <a:pt x="3335" y="118697"/>
                    </a:cubicBezTo>
                    <a:cubicBezTo>
                      <a:pt x="-1112" y="114251"/>
                      <a:pt x="-1112" y="107050"/>
                      <a:pt x="3335" y="102644"/>
                    </a:cubicBezTo>
                    <a:lnTo>
                      <a:pt x="102644" y="3335"/>
                    </a:lnTo>
                    <a:cubicBezTo>
                      <a:pt x="107090" y="-1112"/>
                      <a:pt x="114290" y="-1112"/>
                      <a:pt x="118697" y="3335"/>
                    </a:cubicBezTo>
                    <a:cubicBezTo>
                      <a:pt x="123143" y="7781"/>
                      <a:pt x="123143" y="14942"/>
                      <a:pt x="118697" y="19388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</p:grpSp>
        <p:sp>
          <p:nvSpPr>
            <p:cNvPr id="74" name="Shape14_20220929_150341">
              <a:extLst>
                <a:ext uri="{FF2B5EF4-FFF2-40B4-BE49-F238E27FC236}">
                  <a16:creationId xmlns:a16="http://schemas.microsoft.com/office/drawing/2014/main" id="{BE650781-3909-95C7-63CE-887DEF866886}"/>
                </a:ext>
              </a:extLst>
            </p:cNvPr>
            <p:cNvSpPr/>
            <p:nvPr/>
          </p:nvSpPr>
          <p:spPr>
            <a:xfrm>
              <a:off x="10325032" y="3496132"/>
              <a:ext cx="192987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cxnSp>
          <p:nvCxnSpPr>
            <p:cNvPr id="75" name="Google Shape;3754;p66">
              <a:extLst>
                <a:ext uri="{FF2B5EF4-FFF2-40B4-BE49-F238E27FC236}">
                  <a16:creationId xmlns:a16="http://schemas.microsoft.com/office/drawing/2014/main" id="{3F7D440D-5965-976E-CE47-F21DFF131411}"/>
                </a:ext>
              </a:extLst>
            </p:cNvPr>
            <p:cNvCxnSpPr>
              <a:cxnSpLocks/>
            </p:cNvCxnSpPr>
            <p:nvPr/>
          </p:nvCxnSpPr>
          <p:spPr>
            <a:xfrm>
              <a:off x="5092244" y="2311589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76" name="Google Shape;3782;p66">
              <a:extLst>
                <a:ext uri="{FF2B5EF4-FFF2-40B4-BE49-F238E27FC236}">
                  <a16:creationId xmlns:a16="http://schemas.microsoft.com/office/drawing/2014/main" id="{3A542E14-07A5-4B53-5367-37278CD6CC35}"/>
                </a:ext>
              </a:extLst>
            </p:cNvPr>
            <p:cNvCxnSpPr>
              <a:cxnSpLocks/>
            </p:cNvCxnSpPr>
            <p:nvPr/>
          </p:nvCxnSpPr>
          <p:spPr>
            <a:xfrm>
              <a:off x="7276746" y="2311589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77" name="Google Shape;3804;p66">
              <a:extLst>
                <a:ext uri="{FF2B5EF4-FFF2-40B4-BE49-F238E27FC236}">
                  <a16:creationId xmlns:a16="http://schemas.microsoft.com/office/drawing/2014/main" id="{6F503BC8-A3B8-1478-2978-A43F321A2952}"/>
                </a:ext>
              </a:extLst>
            </p:cNvPr>
            <p:cNvCxnSpPr>
              <a:cxnSpLocks/>
            </p:cNvCxnSpPr>
            <p:nvPr/>
          </p:nvCxnSpPr>
          <p:spPr>
            <a:xfrm>
              <a:off x="9461247" y="2311589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78" name="Google Shape;3755;p66">
              <a:extLst>
                <a:ext uri="{FF2B5EF4-FFF2-40B4-BE49-F238E27FC236}">
                  <a16:creationId xmlns:a16="http://schemas.microsoft.com/office/drawing/2014/main" id="{B8760BF9-D4BE-8A0D-7EBF-703AEC2EAD4D}"/>
                </a:ext>
              </a:extLst>
            </p:cNvPr>
            <p:cNvCxnSpPr/>
            <p:nvPr/>
          </p:nvCxnSpPr>
          <p:spPr>
            <a:xfrm>
              <a:off x="5092244" y="2671784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79" name="Google Shape;3783;p66">
              <a:extLst>
                <a:ext uri="{FF2B5EF4-FFF2-40B4-BE49-F238E27FC236}">
                  <a16:creationId xmlns:a16="http://schemas.microsoft.com/office/drawing/2014/main" id="{4D126E69-245C-E5E8-6E74-AB8C2CD41101}"/>
                </a:ext>
              </a:extLst>
            </p:cNvPr>
            <p:cNvCxnSpPr/>
            <p:nvPr/>
          </p:nvCxnSpPr>
          <p:spPr>
            <a:xfrm>
              <a:off x="7276746" y="2671784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80" name="Google Shape;3805;p66">
              <a:extLst>
                <a:ext uri="{FF2B5EF4-FFF2-40B4-BE49-F238E27FC236}">
                  <a16:creationId xmlns:a16="http://schemas.microsoft.com/office/drawing/2014/main" id="{55622025-6B64-03BB-089D-5879FFAAF820}"/>
                </a:ext>
              </a:extLst>
            </p:cNvPr>
            <p:cNvCxnSpPr/>
            <p:nvPr/>
          </p:nvCxnSpPr>
          <p:spPr>
            <a:xfrm>
              <a:off x="9461247" y="2671784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81" name="Google Shape;3756;p66">
              <a:extLst>
                <a:ext uri="{FF2B5EF4-FFF2-40B4-BE49-F238E27FC236}">
                  <a16:creationId xmlns:a16="http://schemas.microsoft.com/office/drawing/2014/main" id="{1CFA28A7-E033-DC22-B277-5CEDD71C7E9C}"/>
                </a:ext>
              </a:extLst>
            </p:cNvPr>
            <p:cNvCxnSpPr/>
            <p:nvPr/>
          </p:nvCxnSpPr>
          <p:spPr>
            <a:xfrm>
              <a:off x="5092244" y="3031979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82" name="Google Shape;3784;p66">
              <a:extLst>
                <a:ext uri="{FF2B5EF4-FFF2-40B4-BE49-F238E27FC236}">
                  <a16:creationId xmlns:a16="http://schemas.microsoft.com/office/drawing/2014/main" id="{03925140-2E60-020F-EAFB-EEF297CE96DF}"/>
                </a:ext>
              </a:extLst>
            </p:cNvPr>
            <p:cNvCxnSpPr/>
            <p:nvPr/>
          </p:nvCxnSpPr>
          <p:spPr>
            <a:xfrm>
              <a:off x="7276746" y="3031979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83" name="Google Shape;3806;p66">
              <a:extLst>
                <a:ext uri="{FF2B5EF4-FFF2-40B4-BE49-F238E27FC236}">
                  <a16:creationId xmlns:a16="http://schemas.microsoft.com/office/drawing/2014/main" id="{7BDCE730-73A3-7999-FAD7-FF5317A942B9}"/>
                </a:ext>
              </a:extLst>
            </p:cNvPr>
            <p:cNvCxnSpPr/>
            <p:nvPr/>
          </p:nvCxnSpPr>
          <p:spPr>
            <a:xfrm>
              <a:off x="9461247" y="3031979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84" name="Google Shape;3757;p66">
              <a:extLst>
                <a:ext uri="{FF2B5EF4-FFF2-40B4-BE49-F238E27FC236}">
                  <a16:creationId xmlns:a16="http://schemas.microsoft.com/office/drawing/2014/main" id="{4677BF9A-47A6-3002-6EA9-DDCCBB49125A}"/>
                </a:ext>
              </a:extLst>
            </p:cNvPr>
            <p:cNvCxnSpPr/>
            <p:nvPr/>
          </p:nvCxnSpPr>
          <p:spPr>
            <a:xfrm>
              <a:off x="5092244" y="3392177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85" name="Google Shape;3785;p66">
              <a:extLst>
                <a:ext uri="{FF2B5EF4-FFF2-40B4-BE49-F238E27FC236}">
                  <a16:creationId xmlns:a16="http://schemas.microsoft.com/office/drawing/2014/main" id="{047F9512-1FCE-AC1B-BC7A-220CF1ED8AC5}"/>
                </a:ext>
              </a:extLst>
            </p:cNvPr>
            <p:cNvCxnSpPr/>
            <p:nvPr/>
          </p:nvCxnSpPr>
          <p:spPr>
            <a:xfrm>
              <a:off x="7276746" y="3392177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86" name="Google Shape;3807;p66">
              <a:extLst>
                <a:ext uri="{FF2B5EF4-FFF2-40B4-BE49-F238E27FC236}">
                  <a16:creationId xmlns:a16="http://schemas.microsoft.com/office/drawing/2014/main" id="{7AF47DC4-0CA5-6753-1523-D47697D14504}"/>
                </a:ext>
              </a:extLst>
            </p:cNvPr>
            <p:cNvCxnSpPr/>
            <p:nvPr/>
          </p:nvCxnSpPr>
          <p:spPr>
            <a:xfrm>
              <a:off x="9461247" y="3392177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87" name="Google Shape;3758;p66">
              <a:extLst>
                <a:ext uri="{FF2B5EF4-FFF2-40B4-BE49-F238E27FC236}">
                  <a16:creationId xmlns:a16="http://schemas.microsoft.com/office/drawing/2014/main" id="{067ED448-304D-3FB5-E21C-C49072D67CFA}"/>
                </a:ext>
              </a:extLst>
            </p:cNvPr>
            <p:cNvCxnSpPr/>
            <p:nvPr/>
          </p:nvCxnSpPr>
          <p:spPr>
            <a:xfrm>
              <a:off x="5092244" y="3752371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88" name="Google Shape;3786;p66">
              <a:extLst>
                <a:ext uri="{FF2B5EF4-FFF2-40B4-BE49-F238E27FC236}">
                  <a16:creationId xmlns:a16="http://schemas.microsoft.com/office/drawing/2014/main" id="{92F25735-FBDC-5569-45EC-87F51695F434}"/>
                </a:ext>
              </a:extLst>
            </p:cNvPr>
            <p:cNvCxnSpPr/>
            <p:nvPr/>
          </p:nvCxnSpPr>
          <p:spPr>
            <a:xfrm>
              <a:off x="7276746" y="3752371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89" name="Google Shape;3808;p66">
              <a:extLst>
                <a:ext uri="{FF2B5EF4-FFF2-40B4-BE49-F238E27FC236}">
                  <a16:creationId xmlns:a16="http://schemas.microsoft.com/office/drawing/2014/main" id="{C96D7044-540F-05BB-65AB-2080A35B1075}"/>
                </a:ext>
              </a:extLst>
            </p:cNvPr>
            <p:cNvCxnSpPr/>
            <p:nvPr/>
          </p:nvCxnSpPr>
          <p:spPr>
            <a:xfrm>
              <a:off x="9461247" y="3752371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90" name="Google Shape;3759;p66">
              <a:extLst>
                <a:ext uri="{FF2B5EF4-FFF2-40B4-BE49-F238E27FC236}">
                  <a16:creationId xmlns:a16="http://schemas.microsoft.com/office/drawing/2014/main" id="{6D2481D5-4648-8645-77F3-3055A8EFB485}"/>
                </a:ext>
              </a:extLst>
            </p:cNvPr>
            <p:cNvCxnSpPr/>
            <p:nvPr/>
          </p:nvCxnSpPr>
          <p:spPr>
            <a:xfrm>
              <a:off x="5092244" y="4112566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91" name="Google Shape;3787;p66">
              <a:extLst>
                <a:ext uri="{FF2B5EF4-FFF2-40B4-BE49-F238E27FC236}">
                  <a16:creationId xmlns:a16="http://schemas.microsoft.com/office/drawing/2014/main" id="{A7A71EA3-1047-04C1-8E86-7422C109CEB5}"/>
                </a:ext>
              </a:extLst>
            </p:cNvPr>
            <p:cNvCxnSpPr/>
            <p:nvPr/>
          </p:nvCxnSpPr>
          <p:spPr>
            <a:xfrm>
              <a:off x="7276746" y="4112566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92" name="Google Shape;3809;p66">
              <a:extLst>
                <a:ext uri="{FF2B5EF4-FFF2-40B4-BE49-F238E27FC236}">
                  <a16:creationId xmlns:a16="http://schemas.microsoft.com/office/drawing/2014/main" id="{41D3D87D-AF79-C2C8-C53B-7A90ECFBA91A}"/>
                </a:ext>
              </a:extLst>
            </p:cNvPr>
            <p:cNvCxnSpPr/>
            <p:nvPr/>
          </p:nvCxnSpPr>
          <p:spPr>
            <a:xfrm>
              <a:off x="9461247" y="4112566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93" name="Google Shape;3760;p66">
              <a:extLst>
                <a:ext uri="{FF2B5EF4-FFF2-40B4-BE49-F238E27FC236}">
                  <a16:creationId xmlns:a16="http://schemas.microsoft.com/office/drawing/2014/main" id="{A84BCA37-AAE4-5F51-41B2-E364C30026BA}"/>
                </a:ext>
              </a:extLst>
            </p:cNvPr>
            <p:cNvCxnSpPr/>
            <p:nvPr/>
          </p:nvCxnSpPr>
          <p:spPr>
            <a:xfrm>
              <a:off x="5092244" y="4472762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94" name="Google Shape;3788;p66">
              <a:extLst>
                <a:ext uri="{FF2B5EF4-FFF2-40B4-BE49-F238E27FC236}">
                  <a16:creationId xmlns:a16="http://schemas.microsoft.com/office/drawing/2014/main" id="{C92A225C-3273-85D7-C278-C7B64DC559D9}"/>
                </a:ext>
              </a:extLst>
            </p:cNvPr>
            <p:cNvCxnSpPr/>
            <p:nvPr/>
          </p:nvCxnSpPr>
          <p:spPr>
            <a:xfrm>
              <a:off x="7276746" y="4472762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95" name="Google Shape;3810;p66">
              <a:extLst>
                <a:ext uri="{FF2B5EF4-FFF2-40B4-BE49-F238E27FC236}">
                  <a16:creationId xmlns:a16="http://schemas.microsoft.com/office/drawing/2014/main" id="{B54093FF-23E4-8B97-86F0-D846942D4636}"/>
                </a:ext>
              </a:extLst>
            </p:cNvPr>
            <p:cNvCxnSpPr/>
            <p:nvPr/>
          </p:nvCxnSpPr>
          <p:spPr>
            <a:xfrm>
              <a:off x="9461247" y="4472762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96" name="Google Shape;3761;p66">
              <a:extLst>
                <a:ext uri="{FF2B5EF4-FFF2-40B4-BE49-F238E27FC236}">
                  <a16:creationId xmlns:a16="http://schemas.microsoft.com/office/drawing/2014/main" id="{9BBCA0CB-F6A5-C6E4-AEF8-6B9323352F29}"/>
                </a:ext>
              </a:extLst>
            </p:cNvPr>
            <p:cNvCxnSpPr/>
            <p:nvPr/>
          </p:nvCxnSpPr>
          <p:spPr>
            <a:xfrm>
              <a:off x="5092244" y="4832958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97" name="Google Shape;3789;p66">
              <a:extLst>
                <a:ext uri="{FF2B5EF4-FFF2-40B4-BE49-F238E27FC236}">
                  <a16:creationId xmlns:a16="http://schemas.microsoft.com/office/drawing/2014/main" id="{5B44CA5D-23F5-6395-B0FB-CC480F52386E}"/>
                </a:ext>
              </a:extLst>
            </p:cNvPr>
            <p:cNvCxnSpPr/>
            <p:nvPr/>
          </p:nvCxnSpPr>
          <p:spPr>
            <a:xfrm>
              <a:off x="7276746" y="4832958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98" name="Google Shape;3811;p66">
              <a:extLst>
                <a:ext uri="{FF2B5EF4-FFF2-40B4-BE49-F238E27FC236}">
                  <a16:creationId xmlns:a16="http://schemas.microsoft.com/office/drawing/2014/main" id="{88A34111-CE0E-1B4B-28C4-F1267397DC2C}"/>
                </a:ext>
              </a:extLst>
            </p:cNvPr>
            <p:cNvCxnSpPr/>
            <p:nvPr/>
          </p:nvCxnSpPr>
          <p:spPr>
            <a:xfrm>
              <a:off x="9461247" y="4832958"/>
              <a:ext cx="1920556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</p:spTree>
    <p:extLst>
      <p:ext uri="{BB962C8B-B14F-4D97-AF65-F5344CB8AC3E}">
        <p14:creationId xmlns:p14="http://schemas.microsoft.com/office/powerpoint/2010/main" val="2215062233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D455BA-BE94-CE7F-940A-8376D81512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F25C47BB-1A49-D6FA-AE38-754152520C2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25C47BB-1A49-D6FA-AE38-754152520C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F5F0759A-326A-FC4B-AB90-3F33E9E57B80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49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93839B6-ABB7-E640-E21D-1DBC5652D3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grpSp>
        <p:nvGrpSpPr>
          <p:cNvPr id="78" name="Group 77">
            <a:extLst>
              <a:ext uri="{FF2B5EF4-FFF2-40B4-BE49-F238E27FC236}">
                <a16:creationId xmlns:a16="http://schemas.microsoft.com/office/drawing/2014/main" id="{B26B2E0D-9CC0-E02D-B363-9990843D0332}"/>
              </a:ext>
            </a:extLst>
          </p:cNvPr>
          <p:cNvGrpSpPr/>
          <p:nvPr/>
        </p:nvGrpSpPr>
        <p:grpSpPr>
          <a:xfrm>
            <a:off x="839683" y="1066799"/>
            <a:ext cx="10668000" cy="4998333"/>
            <a:chOff x="839683" y="1066800"/>
            <a:chExt cx="10668000" cy="4362026"/>
          </a:xfrm>
        </p:grpSpPr>
        <p:sp>
          <p:nvSpPr>
            <p:cNvPr id="2" name="Shape0_20220721_110914">
              <a:extLst>
                <a:ext uri="{FF2B5EF4-FFF2-40B4-BE49-F238E27FC236}">
                  <a16:creationId xmlns:a16="http://schemas.microsoft.com/office/drawing/2014/main" id="{6F1B9198-57E8-A10F-5959-6B7D54C40C05}"/>
                </a:ext>
              </a:extLst>
            </p:cNvPr>
            <p:cNvSpPr/>
            <p:nvPr/>
          </p:nvSpPr>
          <p:spPr>
            <a:xfrm>
              <a:off x="839683" y="1066800"/>
              <a:ext cx="4089399" cy="4362026"/>
            </a:xfrm>
            <a:custGeom>
              <a:avLst/>
              <a:gdLst/>
              <a:ahLst/>
              <a:cxnLst/>
              <a:rect l="l" t="t" r="r" b="b"/>
              <a:pathLst>
                <a:path w="2891927" h="5618602" extrusionOk="0">
                  <a:moveTo>
                    <a:pt x="2767988" y="5618603"/>
                  </a:moveTo>
                  <a:lnTo>
                    <a:pt x="123940" y="5618603"/>
                  </a:lnTo>
                  <a:cubicBezTo>
                    <a:pt x="55478" y="5618603"/>
                    <a:pt x="0" y="5563125"/>
                    <a:pt x="0" y="5494663"/>
                  </a:cubicBezTo>
                  <a:lnTo>
                    <a:pt x="0" y="123940"/>
                  </a:lnTo>
                  <a:cubicBezTo>
                    <a:pt x="0" y="55478"/>
                    <a:pt x="55478" y="0"/>
                    <a:pt x="123940" y="0"/>
                  </a:cubicBezTo>
                  <a:lnTo>
                    <a:pt x="2767988" y="0"/>
                  </a:lnTo>
                  <a:cubicBezTo>
                    <a:pt x="2836450" y="0"/>
                    <a:pt x="2891928" y="55478"/>
                    <a:pt x="2891928" y="123940"/>
                  </a:cubicBezTo>
                  <a:lnTo>
                    <a:pt x="2891928" y="5494663"/>
                  </a:lnTo>
                  <a:cubicBezTo>
                    <a:pt x="2891928" y="5563125"/>
                    <a:pt x="2836450" y="5618603"/>
                    <a:pt x="2767988" y="5618603"/>
                  </a:cubicBezTo>
                  <a:close/>
                </a:path>
              </a:pathLst>
            </a:custGeom>
            <a:noFill/>
            <a:ln>
              <a:noFill/>
            </a:ln>
            <a:effectLst/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27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" name="Google Shape;3712;p66">
              <a:extLst>
                <a:ext uri="{FF2B5EF4-FFF2-40B4-BE49-F238E27FC236}">
                  <a16:creationId xmlns:a16="http://schemas.microsoft.com/office/drawing/2014/main" id="{833C6791-994A-8143-6F51-45431035B230}"/>
                </a:ext>
              </a:extLst>
            </p:cNvPr>
            <p:cNvSpPr/>
            <p:nvPr/>
          </p:nvSpPr>
          <p:spPr>
            <a:xfrm>
              <a:off x="933347" y="1123919"/>
              <a:ext cx="3910433" cy="80447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pPr algn="ctr"/>
              <a:r>
                <a:rPr lang="en-US" sz="1471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Title</a:t>
              </a:r>
              <a:endParaRPr sz="14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" name="Google Shape;3718;p66">
              <a:extLst>
                <a:ext uri="{FF2B5EF4-FFF2-40B4-BE49-F238E27FC236}">
                  <a16:creationId xmlns:a16="http://schemas.microsoft.com/office/drawing/2014/main" id="{2DA2D89E-F441-E850-A563-B5DCA1DDEE04}"/>
                </a:ext>
              </a:extLst>
            </p:cNvPr>
            <p:cNvSpPr txBox="1"/>
            <p:nvPr/>
          </p:nvSpPr>
          <p:spPr>
            <a:xfrm>
              <a:off x="1030584" y="3833707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7" name="Google Shape;3719;p66">
              <a:extLst>
                <a:ext uri="{FF2B5EF4-FFF2-40B4-BE49-F238E27FC236}">
                  <a16:creationId xmlns:a16="http://schemas.microsoft.com/office/drawing/2014/main" id="{36903CC1-1BE0-6AC6-1A16-91832D83B743}"/>
                </a:ext>
              </a:extLst>
            </p:cNvPr>
            <p:cNvSpPr txBox="1"/>
            <p:nvPr/>
          </p:nvSpPr>
          <p:spPr>
            <a:xfrm>
              <a:off x="1030584" y="4193902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8" name="Google Shape;3720;p66">
              <a:extLst>
                <a:ext uri="{FF2B5EF4-FFF2-40B4-BE49-F238E27FC236}">
                  <a16:creationId xmlns:a16="http://schemas.microsoft.com/office/drawing/2014/main" id="{161BCE97-2A0C-BEF6-4988-59A2C88F97C7}"/>
                </a:ext>
              </a:extLst>
            </p:cNvPr>
            <p:cNvSpPr txBox="1"/>
            <p:nvPr/>
          </p:nvSpPr>
          <p:spPr>
            <a:xfrm>
              <a:off x="1030584" y="4554097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9" name="Google Shape;3713;p66">
              <a:extLst>
                <a:ext uri="{FF2B5EF4-FFF2-40B4-BE49-F238E27FC236}">
                  <a16:creationId xmlns:a16="http://schemas.microsoft.com/office/drawing/2014/main" id="{BB6A242D-3107-1CBD-8E2D-74E6EE1935C6}"/>
                </a:ext>
              </a:extLst>
            </p:cNvPr>
            <p:cNvSpPr txBox="1"/>
            <p:nvPr/>
          </p:nvSpPr>
          <p:spPr>
            <a:xfrm>
              <a:off x="1030584" y="2032727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10" name="Google Shape;3714;p66">
              <a:extLst>
                <a:ext uri="{FF2B5EF4-FFF2-40B4-BE49-F238E27FC236}">
                  <a16:creationId xmlns:a16="http://schemas.microsoft.com/office/drawing/2014/main" id="{0BC086D7-2D11-A6D2-B665-714FC7DBE38F}"/>
                </a:ext>
              </a:extLst>
            </p:cNvPr>
            <p:cNvSpPr txBox="1"/>
            <p:nvPr/>
          </p:nvSpPr>
          <p:spPr>
            <a:xfrm>
              <a:off x="1030584" y="2392924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11" name="Google Shape;3715;p66">
              <a:extLst>
                <a:ext uri="{FF2B5EF4-FFF2-40B4-BE49-F238E27FC236}">
                  <a16:creationId xmlns:a16="http://schemas.microsoft.com/office/drawing/2014/main" id="{B9CA6016-42F8-53CD-4C81-8F967D924738}"/>
                </a:ext>
              </a:extLst>
            </p:cNvPr>
            <p:cNvSpPr txBox="1"/>
            <p:nvPr/>
          </p:nvSpPr>
          <p:spPr>
            <a:xfrm>
              <a:off x="1030584" y="2753118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12" name="Google Shape;3716;p66">
              <a:extLst>
                <a:ext uri="{FF2B5EF4-FFF2-40B4-BE49-F238E27FC236}">
                  <a16:creationId xmlns:a16="http://schemas.microsoft.com/office/drawing/2014/main" id="{3BCCAAAB-E73C-69C9-B1E7-08A6E9A77C5A}"/>
                </a:ext>
              </a:extLst>
            </p:cNvPr>
            <p:cNvSpPr txBox="1"/>
            <p:nvPr/>
          </p:nvSpPr>
          <p:spPr>
            <a:xfrm>
              <a:off x="1030584" y="3113314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13" name="Google Shape;3717;p66">
              <a:extLst>
                <a:ext uri="{FF2B5EF4-FFF2-40B4-BE49-F238E27FC236}">
                  <a16:creationId xmlns:a16="http://schemas.microsoft.com/office/drawing/2014/main" id="{03D7A7B7-F877-D040-E366-975673B9A836}"/>
                </a:ext>
              </a:extLst>
            </p:cNvPr>
            <p:cNvSpPr txBox="1"/>
            <p:nvPr/>
          </p:nvSpPr>
          <p:spPr>
            <a:xfrm>
              <a:off x="1030584" y="3473509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cxnSp>
          <p:nvCxnSpPr>
            <p:cNvPr id="14" name="Google Shape;3721;p66">
              <a:extLst>
                <a:ext uri="{FF2B5EF4-FFF2-40B4-BE49-F238E27FC236}">
                  <a16:creationId xmlns:a16="http://schemas.microsoft.com/office/drawing/2014/main" id="{94DE03FF-F0FD-964D-B849-6F69F191F3EA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2311589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5" name="Google Shape;3722;p66">
              <a:extLst>
                <a:ext uri="{FF2B5EF4-FFF2-40B4-BE49-F238E27FC236}">
                  <a16:creationId xmlns:a16="http://schemas.microsoft.com/office/drawing/2014/main" id="{ED72B6A6-37E7-D1BB-E1CE-E4470E89AB4B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2671784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6" name="Google Shape;3723;p66">
              <a:extLst>
                <a:ext uri="{FF2B5EF4-FFF2-40B4-BE49-F238E27FC236}">
                  <a16:creationId xmlns:a16="http://schemas.microsoft.com/office/drawing/2014/main" id="{BF03E712-F62F-B679-A0B6-D34525BE0B88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3031979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7" name="Google Shape;3724;p66">
              <a:extLst>
                <a:ext uri="{FF2B5EF4-FFF2-40B4-BE49-F238E27FC236}">
                  <a16:creationId xmlns:a16="http://schemas.microsoft.com/office/drawing/2014/main" id="{17727D66-67B2-BB21-CCE6-2B3F1191387B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3392177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8" name="Google Shape;3725;p66">
              <a:extLst>
                <a:ext uri="{FF2B5EF4-FFF2-40B4-BE49-F238E27FC236}">
                  <a16:creationId xmlns:a16="http://schemas.microsoft.com/office/drawing/2014/main" id="{6DCA5F53-27DE-8EBE-0776-5FE313483693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3752371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9" name="Google Shape;3726;p66">
              <a:extLst>
                <a:ext uri="{FF2B5EF4-FFF2-40B4-BE49-F238E27FC236}">
                  <a16:creationId xmlns:a16="http://schemas.microsoft.com/office/drawing/2014/main" id="{0BC52E37-96C8-5C79-8FCD-257F278A857E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4112566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0" name="Google Shape;3727;p66">
              <a:extLst>
                <a:ext uri="{FF2B5EF4-FFF2-40B4-BE49-F238E27FC236}">
                  <a16:creationId xmlns:a16="http://schemas.microsoft.com/office/drawing/2014/main" id="{F56738A8-A99F-9E55-936D-4E86CBF00175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4472762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1" name="Google Shape;3728;p66">
              <a:extLst>
                <a:ext uri="{FF2B5EF4-FFF2-40B4-BE49-F238E27FC236}">
                  <a16:creationId xmlns:a16="http://schemas.microsoft.com/office/drawing/2014/main" id="{D01333C7-F3A8-1FD9-5A4F-3444BB7FE757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4832958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22" name="Shape1_20220721_110914">
              <a:extLst>
                <a:ext uri="{FF2B5EF4-FFF2-40B4-BE49-F238E27FC236}">
                  <a16:creationId xmlns:a16="http://schemas.microsoft.com/office/drawing/2014/main" id="{8DE9FBE0-A2F4-3DFE-C730-9DD02B097DE1}"/>
                </a:ext>
              </a:extLst>
            </p:cNvPr>
            <p:cNvSpPr/>
            <p:nvPr/>
          </p:nvSpPr>
          <p:spPr>
            <a:xfrm>
              <a:off x="4947101" y="1066800"/>
              <a:ext cx="3263909" cy="4362026"/>
            </a:xfrm>
            <a:custGeom>
              <a:avLst/>
              <a:gdLst/>
              <a:ahLst/>
              <a:cxnLst/>
              <a:rect l="l" t="t" r="r" b="b"/>
              <a:pathLst>
                <a:path w="1652530" h="5618602" extrusionOk="0">
                  <a:moveTo>
                    <a:pt x="1528590" y="5618603"/>
                  </a:moveTo>
                  <a:lnTo>
                    <a:pt x="123940" y="5618603"/>
                  </a:lnTo>
                  <a:cubicBezTo>
                    <a:pt x="55478" y="5618603"/>
                    <a:pt x="0" y="5563125"/>
                    <a:pt x="0" y="5494663"/>
                  </a:cubicBezTo>
                  <a:lnTo>
                    <a:pt x="0" y="123940"/>
                  </a:lnTo>
                  <a:cubicBezTo>
                    <a:pt x="0" y="55478"/>
                    <a:pt x="55478" y="0"/>
                    <a:pt x="123940" y="0"/>
                  </a:cubicBezTo>
                  <a:lnTo>
                    <a:pt x="1528590" y="0"/>
                  </a:lnTo>
                  <a:cubicBezTo>
                    <a:pt x="1597052" y="0"/>
                    <a:pt x="1652530" y="55478"/>
                    <a:pt x="1652530" y="123940"/>
                  </a:cubicBezTo>
                  <a:lnTo>
                    <a:pt x="1652530" y="5494663"/>
                  </a:lnTo>
                  <a:cubicBezTo>
                    <a:pt x="1652530" y="5563125"/>
                    <a:pt x="1597052" y="5618603"/>
                    <a:pt x="1528590" y="5618603"/>
                  </a:cubicBezTo>
                  <a:close/>
                </a:path>
              </a:pathLst>
            </a:custGeom>
            <a:noFill/>
            <a:ln>
              <a:noFill/>
            </a:ln>
            <a:effectLst/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27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3" name="Google Shape;3730;p66">
              <a:extLst>
                <a:ext uri="{FF2B5EF4-FFF2-40B4-BE49-F238E27FC236}">
                  <a16:creationId xmlns:a16="http://schemas.microsoft.com/office/drawing/2014/main" id="{281E1F0C-1646-C29D-765C-E89A385DB0F5}"/>
                </a:ext>
              </a:extLst>
            </p:cNvPr>
            <p:cNvSpPr/>
            <p:nvPr/>
          </p:nvSpPr>
          <p:spPr>
            <a:xfrm>
              <a:off x="5092946" y="1123919"/>
              <a:ext cx="3002800" cy="80447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4" name="Google Shape;3731;p66">
              <a:extLst>
                <a:ext uri="{FF2B5EF4-FFF2-40B4-BE49-F238E27FC236}">
                  <a16:creationId xmlns:a16="http://schemas.microsoft.com/office/drawing/2014/main" id="{2FB9E215-0CBC-002D-F62C-6C7102F89350}"/>
                </a:ext>
              </a:extLst>
            </p:cNvPr>
            <p:cNvSpPr/>
            <p:nvPr/>
          </p:nvSpPr>
          <p:spPr>
            <a:xfrm>
              <a:off x="5106591" y="4933092"/>
              <a:ext cx="3002800" cy="442652"/>
            </a:xfrm>
            <a:prstGeom prst="roundRect">
              <a:avLst>
                <a:gd name="adj" fmla="val 11531"/>
              </a:avLst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pPr algn="ctr"/>
              <a:r>
                <a:rPr lang="en-US" sz="147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</a:p>
          </p:txBody>
        </p:sp>
        <p:sp>
          <p:nvSpPr>
            <p:cNvPr id="25" name="Google Shape;3732;p66">
              <a:extLst>
                <a:ext uri="{FF2B5EF4-FFF2-40B4-BE49-F238E27FC236}">
                  <a16:creationId xmlns:a16="http://schemas.microsoft.com/office/drawing/2014/main" id="{B54D4BF2-ED90-3784-9F4F-D7E668C38E0F}"/>
                </a:ext>
              </a:extLst>
            </p:cNvPr>
            <p:cNvSpPr txBox="1"/>
            <p:nvPr/>
          </p:nvSpPr>
          <p:spPr>
            <a:xfrm>
              <a:off x="5433832" y="1210814"/>
              <a:ext cx="2321023" cy="27268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5284" tIns="42642" rIns="85284" bIns="42642" anchor="ctr" anchorCtr="0">
              <a:spAutoFit/>
            </a:bodyPr>
            <a:lstStyle/>
            <a:p>
              <a:pPr algn="ctr"/>
              <a:r>
                <a:rPr lang="en-US" sz="1471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Title</a:t>
              </a:r>
              <a:endParaRPr sz="1471" b="1" dirty="0">
                <a:solidFill>
                  <a:schemeClr val="lt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6" name="Google Shape;3733;p66">
              <a:extLst>
                <a:ext uri="{FF2B5EF4-FFF2-40B4-BE49-F238E27FC236}">
                  <a16:creationId xmlns:a16="http://schemas.microsoft.com/office/drawing/2014/main" id="{2AC9D266-0586-269F-F2E6-3B1EDE1809B5}"/>
                </a:ext>
              </a:extLst>
            </p:cNvPr>
            <p:cNvSpPr txBox="1"/>
            <p:nvPr/>
          </p:nvSpPr>
          <p:spPr>
            <a:xfrm>
              <a:off x="5604493" y="1548360"/>
              <a:ext cx="1979705" cy="27268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5284" tIns="42642" rIns="85284" bIns="42642" anchor="ctr" anchorCtr="0">
              <a:spAutoFit/>
            </a:bodyPr>
            <a:lstStyle/>
            <a:p>
              <a:pPr algn="ctr"/>
              <a:r>
                <a:rPr lang="en-US" sz="1471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$x</a:t>
              </a:r>
              <a:endParaRPr sz="14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7" name="Shape1_20220929_150613">
              <a:extLst>
                <a:ext uri="{FF2B5EF4-FFF2-40B4-BE49-F238E27FC236}">
                  <a16:creationId xmlns:a16="http://schemas.microsoft.com/office/drawing/2014/main" id="{9442BCB3-0EE2-83C9-5963-680AA5E4DF80}"/>
                </a:ext>
              </a:extLst>
            </p:cNvPr>
            <p:cNvSpPr/>
            <p:nvPr/>
          </p:nvSpPr>
          <p:spPr>
            <a:xfrm>
              <a:off x="6485570" y="4603324"/>
              <a:ext cx="128016" cy="128016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3335" y="118697"/>
                  </a:move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81"/>
                    <a:pt x="123143" y="14981"/>
                    <a:pt x="118697" y="19388"/>
                  </a:cubicBez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8" name="Shape2_20220929_150613">
              <a:extLst>
                <a:ext uri="{FF2B5EF4-FFF2-40B4-BE49-F238E27FC236}">
                  <a16:creationId xmlns:a16="http://schemas.microsoft.com/office/drawing/2014/main" id="{3F37C8EB-1C9D-B4EE-9FB4-1C0C65B65CBB}"/>
                </a:ext>
              </a:extLst>
            </p:cNvPr>
            <p:cNvSpPr/>
            <p:nvPr/>
          </p:nvSpPr>
          <p:spPr>
            <a:xfrm>
              <a:off x="6485570" y="4603324"/>
              <a:ext cx="128016" cy="128016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02644" y="118697"/>
                  </a:move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90"/>
                    <a:pt x="123143" y="114290"/>
                    <a:pt x="118697" y="118697"/>
                  </a:cubicBezTo>
                  <a:cubicBezTo>
                    <a:pt x="114290" y="123143"/>
                    <a:pt x="107090" y="123143"/>
                    <a:pt x="102644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9" name="Shape3_20220929_150613">
              <a:extLst>
                <a:ext uri="{FF2B5EF4-FFF2-40B4-BE49-F238E27FC236}">
                  <a16:creationId xmlns:a16="http://schemas.microsoft.com/office/drawing/2014/main" id="{953CA1B2-2D75-78B3-6E66-A59F131F7B56}"/>
                </a:ext>
              </a:extLst>
            </p:cNvPr>
            <p:cNvSpPr/>
            <p:nvPr/>
          </p:nvSpPr>
          <p:spPr>
            <a:xfrm>
              <a:off x="6485570" y="4243146"/>
              <a:ext cx="128016" cy="128016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18697"/>
                  </a:moveTo>
                  <a:cubicBezTo>
                    <a:pt x="114251" y="123143"/>
                    <a:pt x="107050" y="123143"/>
                    <a:pt x="102644" y="118697"/>
                  </a:cubicBez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50"/>
                    <a:pt x="123143" y="114251"/>
                    <a:pt x="118697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0" name="Shape0_20220929_150613">
              <a:extLst>
                <a:ext uri="{FF2B5EF4-FFF2-40B4-BE49-F238E27FC236}">
                  <a16:creationId xmlns:a16="http://schemas.microsoft.com/office/drawing/2014/main" id="{771DC6E0-D62D-88FC-66A0-2F3C904648CC}"/>
                </a:ext>
              </a:extLst>
            </p:cNvPr>
            <p:cNvSpPr/>
            <p:nvPr/>
          </p:nvSpPr>
          <p:spPr>
            <a:xfrm>
              <a:off x="6485570" y="4243113"/>
              <a:ext cx="128016" cy="128016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9388"/>
                  </a:move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81"/>
                    <a:pt x="123143" y="14981"/>
                    <a:pt x="118697" y="19388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1" name="Shape4_20220929_150613">
              <a:extLst>
                <a:ext uri="{FF2B5EF4-FFF2-40B4-BE49-F238E27FC236}">
                  <a16:creationId xmlns:a16="http://schemas.microsoft.com/office/drawing/2014/main" id="{422A578A-AE83-A606-29DC-18E203E1F939}"/>
                </a:ext>
              </a:extLst>
            </p:cNvPr>
            <p:cNvSpPr/>
            <p:nvPr/>
          </p:nvSpPr>
          <p:spPr>
            <a:xfrm>
              <a:off x="6485570" y="3882935"/>
              <a:ext cx="128016" cy="128016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18697"/>
                  </a:moveTo>
                  <a:cubicBezTo>
                    <a:pt x="114251" y="123143"/>
                    <a:pt x="107050" y="123143"/>
                    <a:pt x="102644" y="118697"/>
                  </a:cubicBez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90"/>
                    <a:pt x="123143" y="114251"/>
                    <a:pt x="118697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2" name="Shape5_20220929_150613">
              <a:extLst>
                <a:ext uri="{FF2B5EF4-FFF2-40B4-BE49-F238E27FC236}">
                  <a16:creationId xmlns:a16="http://schemas.microsoft.com/office/drawing/2014/main" id="{A7197D87-D641-0105-277A-B22EDEBF9F2F}"/>
                </a:ext>
              </a:extLst>
            </p:cNvPr>
            <p:cNvSpPr/>
            <p:nvPr/>
          </p:nvSpPr>
          <p:spPr>
            <a:xfrm>
              <a:off x="6485570" y="3882935"/>
              <a:ext cx="128016" cy="128016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9388"/>
                  </a:move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41"/>
                    <a:pt x="123143" y="14941"/>
                    <a:pt x="118697" y="19388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3" name="Shape2_20220721_110914">
              <a:extLst>
                <a:ext uri="{FF2B5EF4-FFF2-40B4-BE49-F238E27FC236}">
                  <a16:creationId xmlns:a16="http://schemas.microsoft.com/office/drawing/2014/main" id="{9F80F816-69C6-137E-24D9-CED397F5783D}"/>
                </a:ext>
              </a:extLst>
            </p:cNvPr>
            <p:cNvSpPr/>
            <p:nvPr/>
          </p:nvSpPr>
          <p:spPr>
            <a:xfrm>
              <a:off x="8243774" y="1066800"/>
              <a:ext cx="3263909" cy="4362026"/>
            </a:xfrm>
            <a:custGeom>
              <a:avLst/>
              <a:gdLst/>
              <a:ahLst/>
              <a:cxnLst/>
              <a:rect l="l" t="t" r="r" b="b"/>
              <a:pathLst>
                <a:path w="1652530" h="5618602" extrusionOk="0">
                  <a:moveTo>
                    <a:pt x="1528590" y="5618603"/>
                  </a:moveTo>
                  <a:lnTo>
                    <a:pt x="123940" y="5618603"/>
                  </a:lnTo>
                  <a:cubicBezTo>
                    <a:pt x="55478" y="5618603"/>
                    <a:pt x="0" y="5563125"/>
                    <a:pt x="0" y="5494663"/>
                  </a:cubicBezTo>
                  <a:lnTo>
                    <a:pt x="0" y="123940"/>
                  </a:lnTo>
                  <a:cubicBezTo>
                    <a:pt x="0" y="55478"/>
                    <a:pt x="55478" y="0"/>
                    <a:pt x="123940" y="0"/>
                  </a:cubicBezTo>
                  <a:lnTo>
                    <a:pt x="1528590" y="0"/>
                  </a:lnTo>
                  <a:cubicBezTo>
                    <a:pt x="1597052" y="0"/>
                    <a:pt x="1652530" y="55478"/>
                    <a:pt x="1652530" y="123940"/>
                  </a:cubicBezTo>
                  <a:lnTo>
                    <a:pt x="1652530" y="5494663"/>
                  </a:lnTo>
                  <a:cubicBezTo>
                    <a:pt x="1652530" y="5563125"/>
                    <a:pt x="1597052" y="5618603"/>
                    <a:pt x="1528590" y="5618603"/>
                  </a:cubicBezTo>
                  <a:close/>
                </a:path>
              </a:pathLst>
            </a:custGeom>
            <a:noFill/>
            <a:ln>
              <a:noFill/>
            </a:ln>
            <a:effectLst/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27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4" name="Shape0_20220721_110731">
              <a:extLst>
                <a:ext uri="{FF2B5EF4-FFF2-40B4-BE49-F238E27FC236}">
                  <a16:creationId xmlns:a16="http://schemas.microsoft.com/office/drawing/2014/main" id="{D213CC24-81EA-9EB0-2AAE-C369FD693CB6}"/>
                </a:ext>
              </a:extLst>
            </p:cNvPr>
            <p:cNvSpPr/>
            <p:nvPr/>
          </p:nvSpPr>
          <p:spPr>
            <a:xfrm>
              <a:off x="8414616" y="1123919"/>
              <a:ext cx="2937521" cy="804473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5" name="Shape1_20220721_110731">
              <a:extLst>
                <a:ext uri="{FF2B5EF4-FFF2-40B4-BE49-F238E27FC236}">
                  <a16:creationId xmlns:a16="http://schemas.microsoft.com/office/drawing/2014/main" id="{55184109-B316-226E-598C-3B04AA547EC6}"/>
                </a:ext>
              </a:extLst>
            </p:cNvPr>
            <p:cNvSpPr/>
            <p:nvPr/>
          </p:nvSpPr>
          <p:spPr>
            <a:xfrm>
              <a:off x="8388794" y="4933092"/>
              <a:ext cx="3002800" cy="442652"/>
            </a:xfrm>
            <a:prstGeom prst="roundRect">
              <a:avLst>
                <a:gd name="adj" fmla="val 11531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pPr algn="ctr"/>
              <a:r>
                <a:rPr lang="en-US" sz="147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</a:p>
          </p:txBody>
        </p:sp>
        <p:sp>
          <p:nvSpPr>
            <p:cNvPr id="36" name="Google Shape;3766;p66">
              <a:extLst>
                <a:ext uri="{FF2B5EF4-FFF2-40B4-BE49-F238E27FC236}">
                  <a16:creationId xmlns:a16="http://schemas.microsoft.com/office/drawing/2014/main" id="{8BA9C286-9E64-19FA-0C66-196D37388ABC}"/>
                </a:ext>
              </a:extLst>
            </p:cNvPr>
            <p:cNvSpPr txBox="1"/>
            <p:nvPr/>
          </p:nvSpPr>
          <p:spPr>
            <a:xfrm>
              <a:off x="8722862" y="1210814"/>
              <a:ext cx="2321023" cy="27268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5284" tIns="42642" rIns="85284" bIns="42642" anchor="ctr" anchorCtr="0">
              <a:spAutoFit/>
            </a:bodyPr>
            <a:lstStyle/>
            <a:p>
              <a:pPr algn="ctr"/>
              <a:r>
                <a:rPr lang="en-US" sz="1471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Title</a:t>
              </a:r>
              <a:endParaRPr sz="1471" b="1" dirty="0">
                <a:solidFill>
                  <a:schemeClr val="lt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7" name="Google Shape;3767;p66">
              <a:extLst>
                <a:ext uri="{FF2B5EF4-FFF2-40B4-BE49-F238E27FC236}">
                  <a16:creationId xmlns:a16="http://schemas.microsoft.com/office/drawing/2014/main" id="{1DAE6843-9434-9A29-2790-BB88B9A82CF9}"/>
                </a:ext>
              </a:extLst>
            </p:cNvPr>
            <p:cNvSpPr txBox="1"/>
            <p:nvPr/>
          </p:nvSpPr>
          <p:spPr>
            <a:xfrm>
              <a:off x="8893526" y="1548360"/>
              <a:ext cx="1979705" cy="27268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5284" tIns="42642" rIns="85284" bIns="42642" anchor="ctr" anchorCtr="0">
              <a:spAutoFit/>
            </a:bodyPr>
            <a:lstStyle/>
            <a:p>
              <a:pPr algn="ctr"/>
              <a:r>
                <a:rPr lang="en-US" sz="1471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$x</a:t>
              </a:r>
              <a:endParaRPr sz="14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8" name="Shape1_20220929_150606">
              <a:extLst>
                <a:ext uri="{FF2B5EF4-FFF2-40B4-BE49-F238E27FC236}">
                  <a16:creationId xmlns:a16="http://schemas.microsoft.com/office/drawing/2014/main" id="{F921BFD0-8958-1954-31F6-5FE5B3E2876F}"/>
                </a:ext>
              </a:extLst>
            </p:cNvPr>
            <p:cNvSpPr/>
            <p:nvPr/>
          </p:nvSpPr>
          <p:spPr>
            <a:xfrm>
              <a:off x="9745216" y="3852745"/>
              <a:ext cx="170688" cy="128016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7"/>
                  </a:cubicBezTo>
                  <a:lnTo>
                    <a:pt x="1367" y="77344"/>
                  </a:lnTo>
                  <a:cubicBezTo>
                    <a:pt x="-1623" y="71836"/>
                    <a:pt x="462" y="64911"/>
                    <a:pt x="5971" y="61960"/>
                  </a:cubicBezTo>
                  <a:cubicBezTo>
                    <a:pt x="11479" y="58969"/>
                    <a:pt x="18365" y="61055"/>
                    <a:pt x="21355" y="66563"/>
                  </a:cubicBezTo>
                  <a:lnTo>
                    <a:pt x="54484" y="127904"/>
                  </a:lnTo>
                  <a:lnTo>
                    <a:pt x="120310" y="5971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7"/>
                  </a:lnTo>
                  <a:cubicBezTo>
                    <a:pt x="62511" y="160876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9" name="Shape6_20220929_150613">
              <a:extLst>
                <a:ext uri="{FF2B5EF4-FFF2-40B4-BE49-F238E27FC236}">
                  <a16:creationId xmlns:a16="http://schemas.microsoft.com/office/drawing/2014/main" id="{87A26692-7F8D-D047-7955-4E1665F42BF0}"/>
                </a:ext>
              </a:extLst>
            </p:cNvPr>
            <p:cNvSpPr/>
            <p:nvPr/>
          </p:nvSpPr>
          <p:spPr>
            <a:xfrm>
              <a:off x="9776670" y="4603324"/>
              <a:ext cx="128016" cy="128016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3335" y="118697"/>
                  </a:move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81"/>
                    <a:pt x="123143" y="14981"/>
                    <a:pt x="118697" y="19388"/>
                  </a:cubicBez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0" name="Shape7_20220929_150613">
              <a:extLst>
                <a:ext uri="{FF2B5EF4-FFF2-40B4-BE49-F238E27FC236}">
                  <a16:creationId xmlns:a16="http://schemas.microsoft.com/office/drawing/2014/main" id="{59274338-6566-1B6D-6C78-3D49FE6B3271}"/>
                </a:ext>
              </a:extLst>
            </p:cNvPr>
            <p:cNvSpPr/>
            <p:nvPr/>
          </p:nvSpPr>
          <p:spPr>
            <a:xfrm>
              <a:off x="9776670" y="4603324"/>
              <a:ext cx="128016" cy="128016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02644" y="118697"/>
                  </a:move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90"/>
                    <a:pt x="123143" y="114290"/>
                    <a:pt x="118697" y="118697"/>
                  </a:cubicBezTo>
                  <a:cubicBezTo>
                    <a:pt x="114290" y="123143"/>
                    <a:pt x="107090" y="123143"/>
                    <a:pt x="102644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1" name="Shape8_20220929_150613">
              <a:extLst>
                <a:ext uri="{FF2B5EF4-FFF2-40B4-BE49-F238E27FC236}">
                  <a16:creationId xmlns:a16="http://schemas.microsoft.com/office/drawing/2014/main" id="{B452EE10-1BE5-238B-6C17-C5B330C2CFA0}"/>
                </a:ext>
              </a:extLst>
            </p:cNvPr>
            <p:cNvSpPr/>
            <p:nvPr/>
          </p:nvSpPr>
          <p:spPr>
            <a:xfrm>
              <a:off x="9776670" y="4243146"/>
              <a:ext cx="128016" cy="128016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18697"/>
                  </a:moveTo>
                  <a:cubicBezTo>
                    <a:pt x="114251" y="123143"/>
                    <a:pt x="107050" y="123143"/>
                    <a:pt x="102644" y="118697"/>
                  </a:cubicBez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50"/>
                    <a:pt x="123143" y="114251"/>
                    <a:pt x="118697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2" name="Shape9_20220929_150613">
              <a:extLst>
                <a:ext uri="{FF2B5EF4-FFF2-40B4-BE49-F238E27FC236}">
                  <a16:creationId xmlns:a16="http://schemas.microsoft.com/office/drawing/2014/main" id="{B3051A5D-4684-6203-BF85-7C01E2ACF82C}"/>
                </a:ext>
              </a:extLst>
            </p:cNvPr>
            <p:cNvSpPr/>
            <p:nvPr/>
          </p:nvSpPr>
          <p:spPr>
            <a:xfrm>
              <a:off x="9776670" y="4243113"/>
              <a:ext cx="128016" cy="128016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9388"/>
                  </a:move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81"/>
                    <a:pt x="123143" y="14981"/>
                    <a:pt x="118697" y="19388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3" name="Shape0_20220929_150606">
              <a:extLst>
                <a:ext uri="{FF2B5EF4-FFF2-40B4-BE49-F238E27FC236}">
                  <a16:creationId xmlns:a16="http://schemas.microsoft.com/office/drawing/2014/main" id="{2A3DFEB8-54F8-5EF6-B9D1-410F63CD548A}"/>
                </a:ext>
              </a:extLst>
            </p:cNvPr>
            <p:cNvSpPr/>
            <p:nvPr/>
          </p:nvSpPr>
          <p:spPr>
            <a:xfrm>
              <a:off x="6463012" y="2077376"/>
              <a:ext cx="170688" cy="128016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6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4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4" name="Shape2_20220929_150606">
              <a:extLst>
                <a:ext uri="{FF2B5EF4-FFF2-40B4-BE49-F238E27FC236}">
                  <a16:creationId xmlns:a16="http://schemas.microsoft.com/office/drawing/2014/main" id="{D1E5BA7B-D1D6-004B-0777-56853693D50D}"/>
                </a:ext>
              </a:extLst>
            </p:cNvPr>
            <p:cNvSpPr/>
            <p:nvPr/>
          </p:nvSpPr>
          <p:spPr>
            <a:xfrm>
              <a:off x="9745216" y="2077376"/>
              <a:ext cx="170688" cy="128016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6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4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5" name="Shape3_20220929_150606">
              <a:extLst>
                <a:ext uri="{FF2B5EF4-FFF2-40B4-BE49-F238E27FC236}">
                  <a16:creationId xmlns:a16="http://schemas.microsoft.com/office/drawing/2014/main" id="{E393491D-E637-38E7-2633-ADBDD7081131}"/>
                </a:ext>
              </a:extLst>
            </p:cNvPr>
            <p:cNvSpPr/>
            <p:nvPr/>
          </p:nvSpPr>
          <p:spPr>
            <a:xfrm>
              <a:off x="6463012" y="2437571"/>
              <a:ext cx="170688" cy="128016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50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6" name="Shape4_20220929_150606">
              <a:extLst>
                <a:ext uri="{FF2B5EF4-FFF2-40B4-BE49-F238E27FC236}">
                  <a16:creationId xmlns:a16="http://schemas.microsoft.com/office/drawing/2014/main" id="{5B408D6E-22B3-9707-E7C4-C80A9FAD493D}"/>
                </a:ext>
              </a:extLst>
            </p:cNvPr>
            <p:cNvSpPr/>
            <p:nvPr/>
          </p:nvSpPr>
          <p:spPr>
            <a:xfrm>
              <a:off x="9745216" y="2437571"/>
              <a:ext cx="170688" cy="128016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50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FFBE5BC1-A3DD-38FF-D86B-FA945486A3F0}"/>
                </a:ext>
              </a:extLst>
            </p:cNvPr>
            <p:cNvGrpSpPr/>
            <p:nvPr/>
          </p:nvGrpSpPr>
          <p:grpSpPr>
            <a:xfrm>
              <a:off x="6485570" y="2802345"/>
              <a:ext cx="128016" cy="128016"/>
              <a:chOff x="6470363" y="3274525"/>
              <a:chExt cx="183396" cy="104023"/>
            </a:xfrm>
          </p:grpSpPr>
          <p:sp>
            <p:nvSpPr>
              <p:cNvPr id="48" name="Google Shape;3752;p66">
                <a:extLst>
                  <a:ext uri="{FF2B5EF4-FFF2-40B4-BE49-F238E27FC236}">
                    <a16:creationId xmlns:a16="http://schemas.microsoft.com/office/drawing/2014/main" id="{AA76C963-C798-331D-6689-2989019A2072}"/>
                  </a:ext>
                </a:extLst>
              </p:cNvPr>
              <p:cNvSpPr/>
              <p:nvPr/>
            </p:nvSpPr>
            <p:spPr>
              <a:xfrm>
                <a:off x="6470363" y="3274525"/>
                <a:ext cx="183396" cy="104023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18697"/>
                    </a:moveTo>
                    <a:cubicBezTo>
                      <a:pt x="114251" y="123143"/>
                      <a:pt x="107050" y="123143"/>
                      <a:pt x="102644" y="118697"/>
                    </a:cubicBezTo>
                    <a:lnTo>
                      <a:pt x="3335" y="19388"/>
                    </a:lnTo>
                    <a:cubicBezTo>
                      <a:pt x="-1112" y="14942"/>
                      <a:pt x="-1112" y="7741"/>
                      <a:pt x="3335" y="3335"/>
                    </a:cubicBezTo>
                    <a:cubicBezTo>
                      <a:pt x="7781" y="-1112"/>
                      <a:pt x="14981" y="-1112"/>
                      <a:pt x="19388" y="3335"/>
                    </a:cubicBezTo>
                    <a:lnTo>
                      <a:pt x="118697" y="102644"/>
                    </a:lnTo>
                    <a:cubicBezTo>
                      <a:pt x="123143" y="107090"/>
                      <a:pt x="123143" y="114290"/>
                      <a:pt x="118697" y="118697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  <p:sp>
            <p:nvSpPr>
              <p:cNvPr id="49" name="Google Shape;3753;p66">
                <a:extLst>
                  <a:ext uri="{FF2B5EF4-FFF2-40B4-BE49-F238E27FC236}">
                    <a16:creationId xmlns:a16="http://schemas.microsoft.com/office/drawing/2014/main" id="{1BE0AC99-604C-AFEE-F193-E914BB409E59}"/>
                  </a:ext>
                </a:extLst>
              </p:cNvPr>
              <p:cNvSpPr/>
              <p:nvPr/>
            </p:nvSpPr>
            <p:spPr>
              <a:xfrm>
                <a:off x="6470363" y="3274525"/>
                <a:ext cx="183396" cy="104023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9388"/>
                    </a:moveTo>
                    <a:lnTo>
                      <a:pt x="19388" y="118697"/>
                    </a:lnTo>
                    <a:cubicBezTo>
                      <a:pt x="14942" y="123143"/>
                      <a:pt x="7741" y="123143"/>
                      <a:pt x="3335" y="118697"/>
                    </a:cubicBezTo>
                    <a:cubicBezTo>
                      <a:pt x="-1112" y="114251"/>
                      <a:pt x="-1112" y="107050"/>
                      <a:pt x="3335" y="102644"/>
                    </a:cubicBezTo>
                    <a:lnTo>
                      <a:pt x="102644" y="3335"/>
                    </a:lnTo>
                    <a:cubicBezTo>
                      <a:pt x="107090" y="-1112"/>
                      <a:pt x="114290" y="-1112"/>
                      <a:pt x="118697" y="3335"/>
                    </a:cubicBezTo>
                    <a:cubicBezTo>
                      <a:pt x="123143" y="7781"/>
                      <a:pt x="123143" y="14942"/>
                      <a:pt x="118697" y="19388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</p:grpSp>
        <p:sp>
          <p:nvSpPr>
            <p:cNvPr id="50" name="Shape5_20220929_150606">
              <a:extLst>
                <a:ext uri="{FF2B5EF4-FFF2-40B4-BE49-F238E27FC236}">
                  <a16:creationId xmlns:a16="http://schemas.microsoft.com/office/drawing/2014/main" id="{8384A424-1416-B9A8-D5F9-E682CEC63A8E}"/>
                </a:ext>
              </a:extLst>
            </p:cNvPr>
            <p:cNvSpPr/>
            <p:nvPr/>
          </p:nvSpPr>
          <p:spPr>
            <a:xfrm>
              <a:off x="9745216" y="2797768"/>
              <a:ext cx="170688" cy="128016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A5739C11-4A78-A961-5BBE-C025426C0D69}"/>
                </a:ext>
              </a:extLst>
            </p:cNvPr>
            <p:cNvGrpSpPr/>
            <p:nvPr/>
          </p:nvGrpSpPr>
          <p:grpSpPr>
            <a:xfrm>
              <a:off x="6485570" y="3162543"/>
              <a:ext cx="128016" cy="128016"/>
              <a:chOff x="6470363" y="3652727"/>
              <a:chExt cx="183396" cy="104023"/>
            </a:xfrm>
          </p:grpSpPr>
          <p:sp>
            <p:nvSpPr>
              <p:cNvPr id="52" name="Google Shape;3749;p66">
                <a:extLst>
                  <a:ext uri="{FF2B5EF4-FFF2-40B4-BE49-F238E27FC236}">
                    <a16:creationId xmlns:a16="http://schemas.microsoft.com/office/drawing/2014/main" id="{336F6396-E4BF-AEEC-3168-4E478F516F27}"/>
                  </a:ext>
                </a:extLst>
              </p:cNvPr>
              <p:cNvSpPr/>
              <p:nvPr/>
            </p:nvSpPr>
            <p:spPr>
              <a:xfrm>
                <a:off x="6470363" y="3652727"/>
                <a:ext cx="183396" cy="104023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18697"/>
                    </a:moveTo>
                    <a:cubicBezTo>
                      <a:pt x="114251" y="123143"/>
                      <a:pt x="107050" y="123143"/>
                      <a:pt x="102644" y="118697"/>
                    </a:cubicBezTo>
                    <a:lnTo>
                      <a:pt x="3335" y="19388"/>
                    </a:lnTo>
                    <a:cubicBezTo>
                      <a:pt x="-1112" y="14942"/>
                      <a:pt x="-1112" y="7741"/>
                      <a:pt x="3335" y="3335"/>
                    </a:cubicBezTo>
                    <a:cubicBezTo>
                      <a:pt x="7781" y="-1112"/>
                      <a:pt x="14981" y="-1112"/>
                      <a:pt x="19388" y="3335"/>
                    </a:cubicBezTo>
                    <a:lnTo>
                      <a:pt x="118697" y="102644"/>
                    </a:lnTo>
                    <a:cubicBezTo>
                      <a:pt x="123143" y="107050"/>
                      <a:pt x="123143" y="114251"/>
                      <a:pt x="118697" y="118697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  <p:sp>
            <p:nvSpPr>
              <p:cNvPr id="53" name="Google Shape;3750;p66">
                <a:extLst>
                  <a:ext uri="{FF2B5EF4-FFF2-40B4-BE49-F238E27FC236}">
                    <a16:creationId xmlns:a16="http://schemas.microsoft.com/office/drawing/2014/main" id="{01733669-0F07-BD9F-3036-E7DB16CF1081}"/>
                  </a:ext>
                </a:extLst>
              </p:cNvPr>
              <p:cNvSpPr/>
              <p:nvPr/>
            </p:nvSpPr>
            <p:spPr>
              <a:xfrm>
                <a:off x="6470363" y="3652727"/>
                <a:ext cx="183396" cy="104023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9388"/>
                    </a:moveTo>
                    <a:lnTo>
                      <a:pt x="19388" y="118697"/>
                    </a:lnTo>
                    <a:cubicBezTo>
                      <a:pt x="14942" y="123143"/>
                      <a:pt x="7741" y="123143"/>
                      <a:pt x="3335" y="118697"/>
                    </a:cubicBezTo>
                    <a:cubicBezTo>
                      <a:pt x="-1112" y="114251"/>
                      <a:pt x="-1112" y="107050"/>
                      <a:pt x="3335" y="102644"/>
                    </a:cubicBezTo>
                    <a:lnTo>
                      <a:pt x="102644" y="3335"/>
                    </a:lnTo>
                    <a:cubicBezTo>
                      <a:pt x="107090" y="-1112"/>
                      <a:pt x="114290" y="-1112"/>
                      <a:pt x="118697" y="3335"/>
                    </a:cubicBezTo>
                    <a:cubicBezTo>
                      <a:pt x="123143" y="7741"/>
                      <a:pt x="123143" y="14942"/>
                      <a:pt x="118697" y="19388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</p:grpSp>
        <p:sp>
          <p:nvSpPr>
            <p:cNvPr id="54" name="Shape6_20220929_150606">
              <a:extLst>
                <a:ext uri="{FF2B5EF4-FFF2-40B4-BE49-F238E27FC236}">
                  <a16:creationId xmlns:a16="http://schemas.microsoft.com/office/drawing/2014/main" id="{6FEE0E03-B4B9-239D-297D-4A623D5C80ED}"/>
                </a:ext>
              </a:extLst>
            </p:cNvPr>
            <p:cNvSpPr/>
            <p:nvPr/>
          </p:nvSpPr>
          <p:spPr>
            <a:xfrm>
              <a:off x="9745216" y="3157963"/>
              <a:ext cx="170688" cy="128016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F597C477-DF81-22B1-0444-0BF31D20D753}"/>
                </a:ext>
              </a:extLst>
            </p:cNvPr>
            <p:cNvGrpSpPr/>
            <p:nvPr/>
          </p:nvGrpSpPr>
          <p:grpSpPr>
            <a:xfrm>
              <a:off x="6485570" y="3522722"/>
              <a:ext cx="128016" cy="128016"/>
              <a:chOff x="6470363" y="4030911"/>
              <a:chExt cx="183396" cy="104023"/>
            </a:xfrm>
          </p:grpSpPr>
          <p:sp>
            <p:nvSpPr>
              <p:cNvPr id="57" name="Google Shape;3746;p66">
                <a:extLst>
                  <a:ext uri="{FF2B5EF4-FFF2-40B4-BE49-F238E27FC236}">
                    <a16:creationId xmlns:a16="http://schemas.microsoft.com/office/drawing/2014/main" id="{23F3DE68-5068-E91A-0C75-6178C43A1268}"/>
                  </a:ext>
                </a:extLst>
              </p:cNvPr>
              <p:cNvSpPr/>
              <p:nvPr/>
            </p:nvSpPr>
            <p:spPr>
              <a:xfrm>
                <a:off x="6470363" y="4030945"/>
                <a:ext cx="183396" cy="103989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18697"/>
                    </a:moveTo>
                    <a:cubicBezTo>
                      <a:pt x="114251" y="123143"/>
                      <a:pt x="107050" y="123143"/>
                      <a:pt x="102644" y="118697"/>
                    </a:cubicBezTo>
                    <a:lnTo>
                      <a:pt x="3335" y="19388"/>
                    </a:lnTo>
                    <a:cubicBezTo>
                      <a:pt x="-1112" y="14942"/>
                      <a:pt x="-1112" y="7741"/>
                      <a:pt x="3335" y="3335"/>
                    </a:cubicBezTo>
                    <a:cubicBezTo>
                      <a:pt x="7781" y="-1112"/>
                      <a:pt x="14981" y="-1112"/>
                      <a:pt x="19388" y="3335"/>
                    </a:cubicBezTo>
                    <a:lnTo>
                      <a:pt x="118697" y="102644"/>
                    </a:lnTo>
                    <a:cubicBezTo>
                      <a:pt x="123143" y="107050"/>
                      <a:pt x="123143" y="114251"/>
                      <a:pt x="118697" y="118697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  <p:sp>
            <p:nvSpPr>
              <p:cNvPr id="58" name="Google Shape;3747;p66">
                <a:extLst>
                  <a:ext uri="{FF2B5EF4-FFF2-40B4-BE49-F238E27FC236}">
                    <a16:creationId xmlns:a16="http://schemas.microsoft.com/office/drawing/2014/main" id="{9ABBC83A-8D04-848A-2BF7-BEF80A940F13}"/>
                  </a:ext>
                </a:extLst>
              </p:cNvPr>
              <p:cNvSpPr/>
              <p:nvPr/>
            </p:nvSpPr>
            <p:spPr>
              <a:xfrm>
                <a:off x="6470363" y="4030911"/>
                <a:ext cx="183396" cy="103989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9388"/>
                    </a:moveTo>
                    <a:lnTo>
                      <a:pt x="19388" y="118697"/>
                    </a:lnTo>
                    <a:cubicBezTo>
                      <a:pt x="14942" y="123143"/>
                      <a:pt x="7741" y="123143"/>
                      <a:pt x="3335" y="118697"/>
                    </a:cubicBezTo>
                    <a:cubicBezTo>
                      <a:pt x="-1112" y="114251"/>
                      <a:pt x="-1112" y="107050"/>
                      <a:pt x="3335" y="102644"/>
                    </a:cubicBezTo>
                    <a:lnTo>
                      <a:pt x="102644" y="3335"/>
                    </a:lnTo>
                    <a:cubicBezTo>
                      <a:pt x="107090" y="-1112"/>
                      <a:pt x="114290" y="-1112"/>
                      <a:pt x="118697" y="3335"/>
                    </a:cubicBezTo>
                    <a:cubicBezTo>
                      <a:pt x="123143" y="7781"/>
                      <a:pt x="123143" y="14942"/>
                      <a:pt x="118697" y="19388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9A65FEEA-1D64-A5AE-EB85-BFCEB2598E62}"/>
                </a:ext>
              </a:extLst>
            </p:cNvPr>
            <p:cNvGrpSpPr/>
            <p:nvPr/>
          </p:nvGrpSpPr>
          <p:grpSpPr>
            <a:xfrm>
              <a:off x="9776670" y="3522722"/>
              <a:ext cx="128016" cy="128016"/>
              <a:chOff x="9935474" y="4030911"/>
              <a:chExt cx="183396" cy="104023"/>
            </a:xfrm>
          </p:grpSpPr>
          <p:sp>
            <p:nvSpPr>
              <p:cNvPr id="60" name="Google Shape;3780;p66">
                <a:extLst>
                  <a:ext uri="{FF2B5EF4-FFF2-40B4-BE49-F238E27FC236}">
                    <a16:creationId xmlns:a16="http://schemas.microsoft.com/office/drawing/2014/main" id="{394E4F80-FA57-8C4F-0781-8E26207296D3}"/>
                  </a:ext>
                </a:extLst>
              </p:cNvPr>
              <p:cNvSpPr/>
              <p:nvPr/>
            </p:nvSpPr>
            <p:spPr>
              <a:xfrm>
                <a:off x="9935474" y="4030945"/>
                <a:ext cx="183396" cy="103989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18697"/>
                    </a:moveTo>
                    <a:cubicBezTo>
                      <a:pt x="114251" y="123143"/>
                      <a:pt x="107050" y="123143"/>
                      <a:pt x="102644" y="118697"/>
                    </a:cubicBezTo>
                    <a:lnTo>
                      <a:pt x="3335" y="19388"/>
                    </a:lnTo>
                    <a:cubicBezTo>
                      <a:pt x="-1112" y="14942"/>
                      <a:pt x="-1112" y="7741"/>
                      <a:pt x="3335" y="3335"/>
                    </a:cubicBezTo>
                    <a:cubicBezTo>
                      <a:pt x="7781" y="-1112"/>
                      <a:pt x="14981" y="-1112"/>
                      <a:pt x="19388" y="3335"/>
                    </a:cubicBezTo>
                    <a:lnTo>
                      <a:pt x="118697" y="102644"/>
                    </a:lnTo>
                    <a:cubicBezTo>
                      <a:pt x="123143" y="107050"/>
                      <a:pt x="123143" y="114251"/>
                      <a:pt x="118697" y="118697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  <p:sp>
            <p:nvSpPr>
              <p:cNvPr id="61" name="Google Shape;3781;p66">
                <a:extLst>
                  <a:ext uri="{FF2B5EF4-FFF2-40B4-BE49-F238E27FC236}">
                    <a16:creationId xmlns:a16="http://schemas.microsoft.com/office/drawing/2014/main" id="{4FD537CF-481C-B639-EC14-91BA66FA83D2}"/>
                  </a:ext>
                </a:extLst>
              </p:cNvPr>
              <p:cNvSpPr/>
              <p:nvPr/>
            </p:nvSpPr>
            <p:spPr>
              <a:xfrm>
                <a:off x="9935474" y="4030911"/>
                <a:ext cx="183396" cy="103989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9388"/>
                    </a:moveTo>
                    <a:lnTo>
                      <a:pt x="19388" y="118697"/>
                    </a:lnTo>
                    <a:cubicBezTo>
                      <a:pt x="14942" y="123143"/>
                      <a:pt x="7741" y="123143"/>
                      <a:pt x="3335" y="118697"/>
                    </a:cubicBezTo>
                    <a:cubicBezTo>
                      <a:pt x="-1112" y="114251"/>
                      <a:pt x="-1112" y="107050"/>
                      <a:pt x="3335" y="102644"/>
                    </a:cubicBezTo>
                    <a:lnTo>
                      <a:pt x="102644" y="3335"/>
                    </a:lnTo>
                    <a:cubicBezTo>
                      <a:pt x="107090" y="-1112"/>
                      <a:pt x="114290" y="-1112"/>
                      <a:pt x="118697" y="3335"/>
                    </a:cubicBezTo>
                    <a:cubicBezTo>
                      <a:pt x="123143" y="7781"/>
                      <a:pt x="123143" y="14942"/>
                      <a:pt x="118697" y="19388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</p:grpSp>
        <p:cxnSp>
          <p:nvCxnSpPr>
            <p:cNvPr id="62" name="Google Shape;3754;p66">
              <a:extLst>
                <a:ext uri="{FF2B5EF4-FFF2-40B4-BE49-F238E27FC236}">
                  <a16:creationId xmlns:a16="http://schemas.microsoft.com/office/drawing/2014/main" id="{7F61E0E6-8D99-97BC-D4ED-4C880B513F3E}"/>
                </a:ext>
              </a:extLst>
            </p:cNvPr>
            <p:cNvCxnSpPr>
              <a:cxnSpLocks/>
            </p:cNvCxnSpPr>
            <p:nvPr/>
          </p:nvCxnSpPr>
          <p:spPr>
            <a:xfrm>
              <a:off x="5165179" y="2311589"/>
              <a:ext cx="2885630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63" name="Google Shape;3782;p66">
              <a:extLst>
                <a:ext uri="{FF2B5EF4-FFF2-40B4-BE49-F238E27FC236}">
                  <a16:creationId xmlns:a16="http://schemas.microsoft.com/office/drawing/2014/main" id="{A167DBCC-BE76-7FA3-9DC0-F989607D26FF}"/>
                </a:ext>
              </a:extLst>
            </p:cNvPr>
            <p:cNvCxnSpPr>
              <a:cxnSpLocks/>
            </p:cNvCxnSpPr>
            <p:nvPr/>
          </p:nvCxnSpPr>
          <p:spPr>
            <a:xfrm>
              <a:off x="8447384" y="2311589"/>
              <a:ext cx="2885630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64" name="Google Shape;3755;p66">
              <a:extLst>
                <a:ext uri="{FF2B5EF4-FFF2-40B4-BE49-F238E27FC236}">
                  <a16:creationId xmlns:a16="http://schemas.microsoft.com/office/drawing/2014/main" id="{ED253AF6-6E13-C82E-5ACB-C645D8E19D7E}"/>
                </a:ext>
              </a:extLst>
            </p:cNvPr>
            <p:cNvCxnSpPr/>
            <p:nvPr/>
          </p:nvCxnSpPr>
          <p:spPr>
            <a:xfrm>
              <a:off x="5165179" y="2671784"/>
              <a:ext cx="2885630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65" name="Google Shape;3783;p66">
              <a:extLst>
                <a:ext uri="{FF2B5EF4-FFF2-40B4-BE49-F238E27FC236}">
                  <a16:creationId xmlns:a16="http://schemas.microsoft.com/office/drawing/2014/main" id="{47630220-81A9-F8BB-BECB-2D94EAC1B004}"/>
                </a:ext>
              </a:extLst>
            </p:cNvPr>
            <p:cNvCxnSpPr/>
            <p:nvPr/>
          </p:nvCxnSpPr>
          <p:spPr>
            <a:xfrm>
              <a:off x="8447384" y="2671784"/>
              <a:ext cx="2885630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66" name="Google Shape;3756;p66">
              <a:extLst>
                <a:ext uri="{FF2B5EF4-FFF2-40B4-BE49-F238E27FC236}">
                  <a16:creationId xmlns:a16="http://schemas.microsoft.com/office/drawing/2014/main" id="{07573981-18D3-BCCA-6818-4C46DFFEB1BE}"/>
                </a:ext>
              </a:extLst>
            </p:cNvPr>
            <p:cNvCxnSpPr/>
            <p:nvPr/>
          </p:nvCxnSpPr>
          <p:spPr>
            <a:xfrm>
              <a:off x="5165179" y="3031979"/>
              <a:ext cx="2885630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67" name="Google Shape;3784;p66">
              <a:extLst>
                <a:ext uri="{FF2B5EF4-FFF2-40B4-BE49-F238E27FC236}">
                  <a16:creationId xmlns:a16="http://schemas.microsoft.com/office/drawing/2014/main" id="{F09F9E95-68B1-26AA-E340-59AC685DDD87}"/>
                </a:ext>
              </a:extLst>
            </p:cNvPr>
            <p:cNvCxnSpPr/>
            <p:nvPr/>
          </p:nvCxnSpPr>
          <p:spPr>
            <a:xfrm>
              <a:off x="8447384" y="3031979"/>
              <a:ext cx="2885630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68" name="Google Shape;3757;p66">
              <a:extLst>
                <a:ext uri="{FF2B5EF4-FFF2-40B4-BE49-F238E27FC236}">
                  <a16:creationId xmlns:a16="http://schemas.microsoft.com/office/drawing/2014/main" id="{D394BD57-0490-F8B4-0C7E-E8BC07C294D8}"/>
                </a:ext>
              </a:extLst>
            </p:cNvPr>
            <p:cNvCxnSpPr/>
            <p:nvPr/>
          </p:nvCxnSpPr>
          <p:spPr>
            <a:xfrm>
              <a:off x="5165179" y="3392177"/>
              <a:ext cx="2885630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69" name="Google Shape;3785;p66">
              <a:extLst>
                <a:ext uri="{FF2B5EF4-FFF2-40B4-BE49-F238E27FC236}">
                  <a16:creationId xmlns:a16="http://schemas.microsoft.com/office/drawing/2014/main" id="{70790143-3EE7-CB4E-87AF-272534A8E1AA}"/>
                </a:ext>
              </a:extLst>
            </p:cNvPr>
            <p:cNvCxnSpPr/>
            <p:nvPr/>
          </p:nvCxnSpPr>
          <p:spPr>
            <a:xfrm>
              <a:off x="8447384" y="3392177"/>
              <a:ext cx="2885630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70" name="Google Shape;3758;p66">
              <a:extLst>
                <a:ext uri="{FF2B5EF4-FFF2-40B4-BE49-F238E27FC236}">
                  <a16:creationId xmlns:a16="http://schemas.microsoft.com/office/drawing/2014/main" id="{C35D007F-ADDD-7E5E-A6BB-F457983DBF77}"/>
                </a:ext>
              </a:extLst>
            </p:cNvPr>
            <p:cNvCxnSpPr/>
            <p:nvPr/>
          </p:nvCxnSpPr>
          <p:spPr>
            <a:xfrm>
              <a:off x="5165179" y="3752371"/>
              <a:ext cx="2885630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71" name="Google Shape;3786;p66">
              <a:extLst>
                <a:ext uri="{FF2B5EF4-FFF2-40B4-BE49-F238E27FC236}">
                  <a16:creationId xmlns:a16="http://schemas.microsoft.com/office/drawing/2014/main" id="{44F7FD42-A302-C29E-CFD4-40FFF734E39A}"/>
                </a:ext>
              </a:extLst>
            </p:cNvPr>
            <p:cNvCxnSpPr/>
            <p:nvPr/>
          </p:nvCxnSpPr>
          <p:spPr>
            <a:xfrm>
              <a:off x="8447384" y="3752371"/>
              <a:ext cx="2885630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72" name="Google Shape;3759;p66">
              <a:extLst>
                <a:ext uri="{FF2B5EF4-FFF2-40B4-BE49-F238E27FC236}">
                  <a16:creationId xmlns:a16="http://schemas.microsoft.com/office/drawing/2014/main" id="{365ED861-0CCA-E400-2FE3-6CE78363D970}"/>
                </a:ext>
              </a:extLst>
            </p:cNvPr>
            <p:cNvCxnSpPr/>
            <p:nvPr/>
          </p:nvCxnSpPr>
          <p:spPr>
            <a:xfrm>
              <a:off x="5165179" y="4112566"/>
              <a:ext cx="2885630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73" name="Google Shape;3787;p66">
              <a:extLst>
                <a:ext uri="{FF2B5EF4-FFF2-40B4-BE49-F238E27FC236}">
                  <a16:creationId xmlns:a16="http://schemas.microsoft.com/office/drawing/2014/main" id="{EDCC4C07-7E31-DF6D-89A1-025028417860}"/>
                </a:ext>
              </a:extLst>
            </p:cNvPr>
            <p:cNvCxnSpPr/>
            <p:nvPr/>
          </p:nvCxnSpPr>
          <p:spPr>
            <a:xfrm>
              <a:off x="8447384" y="4112566"/>
              <a:ext cx="2885630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74" name="Google Shape;3760;p66">
              <a:extLst>
                <a:ext uri="{FF2B5EF4-FFF2-40B4-BE49-F238E27FC236}">
                  <a16:creationId xmlns:a16="http://schemas.microsoft.com/office/drawing/2014/main" id="{EFFD4908-D47D-145B-EA94-22FFF584D00F}"/>
                </a:ext>
              </a:extLst>
            </p:cNvPr>
            <p:cNvCxnSpPr/>
            <p:nvPr/>
          </p:nvCxnSpPr>
          <p:spPr>
            <a:xfrm>
              <a:off x="5165179" y="4472762"/>
              <a:ext cx="2885630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75" name="Google Shape;3788;p66">
              <a:extLst>
                <a:ext uri="{FF2B5EF4-FFF2-40B4-BE49-F238E27FC236}">
                  <a16:creationId xmlns:a16="http://schemas.microsoft.com/office/drawing/2014/main" id="{1A39D013-FE1F-1D96-7059-8CAD5AB52106}"/>
                </a:ext>
              </a:extLst>
            </p:cNvPr>
            <p:cNvCxnSpPr/>
            <p:nvPr/>
          </p:nvCxnSpPr>
          <p:spPr>
            <a:xfrm>
              <a:off x="8447384" y="4472762"/>
              <a:ext cx="2885630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76" name="Google Shape;3761;p66">
              <a:extLst>
                <a:ext uri="{FF2B5EF4-FFF2-40B4-BE49-F238E27FC236}">
                  <a16:creationId xmlns:a16="http://schemas.microsoft.com/office/drawing/2014/main" id="{44C1E5C9-E373-0603-F2F7-C1C2C60E2A3B}"/>
                </a:ext>
              </a:extLst>
            </p:cNvPr>
            <p:cNvCxnSpPr/>
            <p:nvPr/>
          </p:nvCxnSpPr>
          <p:spPr>
            <a:xfrm>
              <a:off x="5165179" y="4832958"/>
              <a:ext cx="2885630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77" name="Google Shape;3789;p66">
              <a:extLst>
                <a:ext uri="{FF2B5EF4-FFF2-40B4-BE49-F238E27FC236}">
                  <a16:creationId xmlns:a16="http://schemas.microsoft.com/office/drawing/2014/main" id="{A525059F-CE64-998E-32DF-CA1644B8BDEE}"/>
                </a:ext>
              </a:extLst>
            </p:cNvPr>
            <p:cNvCxnSpPr/>
            <p:nvPr/>
          </p:nvCxnSpPr>
          <p:spPr>
            <a:xfrm>
              <a:off x="8447384" y="4832958"/>
              <a:ext cx="2885630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</p:spTree>
    <p:extLst>
      <p:ext uri="{BB962C8B-B14F-4D97-AF65-F5344CB8AC3E}">
        <p14:creationId xmlns:p14="http://schemas.microsoft.com/office/powerpoint/2010/main" val="265912600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6AAEE8F2-ADEE-D1A9-7E28-CFF0CC14BA6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28804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425" imgH="426" progId="TCLayout.ActiveDocument.1">
                  <p:embed/>
                </p:oleObj>
              </mc:Choice>
              <mc:Fallback>
                <p:oleObj name="think-cell Slide" r:id="rId1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A1B9BEC-09A6-7D4D-2E49-5B4BFC6C67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x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77B9F7F-266F-D6FD-A632-8689F497DB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5</a:t>
            </a:fld>
            <a:endParaRPr lang="en-US" dirty="0"/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5D326A26-8E56-119B-AD22-A74340591FA6}"/>
              </a:ext>
            </a:extLst>
          </p:cNvPr>
          <p:cNvCxnSpPr>
            <a:cxnSpLocks/>
          </p:cNvCxnSpPr>
          <p:nvPr/>
        </p:nvCxnSpPr>
        <p:spPr>
          <a:xfrm flipV="1">
            <a:off x="975879" y="2673069"/>
            <a:ext cx="10179517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B183BDD0-4460-D0A0-087A-2A879765E516}"/>
              </a:ext>
            </a:extLst>
          </p:cNvPr>
          <p:cNvCxnSpPr>
            <a:cxnSpLocks/>
          </p:cNvCxnSpPr>
          <p:nvPr/>
        </p:nvCxnSpPr>
        <p:spPr>
          <a:xfrm flipV="1">
            <a:off x="975879" y="3650171"/>
            <a:ext cx="10179517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9E296B42-9A7F-F97C-036B-7022CA11E6A2}"/>
              </a:ext>
            </a:extLst>
          </p:cNvPr>
          <p:cNvCxnSpPr>
            <a:cxnSpLocks/>
          </p:cNvCxnSpPr>
          <p:nvPr/>
        </p:nvCxnSpPr>
        <p:spPr>
          <a:xfrm flipV="1">
            <a:off x="975879" y="1693943"/>
            <a:ext cx="10179517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0D9F7FB0-E77A-CC4E-3287-6C42D71D2B1C}"/>
              </a:ext>
            </a:extLst>
          </p:cNvPr>
          <p:cNvCxnSpPr>
            <a:cxnSpLocks/>
          </p:cNvCxnSpPr>
          <p:nvPr/>
        </p:nvCxnSpPr>
        <p:spPr>
          <a:xfrm flipV="1">
            <a:off x="975879" y="4628357"/>
            <a:ext cx="10179517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4304EEC7-EC24-0538-628B-BB92D388A0C2}"/>
              </a:ext>
            </a:extLst>
          </p:cNvPr>
          <p:cNvCxnSpPr>
            <a:cxnSpLocks/>
          </p:cNvCxnSpPr>
          <p:nvPr/>
        </p:nvCxnSpPr>
        <p:spPr>
          <a:xfrm flipV="1">
            <a:off x="975879" y="5606002"/>
            <a:ext cx="10179517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tangle 3">
            <a:extLst>
              <a:ext uri="{FF2B5EF4-FFF2-40B4-BE49-F238E27FC236}">
                <a16:creationId xmlns:a16="http://schemas.microsoft.com/office/drawing/2014/main" id="{A8F74C0E-C9CD-84DF-F918-B1A3E6E08AD6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978822" y="2827251"/>
            <a:ext cx="6510276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/>
          <a:p>
            <a:pPr marL="1589" marR="0" lvl="1" indent="0" algn="l" defTabSz="895255" rtl="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4546A"/>
              </a:buClr>
              <a:buSzPct val="12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36" name="Rectangle 3">
            <a:extLst>
              <a:ext uri="{FF2B5EF4-FFF2-40B4-BE49-F238E27FC236}">
                <a16:creationId xmlns:a16="http://schemas.microsoft.com/office/drawing/2014/main" id="{737C2C4C-AFDF-4DE4-C666-DAAB2D9CEFAB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978822" y="2339043"/>
            <a:ext cx="651027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/>
          <a:p>
            <a:pPr marL="1589" marR="0" lvl="1" indent="0" algn="l" defTabSz="895255" rtl="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4546A"/>
              </a:buClr>
              <a:buSzPct val="120000"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Title</a:t>
            </a:r>
          </a:p>
        </p:txBody>
      </p:sp>
      <p:sp>
        <p:nvSpPr>
          <p:cNvPr id="37" name="Rectangle 3">
            <a:extLst>
              <a:ext uri="{FF2B5EF4-FFF2-40B4-BE49-F238E27FC236}">
                <a16:creationId xmlns:a16="http://schemas.microsoft.com/office/drawing/2014/main" id="{075224C2-41EA-B41C-7A35-33B09C7C027A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975880" y="3807535"/>
            <a:ext cx="6510276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/>
          <a:p>
            <a:pPr marL="1589" marR="0" lvl="1" indent="0" algn="l" defTabSz="895255" rtl="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4546A"/>
              </a:buClr>
              <a:buSzPct val="12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38" name="Rectangle 3">
            <a:extLst>
              <a:ext uri="{FF2B5EF4-FFF2-40B4-BE49-F238E27FC236}">
                <a16:creationId xmlns:a16="http://schemas.microsoft.com/office/drawing/2014/main" id="{D8DB2F3B-7987-1B2B-EF74-C5DF86E729EF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975880" y="3318664"/>
            <a:ext cx="651027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/>
          <a:p>
            <a:pPr marL="1589" marR="0" lvl="1" indent="0" algn="l" defTabSz="895255" rtl="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4546A"/>
              </a:buClr>
              <a:buSzPct val="120000"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Title</a:t>
            </a:r>
          </a:p>
        </p:txBody>
      </p:sp>
      <p:sp>
        <p:nvSpPr>
          <p:cNvPr id="39" name="Rectangle 3">
            <a:extLst>
              <a:ext uri="{FF2B5EF4-FFF2-40B4-BE49-F238E27FC236}">
                <a16:creationId xmlns:a16="http://schemas.microsoft.com/office/drawing/2014/main" id="{223C9A11-1402-F3AC-FF8F-FAECD2F764AA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975880" y="1844805"/>
            <a:ext cx="6510276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/>
          <a:p>
            <a:pPr marL="1589" marR="0" lvl="1" indent="0" algn="l" defTabSz="895255" rtl="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4546A"/>
              </a:buClr>
              <a:buSzPct val="12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40" name="Rectangle 3">
            <a:extLst>
              <a:ext uri="{FF2B5EF4-FFF2-40B4-BE49-F238E27FC236}">
                <a16:creationId xmlns:a16="http://schemas.microsoft.com/office/drawing/2014/main" id="{52666A90-894A-B170-F2F3-6EF9B892A1FA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975880" y="1368665"/>
            <a:ext cx="651027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/>
          <a:p>
            <a:pPr marL="1589" marR="0" lvl="1" indent="0" algn="l" defTabSz="895255" rtl="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4546A"/>
              </a:buClr>
              <a:buSzPct val="120000"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Title</a:t>
            </a:r>
          </a:p>
        </p:txBody>
      </p:sp>
      <p:sp>
        <p:nvSpPr>
          <p:cNvPr id="41" name="Rectangle 3">
            <a:extLst>
              <a:ext uri="{FF2B5EF4-FFF2-40B4-BE49-F238E27FC236}">
                <a16:creationId xmlns:a16="http://schemas.microsoft.com/office/drawing/2014/main" id="{BDD8CF99-5285-75C5-8330-E6897833F6A1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978822" y="4773508"/>
            <a:ext cx="6510276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/>
          <a:p>
            <a:pPr marL="1589" marR="0" lvl="1" indent="0" algn="l" defTabSz="895255" rtl="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4546A"/>
              </a:buClr>
              <a:buSzPct val="12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42" name="Rectangle 3">
            <a:extLst>
              <a:ext uri="{FF2B5EF4-FFF2-40B4-BE49-F238E27FC236}">
                <a16:creationId xmlns:a16="http://schemas.microsoft.com/office/drawing/2014/main" id="{398F4E29-1905-ABDA-64A7-1EE5C3F9D8FD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978822" y="4299624"/>
            <a:ext cx="651027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/>
          <a:p>
            <a:pPr marL="1589" marR="0" lvl="1" indent="0" algn="l" defTabSz="895255" rtl="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4546A"/>
              </a:buClr>
              <a:buSzPct val="120000"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Title</a:t>
            </a:r>
          </a:p>
        </p:txBody>
      </p:sp>
      <p:sp>
        <p:nvSpPr>
          <p:cNvPr id="43" name="Rectangle 3">
            <a:extLst>
              <a:ext uri="{FF2B5EF4-FFF2-40B4-BE49-F238E27FC236}">
                <a16:creationId xmlns:a16="http://schemas.microsoft.com/office/drawing/2014/main" id="{98C337DF-E82C-D0C1-AA75-D0B4C82DF310}"/>
              </a:ext>
            </a:extLst>
          </p:cNvPr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978822" y="5745301"/>
            <a:ext cx="6510276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/>
          <a:p>
            <a:pPr marL="1589" marR="0" lvl="1" indent="0" algn="l" defTabSz="895255" rtl="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4546A"/>
              </a:buClr>
              <a:buSzPct val="12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44" name="Rectangle 3">
            <a:extLst>
              <a:ext uri="{FF2B5EF4-FFF2-40B4-BE49-F238E27FC236}">
                <a16:creationId xmlns:a16="http://schemas.microsoft.com/office/drawing/2014/main" id="{8084B985-A21F-B5A9-62DE-D1AA1250A968}"/>
              </a:ext>
            </a:extLst>
          </p:cNvPr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978822" y="5273287"/>
            <a:ext cx="651027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/>
          <a:p>
            <a:pPr marL="1589" marR="0" lvl="1" indent="0" algn="l" defTabSz="895255" rtl="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4546A"/>
              </a:buClr>
              <a:buSzPct val="120000"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Title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16746F94-151A-4882-C0F1-BDE25295DC02}"/>
              </a:ext>
            </a:extLst>
          </p:cNvPr>
          <p:cNvSpPr/>
          <p:nvPr/>
        </p:nvSpPr>
        <p:spPr>
          <a:xfrm rot="16200000">
            <a:off x="217049" y="3660454"/>
            <a:ext cx="979992" cy="182646"/>
          </a:xfrm>
          <a:prstGeom prst="rect">
            <a:avLst/>
          </a:prstGeom>
          <a:solidFill>
            <a:schemeClr val="accent3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1" i="0" u="none" strike="noStrike" kern="1200" cap="none" spc="0" normalizeH="0" baseline="0" noProof="0" dirty="0" err="1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Arial" panose="020B0604020202020204" pitchFamily="34" charset="0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8F1176E4-5250-5DDE-656A-7144A50FBBE9}"/>
              </a:ext>
            </a:extLst>
          </p:cNvPr>
          <p:cNvSpPr/>
          <p:nvPr/>
        </p:nvSpPr>
        <p:spPr>
          <a:xfrm rot="16200000">
            <a:off x="217049" y="2678923"/>
            <a:ext cx="979992" cy="182646"/>
          </a:xfrm>
          <a:prstGeom prst="rect">
            <a:avLst/>
          </a:prstGeom>
          <a:solidFill>
            <a:schemeClr val="accent2"/>
          </a:solidFill>
          <a:ln cap="sq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 err="1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Arial" panose="020B0604020202020204" pitchFamily="34" charset="0"/>
            </a:endParaRP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7C653A6F-AFE8-93C0-0B4E-989830E8EA1F}"/>
              </a:ext>
            </a:extLst>
          </p:cNvPr>
          <p:cNvSpPr/>
          <p:nvPr/>
        </p:nvSpPr>
        <p:spPr>
          <a:xfrm>
            <a:off x="550862" y="2614061"/>
            <a:ext cx="312370" cy="31237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2</a:t>
            </a:r>
          </a:p>
        </p:txBody>
      </p:sp>
      <p:sp>
        <p:nvSpPr>
          <p:cNvPr id="48" name="Freeform: Shape 47">
            <a:extLst>
              <a:ext uri="{FF2B5EF4-FFF2-40B4-BE49-F238E27FC236}">
                <a16:creationId xmlns:a16="http://schemas.microsoft.com/office/drawing/2014/main" id="{4EABBEBC-C952-1A8E-0F45-34D4503229E6}"/>
              </a:ext>
            </a:extLst>
          </p:cNvPr>
          <p:cNvSpPr/>
          <p:nvPr/>
        </p:nvSpPr>
        <p:spPr>
          <a:xfrm rot="16200000">
            <a:off x="217049" y="1704226"/>
            <a:ext cx="979992" cy="182646"/>
          </a:xfrm>
          <a:custGeom>
            <a:avLst/>
            <a:gdLst>
              <a:gd name="connsiteX0" fmla="*/ 0 w 5969418"/>
              <a:gd name="connsiteY0" fmla="*/ 0 h 852940"/>
              <a:gd name="connsiteX1" fmla="*/ 5542948 w 5969418"/>
              <a:gd name="connsiteY1" fmla="*/ 0 h 852940"/>
              <a:gd name="connsiteX2" fmla="*/ 5969418 w 5969418"/>
              <a:gd name="connsiteY2" fmla="*/ 426470 h 852940"/>
              <a:gd name="connsiteX3" fmla="*/ 5969417 w 5969418"/>
              <a:gd name="connsiteY3" fmla="*/ 426470 h 852940"/>
              <a:gd name="connsiteX4" fmla="*/ 5542947 w 5969418"/>
              <a:gd name="connsiteY4" fmla="*/ 852940 h 852940"/>
              <a:gd name="connsiteX5" fmla="*/ 0 w 5969418"/>
              <a:gd name="connsiteY5" fmla="*/ 852939 h 852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969418" h="852940">
                <a:moveTo>
                  <a:pt x="0" y="0"/>
                </a:moveTo>
                <a:lnTo>
                  <a:pt x="5542948" y="0"/>
                </a:lnTo>
                <a:cubicBezTo>
                  <a:pt x="5778481" y="0"/>
                  <a:pt x="5969418" y="190937"/>
                  <a:pt x="5969418" y="426470"/>
                </a:cubicBezTo>
                <a:lnTo>
                  <a:pt x="5969417" y="426470"/>
                </a:lnTo>
                <a:cubicBezTo>
                  <a:pt x="5969417" y="662003"/>
                  <a:pt x="5778480" y="852940"/>
                  <a:pt x="5542947" y="852940"/>
                </a:cubicBezTo>
                <a:lnTo>
                  <a:pt x="0" y="852939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Arial" panose="020B0604020202020204" pitchFamily="34" charset="0"/>
            </a:endParaRP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7E856D89-C48B-D2CA-2B5D-878DB381D181}"/>
              </a:ext>
            </a:extLst>
          </p:cNvPr>
          <p:cNvSpPr/>
          <p:nvPr/>
        </p:nvSpPr>
        <p:spPr>
          <a:xfrm>
            <a:off x="550862" y="3591163"/>
            <a:ext cx="312370" cy="31237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3</a:t>
            </a: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EA96D840-3777-B2FA-48F2-7F3D8DE28C63}"/>
              </a:ext>
            </a:extLst>
          </p:cNvPr>
          <p:cNvSpPr/>
          <p:nvPr/>
        </p:nvSpPr>
        <p:spPr>
          <a:xfrm>
            <a:off x="550862" y="1634935"/>
            <a:ext cx="312370" cy="31237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1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497ABE15-8405-525C-F0AF-D7F2CE8F94B5}"/>
              </a:ext>
            </a:extLst>
          </p:cNvPr>
          <p:cNvSpPr/>
          <p:nvPr/>
        </p:nvSpPr>
        <p:spPr>
          <a:xfrm rot="16200000">
            <a:off x="217049" y="4634211"/>
            <a:ext cx="979992" cy="182646"/>
          </a:xfrm>
          <a:prstGeom prst="rect">
            <a:avLst/>
          </a:prstGeom>
          <a:solidFill>
            <a:schemeClr val="accent4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1" i="0" u="none" strike="noStrike" kern="1200" cap="none" spc="0" normalizeH="0" baseline="0" noProof="0" dirty="0" err="1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Arial" panose="020B0604020202020204" pitchFamily="34" charset="0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ADD778D6-D641-1FA6-4D54-266BAD8131EE}"/>
              </a:ext>
            </a:extLst>
          </p:cNvPr>
          <p:cNvSpPr/>
          <p:nvPr/>
        </p:nvSpPr>
        <p:spPr>
          <a:xfrm>
            <a:off x="550862" y="4569349"/>
            <a:ext cx="312370" cy="31237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4</a:t>
            </a:r>
          </a:p>
        </p:txBody>
      </p:sp>
      <p:sp>
        <p:nvSpPr>
          <p:cNvPr id="53" name="Freeform: Shape 52">
            <a:extLst>
              <a:ext uri="{FF2B5EF4-FFF2-40B4-BE49-F238E27FC236}">
                <a16:creationId xmlns:a16="http://schemas.microsoft.com/office/drawing/2014/main" id="{C9CE3C73-D13E-6057-9BED-67A88363541E}"/>
              </a:ext>
            </a:extLst>
          </p:cNvPr>
          <p:cNvSpPr/>
          <p:nvPr/>
        </p:nvSpPr>
        <p:spPr>
          <a:xfrm rot="5400000" flipV="1">
            <a:off x="217049" y="5611857"/>
            <a:ext cx="979992" cy="182646"/>
          </a:xfrm>
          <a:custGeom>
            <a:avLst/>
            <a:gdLst>
              <a:gd name="connsiteX0" fmla="*/ 0 w 5969418"/>
              <a:gd name="connsiteY0" fmla="*/ 0 h 852940"/>
              <a:gd name="connsiteX1" fmla="*/ 5542948 w 5969418"/>
              <a:gd name="connsiteY1" fmla="*/ 0 h 852940"/>
              <a:gd name="connsiteX2" fmla="*/ 5969418 w 5969418"/>
              <a:gd name="connsiteY2" fmla="*/ 426470 h 852940"/>
              <a:gd name="connsiteX3" fmla="*/ 5969417 w 5969418"/>
              <a:gd name="connsiteY3" fmla="*/ 426470 h 852940"/>
              <a:gd name="connsiteX4" fmla="*/ 5542947 w 5969418"/>
              <a:gd name="connsiteY4" fmla="*/ 852940 h 852940"/>
              <a:gd name="connsiteX5" fmla="*/ 0 w 5969418"/>
              <a:gd name="connsiteY5" fmla="*/ 852939 h 852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969418" h="852940">
                <a:moveTo>
                  <a:pt x="0" y="0"/>
                </a:moveTo>
                <a:lnTo>
                  <a:pt x="5542948" y="0"/>
                </a:lnTo>
                <a:cubicBezTo>
                  <a:pt x="5778481" y="0"/>
                  <a:pt x="5969418" y="190937"/>
                  <a:pt x="5969418" y="426470"/>
                </a:cubicBezTo>
                <a:lnTo>
                  <a:pt x="5969417" y="426470"/>
                </a:lnTo>
                <a:cubicBezTo>
                  <a:pt x="5969417" y="662003"/>
                  <a:pt x="5778480" y="852940"/>
                  <a:pt x="5542947" y="852940"/>
                </a:cubicBezTo>
                <a:lnTo>
                  <a:pt x="0" y="852939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568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Arial" panose="020B0604020202020204" pitchFamily="34" charset="0"/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79E4FD73-E35C-2771-4B39-A6343CEF5300}"/>
              </a:ext>
            </a:extLst>
          </p:cNvPr>
          <p:cNvSpPr/>
          <p:nvPr/>
        </p:nvSpPr>
        <p:spPr>
          <a:xfrm>
            <a:off x="550862" y="5546994"/>
            <a:ext cx="312370" cy="31237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54946414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0C4012-8AB5-6938-AAE5-17D4EEFAC5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44938AC2-0A14-AFED-F938-36B53988D6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4938AC2-0A14-AFED-F938-36B53988D6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BE47E5F-C48B-9158-4DC3-683F8858E2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C1B8034F-ACF6-EFE9-E2D1-10E2E72B4D48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50</a:t>
            </a:fld>
            <a:endParaRPr lang="en-US" sz="1200" dirty="0">
              <a:solidFill>
                <a:schemeClr val="bg1"/>
              </a:solidFill>
            </a:endParaRPr>
          </a:p>
        </p:txBody>
      </p: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D43DF595-9B3B-8FEE-F8BD-1FDF9EE93A2A}"/>
              </a:ext>
            </a:extLst>
          </p:cNvPr>
          <p:cNvGrpSpPr/>
          <p:nvPr/>
        </p:nvGrpSpPr>
        <p:grpSpPr>
          <a:xfrm>
            <a:off x="839683" y="1066799"/>
            <a:ext cx="10667999" cy="4998333"/>
            <a:chOff x="839683" y="1066800"/>
            <a:chExt cx="10667999" cy="4362026"/>
          </a:xfrm>
        </p:grpSpPr>
        <p:sp>
          <p:nvSpPr>
            <p:cNvPr id="3" name="Shape0_20220721_110914">
              <a:extLst>
                <a:ext uri="{FF2B5EF4-FFF2-40B4-BE49-F238E27FC236}">
                  <a16:creationId xmlns:a16="http://schemas.microsoft.com/office/drawing/2014/main" id="{BF1C1F38-F553-499B-6D36-CDE4C1C7E086}"/>
                </a:ext>
              </a:extLst>
            </p:cNvPr>
            <p:cNvSpPr/>
            <p:nvPr/>
          </p:nvSpPr>
          <p:spPr>
            <a:xfrm>
              <a:off x="839683" y="1066800"/>
              <a:ext cx="4089399" cy="4362026"/>
            </a:xfrm>
            <a:custGeom>
              <a:avLst/>
              <a:gdLst/>
              <a:ahLst/>
              <a:cxnLst/>
              <a:rect l="l" t="t" r="r" b="b"/>
              <a:pathLst>
                <a:path w="2891927" h="5618602" extrusionOk="0">
                  <a:moveTo>
                    <a:pt x="2767988" y="5618603"/>
                  </a:moveTo>
                  <a:lnTo>
                    <a:pt x="123940" y="5618603"/>
                  </a:lnTo>
                  <a:cubicBezTo>
                    <a:pt x="55478" y="5618603"/>
                    <a:pt x="0" y="5563125"/>
                    <a:pt x="0" y="5494663"/>
                  </a:cubicBezTo>
                  <a:lnTo>
                    <a:pt x="0" y="123940"/>
                  </a:lnTo>
                  <a:cubicBezTo>
                    <a:pt x="0" y="55478"/>
                    <a:pt x="55478" y="0"/>
                    <a:pt x="123940" y="0"/>
                  </a:cubicBezTo>
                  <a:lnTo>
                    <a:pt x="2767988" y="0"/>
                  </a:lnTo>
                  <a:cubicBezTo>
                    <a:pt x="2836450" y="0"/>
                    <a:pt x="2891928" y="55478"/>
                    <a:pt x="2891928" y="123940"/>
                  </a:cubicBezTo>
                  <a:lnTo>
                    <a:pt x="2891928" y="5494663"/>
                  </a:lnTo>
                  <a:cubicBezTo>
                    <a:pt x="2891928" y="5563125"/>
                    <a:pt x="2836450" y="5618603"/>
                    <a:pt x="2767988" y="5618603"/>
                  </a:cubicBezTo>
                  <a:close/>
                </a:path>
              </a:pathLst>
            </a:custGeom>
            <a:noFill/>
            <a:ln>
              <a:noFill/>
            </a:ln>
            <a:effectLst/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27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" name="Google Shape;3712;p66">
              <a:extLst>
                <a:ext uri="{FF2B5EF4-FFF2-40B4-BE49-F238E27FC236}">
                  <a16:creationId xmlns:a16="http://schemas.microsoft.com/office/drawing/2014/main" id="{873F61D1-AA09-6A37-31C1-44FD22F0E2B2}"/>
                </a:ext>
              </a:extLst>
            </p:cNvPr>
            <p:cNvSpPr/>
            <p:nvPr/>
          </p:nvSpPr>
          <p:spPr>
            <a:xfrm>
              <a:off x="933347" y="1123919"/>
              <a:ext cx="3910433" cy="80447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pPr algn="ctr"/>
              <a:r>
                <a:rPr lang="en-US" sz="1471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Title</a:t>
              </a:r>
              <a:endParaRPr sz="14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6" name="Google Shape;3718;p66">
              <a:extLst>
                <a:ext uri="{FF2B5EF4-FFF2-40B4-BE49-F238E27FC236}">
                  <a16:creationId xmlns:a16="http://schemas.microsoft.com/office/drawing/2014/main" id="{8ABBDF53-11D9-1B27-614E-3181FB0F09A1}"/>
                </a:ext>
              </a:extLst>
            </p:cNvPr>
            <p:cNvSpPr txBox="1"/>
            <p:nvPr/>
          </p:nvSpPr>
          <p:spPr>
            <a:xfrm>
              <a:off x="1030584" y="3833707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7" name="Google Shape;3719;p66">
              <a:extLst>
                <a:ext uri="{FF2B5EF4-FFF2-40B4-BE49-F238E27FC236}">
                  <a16:creationId xmlns:a16="http://schemas.microsoft.com/office/drawing/2014/main" id="{C4C3F507-5235-7B64-D1B4-EAD9BBD40887}"/>
                </a:ext>
              </a:extLst>
            </p:cNvPr>
            <p:cNvSpPr txBox="1"/>
            <p:nvPr/>
          </p:nvSpPr>
          <p:spPr>
            <a:xfrm>
              <a:off x="1030584" y="4193902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8" name="Google Shape;3720;p66">
              <a:extLst>
                <a:ext uri="{FF2B5EF4-FFF2-40B4-BE49-F238E27FC236}">
                  <a16:creationId xmlns:a16="http://schemas.microsoft.com/office/drawing/2014/main" id="{928F6C9E-C1B3-8215-4536-500DA645801F}"/>
                </a:ext>
              </a:extLst>
            </p:cNvPr>
            <p:cNvSpPr txBox="1"/>
            <p:nvPr/>
          </p:nvSpPr>
          <p:spPr>
            <a:xfrm>
              <a:off x="1030584" y="4554097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9" name="Google Shape;3713;p66">
              <a:extLst>
                <a:ext uri="{FF2B5EF4-FFF2-40B4-BE49-F238E27FC236}">
                  <a16:creationId xmlns:a16="http://schemas.microsoft.com/office/drawing/2014/main" id="{1E0E1D37-E410-DE18-9DD8-56E6CEAEBEE5}"/>
                </a:ext>
              </a:extLst>
            </p:cNvPr>
            <p:cNvSpPr txBox="1"/>
            <p:nvPr/>
          </p:nvSpPr>
          <p:spPr>
            <a:xfrm>
              <a:off x="1030584" y="2032727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10" name="Google Shape;3714;p66">
              <a:extLst>
                <a:ext uri="{FF2B5EF4-FFF2-40B4-BE49-F238E27FC236}">
                  <a16:creationId xmlns:a16="http://schemas.microsoft.com/office/drawing/2014/main" id="{714D04E7-001D-8199-FF88-DA1AE3E31884}"/>
                </a:ext>
              </a:extLst>
            </p:cNvPr>
            <p:cNvSpPr txBox="1"/>
            <p:nvPr/>
          </p:nvSpPr>
          <p:spPr>
            <a:xfrm>
              <a:off x="1030584" y="2392924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11" name="Google Shape;3715;p66">
              <a:extLst>
                <a:ext uri="{FF2B5EF4-FFF2-40B4-BE49-F238E27FC236}">
                  <a16:creationId xmlns:a16="http://schemas.microsoft.com/office/drawing/2014/main" id="{21D55E6B-7C27-E38C-6A0E-521577CD656D}"/>
                </a:ext>
              </a:extLst>
            </p:cNvPr>
            <p:cNvSpPr txBox="1"/>
            <p:nvPr/>
          </p:nvSpPr>
          <p:spPr>
            <a:xfrm>
              <a:off x="1030584" y="2753118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12" name="Google Shape;3716;p66">
              <a:extLst>
                <a:ext uri="{FF2B5EF4-FFF2-40B4-BE49-F238E27FC236}">
                  <a16:creationId xmlns:a16="http://schemas.microsoft.com/office/drawing/2014/main" id="{DD99E51F-13C6-E221-F559-E5E56EF29249}"/>
                </a:ext>
              </a:extLst>
            </p:cNvPr>
            <p:cNvSpPr txBox="1"/>
            <p:nvPr/>
          </p:nvSpPr>
          <p:spPr>
            <a:xfrm>
              <a:off x="1030584" y="3113314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13" name="Google Shape;3717;p66">
              <a:extLst>
                <a:ext uri="{FF2B5EF4-FFF2-40B4-BE49-F238E27FC236}">
                  <a16:creationId xmlns:a16="http://schemas.microsoft.com/office/drawing/2014/main" id="{19BC79FB-B9C9-51E2-FCCF-60F4592AA5FF}"/>
                </a:ext>
              </a:extLst>
            </p:cNvPr>
            <p:cNvSpPr txBox="1"/>
            <p:nvPr/>
          </p:nvSpPr>
          <p:spPr>
            <a:xfrm>
              <a:off x="1030584" y="3473509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cxnSp>
          <p:nvCxnSpPr>
            <p:cNvPr id="14" name="Google Shape;3721;p66">
              <a:extLst>
                <a:ext uri="{FF2B5EF4-FFF2-40B4-BE49-F238E27FC236}">
                  <a16:creationId xmlns:a16="http://schemas.microsoft.com/office/drawing/2014/main" id="{7C5B725D-467C-B090-DE59-4C82C29019B4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2311589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5" name="Google Shape;3722;p66">
              <a:extLst>
                <a:ext uri="{FF2B5EF4-FFF2-40B4-BE49-F238E27FC236}">
                  <a16:creationId xmlns:a16="http://schemas.microsoft.com/office/drawing/2014/main" id="{765B1D72-BF3F-724E-2D0A-BC400C1F9C50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2671784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6" name="Google Shape;3723;p66">
              <a:extLst>
                <a:ext uri="{FF2B5EF4-FFF2-40B4-BE49-F238E27FC236}">
                  <a16:creationId xmlns:a16="http://schemas.microsoft.com/office/drawing/2014/main" id="{1B8CA2F8-21A5-245E-F4C5-18792507621C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3031979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7" name="Google Shape;3724;p66">
              <a:extLst>
                <a:ext uri="{FF2B5EF4-FFF2-40B4-BE49-F238E27FC236}">
                  <a16:creationId xmlns:a16="http://schemas.microsoft.com/office/drawing/2014/main" id="{30FC5CE9-E1A7-F68C-82EB-3778A0EBC1E2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3392177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8" name="Google Shape;3725;p66">
              <a:extLst>
                <a:ext uri="{FF2B5EF4-FFF2-40B4-BE49-F238E27FC236}">
                  <a16:creationId xmlns:a16="http://schemas.microsoft.com/office/drawing/2014/main" id="{EE5080D8-3773-8DB6-E973-C1F2478AFE94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3752371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9" name="Google Shape;3726;p66">
              <a:extLst>
                <a:ext uri="{FF2B5EF4-FFF2-40B4-BE49-F238E27FC236}">
                  <a16:creationId xmlns:a16="http://schemas.microsoft.com/office/drawing/2014/main" id="{CB4CB73F-E92F-F5B1-0AA7-75E2ADFCBD42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4112566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0" name="Google Shape;3727;p66">
              <a:extLst>
                <a:ext uri="{FF2B5EF4-FFF2-40B4-BE49-F238E27FC236}">
                  <a16:creationId xmlns:a16="http://schemas.microsoft.com/office/drawing/2014/main" id="{3749B928-2DAD-F120-14E9-41B49BD232B7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4472762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1" name="Google Shape;3728;p66">
              <a:extLst>
                <a:ext uri="{FF2B5EF4-FFF2-40B4-BE49-F238E27FC236}">
                  <a16:creationId xmlns:a16="http://schemas.microsoft.com/office/drawing/2014/main" id="{7CDEE392-503A-0F51-600D-39A09BE77627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4832958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22" name="Shape3_20220721_110914">
              <a:extLst>
                <a:ext uri="{FF2B5EF4-FFF2-40B4-BE49-F238E27FC236}">
                  <a16:creationId xmlns:a16="http://schemas.microsoft.com/office/drawing/2014/main" id="{921B0BD2-9E85-ACE1-4C56-79E5636EB26E}"/>
                </a:ext>
              </a:extLst>
            </p:cNvPr>
            <p:cNvSpPr/>
            <p:nvPr/>
          </p:nvSpPr>
          <p:spPr>
            <a:xfrm>
              <a:off x="8235563" y="1066800"/>
              <a:ext cx="1627890" cy="4362026"/>
            </a:xfrm>
            <a:custGeom>
              <a:avLst/>
              <a:gdLst/>
              <a:ahLst/>
              <a:cxnLst/>
              <a:rect l="l" t="t" r="r" b="b"/>
              <a:pathLst>
                <a:path w="1652530" h="5618602" extrusionOk="0">
                  <a:moveTo>
                    <a:pt x="1528590" y="5618603"/>
                  </a:moveTo>
                  <a:lnTo>
                    <a:pt x="123940" y="5618603"/>
                  </a:lnTo>
                  <a:cubicBezTo>
                    <a:pt x="55478" y="5618603"/>
                    <a:pt x="0" y="5563125"/>
                    <a:pt x="0" y="5494663"/>
                  </a:cubicBezTo>
                  <a:lnTo>
                    <a:pt x="0" y="123940"/>
                  </a:lnTo>
                  <a:cubicBezTo>
                    <a:pt x="0" y="55478"/>
                    <a:pt x="55478" y="0"/>
                    <a:pt x="123940" y="0"/>
                  </a:cubicBezTo>
                  <a:lnTo>
                    <a:pt x="1528590" y="0"/>
                  </a:lnTo>
                  <a:cubicBezTo>
                    <a:pt x="1597052" y="0"/>
                    <a:pt x="1652530" y="55478"/>
                    <a:pt x="1652530" y="123940"/>
                  </a:cubicBezTo>
                  <a:lnTo>
                    <a:pt x="1652530" y="5494663"/>
                  </a:lnTo>
                  <a:cubicBezTo>
                    <a:pt x="1652530" y="5563125"/>
                    <a:pt x="1597052" y="5618603"/>
                    <a:pt x="1528590" y="5618603"/>
                  </a:cubicBezTo>
                  <a:close/>
                </a:path>
              </a:pathLst>
            </a:custGeom>
            <a:noFill/>
            <a:ln>
              <a:noFill/>
            </a:ln>
            <a:effectLst/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27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3" name="Shape1_20220721_110914">
              <a:extLst>
                <a:ext uri="{FF2B5EF4-FFF2-40B4-BE49-F238E27FC236}">
                  <a16:creationId xmlns:a16="http://schemas.microsoft.com/office/drawing/2014/main" id="{2FA171AD-5D1F-320C-E942-2551CBBA8195}"/>
                </a:ext>
              </a:extLst>
            </p:cNvPr>
            <p:cNvSpPr/>
            <p:nvPr/>
          </p:nvSpPr>
          <p:spPr>
            <a:xfrm>
              <a:off x="4947101" y="1066800"/>
              <a:ext cx="1627890" cy="4362026"/>
            </a:xfrm>
            <a:custGeom>
              <a:avLst/>
              <a:gdLst/>
              <a:ahLst/>
              <a:cxnLst/>
              <a:rect l="l" t="t" r="r" b="b"/>
              <a:pathLst>
                <a:path w="1652530" h="5618602" extrusionOk="0">
                  <a:moveTo>
                    <a:pt x="1528590" y="5618603"/>
                  </a:moveTo>
                  <a:lnTo>
                    <a:pt x="123940" y="5618603"/>
                  </a:lnTo>
                  <a:cubicBezTo>
                    <a:pt x="55478" y="5618603"/>
                    <a:pt x="0" y="5563125"/>
                    <a:pt x="0" y="5494663"/>
                  </a:cubicBezTo>
                  <a:lnTo>
                    <a:pt x="0" y="123940"/>
                  </a:lnTo>
                  <a:cubicBezTo>
                    <a:pt x="0" y="55478"/>
                    <a:pt x="55478" y="0"/>
                    <a:pt x="123940" y="0"/>
                  </a:cubicBezTo>
                  <a:lnTo>
                    <a:pt x="1528590" y="0"/>
                  </a:lnTo>
                  <a:cubicBezTo>
                    <a:pt x="1597052" y="0"/>
                    <a:pt x="1652530" y="55478"/>
                    <a:pt x="1652530" y="123940"/>
                  </a:cubicBezTo>
                  <a:lnTo>
                    <a:pt x="1652530" y="5494663"/>
                  </a:lnTo>
                  <a:cubicBezTo>
                    <a:pt x="1652530" y="5563125"/>
                    <a:pt x="1597052" y="5618603"/>
                    <a:pt x="1528590" y="5618603"/>
                  </a:cubicBezTo>
                  <a:close/>
                </a:path>
              </a:pathLst>
            </a:custGeom>
            <a:noFill/>
            <a:ln>
              <a:noFill/>
            </a:ln>
            <a:effectLst/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27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4" name="Google Shape;3730;p66">
              <a:extLst>
                <a:ext uri="{FF2B5EF4-FFF2-40B4-BE49-F238E27FC236}">
                  <a16:creationId xmlns:a16="http://schemas.microsoft.com/office/drawing/2014/main" id="{AA233D18-C380-3AB5-FBDC-9D46AB245906}"/>
                </a:ext>
              </a:extLst>
            </p:cNvPr>
            <p:cNvSpPr/>
            <p:nvPr/>
          </p:nvSpPr>
          <p:spPr>
            <a:xfrm>
              <a:off x="5019842" y="1123919"/>
              <a:ext cx="1497661" cy="80447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5" name="Google Shape;3731;p66">
              <a:extLst>
                <a:ext uri="{FF2B5EF4-FFF2-40B4-BE49-F238E27FC236}">
                  <a16:creationId xmlns:a16="http://schemas.microsoft.com/office/drawing/2014/main" id="{81611473-5D54-F39B-E361-366EFE60BA12}"/>
                </a:ext>
              </a:extLst>
            </p:cNvPr>
            <p:cNvSpPr/>
            <p:nvPr/>
          </p:nvSpPr>
          <p:spPr>
            <a:xfrm>
              <a:off x="5026647" y="4933092"/>
              <a:ext cx="1497661" cy="442652"/>
            </a:xfrm>
            <a:prstGeom prst="roundRect">
              <a:avLst>
                <a:gd name="adj" fmla="val 11531"/>
              </a:avLst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</a:p>
          </p:txBody>
        </p:sp>
        <p:sp>
          <p:nvSpPr>
            <p:cNvPr id="26" name="Google Shape;3732;p66">
              <a:extLst>
                <a:ext uri="{FF2B5EF4-FFF2-40B4-BE49-F238E27FC236}">
                  <a16:creationId xmlns:a16="http://schemas.microsoft.com/office/drawing/2014/main" id="{F41F0A23-C782-A274-37DE-F3D5427C47A7}"/>
                </a:ext>
              </a:extLst>
            </p:cNvPr>
            <p:cNvSpPr txBox="1"/>
            <p:nvPr/>
          </p:nvSpPr>
          <p:spPr>
            <a:xfrm>
              <a:off x="5189861" y="1210814"/>
              <a:ext cx="1157622" cy="27268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5284" tIns="42642" rIns="85284" bIns="42642" anchor="ctr" anchorCtr="0">
              <a:spAutoFit/>
            </a:bodyPr>
            <a:lstStyle/>
            <a:p>
              <a:pPr algn="ctr"/>
              <a:r>
                <a:rPr lang="en-US" sz="1471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Title</a:t>
              </a:r>
              <a:endParaRPr sz="1471" b="1" dirty="0">
                <a:solidFill>
                  <a:schemeClr val="lt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7" name="Google Shape;3733;p66">
              <a:extLst>
                <a:ext uri="{FF2B5EF4-FFF2-40B4-BE49-F238E27FC236}">
                  <a16:creationId xmlns:a16="http://schemas.microsoft.com/office/drawing/2014/main" id="{749C345E-BEC1-D21F-449C-57951D0813AC}"/>
                </a:ext>
              </a:extLst>
            </p:cNvPr>
            <p:cNvSpPr txBox="1"/>
            <p:nvPr/>
          </p:nvSpPr>
          <p:spPr>
            <a:xfrm>
              <a:off x="5274979" y="1548360"/>
              <a:ext cx="987387" cy="27268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5284" tIns="42642" rIns="85284" bIns="42642" anchor="ctr" anchorCtr="0">
              <a:spAutoFit/>
            </a:bodyPr>
            <a:lstStyle/>
            <a:p>
              <a:pPr algn="ctr"/>
              <a:r>
                <a:rPr lang="en-US" sz="1471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$x</a:t>
              </a:r>
              <a:endParaRPr sz="14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8" name="Shape1_20220929_150630">
              <a:extLst>
                <a:ext uri="{FF2B5EF4-FFF2-40B4-BE49-F238E27FC236}">
                  <a16:creationId xmlns:a16="http://schemas.microsoft.com/office/drawing/2014/main" id="{AFE85487-E968-1D79-AFE5-0E83462EBEE1}"/>
                </a:ext>
              </a:extLst>
            </p:cNvPr>
            <p:cNvSpPr/>
            <p:nvPr/>
          </p:nvSpPr>
          <p:spPr>
            <a:xfrm>
              <a:off x="5732156" y="4603326"/>
              <a:ext cx="86641" cy="99071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3335" y="118697"/>
                  </a:move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81"/>
                    <a:pt x="123143" y="14981"/>
                    <a:pt x="118697" y="19388"/>
                  </a:cubicBez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9" name="Shape2_20220929_150630">
              <a:extLst>
                <a:ext uri="{FF2B5EF4-FFF2-40B4-BE49-F238E27FC236}">
                  <a16:creationId xmlns:a16="http://schemas.microsoft.com/office/drawing/2014/main" id="{7D587125-EF68-B1B7-A190-B423490D1F3C}"/>
                </a:ext>
              </a:extLst>
            </p:cNvPr>
            <p:cNvSpPr/>
            <p:nvPr/>
          </p:nvSpPr>
          <p:spPr>
            <a:xfrm>
              <a:off x="5732156" y="4603326"/>
              <a:ext cx="86641" cy="99071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02644" y="118697"/>
                  </a:move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90"/>
                    <a:pt x="123143" y="114290"/>
                    <a:pt x="118697" y="118697"/>
                  </a:cubicBezTo>
                  <a:cubicBezTo>
                    <a:pt x="114290" y="123143"/>
                    <a:pt x="107090" y="123143"/>
                    <a:pt x="102644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0" name="Shape3_20220929_150630">
              <a:extLst>
                <a:ext uri="{FF2B5EF4-FFF2-40B4-BE49-F238E27FC236}">
                  <a16:creationId xmlns:a16="http://schemas.microsoft.com/office/drawing/2014/main" id="{1D9A0C68-4E1D-EE90-E10A-7B5647435E05}"/>
                </a:ext>
              </a:extLst>
            </p:cNvPr>
            <p:cNvSpPr/>
            <p:nvPr/>
          </p:nvSpPr>
          <p:spPr>
            <a:xfrm>
              <a:off x="5732156" y="4243146"/>
              <a:ext cx="86641" cy="99038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18697"/>
                  </a:moveTo>
                  <a:cubicBezTo>
                    <a:pt x="114251" y="123143"/>
                    <a:pt x="107050" y="123143"/>
                    <a:pt x="102644" y="118697"/>
                  </a:cubicBez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50"/>
                    <a:pt x="123143" y="114251"/>
                    <a:pt x="118697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1" name="Shape4_20220929_150630">
              <a:extLst>
                <a:ext uri="{FF2B5EF4-FFF2-40B4-BE49-F238E27FC236}">
                  <a16:creationId xmlns:a16="http://schemas.microsoft.com/office/drawing/2014/main" id="{9E46E210-D355-C6BC-5A21-49FB0E629A83}"/>
                </a:ext>
              </a:extLst>
            </p:cNvPr>
            <p:cNvSpPr/>
            <p:nvPr/>
          </p:nvSpPr>
          <p:spPr>
            <a:xfrm>
              <a:off x="5732156" y="4243113"/>
              <a:ext cx="86641" cy="99038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9388"/>
                  </a:move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81"/>
                    <a:pt x="123143" y="14981"/>
                    <a:pt x="118697" y="19388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2" name="Shape5_20220929_150630">
              <a:extLst>
                <a:ext uri="{FF2B5EF4-FFF2-40B4-BE49-F238E27FC236}">
                  <a16:creationId xmlns:a16="http://schemas.microsoft.com/office/drawing/2014/main" id="{A915DBBB-FF3C-B813-796E-2BCF285A185F}"/>
                </a:ext>
              </a:extLst>
            </p:cNvPr>
            <p:cNvSpPr/>
            <p:nvPr/>
          </p:nvSpPr>
          <p:spPr>
            <a:xfrm>
              <a:off x="5732156" y="3882936"/>
              <a:ext cx="86641" cy="99071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18697"/>
                  </a:moveTo>
                  <a:cubicBezTo>
                    <a:pt x="114251" y="123143"/>
                    <a:pt x="107050" y="123143"/>
                    <a:pt x="102644" y="118697"/>
                  </a:cubicBez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90"/>
                    <a:pt x="123143" y="114251"/>
                    <a:pt x="118697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3" name="Shape6_20220929_150630">
              <a:extLst>
                <a:ext uri="{FF2B5EF4-FFF2-40B4-BE49-F238E27FC236}">
                  <a16:creationId xmlns:a16="http://schemas.microsoft.com/office/drawing/2014/main" id="{03DC3DAA-9A85-441F-896D-178949442534}"/>
                </a:ext>
              </a:extLst>
            </p:cNvPr>
            <p:cNvSpPr/>
            <p:nvPr/>
          </p:nvSpPr>
          <p:spPr>
            <a:xfrm>
              <a:off x="5732156" y="3882936"/>
              <a:ext cx="86641" cy="99071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9388"/>
                  </a:move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41"/>
                    <a:pt x="123143" y="14941"/>
                    <a:pt x="118697" y="19388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4" name="Shape2_20220721_110914">
              <a:extLst>
                <a:ext uri="{FF2B5EF4-FFF2-40B4-BE49-F238E27FC236}">
                  <a16:creationId xmlns:a16="http://schemas.microsoft.com/office/drawing/2014/main" id="{5C79CA58-E50A-54F1-0586-F34B431818BC}"/>
                </a:ext>
              </a:extLst>
            </p:cNvPr>
            <p:cNvSpPr/>
            <p:nvPr/>
          </p:nvSpPr>
          <p:spPr>
            <a:xfrm>
              <a:off x="6591332" y="1066800"/>
              <a:ext cx="1627890" cy="4362026"/>
            </a:xfrm>
            <a:custGeom>
              <a:avLst/>
              <a:gdLst/>
              <a:ahLst/>
              <a:cxnLst/>
              <a:rect l="l" t="t" r="r" b="b"/>
              <a:pathLst>
                <a:path w="1652530" h="5618602" extrusionOk="0">
                  <a:moveTo>
                    <a:pt x="1528590" y="5618603"/>
                  </a:moveTo>
                  <a:lnTo>
                    <a:pt x="123940" y="5618603"/>
                  </a:lnTo>
                  <a:cubicBezTo>
                    <a:pt x="55478" y="5618603"/>
                    <a:pt x="0" y="5563125"/>
                    <a:pt x="0" y="5494663"/>
                  </a:cubicBezTo>
                  <a:lnTo>
                    <a:pt x="0" y="123940"/>
                  </a:lnTo>
                  <a:cubicBezTo>
                    <a:pt x="0" y="55478"/>
                    <a:pt x="55478" y="0"/>
                    <a:pt x="123940" y="0"/>
                  </a:cubicBezTo>
                  <a:lnTo>
                    <a:pt x="1528590" y="0"/>
                  </a:lnTo>
                  <a:cubicBezTo>
                    <a:pt x="1597052" y="0"/>
                    <a:pt x="1652530" y="55478"/>
                    <a:pt x="1652530" y="123940"/>
                  </a:cubicBezTo>
                  <a:lnTo>
                    <a:pt x="1652530" y="5494663"/>
                  </a:lnTo>
                  <a:cubicBezTo>
                    <a:pt x="1652530" y="5563125"/>
                    <a:pt x="1597052" y="5618603"/>
                    <a:pt x="1528590" y="5618603"/>
                  </a:cubicBezTo>
                  <a:close/>
                </a:path>
              </a:pathLst>
            </a:custGeom>
            <a:noFill/>
            <a:ln>
              <a:noFill/>
            </a:ln>
            <a:effectLst/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27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5" name="Shape0_20220721_110731">
              <a:extLst>
                <a:ext uri="{FF2B5EF4-FFF2-40B4-BE49-F238E27FC236}">
                  <a16:creationId xmlns:a16="http://schemas.microsoft.com/office/drawing/2014/main" id="{6912A5B6-F144-5107-50B4-33415A5DDD35}"/>
                </a:ext>
              </a:extLst>
            </p:cNvPr>
            <p:cNvSpPr/>
            <p:nvPr/>
          </p:nvSpPr>
          <p:spPr>
            <a:xfrm>
              <a:off x="6676540" y="1123919"/>
              <a:ext cx="1465102" cy="804473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6" name="Shape1_20220721_110731">
              <a:extLst>
                <a:ext uri="{FF2B5EF4-FFF2-40B4-BE49-F238E27FC236}">
                  <a16:creationId xmlns:a16="http://schemas.microsoft.com/office/drawing/2014/main" id="{59F5DFC9-D418-B83A-2EB1-6A325E8886CD}"/>
                </a:ext>
              </a:extLst>
            </p:cNvPr>
            <p:cNvSpPr/>
            <p:nvPr/>
          </p:nvSpPr>
          <p:spPr>
            <a:xfrm>
              <a:off x="6663661" y="4933092"/>
              <a:ext cx="1497661" cy="442652"/>
            </a:xfrm>
            <a:prstGeom prst="roundRect">
              <a:avLst>
                <a:gd name="adj" fmla="val 11531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</a:p>
          </p:txBody>
        </p:sp>
        <p:sp>
          <p:nvSpPr>
            <p:cNvPr id="37" name="Google Shape;3766;p66">
              <a:extLst>
                <a:ext uri="{FF2B5EF4-FFF2-40B4-BE49-F238E27FC236}">
                  <a16:creationId xmlns:a16="http://schemas.microsoft.com/office/drawing/2014/main" id="{DE2C6017-B6C2-0604-936B-E14E794FD902}"/>
                </a:ext>
              </a:extLst>
            </p:cNvPr>
            <p:cNvSpPr txBox="1"/>
            <p:nvPr/>
          </p:nvSpPr>
          <p:spPr>
            <a:xfrm>
              <a:off x="6830281" y="1210814"/>
              <a:ext cx="1157622" cy="27268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5284" tIns="42642" rIns="85284" bIns="42642" anchor="ctr" anchorCtr="0">
              <a:spAutoFit/>
            </a:bodyPr>
            <a:lstStyle/>
            <a:p>
              <a:pPr algn="ctr"/>
              <a:r>
                <a:rPr lang="en-US" sz="1471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Title</a:t>
              </a:r>
              <a:endParaRPr sz="1471" b="1" dirty="0">
                <a:solidFill>
                  <a:schemeClr val="lt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8" name="Google Shape;3767;p66">
              <a:extLst>
                <a:ext uri="{FF2B5EF4-FFF2-40B4-BE49-F238E27FC236}">
                  <a16:creationId xmlns:a16="http://schemas.microsoft.com/office/drawing/2014/main" id="{19CBBF3D-07DE-D3C7-1581-15A0C87F6FF3}"/>
                </a:ext>
              </a:extLst>
            </p:cNvPr>
            <p:cNvSpPr txBox="1"/>
            <p:nvPr/>
          </p:nvSpPr>
          <p:spPr>
            <a:xfrm>
              <a:off x="6915401" y="1548360"/>
              <a:ext cx="987387" cy="27268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5284" tIns="42642" rIns="85284" bIns="42642" anchor="ctr" anchorCtr="0">
              <a:spAutoFit/>
            </a:bodyPr>
            <a:lstStyle/>
            <a:p>
              <a:pPr algn="ctr"/>
              <a:r>
                <a:rPr lang="en-US" sz="1471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$x</a:t>
              </a:r>
              <a:endParaRPr sz="14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9" name="Shape1_20220929_150622">
              <a:extLst>
                <a:ext uri="{FF2B5EF4-FFF2-40B4-BE49-F238E27FC236}">
                  <a16:creationId xmlns:a16="http://schemas.microsoft.com/office/drawing/2014/main" id="{3A4C6A1D-A999-CCFF-4417-E11EC027A087}"/>
                </a:ext>
              </a:extLst>
            </p:cNvPr>
            <p:cNvSpPr/>
            <p:nvPr/>
          </p:nvSpPr>
          <p:spPr>
            <a:xfrm>
              <a:off x="7340182" y="3852746"/>
              <a:ext cx="144620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7"/>
                  </a:cubicBezTo>
                  <a:lnTo>
                    <a:pt x="1367" y="77344"/>
                  </a:lnTo>
                  <a:cubicBezTo>
                    <a:pt x="-1623" y="71836"/>
                    <a:pt x="462" y="64911"/>
                    <a:pt x="5971" y="61960"/>
                  </a:cubicBezTo>
                  <a:cubicBezTo>
                    <a:pt x="11479" y="58969"/>
                    <a:pt x="18365" y="61055"/>
                    <a:pt x="21355" y="66563"/>
                  </a:cubicBezTo>
                  <a:lnTo>
                    <a:pt x="54484" y="127904"/>
                  </a:lnTo>
                  <a:lnTo>
                    <a:pt x="120310" y="5971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7"/>
                  </a:lnTo>
                  <a:cubicBezTo>
                    <a:pt x="62511" y="160876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0" name="Shape7_20220929_150630">
              <a:extLst>
                <a:ext uri="{FF2B5EF4-FFF2-40B4-BE49-F238E27FC236}">
                  <a16:creationId xmlns:a16="http://schemas.microsoft.com/office/drawing/2014/main" id="{8CB3A160-0E01-59EC-F3BB-014BD97DBC87}"/>
                </a:ext>
              </a:extLst>
            </p:cNvPr>
            <p:cNvSpPr/>
            <p:nvPr/>
          </p:nvSpPr>
          <p:spPr>
            <a:xfrm>
              <a:off x="7369174" y="4603326"/>
              <a:ext cx="86641" cy="99071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3335" y="118697"/>
                  </a:move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81"/>
                    <a:pt x="123143" y="14981"/>
                    <a:pt x="118697" y="19388"/>
                  </a:cubicBez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1" name="Shape8_20220929_150630">
              <a:extLst>
                <a:ext uri="{FF2B5EF4-FFF2-40B4-BE49-F238E27FC236}">
                  <a16:creationId xmlns:a16="http://schemas.microsoft.com/office/drawing/2014/main" id="{7522BC76-8CB3-AAA7-8649-4082368E6469}"/>
                </a:ext>
              </a:extLst>
            </p:cNvPr>
            <p:cNvSpPr/>
            <p:nvPr/>
          </p:nvSpPr>
          <p:spPr>
            <a:xfrm>
              <a:off x="7369174" y="4603326"/>
              <a:ext cx="86641" cy="99071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02644" y="118697"/>
                  </a:move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90"/>
                    <a:pt x="123143" y="114290"/>
                    <a:pt x="118697" y="118697"/>
                  </a:cubicBezTo>
                  <a:cubicBezTo>
                    <a:pt x="114290" y="123143"/>
                    <a:pt x="107090" y="123143"/>
                    <a:pt x="102644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2" name="Shape9_20220929_150630">
              <a:extLst>
                <a:ext uri="{FF2B5EF4-FFF2-40B4-BE49-F238E27FC236}">
                  <a16:creationId xmlns:a16="http://schemas.microsoft.com/office/drawing/2014/main" id="{9DBF67EF-5F79-20C9-96A1-4AEEDEBC850D}"/>
                </a:ext>
              </a:extLst>
            </p:cNvPr>
            <p:cNvSpPr/>
            <p:nvPr/>
          </p:nvSpPr>
          <p:spPr>
            <a:xfrm>
              <a:off x="7369174" y="4243146"/>
              <a:ext cx="86641" cy="99038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18697"/>
                  </a:moveTo>
                  <a:cubicBezTo>
                    <a:pt x="114251" y="123143"/>
                    <a:pt x="107050" y="123143"/>
                    <a:pt x="102644" y="118697"/>
                  </a:cubicBez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50"/>
                    <a:pt x="123143" y="114251"/>
                    <a:pt x="118697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3" name="Shape10_20220929_150630">
              <a:extLst>
                <a:ext uri="{FF2B5EF4-FFF2-40B4-BE49-F238E27FC236}">
                  <a16:creationId xmlns:a16="http://schemas.microsoft.com/office/drawing/2014/main" id="{06FCD8D6-3D79-B99C-CC22-97A05AC88C0C}"/>
                </a:ext>
              </a:extLst>
            </p:cNvPr>
            <p:cNvSpPr/>
            <p:nvPr/>
          </p:nvSpPr>
          <p:spPr>
            <a:xfrm>
              <a:off x="7369174" y="4243113"/>
              <a:ext cx="86641" cy="99038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9388"/>
                  </a:move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81"/>
                    <a:pt x="123143" y="14981"/>
                    <a:pt x="118697" y="19388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4" name="Shape0_20220721_110735">
              <a:extLst>
                <a:ext uri="{FF2B5EF4-FFF2-40B4-BE49-F238E27FC236}">
                  <a16:creationId xmlns:a16="http://schemas.microsoft.com/office/drawing/2014/main" id="{444696F8-7EE2-2BDF-12C4-84AE0233F930}"/>
                </a:ext>
              </a:extLst>
            </p:cNvPr>
            <p:cNvSpPr/>
            <p:nvPr/>
          </p:nvSpPr>
          <p:spPr>
            <a:xfrm>
              <a:off x="8300681" y="1123919"/>
              <a:ext cx="1497661" cy="804473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5" name="Shape1_20220721_110735">
              <a:extLst>
                <a:ext uri="{FF2B5EF4-FFF2-40B4-BE49-F238E27FC236}">
                  <a16:creationId xmlns:a16="http://schemas.microsoft.com/office/drawing/2014/main" id="{70BBC17F-F487-9263-B325-CF7718768EE5}"/>
                </a:ext>
              </a:extLst>
            </p:cNvPr>
            <p:cNvSpPr/>
            <p:nvPr/>
          </p:nvSpPr>
          <p:spPr>
            <a:xfrm>
              <a:off x="8300681" y="4933092"/>
              <a:ext cx="1497661" cy="442652"/>
            </a:xfrm>
            <a:prstGeom prst="roundRect">
              <a:avLst>
                <a:gd name="adj" fmla="val 11531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</a:p>
          </p:txBody>
        </p:sp>
        <p:sp>
          <p:nvSpPr>
            <p:cNvPr id="46" name="Google Shape;3794;p66">
              <a:extLst>
                <a:ext uri="{FF2B5EF4-FFF2-40B4-BE49-F238E27FC236}">
                  <a16:creationId xmlns:a16="http://schemas.microsoft.com/office/drawing/2014/main" id="{9DAF4275-076C-B49E-C674-43E326AC648A}"/>
                </a:ext>
              </a:extLst>
            </p:cNvPr>
            <p:cNvSpPr txBox="1"/>
            <p:nvPr/>
          </p:nvSpPr>
          <p:spPr>
            <a:xfrm>
              <a:off x="8470699" y="1210814"/>
              <a:ext cx="1157622" cy="27268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5284" tIns="42642" rIns="85284" bIns="42642" anchor="ctr" anchorCtr="0">
              <a:spAutoFit/>
            </a:bodyPr>
            <a:lstStyle/>
            <a:p>
              <a:pPr algn="ctr"/>
              <a:r>
                <a:rPr lang="en-US" sz="1471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Title</a:t>
              </a:r>
              <a:endParaRPr sz="1471" b="1" dirty="0">
                <a:solidFill>
                  <a:schemeClr val="lt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7" name="Google Shape;3795;p66">
              <a:extLst>
                <a:ext uri="{FF2B5EF4-FFF2-40B4-BE49-F238E27FC236}">
                  <a16:creationId xmlns:a16="http://schemas.microsoft.com/office/drawing/2014/main" id="{6925571C-242D-8CF3-37BE-BD26E6225B05}"/>
                </a:ext>
              </a:extLst>
            </p:cNvPr>
            <p:cNvSpPr txBox="1"/>
            <p:nvPr/>
          </p:nvSpPr>
          <p:spPr>
            <a:xfrm>
              <a:off x="8555819" y="1548360"/>
              <a:ext cx="987387" cy="27268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5284" tIns="42642" rIns="85284" bIns="42642" anchor="ctr" anchorCtr="0">
              <a:spAutoFit/>
            </a:bodyPr>
            <a:lstStyle/>
            <a:p>
              <a:pPr algn="ctr"/>
              <a:r>
                <a:rPr lang="en-US" sz="1471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$x</a:t>
              </a:r>
              <a:endParaRPr sz="14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8" name="Shape2_20220929_150622">
              <a:extLst>
                <a:ext uri="{FF2B5EF4-FFF2-40B4-BE49-F238E27FC236}">
                  <a16:creationId xmlns:a16="http://schemas.microsoft.com/office/drawing/2014/main" id="{1501DFD5-07CB-CD48-9BAE-362B931D82BE}"/>
                </a:ext>
              </a:extLst>
            </p:cNvPr>
            <p:cNvSpPr/>
            <p:nvPr/>
          </p:nvSpPr>
          <p:spPr>
            <a:xfrm>
              <a:off x="8977201" y="3852746"/>
              <a:ext cx="144620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7"/>
                  </a:cubicBezTo>
                  <a:lnTo>
                    <a:pt x="1367" y="77344"/>
                  </a:lnTo>
                  <a:cubicBezTo>
                    <a:pt x="-1623" y="71836"/>
                    <a:pt x="462" y="64911"/>
                    <a:pt x="5971" y="61960"/>
                  </a:cubicBezTo>
                  <a:cubicBezTo>
                    <a:pt x="11479" y="58969"/>
                    <a:pt x="18365" y="61055"/>
                    <a:pt x="21355" y="66563"/>
                  </a:cubicBezTo>
                  <a:lnTo>
                    <a:pt x="54484" y="127904"/>
                  </a:lnTo>
                  <a:lnTo>
                    <a:pt x="120310" y="5971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7"/>
                  </a:lnTo>
                  <a:cubicBezTo>
                    <a:pt x="62511" y="160876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9" name="Shape3_20220929_150622">
              <a:extLst>
                <a:ext uri="{FF2B5EF4-FFF2-40B4-BE49-F238E27FC236}">
                  <a16:creationId xmlns:a16="http://schemas.microsoft.com/office/drawing/2014/main" id="{3AC6D401-65AA-3165-F64F-E1183935E32F}"/>
                </a:ext>
              </a:extLst>
            </p:cNvPr>
            <p:cNvSpPr/>
            <p:nvPr/>
          </p:nvSpPr>
          <p:spPr>
            <a:xfrm>
              <a:off x="8977201" y="4209362"/>
              <a:ext cx="144620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lnTo>
                    <a:pt x="54484" y="163197"/>
                  </a:ln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0"/>
                    <a:pt x="5971" y="61960"/>
                  </a:cubicBezTo>
                  <a:cubicBezTo>
                    <a:pt x="11479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0" name="Shape4_20220929_150622">
              <a:extLst>
                <a:ext uri="{FF2B5EF4-FFF2-40B4-BE49-F238E27FC236}">
                  <a16:creationId xmlns:a16="http://schemas.microsoft.com/office/drawing/2014/main" id="{DA7C3386-CED4-102A-03ED-65A0C3B4D755}"/>
                </a:ext>
              </a:extLst>
            </p:cNvPr>
            <p:cNvSpPr/>
            <p:nvPr/>
          </p:nvSpPr>
          <p:spPr>
            <a:xfrm>
              <a:off x="8977201" y="4598745"/>
              <a:ext cx="144620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lnTo>
                    <a:pt x="54484" y="163197"/>
                  </a:ln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0"/>
                    <a:pt x="5971" y="61960"/>
                  </a:cubicBezTo>
                  <a:cubicBezTo>
                    <a:pt x="11479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87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1" name="Shape4_20220721_110914">
              <a:extLst>
                <a:ext uri="{FF2B5EF4-FFF2-40B4-BE49-F238E27FC236}">
                  <a16:creationId xmlns:a16="http://schemas.microsoft.com/office/drawing/2014/main" id="{D2767CE1-F09B-95E4-EAE5-17D2E002E59B}"/>
                </a:ext>
              </a:extLst>
            </p:cNvPr>
            <p:cNvSpPr/>
            <p:nvPr/>
          </p:nvSpPr>
          <p:spPr>
            <a:xfrm>
              <a:off x="9879792" y="1066800"/>
              <a:ext cx="1627890" cy="4362026"/>
            </a:xfrm>
            <a:custGeom>
              <a:avLst/>
              <a:gdLst/>
              <a:ahLst/>
              <a:cxnLst/>
              <a:rect l="l" t="t" r="r" b="b"/>
              <a:pathLst>
                <a:path w="1652530" h="5618602" extrusionOk="0">
                  <a:moveTo>
                    <a:pt x="1528590" y="5618603"/>
                  </a:moveTo>
                  <a:lnTo>
                    <a:pt x="123940" y="5618603"/>
                  </a:lnTo>
                  <a:cubicBezTo>
                    <a:pt x="55478" y="5618603"/>
                    <a:pt x="0" y="5563125"/>
                    <a:pt x="0" y="5494663"/>
                  </a:cubicBezTo>
                  <a:lnTo>
                    <a:pt x="0" y="123940"/>
                  </a:lnTo>
                  <a:cubicBezTo>
                    <a:pt x="0" y="55478"/>
                    <a:pt x="55478" y="0"/>
                    <a:pt x="123940" y="0"/>
                  </a:cubicBezTo>
                  <a:lnTo>
                    <a:pt x="1528590" y="0"/>
                  </a:lnTo>
                  <a:cubicBezTo>
                    <a:pt x="1597052" y="0"/>
                    <a:pt x="1652530" y="55478"/>
                    <a:pt x="1652530" y="123940"/>
                  </a:cubicBezTo>
                  <a:lnTo>
                    <a:pt x="1652530" y="5494663"/>
                  </a:lnTo>
                  <a:cubicBezTo>
                    <a:pt x="1652530" y="5563125"/>
                    <a:pt x="1597052" y="5618603"/>
                    <a:pt x="1528590" y="5618603"/>
                  </a:cubicBezTo>
                  <a:close/>
                </a:path>
              </a:pathLst>
            </a:custGeom>
            <a:noFill/>
            <a:ln>
              <a:noFill/>
            </a:ln>
            <a:effectLst/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27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2" name="Shape0_20220721_110953">
              <a:extLst>
                <a:ext uri="{FF2B5EF4-FFF2-40B4-BE49-F238E27FC236}">
                  <a16:creationId xmlns:a16="http://schemas.microsoft.com/office/drawing/2014/main" id="{6E606F83-55ED-A499-A7E4-059663B7289D}"/>
                </a:ext>
              </a:extLst>
            </p:cNvPr>
            <p:cNvSpPr/>
            <p:nvPr/>
          </p:nvSpPr>
          <p:spPr>
            <a:xfrm>
              <a:off x="9944908" y="1123919"/>
              <a:ext cx="1497661" cy="804473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3" name="Shape1_20220721_110953">
              <a:extLst>
                <a:ext uri="{FF2B5EF4-FFF2-40B4-BE49-F238E27FC236}">
                  <a16:creationId xmlns:a16="http://schemas.microsoft.com/office/drawing/2014/main" id="{9EF6B0D3-1876-F9BB-72FF-0CBD85ECCCA6}"/>
                </a:ext>
              </a:extLst>
            </p:cNvPr>
            <p:cNvSpPr/>
            <p:nvPr/>
          </p:nvSpPr>
          <p:spPr>
            <a:xfrm>
              <a:off x="9944908" y="4933092"/>
              <a:ext cx="1497661" cy="442652"/>
            </a:xfrm>
            <a:prstGeom prst="roundRect">
              <a:avLst>
                <a:gd name="adj" fmla="val 11531"/>
              </a:avLst>
            </a:prstGeom>
            <a:solidFill>
              <a:schemeClr val="accent5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</a:p>
          </p:txBody>
        </p:sp>
        <p:sp>
          <p:nvSpPr>
            <p:cNvPr id="54" name="Google Shape;3816;p66">
              <a:extLst>
                <a:ext uri="{FF2B5EF4-FFF2-40B4-BE49-F238E27FC236}">
                  <a16:creationId xmlns:a16="http://schemas.microsoft.com/office/drawing/2014/main" id="{E83EF370-76AF-0FAB-18B9-9996675E8854}"/>
                </a:ext>
              </a:extLst>
            </p:cNvPr>
            <p:cNvSpPr txBox="1"/>
            <p:nvPr/>
          </p:nvSpPr>
          <p:spPr>
            <a:xfrm>
              <a:off x="10114931" y="1210814"/>
              <a:ext cx="1157622" cy="27268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5284" tIns="42642" rIns="85284" bIns="42642" anchor="ctr" anchorCtr="0">
              <a:spAutoFit/>
            </a:bodyPr>
            <a:lstStyle/>
            <a:p>
              <a:pPr algn="ctr"/>
              <a:r>
                <a:rPr lang="en-US" sz="1471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Title</a:t>
              </a:r>
              <a:endParaRPr sz="1471" b="1" dirty="0">
                <a:solidFill>
                  <a:schemeClr val="lt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6" name="Google Shape;3817;p66">
              <a:extLst>
                <a:ext uri="{FF2B5EF4-FFF2-40B4-BE49-F238E27FC236}">
                  <a16:creationId xmlns:a16="http://schemas.microsoft.com/office/drawing/2014/main" id="{06B2B071-33B9-85D3-EECE-CF1F173566C7}"/>
                </a:ext>
              </a:extLst>
            </p:cNvPr>
            <p:cNvSpPr txBox="1"/>
            <p:nvPr/>
          </p:nvSpPr>
          <p:spPr>
            <a:xfrm>
              <a:off x="10200047" y="1548360"/>
              <a:ext cx="987387" cy="27268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5284" tIns="42642" rIns="85284" bIns="42642" anchor="ctr" anchorCtr="0">
              <a:spAutoFit/>
            </a:bodyPr>
            <a:lstStyle/>
            <a:p>
              <a:pPr algn="ctr"/>
              <a:r>
                <a:rPr lang="en-US" sz="1471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$x</a:t>
              </a:r>
              <a:endParaRPr sz="14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7" name="Shape11_20220929_150630">
              <a:extLst>
                <a:ext uri="{FF2B5EF4-FFF2-40B4-BE49-F238E27FC236}">
                  <a16:creationId xmlns:a16="http://schemas.microsoft.com/office/drawing/2014/main" id="{D4854659-BC9B-0AA0-8C76-4BE26747B3C4}"/>
                </a:ext>
              </a:extLst>
            </p:cNvPr>
            <p:cNvSpPr/>
            <p:nvPr/>
          </p:nvSpPr>
          <p:spPr>
            <a:xfrm>
              <a:off x="10650420" y="4603326"/>
              <a:ext cx="86641" cy="99071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3335" y="118697"/>
                  </a:move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81"/>
                    <a:pt x="123143" y="14981"/>
                    <a:pt x="118697" y="19388"/>
                  </a:cubicBez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8" name="Shape12_20220929_150630">
              <a:extLst>
                <a:ext uri="{FF2B5EF4-FFF2-40B4-BE49-F238E27FC236}">
                  <a16:creationId xmlns:a16="http://schemas.microsoft.com/office/drawing/2014/main" id="{462BD69E-D023-2899-067A-C81D870F5DB6}"/>
                </a:ext>
              </a:extLst>
            </p:cNvPr>
            <p:cNvSpPr/>
            <p:nvPr/>
          </p:nvSpPr>
          <p:spPr>
            <a:xfrm>
              <a:off x="10650420" y="4603326"/>
              <a:ext cx="86641" cy="99071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02644" y="118697"/>
                  </a:move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90"/>
                    <a:pt x="123143" y="114290"/>
                    <a:pt x="118697" y="118697"/>
                  </a:cubicBezTo>
                  <a:cubicBezTo>
                    <a:pt x="114290" y="123143"/>
                    <a:pt x="107090" y="123143"/>
                    <a:pt x="102644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9" name="Shape13_20220929_150630">
              <a:extLst>
                <a:ext uri="{FF2B5EF4-FFF2-40B4-BE49-F238E27FC236}">
                  <a16:creationId xmlns:a16="http://schemas.microsoft.com/office/drawing/2014/main" id="{5699AAAA-4B06-77BE-7FD3-D2D0DECC4660}"/>
                </a:ext>
              </a:extLst>
            </p:cNvPr>
            <p:cNvSpPr/>
            <p:nvPr/>
          </p:nvSpPr>
          <p:spPr>
            <a:xfrm>
              <a:off x="10650420" y="4243146"/>
              <a:ext cx="86641" cy="99038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18697"/>
                  </a:moveTo>
                  <a:cubicBezTo>
                    <a:pt x="114251" y="123143"/>
                    <a:pt x="107050" y="123143"/>
                    <a:pt x="102644" y="118697"/>
                  </a:cubicBez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50"/>
                    <a:pt x="123143" y="114251"/>
                    <a:pt x="118697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60" name="Shape0_20220929_150630">
              <a:extLst>
                <a:ext uri="{FF2B5EF4-FFF2-40B4-BE49-F238E27FC236}">
                  <a16:creationId xmlns:a16="http://schemas.microsoft.com/office/drawing/2014/main" id="{97BBDF9B-0324-53D2-907D-BBDD4518232D}"/>
                </a:ext>
              </a:extLst>
            </p:cNvPr>
            <p:cNvSpPr/>
            <p:nvPr/>
          </p:nvSpPr>
          <p:spPr>
            <a:xfrm>
              <a:off x="10650420" y="4243113"/>
              <a:ext cx="86641" cy="99038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9388"/>
                  </a:move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81"/>
                    <a:pt x="123143" y="14981"/>
                    <a:pt x="118697" y="19388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61" name="Shape14_20220929_150630">
              <a:extLst>
                <a:ext uri="{FF2B5EF4-FFF2-40B4-BE49-F238E27FC236}">
                  <a16:creationId xmlns:a16="http://schemas.microsoft.com/office/drawing/2014/main" id="{4DED9B79-AE33-38C3-DA30-6B58B18836A0}"/>
                </a:ext>
              </a:extLst>
            </p:cNvPr>
            <p:cNvSpPr/>
            <p:nvPr/>
          </p:nvSpPr>
          <p:spPr>
            <a:xfrm>
              <a:off x="10650420" y="3882936"/>
              <a:ext cx="86641" cy="99071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18697"/>
                  </a:moveTo>
                  <a:cubicBezTo>
                    <a:pt x="114251" y="123143"/>
                    <a:pt x="107050" y="123143"/>
                    <a:pt x="102644" y="118697"/>
                  </a:cubicBez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90"/>
                    <a:pt x="123143" y="114251"/>
                    <a:pt x="118697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62" name="Shape15_20220929_150630">
              <a:extLst>
                <a:ext uri="{FF2B5EF4-FFF2-40B4-BE49-F238E27FC236}">
                  <a16:creationId xmlns:a16="http://schemas.microsoft.com/office/drawing/2014/main" id="{D2BA1812-8C7B-87F7-8E0C-54616A606B94}"/>
                </a:ext>
              </a:extLst>
            </p:cNvPr>
            <p:cNvSpPr/>
            <p:nvPr/>
          </p:nvSpPr>
          <p:spPr>
            <a:xfrm>
              <a:off x="10650420" y="3882936"/>
              <a:ext cx="86641" cy="99071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9388"/>
                  </a:move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41"/>
                    <a:pt x="123143" y="14941"/>
                    <a:pt x="118697" y="19388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63" name="Shape5_20220929_150622">
              <a:extLst>
                <a:ext uri="{FF2B5EF4-FFF2-40B4-BE49-F238E27FC236}">
                  <a16:creationId xmlns:a16="http://schemas.microsoft.com/office/drawing/2014/main" id="{9F8652B6-AD3D-3708-817D-811EA5DE7295}"/>
                </a:ext>
              </a:extLst>
            </p:cNvPr>
            <p:cNvSpPr/>
            <p:nvPr/>
          </p:nvSpPr>
          <p:spPr>
            <a:xfrm>
              <a:off x="5703169" y="2077377"/>
              <a:ext cx="144620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6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4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64" name="Shape6_20220929_150622">
              <a:extLst>
                <a:ext uri="{FF2B5EF4-FFF2-40B4-BE49-F238E27FC236}">
                  <a16:creationId xmlns:a16="http://schemas.microsoft.com/office/drawing/2014/main" id="{3D879A9E-C5F7-67CE-5DFD-366D118BC4FC}"/>
                </a:ext>
              </a:extLst>
            </p:cNvPr>
            <p:cNvSpPr/>
            <p:nvPr/>
          </p:nvSpPr>
          <p:spPr>
            <a:xfrm>
              <a:off x="7340182" y="2077377"/>
              <a:ext cx="144620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6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4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65" name="Shape7_20220929_150622">
              <a:extLst>
                <a:ext uri="{FF2B5EF4-FFF2-40B4-BE49-F238E27FC236}">
                  <a16:creationId xmlns:a16="http://schemas.microsoft.com/office/drawing/2014/main" id="{07F30228-07F2-F164-C942-ECDF29A55786}"/>
                </a:ext>
              </a:extLst>
            </p:cNvPr>
            <p:cNvSpPr/>
            <p:nvPr/>
          </p:nvSpPr>
          <p:spPr>
            <a:xfrm>
              <a:off x="8977201" y="2077377"/>
              <a:ext cx="144620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6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4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66" name="Shape0_20220929_150622">
              <a:extLst>
                <a:ext uri="{FF2B5EF4-FFF2-40B4-BE49-F238E27FC236}">
                  <a16:creationId xmlns:a16="http://schemas.microsoft.com/office/drawing/2014/main" id="{8DD98C9E-F18C-0944-9033-406BC5489E31}"/>
                </a:ext>
              </a:extLst>
            </p:cNvPr>
            <p:cNvSpPr/>
            <p:nvPr/>
          </p:nvSpPr>
          <p:spPr>
            <a:xfrm>
              <a:off x="10621431" y="2077377"/>
              <a:ext cx="144620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6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4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67" name="Shape8_20220929_150622">
              <a:extLst>
                <a:ext uri="{FF2B5EF4-FFF2-40B4-BE49-F238E27FC236}">
                  <a16:creationId xmlns:a16="http://schemas.microsoft.com/office/drawing/2014/main" id="{0F08578D-DC37-CDB5-D8EB-45F03646AD3C}"/>
                </a:ext>
              </a:extLst>
            </p:cNvPr>
            <p:cNvSpPr/>
            <p:nvPr/>
          </p:nvSpPr>
          <p:spPr>
            <a:xfrm>
              <a:off x="5703169" y="2437572"/>
              <a:ext cx="144620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50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68" name="Shape9_20220929_150622">
              <a:extLst>
                <a:ext uri="{FF2B5EF4-FFF2-40B4-BE49-F238E27FC236}">
                  <a16:creationId xmlns:a16="http://schemas.microsoft.com/office/drawing/2014/main" id="{0386B716-97FF-D747-9D93-349F2C660708}"/>
                </a:ext>
              </a:extLst>
            </p:cNvPr>
            <p:cNvSpPr/>
            <p:nvPr/>
          </p:nvSpPr>
          <p:spPr>
            <a:xfrm>
              <a:off x="7340182" y="2437572"/>
              <a:ext cx="144620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50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69" name="Shape10_20220929_150622">
              <a:extLst>
                <a:ext uri="{FF2B5EF4-FFF2-40B4-BE49-F238E27FC236}">
                  <a16:creationId xmlns:a16="http://schemas.microsoft.com/office/drawing/2014/main" id="{162BEEF3-4E3C-1DE4-9076-16E5FBDAEACF}"/>
                </a:ext>
              </a:extLst>
            </p:cNvPr>
            <p:cNvSpPr/>
            <p:nvPr/>
          </p:nvSpPr>
          <p:spPr>
            <a:xfrm>
              <a:off x="8977201" y="2437572"/>
              <a:ext cx="144620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50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70" name="Shape11_20220929_150622">
              <a:extLst>
                <a:ext uri="{FF2B5EF4-FFF2-40B4-BE49-F238E27FC236}">
                  <a16:creationId xmlns:a16="http://schemas.microsoft.com/office/drawing/2014/main" id="{4CBFFD7E-1324-DD6A-D313-EEA19CDF4B4E}"/>
                </a:ext>
              </a:extLst>
            </p:cNvPr>
            <p:cNvSpPr/>
            <p:nvPr/>
          </p:nvSpPr>
          <p:spPr>
            <a:xfrm>
              <a:off x="10621431" y="2437572"/>
              <a:ext cx="144620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50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F16D4FE1-7FAB-F186-5C69-809F5FEC691B}"/>
                </a:ext>
              </a:extLst>
            </p:cNvPr>
            <p:cNvGrpSpPr/>
            <p:nvPr/>
          </p:nvGrpSpPr>
          <p:grpSpPr>
            <a:xfrm>
              <a:off x="5732156" y="2802347"/>
              <a:ext cx="86641" cy="99071"/>
              <a:chOff x="5637424" y="3274525"/>
              <a:chExt cx="91469" cy="104023"/>
            </a:xfrm>
          </p:grpSpPr>
          <p:sp>
            <p:nvSpPr>
              <p:cNvPr id="72" name="Google Shape;3752;p66">
                <a:extLst>
                  <a:ext uri="{FF2B5EF4-FFF2-40B4-BE49-F238E27FC236}">
                    <a16:creationId xmlns:a16="http://schemas.microsoft.com/office/drawing/2014/main" id="{1E1142B9-81D4-F9D5-5ED4-2A5472ECF9CB}"/>
                  </a:ext>
                </a:extLst>
              </p:cNvPr>
              <p:cNvSpPr/>
              <p:nvPr/>
            </p:nvSpPr>
            <p:spPr>
              <a:xfrm>
                <a:off x="5637424" y="3274525"/>
                <a:ext cx="91469" cy="104023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18697"/>
                    </a:moveTo>
                    <a:cubicBezTo>
                      <a:pt x="114251" y="123143"/>
                      <a:pt x="107050" y="123143"/>
                      <a:pt x="102644" y="118697"/>
                    </a:cubicBezTo>
                    <a:lnTo>
                      <a:pt x="3335" y="19388"/>
                    </a:lnTo>
                    <a:cubicBezTo>
                      <a:pt x="-1112" y="14942"/>
                      <a:pt x="-1112" y="7741"/>
                      <a:pt x="3335" y="3335"/>
                    </a:cubicBezTo>
                    <a:cubicBezTo>
                      <a:pt x="7781" y="-1112"/>
                      <a:pt x="14981" y="-1112"/>
                      <a:pt x="19388" y="3335"/>
                    </a:cubicBezTo>
                    <a:lnTo>
                      <a:pt x="118697" y="102644"/>
                    </a:lnTo>
                    <a:cubicBezTo>
                      <a:pt x="123143" y="107090"/>
                      <a:pt x="123143" y="114290"/>
                      <a:pt x="118697" y="118697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  <p:sp>
            <p:nvSpPr>
              <p:cNvPr id="73" name="Google Shape;3753;p66">
                <a:extLst>
                  <a:ext uri="{FF2B5EF4-FFF2-40B4-BE49-F238E27FC236}">
                    <a16:creationId xmlns:a16="http://schemas.microsoft.com/office/drawing/2014/main" id="{444CFE64-82D0-DF85-3C8F-6067B9D29120}"/>
                  </a:ext>
                </a:extLst>
              </p:cNvPr>
              <p:cNvSpPr/>
              <p:nvPr/>
            </p:nvSpPr>
            <p:spPr>
              <a:xfrm>
                <a:off x="5637424" y="3274525"/>
                <a:ext cx="91469" cy="104023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9388"/>
                    </a:moveTo>
                    <a:lnTo>
                      <a:pt x="19388" y="118697"/>
                    </a:lnTo>
                    <a:cubicBezTo>
                      <a:pt x="14942" y="123143"/>
                      <a:pt x="7741" y="123143"/>
                      <a:pt x="3335" y="118697"/>
                    </a:cubicBezTo>
                    <a:cubicBezTo>
                      <a:pt x="-1112" y="114251"/>
                      <a:pt x="-1112" y="107050"/>
                      <a:pt x="3335" y="102644"/>
                    </a:cubicBezTo>
                    <a:lnTo>
                      <a:pt x="102644" y="3335"/>
                    </a:lnTo>
                    <a:cubicBezTo>
                      <a:pt x="107090" y="-1112"/>
                      <a:pt x="114290" y="-1112"/>
                      <a:pt x="118697" y="3335"/>
                    </a:cubicBezTo>
                    <a:cubicBezTo>
                      <a:pt x="123143" y="7781"/>
                      <a:pt x="123143" y="14942"/>
                      <a:pt x="118697" y="19388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</p:grpSp>
        <p:sp>
          <p:nvSpPr>
            <p:cNvPr id="74" name="Shape12_20220929_150622">
              <a:extLst>
                <a:ext uri="{FF2B5EF4-FFF2-40B4-BE49-F238E27FC236}">
                  <a16:creationId xmlns:a16="http://schemas.microsoft.com/office/drawing/2014/main" id="{D1B823CC-F921-8777-7BFA-01A1F093D336}"/>
                </a:ext>
              </a:extLst>
            </p:cNvPr>
            <p:cNvSpPr/>
            <p:nvPr/>
          </p:nvSpPr>
          <p:spPr>
            <a:xfrm>
              <a:off x="7340182" y="2797768"/>
              <a:ext cx="144620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75" name="Shape13_20220929_150622">
              <a:extLst>
                <a:ext uri="{FF2B5EF4-FFF2-40B4-BE49-F238E27FC236}">
                  <a16:creationId xmlns:a16="http://schemas.microsoft.com/office/drawing/2014/main" id="{892ABAC7-0BEC-369B-F734-9FE341921858}"/>
                </a:ext>
              </a:extLst>
            </p:cNvPr>
            <p:cNvSpPr/>
            <p:nvPr/>
          </p:nvSpPr>
          <p:spPr>
            <a:xfrm>
              <a:off x="8977201" y="2782901"/>
              <a:ext cx="144620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id="{421DA8D1-1F6E-CBBC-CD34-83CC7BF36F8E}"/>
                </a:ext>
              </a:extLst>
            </p:cNvPr>
            <p:cNvGrpSpPr/>
            <p:nvPr/>
          </p:nvGrpSpPr>
          <p:grpSpPr>
            <a:xfrm>
              <a:off x="10650420" y="2802348"/>
              <a:ext cx="86641" cy="99071"/>
              <a:chOff x="10829757" y="3274526"/>
              <a:chExt cx="91469" cy="104023"/>
            </a:xfrm>
          </p:grpSpPr>
          <p:sp>
            <p:nvSpPr>
              <p:cNvPr id="77" name="Google Shape;3843;p66">
                <a:extLst>
                  <a:ext uri="{FF2B5EF4-FFF2-40B4-BE49-F238E27FC236}">
                    <a16:creationId xmlns:a16="http://schemas.microsoft.com/office/drawing/2014/main" id="{4845525F-41AA-9F76-8CC8-8D120BAD1FD5}"/>
                  </a:ext>
                </a:extLst>
              </p:cNvPr>
              <p:cNvSpPr/>
              <p:nvPr/>
            </p:nvSpPr>
            <p:spPr>
              <a:xfrm>
                <a:off x="10829757" y="3274526"/>
                <a:ext cx="91469" cy="104023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18697"/>
                    </a:moveTo>
                    <a:cubicBezTo>
                      <a:pt x="114251" y="123143"/>
                      <a:pt x="107050" y="123143"/>
                      <a:pt x="102644" y="118697"/>
                    </a:cubicBezTo>
                    <a:lnTo>
                      <a:pt x="3335" y="19388"/>
                    </a:lnTo>
                    <a:cubicBezTo>
                      <a:pt x="-1112" y="14942"/>
                      <a:pt x="-1112" y="7741"/>
                      <a:pt x="3335" y="3335"/>
                    </a:cubicBezTo>
                    <a:cubicBezTo>
                      <a:pt x="7781" y="-1112"/>
                      <a:pt x="14981" y="-1112"/>
                      <a:pt x="19388" y="3335"/>
                    </a:cubicBezTo>
                    <a:lnTo>
                      <a:pt x="118697" y="102644"/>
                    </a:lnTo>
                    <a:cubicBezTo>
                      <a:pt x="123143" y="107090"/>
                      <a:pt x="123143" y="114290"/>
                      <a:pt x="118697" y="118697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  <p:sp>
            <p:nvSpPr>
              <p:cNvPr id="78" name="Google Shape;3844;p66">
                <a:extLst>
                  <a:ext uri="{FF2B5EF4-FFF2-40B4-BE49-F238E27FC236}">
                    <a16:creationId xmlns:a16="http://schemas.microsoft.com/office/drawing/2014/main" id="{C04A97A1-A3A5-86F0-3F0F-72A2C7136CCE}"/>
                  </a:ext>
                </a:extLst>
              </p:cNvPr>
              <p:cNvSpPr/>
              <p:nvPr/>
            </p:nvSpPr>
            <p:spPr>
              <a:xfrm>
                <a:off x="10829757" y="3274526"/>
                <a:ext cx="91469" cy="104023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9388"/>
                    </a:moveTo>
                    <a:lnTo>
                      <a:pt x="19388" y="118697"/>
                    </a:lnTo>
                    <a:cubicBezTo>
                      <a:pt x="14942" y="123143"/>
                      <a:pt x="7741" y="123143"/>
                      <a:pt x="3335" y="118697"/>
                    </a:cubicBezTo>
                    <a:cubicBezTo>
                      <a:pt x="-1112" y="114251"/>
                      <a:pt x="-1112" y="107050"/>
                      <a:pt x="3335" y="102644"/>
                    </a:cubicBezTo>
                    <a:lnTo>
                      <a:pt x="102644" y="3335"/>
                    </a:lnTo>
                    <a:cubicBezTo>
                      <a:pt x="107090" y="-1112"/>
                      <a:pt x="114290" y="-1112"/>
                      <a:pt x="118697" y="3335"/>
                    </a:cubicBezTo>
                    <a:cubicBezTo>
                      <a:pt x="123143" y="7781"/>
                      <a:pt x="123143" y="14942"/>
                      <a:pt x="118697" y="19388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</p:grpSp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236B745C-CD59-56E6-9A55-19BBE97A6346}"/>
                </a:ext>
              </a:extLst>
            </p:cNvPr>
            <p:cNvGrpSpPr/>
            <p:nvPr/>
          </p:nvGrpSpPr>
          <p:grpSpPr>
            <a:xfrm>
              <a:off x="5732156" y="3162543"/>
              <a:ext cx="86641" cy="99071"/>
              <a:chOff x="5637424" y="3652727"/>
              <a:chExt cx="91469" cy="104023"/>
            </a:xfrm>
          </p:grpSpPr>
          <p:sp>
            <p:nvSpPr>
              <p:cNvPr id="80" name="Google Shape;3749;p66">
                <a:extLst>
                  <a:ext uri="{FF2B5EF4-FFF2-40B4-BE49-F238E27FC236}">
                    <a16:creationId xmlns:a16="http://schemas.microsoft.com/office/drawing/2014/main" id="{06994C27-87BE-0726-E34D-408EB4775B04}"/>
                  </a:ext>
                </a:extLst>
              </p:cNvPr>
              <p:cNvSpPr/>
              <p:nvPr/>
            </p:nvSpPr>
            <p:spPr>
              <a:xfrm>
                <a:off x="5637424" y="3652727"/>
                <a:ext cx="91469" cy="104023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18697"/>
                    </a:moveTo>
                    <a:cubicBezTo>
                      <a:pt x="114251" y="123143"/>
                      <a:pt x="107050" y="123143"/>
                      <a:pt x="102644" y="118697"/>
                    </a:cubicBezTo>
                    <a:lnTo>
                      <a:pt x="3335" y="19388"/>
                    </a:lnTo>
                    <a:cubicBezTo>
                      <a:pt x="-1112" y="14942"/>
                      <a:pt x="-1112" y="7741"/>
                      <a:pt x="3335" y="3335"/>
                    </a:cubicBezTo>
                    <a:cubicBezTo>
                      <a:pt x="7781" y="-1112"/>
                      <a:pt x="14981" y="-1112"/>
                      <a:pt x="19388" y="3335"/>
                    </a:cubicBezTo>
                    <a:lnTo>
                      <a:pt x="118697" y="102644"/>
                    </a:lnTo>
                    <a:cubicBezTo>
                      <a:pt x="123143" y="107050"/>
                      <a:pt x="123143" y="114251"/>
                      <a:pt x="118697" y="118697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  <p:sp>
            <p:nvSpPr>
              <p:cNvPr id="81" name="Google Shape;3750;p66">
                <a:extLst>
                  <a:ext uri="{FF2B5EF4-FFF2-40B4-BE49-F238E27FC236}">
                    <a16:creationId xmlns:a16="http://schemas.microsoft.com/office/drawing/2014/main" id="{97719EBC-6F35-0969-F458-2D5B2011054E}"/>
                  </a:ext>
                </a:extLst>
              </p:cNvPr>
              <p:cNvSpPr/>
              <p:nvPr/>
            </p:nvSpPr>
            <p:spPr>
              <a:xfrm>
                <a:off x="5637424" y="3652727"/>
                <a:ext cx="91469" cy="104023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9388"/>
                    </a:moveTo>
                    <a:lnTo>
                      <a:pt x="19388" y="118697"/>
                    </a:lnTo>
                    <a:cubicBezTo>
                      <a:pt x="14942" y="123143"/>
                      <a:pt x="7741" y="123143"/>
                      <a:pt x="3335" y="118697"/>
                    </a:cubicBezTo>
                    <a:cubicBezTo>
                      <a:pt x="-1112" y="114251"/>
                      <a:pt x="-1112" y="107050"/>
                      <a:pt x="3335" y="102644"/>
                    </a:cubicBezTo>
                    <a:lnTo>
                      <a:pt x="102644" y="3335"/>
                    </a:lnTo>
                    <a:cubicBezTo>
                      <a:pt x="107090" y="-1112"/>
                      <a:pt x="114290" y="-1112"/>
                      <a:pt x="118697" y="3335"/>
                    </a:cubicBezTo>
                    <a:cubicBezTo>
                      <a:pt x="123143" y="7741"/>
                      <a:pt x="123143" y="14942"/>
                      <a:pt x="118697" y="19388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</p:grpSp>
        <p:sp>
          <p:nvSpPr>
            <p:cNvPr id="82" name="Shape14_20220929_150622">
              <a:extLst>
                <a:ext uri="{FF2B5EF4-FFF2-40B4-BE49-F238E27FC236}">
                  <a16:creationId xmlns:a16="http://schemas.microsoft.com/office/drawing/2014/main" id="{A86400D4-946F-A0E9-FA93-B7930B36CBDF}"/>
                </a:ext>
              </a:extLst>
            </p:cNvPr>
            <p:cNvSpPr/>
            <p:nvPr/>
          </p:nvSpPr>
          <p:spPr>
            <a:xfrm>
              <a:off x="7340182" y="3157963"/>
              <a:ext cx="144620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83" name="Shape15_20220929_150622">
              <a:extLst>
                <a:ext uri="{FF2B5EF4-FFF2-40B4-BE49-F238E27FC236}">
                  <a16:creationId xmlns:a16="http://schemas.microsoft.com/office/drawing/2014/main" id="{27CBF0BC-CB33-01B3-BB9A-8993DC1A857E}"/>
                </a:ext>
              </a:extLst>
            </p:cNvPr>
            <p:cNvSpPr/>
            <p:nvPr/>
          </p:nvSpPr>
          <p:spPr>
            <a:xfrm>
              <a:off x="8977201" y="3139518"/>
              <a:ext cx="144620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grpSp>
          <p:nvGrpSpPr>
            <p:cNvPr id="84" name="Group 83">
              <a:extLst>
                <a:ext uri="{FF2B5EF4-FFF2-40B4-BE49-F238E27FC236}">
                  <a16:creationId xmlns:a16="http://schemas.microsoft.com/office/drawing/2014/main" id="{8B3B36B2-C6FF-B10D-4F6B-E23BA1A7844B}"/>
                </a:ext>
              </a:extLst>
            </p:cNvPr>
            <p:cNvGrpSpPr/>
            <p:nvPr/>
          </p:nvGrpSpPr>
          <p:grpSpPr>
            <a:xfrm>
              <a:off x="10650420" y="3162543"/>
              <a:ext cx="86641" cy="99071"/>
              <a:chOff x="10829757" y="3652727"/>
              <a:chExt cx="91469" cy="104023"/>
            </a:xfrm>
          </p:grpSpPr>
          <p:sp>
            <p:nvSpPr>
              <p:cNvPr id="85" name="Google Shape;3840;p66">
                <a:extLst>
                  <a:ext uri="{FF2B5EF4-FFF2-40B4-BE49-F238E27FC236}">
                    <a16:creationId xmlns:a16="http://schemas.microsoft.com/office/drawing/2014/main" id="{4B2F3789-CA8D-DF65-BBF1-33379631EE3A}"/>
                  </a:ext>
                </a:extLst>
              </p:cNvPr>
              <p:cNvSpPr/>
              <p:nvPr/>
            </p:nvSpPr>
            <p:spPr>
              <a:xfrm>
                <a:off x="10829757" y="3652727"/>
                <a:ext cx="91469" cy="104023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18697"/>
                    </a:moveTo>
                    <a:cubicBezTo>
                      <a:pt x="114251" y="123143"/>
                      <a:pt x="107050" y="123143"/>
                      <a:pt x="102644" y="118697"/>
                    </a:cubicBezTo>
                    <a:lnTo>
                      <a:pt x="3335" y="19388"/>
                    </a:lnTo>
                    <a:cubicBezTo>
                      <a:pt x="-1112" y="14942"/>
                      <a:pt x="-1112" y="7741"/>
                      <a:pt x="3335" y="3335"/>
                    </a:cubicBezTo>
                    <a:cubicBezTo>
                      <a:pt x="7781" y="-1112"/>
                      <a:pt x="14981" y="-1112"/>
                      <a:pt x="19388" y="3335"/>
                    </a:cubicBezTo>
                    <a:lnTo>
                      <a:pt x="118697" y="102644"/>
                    </a:lnTo>
                    <a:cubicBezTo>
                      <a:pt x="123143" y="107050"/>
                      <a:pt x="123143" y="114251"/>
                      <a:pt x="118697" y="118697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  <p:sp>
            <p:nvSpPr>
              <p:cNvPr id="86" name="Google Shape;3841;p66">
                <a:extLst>
                  <a:ext uri="{FF2B5EF4-FFF2-40B4-BE49-F238E27FC236}">
                    <a16:creationId xmlns:a16="http://schemas.microsoft.com/office/drawing/2014/main" id="{6D51BD4F-9C40-17BA-AA0C-D774545A25D4}"/>
                  </a:ext>
                </a:extLst>
              </p:cNvPr>
              <p:cNvSpPr/>
              <p:nvPr/>
            </p:nvSpPr>
            <p:spPr>
              <a:xfrm>
                <a:off x="10829757" y="3652727"/>
                <a:ext cx="91469" cy="104023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9388"/>
                    </a:moveTo>
                    <a:lnTo>
                      <a:pt x="19388" y="118697"/>
                    </a:lnTo>
                    <a:cubicBezTo>
                      <a:pt x="14942" y="123143"/>
                      <a:pt x="7741" y="123143"/>
                      <a:pt x="3335" y="118697"/>
                    </a:cubicBezTo>
                    <a:cubicBezTo>
                      <a:pt x="-1112" y="114251"/>
                      <a:pt x="-1112" y="107050"/>
                      <a:pt x="3335" y="102644"/>
                    </a:cubicBezTo>
                    <a:lnTo>
                      <a:pt x="102644" y="3335"/>
                    </a:lnTo>
                    <a:cubicBezTo>
                      <a:pt x="107090" y="-1112"/>
                      <a:pt x="114290" y="-1112"/>
                      <a:pt x="118697" y="3335"/>
                    </a:cubicBezTo>
                    <a:cubicBezTo>
                      <a:pt x="123143" y="7741"/>
                      <a:pt x="123143" y="14942"/>
                      <a:pt x="118697" y="19388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</p:grpSp>
        <p:grpSp>
          <p:nvGrpSpPr>
            <p:cNvPr id="87" name="Group 86">
              <a:extLst>
                <a:ext uri="{FF2B5EF4-FFF2-40B4-BE49-F238E27FC236}">
                  <a16:creationId xmlns:a16="http://schemas.microsoft.com/office/drawing/2014/main" id="{169C8642-F4C1-717C-6E88-5D22D5919AB3}"/>
                </a:ext>
              </a:extLst>
            </p:cNvPr>
            <p:cNvGrpSpPr/>
            <p:nvPr/>
          </p:nvGrpSpPr>
          <p:grpSpPr>
            <a:xfrm>
              <a:off x="5732156" y="3522724"/>
              <a:ext cx="86641" cy="99071"/>
              <a:chOff x="5637424" y="4030911"/>
              <a:chExt cx="91469" cy="104023"/>
            </a:xfrm>
          </p:grpSpPr>
          <p:sp>
            <p:nvSpPr>
              <p:cNvPr id="88" name="Google Shape;3746;p66">
                <a:extLst>
                  <a:ext uri="{FF2B5EF4-FFF2-40B4-BE49-F238E27FC236}">
                    <a16:creationId xmlns:a16="http://schemas.microsoft.com/office/drawing/2014/main" id="{E1704C18-703C-4629-F979-421E162A6FC7}"/>
                  </a:ext>
                </a:extLst>
              </p:cNvPr>
              <p:cNvSpPr/>
              <p:nvPr/>
            </p:nvSpPr>
            <p:spPr>
              <a:xfrm>
                <a:off x="5637424" y="4030945"/>
                <a:ext cx="91469" cy="103989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18697"/>
                    </a:moveTo>
                    <a:cubicBezTo>
                      <a:pt x="114251" y="123143"/>
                      <a:pt x="107050" y="123143"/>
                      <a:pt x="102644" y="118697"/>
                    </a:cubicBezTo>
                    <a:lnTo>
                      <a:pt x="3335" y="19388"/>
                    </a:lnTo>
                    <a:cubicBezTo>
                      <a:pt x="-1112" y="14942"/>
                      <a:pt x="-1112" y="7741"/>
                      <a:pt x="3335" y="3335"/>
                    </a:cubicBezTo>
                    <a:cubicBezTo>
                      <a:pt x="7781" y="-1112"/>
                      <a:pt x="14981" y="-1112"/>
                      <a:pt x="19388" y="3335"/>
                    </a:cubicBezTo>
                    <a:lnTo>
                      <a:pt x="118697" y="102644"/>
                    </a:lnTo>
                    <a:cubicBezTo>
                      <a:pt x="123143" y="107050"/>
                      <a:pt x="123143" y="114251"/>
                      <a:pt x="118697" y="118697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  <p:sp>
            <p:nvSpPr>
              <p:cNvPr id="89" name="Google Shape;3747;p66">
                <a:extLst>
                  <a:ext uri="{FF2B5EF4-FFF2-40B4-BE49-F238E27FC236}">
                    <a16:creationId xmlns:a16="http://schemas.microsoft.com/office/drawing/2014/main" id="{2C7A5516-4EE1-643D-C255-B62090F37E88}"/>
                  </a:ext>
                </a:extLst>
              </p:cNvPr>
              <p:cNvSpPr/>
              <p:nvPr/>
            </p:nvSpPr>
            <p:spPr>
              <a:xfrm>
                <a:off x="5637424" y="4030911"/>
                <a:ext cx="91469" cy="103989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9388"/>
                    </a:moveTo>
                    <a:lnTo>
                      <a:pt x="19388" y="118697"/>
                    </a:lnTo>
                    <a:cubicBezTo>
                      <a:pt x="14942" y="123143"/>
                      <a:pt x="7741" y="123143"/>
                      <a:pt x="3335" y="118697"/>
                    </a:cubicBezTo>
                    <a:cubicBezTo>
                      <a:pt x="-1112" y="114251"/>
                      <a:pt x="-1112" y="107050"/>
                      <a:pt x="3335" y="102644"/>
                    </a:cubicBezTo>
                    <a:lnTo>
                      <a:pt x="102644" y="3335"/>
                    </a:lnTo>
                    <a:cubicBezTo>
                      <a:pt x="107090" y="-1112"/>
                      <a:pt x="114290" y="-1112"/>
                      <a:pt x="118697" y="3335"/>
                    </a:cubicBezTo>
                    <a:cubicBezTo>
                      <a:pt x="123143" y="7781"/>
                      <a:pt x="123143" y="14942"/>
                      <a:pt x="118697" y="19388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</p:grpSp>
        <p:grpSp>
          <p:nvGrpSpPr>
            <p:cNvPr id="90" name="Group 89">
              <a:extLst>
                <a:ext uri="{FF2B5EF4-FFF2-40B4-BE49-F238E27FC236}">
                  <a16:creationId xmlns:a16="http://schemas.microsoft.com/office/drawing/2014/main" id="{3F095598-54B7-5260-167A-7382B3E0F53D}"/>
                </a:ext>
              </a:extLst>
            </p:cNvPr>
            <p:cNvGrpSpPr/>
            <p:nvPr/>
          </p:nvGrpSpPr>
          <p:grpSpPr>
            <a:xfrm>
              <a:off x="7369174" y="3522724"/>
              <a:ext cx="86641" cy="99071"/>
              <a:chOff x="7365663" y="4030911"/>
              <a:chExt cx="91469" cy="104023"/>
            </a:xfrm>
          </p:grpSpPr>
          <p:sp>
            <p:nvSpPr>
              <p:cNvPr id="91" name="Google Shape;3780;p66">
                <a:extLst>
                  <a:ext uri="{FF2B5EF4-FFF2-40B4-BE49-F238E27FC236}">
                    <a16:creationId xmlns:a16="http://schemas.microsoft.com/office/drawing/2014/main" id="{67E97C35-AE0C-1363-E0E1-50B0BB6CA429}"/>
                  </a:ext>
                </a:extLst>
              </p:cNvPr>
              <p:cNvSpPr/>
              <p:nvPr/>
            </p:nvSpPr>
            <p:spPr>
              <a:xfrm>
                <a:off x="7365663" y="4030945"/>
                <a:ext cx="91469" cy="103989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18697"/>
                    </a:moveTo>
                    <a:cubicBezTo>
                      <a:pt x="114251" y="123143"/>
                      <a:pt x="107050" y="123143"/>
                      <a:pt x="102644" y="118697"/>
                    </a:cubicBezTo>
                    <a:lnTo>
                      <a:pt x="3335" y="19388"/>
                    </a:lnTo>
                    <a:cubicBezTo>
                      <a:pt x="-1112" y="14942"/>
                      <a:pt x="-1112" y="7741"/>
                      <a:pt x="3335" y="3335"/>
                    </a:cubicBezTo>
                    <a:cubicBezTo>
                      <a:pt x="7781" y="-1112"/>
                      <a:pt x="14981" y="-1112"/>
                      <a:pt x="19388" y="3335"/>
                    </a:cubicBezTo>
                    <a:lnTo>
                      <a:pt x="118697" y="102644"/>
                    </a:lnTo>
                    <a:cubicBezTo>
                      <a:pt x="123143" y="107050"/>
                      <a:pt x="123143" y="114251"/>
                      <a:pt x="118697" y="118697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  <p:sp>
            <p:nvSpPr>
              <p:cNvPr id="92" name="Google Shape;3781;p66">
                <a:extLst>
                  <a:ext uri="{FF2B5EF4-FFF2-40B4-BE49-F238E27FC236}">
                    <a16:creationId xmlns:a16="http://schemas.microsoft.com/office/drawing/2014/main" id="{D26C2C47-3B6F-41CA-9532-72B4CA72C2CC}"/>
                  </a:ext>
                </a:extLst>
              </p:cNvPr>
              <p:cNvSpPr/>
              <p:nvPr/>
            </p:nvSpPr>
            <p:spPr>
              <a:xfrm>
                <a:off x="7365663" y="4030911"/>
                <a:ext cx="91469" cy="103989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9388"/>
                    </a:moveTo>
                    <a:lnTo>
                      <a:pt x="19388" y="118697"/>
                    </a:lnTo>
                    <a:cubicBezTo>
                      <a:pt x="14942" y="123143"/>
                      <a:pt x="7741" y="123143"/>
                      <a:pt x="3335" y="118697"/>
                    </a:cubicBezTo>
                    <a:cubicBezTo>
                      <a:pt x="-1112" y="114251"/>
                      <a:pt x="-1112" y="107050"/>
                      <a:pt x="3335" y="102644"/>
                    </a:cubicBezTo>
                    <a:lnTo>
                      <a:pt x="102644" y="3335"/>
                    </a:lnTo>
                    <a:cubicBezTo>
                      <a:pt x="107090" y="-1112"/>
                      <a:pt x="114290" y="-1112"/>
                      <a:pt x="118697" y="3335"/>
                    </a:cubicBezTo>
                    <a:cubicBezTo>
                      <a:pt x="123143" y="7781"/>
                      <a:pt x="123143" y="14942"/>
                      <a:pt x="118697" y="19388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</p:grpSp>
        <p:sp>
          <p:nvSpPr>
            <p:cNvPr id="93" name="Shape16_20220929_150622">
              <a:extLst>
                <a:ext uri="{FF2B5EF4-FFF2-40B4-BE49-F238E27FC236}">
                  <a16:creationId xmlns:a16="http://schemas.microsoft.com/office/drawing/2014/main" id="{B7B793FF-A1C0-81D1-D32B-480E92F8DFE2}"/>
                </a:ext>
              </a:extLst>
            </p:cNvPr>
            <p:cNvSpPr/>
            <p:nvPr/>
          </p:nvSpPr>
          <p:spPr>
            <a:xfrm>
              <a:off x="8977201" y="3496132"/>
              <a:ext cx="144620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grpSp>
          <p:nvGrpSpPr>
            <p:cNvPr id="94" name="Group 93">
              <a:extLst>
                <a:ext uri="{FF2B5EF4-FFF2-40B4-BE49-F238E27FC236}">
                  <a16:creationId xmlns:a16="http://schemas.microsoft.com/office/drawing/2014/main" id="{C1CFB0B9-2DCC-51AF-CAED-7CA50AD28C6B}"/>
                </a:ext>
              </a:extLst>
            </p:cNvPr>
            <p:cNvGrpSpPr/>
            <p:nvPr/>
          </p:nvGrpSpPr>
          <p:grpSpPr>
            <a:xfrm>
              <a:off x="10650420" y="3522724"/>
              <a:ext cx="86641" cy="99071"/>
              <a:chOff x="10829757" y="4030911"/>
              <a:chExt cx="91469" cy="104023"/>
            </a:xfrm>
          </p:grpSpPr>
          <p:sp>
            <p:nvSpPr>
              <p:cNvPr id="95" name="Google Shape;3837;p66">
                <a:extLst>
                  <a:ext uri="{FF2B5EF4-FFF2-40B4-BE49-F238E27FC236}">
                    <a16:creationId xmlns:a16="http://schemas.microsoft.com/office/drawing/2014/main" id="{57D6B6EA-FCEE-A452-B541-24FEB6639838}"/>
                  </a:ext>
                </a:extLst>
              </p:cNvPr>
              <p:cNvSpPr/>
              <p:nvPr/>
            </p:nvSpPr>
            <p:spPr>
              <a:xfrm>
                <a:off x="10829757" y="4030945"/>
                <a:ext cx="91469" cy="103989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18697"/>
                    </a:moveTo>
                    <a:cubicBezTo>
                      <a:pt x="114251" y="123143"/>
                      <a:pt x="107050" y="123143"/>
                      <a:pt x="102644" y="118697"/>
                    </a:cubicBezTo>
                    <a:lnTo>
                      <a:pt x="3335" y="19388"/>
                    </a:lnTo>
                    <a:cubicBezTo>
                      <a:pt x="-1112" y="14942"/>
                      <a:pt x="-1112" y="7741"/>
                      <a:pt x="3335" y="3335"/>
                    </a:cubicBezTo>
                    <a:cubicBezTo>
                      <a:pt x="7781" y="-1112"/>
                      <a:pt x="14981" y="-1112"/>
                      <a:pt x="19388" y="3335"/>
                    </a:cubicBezTo>
                    <a:lnTo>
                      <a:pt x="118697" y="102644"/>
                    </a:lnTo>
                    <a:cubicBezTo>
                      <a:pt x="123143" y="107050"/>
                      <a:pt x="123143" y="114251"/>
                      <a:pt x="118697" y="118697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  <p:sp>
            <p:nvSpPr>
              <p:cNvPr id="96" name="Google Shape;3838;p66">
                <a:extLst>
                  <a:ext uri="{FF2B5EF4-FFF2-40B4-BE49-F238E27FC236}">
                    <a16:creationId xmlns:a16="http://schemas.microsoft.com/office/drawing/2014/main" id="{EA75997A-6D3C-1B35-EBCE-9952306E7474}"/>
                  </a:ext>
                </a:extLst>
              </p:cNvPr>
              <p:cNvSpPr/>
              <p:nvPr/>
            </p:nvSpPr>
            <p:spPr>
              <a:xfrm>
                <a:off x="10829757" y="4030911"/>
                <a:ext cx="91469" cy="103989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9388"/>
                    </a:moveTo>
                    <a:lnTo>
                      <a:pt x="19388" y="118697"/>
                    </a:lnTo>
                    <a:cubicBezTo>
                      <a:pt x="14942" y="123143"/>
                      <a:pt x="7741" y="123143"/>
                      <a:pt x="3335" y="118697"/>
                    </a:cubicBezTo>
                    <a:cubicBezTo>
                      <a:pt x="-1112" y="114251"/>
                      <a:pt x="-1112" y="107050"/>
                      <a:pt x="3335" y="102644"/>
                    </a:cubicBezTo>
                    <a:lnTo>
                      <a:pt x="102644" y="3335"/>
                    </a:lnTo>
                    <a:cubicBezTo>
                      <a:pt x="107090" y="-1112"/>
                      <a:pt x="114290" y="-1112"/>
                      <a:pt x="118697" y="3335"/>
                    </a:cubicBezTo>
                    <a:cubicBezTo>
                      <a:pt x="123143" y="7781"/>
                      <a:pt x="123143" y="14942"/>
                      <a:pt x="118697" y="19388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</p:grpSp>
        <p:cxnSp>
          <p:nvCxnSpPr>
            <p:cNvPr id="97" name="Google Shape;3754;p66">
              <a:extLst>
                <a:ext uri="{FF2B5EF4-FFF2-40B4-BE49-F238E27FC236}">
                  <a16:creationId xmlns:a16="http://schemas.microsoft.com/office/drawing/2014/main" id="{3966ADF2-204C-50A3-1AFF-C7222100E921}"/>
                </a:ext>
              </a:extLst>
            </p:cNvPr>
            <p:cNvCxnSpPr>
              <a:cxnSpLocks/>
            </p:cNvCxnSpPr>
            <p:nvPr/>
          </p:nvCxnSpPr>
          <p:spPr>
            <a:xfrm>
              <a:off x="5055869" y="2311589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98" name="Google Shape;3782;p66">
              <a:extLst>
                <a:ext uri="{FF2B5EF4-FFF2-40B4-BE49-F238E27FC236}">
                  <a16:creationId xmlns:a16="http://schemas.microsoft.com/office/drawing/2014/main" id="{80AEF785-0AD3-EA8D-1BF9-BE7030771530}"/>
                </a:ext>
              </a:extLst>
            </p:cNvPr>
            <p:cNvCxnSpPr>
              <a:cxnSpLocks/>
            </p:cNvCxnSpPr>
            <p:nvPr/>
          </p:nvCxnSpPr>
          <p:spPr>
            <a:xfrm>
              <a:off x="6692884" y="2311589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99" name="Google Shape;3804;p66">
              <a:extLst>
                <a:ext uri="{FF2B5EF4-FFF2-40B4-BE49-F238E27FC236}">
                  <a16:creationId xmlns:a16="http://schemas.microsoft.com/office/drawing/2014/main" id="{284D32B2-C375-576D-A19F-1B49DFC51AF1}"/>
                </a:ext>
              </a:extLst>
            </p:cNvPr>
            <p:cNvCxnSpPr>
              <a:cxnSpLocks/>
            </p:cNvCxnSpPr>
            <p:nvPr/>
          </p:nvCxnSpPr>
          <p:spPr>
            <a:xfrm>
              <a:off x="8329899" y="2311589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00" name="Google Shape;3845;p66">
              <a:extLst>
                <a:ext uri="{FF2B5EF4-FFF2-40B4-BE49-F238E27FC236}">
                  <a16:creationId xmlns:a16="http://schemas.microsoft.com/office/drawing/2014/main" id="{47A56DC2-8858-8D06-4B4B-9FE1D3B9FB6B}"/>
                </a:ext>
              </a:extLst>
            </p:cNvPr>
            <p:cNvCxnSpPr>
              <a:cxnSpLocks/>
            </p:cNvCxnSpPr>
            <p:nvPr/>
          </p:nvCxnSpPr>
          <p:spPr>
            <a:xfrm>
              <a:off x="9974130" y="2311589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01" name="Google Shape;3755;p66">
              <a:extLst>
                <a:ext uri="{FF2B5EF4-FFF2-40B4-BE49-F238E27FC236}">
                  <a16:creationId xmlns:a16="http://schemas.microsoft.com/office/drawing/2014/main" id="{55D73274-930B-7E47-C265-3CC8B1928400}"/>
                </a:ext>
              </a:extLst>
            </p:cNvPr>
            <p:cNvCxnSpPr/>
            <p:nvPr/>
          </p:nvCxnSpPr>
          <p:spPr>
            <a:xfrm>
              <a:off x="5055869" y="2671784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02" name="Google Shape;3783;p66">
              <a:extLst>
                <a:ext uri="{FF2B5EF4-FFF2-40B4-BE49-F238E27FC236}">
                  <a16:creationId xmlns:a16="http://schemas.microsoft.com/office/drawing/2014/main" id="{B32E07A8-1171-D5CC-F0F0-73A7938513E0}"/>
                </a:ext>
              </a:extLst>
            </p:cNvPr>
            <p:cNvCxnSpPr/>
            <p:nvPr/>
          </p:nvCxnSpPr>
          <p:spPr>
            <a:xfrm>
              <a:off x="6692884" y="2671784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03" name="Google Shape;3805;p66">
              <a:extLst>
                <a:ext uri="{FF2B5EF4-FFF2-40B4-BE49-F238E27FC236}">
                  <a16:creationId xmlns:a16="http://schemas.microsoft.com/office/drawing/2014/main" id="{F45FF4A7-0A37-54E7-652D-247058F40BB0}"/>
                </a:ext>
              </a:extLst>
            </p:cNvPr>
            <p:cNvCxnSpPr/>
            <p:nvPr/>
          </p:nvCxnSpPr>
          <p:spPr>
            <a:xfrm>
              <a:off x="8329899" y="2671784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04" name="Google Shape;3846;p66">
              <a:extLst>
                <a:ext uri="{FF2B5EF4-FFF2-40B4-BE49-F238E27FC236}">
                  <a16:creationId xmlns:a16="http://schemas.microsoft.com/office/drawing/2014/main" id="{B83FDB1F-902E-02EF-12B7-6FA4FC0C9F4D}"/>
                </a:ext>
              </a:extLst>
            </p:cNvPr>
            <p:cNvCxnSpPr/>
            <p:nvPr/>
          </p:nvCxnSpPr>
          <p:spPr>
            <a:xfrm>
              <a:off x="9974130" y="2671784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05" name="Google Shape;3756;p66">
              <a:extLst>
                <a:ext uri="{FF2B5EF4-FFF2-40B4-BE49-F238E27FC236}">
                  <a16:creationId xmlns:a16="http://schemas.microsoft.com/office/drawing/2014/main" id="{424BC8BE-FE73-970F-D21C-5052A7420ABA}"/>
                </a:ext>
              </a:extLst>
            </p:cNvPr>
            <p:cNvCxnSpPr/>
            <p:nvPr/>
          </p:nvCxnSpPr>
          <p:spPr>
            <a:xfrm>
              <a:off x="5055869" y="3031979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06" name="Google Shape;3784;p66">
              <a:extLst>
                <a:ext uri="{FF2B5EF4-FFF2-40B4-BE49-F238E27FC236}">
                  <a16:creationId xmlns:a16="http://schemas.microsoft.com/office/drawing/2014/main" id="{5A656CC9-8A72-F938-353F-7BCE53CC19CF}"/>
                </a:ext>
              </a:extLst>
            </p:cNvPr>
            <p:cNvCxnSpPr/>
            <p:nvPr/>
          </p:nvCxnSpPr>
          <p:spPr>
            <a:xfrm>
              <a:off x="6692884" y="3031979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07" name="Google Shape;3806;p66">
              <a:extLst>
                <a:ext uri="{FF2B5EF4-FFF2-40B4-BE49-F238E27FC236}">
                  <a16:creationId xmlns:a16="http://schemas.microsoft.com/office/drawing/2014/main" id="{1A53600E-AC62-F3F4-42B2-F6D2B595500C}"/>
                </a:ext>
              </a:extLst>
            </p:cNvPr>
            <p:cNvCxnSpPr/>
            <p:nvPr/>
          </p:nvCxnSpPr>
          <p:spPr>
            <a:xfrm>
              <a:off x="8329899" y="3031979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08" name="Google Shape;3847;p66">
              <a:extLst>
                <a:ext uri="{FF2B5EF4-FFF2-40B4-BE49-F238E27FC236}">
                  <a16:creationId xmlns:a16="http://schemas.microsoft.com/office/drawing/2014/main" id="{8E55486B-C772-B3D7-D4FE-71A0E5F20B03}"/>
                </a:ext>
              </a:extLst>
            </p:cNvPr>
            <p:cNvCxnSpPr/>
            <p:nvPr/>
          </p:nvCxnSpPr>
          <p:spPr>
            <a:xfrm>
              <a:off x="9974130" y="3031979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09" name="Google Shape;3757;p66">
              <a:extLst>
                <a:ext uri="{FF2B5EF4-FFF2-40B4-BE49-F238E27FC236}">
                  <a16:creationId xmlns:a16="http://schemas.microsoft.com/office/drawing/2014/main" id="{3D5D4FF2-D456-82A5-E63C-7BB3F83A7525}"/>
                </a:ext>
              </a:extLst>
            </p:cNvPr>
            <p:cNvCxnSpPr/>
            <p:nvPr/>
          </p:nvCxnSpPr>
          <p:spPr>
            <a:xfrm>
              <a:off x="5055869" y="3392177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10" name="Google Shape;3785;p66">
              <a:extLst>
                <a:ext uri="{FF2B5EF4-FFF2-40B4-BE49-F238E27FC236}">
                  <a16:creationId xmlns:a16="http://schemas.microsoft.com/office/drawing/2014/main" id="{B29A231B-3D7E-E0FE-6C2E-F5E8E2D66941}"/>
                </a:ext>
              </a:extLst>
            </p:cNvPr>
            <p:cNvCxnSpPr/>
            <p:nvPr/>
          </p:nvCxnSpPr>
          <p:spPr>
            <a:xfrm>
              <a:off x="6692884" y="3392177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11" name="Google Shape;3807;p66">
              <a:extLst>
                <a:ext uri="{FF2B5EF4-FFF2-40B4-BE49-F238E27FC236}">
                  <a16:creationId xmlns:a16="http://schemas.microsoft.com/office/drawing/2014/main" id="{00199B9C-D7D7-6DCE-AC7D-A3D47F2FF6B7}"/>
                </a:ext>
              </a:extLst>
            </p:cNvPr>
            <p:cNvCxnSpPr/>
            <p:nvPr/>
          </p:nvCxnSpPr>
          <p:spPr>
            <a:xfrm>
              <a:off x="8329899" y="3392177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12" name="Google Shape;3848;p66">
              <a:extLst>
                <a:ext uri="{FF2B5EF4-FFF2-40B4-BE49-F238E27FC236}">
                  <a16:creationId xmlns:a16="http://schemas.microsoft.com/office/drawing/2014/main" id="{944BBDAA-7F5B-B30F-3502-8518FC06EA23}"/>
                </a:ext>
              </a:extLst>
            </p:cNvPr>
            <p:cNvCxnSpPr/>
            <p:nvPr/>
          </p:nvCxnSpPr>
          <p:spPr>
            <a:xfrm>
              <a:off x="9974130" y="3392177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13" name="Google Shape;3758;p66">
              <a:extLst>
                <a:ext uri="{FF2B5EF4-FFF2-40B4-BE49-F238E27FC236}">
                  <a16:creationId xmlns:a16="http://schemas.microsoft.com/office/drawing/2014/main" id="{6B560711-8DF2-98B1-EEF8-E5DECB83ADA6}"/>
                </a:ext>
              </a:extLst>
            </p:cNvPr>
            <p:cNvCxnSpPr/>
            <p:nvPr/>
          </p:nvCxnSpPr>
          <p:spPr>
            <a:xfrm>
              <a:off x="5055869" y="3752371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14" name="Google Shape;3786;p66">
              <a:extLst>
                <a:ext uri="{FF2B5EF4-FFF2-40B4-BE49-F238E27FC236}">
                  <a16:creationId xmlns:a16="http://schemas.microsoft.com/office/drawing/2014/main" id="{43465190-0D58-800D-1838-20994286B101}"/>
                </a:ext>
              </a:extLst>
            </p:cNvPr>
            <p:cNvCxnSpPr/>
            <p:nvPr/>
          </p:nvCxnSpPr>
          <p:spPr>
            <a:xfrm>
              <a:off x="6692884" y="3752371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15" name="Google Shape;3808;p66">
              <a:extLst>
                <a:ext uri="{FF2B5EF4-FFF2-40B4-BE49-F238E27FC236}">
                  <a16:creationId xmlns:a16="http://schemas.microsoft.com/office/drawing/2014/main" id="{BA10DF7E-63A5-DE87-3F1E-47DD369D5235}"/>
                </a:ext>
              </a:extLst>
            </p:cNvPr>
            <p:cNvCxnSpPr/>
            <p:nvPr/>
          </p:nvCxnSpPr>
          <p:spPr>
            <a:xfrm>
              <a:off x="8329899" y="3752371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16" name="Google Shape;3849;p66">
              <a:extLst>
                <a:ext uri="{FF2B5EF4-FFF2-40B4-BE49-F238E27FC236}">
                  <a16:creationId xmlns:a16="http://schemas.microsoft.com/office/drawing/2014/main" id="{B7F04F06-704E-D960-0B41-51DB85777838}"/>
                </a:ext>
              </a:extLst>
            </p:cNvPr>
            <p:cNvCxnSpPr/>
            <p:nvPr/>
          </p:nvCxnSpPr>
          <p:spPr>
            <a:xfrm>
              <a:off x="9974130" y="3752371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17" name="Google Shape;3759;p66">
              <a:extLst>
                <a:ext uri="{FF2B5EF4-FFF2-40B4-BE49-F238E27FC236}">
                  <a16:creationId xmlns:a16="http://schemas.microsoft.com/office/drawing/2014/main" id="{8253E13C-8254-44BE-ED68-29797F6FC70F}"/>
                </a:ext>
              </a:extLst>
            </p:cNvPr>
            <p:cNvCxnSpPr/>
            <p:nvPr/>
          </p:nvCxnSpPr>
          <p:spPr>
            <a:xfrm>
              <a:off x="5055869" y="4112566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18" name="Google Shape;3787;p66">
              <a:extLst>
                <a:ext uri="{FF2B5EF4-FFF2-40B4-BE49-F238E27FC236}">
                  <a16:creationId xmlns:a16="http://schemas.microsoft.com/office/drawing/2014/main" id="{583E1234-E53D-4372-8375-3AAAF465C6E5}"/>
                </a:ext>
              </a:extLst>
            </p:cNvPr>
            <p:cNvCxnSpPr/>
            <p:nvPr/>
          </p:nvCxnSpPr>
          <p:spPr>
            <a:xfrm>
              <a:off x="6692884" y="4112566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19" name="Google Shape;3809;p66">
              <a:extLst>
                <a:ext uri="{FF2B5EF4-FFF2-40B4-BE49-F238E27FC236}">
                  <a16:creationId xmlns:a16="http://schemas.microsoft.com/office/drawing/2014/main" id="{28129E2E-DD8C-3B0D-671A-2ADB29303AEA}"/>
                </a:ext>
              </a:extLst>
            </p:cNvPr>
            <p:cNvCxnSpPr/>
            <p:nvPr/>
          </p:nvCxnSpPr>
          <p:spPr>
            <a:xfrm>
              <a:off x="8329899" y="4112566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20" name="Google Shape;3850;p66">
              <a:extLst>
                <a:ext uri="{FF2B5EF4-FFF2-40B4-BE49-F238E27FC236}">
                  <a16:creationId xmlns:a16="http://schemas.microsoft.com/office/drawing/2014/main" id="{1AA03692-B564-C62B-DD15-37EFEB3A40DB}"/>
                </a:ext>
              </a:extLst>
            </p:cNvPr>
            <p:cNvCxnSpPr/>
            <p:nvPr/>
          </p:nvCxnSpPr>
          <p:spPr>
            <a:xfrm>
              <a:off x="9974130" y="4112566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21" name="Google Shape;3760;p66">
              <a:extLst>
                <a:ext uri="{FF2B5EF4-FFF2-40B4-BE49-F238E27FC236}">
                  <a16:creationId xmlns:a16="http://schemas.microsoft.com/office/drawing/2014/main" id="{D6451AA5-58A5-49C2-78CD-582FFF946163}"/>
                </a:ext>
              </a:extLst>
            </p:cNvPr>
            <p:cNvCxnSpPr/>
            <p:nvPr/>
          </p:nvCxnSpPr>
          <p:spPr>
            <a:xfrm>
              <a:off x="5055869" y="4472762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22" name="Google Shape;3788;p66">
              <a:extLst>
                <a:ext uri="{FF2B5EF4-FFF2-40B4-BE49-F238E27FC236}">
                  <a16:creationId xmlns:a16="http://schemas.microsoft.com/office/drawing/2014/main" id="{767929F1-4EF8-6C21-6BE2-E9C09C5C1240}"/>
                </a:ext>
              </a:extLst>
            </p:cNvPr>
            <p:cNvCxnSpPr/>
            <p:nvPr/>
          </p:nvCxnSpPr>
          <p:spPr>
            <a:xfrm>
              <a:off x="6692884" y="4472762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23" name="Google Shape;3810;p66">
              <a:extLst>
                <a:ext uri="{FF2B5EF4-FFF2-40B4-BE49-F238E27FC236}">
                  <a16:creationId xmlns:a16="http://schemas.microsoft.com/office/drawing/2014/main" id="{58E056B2-0B51-8E62-04D5-CFCAA369C2E9}"/>
                </a:ext>
              </a:extLst>
            </p:cNvPr>
            <p:cNvCxnSpPr/>
            <p:nvPr/>
          </p:nvCxnSpPr>
          <p:spPr>
            <a:xfrm>
              <a:off x="8329899" y="4472762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24" name="Google Shape;3851;p66">
              <a:extLst>
                <a:ext uri="{FF2B5EF4-FFF2-40B4-BE49-F238E27FC236}">
                  <a16:creationId xmlns:a16="http://schemas.microsoft.com/office/drawing/2014/main" id="{14B77E36-AA75-3E31-06F2-02FD4B92E670}"/>
                </a:ext>
              </a:extLst>
            </p:cNvPr>
            <p:cNvCxnSpPr/>
            <p:nvPr/>
          </p:nvCxnSpPr>
          <p:spPr>
            <a:xfrm>
              <a:off x="9974130" y="4472762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25" name="Google Shape;3761;p66">
              <a:extLst>
                <a:ext uri="{FF2B5EF4-FFF2-40B4-BE49-F238E27FC236}">
                  <a16:creationId xmlns:a16="http://schemas.microsoft.com/office/drawing/2014/main" id="{ECCFDD88-B094-6810-C070-C614053D0E84}"/>
                </a:ext>
              </a:extLst>
            </p:cNvPr>
            <p:cNvCxnSpPr/>
            <p:nvPr/>
          </p:nvCxnSpPr>
          <p:spPr>
            <a:xfrm>
              <a:off x="5055869" y="4832958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26" name="Google Shape;3789;p66">
              <a:extLst>
                <a:ext uri="{FF2B5EF4-FFF2-40B4-BE49-F238E27FC236}">
                  <a16:creationId xmlns:a16="http://schemas.microsoft.com/office/drawing/2014/main" id="{C964ABD8-DA93-E2B8-E1DD-72A264AC87B2}"/>
                </a:ext>
              </a:extLst>
            </p:cNvPr>
            <p:cNvCxnSpPr/>
            <p:nvPr/>
          </p:nvCxnSpPr>
          <p:spPr>
            <a:xfrm>
              <a:off x="6692884" y="4832958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27" name="Google Shape;3811;p66">
              <a:extLst>
                <a:ext uri="{FF2B5EF4-FFF2-40B4-BE49-F238E27FC236}">
                  <a16:creationId xmlns:a16="http://schemas.microsoft.com/office/drawing/2014/main" id="{5E4A45D6-C888-135A-453E-AAE1ED5F97C1}"/>
                </a:ext>
              </a:extLst>
            </p:cNvPr>
            <p:cNvCxnSpPr/>
            <p:nvPr/>
          </p:nvCxnSpPr>
          <p:spPr>
            <a:xfrm>
              <a:off x="8329899" y="4832958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28" name="Google Shape;3852;p66">
              <a:extLst>
                <a:ext uri="{FF2B5EF4-FFF2-40B4-BE49-F238E27FC236}">
                  <a16:creationId xmlns:a16="http://schemas.microsoft.com/office/drawing/2014/main" id="{32D80B8D-0089-D14E-FE0A-29F029E42E52}"/>
                </a:ext>
              </a:extLst>
            </p:cNvPr>
            <p:cNvCxnSpPr/>
            <p:nvPr/>
          </p:nvCxnSpPr>
          <p:spPr>
            <a:xfrm>
              <a:off x="9974130" y="4832958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</p:spTree>
    <p:extLst>
      <p:ext uri="{BB962C8B-B14F-4D97-AF65-F5344CB8AC3E}">
        <p14:creationId xmlns:p14="http://schemas.microsoft.com/office/powerpoint/2010/main" val="171701105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13E9BBC-BCA4-53F8-5D80-2FA7FAC76C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34BFE519-9D81-7462-B7C3-3F4F41BC9D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4BFE519-9D81-7462-B7C3-3F4F41BC9D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EF98A4A-FD20-09DF-CBEB-26CF370C62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F71737CC-8660-B978-4283-38527AC478FE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51</a:t>
            </a:fld>
            <a:endParaRPr lang="en-US" sz="1200" dirty="0">
              <a:solidFill>
                <a:schemeClr val="bg1"/>
              </a:solidFill>
            </a:endParaRPr>
          </a:p>
        </p:txBody>
      </p:sp>
      <p:grpSp>
        <p:nvGrpSpPr>
          <p:cNvPr id="155" name="Group 154">
            <a:extLst>
              <a:ext uri="{FF2B5EF4-FFF2-40B4-BE49-F238E27FC236}">
                <a16:creationId xmlns:a16="http://schemas.microsoft.com/office/drawing/2014/main" id="{5CDB6578-48B6-420A-FC9B-08F61FACFD4D}"/>
              </a:ext>
            </a:extLst>
          </p:cNvPr>
          <p:cNvGrpSpPr/>
          <p:nvPr/>
        </p:nvGrpSpPr>
        <p:grpSpPr>
          <a:xfrm>
            <a:off x="839683" y="1066799"/>
            <a:ext cx="10667999" cy="4998333"/>
            <a:chOff x="839683" y="1066800"/>
            <a:chExt cx="10667999" cy="4362026"/>
          </a:xfrm>
        </p:grpSpPr>
        <p:sp>
          <p:nvSpPr>
            <p:cNvPr id="3" name="Shape1_20220929_150716">
              <a:extLst>
                <a:ext uri="{FF2B5EF4-FFF2-40B4-BE49-F238E27FC236}">
                  <a16:creationId xmlns:a16="http://schemas.microsoft.com/office/drawing/2014/main" id="{393820EA-6427-A108-E88B-3FB75D19ACE5}"/>
                </a:ext>
              </a:extLst>
            </p:cNvPr>
            <p:cNvSpPr/>
            <p:nvPr/>
          </p:nvSpPr>
          <p:spPr>
            <a:xfrm>
              <a:off x="839683" y="1066800"/>
              <a:ext cx="4089399" cy="4362026"/>
            </a:xfrm>
            <a:custGeom>
              <a:avLst/>
              <a:gdLst/>
              <a:ahLst/>
              <a:cxnLst/>
              <a:rect l="l" t="t" r="r" b="b"/>
              <a:pathLst>
                <a:path w="2891927" h="5618602" extrusionOk="0">
                  <a:moveTo>
                    <a:pt x="2767988" y="5618603"/>
                  </a:moveTo>
                  <a:lnTo>
                    <a:pt x="123940" y="5618603"/>
                  </a:lnTo>
                  <a:cubicBezTo>
                    <a:pt x="55478" y="5618603"/>
                    <a:pt x="0" y="5563125"/>
                    <a:pt x="0" y="5494663"/>
                  </a:cubicBezTo>
                  <a:lnTo>
                    <a:pt x="0" y="123940"/>
                  </a:lnTo>
                  <a:cubicBezTo>
                    <a:pt x="0" y="55478"/>
                    <a:pt x="55478" y="0"/>
                    <a:pt x="123940" y="0"/>
                  </a:cubicBezTo>
                  <a:lnTo>
                    <a:pt x="2767988" y="0"/>
                  </a:lnTo>
                  <a:cubicBezTo>
                    <a:pt x="2836450" y="0"/>
                    <a:pt x="2891928" y="55478"/>
                    <a:pt x="2891928" y="123940"/>
                  </a:cubicBezTo>
                  <a:lnTo>
                    <a:pt x="2891928" y="5494663"/>
                  </a:lnTo>
                  <a:cubicBezTo>
                    <a:pt x="2891928" y="5563125"/>
                    <a:pt x="2836450" y="5618603"/>
                    <a:pt x="2767988" y="5618603"/>
                  </a:cubicBezTo>
                  <a:close/>
                </a:path>
              </a:pathLst>
            </a:custGeom>
            <a:noFill/>
            <a:ln>
              <a:noFill/>
            </a:ln>
            <a:effectLst/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27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" name="Google Shape;3712;p66">
              <a:extLst>
                <a:ext uri="{FF2B5EF4-FFF2-40B4-BE49-F238E27FC236}">
                  <a16:creationId xmlns:a16="http://schemas.microsoft.com/office/drawing/2014/main" id="{3E9375C7-72FA-41C6-6254-3A9E3716F1E8}"/>
                </a:ext>
              </a:extLst>
            </p:cNvPr>
            <p:cNvSpPr/>
            <p:nvPr/>
          </p:nvSpPr>
          <p:spPr>
            <a:xfrm>
              <a:off x="933347" y="1123919"/>
              <a:ext cx="3910433" cy="80447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pPr algn="ctr"/>
              <a:r>
                <a:rPr lang="en-US" sz="1471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Title</a:t>
              </a:r>
              <a:endParaRPr sz="14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6" name="Google Shape;3718;p66">
              <a:extLst>
                <a:ext uri="{FF2B5EF4-FFF2-40B4-BE49-F238E27FC236}">
                  <a16:creationId xmlns:a16="http://schemas.microsoft.com/office/drawing/2014/main" id="{23067C20-DE78-42AE-C96B-7B85E8446866}"/>
                </a:ext>
              </a:extLst>
            </p:cNvPr>
            <p:cNvSpPr txBox="1"/>
            <p:nvPr/>
          </p:nvSpPr>
          <p:spPr>
            <a:xfrm>
              <a:off x="1030584" y="3833707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7" name="Google Shape;3719;p66">
              <a:extLst>
                <a:ext uri="{FF2B5EF4-FFF2-40B4-BE49-F238E27FC236}">
                  <a16:creationId xmlns:a16="http://schemas.microsoft.com/office/drawing/2014/main" id="{278B67D9-C94E-48BC-F83F-FB367A1E7EED}"/>
                </a:ext>
              </a:extLst>
            </p:cNvPr>
            <p:cNvSpPr txBox="1"/>
            <p:nvPr/>
          </p:nvSpPr>
          <p:spPr>
            <a:xfrm>
              <a:off x="1030584" y="4193902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8" name="Google Shape;3720;p66">
              <a:extLst>
                <a:ext uri="{FF2B5EF4-FFF2-40B4-BE49-F238E27FC236}">
                  <a16:creationId xmlns:a16="http://schemas.microsoft.com/office/drawing/2014/main" id="{FCCBE276-268C-2E98-B720-6244281984F5}"/>
                </a:ext>
              </a:extLst>
            </p:cNvPr>
            <p:cNvSpPr txBox="1"/>
            <p:nvPr/>
          </p:nvSpPr>
          <p:spPr>
            <a:xfrm>
              <a:off x="1030584" y="4554097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9" name="Google Shape;3713;p66">
              <a:extLst>
                <a:ext uri="{FF2B5EF4-FFF2-40B4-BE49-F238E27FC236}">
                  <a16:creationId xmlns:a16="http://schemas.microsoft.com/office/drawing/2014/main" id="{9581518F-7601-E2E4-43C1-75E4AC8F282D}"/>
                </a:ext>
              </a:extLst>
            </p:cNvPr>
            <p:cNvSpPr txBox="1"/>
            <p:nvPr/>
          </p:nvSpPr>
          <p:spPr>
            <a:xfrm>
              <a:off x="1030584" y="2032727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10" name="Google Shape;3714;p66">
              <a:extLst>
                <a:ext uri="{FF2B5EF4-FFF2-40B4-BE49-F238E27FC236}">
                  <a16:creationId xmlns:a16="http://schemas.microsoft.com/office/drawing/2014/main" id="{4B895EAE-5F39-CA60-7920-31CE36994307}"/>
                </a:ext>
              </a:extLst>
            </p:cNvPr>
            <p:cNvSpPr txBox="1"/>
            <p:nvPr/>
          </p:nvSpPr>
          <p:spPr>
            <a:xfrm>
              <a:off x="1030584" y="2392924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11" name="Google Shape;3715;p66">
              <a:extLst>
                <a:ext uri="{FF2B5EF4-FFF2-40B4-BE49-F238E27FC236}">
                  <a16:creationId xmlns:a16="http://schemas.microsoft.com/office/drawing/2014/main" id="{40936305-F744-B13E-5F9C-22DB10CC1C10}"/>
                </a:ext>
              </a:extLst>
            </p:cNvPr>
            <p:cNvSpPr txBox="1"/>
            <p:nvPr/>
          </p:nvSpPr>
          <p:spPr>
            <a:xfrm>
              <a:off x="1030584" y="2753118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12" name="Google Shape;3716;p66">
              <a:extLst>
                <a:ext uri="{FF2B5EF4-FFF2-40B4-BE49-F238E27FC236}">
                  <a16:creationId xmlns:a16="http://schemas.microsoft.com/office/drawing/2014/main" id="{A66C8F2E-B8CD-E041-8461-01FDE19E592D}"/>
                </a:ext>
              </a:extLst>
            </p:cNvPr>
            <p:cNvSpPr txBox="1"/>
            <p:nvPr/>
          </p:nvSpPr>
          <p:spPr>
            <a:xfrm>
              <a:off x="1030584" y="3113314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13" name="Google Shape;3717;p66">
              <a:extLst>
                <a:ext uri="{FF2B5EF4-FFF2-40B4-BE49-F238E27FC236}">
                  <a16:creationId xmlns:a16="http://schemas.microsoft.com/office/drawing/2014/main" id="{322AF36A-21A1-5381-BC7B-B3E9A2E033A6}"/>
                </a:ext>
              </a:extLst>
            </p:cNvPr>
            <p:cNvSpPr txBox="1"/>
            <p:nvPr/>
          </p:nvSpPr>
          <p:spPr>
            <a:xfrm>
              <a:off x="1030584" y="3473509"/>
              <a:ext cx="2860140" cy="1975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1471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1471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cxnSp>
          <p:nvCxnSpPr>
            <p:cNvPr id="14" name="Google Shape;3721;p66">
              <a:extLst>
                <a:ext uri="{FF2B5EF4-FFF2-40B4-BE49-F238E27FC236}">
                  <a16:creationId xmlns:a16="http://schemas.microsoft.com/office/drawing/2014/main" id="{BB85CDAD-0079-309B-C4E8-1C9C5B213B62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2311589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5" name="Google Shape;3722;p66">
              <a:extLst>
                <a:ext uri="{FF2B5EF4-FFF2-40B4-BE49-F238E27FC236}">
                  <a16:creationId xmlns:a16="http://schemas.microsoft.com/office/drawing/2014/main" id="{97044009-8EAC-B448-E72B-861AC4C389F1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2671784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6" name="Google Shape;3723;p66">
              <a:extLst>
                <a:ext uri="{FF2B5EF4-FFF2-40B4-BE49-F238E27FC236}">
                  <a16:creationId xmlns:a16="http://schemas.microsoft.com/office/drawing/2014/main" id="{F3456348-E00E-37C9-786F-B463E7BA1526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3031979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7" name="Google Shape;3724;p66">
              <a:extLst>
                <a:ext uri="{FF2B5EF4-FFF2-40B4-BE49-F238E27FC236}">
                  <a16:creationId xmlns:a16="http://schemas.microsoft.com/office/drawing/2014/main" id="{A483DDF8-3A93-6C0F-2177-9B52DC54B80B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3392177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8" name="Google Shape;3725;p66">
              <a:extLst>
                <a:ext uri="{FF2B5EF4-FFF2-40B4-BE49-F238E27FC236}">
                  <a16:creationId xmlns:a16="http://schemas.microsoft.com/office/drawing/2014/main" id="{D47A199F-EBB5-0939-0FA1-D5D479FB6195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3752371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9" name="Google Shape;3726;p66">
              <a:extLst>
                <a:ext uri="{FF2B5EF4-FFF2-40B4-BE49-F238E27FC236}">
                  <a16:creationId xmlns:a16="http://schemas.microsoft.com/office/drawing/2014/main" id="{F9155D8B-A004-B9F9-43C4-AB615541BD4C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4112566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0" name="Google Shape;3727;p66">
              <a:extLst>
                <a:ext uri="{FF2B5EF4-FFF2-40B4-BE49-F238E27FC236}">
                  <a16:creationId xmlns:a16="http://schemas.microsoft.com/office/drawing/2014/main" id="{E8FC03AD-2D3B-0210-3BAA-97EF5F070F2D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4472762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1" name="Google Shape;3728;p66">
              <a:extLst>
                <a:ext uri="{FF2B5EF4-FFF2-40B4-BE49-F238E27FC236}">
                  <a16:creationId xmlns:a16="http://schemas.microsoft.com/office/drawing/2014/main" id="{17737F6E-7136-A47F-7C9A-22A617D16217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4832958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22" name="Shape2_20220929_150716">
              <a:extLst>
                <a:ext uri="{FF2B5EF4-FFF2-40B4-BE49-F238E27FC236}">
                  <a16:creationId xmlns:a16="http://schemas.microsoft.com/office/drawing/2014/main" id="{6841F7F4-F3B1-F3BF-C286-EC94760579D7}"/>
                </a:ext>
              </a:extLst>
            </p:cNvPr>
            <p:cNvSpPr/>
            <p:nvPr/>
          </p:nvSpPr>
          <p:spPr>
            <a:xfrm>
              <a:off x="7576560" y="1066800"/>
              <a:ext cx="1301663" cy="4362026"/>
            </a:xfrm>
            <a:custGeom>
              <a:avLst/>
              <a:gdLst/>
              <a:ahLst/>
              <a:cxnLst/>
              <a:rect l="l" t="t" r="r" b="b"/>
              <a:pathLst>
                <a:path w="1652530" h="5618602" extrusionOk="0">
                  <a:moveTo>
                    <a:pt x="1528590" y="5618603"/>
                  </a:moveTo>
                  <a:lnTo>
                    <a:pt x="123940" y="5618603"/>
                  </a:lnTo>
                  <a:cubicBezTo>
                    <a:pt x="55478" y="5618603"/>
                    <a:pt x="0" y="5563125"/>
                    <a:pt x="0" y="5494663"/>
                  </a:cubicBezTo>
                  <a:lnTo>
                    <a:pt x="0" y="123940"/>
                  </a:lnTo>
                  <a:cubicBezTo>
                    <a:pt x="0" y="55478"/>
                    <a:pt x="55478" y="0"/>
                    <a:pt x="123940" y="0"/>
                  </a:cubicBezTo>
                  <a:lnTo>
                    <a:pt x="1528590" y="0"/>
                  </a:lnTo>
                  <a:cubicBezTo>
                    <a:pt x="1597052" y="0"/>
                    <a:pt x="1652530" y="55478"/>
                    <a:pt x="1652530" y="123940"/>
                  </a:cubicBezTo>
                  <a:lnTo>
                    <a:pt x="1652530" y="5494663"/>
                  </a:lnTo>
                  <a:cubicBezTo>
                    <a:pt x="1652530" y="5563125"/>
                    <a:pt x="1597052" y="5618603"/>
                    <a:pt x="1528590" y="5618603"/>
                  </a:cubicBezTo>
                  <a:close/>
                </a:path>
              </a:pathLst>
            </a:custGeom>
            <a:noFill/>
            <a:ln>
              <a:noFill/>
            </a:ln>
            <a:effectLst/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27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3" name="Shape3_20220929_150716">
              <a:extLst>
                <a:ext uri="{FF2B5EF4-FFF2-40B4-BE49-F238E27FC236}">
                  <a16:creationId xmlns:a16="http://schemas.microsoft.com/office/drawing/2014/main" id="{EA60AD26-E44D-40EE-2AB7-475C0EB5044B}"/>
                </a:ext>
              </a:extLst>
            </p:cNvPr>
            <p:cNvSpPr/>
            <p:nvPr/>
          </p:nvSpPr>
          <p:spPr>
            <a:xfrm>
              <a:off x="4947101" y="1066800"/>
              <a:ext cx="1301663" cy="4362026"/>
            </a:xfrm>
            <a:custGeom>
              <a:avLst/>
              <a:gdLst/>
              <a:ahLst/>
              <a:cxnLst/>
              <a:rect l="l" t="t" r="r" b="b"/>
              <a:pathLst>
                <a:path w="1652530" h="5618602" extrusionOk="0">
                  <a:moveTo>
                    <a:pt x="1528590" y="5618603"/>
                  </a:moveTo>
                  <a:lnTo>
                    <a:pt x="123940" y="5618603"/>
                  </a:lnTo>
                  <a:cubicBezTo>
                    <a:pt x="55478" y="5618603"/>
                    <a:pt x="0" y="5563125"/>
                    <a:pt x="0" y="5494663"/>
                  </a:cubicBezTo>
                  <a:lnTo>
                    <a:pt x="0" y="123940"/>
                  </a:lnTo>
                  <a:cubicBezTo>
                    <a:pt x="0" y="55478"/>
                    <a:pt x="55478" y="0"/>
                    <a:pt x="123940" y="0"/>
                  </a:cubicBezTo>
                  <a:lnTo>
                    <a:pt x="1528590" y="0"/>
                  </a:lnTo>
                  <a:cubicBezTo>
                    <a:pt x="1597052" y="0"/>
                    <a:pt x="1652530" y="55478"/>
                    <a:pt x="1652530" y="123940"/>
                  </a:cubicBezTo>
                  <a:lnTo>
                    <a:pt x="1652530" y="5494663"/>
                  </a:lnTo>
                  <a:cubicBezTo>
                    <a:pt x="1652530" y="5563125"/>
                    <a:pt x="1597052" y="5618603"/>
                    <a:pt x="1528590" y="5618603"/>
                  </a:cubicBezTo>
                  <a:close/>
                </a:path>
              </a:pathLst>
            </a:custGeom>
            <a:noFill/>
            <a:ln>
              <a:noFill/>
            </a:ln>
            <a:effectLst/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27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4" name="Google Shape;3730;p66">
              <a:extLst>
                <a:ext uri="{FF2B5EF4-FFF2-40B4-BE49-F238E27FC236}">
                  <a16:creationId xmlns:a16="http://schemas.microsoft.com/office/drawing/2014/main" id="{52E7AA74-56E3-7033-4272-B766144F8D1C}"/>
                </a:ext>
              </a:extLst>
            </p:cNvPr>
            <p:cNvSpPr/>
            <p:nvPr/>
          </p:nvSpPr>
          <p:spPr>
            <a:xfrm>
              <a:off x="5005265" y="1123919"/>
              <a:ext cx="1197532" cy="80447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5" name="Google Shape;3731;p66">
              <a:extLst>
                <a:ext uri="{FF2B5EF4-FFF2-40B4-BE49-F238E27FC236}">
                  <a16:creationId xmlns:a16="http://schemas.microsoft.com/office/drawing/2014/main" id="{525927E0-BABB-E21F-A92F-2F54B4693EB2}"/>
                </a:ext>
              </a:extLst>
            </p:cNvPr>
            <p:cNvSpPr/>
            <p:nvPr/>
          </p:nvSpPr>
          <p:spPr>
            <a:xfrm>
              <a:off x="5010706" y="4933092"/>
              <a:ext cx="1197532" cy="442652"/>
            </a:xfrm>
            <a:prstGeom prst="roundRect">
              <a:avLst>
                <a:gd name="adj" fmla="val 11531"/>
              </a:avLst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pPr algn="ctr"/>
              <a:r>
                <a:rPr lang="en-US" sz="1200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</a:p>
          </p:txBody>
        </p:sp>
        <p:sp>
          <p:nvSpPr>
            <p:cNvPr id="26" name="Google Shape;3732;p66">
              <a:extLst>
                <a:ext uri="{FF2B5EF4-FFF2-40B4-BE49-F238E27FC236}">
                  <a16:creationId xmlns:a16="http://schemas.microsoft.com/office/drawing/2014/main" id="{77C15804-FA3D-FE6B-DD07-7614854CA7D2}"/>
                </a:ext>
              </a:extLst>
            </p:cNvPr>
            <p:cNvSpPr txBox="1"/>
            <p:nvPr/>
          </p:nvSpPr>
          <p:spPr>
            <a:xfrm>
              <a:off x="5141213" y="1210814"/>
              <a:ext cx="925635" cy="27268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5284" tIns="42642" rIns="85284" bIns="42642" anchor="ctr" anchorCtr="0">
              <a:spAutoFit/>
            </a:bodyPr>
            <a:lstStyle/>
            <a:p>
              <a:pPr algn="ctr"/>
              <a:r>
                <a:rPr lang="en-US" sz="1471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Title</a:t>
              </a:r>
              <a:endParaRPr sz="1471" b="1" dirty="0">
                <a:solidFill>
                  <a:schemeClr val="lt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7" name="Google Shape;3733;p66">
              <a:extLst>
                <a:ext uri="{FF2B5EF4-FFF2-40B4-BE49-F238E27FC236}">
                  <a16:creationId xmlns:a16="http://schemas.microsoft.com/office/drawing/2014/main" id="{A48F2773-6C2E-2A15-991D-29E82B66A1E1}"/>
                </a:ext>
              </a:extLst>
            </p:cNvPr>
            <p:cNvSpPr txBox="1"/>
            <p:nvPr/>
          </p:nvSpPr>
          <p:spPr>
            <a:xfrm>
              <a:off x="5209272" y="1548360"/>
              <a:ext cx="789516" cy="27268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5284" tIns="42642" rIns="85284" bIns="42642" anchor="ctr" anchorCtr="0">
              <a:spAutoFit/>
            </a:bodyPr>
            <a:lstStyle/>
            <a:p>
              <a:pPr algn="ctr"/>
              <a:r>
                <a:rPr lang="en-US" sz="1471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$x</a:t>
              </a:r>
              <a:endParaRPr sz="14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8" name="Shape1_20221014_120843">
              <a:extLst>
                <a:ext uri="{FF2B5EF4-FFF2-40B4-BE49-F238E27FC236}">
                  <a16:creationId xmlns:a16="http://schemas.microsoft.com/office/drawing/2014/main" id="{668DDEBA-6307-5EEB-B9CB-198218B8CF8D}"/>
                </a:ext>
              </a:extLst>
            </p:cNvPr>
            <p:cNvSpPr/>
            <p:nvPr/>
          </p:nvSpPr>
          <p:spPr>
            <a:xfrm>
              <a:off x="5574830" y="4603325"/>
              <a:ext cx="102413" cy="85344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3335" y="118697"/>
                  </a:move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81"/>
                    <a:pt x="123143" y="14981"/>
                    <a:pt x="118697" y="19388"/>
                  </a:cubicBez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9" name="Shape2_20221014_120843">
              <a:extLst>
                <a:ext uri="{FF2B5EF4-FFF2-40B4-BE49-F238E27FC236}">
                  <a16:creationId xmlns:a16="http://schemas.microsoft.com/office/drawing/2014/main" id="{9291A5C6-67F1-A08C-390C-9ADDCECE87ED}"/>
                </a:ext>
              </a:extLst>
            </p:cNvPr>
            <p:cNvSpPr/>
            <p:nvPr/>
          </p:nvSpPr>
          <p:spPr>
            <a:xfrm>
              <a:off x="5574830" y="4603325"/>
              <a:ext cx="102413" cy="85344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02644" y="118697"/>
                  </a:move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90"/>
                    <a:pt x="123143" y="114290"/>
                    <a:pt x="118697" y="118697"/>
                  </a:cubicBezTo>
                  <a:cubicBezTo>
                    <a:pt x="114290" y="123143"/>
                    <a:pt x="107090" y="123143"/>
                    <a:pt x="102644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0" name="Shape3_20221014_120843">
              <a:extLst>
                <a:ext uri="{FF2B5EF4-FFF2-40B4-BE49-F238E27FC236}">
                  <a16:creationId xmlns:a16="http://schemas.microsoft.com/office/drawing/2014/main" id="{46599DD5-E0C9-8F0D-556F-03E30DFF20E0}"/>
                </a:ext>
              </a:extLst>
            </p:cNvPr>
            <p:cNvSpPr/>
            <p:nvPr/>
          </p:nvSpPr>
          <p:spPr>
            <a:xfrm>
              <a:off x="5574830" y="4243145"/>
              <a:ext cx="102413" cy="85344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18697"/>
                  </a:moveTo>
                  <a:cubicBezTo>
                    <a:pt x="114251" y="123143"/>
                    <a:pt x="107050" y="123143"/>
                    <a:pt x="102644" y="118697"/>
                  </a:cubicBez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50"/>
                    <a:pt x="123143" y="114251"/>
                    <a:pt x="118697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1" name="Shape4_20221014_120843">
              <a:extLst>
                <a:ext uri="{FF2B5EF4-FFF2-40B4-BE49-F238E27FC236}">
                  <a16:creationId xmlns:a16="http://schemas.microsoft.com/office/drawing/2014/main" id="{1BD59053-4621-7457-4751-BF8F633E7B7D}"/>
                </a:ext>
              </a:extLst>
            </p:cNvPr>
            <p:cNvSpPr/>
            <p:nvPr/>
          </p:nvSpPr>
          <p:spPr>
            <a:xfrm>
              <a:off x="5574830" y="4243113"/>
              <a:ext cx="102413" cy="85344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9388"/>
                  </a:move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81"/>
                    <a:pt x="123143" y="14981"/>
                    <a:pt x="118697" y="19388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2" name="Shape5_20221014_120843">
              <a:extLst>
                <a:ext uri="{FF2B5EF4-FFF2-40B4-BE49-F238E27FC236}">
                  <a16:creationId xmlns:a16="http://schemas.microsoft.com/office/drawing/2014/main" id="{46A6396E-EEA9-FAD2-3FB1-B223E536F854}"/>
                </a:ext>
              </a:extLst>
            </p:cNvPr>
            <p:cNvSpPr/>
            <p:nvPr/>
          </p:nvSpPr>
          <p:spPr>
            <a:xfrm>
              <a:off x="5574830" y="3882936"/>
              <a:ext cx="102413" cy="85344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18697"/>
                  </a:moveTo>
                  <a:cubicBezTo>
                    <a:pt x="114251" y="123143"/>
                    <a:pt x="107050" y="123143"/>
                    <a:pt x="102644" y="118697"/>
                  </a:cubicBez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90"/>
                    <a:pt x="123143" y="114251"/>
                    <a:pt x="118697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3" name="Shape6_20221014_120843">
              <a:extLst>
                <a:ext uri="{FF2B5EF4-FFF2-40B4-BE49-F238E27FC236}">
                  <a16:creationId xmlns:a16="http://schemas.microsoft.com/office/drawing/2014/main" id="{C1E9C1E5-A397-E27D-593D-29B4F66D73DE}"/>
                </a:ext>
              </a:extLst>
            </p:cNvPr>
            <p:cNvSpPr/>
            <p:nvPr/>
          </p:nvSpPr>
          <p:spPr>
            <a:xfrm>
              <a:off x="5574830" y="3882936"/>
              <a:ext cx="102413" cy="85344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9388"/>
                  </a:move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41"/>
                    <a:pt x="123143" y="14941"/>
                    <a:pt x="118697" y="19388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4" name="Shape0_20220929_150716">
              <a:extLst>
                <a:ext uri="{FF2B5EF4-FFF2-40B4-BE49-F238E27FC236}">
                  <a16:creationId xmlns:a16="http://schemas.microsoft.com/office/drawing/2014/main" id="{2F97CD24-9F6D-1FB7-9ED3-67AB07F33576}"/>
                </a:ext>
              </a:extLst>
            </p:cNvPr>
            <p:cNvSpPr/>
            <p:nvPr/>
          </p:nvSpPr>
          <p:spPr>
            <a:xfrm>
              <a:off x="6261829" y="1066800"/>
              <a:ext cx="1301663" cy="4362026"/>
            </a:xfrm>
            <a:custGeom>
              <a:avLst/>
              <a:gdLst/>
              <a:ahLst/>
              <a:cxnLst/>
              <a:rect l="l" t="t" r="r" b="b"/>
              <a:pathLst>
                <a:path w="1652530" h="5618602" extrusionOk="0">
                  <a:moveTo>
                    <a:pt x="1528590" y="5618603"/>
                  </a:moveTo>
                  <a:lnTo>
                    <a:pt x="123940" y="5618603"/>
                  </a:lnTo>
                  <a:cubicBezTo>
                    <a:pt x="55478" y="5618603"/>
                    <a:pt x="0" y="5563125"/>
                    <a:pt x="0" y="5494663"/>
                  </a:cubicBezTo>
                  <a:lnTo>
                    <a:pt x="0" y="123940"/>
                  </a:lnTo>
                  <a:cubicBezTo>
                    <a:pt x="0" y="55478"/>
                    <a:pt x="55478" y="0"/>
                    <a:pt x="123940" y="0"/>
                  </a:cubicBezTo>
                  <a:lnTo>
                    <a:pt x="1528590" y="0"/>
                  </a:lnTo>
                  <a:cubicBezTo>
                    <a:pt x="1597052" y="0"/>
                    <a:pt x="1652530" y="55478"/>
                    <a:pt x="1652530" y="123940"/>
                  </a:cubicBezTo>
                  <a:lnTo>
                    <a:pt x="1652530" y="5494663"/>
                  </a:lnTo>
                  <a:cubicBezTo>
                    <a:pt x="1652530" y="5563125"/>
                    <a:pt x="1597052" y="5618603"/>
                    <a:pt x="1528590" y="5618603"/>
                  </a:cubicBezTo>
                  <a:close/>
                </a:path>
              </a:pathLst>
            </a:custGeom>
            <a:noFill/>
            <a:ln>
              <a:noFill/>
            </a:ln>
            <a:effectLst/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27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5" name="Shape0_20220721_110731">
              <a:extLst>
                <a:ext uri="{FF2B5EF4-FFF2-40B4-BE49-F238E27FC236}">
                  <a16:creationId xmlns:a16="http://schemas.microsoft.com/office/drawing/2014/main" id="{F4075387-C414-A2B5-1330-91F2643D897D}"/>
                </a:ext>
              </a:extLst>
            </p:cNvPr>
            <p:cNvSpPr/>
            <p:nvPr/>
          </p:nvSpPr>
          <p:spPr>
            <a:xfrm>
              <a:off x="6329963" y="1123919"/>
              <a:ext cx="1171498" cy="804473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6" name="Shape1_20220721_110731">
              <a:extLst>
                <a:ext uri="{FF2B5EF4-FFF2-40B4-BE49-F238E27FC236}">
                  <a16:creationId xmlns:a16="http://schemas.microsoft.com/office/drawing/2014/main" id="{82B04E77-25EE-00FA-E328-0467A178DD5B}"/>
                </a:ext>
              </a:extLst>
            </p:cNvPr>
            <p:cNvSpPr/>
            <p:nvPr/>
          </p:nvSpPr>
          <p:spPr>
            <a:xfrm>
              <a:off x="6319666" y="4933092"/>
              <a:ext cx="1197532" cy="442652"/>
            </a:xfrm>
            <a:prstGeom prst="roundRect">
              <a:avLst>
                <a:gd name="adj" fmla="val 11531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pPr algn="ctr"/>
              <a:r>
                <a:rPr lang="en-US" sz="1200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</a:p>
          </p:txBody>
        </p:sp>
        <p:sp>
          <p:nvSpPr>
            <p:cNvPr id="37" name="Google Shape;3766;p66">
              <a:extLst>
                <a:ext uri="{FF2B5EF4-FFF2-40B4-BE49-F238E27FC236}">
                  <a16:creationId xmlns:a16="http://schemas.microsoft.com/office/drawing/2014/main" id="{B7A6F2C6-9C3D-2012-33B7-094D04C7E7D8}"/>
                </a:ext>
              </a:extLst>
            </p:cNvPr>
            <p:cNvSpPr txBox="1"/>
            <p:nvPr/>
          </p:nvSpPr>
          <p:spPr>
            <a:xfrm>
              <a:off x="6452895" y="1210814"/>
              <a:ext cx="925635" cy="27268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5284" tIns="42642" rIns="85284" bIns="42642" anchor="ctr" anchorCtr="0">
              <a:spAutoFit/>
            </a:bodyPr>
            <a:lstStyle/>
            <a:p>
              <a:pPr algn="ctr"/>
              <a:r>
                <a:rPr lang="en-US" sz="1471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Title</a:t>
              </a:r>
              <a:endParaRPr sz="1471" b="1" dirty="0">
                <a:solidFill>
                  <a:schemeClr val="lt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8" name="Google Shape;3767;p66">
              <a:extLst>
                <a:ext uri="{FF2B5EF4-FFF2-40B4-BE49-F238E27FC236}">
                  <a16:creationId xmlns:a16="http://schemas.microsoft.com/office/drawing/2014/main" id="{FB66F35B-3131-B161-5722-F68F65D4D9F7}"/>
                </a:ext>
              </a:extLst>
            </p:cNvPr>
            <p:cNvSpPr txBox="1"/>
            <p:nvPr/>
          </p:nvSpPr>
          <p:spPr>
            <a:xfrm>
              <a:off x="6520956" y="1548360"/>
              <a:ext cx="789516" cy="27268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5284" tIns="42642" rIns="85284" bIns="42642" anchor="ctr" anchorCtr="0">
              <a:spAutoFit/>
            </a:bodyPr>
            <a:lstStyle/>
            <a:p>
              <a:pPr algn="ctr"/>
              <a:r>
                <a:rPr lang="en-US" sz="1471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$x</a:t>
              </a:r>
              <a:endParaRPr sz="14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9" name="Shape1_20221014_120837">
              <a:extLst>
                <a:ext uri="{FF2B5EF4-FFF2-40B4-BE49-F238E27FC236}">
                  <a16:creationId xmlns:a16="http://schemas.microsoft.com/office/drawing/2014/main" id="{D9FFFE2B-4615-7DC1-B027-017837E52B1F}"/>
                </a:ext>
              </a:extLst>
            </p:cNvPr>
            <p:cNvSpPr/>
            <p:nvPr/>
          </p:nvSpPr>
          <p:spPr>
            <a:xfrm>
              <a:off x="6860613" y="3852746"/>
              <a:ext cx="170688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7"/>
                  </a:cubicBezTo>
                  <a:lnTo>
                    <a:pt x="1367" y="77344"/>
                  </a:lnTo>
                  <a:cubicBezTo>
                    <a:pt x="-1623" y="71836"/>
                    <a:pt x="462" y="64911"/>
                    <a:pt x="5971" y="61960"/>
                  </a:cubicBezTo>
                  <a:cubicBezTo>
                    <a:pt x="11479" y="58969"/>
                    <a:pt x="18365" y="61055"/>
                    <a:pt x="21355" y="66563"/>
                  </a:cubicBezTo>
                  <a:lnTo>
                    <a:pt x="54484" y="127904"/>
                  </a:lnTo>
                  <a:lnTo>
                    <a:pt x="120310" y="5971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7"/>
                  </a:lnTo>
                  <a:cubicBezTo>
                    <a:pt x="62511" y="160876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0" name="Shape7_20221014_120843">
              <a:extLst>
                <a:ext uri="{FF2B5EF4-FFF2-40B4-BE49-F238E27FC236}">
                  <a16:creationId xmlns:a16="http://schemas.microsoft.com/office/drawing/2014/main" id="{89532485-2A5C-EE6F-D624-AE8A5C6455AD}"/>
                </a:ext>
              </a:extLst>
            </p:cNvPr>
            <p:cNvSpPr/>
            <p:nvPr/>
          </p:nvSpPr>
          <p:spPr>
            <a:xfrm>
              <a:off x="6883792" y="4603325"/>
              <a:ext cx="102413" cy="85344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3335" y="118697"/>
                  </a:move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81"/>
                    <a:pt x="123143" y="14981"/>
                    <a:pt x="118697" y="19388"/>
                  </a:cubicBez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1" name="Shape8_20221014_120843">
              <a:extLst>
                <a:ext uri="{FF2B5EF4-FFF2-40B4-BE49-F238E27FC236}">
                  <a16:creationId xmlns:a16="http://schemas.microsoft.com/office/drawing/2014/main" id="{61DDC6CB-98B2-396A-1319-5324324C968C}"/>
                </a:ext>
              </a:extLst>
            </p:cNvPr>
            <p:cNvSpPr/>
            <p:nvPr/>
          </p:nvSpPr>
          <p:spPr>
            <a:xfrm>
              <a:off x="6883792" y="4603325"/>
              <a:ext cx="102413" cy="85344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02644" y="118697"/>
                  </a:move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90"/>
                    <a:pt x="123143" y="114290"/>
                    <a:pt x="118697" y="118697"/>
                  </a:cubicBezTo>
                  <a:cubicBezTo>
                    <a:pt x="114290" y="123143"/>
                    <a:pt x="107090" y="123143"/>
                    <a:pt x="102644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2" name="Shape9_20221014_120843">
              <a:extLst>
                <a:ext uri="{FF2B5EF4-FFF2-40B4-BE49-F238E27FC236}">
                  <a16:creationId xmlns:a16="http://schemas.microsoft.com/office/drawing/2014/main" id="{46A25634-A7F0-03F3-D29F-F5E2C82D23C0}"/>
                </a:ext>
              </a:extLst>
            </p:cNvPr>
            <p:cNvSpPr/>
            <p:nvPr/>
          </p:nvSpPr>
          <p:spPr>
            <a:xfrm>
              <a:off x="6883792" y="4243145"/>
              <a:ext cx="102413" cy="85344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18697"/>
                  </a:moveTo>
                  <a:cubicBezTo>
                    <a:pt x="114251" y="123143"/>
                    <a:pt x="107050" y="123143"/>
                    <a:pt x="102644" y="118697"/>
                  </a:cubicBez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50"/>
                    <a:pt x="123143" y="114251"/>
                    <a:pt x="118697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3" name="Shape10_20221014_120843">
              <a:extLst>
                <a:ext uri="{FF2B5EF4-FFF2-40B4-BE49-F238E27FC236}">
                  <a16:creationId xmlns:a16="http://schemas.microsoft.com/office/drawing/2014/main" id="{14B129B3-445A-B914-8E7A-48AF0AF5935D}"/>
                </a:ext>
              </a:extLst>
            </p:cNvPr>
            <p:cNvSpPr/>
            <p:nvPr/>
          </p:nvSpPr>
          <p:spPr>
            <a:xfrm>
              <a:off x="6883792" y="4243113"/>
              <a:ext cx="102413" cy="85344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9388"/>
                  </a:move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81"/>
                    <a:pt x="123143" y="14981"/>
                    <a:pt x="118697" y="19388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4" name="Shape0_20220721_110735">
              <a:extLst>
                <a:ext uri="{FF2B5EF4-FFF2-40B4-BE49-F238E27FC236}">
                  <a16:creationId xmlns:a16="http://schemas.microsoft.com/office/drawing/2014/main" id="{61925F8D-B24B-FA9B-4394-7322FC1B8C05}"/>
                </a:ext>
              </a:extLst>
            </p:cNvPr>
            <p:cNvSpPr/>
            <p:nvPr/>
          </p:nvSpPr>
          <p:spPr>
            <a:xfrm>
              <a:off x="7628627" y="1123919"/>
              <a:ext cx="1197532" cy="804473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5" name="Shape1_20220721_110735">
              <a:extLst>
                <a:ext uri="{FF2B5EF4-FFF2-40B4-BE49-F238E27FC236}">
                  <a16:creationId xmlns:a16="http://schemas.microsoft.com/office/drawing/2014/main" id="{37856F43-8E9A-92BD-C45C-C25B16FFFC56}"/>
                </a:ext>
              </a:extLst>
            </p:cNvPr>
            <p:cNvSpPr/>
            <p:nvPr/>
          </p:nvSpPr>
          <p:spPr>
            <a:xfrm>
              <a:off x="7628627" y="4933092"/>
              <a:ext cx="1197532" cy="442652"/>
            </a:xfrm>
            <a:prstGeom prst="roundRect">
              <a:avLst>
                <a:gd name="adj" fmla="val 11531"/>
              </a:avLst>
            </a:prstGeom>
            <a:solidFill>
              <a:schemeClr val="accent5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pPr algn="ctr"/>
              <a:r>
                <a:rPr lang="en-US" sz="1200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</a:p>
          </p:txBody>
        </p:sp>
        <p:sp>
          <p:nvSpPr>
            <p:cNvPr id="46" name="Google Shape;3794;p66">
              <a:extLst>
                <a:ext uri="{FF2B5EF4-FFF2-40B4-BE49-F238E27FC236}">
                  <a16:creationId xmlns:a16="http://schemas.microsoft.com/office/drawing/2014/main" id="{CE945169-B360-F1A9-AF36-32FC539D99DE}"/>
                </a:ext>
              </a:extLst>
            </p:cNvPr>
            <p:cNvSpPr txBox="1"/>
            <p:nvPr/>
          </p:nvSpPr>
          <p:spPr>
            <a:xfrm>
              <a:off x="7764576" y="1210814"/>
              <a:ext cx="925635" cy="27268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5284" tIns="42642" rIns="85284" bIns="42642" anchor="ctr" anchorCtr="0">
              <a:spAutoFit/>
            </a:bodyPr>
            <a:lstStyle/>
            <a:p>
              <a:pPr algn="ctr"/>
              <a:r>
                <a:rPr lang="en-US" sz="1471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Title</a:t>
              </a:r>
              <a:endParaRPr sz="1471" b="1" dirty="0">
                <a:solidFill>
                  <a:schemeClr val="lt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7" name="Google Shape;3795;p66">
              <a:extLst>
                <a:ext uri="{FF2B5EF4-FFF2-40B4-BE49-F238E27FC236}">
                  <a16:creationId xmlns:a16="http://schemas.microsoft.com/office/drawing/2014/main" id="{4376B247-3EEC-AA21-6CC7-296F66E7C431}"/>
                </a:ext>
              </a:extLst>
            </p:cNvPr>
            <p:cNvSpPr txBox="1"/>
            <p:nvPr/>
          </p:nvSpPr>
          <p:spPr>
            <a:xfrm>
              <a:off x="7832636" y="1548360"/>
              <a:ext cx="789516" cy="27268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5284" tIns="42642" rIns="85284" bIns="42642" anchor="ctr" anchorCtr="0">
              <a:spAutoFit/>
            </a:bodyPr>
            <a:lstStyle/>
            <a:p>
              <a:pPr algn="ctr"/>
              <a:r>
                <a:rPr lang="en-US" sz="1471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$x</a:t>
              </a:r>
              <a:endParaRPr sz="14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8" name="Shape2_20221014_120837">
              <a:extLst>
                <a:ext uri="{FF2B5EF4-FFF2-40B4-BE49-F238E27FC236}">
                  <a16:creationId xmlns:a16="http://schemas.microsoft.com/office/drawing/2014/main" id="{7C9396E6-7A33-50DD-71A9-DB46EE0CD10A}"/>
                </a:ext>
              </a:extLst>
            </p:cNvPr>
            <p:cNvSpPr/>
            <p:nvPr/>
          </p:nvSpPr>
          <p:spPr>
            <a:xfrm>
              <a:off x="8169576" y="3852746"/>
              <a:ext cx="170688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7"/>
                  </a:cubicBezTo>
                  <a:lnTo>
                    <a:pt x="1367" y="77344"/>
                  </a:lnTo>
                  <a:cubicBezTo>
                    <a:pt x="-1623" y="71836"/>
                    <a:pt x="462" y="64911"/>
                    <a:pt x="5971" y="61960"/>
                  </a:cubicBezTo>
                  <a:cubicBezTo>
                    <a:pt x="11479" y="58969"/>
                    <a:pt x="18365" y="61055"/>
                    <a:pt x="21355" y="66563"/>
                  </a:cubicBezTo>
                  <a:lnTo>
                    <a:pt x="54484" y="127904"/>
                  </a:lnTo>
                  <a:lnTo>
                    <a:pt x="120310" y="5971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7"/>
                  </a:lnTo>
                  <a:cubicBezTo>
                    <a:pt x="62511" y="160876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9" name="Shape3_20221014_120837">
              <a:extLst>
                <a:ext uri="{FF2B5EF4-FFF2-40B4-BE49-F238E27FC236}">
                  <a16:creationId xmlns:a16="http://schemas.microsoft.com/office/drawing/2014/main" id="{35EC256B-D810-8944-901A-4E95E9AEF486}"/>
                </a:ext>
              </a:extLst>
            </p:cNvPr>
            <p:cNvSpPr/>
            <p:nvPr/>
          </p:nvSpPr>
          <p:spPr>
            <a:xfrm>
              <a:off x="8169576" y="4209362"/>
              <a:ext cx="170688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lnTo>
                    <a:pt x="54484" y="163197"/>
                  </a:ln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0"/>
                    <a:pt x="5971" y="61960"/>
                  </a:cubicBezTo>
                  <a:cubicBezTo>
                    <a:pt x="11479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0" name="Shape4_20221014_120837">
              <a:extLst>
                <a:ext uri="{FF2B5EF4-FFF2-40B4-BE49-F238E27FC236}">
                  <a16:creationId xmlns:a16="http://schemas.microsoft.com/office/drawing/2014/main" id="{FC037FE5-852B-0F45-B075-E663E23B3077}"/>
                </a:ext>
              </a:extLst>
            </p:cNvPr>
            <p:cNvSpPr/>
            <p:nvPr/>
          </p:nvSpPr>
          <p:spPr>
            <a:xfrm>
              <a:off x="8169576" y="4598745"/>
              <a:ext cx="170688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lnTo>
                    <a:pt x="54484" y="163197"/>
                  </a:ln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0"/>
                    <a:pt x="5971" y="61960"/>
                  </a:cubicBezTo>
                  <a:cubicBezTo>
                    <a:pt x="11479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87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1" name="Shape4_20220929_150716">
              <a:extLst>
                <a:ext uri="{FF2B5EF4-FFF2-40B4-BE49-F238E27FC236}">
                  <a16:creationId xmlns:a16="http://schemas.microsoft.com/office/drawing/2014/main" id="{6F0E1AE6-23AF-F7B9-9503-2570FEFB3ED0}"/>
                </a:ext>
              </a:extLst>
            </p:cNvPr>
            <p:cNvSpPr/>
            <p:nvPr/>
          </p:nvSpPr>
          <p:spPr>
            <a:xfrm>
              <a:off x="8891288" y="1066800"/>
              <a:ext cx="1301663" cy="4362026"/>
            </a:xfrm>
            <a:custGeom>
              <a:avLst/>
              <a:gdLst/>
              <a:ahLst/>
              <a:cxnLst/>
              <a:rect l="l" t="t" r="r" b="b"/>
              <a:pathLst>
                <a:path w="1652530" h="5618602" extrusionOk="0">
                  <a:moveTo>
                    <a:pt x="1528590" y="5618603"/>
                  </a:moveTo>
                  <a:lnTo>
                    <a:pt x="123940" y="5618603"/>
                  </a:lnTo>
                  <a:cubicBezTo>
                    <a:pt x="55478" y="5618603"/>
                    <a:pt x="0" y="5563125"/>
                    <a:pt x="0" y="5494663"/>
                  </a:cubicBezTo>
                  <a:lnTo>
                    <a:pt x="0" y="123940"/>
                  </a:lnTo>
                  <a:cubicBezTo>
                    <a:pt x="0" y="55478"/>
                    <a:pt x="55478" y="0"/>
                    <a:pt x="123940" y="0"/>
                  </a:cubicBezTo>
                  <a:lnTo>
                    <a:pt x="1528590" y="0"/>
                  </a:lnTo>
                  <a:cubicBezTo>
                    <a:pt x="1597052" y="0"/>
                    <a:pt x="1652530" y="55478"/>
                    <a:pt x="1652530" y="123940"/>
                  </a:cubicBezTo>
                  <a:lnTo>
                    <a:pt x="1652530" y="5494663"/>
                  </a:lnTo>
                  <a:cubicBezTo>
                    <a:pt x="1652530" y="5563125"/>
                    <a:pt x="1597052" y="5618603"/>
                    <a:pt x="1528590" y="5618603"/>
                  </a:cubicBezTo>
                  <a:close/>
                </a:path>
              </a:pathLst>
            </a:custGeom>
            <a:noFill/>
            <a:ln>
              <a:noFill/>
            </a:ln>
            <a:effectLst/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2771" dirty="0">
                <a:solidFill>
                  <a:schemeClr val="accent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2" name="Shape0_20220721_110953">
              <a:extLst>
                <a:ext uri="{FF2B5EF4-FFF2-40B4-BE49-F238E27FC236}">
                  <a16:creationId xmlns:a16="http://schemas.microsoft.com/office/drawing/2014/main" id="{EAB24057-E25B-6253-CE1F-4E7C00B394A3}"/>
                </a:ext>
              </a:extLst>
            </p:cNvPr>
            <p:cNvSpPr/>
            <p:nvPr/>
          </p:nvSpPr>
          <p:spPr>
            <a:xfrm>
              <a:off x="8943354" y="1123919"/>
              <a:ext cx="1197532" cy="804473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accent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3" name="Shape1_20220721_110953">
              <a:extLst>
                <a:ext uri="{FF2B5EF4-FFF2-40B4-BE49-F238E27FC236}">
                  <a16:creationId xmlns:a16="http://schemas.microsoft.com/office/drawing/2014/main" id="{47224AE1-A4FF-ED88-9649-30A41051BDE3}"/>
                </a:ext>
              </a:extLst>
            </p:cNvPr>
            <p:cNvSpPr/>
            <p:nvPr/>
          </p:nvSpPr>
          <p:spPr>
            <a:xfrm>
              <a:off x="8943354" y="4933092"/>
              <a:ext cx="1197532" cy="442652"/>
            </a:xfrm>
            <a:prstGeom prst="roundRect">
              <a:avLst>
                <a:gd name="adj" fmla="val 11531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pPr algn="ctr"/>
              <a:r>
                <a:rPr lang="en-US" sz="1200" dirty="0">
                  <a:solidFill>
                    <a:schemeClr val="accent1"/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</a:p>
          </p:txBody>
        </p:sp>
        <p:sp>
          <p:nvSpPr>
            <p:cNvPr id="54" name="Google Shape;3816;p66">
              <a:extLst>
                <a:ext uri="{FF2B5EF4-FFF2-40B4-BE49-F238E27FC236}">
                  <a16:creationId xmlns:a16="http://schemas.microsoft.com/office/drawing/2014/main" id="{031124D2-498E-5C44-D8B6-141BA95A676B}"/>
                </a:ext>
              </a:extLst>
            </p:cNvPr>
            <p:cNvSpPr txBox="1"/>
            <p:nvPr/>
          </p:nvSpPr>
          <p:spPr>
            <a:xfrm>
              <a:off x="9079305" y="1210814"/>
              <a:ext cx="925635" cy="27268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5284" tIns="42642" rIns="85284" bIns="42642" anchor="ctr" anchorCtr="0">
              <a:spAutoFit/>
            </a:bodyPr>
            <a:lstStyle/>
            <a:p>
              <a:pPr algn="ctr"/>
              <a:r>
                <a:rPr lang="en-US" sz="1471" b="1" dirty="0">
                  <a:solidFill>
                    <a:schemeClr val="accent1"/>
                  </a:solidFill>
                  <a:ea typeface="Calibri"/>
                  <a:cs typeface="Arial" panose="020B0604020202020204" pitchFamily="34" charset="0"/>
                  <a:sym typeface="Calibri"/>
                </a:rPr>
                <a:t>Title</a:t>
              </a:r>
              <a:endParaRPr sz="1471" b="1" dirty="0">
                <a:solidFill>
                  <a:schemeClr val="accent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6" name="Google Shape;3817;p66">
              <a:extLst>
                <a:ext uri="{FF2B5EF4-FFF2-40B4-BE49-F238E27FC236}">
                  <a16:creationId xmlns:a16="http://schemas.microsoft.com/office/drawing/2014/main" id="{CB6C4225-EEAA-228D-9529-EC904FF8EBA6}"/>
                </a:ext>
              </a:extLst>
            </p:cNvPr>
            <p:cNvSpPr txBox="1"/>
            <p:nvPr/>
          </p:nvSpPr>
          <p:spPr>
            <a:xfrm>
              <a:off x="9147362" y="1548360"/>
              <a:ext cx="789516" cy="27268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5284" tIns="42642" rIns="85284" bIns="42642" anchor="ctr" anchorCtr="0">
              <a:spAutoFit/>
            </a:bodyPr>
            <a:lstStyle/>
            <a:p>
              <a:pPr algn="ctr"/>
              <a:r>
                <a:rPr lang="en-US" sz="1471" b="1" dirty="0">
                  <a:solidFill>
                    <a:schemeClr val="accent1"/>
                  </a:solidFill>
                  <a:ea typeface="Calibri"/>
                  <a:cs typeface="Arial" panose="020B0604020202020204" pitchFamily="34" charset="0"/>
                  <a:sym typeface="Calibri"/>
                </a:rPr>
                <a:t>$x</a:t>
              </a:r>
              <a:endParaRPr sz="1471" dirty="0">
                <a:solidFill>
                  <a:schemeClr val="accent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7" name="Shape5_20220929_150716">
              <a:extLst>
                <a:ext uri="{FF2B5EF4-FFF2-40B4-BE49-F238E27FC236}">
                  <a16:creationId xmlns:a16="http://schemas.microsoft.com/office/drawing/2014/main" id="{C954A7CC-69BC-B298-2490-15B53DB12740}"/>
                </a:ext>
              </a:extLst>
            </p:cNvPr>
            <p:cNvSpPr/>
            <p:nvPr/>
          </p:nvSpPr>
          <p:spPr>
            <a:xfrm>
              <a:off x="10206019" y="1066800"/>
              <a:ext cx="1301663" cy="4362026"/>
            </a:xfrm>
            <a:custGeom>
              <a:avLst/>
              <a:gdLst/>
              <a:ahLst/>
              <a:cxnLst/>
              <a:rect l="l" t="t" r="r" b="b"/>
              <a:pathLst>
                <a:path w="1652530" h="5618602" extrusionOk="0">
                  <a:moveTo>
                    <a:pt x="1528590" y="5618603"/>
                  </a:moveTo>
                  <a:lnTo>
                    <a:pt x="123940" y="5618603"/>
                  </a:lnTo>
                  <a:cubicBezTo>
                    <a:pt x="55478" y="5618603"/>
                    <a:pt x="0" y="5563125"/>
                    <a:pt x="0" y="5494663"/>
                  </a:cubicBezTo>
                  <a:lnTo>
                    <a:pt x="0" y="123940"/>
                  </a:lnTo>
                  <a:cubicBezTo>
                    <a:pt x="0" y="55478"/>
                    <a:pt x="55478" y="0"/>
                    <a:pt x="123940" y="0"/>
                  </a:cubicBezTo>
                  <a:lnTo>
                    <a:pt x="1528590" y="0"/>
                  </a:lnTo>
                  <a:cubicBezTo>
                    <a:pt x="1597052" y="0"/>
                    <a:pt x="1652530" y="55478"/>
                    <a:pt x="1652530" y="123940"/>
                  </a:cubicBezTo>
                  <a:lnTo>
                    <a:pt x="1652530" y="5494663"/>
                  </a:lnTo>
                  <a:cubicBezTo>
                    <a:pt x="1652530" y="5563125"/>
                    <a:pt x="1597052" y="5618603"/>
                    <a:pt x="1528590" y="5618603"/>
                  </a:cubicBezTo>
                  <a:close/>
                </a:path>
              </a:pathLst>
            </a:custGeom>
            <a:noFill/>
            <a:ln>
              <a:noFill/>
            </a:ln>
            <a:effectLst/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27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8" name="Shape0_20220721_110959">
              <a:extLst>
                <a:ext uri="{FF2B5EF4-FFF2-40B4-BE49-F238E27FC236}">
                  <a16:creationId xmlns:a16="http://schemas.microsoft.com/office/drawing/2014/main" id="{A64C44D3-1A8A-D7D2-F014-938B6386CCCA}"/>
                </a:ext>
              </a:extLst>
            </p:cNvPr>
            <p:cNvSpPr/>
            <p:nvPr/>
          </p:nvSpPr>
          <p:spPr>
            <a:xfrm>
              <a:off x="10258088" y="1123919"/>
              <a:ext cx="1197531" cy="804473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9" name="Shape1_20220721_110959">
              <a:extLst>
                <a:ext uri="{FF2B5EF4-FFF2-40B4-BE49-F238E27FC236}">
                  <a16:creationId xmlns:a16="http://schemas.microsoft.com/office/drawing/2014/main" id="{EB063572-7FC1-F553-C1DF-ADA16F310D25}"/>
                </a:ext>
              </a:extLst>
            </p:cNvPr>
            <p:cNvSpPr/>
            <p:nvPr/>
          </p:nvSpPr>
          <p:spPr>
            <a:xfrm>
              <a:off x="10258088" y="4933092"/>
              <a:ext cx="1197531" cy="442652"/>
            </a:xfrm>
            <a:prstGeom prst="roundRect">
              <a:avLst>
                <a:gd name="adj" fmla="val 11531"/>
              </a:avLst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pPr algn="ctr"/>
              <a:r>
                <a:rPr lang="en-US" sz="1200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</a:p>
          </p:txBody>
        </p:sp>
        <p:sp>
          <p:nvSpPr>
            <p:cNvPr id="60" name="Google Shape;3822;p66">
              <a:extLst>
                <a:ext uri="{FF2B5EF4-FFF2-40B4-BE49-F238E27FC236}">
                  <a16:creationId xmlns:a16="http://schemas.microsoft.com/office/drawing/2014/main" id="{80EA24C3-0500-EFCD-F4C8-9295191BE963}"/>
                </a:ext>
              </a:extLst>
            </p:cNvPr>
            <p:cNvSpPr txBox="1"/>
            <p:nvPr/>
          </p:nvSpPr>
          <p:spPr>
            <a:xfrm>
              <a:off x="10394035" y="1210814"/>
              <a:ext cx="925635" cy="27268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5284" tIns="42642" rIns="85284" bIns="42642" anchor="ctr" anchorCtr="0">
              <a:spAutoFit/>
            </a:bodyPr>
            <a:lstStyle/>
            <a:p>
              <a:pPr algn="ctr"/>
              <a:r>
                <a:rPr lang="en-US" sz="1471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Title</a:t>
              </a:r>
              <a:endParaRPr sz="1471" b="1" dirty="0">
                <a:solidFill>
                  <a:schemeClr val="lt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61" name="Google Shape;3823;p66">
              <a:extLst>
                <a:ext uri="{FF2B5EF4-FFF2-40B4-BE49-F238E27FC236}">
                  <a16:creationId xmlns:a16="http://schemas.microsoft.com/office/drawing/2014/main" id="{D4A6F2F6-41EF-0C66-AA42-F91382E3DE68}"/>
                </a:ext>
              </a:extLst>
            </p:cNvPr>
            <p:cNvSpPr txBox="1"/>
            <p:nvPr/>
          </p:nvSpPr>
          <p:spPr>
            <a:xfrm>
              <a:off x="10462095" y="1548360"/>
              <a:ext cx="789516" cy="27268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5284" tIns="42642" rIns="85284" bIns="42642" anchor="ctr" anchorCtr="0">
              <a:spAutoFit/>
            </a:bodyPr>
            <a:lstStyle/>
            <a:p>
              <a:pPr algn="ctr"/>
              <a:r>
                <a:rPr lang="en-US" sz="1471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$x</a:t>
              </a:r>
              <a:endParaRPr sz="147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62" name="Shape11_20221014_120843">
              <a:extLst>
                <a:ext uri="{FF2B5EF4-FFF2-40B4-BE49-F238E27FC236}">
                  <a16:creationId xmlns:a16="http://schemas.microsoft.com/office/drawing/2014/main" id="{07C09494-499D-E227-F3B5-3A2DF3254F1C}"/>
                </a:ext>
              </a:extLst>
            </p:cNvPr>
            <p:cNvSpPr/>
            <p:nvPr/>
          </p:nvSpPr>
          <p:spPr>
            <a:xfrm>
              <a:off x="9507482" y="4603325"/>
              <a:ext cx="102413" cy="85344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3335" y="118697"/>
                  </a:move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81"/>
                    <a:pt x="123143" y="14981"/>
                    <a:pt x="118697" y="19388"/>
                  </a:cubicBez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accent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63" name="Shape12_20221014_120843">
              <a:extLst>
                <a:ext uri="{FF2B5EF4-FFF2-40B4-BE49-F238E27FC236}">
                  <a16:creationId xmlns:a16="http://schemas.microsoft.com/office/drawing/2014/main" id="{108C1082-98C8-7D82-EA85-AC37E9037E80}"/>
                </a:ext>
              </a:extLst>
            </p:cNvPr>
            <p:cNvSpPr/>
            <p:nvPr/>
          </p:nvSpPr>
          <p:spPr>
            <a:xfrm>
              <a:off x="9507482" y="4603325"/>
              <a:ext cx="102413" cy="85344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02644" y="118697"/>
                  </a:move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90"/>
                    <a:pt x="123143" y="114290"/>
                    <a:pt x="118697" y="118697"/>
                  </a:cubicBezTo>
                  <a:cubicBezTo>
                    <a:pt x="114290" y="123143"/>
                    <a:pt x="107090" y="123143"/>
                    <a:pt x="102644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accent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64" name="Shape13_20221014_120843">
              <a:extLst>
                <a:ext uri="{FF2B5EF4-FFF2-40B4-BE49-F238E27FC236}">
                  <a16:creationId xmlns:a16="http://schemas.microsoft.com/office/drawing/2014/main" id="{E57C71DA-3E62-8894-4EF5-33F78C9FDF3C}"/>
                </a:ext>
              </a:extLst>
            </p:cNvPr>
            <p:cNvSpPr/>
            <p:nvPr/>
          </p:nvSpPr>
          <p:spPr>
            <a:xfrm>
              <a:off x="9507482" y="4243145"/>
              <a:ext cx="102413" cy="85344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18697"/>
                  </a:moveTo>
                  <a:cubicBezTo>
                    <a:pt x="114251" y="123143"/>
                    <a:pt x="107050" y="123143"/>
                    <a:pt x="102644" y="118697"/>
                  </a:cubicBez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50"/>
                    <a:pt x="123143" y="114251"/>
                    <a:pt x="118697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accent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65" name="Shape14_20221014_120843">
              <a:extLst>
                <a:ext uri="{FF2B5EF4-FFF2-40B4-BE49-F238E27FC236}">
                  <a16:creationId xmlns:a16="http://schemas.microsoft.com/office/drawing/2014/main" id="{5B58D378-BAE0-3A0C-0C7D-212F8927E025}"/>
                </a:ext>
              </a:extLst>
            </p:cNvPr>
            <p:cNvSpPr/>
            <p:nvPr/>
          </p:nvSpPr>
          <p:spPr>
            <a:xfrm>
              <a:off x="9507482" y="4243113"/>
              <a:ext cx="102413" cy="85344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9388"/>
                  </a:move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81"/>
                    <a:pt x="123143" y="14981"/>
                    <a:pt x="118697" y="19388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accent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66" name="Shape15_20221014_120843">
              <a:extLst>
                <a:ext uri="{FF2B5EF4-FFF2-40B4-BE49-F238E27FC236}">
                  <a16:creationId xmlns:a16="http://schemas.microsoft.com/office/drawing/2014/main" id="{746EEE49-D612-4006-9E8A-8F0E1CA09CD7}"/>
                </a:ext>
              </a:extLst>
            </p:cNvPr>
            <p:cNvSpPr/>
            <p:nvPr/>
          </p:nvSpPr>
          <p:spPr>
            <a:xfrm>
              <a:off x="9507482" y="3882936"/>
              <a:ext cx="102413" cy="85344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18697"/>
                  </a:moveTo>
                  <a:cubicBezTo>
                    <a:pt x="114251" y="123143"/>
                    <a:pt x="107050" y="123143"/>
                    <a:pt x="102644" y="118697"/>
                  </a:cubicBez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90"/>
                    <a:pt x="123143" y="114251"/>
                    <a:pt x="118697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accent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67" name="Shape16_20221014_120843">
              <a:extLst>
                <a:ext uri="{FF2B5EF4-FFF2-40B4-BE49-F238E27FC236}">
                  <a16:creationId xmlns:a16="http://schemas.microsoft.com/office/drawing/2014/main" id="{D0797A4A-85C1-8A7E-6ABB-DBC602326539}"/>
                </a:ext>
              </a:extLst>
            </p:cNvPr>
            <p:cNvSpPr/>
            <p:nvPr/>
          </p:nvSpPr>
          <p:spPr>
            <a:xfrm>
              <a:off x="9507482" y="3882936"/>
              <a:ext cx="102413" cy="85344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9388"/>
                  </a:move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41"/>
                    <a:pt x="123143" y="14941"/>
                    <a:pt x="118697" y="19388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accent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68" name="Shape0_20221014_120837">
              <a:extLst>
                <a:ext uri="{FF2B5EF4-FFF2-40B4-BE49-F238E27FC236}">
                  <a16:creationId xmlns:a16="http://schemas.microsoft.com/office/drawing/2014/main" id="{F05C8B5A-AFE8-2C1A-4DC6-1BB794C06C78}"/>
                </a:ext>
              </a:extLst>
            </p:cNvPr>
            <p:cNvSpPr/>
            <p:nvPr/>
          </p:nvSpPr>
          <p:spPr>
            <a:xfrm>
              <a:off x="5551654" y="2077377"/>
              <a:ext cx="170688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6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4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69" name="Shape5_20221014_120837">
              <a:extLst>
                <a:ext uri="{FF2B5EF4-FFF2-40B4-BE49-F238E27FC236}">
                  <a16:creationId xmlns:a16="http://schemas.microsoft.com/office/drawing/2014/main" id="{6C2F29C6-425A-9F43-56F6-3E8AE40CACF3}"/>
                </a:ext>
              </a:extLst>
            </p:cNvPr>
            <p:cNvSpPr/>
            <p:nvPr/>
          </p:nvSpPr>
          <p:spPr>
            <a:xfrm>
              <a:off x="6860613" y="2077377"/>
              <a:ext cx="170688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6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4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70" name="Shape6_20221014_120837">
              <a:extLst>
                <a:ext uri="{FF2B5EF4-FFF2-40B4-BE49-F238E27FC236}">
                  <a16:creationId xmlns:a16="http://schemas.microsoft.com/office/drawing/2014/main" id="{30386046-6828-E0B3-1388-4B0A8A2D6122}"/>
                </a:ext>
              </a:extLst>
            </p:cNvPr>
            <p:cNvSpPr/>
            <p:nvPr/>
          </p:nvSpPr>
          <p:spPr>
            <a:xfrm>
              <a:off x="8169576" y="2077377"/>
              <a:ext cx="170688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6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4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71" name="Shape7_20221014_120837">
              <a:extLst>
                <a:ext uri="{FF2B5EF4-FFF2-40B4-BE49-F238E27FC236}">
                  <a16:creationId xmlns:a16="http://schemas.microsoft.com/office/drawing/2014/main" id="{19C6211C-DF9D-8188-930F-094FD2526ACC}"/>
                </a:ext>
              </a:extLst>
            </p:cNvPr>
            <p:cNvSpPr/>
            <p:nvPr/>
          </p:nvSpPr>
          <p:spPr>
            <a:xfrm>
              <a:off x="9484304" y="2077377"/>
              <a:ext cx="170688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6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4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accent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72" name="Shape8_20221014_120837">
              <a:extLst>
                <a:ext uri="{FF2B5EF4-FFF2-40B4-BE49-F238E27FC236}">
                  <a16:creationId xmlns:a16="http://schemas.microsoft.com/office/drawing/2014/main" id="{F7802E06-A94E-6EC8-3392-D190133F4513}"/>
                </a:ext>
              </a:extLst>
            </p:cNvPr>
            <p:cNvSpPr/>
            <p:nvPr/>
          </p:nvSpPr>
          <p:spPr>
            <a:xfrm>
              <a:off x="10799035" y="2077377"/>
              <a:ext cx="170688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6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4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73" name="Shape9_20221014_120837">
              <a:extLst>
                <a:ext uri="{FF2B5EF4-FFF2-40B4-BE49-F238E27FC236}">
                  <a16:creationId xmlns:a16="http://schemas.microsoft.com/office/drawing/2014/main" id="{941D31BC-8931-6C53-F6EA-52EF306D07E2}"/>
                </a:ext>
              </a:extLst>
            </p:cNvPr>
            <p:cNvSpPr/>
            <p:nvPr/>
          </p:nvSpPr>
          <p:spPr>
            <a:xfrm>
              <a:off x="5551654" y="2437572"/>
              <a:ext cx="170688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50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74" name="Shape10_20221014_120837">
              <a:extLst>
                <a:ext uri="{FF2B5EF4-FFF2-40B4-BE49-F238E27FC236}">
                  <a16:creationId xmlns:a16="http://schemas.microsoft.com/office/drawing/2014/main" id="{DA03C3E0-7A20-D4C7-DAC6-0099ADF60426}"/>
                </a:ext>
              </a:extLst>
            </p:cNvPr>
            <p:cNvSpPr/>
            <p:nvPr/>
          </p:nvSpPr>
          <p:spPr>
            <a:xfrm>
              <a:off x="6860613" y="2437572"/>
              <a:ext cx="170688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50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75" name="Shape11_20221014_120837">
              <a:extLst>
                <a:ext uri="{FF2B5EF4-FFF2-40B4-BE49-F238E27FC236}">
                  <a16:creationId xmlns:a16="http://schemas.microsoft.com/office/drawing/2014/main" id="{C75F39E5-91EF-AF8F-A388-DB5DABE31820}"/>
                </a:ext>
              </a:extLst>
            </p:cNvPr>
            <p:cNvSpPr/>
            <p:nvPr/>
          </p:nvSpPr>
          <p:spPr>
            <a:xfrm>
              <a:off x="8169576" y="2437572"/>
              <a:ext cx="170688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50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76" name="Shape12_20221014_120837">
              <a:extLst>
                <a:ext uri="{FF2B5EF4-FFF2-40B4-BE49-F238E27FC236}">
                  <a16:creationId xmlns:a16="http://schemas.microsoft.com/office/drawing/2014/main" id="{83222100-3172-D57C-0B8D-197118391A5F}"/>
                </a:ext>
              </a:extLst>
            </p:cNvPr>
            <p:cNvSpPr/>
            <p:nvPr/>
          </p:nvSpPr>
          <p:spPr>
            <a:xfrm>
              <a:off x="9484304" y="2437572"/>
              <a:ext cx="170688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50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accent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77" name="Shape13_20221014_120837">
              <a:extLst>
                <a:ext uri="{FF2B5EF4-FFF2-40B4-BE49-F238E27FC236}">
                  <a16:creationId xmlns:a16="http://schemas.microsoft.com/office/drawing/2014/main" id="{79A9FB66-6B90-13F0-860C-AD66C948773F}"/>
                </a:ext>
              </a:extLst>
            </p:cNvPr>
            <p:cNvSpPr/>
            <p:nvPr/>
          </p:nvSpPr>
          <p:spPr>
            <a:xfrm>
              <a:off x="10799035" y="2437572"/>
              <a:ext cx="170688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50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grpSp>
          <p:nvGrpSpPr>
            <p:cNvPr id="78" name="Shape17_20221014_120843">
              <a:extLst>
                <a:ext uri="{FF2B5EF4-FFF2-40B4-BE49-F238E27FC236}">
                  <a16:creationId xmlns:a16="http://schemas.microsoft.com/office/drawing/2014/main" id="{C7691F1B-E069-24EF-0711-E2A20CC5DA55}"/>
                </a:ext>
              </a:extLst>
            </p:cNvPr>
            <p:cNvGrpSpPr/>
            <p:nvPr/>
          </p:nvGrpSpPr>
          <p:grpSpPr>
            <a:xfrm>
              <a:off x="5574830" y="2802347"/>
              <a:ext cx="102413" cy="85344"/>
              <a:chOff x="5471332" y="3274525"/>
              <a:chExt cx="73139" cy="104023"/>
            </a:xfrm>
          </p:grpSpPr>
          <p:sp>
            <p:nvSpPr>
              <p:cNvPr id="79" name="Google Shape;3752;p66">
                <a:extLst>
                  <a:ext uri="{FF2B5EF4-FFF2-40B4-BE49-F238E27FC236}">
                    <a16:creationId xmlns:a16="http://schemas.microsoft.com/office/drawing/2014/main" id="{A7222317-F809-B9FB-B800-3EB3F025A1DC}"/>
                  </a:ext>
                </a:extLst>
              </p:cNvPr>
              <p:cNvSpPr/>
              <p:nvPr/>
            </p:nvSpPr>
            <p:spPr>
              <a:xfrm>
                <a:off x="5471332" y="3274525"/>
                <a:ext cx="73139" cy="104023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18697"/>
                    </a:moveTo>
                    <a:cubicBezTo>
                      <a:pt x="114251" y="123143"/>
                      <a:pt x="107050" y="123143"/>
                      <a:pt x="102644" y="118697"/>
                    </a:cubicBezTo>
                    <a:lnTo>
                      <a:pt x="3335" y="19388"/>
                    </a:lnTo>
                    <a:cubicBezTo>
                      <a:pt x="-1112" y="14942"/>
                      <a:pt x="-1112" y="7741"/>
                      <a:pt x="3335" y="3335"/>
                    </a:cubicBezTo>
                    <a:cubicBezTo>
                      <a:pt x="7781" y="-1112"/>
                      <a:pt x="14981" y="-1112"/>
                      <a:pt x="19388" y="3335"/>
                    </a:cubicBezTo>
                    <a:lnTo>
                      <a:pt x="118697" y="102644"/>
                    </a:lnTo>
                    <a:cubicBezTo>
                      <a:pt x="123143" y="107090"/>
                      <a:pt x="123143" y="114290"/>
                      <a:pt x="118697" y="118697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  <p:sp>
            <p:nvSpPr>
              <p:cNvPr id="80" name="Google Shape;3753;p66">
                <a:extLst>
                  <a:ext uri="{FF2B5EF4-FFF2-40B4-BE49-F238E27FC236}">
                    <a16:creationId xmlns:a16="http://schemas.microsoft.com/office/drawing/2014/main" id="{00ABB4D7-1781-4CD9-B58C-23DCF790D957}"/>
                  </a:ext>
                </a:extLst>
              </p:cNvPr>
              <p:cNvSpPr/>
              <p:nvPr/>
            </p:nvSpPr>
            <p:spPr>
              <a:xfrm>
                <a:off x="5471332" y="3274525"/>
                <a:ext cx="73139" cy="104023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9388"/>
                    </a:moveTo>
                    <a:lnTo>
                      <a:pt x="19388" y="118697"/>
                    </a:lnTo>
                    <a:cubicBezTo>
                      <a:pt x="14942" y="123143"/>
                      <a:pt x="7741" y="123143"/>
                      <a:pt x="3335" y="118697"/>
                    </a:cubicBezTo>
                    <a:cubicBezTo>
                      <a:pt x="-1112" y="114251"/>
                      <a:pt x="-1112" y="107050"/>
                      <a:pt x="3335" y="102644"/>
                    </a:cubicBezTo>
                    <a:lnTo>
                      <a:pt x="102644" y="3335"/>
                    </a:lnTo>
                    <a:cubicBezTo>
                      <a:pt x="107090" y="-1112"/>
                      <a:pt x="114290" y="-1112"/>
                      <a:pt x="118697" y="3335"/>
                    </a:cubicBezTo>
                    <a:cubicBezTo>
                      <a:pt x="123143" y="7781"/>
                      <a:pt x="123143" y="14942"/>
                      <a:pt x="118697" y="19388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</p:grpSp>
        <p:sp>
          <p:nvSpPr>
            <p:cNvPr id="81" name="Shape14_20221014_120837">
              <a:extLst>
                <a:ext uri="{FF2B5EF4-FFF2-40B4-BE49-F238E27FC236}">
                  <a16:creationId xmlns:a16="http://schemas.microsoft.com/office/drawing/2014/main" id="{4C954B31-B72A-F60C-47B1-8C1DA12DE52B}"/>
                </a:ext>
              </a:extLst>
            </p:cNvPr>
            <p:cNvSpPr/>
            <p:nvPr/>
          </p:nvSpPr>
          <p:spPr>
            <a:xfrm>
              <a:off x="6860613" y="2797768"/>
              <a:ext cx="170688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82" name="Shape15_20221014_120837">
              <a:extLst>
                <a:ext uri="{FF2B5EF4-FFF2-40B4-BE49-F238E27FC236}">
                  <a16:creationId xmlns:a16="http://schemas.microsoft.com/office/drawing/2014/main" id="{8524B762-5354-BDA7-FE11-7ADE0512B8FB}"/>
                </a:ext>
              </a:extLst>
            </p:cNvPr>
            <p:cNvSpPr/>
            <p:nvPr/>
          </p:nvSpPr>
          <p:spPr>
            <a:xfrm>
              <a:off x="8169576" y="2782901"/>
              <a:ext cx="170688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grpSp>
          <p:nvGrpSpPr>
            <p:cNvPr id="83" name="Shape18_20221014_120843">
              <a:extLst>
                <a:ext uri="{FF2B5EF4-FFF2-40B4-BE49-F238E27FC236}">
                  <a16:creationId xmlns:a16="http://schemas.microsoft.com/office/drawing/2014/main" id="{AF8D1BD1-E9C7-0EDA-1E7E-566658061A35}"/>
                </a:ext>
              </a:extLst>
            </p:cNvPr>
            <p:cNvGrpSpPr/>
            <p:nvPr/>
          </p:nvGrpSpPr>
          <p:grpSpPr>
            <a:xfrm>
              <a:off x="9507482" y="2802348"/>
              <a:ext cx="102413" cy="85344"/>
              <a:chOff x="9623130" y="3274526"/>
              <a:chExt cx="73139" cy="104023"/>
            </a:xfrm>
          </p:grpSpPr>
          <p:sp>
            <p:nvSpPr>
              <p:cNvPr id="84" name="Google Shape;3843;p66">
                <a:extLst>
                  <a:ext uri="{FF2B5EF4-FFF2-40B4-BE49-F238E27FC236}">
                    <a16:creationId xmlns:a16="http://schemas.microsoft.com/office/drawing/2014/main" id="{073A6185-B845-64BD-10B3-707439E85274}"/>
                  </a:ext>
                </a:extLst>
              </p:cNvPr>
              <p:cNvSpPr/>
              <p:nvPr/>
            </p:nvSpPr>
            <p:spPr>
              <a:xfrm>
                <a:off x="9623130" y="3274526"/>
                <a:ext cx="73139" cy="104023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18697"/>
                    </a:moveTo>
                    <a:cubicBezTo>
                      <a:pt x="114251" y="123143"/>
                      <a:pt x="107050" y="123143"/>
                      <a:pt x="102644" y="118697"/>
                    </a:cubicBezTo>
                    <a:lnTo>
                      <a:pt x="3335" y="19388"/>
                    </a:lnTo>
                    <a:cubicBezTo>
                      <a:pt x="-1112" y="14942"/>
                      <a:pt x="-1112" y="7741"/>
                      <a:pt x="3335" y="3335"/>
                    </a:cubicBezTo>
                    <a:cubicBezTo>
                      <a:pt x="7781" y="-1112"/>
                      <a:pt x="14981" y="-1112"/>
                      <a:pt x="19388" y="3335"/>
                    </a:cubicBezTo>
                    <a:lnTo>
                      <a:pt x="118697" y="102644"/>
                    </a:lnTo>
                    <a:cubicBezTo>
                      <a:pt x="123143" y="107090"/>
                      <a:pt x="123143" y="114290"/>
                      <a:pt x="118697" y="118697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accent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  <p:sp>
            <p:nvSpPr>
              <p:cNvPr id="85" name="Google Shape;3844;p66">
                <a:extLst>
                  <a:ext uri="{FF2B5EF4-FFF2-40B4-BE49-F238E27FC236}">
                    <a16:creationId xmlns:a16="http://schemas.microsoft.com/office/drawing/2014/main" id="{796862B8-C78C-4FF0-6497-F6F0A5ACED55}"/>
                  </a:ext>
                </a:extLst>
              </p:cNvPr>
              <p:cNvSpPr/>
              <p:nvPr/>
            </p:nvSpPr>
            <p:spPr>
              <a:xfrm>
                <a:off x="9623130" y="3274526"/>
                <a:ext cx="73139" cy="104023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9388"/>
                    </a:moveTo>
                    <a:lnTo>
                      <a:pt x="19388" y="118697"/>
                    </a:lnTo>
                    <a:cubicBezTo>
                      <a:pt x="14942" y="123143"/>
                      <a:pt x="7741" y="123143"/>
                      <a:pt x="3335" y="118697"/>
                    </a:cubicBezTo>
                    <a:cubicBezTo>
                      <a:pt x="-1112" y="114251"/>
                      <a:pt x="-1112" y="107050"/>
                      <a:pt x="3335" y="102644"/>
                    </a:cubicBezTo>
                    <a:lnTo>
                      <a:pt x="102644" y="3335"/>
                    </a:lnTo>
                    <a:cubicBezTo>
                      <a:pt x="107090" y="-1112"/>
                      <a:pt x="114290" y="-1112"/>
                      <a:pt x="118697" y="3335"/>
                    </a:cubicBezTo>
                    <a:cubicBezTo>
                      <a:pt x="123143" y="7781"/>
                      <a:pt x="123143" y="14942"/>
                      <a:pt x="118697" y="19388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accent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</p:grpSp>
        <p:sp>
          <p:nvSpPr>
            <p:cNvPr id="86" name="Shape16_20221014_120837">
              <a:extLst>
                <a:ext uri="{FF2B5EF4-FFF2-40B4-BE49-F238E27FC236}">
                  <a16:creationId xmlns:a16="http://schemas.microsoft.com/office/drawing/2014/main" id="{06E6C2C9-84B7-21A0-4AD3-9824457A4FD2}"/>
                </a:ext>
              </a:extLst>
            </p:cNvPr>
            <p:cNvSpPr/>
            <p:nvPr/>
          </p:nvSpPr>
          <p:spPr>
            <a:xfrm>
              <a:off x="10799035" y="2797768"/>
              <a:ext cx="170688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grpSp>
          <p:nvGrpSpPr>
            <p:cNvPr id="87" name="Shape19_20221014_120843">
              <a:extLst>
                <a:ext uri="{FF2B5EF4-FFF2-40B4-BE49-F238E27FC236}">
                  <a16:creationId xmlns:a16="http://schemas.microsoft.com/office/drawing/2014/main" id="{13FB28DB-D32B-7318-034F-6418298DE299}"/>
                </a:ext>
              </a:extLst>
            </p:cNvPr>
            <p:cNvGrpSpPr/>
            <p:nvPr/>
          </p:nvGrpSpPr>
          <p:grpSpPr>
            <a:xfrm>
              <a:off x="5574830" y="3162543"/>
              <a:ext cx="102413" cy="85344"/>
              <a:chOff x="5471332" y="3652727"/>
              <a:chExt cx="73139" cy="104023"/>
            </a:xfrm>
          </p:grpSpPr>
          <p:sp>
            <p:nvSpPr>
              <p:cNvPr id="88" name="Google Shape;3749;p66">
                <a:extLst>
                  <a:ext uri="{FF2B5EF4-FFF2-40B4-BE49-F238E27FC236}">
                    <a16:creationId xmlns:a16="http://schemas.microsoft.com/office/drawing/2014/main" id="{062BB42B-0F62-C9BD-C82A-38E14DC052BC}"/>
                  </a:ext>
                </a:extLst>
              </p:cNvPr>
              <p:cNvSpPr/>
              <p:nvPr/>
            </p:nvSpPr>
            <p:spPr>
              <a:xfrm>
                <a:off x="5471332" y="3652727"/>
                <a:ext cx="73139" cy="104023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18697"/>
                    </a:moveTo>
                    <a:cubicBezTo>
                      <a:pt x="114251" y="123143"/>
                      <a:pt x="107050" y="123143"/>
                      <a:pt x="102644" y="118697"/>
                    </a:cubicBezTo>
                    <a:lnTo>
                      <a:pt x="3335" y="19388"/>
                    </a:lnTo>
                    <a:cubicBezTo>
                      <a:pt x="-1112" y="14942"/>
                      <a:pt x="-1112" y="7741"/>
                      <a:pt x="3335" y="3335"/>
                    </a:cubicBezTo>
                    <a:cubicBezTo>
                      <a:pt x="7781" y="-1112"/>
                      <a:pt x="14981" y="-1112"/>
                      <a:pt x="19388" y="3335"/>
                    </a:cubicBezTo>
                    <a:lnTo>
                      <a:pt x="118697" y="102644"/>
                    </a:lnTo>
                    <a:cubicBezTo>
                      <a:pt x="123143" y="107050"/>
                      <a:pt x="123143" y="114251"/>
                      <a:pt x="118697" y="118697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  <p:sp>
            <p:nvSpPr>
              <p:cNvPr id="89" name="Google Shape;3750;p66">
                <a:extLst>
                  <a:ext uri="{FF2B5EF4-FFF2-40B4-BE49-F238E27FC236}">
                    <a16:creationId xmlns:a16="http://schemas.microsoft.com/office/drawing/2014/main" id="{97B55D3F-94B5-71C4-E1EE-1EEB95DC5471}"/>
                  </a:ext>
                </a:extLst>
              </p:cNvPr>
              <p:cNvSpPr/>
              <p:nvPr/>
            </p:nvSpPr>
            <p:spPr>
              <a:xfrm>
                <a:off x="5471332" y="3652727"/>
                <a:ext cx="73139" cy="104023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9388"/>
                    </a:moveTo>
                    <a:lnTo>
                      <a:pt x="19388" y="118697"/>
                    </a:lnTo>
                    <a:cubicBezTo>
                      <a:pt x="14942" y="123143"/>
                      <a:pt x="7741" y="123143"/>
                      <a:pt x="3335" y="118697"/>
                    </a:cubicBezTo>
                    <a:cubicBezTo>
                      <a:pt x="-1112" y="114251"/>
                      <a:pt x="-1112" y="107050"/>
                      <a:pt x="3335" y="102644"/>
                    </a:cubicBezTo>
                    <a:lnTo>
                      <a:pt x="102644" y="3335"/>
                    </a:lnTo>
                    <a:cubicBezTo>
                      <a:pt x="107090" y="-1112"/>
                      <a:pt x="114290" y="-1112"/>
                      <a:pt x="118697" y="3335"/>
                    </a:cubicBezTo>
                    <a:cubicBezTo>
                      <a:pt x="123143" y="7741"/>
                      <a:pt x="123143" y="14942"/>
                      <a:pt x="118697" y="19388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</p:grpSp>
        <p:sp>
          <p:nvSpPr>
            <p:cNvPr id="90" name="Shape17_20221014_120837">
              <a:extLst>
                <a:ext uri="{FF2B5EF4-FFF2-40B4-BE49-F238E27FC236}">
                  <a16:creationId xmlns:a16="http://schemas.microsoft.com/office/drawing/2014/main" id="{9E763EBE-F041-498B-62AB-CA065C695EF1}"/>
                </a:ext>
              </a:extLst>
            </p:cNvPr>
            <p:cNvSpPr/>
            <p:nvPr/>
          </p:nvSpPr>
          <p:spPr>
            <a:xfrm>
              <a:off x="6860613" y="3157963"/>
              <a:ext cx="170688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91" name="Shape18_20221014_120837">
              <a:extLst>
                <a:ext uri="{FF2B5EF4-FFF2-40B4-BE49-F238E27FC236}">
                  <a16:creationId xmlns:a16="http://schemas.microsoft.com/office/drawing/2014/main" id="{F9AB9439-EC16-CD51-252A-431FCEE03F7F}"/>
                </a:ext>
              </a:extLst>
            </p:cNvPr>
            <p:cNvSpPr/>
            <p:nvPr/>
          </p:nvSpPr>
          <p:spPr>
            <a:xfrm>
              <a:off x="8169576" y="3139518"/>
              <a:ext cx="170688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grpSp>
          <p:nvGrpSpPr>
            <p:cNvPr id="92" name="Shape20_20221014_120843">
              <a:extLst>
                <a:ext uri="{FF2B5EF4-FFF2-40B4-BE49-F238E27FC236}">
                  <a16:creationId xmlns:a16="http://schemas.microsoft.com/office/drawing/2014/main" id="{5BDD037F-E20F-7108-6CD3-68865CBC11A3}"/>
                </a:ext>
              </a:extLst>
            </p:cNvPr>
            <p:cNvGrpSpPr/>
            <p:nvPr/>
          </p:nvGrpSpPr>
          <p:grpSpPr>
            <a:xfrm>
              <a:off x="9507482" y="3162543"/>
              <a:ext cx="102413" cy="85344"/>
              <a:chOff x="9623130" y="3652727"/>
              <a:chExt cx="73139" cy="104023"/>
            </a:xfrm>
          </p:grpSpPr>
          <p:sp>
            <p:nvSpPr>
              <p:cNvPr id="93" name="Google Shape;3840;p66">
                <a:extLst>
                  <a:ext uri="{FF2B5EF4-FFF2-40B4-BE49-F238E27FC236}">
                    <a16:creationId xmlns:a16="http://schemas.microsoft.com/office/drawing/2014/main" id="{1265DBE4-9EB8-673E-CAA9-5ABA779153AF}"/>
                  </a:ext>
                </a:extLst>
              </p:cNvPr>
              <p:cNvSpPr/>
              <p:nvPr/>
            </p:nvSpPr>
            <p:spPr>
              <a:xfrm>
                <a:off x="9623130" y="3652727"/>
                <a:ext cx="73139" cy="104023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18697"/>
                    </a:moveTo>
                    <a:cubicBezTo>
                      <a:pt x="114251" y="123143"/>
                      <a:pt x="107050" y="123143"/>
                      <a:pt x="102644" y="118697"/>
                    </a:cubicBezTo>
                    <a:lnTo>
                      <a:pt x="3335" y="19388"/>
                    </a:lnTo>
                    <a:cubicBezTo>
                      <a:pt x="-1112" y="14942"/>
                      <a:pt x="-1112" y="7741"/>
                      <a:pt x="3335" y="3335"/>
                    </a:cubicBezTo>
                    <a:cubicBezTo>
                      <a:pt x="7781" y="-1112"/>
                      <a:pt x="14981" y="-1112"/>
                      <a:pt x="19388" y="3335"/>
                    </a:cubicBezTo>
                    <a:lnTo>
                      <a:pt x="118697" y="102644"/>
                    </a:lnTo>
                    <a:cubicBezTo>
                      <a:pt x="123143" y="107050"/>
                      <a:pt x="123143" y="114251"/>
                      <a:pt x="118697" y="118697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accent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  <p:sp>
            <p:nvSpPr>
              <p:cNvPr id="94" name="Google Shape;3841;p66">
                <a:extLst>
                  <a:ext uri="{FF2B5EF4-FFF2-40B4-BE49-F238E27FC236}">
                    <a16:creationId xmlns:a16="http://schemas.microsoft.com/office/drawing/2014/main" id="{941DB3DF-471C-7E7C-7771-E94D25487E8C}"/>
                  </a:ext>
                </a:extLst>
              </p:cNvPr>
              <p:cNvSpPr/>
              <p:nvPr/>
            </p:nvSpPr>
            <p:spPr>
              <a:xfrm>
                <a:off x="9623130" y="3652727"/>
                <a:ext cx="73139" cy="104023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9388"/>
                    </a:moveTo>
                    <a:lnTo>
                      <a:pt x="19388" y="118697"/>
                    </a:lnTo>
                    <a:cubicBezTo>
                      <a:pt x="14942" y="123143"/>
                      <a:pt x="7741" y="123143"/>
                      <a:pt x="3335" y="118697"/>
                    </a:cubicBezTo>
                    <a:cubicBezTo>
                      <a:pt x="-1112" y="114251"/>
                      <a:pt x="-1112" y="107050"/>
                      <a:pt x="3335" y="102644"/>
                    </a:cubicBezTo>
                    <a:lnTo>
                      <a:pt x="102644" y="3335"/>
                    </a:lnTo>
                    <a:cubicBezTo>
                      <a:pt x="107090" y="-1112"/>
                      <a:pt x="114290" y="-1112"/>
                      <a:pt x="118697" y="3335"/>
                    </a:cubicBezTo>
                    <a:cubicBezTo>
                      <a:pt x="123143" y="7741"/>
                      <a:pt x="123143" y="14942"/>
                      <a:pt x="118697" y="19388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accent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</p:grpSp>
        <p:sp>
          <p:nvSpPr>
            <p:cNvPr id="95" name="Shape19_20221014_120837">
              <a:extLst>
                <a:ext uri="{FF2B5EF4-FFF2-40B4-BE49-F238E27FC236}">
                  <a16:creationId xmlns:a16="http://schemas.microsoft.com/office/drawing/2014/main" id="{799CE21E-51D5-21CA-ABE4-95A6F6767D6B}"/>
                </a:ext>
              </a:extLst>
            </p:cNvPr>
            <p:cNvSpPr/>
            <p:nvPr/>
          </p:nvSpPr>
          <p:spPr>
            <a:xfrm>
              <a:off x="10799035" y="3157963"/>
              <a:ext cx="170688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96" name="Shape20_20221014_120837">
              <a:extLst>
                <a:ext uri="{FF2B5EF4-FFF2-40B4-BE49-F238E27FC236}">
                  <a16:creationId xmlns:a16="http://schemas.microsoft.com/office/drawing/2014/main" id="{466D7A5E-EDB3-A001-6EBA-143BFB08B08C}"/>
                </a:ext>
              </a:extLst>
            </p:cNvPr>
            <p:cNvSpPr/>
            <p:nvPr/>
          </p:nvSpPr>
          <p:spPr>
            <a:xfrm>
              <a:off x="10799035" y="3852746"/>
              <a:ext cx="170688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7"/>
                  </a:cubicBezTo>
                  <a:lnTo>
                    <a:pt x="1367" y="77344"/>
                  </a:lnTo>
                  <a:cubicBezTo>
                    <a:pt x="-1623" y="71836"/>
                    <a:pt x="462" y="64911"/>
                    <a:pt x="5971" y="61960"/>
                  </a:cubicBezTo>
                  <a:cubicBezTo>
                    <a:pt x="11479" y="58969"/>
                    <a:pt x="18365" y="61055"/>
                    <a:pt x="21355" y="66563"/>
                  </a:cubicBezTo>
                  <a:lnTo>
                    <a:pt x="54484" y="127904"/>
                  </a:lnTo>
                  <a:lnTo>
                    <a:pt x="120310" y="5971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7"/>
                  </a:lnTo>
                  <a:cubicBezTo>
                    <a:pt x="62511" y="160876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97" name="Shape21_20221014_120843">
              <a:extLst>
                <a:ext uri="{FF2B5EF4-FFF2-40B4-BE49-F238E27FC236}">
                  <a16:creationId xmlns:a16="http://schemas.microsoft.com/office/drawing/2014/main" id="{B427707A-218D-AA7A-79DA-C80B973D2673}"/>
                </a:ext>
              </a:extLst>
            </p:cNvPr>
            <p:cNvSpPr/>
            <p:nvPr/>
          </p:nvSpPr>
          <p:spPr>
            <a:xfrm>
              <a:off x="10822212" y="4603325"/>
              <a:ext cx="102413" cy="85344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3335" y="118697"/>
                  </a:move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81"/>
                    <a:pt x="123143" y="14981"/>
                    <a:pt x="118697" y="19388"/>
                  </a:cubicBez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98" name="Shape22_20221014_120843">
              <a:extLst>
                <a:ext uri="{FF2B5EF4-FFF2-40B4-BE49-F238E27FC236}">
                  <a16:creationId xmlns:a16="http://schemas.microsoft.com/office/drawing/2014/main" id="{40164276-1A16-F2B4-492F-2D578046CEC7}"/>
                </a:ext>
              </a:extLst>
            </p:cNvPr>
            <p:cNvSpPr/>
            <p:nvPr/>
          </p:nvSpPr>
          <p:spPr>
            <a:xfrm>
              <a:off x="10822212" y="4603325"/>
              <a:ext cx="102413" cy="85344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02644" y="118697"/>
                  </a:move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90"/>
                    <a:pt x="123143" y="114290"/>
                    <a:pt x="118697" y="118697"/>
                  </a:cubicBezTo>
                  <a:cubicBezTo>
                    <a:pt x="114290" y="123143"/>
                    <a:pt x="107090" y="123143"/>
                    <a:pt x="102644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99" name="Shape23_20221014_120843">
              <a:extLst>
                <a:ext uri="{FF2B5EF4-FFF2-40B4-BE49-F238E27FC236}">
                  <a16:creationId xmlns:a16="http://schemas.microsoft.com/office/drawing/2014/main" id="{56ABE728-9E12-A246-FE26-A5015B7E8BD1}"/>
                </a:ext>
              </a:extLst>
            </p:cNvPr>
            <p:cNvSpPr/>
            <p:nvPr/>
          </p:nvSpPr>
          <p:spPr>
            <a:xfrm>
              <a:off x="10822212" y="4243145"/>
              <a:ext cx="102413" cy="85344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18697"/>
                  </a:moveTo>
                  <a:cubicBezTo>
                    <a:pt x="114251" y="123143"/>
                    <a:pt x="107050" y="123143"/>
                    <a:pt x="102644" y="118697"/>
                  </a:cubicBez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50"/>
                    <a:pt x="123143" y="114251"/>
                    <a:pt x="118697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100" name="Shape24_20221014_120843">
              <a:extLst>
                <a:ext uri="{FF2B5EF4-FFF2-40B4-BE49-F238E27FC236}">
                  <a16:creationId xmlns:a16="http://schemas.microsoft.com/office/drawing/2014/main" id="{120E7660-1C26-405F-5120-1E9CE9287DC8}"/>
                </a:ext>
              </a:extLst>
            </p:cNvPr>
            <p:cNvSpPr/>
            <p:nvPr/>
          </p:nvSpPr>
          <p:spPr>
            <a:xfrm>
              <a:off x="10822212" y="4243113"/>
              <a:ext cx="102413" cy="85344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9388"/>
                  </a:move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81"/>
                    <a:pt x="123143" y="14981"/>
                    <a:pt x="118697" y="19388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grpSp>
          <p:nvGrpSpPr>
            <p:cNvPr id="101" name="Shape0_20221014_120843">
              <a:extLst>
                <a:ext uri="{FF2B5EF4-FFF2-40B4-BE49-F238E27FC236}">
                  <a16:creationId xmlns:a16="http://schemas.microsoft.com/office/drawing/2014/main" id="{2AC918B0-7861-7858-5501-07D5C674470B}"/>
                </a:ext>
              </a:extLst>
            </p:cNvPr>
            <p:cNvGrpSpPr/>
            <p:nvPr/>
          </p:nvGrpSpPr>
          <p:grpSpPr>
            <a:xfrm>
              <a:off x="5574830" y="3522723"/>
              <a:ext cx="102413" cy="85344"/>
              <a:chOff x="5471332" y="4030911"/>
              <a:chExt cx="73139" cy="104023"/>
            </a:xfrm>
          </p:grpSpPr>
          <p:sp>
            <p:nvSpPr>
              <p:cNvPr id="102" name="Google Shape;3746;p66">
                <a:extLst>
                  <a:ext uri="{FF2B5EF4-FFF2-40B4-BE49-F238E27FC236}">
                    <a16:creationId xmlns:a16="http://schemas.microsoft.com/office/drawing/2014/main" id="{FCC00FE9-D0C5-BBAB-1EE0-7D0A75D1D032}"/>
                  </a:ext>
                </a:extLst>
              </p:cNvPr>
              <p:cNvSpPr/>
              <p:nvPr/>
            </p:nvSpPr>
            <p:spPr>
              <a:xfrm>
                <a:off x="5471332" y="4030945"/>
                <a:ext cx="73139" cy="103989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18697"/>
                    </a:moveTo>
                    <a:cubicBezTo>
                      <a:pt x="114251" y="123143"/>
                      <a:pt x="107050" y="123143"/>
                      <a:pt x="102644" y="118697"/>
                    </a:cubicBezTo>
                    <a:lnTo>
                      <a:pt x="3335" y="19388"/>
                    </a:lnTo>
                    <a:cubicBezTo>
                      <a:pt x="-1112" y="14942"/>
                      <a:pt x="-1112" y="7741"/>
                      <a:pt x="3335" y="3335"/>
                    </a:cubicBezTo>
                    <a:cubicBezTo>
                      <a:pt x="7781" y="-1112"/>
                      <a:pt x="14981" y="-1112"/>
                      <a:pt x="19388" y="3335"/>
                    </a:cubicBezTo>
                    <a:lnTo>
                      <a:pt x="118697" y="102644"/>
                    </a:lnTo>
                    <a:cubicBezTo>
                      <a:pt x="123143" y="107050"/>
                      <a:pt x="123143" y="114251"/>
                      <a:pt x="118697" y="118697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  <p:sp>
            <p:nvSpPr>
              <p:cNvPr id="103" name="Google Shape;3747;p66">
                <a:extLst>
                  <a:ext uri="{FF2B5EF4-FFF2-40B4-BE49-F238E27FC236}">
                    <a16:creationId xmlns:a16="http://schemas.microsoft.com/office/drawing/2014/main" id="{2E5C99DA-D5A3-C8EF-26C5-79FC6E5D797F}"/>
                  </a:ext>
                </a:extLst>
              </p:cNvPr>
              <p:cNvSpPr/>
              <p:nvPr/>
            </p:nvSpPr>
            <p:spPr>
              <a:xfrm>
                <a:off x="5471332" y="4030911"/>
                <a:ext cx="73139" cy="103989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9388"/>
                    </a:moveTo>
                    <a:lnTo>
                      <a:pt x="19388" y="118697"/>
                    </a:lnTo>
                    <a:cubicBezTo>
                      <a:pt x="14942" y="123143"/>
                      <a:pt x="7741" y="123143"/>
                      <a:pt x="3335" y="118697"/>
                    </a:cubicBezTo>
                    <a:cubicBezTo>
                      <a:pt x="-1112" y="114251"/>
                      <a:pt x="-1112" y="107050"/>
                      <a:pt x="3335" y="102644"/>
                    </a:cubicBezTo>
                    <a:lnTo>
                      <a:pt x="102644" y="3335"/>
                    </a:lnTo>
                    <a:cubicBezTo>
                      <a:pt x="107090" y="-1112"/>
                      <a:pt x="114290" y="-1112"/>
                      <a:pt x="118697" y="3335"/>
                    </a:cubicBezTo>
                    <a:cubicBezTo>
                      <a:pt x="123143" y="7781"/>
                      <a:pt x="123143" y="14942"/>
                      <a:pt x="118697" y="19388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</p:grpSp>
        <p:grpSp>
          <p:nvGrpSpPr>
            <p:cNvPr id="104" name="Shape25_20221014_120843">
              <a:extLst>
                <a:ext uri="{FF2B5EF4-FFF2-40B4-BE49-F238E27FC236}">
                  <a16:creationId xmlns:a16="http://schemas.microsoft.com/office/drawing/2014/main" id="{2E5183B3-CA6B-8E34-1628-05838C0BCBA2}"/>
                </a:ext>
              </a:extLst>
            </p:cNvPr>
            <p:cNvGrpSpPr/>
            <p:nvPr/>
          </p:nvGrpSpPr>
          <p:grpSpPr>
            <a:xfrm>
              <a:off x="6883792" y="3522723"/>
              <a:ext cx="102413" cy="85344"/>
              <a:chOff x="6853236" y="4030911"/>
              <a:chExt cx="73139" cy="104023"/>
            </a:xfrm>
          </p:grpSpPr>
          <p:sp>
            <p:nvSpPr>
              <p:cNvPr id="105" name="Google Shape;3780;p66">
                <a:extLst>
                  <a:ext uri="{FF2B5EF4-FFF2-40B4-BE49-F238E27FC236}">
                    <a16:creationId xmlns:a16="http://schemas.microsoft.com/office/drawing/2014/main" id="{4D47486E-850D-A9BD-9BAD-F7556C7C97EA}"/>
                  </a:ext>
                </a:extLst>
              </p:cNvPr>
              <p:cNvSpPr/>
              <p:nvPr/>
            </p:nvSpPr>
            <p:spPr>
              <a:xfrm>
                <a:off x="6853236" y="4030945"/>
                <a:ext cx="73139" cy="103989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18697"/>
                    </a:moveTo>
                    <a:cubicBezTo>
                      <a:pt x="114251" y="123143"/>
                      <a:pt x="107050" y="123143"/>
                      <a:pt x="102644" y="118697"/>
                    </a:cubicBezTo>
                    <a:lnTo>
                      <a:pt x="3335" y="19388"/>
                    </a:lnTo>
                    <a:cubicBezTo>
                      <a:pt x="-1112" y="14942"/>
                      <a:pt x="-1112" y="7741"/>
                      <a:pt x="3335" y="3335"/>
                    </a:cubicBezTo>
                    <a:cubicBezTo>
                      <a:pt x="7781" y="-1112"/>
                      <a:pt x="14981" y="-1112"/>
                      <a:pt x="19388" y="3335"/>
                    </a:cubicBezTo>
                    <a:lnTo>
                      <a:pt x="118697" y="102644"/>
                    </a:lnTo>
                    <a:cubicBezTo>
                      <a:pt x="123143" y="107050"/>
                      <a:pt x="123143" y="114251"/>
                      <a:pt x="118697" y="118697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  <p:sp>
            <p:nvSpPr>
              <p:cNvPr id="106" name="Google Shape;3781;p66">
                <a:extLst>
                  <a:ext uri="{FF2B5EF4-FFF2-40B4-BE49-F238E27FC236}">
                    <a16:creationId xmlns:a16="http://schemas.microsoft.com/office/drawing/2014/main" id="{A2209B68-CAA5-B96A-84D7-E124434546FD}"/>
                  </a:ext>
                </a:extLst>
              </p:cNvPr>
              <p:cNvSpPr/>
              <p:nvPr/>
            </p:nvSpPr>
            <p:spPr>
              <a:xfrm>
                <a:off x="6853236" y="4030911"/>
                <a:ext cx="73139" cy="103989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9388"/>
                    </a:moveTo>
                    <a:lnTo>
                      <a:pt x="19388" y="118697"/>
                    </a:lnTo>
                    <a:cubicBezTo>
                      <a:pt x="14942" y="123143"/>
                      <a:pt x="7741" y="123143"/>
                      <a:pt x="3335" y="118697"/>
                    </a:cubicBezTo>
                    <a:cubicBezTo>
                      <a:pt x="-1112" y="114251"/>
                      <a:pt x="-1112" y="107050"/>
                      <a:pt x="3335" y="102644"/>
                    </a:cubicBezTo>
                    <a:lnTo>
                      <a:pt x="102644" y="3335"/>
                    </a:lnTo>
                    <a:cubicBezTo>
                      <a:pt x="107090" y="-1112"/>
                      <a:pt x="114290" y="-1112"/>
                      <a:pt x="118697" y="3335"/>
                    </a:cubicBezTo>
                    <a:cubicBezTo>
                      <a:pt x="123143" y="7781"/>
                      <a:pt x="123143" y="14942"/>
                      <a:pt x="118697" y="19388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</p:grpSp>
        <p:sp>
          <p:nvSpPr>
            <p:cNvPr id="107" name="Shape21_20221014_120837">
              <a:extLst>
                <a:ext uri="{FF2B5EF4-FFF2-40B4-BE49-F238E27FC236}">
                  <a16:creationId xmlns:a16="http://schemas.microsoft.com/office/drawing/2014/main" id="{8F297E8F-C139-E3D8-696D-3AB8F39F903F}"/>
                </a:ext>
              </a:extLst>
            </p:cNvPr>
            <p:cNvSpPr/>
            <p:nvPr/>
          </p:nvSpPr>
          <p:spPr>
            <a:xfrm>
              <a:off x="8169576" y="3496132"/>
              <a:ext cx="170688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85284" tIns="42642" rIns="85284" bIns="42642" anchor="ctr" anchorCtr="0">
              <a:noAutofit/>
            </a:bodyPr>
            <a:lstStyle/>
            <a:p>
              <a:endParaRPr sz="13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grpSp>
          <p:nvGrpSpPr>
            <p:cNvPr id="108" name="Shape26_20221014_120843">
              <a:extLst>
                <a:ext uri="{FF2B5EF4-FFF2-40B4-BE49-F238E27FC236}">
                  <a16:creationId xmlns:a16="http://schemas.microsoft.com/office/drawing/2014/main" id="{7543BD1D-3705-8E51-41F6-F04596DA428D}"/>
                </a:ext>
              </a:extLst>
            </p:cNvPr>
            <p:cNvGrpSpPr/>
            <p:nvPr/>
          </p:nvGrpSpPr>
          <p:grpSpPr>
            <a:xfrm>
              <a:off x="9507482" y="3522723"/>
              <a:ext cx="102413" cy="85344"/>
              <a:chOff x="9623130" y="4030911"/>
              <a:chExt cx="73139" cy="104023"/>
            </a:xfrm>
          </p:grpSpPr>
          <p:sp>
            <p:nvSpPr>
              <p:cNvPr id="109" name="Google Shape;3837;p66">
                <a:extLst>
                  <a:ext uri="{FF2B5EF4-FFF2-40B4-BE49-F238E27FC236}">
                    <a16:creationId xmlns:a16="http://schemas.microsoft.com/office/drawing/2014/main" id="{49CF5D3B-4E4D-7EA0-56E0-B53F3FC0CBBB}"/>
                  </a:ext>
                </a:extLst>
              </p:cNvPr>
              <p:cNvSpPr/>
              <p:nvPr/>
            </p:nvSpPr>
            <p:spPr>
              <a:xfrm>
                <a:off x="9623130" y="4030945"/>
                <a:ext cx="73139" cy="103989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18697"/>
                    </a:moveTo>
                    <a:cubicBezTo>
                      <a:pt x="114251" y="123143"/>
                      <a:pt x="107050" y="123143"/>
                      <a:pt x="102644" y="118697"/>
                    </a:cubicBezTo>
                    <a:lnTo>
                      <a:pt x="3335" y="19388"/>
                    </a:lnTo>
                    <a:cubicBezTo>
                      <a:pt x="-1112" y="14942"/>
                      <a:pt x="-1112" y="7741"/>
                      <a:pt x="3335" y="3335"/>
                    </a:cubicBezTo>
                    <a:cubicBezTo>
                      <a:pt x="7781" y="-1112"/>
                      <a:pt x="14981" y="-1112"/>
                      <a:pt x="19388" y="3335"/>
                    </a:cubicBezTo>
                    <a:lnTo>
                      <a:pt x="118697" y="102644"/>
                    </a:lnTo>
                    <a:cubicBezTo>
                      <a:pt x="123143" y="107050"/>
                      <a:pt x="123143" y="114251"/>
                      <a:pt x="118697" y="118697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accent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  <p:sp>
            <p:nvSpPr>
              <p:cNvPr id="110" name="Google Shape;3838;p66">
                <a:extLst>
                  <a:ext uri="{FF2B5EF4-FFF2-40B4-BE49-F238E27FC236}">
                    <a16:creationId xmlns:a16="http://schemas.microsoft.com/office/drawing/2014/main" id="{FBFFB49C-B050-7FA9-594A-88440A0886C6}"/>
                  </a:ext>
                </a:extLst>
              </p:cNvPr>
              <p:cNvSpPr/>
              <p:nvPr/>
            </p:nvSpPr>
            <p:spPr>
              <a:xfrm>
                <a:off x="9623130" y="4030911"/>
                <a:ext cx="73139" cy="103989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9388"/>
                    </a:moveTo>
                    <a:lnTo>
                      <a:pt x="19388" y="118697"/>
                    </a:lnTo>
                    <a:cubicBezTo>
                      <a:pt x="14942" y="123143"/>
                      <a:pt x="7741" y="123143"/>
                      <a:pt x="3335" y="118697"/>
                    </a:cubicBezTo>
                    <a:cubicBezTo>
                      <a:pt x="-1112" y="114251"/>
                      <a:pt x="-1112" y="107050"/>
                      <a:pt x="3335" y="102644"/>
                    </a:cubicBezTo>
                    <a:lnTo>
                      <a:pt x="102644" y="3335"/>
                    </a:lnTo>
                    <a:cubicBezTo>
                      <a:pt x="107090" y="-1112"/>
                      <a:pt x="114290" y="-1112"/>
                      <a:pt x="118697" y="3335"/>
                    </a:cubicBezTo>
                    <a:cubicBezTo>
                      <a:pt x="123143" y="7781"/>
                      <a:pt x="123143" y="14942"/>
                      <a:pt x="118697" y="19388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accent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</p:grpSp>
        <p:grpSp>
          <p:nvGrpSpPr>
            <p:cNvPr id="111" name="Shape27_20221014_120843">
              <a:extLst>
                <a:ext uri="{FF2B5EF4-FFF2-40B4-BE49-F238E27FC236}">
                  <a16:creationId xmlns:a16="http://schemas.microsoft.com/office/drawing/2014/main" id="{A6E60399-372F-B89F-4DA1-9CCFD0D2B195}"/>
                </a:ext>
              </a:extLst>
            </p:cNvPr>
            <p:cNvGrpSpPr/>
            <p:nvPr/>
          </p:nvGrpSpPr>
          <p:grpSpPr>
            <a:xfrm>
              <a:off x="10822212" y="3522736"/>
              <a:ext cx="102413" cy="85338"/>
              <a:chOff x="11011123" y="4030911"/>
              <a:chExt cx="73139" cy="104015"/>
            </a:xfrm>
          </p:grpSpPr>
          <p:sp>
            <p:nvSpPr>
              <p:cNvPr id="112" name="Google Shape;3887;p66">
                <a:extLst>
                  <a:ext uri="{FF2B5EF4-FFF2-40B4-BE49-F238E27FC236}">
                    <a16:creationId xmlns:a16="http://schemas.microsoft.com/office/drawing/2014/main" id="{84A9B183-3D45-1B2A-2683-A82769926922}"/>
                  </a:ext>
                </a:extLst>
              </p:cNvPr>
              <p:cNvSpPr/>
              <p:nvPr/>
            </p:nvSpPr>
            <p:spPr>
              <a:xfrm>
                <a:off x="11011123" y="4030937"/>
                <a:ext cx="73139" cy="103989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18697"/>
                    </a:moveTo>
                    <a:cubicBezTo>
                      <a:pt x="114251" y="123143"/>
                      <a:pt x="107050" y="123143"/>
                      <a:pt x="102644" y="118697"/>
                    </a:cubicBezTo>
                    <a:lnTo>
                      <a:pt x="3335" y="19388"/>
                    </a:lnTo>
                    <a:cubicBezTo>
                      <a:pt x="-1112" y="14942"/>
                      <a:pt x="-1112" y="7741"/>
                      <a:pt x="3335" y="3335"/>
                    </a:cubicBezTo>
                    <a:cubicBezTo>
                      <a:pt x="7781" y="-1112"/>
                      <a:pt x="14981" y="-1112"/>
                      <a:pt x="19388" y="3335"/>
                    </a:cubicBezTo>
                    <a:lnTo>
                      <a:pt x="118697" y="102644"/>
                    </a:lnTo>
                    <a:cubicBezTo>
                      <a:pt x="123143" y="107050"/>
                      <a:pt x="123143" y="114251"/>
                      <a:pt x="118697" y="118697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  <p:sp>
            <p:nvSpPr>
              <p:cNvPr id="113" name="Google Shape;3888;p66">
                <a:extLst>
                  <a:ext uri="{FF2B5EF4-FFF2-40B4-BE49-F238E27FC236}">
                    <a16:creationId xmlns:a16="http://schemas.microsoft.com/office/drawing/2014/main" id="{AA98125E-3435-6BDC-5C65-6BEE6823105A}"/>
                  </a:ext>
                </a:extLst>
              </p:cNvPr>
              <p:cNvSpPr/>
              <p:nvPr/>
            </p:nvSpPr>
            <p:spPr>
              <a:xfrm>
                <a:off x="11011123" y="4030911"/>
                <a:ext cx="73139" cy="103989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9388"/>
                    </a:moveTo>
                    <a:lnTo>
                      <a:pt x="19388" y="118697"/>
                    </a:lnTo>
                    <a:cubicBezTo>
                      <a:pt x="14942" y="123143"/>
                      <a:pt x="7741" y="123143"/>
                      <a:pt x="3335" y="118697"/>
                    </a:cubicBezTo>
                    <a:cubicBezTo>
                      <a:pt x="-1112" y="114251"/>
                      <a:pt x="-1112" y="107050"/>
                      <a:pt x="3335" y="102644"/>
                    </a:cubicBezTo>
                    <a:lnTo>
                      <a:pt x="102644" y="3335"/>
                    </a:lnTo>
                    <a:cubicBezTo>
                      <a:pt x="107090" y="-1112"/>
                      <a:pt x="114290" y="-1112"/>
                      <a:pt x="118697" y="3335"/>
                    </a:cubicBezTo>
                    <a:cubicBezTo>
                      <a:pt x="123143" y="7781"/>
                      <a:pt x="123143" y="14942"/>
                      <a:pt x="118697" y="19388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85284" tIns="42642" rIns="85284" bIns="42642" anchor="ctr" anchorCtr="0">
                <a:noAutofit/>
              </a:bodyPr>
              <a:lstStyle/>
              <a:p>
                <a:endParaRPr sz="1307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</p:grpSp>
        <p:cxnSp>
          <p:nvCxnSpPr>
            <p:cNvPr id="114" name="Google Shape;3754;p66">
              <a:extLst>
                <a:ext uri="{FF2B5EF4-FFF2-40B4-BE49-F238E27FC236}">
                  <a16:creationId xmlns:a16="http://schemas.microsoft.com/office/drawing/2014/main" id="{06BC1472-DBED-3F9A-D671-F5439F774A0B}"/>
                </a:ext>
              </a:extLst>
            </p:cNvPr>
            <p:cNvCxnSpPr>
              <a:cxnSpLocks/>
            </p:cNvCxnSpPr>
            <p:nvPr/>
          </p:nvCxnSpPr>
          <p:spPr>
            <a:xfrm>
              <a:off x="5034072" y="2311589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15" name="Google Shape;3782;p66">
              <a:extLst>
                <a:ext uri="{FF2B5EF4-FFF2-40B4-BE49-F238E27FC236}">
                  <a16:creationId xmlns:a16="http://schemas.microsoft.com/office/drawing/2014/main" id="{7E686F90-5473-50F9-E8A6-BFDECC008E0C}"/>
                </a:ext>
              </a:extLst>
            </p:cNvPr>
            <p:cNvCxnSpPr>
              <a:cxnSpLocks/>
            </p:cNvCxnSpPr>
            <p:nvPr/>
          </p:nvCxnSpPr>
          <p:spPr>
            <a:xfrm>
              <a:off x="6343030" y="2311589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16" name="Google Shape;3804;p66">
              <a:extLst>
                <a:ext uri="{FF2B5EF4-FFF2-40B4-BE49-F238E27FC236}">
                  <a16:creationId xmlns:a16="http://schemas.microsoft.com/office/drawing/2014/main" id="{6EE375A1-8A89-5789-13AF-D842703C6F5E}"/>
                </a:ext>
              </a:extLst>
            </p:cNvPr>
            <p:cNvCxnSpPr>
              <a:cxnSpLocks/>
            </p:cNvCxnSpPr>
            <p:nvPr/>
          </p:nvCxnSpPr>
          <p:spPr>
            <a:xfrm>
              <a:off x="7651991" y="2311589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17" name="Google Shape;3845;p66">
              <a:extLst>
                <a:ext uri="{FF2B5EF4-FFF2-40B4-BE49-F238E27FC236}">
                  <a16:creationId xmlns:a16="http://schemas.microsoft.com/office/drawing/2014/main" id="{5FE62BFB-CFC9-A81D-2FFA-83EF80E0E0F4}"/>
                </a:ext>
              </a:extLst>
            </p:cNvPr>
            <p:cNvCxnSpPr>
              <a:cxnSpLocks/>
            </p:cNvCxnSpPr>
            <p:nvPr/>
          </p:nvCxnSpPr>
          <p:spPr>
            <a:xfrm>
              <a:off x="8966720" y="2311589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18" name="Google Shape;3889;p66">
              <a:extLst>
                <a:ext uri="{FF2B5EF4-FFF2-40B4-BE49-F238E27FC236}">
                  <a16:creationId xmlns:a16="http://schemas.microsoft.com/office/drawing/2014/main" id="{61C7572E-DC32-4AB1-035B-4FCA4C22DEF1}"/>
                </a:ext>
              </a:extLst>
            </p:cNvPr>
            <p:cNvCxnSpPr>
              <a:cxnSpLocks/>
            </p:cNvCxnSpPr>
            <p:nvPr/>
          </p:nvCxnSpPr>
          <p:spPr>
            <a:xfrm>
              <a:off x="10281451" y="2311589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19" name="Google Shape;3755;p66">
              <a:extLst>
                <a:ext uri="{FF2B5EF4-FFF2-40B4-BE49-F238E27FC236}">
                  <a16:creationId xmlns:a16="http://schemas.microsoft.com/office/drawing/2014/main" id="{F183E227-F150-A248-C6EF-74336A0892B4}"/>
                </a:ext>
              </a:extLst>
            </p:cNvPr>
            <p:cNvCxnSpPr/>
            <p:nvPr/>
          </p:nvCxnSpPr>
          <p:spPr>
            <a:xfrm>
              <a:off x="5034072" y="2671784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20" name="Google Shape;3783;p66">
              <a:extLst>
                <a:ext uri="{FF2B5EF4-FFF2-40B4-BE49-F238E27FC236}">
                  <a16:creationId xmlns:a16="http://schemas.microsoft.com/office/drawing/2014/main" id="{14E6E99B-2E3F-F415-8CC5-6FC34D217BD2}"/>
                </a:ext>
              </a:extLst>
            </p:cNvPr>
            <p:cNvCxnSpPr/>
            <p:nvPr/>
          </p:nvCxnSpPr>
          <p:spPr>
            <a:xfrm>
              <a:off x="6343030" y="2671784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21" name="Google Shape;3805;p66">
              <a:extLst>
                <a:ext uri="{FF2B5EF4-FFF2-40B4-BE49-F238E27FC236}">
                  <a16:creationId xmlns:a16="http://schemas.microsoft.com/office/drawing/2014/main" id="{EDF09083-8AC2-FB56-FE43-DBAD997761E8}"/>
                </a:ext>
              </a:extLst>
            </p:cNvPr>
            <p:cNvCxnSpPr/>
            <p:nvPr/>
          </p:nvCxnSpPr>
          <p:spPr>
            <a:xfrm>
              <a:off x="7651991" y="2671784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22" name="Google Shape;3846;p66">
              <a:extLst>
                <a:ext uri="{FF2B5EF4-FFF2-40B4-BE49-F238E27FC236}">
                  <a16:creationId xmlns:a16="http://schemas.microsoft.com/office/drawing/2014/main" id="{99ECEFE5-F59C-14CA-1B4A-D119C1BABB96}"/>
                </a:ext>
              </a:extLst>
            </p:cNvPr>
            <p:cNvCxnSpPr/>
            <p:nvPr/>
          </p:nvCxnSpPr>
          <p:spPr>
            <a:xfrm>
              <a:off x="8966720" y="2671784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23" name="Google Shape;3890;p66">
              <a:extLst>
                <a:ext uri="{FF2B5EF4-FFF2-40B4-BE49-F238E27FC236}">
                  <a16:creationId xmlns:a16="http://schemas.microsoft.com/office/drawing/2014/main" id="{FA377AA5-8D82-5183-5F54-00ECB7A5122F}"/>
                </a:ext>
              </a:extLst>
            </p:cNvPr>
            <p:cNvCxnSpPr/>
            <p:nvPr/>
          </p:nvCxnSpPr>
          <p:spPr>
            <a:xfrm>
              <a:off x="10281451" y="2671784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24" name="Google Shape;3756;p66">
              <a:extLst>
                <a:ext uri="{FF2B5EF4-FFF2-40B4-BE49-F238E27FC236}">
                  <a16:creationId xmlns:a16="http://schemas.microsoft.com/office/drawing/2014/main" id="{23A67CEE-B542-9DE7-B974-2C801CA176F3}"/>
                </a:ext>
              </a:extLst>
            </p:cNvPr>
            <p:cNvCxnSpPr/>
            <p:nvPr/>
          </p:nvCxnSpPr>
          <p:spPr>
            <a:xfrm>
              <a:off x="5034072" y="3031979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25" name="Google Shape;3784;p66">
              <a:extLst>
                <a:ext uri="{FF2B5EF4-FFF2-40B4-BE49-F238E27FC236}">
                  <a16:creationId xmlns:a16="http://schemas.microsoft.com/office/drawing/2014/main" id="{F3D38254-F1CE-5B99-5F32-8FA18A582868}"/>
                </a:ext>
              </a:extLst>
            </p:cNvPr>
            <p:cNvCxnSpPr/>
            <p:nvPr/>
          </p:nvCxnSpPr>
          <p:spPr>
            <a:xfrm>
              <a:off x="6343030" y="3031979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26" name="Google Shape;3806;p66">
              <a:extLst>
                <a:ext uri="{FF2B5EF4-FFF2-40B4-BE49-F238E27FC236}">
                  <a16:creationId xmlns:a16="http://schemas.microsoft.com/office/drawing/2014/main" id="{C4AB66F2-CFC3-E0F9-BEC2-956ED5AB47AC}"/>
                </a:ext>
              </a:extLst>
            </p:cNvPr>
            <p:cNvCxnSpPr/>
            <p:nvPr/>
          </p:nvCxnSpPr>
          <p:spPr>
            <a:xfrm>
              <a:off x="7651991" y="3031979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27" name="Google Shape;3847;p66">
              <a:extLst>
                <a:ext uri="{FF2B5EF4-FFF2-40B4-BE49-F238E27FC236}">
                  <a16:creationId xmlns:a16="http://schemas.microsoft.com/office/drawing/2014/main" id="{91D9AF2C-945C-8D92-19BD-B5995E181788}"/>
                </a:ext>
              </a:extLst>
            </p:cNvPr>
            <p:cNvCxnSpPr/>
            <p:nvPr/>
          </p:nvCxnSpPr>
          <p:spPr>
            <a:xfrm>
              <a:off x="8966720" y="3031979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28" name="Google Shape;3891;p66">
              <a:extLst>
                <a:ext uri="{FF2B5EF4-FFF2-40B4-BE49-F238E27FC236}">
                  <a16:creationId xmlns:a16="http://schemas.microsoft.com/office/drawing/2014/main" id="{5B5A011E-9C1D-0F9E-2A47-4CE9F7F61B3A}"/>
                </a:ext>
              </a:extLst>
            </p:cNvPr>
            <p:cNvCxnSpPr/>
            <p:nvPr/>
          </p:nvCxnSpPr>
          <p:spPr>
            <a:xfrm>
              <a:off x="10281451" y="3031979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29" name="Google Shape;3757;p66">
              <a:extLst>
                <a:ext uri="{FF2B5EF4-FFF2-40B4-BE49-F238E27FC236}">
                  <a16:creationId xmlns:a16="http://schemas.microsoft.com/office/drawing/2014/main" id="{82124C87-4406-9F40-D5AA-EB5E8DF8231E}"/>
                </a:ext>
              </a:extLst>
            </p:cNvPr>
            <p:cNvCxnSpPr/>
            <p:nvPr/>
          </p:nvCxnSpPr>
          <p:spPr>
            <a:xfrm>
              <a:off x="5034072" y="3392177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30" name="Google Shape;3785;p66">
              <a:extLst>
                <a:ext uri="{FF2B5EF4-FFF2-40B4-BE49-F238E27FC236}">
                  <a16:creationId xmlns:a16="http://schemas.microsoft.com/office/drawing/2014/main" id="{D0FB7F05-421A-5C75-6FAE-BFE9C339A61F}"/>
                </a:ext>
              </a:extLst>
            </p:cNvPr>
            <p:cNvCxnSpPr/>
            <p:nvPr/>
          </p:nvCxnSpPr>
          <p:spPr>
            <a:xfrm>
              <a:off x="6343030" y="3392177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31" name="Google Shape;3807;p66">
              <a:extLst>
                <a:ext uri="{FF2B5EF4-FFF2-40B4-BE49-F238E27FC236}">
                  <a16:creationId xmlns:a16="http://schemas.microsoft.com/office/drawing/2014/main" id="{35A5672A-EBCD-B321-2FBA-003B12632BD3}"/>
                </a:ext>
              </a:extLst>
            </p:cNvPr>
            <p:cNvCxnSpPr/>
            <p:nvPr/>
          </p:nvCxnSpPr>
          <p:spPr>
            <a:xfrm>
              <a:off x="7651991" y="3392177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32" name="Google Shape;3848;p66">
              <a:extLst>
                <a:ext uri="{FF2B5EF4-FFF2-40B4-BE49-F238E27FC236}">
                  <a16:creationId xmlns:a16="http://schemas.microsoft.com/office/drawing/2014/main" id="{77F78F4C-5938-1F8A-BC6C-A5DAC7C052DC}"/>
                </a:ext>
              </a:extLst>
            </p:cNvPr>
            <p:cNvCxnSpPr/>
            <p:nvPr/>
          </p:nvCxnSpPr>
          <p:spPr>
            <a:xfrm>
              <a:off x="8966720" y="3392177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33" name="Google Shape;3892;p66">
              <a:extLst>
                <a:ext uri="{FF2B5EF4-FFF2-40B4-BE49-F238E27FC236}">
                  <a16:creationId xmlns:a16="http://schemas.microsoft.com/office/drawing/2014/main" id="{4C56C20A-B44A-AA63-C731-9A16AF471F13}"/>
                </a:ext>
              </a:extLst>
            </p:cNvPr>
            <p:cNvCxnSpPr/>
            <p:nvPr/>
          </p:nvCxnSpPr>
          <p:spPr>
            <a:xfrm>
              <a:off x="10281451" y="3392177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34" name="Google Shape;3758;p66">
              <a:extLst>
                <a:ext uri="{FF2B5EF4-FFF2-40B4-BE49-F238E27FC236}">
                  <a16:creationId xmlns:a16="http://schemas.microsoft.com/office/drawing/2014/main" id="{DAC313B4-D3B5-262E-5A52-89F532AD90A2}"/>
                </a:ext>
              </a:extLst>
            </p:cNvPr>
            <p:cNvCxnSpPr/>
            <p:nvPr/>
          </p:nvCxnSpPr>
          <p:spPr>
            <a:xfrm>
              <a:off x="5034072" y="3752371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35" name="Google Shape;3786;p66">
              <a:extLst>
                <a:ext uri="{FF2B5EF4-FFF2-40B4-BE49-F238E27FC236}">
                  <a16:creationId xmlns:a16="http://schemas.microsoft.com/office/drawing/2014/main" id="{C0BD99F8-8776-8D3E-545A-C45DF755DDEE}"/>
                </a:ext>
              </a:extLst>
            </p:cNvPr>
            <p:cNvCxnSpPr/>
            <p:nvPr/>
          </p:nvCxnSpPr>
          <p:spPr>
            <a:xfrm>
              <a:off x="6343030" y="3752371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36" name="Google Shape;3808;p66">
              <a:extLst>
                <a:ext uri="{FF2B5EF4-FFF2-40B4-BE49-F238E27FC236}">
                  <a16:creationId xmlns:a16="http://schemas.microsoft.com/office/drawing/2014/main" id="{24E657C1-6763-001C-F157-618768D89C4C}"/>
                </a:ext>
              </a:extLst>
            </p:cNvPr>
            <p:cNvCxnSpPr/>
            <p:nvPr/>
          </p:nvCxnSpPr>
          <p:spPr>
            <a:xfrm>
              <a:off x="7651991" y="3752371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37" name="Google Shape;3849;p66">
              <a:extLst>
                <a:ext uri="{FF2B5EF4-FFF2-40B4-BE49-F238E27FC236}">
                  <a16:creationId xmlns:a16="http://schemas.microsoft.com/office/drawing/2014/main" id="{71D3689B-76A8-D6A7-1B70-73A6890D1F70}"/>
                </a:ext>
              </a:extLst>
            </p:cNvPr>
            <p:cNvCxnSpPr/>
            <p:nvPr/>
          </p:nvCxnSpPr>
          <p:spPr>
            <a:xfrm>
              <a:off x="8966720" y="3752371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38" name="Google Shape;3893;p66">
              <a:extLst>
                <a:ext uri="{FF2B5EF4-FFF2-40B4-BE49-F238E27FC236}">
                  <a16:creationId xmlns:a16="http://schemas.microsoft.com/office/drawing/2014/main" id="{E3A4B592-1CB2-5658-3931-432459D78E43}"/>
                </a:ext>
              </a:extLst>
            </p:cNvPr>
            <p:cNvCxnSpPr/>
            <p:nvPr/>
          </p:nvCxnSpPr>
          <p:spPr>
            <a:xfrm>
              <a:off x="10281451" y="3752371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39" name="Google Shape;3759;p66">
              <a:extLst>
                <a:ext uri="{FF2B5EF4-FFF2-40B4-BE49-F238E27FC236}">
                  <a16:creationId xmlns:a16="http://schemas.microsoft.com/office/drawing/2014/main" id="{B8D15C43-E695-7E8D-746F-D24E136B29ED}"/>
                </a:ext>
              </a:extLst>
            </p:cNvPr>
            <p:cNvCxnSpPr/>
            <p:nvPr/>
          </p:nvCxnSpPr>
          <p:spPr>
            <a:xfrm>
              <a:off x="5034072" y="4112566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40" name="Google Shape;3787;p66">
              <a:extLst>
                <a:ext uri="{FF2B5EF4-FFF2-40B4-BE49-F238E27FC236}">
                  <a16:creationId xmlns:a16="http://schemas.microsoft.com/office/drawing/2014/main" id="{0D14A68E-A930-2008-7941-BDD836647E91}"/>
                </a:ext>
              </a:extLst>
            </p:cNvPr>
            <p:cNvCxnSpPr/>
            <p:nvPr/>
          </p:nvCxnSpPr>
          <p:spPr>
            <a:xfrm>
              <a:off x="6343030" y="4112566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41" name="Google Shape;3809;p66">
              <a:extLst>
                <a:ext uri="{FF2B5EF4-FFF2-40B4-BE49-F238E27FC236}">
                  <a16:creationId xmlns:a16="http://schemas.microsoft.com/office/drawing/2014/main" id="{52303FA6-6237-A24A-94B7-39224F0DF03F}"/>
                </a:ext>
              </a:extLst>
            </p:cNvPr>
            <p:cNvCxnSpPr/>
            <p:nvPr/>
          </p:nvCxnSpPr>
          <p:spPr>
            <a:xfrm>
              <a:off x="7651991" y="4112566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42" name="Google Shape;3850;p66">
              <a:extLst>
                <a:ext uri="{FF2B5EF4-FFF2-40B4-BE49-F238E27FC236}">
                  <a16:creationId xmlns:a16="http://schemas.microsoft.com/office/drawing/2014/main" id="{99EB7CE3-8781-C5A6-718C-321564BEF750}"/>
                </a:ext>
              </a:extLst>
            </p:cNvPr>
            <p:cNvCxnSpPr/>
            <p:nvPr/>
          </p:nvCxnSpPr>
          <p:spPr>
            <a:xfrm>
              <a:off x="8966720" y="4112566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43" name="Google Shape;3894;p66">
              <a:extLst>
                <a:ext uri="{FF2B5EF4-FFF2-40B4-BE49-F238E27FC236}">
                  <a16:creationId xmlns:a16="http://schemas.microsoft.com/office/drawing/2014/main" id="{8FC46C6E-A76A-829D-E3D0-14AF866E1089}"/>
                </a:ext>
              </a:extLst>
            </p:cNvPr>
            <p:cNvCxnSpPr/>
            <p:nvPr/>
          </p:nvCxnSpPr>
          <p:spPr>
            <a:xfrm>
              <a:off x="10281451" y="4112566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44" name="Google Shape;3760;p66">
              <a:extLst>
                <a:ext uri="{FF2B5EF4-FFF2-40B4-BE49-F238E27FC236}">
                  <a16:creationId xmlns:a16="http://schemas.microsoft.com/office/drawing/2014/main" id="{8CC91EB8-ECB8-93A9-F0FE-3DCA049C412D}"/>
                </a:ext>
              </a:extLst>
            </p:cNvPr>
            <p:cNvCxnSpPr/>
            <p:nvPr/>
          </p:nvCxnSpPr>
          <p:spPr>
            <a:xfrm>
              <a:off x="5034072" y="4472762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45" name="Google Shape;3788;p66">
              <a:extLst>
                <a:ext uri="{FF2B5EF4-FFF2-40B4-BE49-F238E27FC236}">
                  <a16:creationId xmlns:a16="http://schemas.microsoft.com/office/drawing/2014/main" id="{264734CF-D9B5-EBDA-9ECA-1CD379B4C118}"/>
                </a:ext>
              </a:extLst>
            </p:cNvPr>
            <p:cNvCxnSpPr/>
            <p:nvPr/>
          </p:nvCxnSpPr>
          <p:spPr>
            <a:xfrm>
              <a:off x="6343030" y="4472762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46" name="Google Shape;3810;p66">
              <a:extLst>
                <a:ext uri="{FF2B5EF4-FFF2-40B4-BE49-F238E27FC236}">
                  <a16:creationId xmlns:a16="http://schemas.microsoft.com/office/drawing/2014/main" id="{EEA3530D-52B6-9E26-83D0-DDFDD8B61AC7}"/>
                </a:ext>
              </a:extLst>
            </p:cNvPr>
            <p:cNvCxnSpPr/>
            <p:nvPr/>
          </p:nvCxnSpPr>
          <p:spPr>
            <a:xfrm>
              <a:off x="7651991" y="4472762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47" name="Google Shape;3851;p66">
              <a:extLst>
                <a:ext uri="{FF2B5EF4-FFF2-40B4-BE49-F238E27FC236}">
                  <a16:creationId xmlns:a16="http://schemas.microsoft.com/office/drawing/2014/main" id="{16B2A8B2-DC8C-9243-E24B-A7D91AC0E64C}"/>
                </a:ext>
              </a:extLst>
            </p:cNvPr>
            <p:cNvCxnSpPr/>
            <p:nvPr/>
          </p:nvCxnSpPr>
          <p:spPr>
            <a:xfrm>
              <a:off x="8966720" y="4472762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48" name="Google Shape;3895;p66">
              <a:extLst>
                <a:ext uri="{FF2B5EF4-FFF2-40B4-BE49-F238E27FC236}">
                  <a16:creationId xmlns:a16="http://schemas.microsoft.com/office/drawing/2014/main" id="{8E6F6C39-CAC5-6035-B2DD-FE1A9117B3FE}"/>
                </a:ext>
              </a:extLst>
            </p:cNvPr>
            <p:cNvCxnSpPr/>
            <p:nvPr/>
          </p:nvCxnSpPr>
          <p:spPr>
            <a:xfrm>
              <a:off x="10281451" y="4472762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49" name="Google Shape;3761;p66">
              <a:extLst>
                <a:ext uri="{FF2B5EF4-FFF2-40B4-BE49-F238E27FC236}">
                  <a16:creationId xmlns:a16="http://schemas.microsoft.com/office/drawing/2014/main" id="{1E7D2F22-2AFD-B5DB-D3D9-A11FEE206139}"/>
                </a:ext>
              </a:extLst>
            </p:cNvPr>
            <p:cNvCxnSpPr/>
            <p:nvPr/>
          </p:nvCxnSpPr>
          <p:spPr>
            <a:xfrm>
              <a:off x="5034072" y="4832958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50" name="Google Shape;3789;p66">
              <a:extLst>
                <a:ext uri="{FF2B5EF4-FFF2-40B4-BE49-F238E27FC236}">
                  <a16:creationId xmlns:a16="http://schemas.microsoft.com/office/drawing/2014/main" id="{C8204D6C-4A48-4725-F160-674C8864DB50}"/>
                </a:ext>
              </a:extLst>
            </p:cNvPr>
            <p:cNvCxnSpPr/>
            <p:nvPr/>
          </p:nvCxnSpPr>
          <p:spPr>
            <a:xfrm>
              <a:off x="6343030" y="4832958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51" name="Google Shape;3811;p66">
              <a:extLst>
                <a:ext uri="{FF2B5EF4-FFF2-40B4-BE49-F238E27FC236}">
                  <a16:creationId xmlns:a16="http://schemas.microsoft.com/office/drawing/2014/main" id="{16A96815-6F5A-0099-DE8F-3868126EC770}"/>
                </a:ext>
              </a:extLst>
            </p:cNvPr>
            <p:cNvCxnSpPr/>
            <p:nvPr/>
          </p:nvCxnSpPr>
          <p:spPr>
            <a:xfrm>
              <a:off x="7651991" y="4832958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52" name="Google Shape;3852;p66">
              <a:extLst>
                <a:ext uri="{FF2B5EF4-FFF2-40B4-BE49-F238E27FC236}">
                  <a16:creationId xmlns:a16="http://schemas.microsoft.com/office/drawing/2014/main" id="{385AFEF7-6A86-1953-2455-242D9C6DA6FF}"/>
                </a:ext>
              </a:extLst>
            </p:cNvPr>
            <p:cNvCxnSpPr/>
            <p:nvPr/>
          </p:nvCxnSpPr>
          <p:spPr>
            <a:xfrm>
              <a:off x="8966720" y="4832958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53" name="Google Shape;3896;p66">
              <a:extLst>
                <a:ext uri="{FF2B5EF4-FFF2-40B4-BE49-F238E27FC236}">
                  <a16:creationId xmlns:a16="http://schemas.microsoft.com/office/drawing/2014/main" id="{291F0CCB-35E9-07F1-346F-C07C9179C71A}"/>
                </a:ext>
              </a:extLst>
            </p:cNvPr>
            <p:cNvCxnSpPr/>
            <p:nvPr/>
          </p:nvCxnSpPr>
          <p:spPr>
            <a:xfrm>
              <a:off x="10281451" y="4832958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</p:spTree>
    <p:extLst>
      <p:ext uri="{BB962C8B-B14F-4D97-AF65-F5344CB8AC3E}">
        <p14:creationId xmlns:p14="http://schemas.microsoft.com/office/powerpoint/2010/main" val="4140514413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D4999EB-3245-3EC8-68F8-41D4559DF4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think-cell data - do not delete" hidden="1">
            <a:extLst>
              <a:ext uri="{FF2B5EF4-FFF2-40B4-BE49-F238E27FC236}">
                <a16:creationId xmlns:a16="http://schemas.microsoft.com/office/drawing/2014/main" id="{FC1FD6FB-F921-4960-43A3-E8C05A4471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C1FD6FB-F921-4960-43A3-E8C05A4471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38BC8F4-AF2C-DF25-E5E5-67231FED16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olumn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E4DC61D-3B92-6B9F-3C79-8447D0257A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52</a:t>
            </a:fld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AFFF564D-6C39-CC12-3292-AF1A0428F27C}"/>
              </a:ext>
            </a:extLst>
          </p:cNvPr>
          <p:cNvGrpSpPr/>
          <p:nvPr/>
        </p:nvGrpSpPr>
        <p:grpSpPr>
          <a:xfrm>
            <a:off x="419099" y="1128813"/>
            <a:ext cx="5237779" cy="623537"/>
            <a:chOff x="5138982" y="3547585"/>
            <a:chExt cx="2638320" cy="623537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B4B75A3D-91F5-E575-BA3C-7DC1638ADAD7}"/>
                </a:ext>
              </a:extLst>
            </p:cNvPr>
            <p:cNvSpPr txBox="1">
              <a:spLocks/>
            </p:cNvSpPr>
            <p:nvPr/>
          </p:nvSpPr>
          <p:spPr>
            <a:xfrm>
              <a:off x="5138982" y="3547585"/>
              <a:ext cx="2638320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rPr>
                <a:t>Subtitle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DBFF3A02-9046-D7C7-E987-75629FBA46A5}"/>
                </a:ext>
              </a:extLst>
            </p:cNvPr>
            <p:cNvSpPr txBox="1">
              <a:spLocks/>
            </p:cNvSpPr>
            <p:nvPr/>
          </p:nvSpPr>
          <p:spPr>
            <a:xfrm>
              <a:off x="5138982" y="3924901"/>
              <a:ext cx="2638320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rPr>
                <a:t>Insert Text Here</a:t>
              </a: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3864A57B-504E-9C5E-FC3E-9015F460B901}"/>
              </a:ext>
            </a:extLst>
          </p:cNvPr>
          <p:cNvGrpSpPr/>
          <p:nvPr/>
        </p:nvGrpSpPr>
        <p:grpSpPr>
          <a:xfrm>
            <a:off x="6524683" y="1128813"/>
            <a:ext cx="5237779" cy="623537"/>
            <a:chOff x="5138982" y="3547585"/>
            <a:chExt cx="2638320" cy="623537"/>
          </a:xfrm>
        </p:grpSpPr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E164B059-8CD8-D324-8B15-2FB9B645E0AF}"/>
                </a:ext>
              </a:extLst>
            </p:cNvPr>
            <p:cNvSpPr txBox="1">
              <a:spLocks/>
            </p:cNvSpPr>
            <p:nvPr/>
          </p:nvSpPr>
          <p:spPr>
            <a:xfrm>
              <a:off x="5138982" y="3547585"/>
              <a:ext cx="2638320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rPr>
                <a:t>Subtitle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CA5B39B3-AA6D-6173-3D71-A53DC26B68AB}"/>
                </a:ext>
              </a:extLst>
            </p:cNvPr>
            <p:cNvSpPr txBox="1">
              <a:spLocks/>
            </p:cNvSpPr>
            <p:nvPr/>
          </p:nvSpPr>
          <p:spPr>
            <a:xfrm>
              <a:off x="5138982" y="3924901"/>
              <a:ext cx="2638320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rPr>
                <a:t>Insert Text He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53863491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BCAF87-1B85-431A-2751-C78E2E7FD6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think-cell data - do not delete" hidden="1">
            <a:extLst>
              <a:ext uri="{FF2B5EF4-FFF2-40B4-BE49-F238E27FC236}">
                <a16:creationId xmlns:a16="http://schemas.microsoft.com/office/drawing/2014/main" id="{D4FCBF74-B843-D777-5A1F-A8B6E8CFF3B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4FCBF74-B843-D777-5A1F-A8B6E8CFF3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F34E90C-4AB3-EBBF-2226-8333CB80DC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olumn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9996E7C-3552-B29E-C085-AF9D5DFA75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53</a:t>
            </a:fld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D62A7AD3-8245-4DEA-D4C4-F5CBEF8CEEAD}"/>
              </a:ext>
            </a:extLst>
          </p:cNvPr>
          <p:cNvGrpSpPr/>
          <p:nvPr/>
        </p:nvGrpSpPr>
        <p:grpSpPr>
          <a:xfrm>
            <a:off x="419099" y="1128813"/>
            <a:ext cx="3086101" cy="623537"/>
            <a:chOff x="5138982" y="3547585"/>
            <a:chExt cx="2638320" cy="623537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738AB81C-89F1-10DD-0900-95494F311577}"/>
                </a:ext>
              </a:extLst>
            </p:cNvPr>
            <p:cNvSpPr txBox="1">
              <a:spLocks/>
            </p:cNvSpPr>
            <p:nvPr/>
          </p:nvSpPr>
          <p:spPr>
            <a:xfrm>
              <a:off x="5138982" y="3547585"/>
              <a:ext cx="2638320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rPr>
                <a:t>Subtitle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02761E65-4208-7826-8BE2-B5C2B9E98D93}"/>
                </a:ext>
              </a:extLst>
            </p:cNvPr>
            <p:cNvSpPr txBox="1">
              <a:spLocks/>
            </p:cNvSpPr>
            <p:nvPr/>
          </p:nvSpPr>
          <p:spPr>
            <a:xfrm>
              <a:off x="5138982" y="3924901"/>
              <a:ext cx="2638320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rPr>
                <a:t>Insert Text Here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71FE89FE-6490-61A2-559F-151B431B394F}"/>
              </a:ext>
            </a:extLst>
          </p:cNvPr>
          <p:cNvGrpSpPr/>
          <p:nvPr/>
        </p:nvGrpSpPr>
        <p:grpSpPr>
          <a:xfrm>
            <a:off x="4461440" y="1128813"/>
            <a:ext cx="3086101" cy="623537"/>
            <a:chOff x="5138982" y="3547585"/>
            <a:chExt cx="2638320" cy="623537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9F4EB377-3629-F405-8342-60F6E168CFDC}"/>
                </a:ext>
              </a:extLst>
            </p:cNvPr>
            <p:cNvSpPr txBox="1">
              <a:spLocks/>
            </p:cNvSpPr>
            <p:nvPr/>
          </p:nvSpPr>
          <p:spPr>
            <a:xfrm>
              <a:off x="5138982" y="3547585"/>
              <a:ext cx="2638320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rPr>
                <a:t>Subtitle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22731150-7024-3969-E19E-2081A969435E}"/>
                </a:ext>
              </a:extLst>
            </p:cNvPr>
            <p:cNvSpPr txBox="1">
              <a:spLocks/>
            </p:cNvSpPr>
            <p:nvPr/>
          </p:nvSpPr>
          <p:spPr>
            <a:xfrm>
              <a:off x="5138982" y="3924901"/>
              <a:ext cx="2638320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rPr>
                <a:t>Insert Text Here</a:t>
              </a: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8BEC662E-53BB-6714-CE24-751A31AB1C4A}"/>
              </a:ext>
            </a:extLst>
          </p:cNvPr>
          <p:cNvGrpSpPr/>
          <p:nvPr/>
        </p:nvGrpSpPr>
        <p:grpSpPr>
          <a:xfrm>
            <a:off x="8503780" y="1128813"/>
            <a:ext cx="3086101" cy="623537"/>
            <a:chOff x="5138982" y="3547585"/>
            <a:chExt cx="2638320" cy="623537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D2B41731-C1F7-49F4-2F38-9B6112B09105}"/>
                </a:ext>
              </a:extLst>
            </p:cNvPr>
            <p:cNvSpPr txBox="1">
              <a:spLocks/>
            </p:cNvSpPr>
            <p:nvPr/>
          </p:nvSpPr>
          <p:spPr>
            <a:xfrm>
              <a:off x="5138982" y="3547585"/>
              <a:ext cx="2638320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rPr>
                <a:t>Subtitle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22F0F0A0-3DD4-6961-2EEF-8673FF1AF239}"/>
                </a:ext>
              </a:extLst>
            </p:cNvPr>
            <p:cNvSpPr txBox="1">
              <a:spLocks/>
            </p:cNvSpPr>
            <p:nvPr/>
          </p:nvSpPr>
          <p:spPr>
            <a:xfrm>
              <a:off x="5138982" y="3924901"/>
              <a:ext cx="2638320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rPr>
                <a:t>Insert Text He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98778863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8C29CB8-3FEB-ABAC-8AFD-CAE65EBA0CB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think-cell data - do not delete" hidden="1">
            <a:extLst>
              <a:ext uri="{FF2B5EF4-FFF2-40B4-BE49-F238E27FC236}">
                <a16:creationId xmlns:a16="http://schemas.microsoft.com/office/drawing/2014/main" id="{23FB1CA4-ADCD-D868-D41F-6861288ACC9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3FB1CA4-ADCD-D868-D41F-6861288ACC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6F09C99-F327-3727-6CB8-58A17AD9EB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olumn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A32213D-0F8F-AAC8-BC9D-F6B03A96FD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54</a:t>
            </a:fld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CA2F3B3-8F82-EB7B-FB1E-72BC8BE0A671}"/>
              </a:ext>
            </a:extLst>
          </p:cNvPr>
          <p:cNvSpPr txBox="1">
            <a:spLocks/>
          </p:cNvSpPr>
          <p:nvPr/>
        </p:nvSpPr>
        <p:spPr>
          <a:xfrm>
            <a:off x="419099" y="1128813"/>
            <a:ext cx="5237779" cy="416208"/>
          </a:xfrm>
          <a:prstGeom prst="rect">
            <a:avLst/>
          </a:prstGeom>
          <a:solidFill>
            <a:schemeClr val="accent1"/>
          </a:solidFill>
        </p:spPr>
        <p:txBody>
          <a:bodyPr wrap="square" lIns="91440" tIns="91440" rIns="91440" bIns="9144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Subtit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1BDF36E-B836-73EE-112E-37101A388CED}"/>
              </a:ext>
            </a:extLst>
          </p:cNvPr>
          <p:cNvSpPr txBox="1">
            <a:spLocks/>
          </p:cNvSpPr>
          <p:nvPr/>
        </p:nvSpPr>
        <p:spPr>
          <a:xfrm>
            <a:off x="419099" y="1708926"/>
            <a:ext cx="5237779" cy="246221"/>
          </a:xfrm>
          <a:prstGeom prst="rect">
            <a:avLst/>
          </a:prstGeom>
          <a:noFill/>
        </p:spPr>
        <p:txBody>
          <a:bodyPr wrap="square" lIns="91440" tIns="91440" rIns="91440" bIns="9144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A6FB6924-5022-D0FB-11C3-E7E39FA785C2}"/>
              </a:ext>
            </a:extLst>
          </p:cNvPr>
          <p:cNvSpPr txBox="1">
            <a:spLocks/>
          </p:cNvSpPr>
          <p:nvPr/>
        </p:nvSpPr>
        <p:spPr>
          <a:xfrm>
            <a:off x="6524683" y="1128813"/>
            <a:ext cx="5237779" cy="416208"/>
          </a:xfrm>
          <a:prstGeom prst="rect">
            <a:avLst/>
          </a:prstGeom>
          <a:solidFill>
            <a:schemeClr val="accent1"/>
          </a:solidFill>
        </p:spPr>
        <p:txBody>
          <a:bodyPr wrap="square" lIns="91440" tIns="91440" rIns="91440" bIns="9144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Subtitle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5ABC8D6B-7465-E9C9-C2E9-A015C6E7E800}"/>
              </a:ext>
            </a:extLst>
          </p:cNvPr>
          <p:cNvSpPr txBox="1">
            <a:spLocks/>
          </p:cNvSpPr>
          <p:nvPr/>
        </p:nvSpPr>
        <p:spPr>
          <a:xfrm>
            <a:off x="6524683" y="1708926"/>
            <a:ext cx="5237779" cy="246221"/>
          </a:xfrm>
          <a:prstGeom prst="rect">
            <a:avLst/>
          </a:prstGeom>
          <a:noFill/>
        </p:spPr>
        <p:txBody>
          <a:bodyPr wrap="square" lIns="91440" tIns="91440" rIns="91440" bIns="9144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Insert Text Here</a:t>
            </a:r>
          </a:p>
        </p:txBody>
      </p:sp>
    </p:spTree>
    <p:extLst>
      <p:ext uri="{BB962C8B-B14F-4D97-AF65-F5344CB8AC3E}">
        <p14:creationId xmlns:p14="http://schemas.microsoft.com/office/powerpoint/2010/main" val="1068694268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EDD8CB-E801-FE13-68B3-A19DC7009F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think-cell data - do not delete" hidden="1">
            <a:extLst>
              <a:ext uri="{FF2B5EF4-FFF2-40B4-BE49-F238E27FC236}">
                <a16:creationId xmlns:a16="http://schemas.microsoft.com/office/drawing/2014/main" id="{4653A87E-E1E4-7BE6-A33D-BE69793087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653A87E-E1E4-7BE6-A33D-BE69793087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A6B899C-1368-B5F4-78C9-00918EEEF0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olumn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D9F2CFE-6669-9C06-74E1-B63F6837BF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55</a:t>
            </a:fld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DD51C7A-A10C-4026-EFE2-EC4C40561E16}"/>
              </a:ext>
            </a:extLst>
          </p:cNvPr>
          <p:cNvSpPr txBox="1">
            <a:spLocks/>
          </p:cNvSpPr>
          <p:nvPr/>
        </p:nvSpPr>
        <p:spPr>
          <a:xfrm>
            <a:off x="419099" y="1128813"/>
            <a:ext cx="3086101" cy="416208"/>
          </a:xfrm>
          <a:prstGeom prst="rect">
            <a:avLst/>
          </a:prstGeom>
          <a:solidFill>
            <a:schemeClr val="accent1"/>
          </a:solidFill>
        </p:spPr>
        <p:txBody>
          <a:bodyPr wrap="square" lIns="91440" tIns="91440" rIns="91440" bIns="9144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Subtit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9D798CE-5A68-7989-C9CC-D94A41AE93F3}"/>
              </a:ext>
            </a:extLst>
          </p:cNvPr>
          <p:cNvSpPr txBox="1">
            <a:spLocks/>
          </p:cNvSpPr>
          <p:nvPr/>
        </p:nvSpPr>
        <p:spPr>
          <a:xfrm>
            <a:off x="419099" y="1708926"/>
            <a:ext cx="3086101" cy="246221"/>
          </a:xfrm>
          <a:prstGeom prst="rect">
            <a:avLst/>
          </a:prstGeom>
          <a:noFill/>
        </p:spPr>
        <p:txBody>
          <a:bodyPr wrap="square" lIns="91440" tIns="91440" rIns="91440" bIns="9144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94EFA75-CA44-F7E5-888C-6184E42FAF04}"/>
              </a:ext>
            </a:extLst>
          </p:cNvPr>
          <p:cNvSpPr txBox="1">
            <a:spLocks/>
          </p:cNvSpPr>
          <p:nvPr/>
        </p:nvSpPr>
        <p:spPr>
          <a:xfrm>
            <a:off x="4547730" y="1128813"/>
            <a:ext cx="3086101" cy="416208"/>
          </a:xfrm>
          <a:prstGeom prst="rect">
            <a:avLst/>
          </a:prstGeom>
          <a:solidFill>
            <a:schemeClr val="accent1"/>
          </a:solidFill>
        </p:spPr>
        <p:txBody>
          <a:bodyPr wrap="square" lIns="91440" tIns="91440" rIns="91440" bIns="9144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Subtitl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3669B8F-6CEC-99A6-638A-67DFCECB2389}"/>
              </a:ext>
            </a:extLst>
          </p:cNvPr>
          <p:cNvSpPr txBox="1">
            <a:spLocks/>
          </p:cNvSpPr>
          <p:nvPr/>
        </p:nvSpPr>
        <p:spPr>
          <a:xfrm>
            <a:off x="4547730" y="1708926"/>
            <a:ext cx="3086101" cy="246221"/>
          </a:xfrm>
          <a:prstGeom prst="rect">
            <a:avLst/>
          </a:prstGeom>
          <a:noFill/>
        </p:spPr>
        <p:txBody>
          <a:bodyPr wrap="square" lIns="91440" tIns="91440" rIns="91440" bIns="9144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F091373-4157-8BB9-1853-E62DB2C1A4B8}"/>
              </a:ext>
            </a:extLst>
          </p:cNvPr>
          <p:cNvSpPr txBox="1">
            <a:spLocks/>
          </p:cNvSpPr>
          <p:nvPr/>
        </p:nvSpPr>
        <p:spPr>
          <a:xfrm>
            <a:off x="8676361" y="1128813"/>
            <a:ext cx="3086101" cy="416208"/>
          </a:xfrm>
          <a:prstGeom prst="rect">
            <a:avLst/>
          </a:prstGeom>
          <a:solidFill>
            <a:schemeClr val="accent1"/>
          </a:solidFill>
        </p:spPr>
        <p:txBody>
          <a:bodyPr wrap="square" lIns="91440" tIns="91440" rIns="91440" bIns="9144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Subtitl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20CDC01-CBCF-8758-FDA5-729F0815D412}"/>
              </a:ext>
            </a:extLst>
          </p:cNvPr>
          <p:cNvSpPr txBox="1">
            <a:spLocks/>
          </p:cNvSpPr>
          <p:nvPr/>
        </p:nvSpPr>
        <p:spPr>
          <a:xfrm>
            <a:off x="8676361" y="1708926"/>
            <a:ext cx="3086101" cy="246221"/>
          </a:xfrm>
          <a:prstGeom prst="rect">
            <a:avLst/>
          </a:prstGeom>
          <a:noFill/>
        </p:spPr>
        <p:txBody>
          <a:bodyPr wrap="square" lIns="91440" tIns="91440" rIns="91440" bIns="9144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Insert Text Here</a:t>
            </a:r>
          </a:p>
        </p:txBody>
      </p:sp>
    </p:spTree>
    <p:extLst>
      <p:ext uri="{BB962C8B-B14F-4D97-AF65-F5344CB8AC3E}">
        <p14:creationId xmlns:p14="http://schemas.microsoft.com/office/powerpoint/2010/main" val="883707389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D45B75E-6003-14D9-2309-08DA2E6A9E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58D56CF4-A5E1-1B47-2988-F6C2D839BA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3C1701-7B2D-6ACC-2136-F78822261A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3446F5E-CBFC-9BA0-2F22-4356C8EE31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Quotes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CBE408B4-CD84-5E5D-FEED-28F9462F7EC9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56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83" name="Shape0_20220517_165518">
            <a:extLst>
              <a:ext uri="{FF2B5EF4-FFF2-40B4-BE49-F238E27FC236}">
                <a16:creationId xmlns:a16="http://schemas.microsoft.com/office/drawing/2014/main" id="{A6F10947-9089-4D24-37D3-E4967244AF08}"/>
              </a:ext>
            </a:extLst>
          </p:cNvPr>
          <p:cNvSpPr>
            <a:spLocks/>
          </p:cNvSpPr>
          <p:nvPr/>
        </p:nvSpPr>
        <p:spPr>
          <a:xfrm>
            <a:off x="699644" y="1578058"/>
            <a:ext cx="5345767" cy="2013839"/>
          </a:xfrm>
          <a:custGeom>
            <a:avLst/>
            <a:gdLst>
              <a:gd name="connsiteX0" fmla="*/ 367960 w 4384906"/>
              <a:gd name="connsiteY0" fmla="*/ 0 h 1475838"/>
              <a:gd name="connsiteX1" fmla="*/ 4384906 w 4384906"/>
              <a:gd name="connsiteY1" fmla="*/ 0 h 1475838"/>
              <a:gd name="connsiteX2" fmla="*/ 4384906 w 4384906"/>
              <a:gd name="connsiteY2" fmla="*/ 1475838 h 1475838"/>
              <a:gd name="connsiteX3" fmla="*/ 0 w 4384906"/>
              <a:gd name="connsiteY3" fmla="*/ 1475838 h 1475838"/>
              <a:gd name="connsiteX4" fmla="*/ 0 w 4384906"/>
              <a:gd name="connsiteY4" fmla="*/ 210711 h 1475838"/>
              <a:gd name="connsiteX5" fmla="*/ 367960 w 4384906"/>
              <a:gd name="connsiteY5" fmla="*/ 210711 h 1475838"/>
              <a:gd name="connsiteX0" fmla="*/ 367960 w 4384906"/>
              <a:gd name="connsiteY0" fmla="*/ 210711 h 1475838"/>
              <a:gd name="connsiteX1" fmla="*/ 367960 w 4384906"/>
              <a:gd name="connsiteY1" fmla="*/ 0 h 1475838"/>
              <a:gd name="connsiteX2" fmla="*/ 4384906 w 4384906"/>
              <a:gd name="connsiteY2" fmla="*/ 0 h 1475838"/>
              <a:gd name="connsiteX3" fmla="*/ 4384906 w 4384906"/>
              <a:gd name="connsiteY3" fmla="*/ 1475838 h 1475838"/>
              <a:gd name="connsiteX4" fmla="*/ 0 w 4384906"/>
              <a:gd name="connsiteY4" fmla="*/ 1475838 h 1475838"/>
              <a:gd name="connsiteX5" fmla="*/ 0 w 4384906"/>
              <a:gd name="connsiteY5" fmla="*/ 210711 h 1475838"/>
              <a:gd name="connsiteX6" fmla="*/ 459400 w 4384906"/>
              <a:gd name="connsiteY6" fmla="*/ 302151 h 1475838"/>
              <a:gd name="connsiteX0" fmla="*/ 367960 w 4384906"/>
              <a:gd name="connsiteY0" fmla="*/ 210711 h 1475838"/>
              <a:gd name="connsiteX1" fmla="*/ 367960 w 4384906"/>
              <a:gd name="connsiteY1" fmla="*/ 0 h 1475838"/>
              <a:gd name="connsiteX2" fmla="*/ 4384906 w 4384906"/>
              <a:gd name="connsiteY2" fmla="*/ 0 h 1475838"/>
              <a:gd name="connsiteX3" fmla="*/ 4384906 w 4384906"/>
              <a:gd name="connsiteY3" fmla="*/ 1475838 h 1475838"/>
              <a:gd name="connsiteX4" fmla="*/ 0 w 4384906"/>
              <a:gd name="connsiteY4" fmla="*/ 1475838 h 1475838"/>
              <a:gd name="connsiteX5" fmla="*/ 0 w 4384906"/>
              <a:gd name="connsiteY5" fmla="*/ 210711 h 1475838"/>
              <a:gd name="connsiteX0" fmla="*/ 367960 w 4384906"/>
              <a:gd name="connsiteY0" fmla="*/ 0 h 1475838"/>
              <a:gd name="connsiteX1" fmla="*/ 4384906 w 4384906"/>
              <a:gd name="connsiteY1" fmla="*/ 0 h 1475838"/>
              <a:gd name="connsiteX2" fmla="*/ 4384906 w 4384906"/>
              <a:gd name="connsiteY2" fmla="*/ 1475838 h 1475838"/>
              <a:gd name="connsiteX3" fmla="*/ 0 w 4384906"/>
              <a:gd name="connsiteY3" fmla="*/ 1475838 h 1475838"/>
              <a:gd name="connsiteX4" fmla="*/ 0 w 4384906"/>
              <a:gd name="connsiteY4" fmla="*/ 210711 h 1475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84906" h="1475838">
                <a:moveTo>
                  <a:pt x="367960" y="0"/>
                </a:moveTo>
                <a:lnTo>
                  <a:pt x="4384906" y="0"/>
                </a:lnTo>
                <a:lnTo>
                  <a:pt x="4384906" y="1475838"/>
                </a:lnTo>
                <a:lnTo>
                  <a:pt x="0" y="1475838"/>
                </a:lnTo>
                <a:lnTo>
                  <a:pt x="0" y="210711"/>
                </a:lnTo>
              </a:path>
            </a:pathLst>
          </a:custGeom>
          <a:solidFill>
            <a:srgbClr val="FFFFFF"/>
          </a:solidFill>
          <a:ln w="1270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00299" tIns="300299" rIns="300299" bIns="300299" anchor="t" anchorCtr="0">
            <a:noAutofit/>
          </a:bodyPr>
          <a:lstStyle/>
          <a:p>
            <a:pPr algn="l">
              <a:buClr>
                <a:srgbClr val="000000"/>
              </a:buClr>
              <a:defRPr/>
            </a:pPr>
            <a:r>
              <a:rPr lang="en-US" sz="1600" i="1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  <a:endParaRPr sz="1600" i="1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84" name="Shape0_20211213_182644">
            <a:extLst>
              <a:ext uri="{FF2B5EF4-FFF2-40B4-BE49-F238E27FC236}">
                <a16:creationId xmlns:a16="http://schemas.microsoft.com/office/drawing/2014/main" id="{AB118061-6C40-820F-4C47-951DDCE88D76}"/>
              </a:ext>
            </a:extLst>
          </p:cNvPr>
          <p:cNvSpPr>
            <a:spLocks noEditPoints="1"/>
          </p:cNvSpPr>
          <p:nvPr/>
        </p:nvSpPr>
        <p:spPr bwMode="auto">
          <a:xfrm flipH="1" flipV="1">
            <a:off x="630476" y="1484655"/>
            <a:ext cx="346228" cy="230183"/>
          </a:xfrm>
          <a:custGeom>
            <a:avLst/>
            <a:gdLst>
              <a:gd name="T0" fmla="*/ 319 w 1440"/>
              <a:gd name="T1" fmla="*/ 640 h 960"/>
              <a:gd name="T2" fmla="*/ 0 w 1440"/>
              <a:gd name="T3" fmla="*/ 320 h 960"/>
              <a:gd name="T4" fmla="*/ 320 w 1440"/>
              <a:gd name="T5" fmla="*/ 0 h 960"/>
              <a:gd name="T6" fmla="*/ 640 w 1440"/>
              <a:gd name="T7" fmla="*/ 320 h 960"/>
              <a:gd name="T8" fmla="*/ 0 w 1440"/>
              <a:gd name="T9" fmla="*/ 960 h 960"/>
              <a:gd name="T10" fmla="*/ 319 w 1440"/>
              <a:gd name="T11" fmla="*/ 640 h 960"/>
              <a:gd name="T12" fmla="*/ 800 w 1440"/>
              <a:gd name="T13" fmla="*/ 320 h 960"/>
              <a:gd name="T14" fmla="*/ 1120 w 1440"/>
              <a:gd name="T15" fmla="*/ 0 h 960"/>
              <a:gd name="T16" fmla="*/ 1440 w 1440"/>
              <a:gd name="T17" fmla="*/ 320 h 960"/>
              <a:gd name="T18" fmla="*/ 1440 w 1440"/>
              <a:gd name="T19" fmla="*/ 320 h 960"/>
              <a:gd name="T20" fmla="*/ 800 w 1440"/>
              <a:gd name="T21" fmla="*/ 960 h 960"/>
              <a:gd name="T22" fmla="*/ 1119 w 1440"/>
              <a:gd name="T23" fmla="*/ 640 h 960"/>
              <a:gd name="T24" fmla="*/ 800 w 1440"/>
              <a:gd name="T25" fmla="*/ 320 h 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440" h="960">
                <a:moveTo>
                  <a:pt x="319" y="640"/>
                </a:moveTo>
                <a:cubicBezTo>
                  <a:pt x="143" y="640"/>
                  <a:pt x="0" y="496"/>
                  <a:pt x="0" y="320"/>
                </a:cubicBezTo>
                <a:cubicBezTo>
                  <a:pt x="0" y="144"/>
                  <a:pt x="144" y="0"/>
                  <a:pt x="320" y="0"/>
                </a:cubicBezTo>
                <a:cubicBezTo>
                  <a:pt x="496" y="0"/>
                  <a:pt x="640" y="144"/>
                  <a:pt x="640" y="320"/>
                </a:cubicBezTo>
                <a:cubicBezTo>
                  <a:pt x="640" y="674"/>
                  <a:pt x="354" y="960"/>
                  <a:pt x="0" y="960"/>
                </a:cubicBezTo>
                <a:cubicBezTo>
                  <a:pt x="0" y="960"/>
                  <a:pt x="210" y="882"/>
                  <a:pt x="319" y="640"/>
                </a:cubicBezTo>
                <a:close/>
                <a:moveTo>
                  <a:pt x="800" y="320"/>
                </a:moveTo>
                <a:cubicBezTo>
                  <a:pt x="800" y="144"/>
                  <a:pt x="944" y="0"/>
                  <a:pt x="1120" y="0"/>
                </a:cubicBezTo>
                <a:cubicBezTo>
                  <a:pt x="1296" y="0"/>
                  <a:pt x="1440" y="144"/>
                  <a:pt x="1440" y="320"/>
                </a:cubicBezTo>
                <a:lnTo>
                  <a:pt x="1440" y="320"/>
                </a:lnTo>
                <a:cubicBezTo>
                  <a:pt x="1440" y="674"/>
                  <a:pt x="1154" y="960"/>
                  <a:pt x="800" y="960"/>
                </a:cubicBezTo>
                <a:cubicBezTo>
                  <a:pt x="800" y="960"/>
                  <a:pt x="1010" y="882"/>
                  <a:pt x="1119" y="640"/>
                </a:cubicBezTo>
                <a:cubicBezTo>
                  <a:pt x="943" y="640"/>
                  <a:pt x="800" y="496"/>
                  <a:pt x="800" y="320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50148" tIns="75075" rIns="150148" bIns="75075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IN" sz="2800"/>
          </a:p>
        </p:txBody>
      </p:sp>
      <p:sp>
        <p:nvSpPr>
          <p:cNvPr id="85" name="Shape1_20220517_165518">
            <a:extLst>
              <a:ext uri="{FF2B5EF4-FFF2-40B4-BE49-F238E27FC236}">
                <a16:creationId xmlns:a16="http://schemas.microsoft.com/office/drawing/2014/main" id="{41D92382-DAFF-08ED-6609-6575F9726A2B}"/>
              </a:ext>
            </a:extLst>
          </p:cNvPr>
          <p:cNvSpPr>
            <a:spLocks/>
          </p:cNvSpPr>
          <p:nvPr/>
        </p:nvSpPr>
        <p:spPr>
          <a:xfrm>
            <a:off x="6417445" y="1578058"/>
            <a:ext cx="5345767" cy="2013839"/>
          </a:xfrm>
          <a:custGeom>
            <a:avLst/>
            <a:gdLst>
              <a:gd name="connsiteX0" fmla="*/ 367960 w 4384906"/>
              <a:gd name="connsiteY0" fmla="*/ 0 h 1475838"/>
              <a:gd name="connsiteX1" fmla="*/ 4384906 w 4384906"/>
              <a:gd name="connsiteY1" fmla="*/ 0 h 1475838"/>
              <a:gd name="connsiteX2" fmla="*/ 4384906 w 4384906"/>
              <a:gd name="connsiteY2" fmla="*/ 1475838 h 1475838"/>
              <a:gd name="connsiteX3" fmla="*/ 0 w 4384906"/>
              <a:gd name="connsiteY3" fmla="*/ 1475838 h 1475838"/>
              <a:gd name="connsiteX4" fmla="*/ 0 w 4384906"/>
              <a:gd name="connsiteY4" fmla="*/ 210711 h 1475838"/>
              <a:gd name="connsiteX5" fmla="*/ 367960 w 4384906"/>
              <a:gd name="connsiteY5" fmla="*/ 210711 h 1475838"/>
              <a:gd name="connsiteX0" fmla="*/ 367960 w 4384906"/>
              <a:gd name="connsiteY0" fmla="*/ 210711 h 1475838"/>
              <a:gd name="connsiteX1" fmla="*/ 367960 w 4384906"/>
              <a:gd name="connsiteY1" fmla="*/ 0 h 1475838"/>
              <a:gd name="connsiteX2" fmla="*/ 4384906 w 4384906"/>
              <a:gd name="connsiteY2" fmla="*/ 0 h 1475838"/>
              <a:gd name="connsiteX3" fmla="*/ 4384906 w 4384906"/>
              <a:gd name="connsiteY3" fmla="*/ 1475838 h 1475838"/>
              <a:gd name="connsiteX4" fmla="*/ 0 w 4384906"/>
              <a:gd name="connsiteY4" fmla="*/ 1475838 h 1475838"/>
              <a:gd name="connsiteX5" fmla="*/ 0 w 4384906"/>
              <a:gd name="connsiteY5" fmla="*/ 210711 h 1475838"/>
              <a:gd name="connsiteX6" fmla="*/ 459400 w 4384906"/>
              <a:gd name="connsiteY6" fmla="*/ 302151 h 1475838"/>
              <a:gd name="connsiteX0" fmla="*/ 367960 w 4384906"/>
              <a:gd name="connsiteY0" fmla="*/ 210711 h 1475838"/>
              <a:gd name="connsiteX1" fmla="*/ 367960 w 4384906"/>
              <a:gd name="connsiteY1" fmla="*/ 0 h 1475838"/>
              <a:gd name="connsiteX2" fmla="*/ 4384906 w 4384906"/>
              <a:gd name="connsiteY2" fmla="*/ 0 h 1475838"/>
              <a:gd name="connsiteX3" fmla="*/ 4384906 w 4384906"/>
              <a:gd name="connsiteY3" fmla="*/ 1475838 h 1475838"/>
              <a:gd name="connsiteX4" fmla="*/ 0 w 4384906"/>
              <a:gd name="connsiteY4" fmla="*/ 1475838 h 1475838"/>
              <a:gd name="connsiteX5" fmla="*/ 0 w 4384906"/>
              <a:gd name="connsiteY5" fmla="*/ 210711 h 1475838"/>
              <a:gd name="connsiteX0" fmla="*/ 367960 w 4384906"/>
              <a:gd name="connsiteY0" fmla="*/ 0 h 1475838"/>
              <a:gd name="connsiteX1" fmla="*/ 4384906 w 4384906"/>
              <a:gd name="connsiteY1" fmla="*/ 0 h 1475838"/>
              <a:gd name="connsiteX2" fmla="*/ 4384906 w 4384906"/>
              <a:gd name="connsiteY2" fmla="*/ 1475838 h 1475838"/>
              <a:gd name="connsiteX3" fmla="*/ 0 w 4384906"/>
              <a:gd name="connsiteY3" fmla="*/ 1475838 h 1475838"/>
              <a:gd name="connsiteX4" fmla="*/ 0 w 4384906"/>
              <a:gd name="connsiteY4" fmla="*/ 210711 h 1475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84906" h="1475838">
                <a:moveTo>
                  <a:pt x="367960" y="0"/>
                </a:moveTo>
                <a:lnTo>
                  <a:pt x="4384906" y="0"/>
                </a:lnTo>
                <a:lnTo>
                  <a:pt x="4384906" y="1475838"/>
                </a:lnTo>
                <a:lnTo>
                  <a:pt x="0" y="1475838"/>
                </a:lnTo>
                <a:lnTo>
                  <a:pt x="0" y="210711"/>
                </a:lnTo>
              </a:path>
            </a:pathLst>
          </a:custGeom>
          <a:solidFill>
            <a:srgbClr val="FFFFFF"/>
          </a:solidFill>
          <a:ln w="1270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00299" tIns="300299" rIns="300299" bIns="300299" anchor="t" anchorCtr="0">
            <a:noAutofit/>
          </a:bodyPr>
          <a:lstStyle/>
          <a:p>
            <a:pPr algn="l">
              <a:buClr>
                <a:srgbClr val="000000"/>
              </a:buClr>
              <a:defRPr/>
            </a:pPr>
            <a:r>
              <a:rPr lang="en-US" sz="1600" i="1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  <a:endParaRPr sz="1600" i="1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86" name="Shape1_20211213_182644">
            <a:extLst>
              <a:ext uri="{FF2B5EF4-FFF2-40B4-BE49-F238E27FC236}">
                <a16:creationId xmlns:a16="http://schemas.microsoft.com/office/drawing/2014/main" id="{6494BF61-75D6-4DEA-2534-9707646DF383}"/>
              </a:ext>
            </a:extLst>
          </p:cNvPr>
          <p:cNvSpPr>
            <a:spLocks noEditPoints="1"/>
          </p:cNvSpPr>
          <p:nvPr/>
        </p:nvSpPr>
        <p:spPr bwMode="auto">
          <a:xfrm flipH="1" flipV="1">
            <a:off x="6348278" y="1484655"/>
            <a:ext cx="346228" cy="230183"/>
          </a:xfrm>
          <a:custGeom>
            <a:avLst/>
            <a:gdLst>
              <a:gd name="T0" fmla="*/ 319 w 1440"/>
              <a:gd name="T1" fmla="*/ 640 h 960"/>
              <a:gd name="T2" fmla="*/ 0 w 1440"/>
              <a:gd name="T3" fmla="*/ 320 h 960"/>
              <a:gd name="T4" fmla="*/ 320 w 1440"/>
              <a:gd name="T5" fmla="*/ 0 h 960"/>
              <a:gd name="T6" fmla="*/ 640 w 1440"/>
              <a:gd name="T7" fmla="*/ 320 h 960"/>
              <a:gd name="T8" fmla="*/ 0 w 1440"/>
              <a:gd name="T9" fmla="*/ 960 h 960"/>
              <a:gd name="T10" fmla="*/ 319 w 1440"/>
              <a:gd name="T11" fmla="*/ 640 h 960"/>
              <a:gd name="T12" fmla="*/ 800 w 1440"/>
              <a:gd name="T13" fmla="*/ 320 h 960"/>
              <a:gd name="T14" fmla="*/ 1120 w 1440"/>
              <a:gd name="T15" fmla="*/ 0 h 960"/>
              <a:gd name="T16" fmla="*/ 1440 w 1440"/>
              <a:gd name="T17" fmla="*/ 320 h 960"/>
              <a:gd name="T18" fmla="*/ 1440 w 1440"/>
              <a:gd name="T19" fmla="*/ 320 h 960"/>
              <a:gd name="T20" fmla="*/ 800 w 1440"/>
              <a:gd name="T21" fmla="*/ 960 h 960"/>
              <a:gd name="T22" fmla="*/ 1119 w 1440"/>
              <a:gd name="T23" fmla="*/ 640 h 960"/>
              <a:gd name="T24" fmla="*/ 800 w 1440"/>
              <a:gd name="T25" fmla="*/ 320 h 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440" h="960">
                <a:moveTo>
                  <a:pt x="319" y="640"/>
                </a:moveTo>
                <a:cubicBezTo>
                  <a:pt x="143" y="640"/>
                  <a:pt x="0" y="496"/>
                  <a:pt x="0" y="320"/>
                </a:cubicBezTo>
                <a:cubicBezTo>
                  <a:pt x="0" y="144"/>
                  <a:pt x="144" y="0"/>
                  <a:pt x="320" y="0"/>
                </a:cubicBezTo>
                <a:cubicBezTo>
                  <a:pt x="496" y="0"/>
                  <a:pt x="640" y="144"/>
                  <a:pt x="640" y="320"/>
                </a:cubicBezTo>
                <a:cubicBezTo>
                  <a:pt x="640" y="674"/>
                  <a:pt x="354" y="960"/>
                  <a:pt x="0" y="960"/>
                </a:cubicBezTo>
                <a:cubicBezTo>
                  <a:pt x="0" y="960"/>
                  <a:pt x="210" y="882"/>
                  <a:pt x="319" y="640"/>
                </a:cubicBezTo>
                <a:close/>
                <a:moveTo>
                  <a:pt x="800" y="320"/>
                </a:moveTo>
                <a:cubicBezTo>
                  <a:pt x="800" y="144"/>
                  <a:pt x="944" y="0"/>
                  <a:pt x="1120" y="0"/>
                </a:cubicBezTo>
                <a:cubicBezTo>
                  <a:pt x="1296" y="0"/>
                  <a:pt x="1440" y="144"/>
                  <a:pt x="1440" y="320"/>
                </a:cubicBezTo>
                <a:lnTo>
                  <a:pt x="1440" y="320"/>
                </a:lnTo>
                <a:cubicBezTo>
                  <a:pt x="1440" y="674"/>
                  <a:pt x="1154" y="960"/>
                  <a:pt x="800" y="960"/>
                </a:cubicBezTo>
                <a:cubicBezTo>
                  <a:pt x="800" y="960"/>
                  <a:pt x="1010" y="882"/>
                  <a:pt x="1119" y="640"/>
                </a:cubicBezTo>
                <a:cubicBezTo>
                  <a:pt x="943" y="640"/>
                  <a:pt x="800" y="496"/>
                  <a:pt x="800" y="320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50148" tIns="75075" rIns="150148" bIns="75075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IN" sz="2800"/>
          </a:p>
        </p:txBody>
      </p:sp>
      <p:sp>
        <p:nvSpPr>
          <p:cNvPr id="87" name="Shape2_20220517_165518">
            <a:extLst>
              <a:ext uri="{FF2B5EF4-FFF2-40B4-BE49-F238E27FC236}">
                <a16:creationId xmlns:a16="http://schemas.microsoft.com/office/drawing/2014/main" id="{E4A3EDF5-2434-7DB0-9EFA-A238563946C4}"/>
              </a:ext>
            </a:extLst>
          </p:cNvPr>
          <p:cNvSpPr>
            <a:spLocks/>
          </p:cNvSpPr>
          <p:nvPr/>
        </p:nvSpPr>
        <p:spPr>
          <a:xfrm>
            <a:off x="699644" y="3867507"/>
            <a:ext cx="5345767" cy="2013839"/>
          </a:xfrm>
          <a:custGeom>
            <a:avLst/>
            <a:gdLst>
              <a:gd name="connsiteX0" fmla="*/ 367960 w 4384906"/>
              <a:gd name="connsiteY0" fmla="*/ 0 h 1475838"/>
              <a:gd name="connsiteX1" fmla="*/ 4384906 w 4384906"/>
              <a:gd name="connsiteY1" fmla="*/ 0 h 1475838"/>
              <a:gd name="connsiteX2" fmla="*/ 4384906 w 4384906"/>
              <a:gd name="connsiteY2" fmla="*/ 1475838 h 1475838"/>
              <a:gd name="connsiteX3" fmla="*/ 0 w 4384906"/>
              <a:gd name="connsiteY3" fmla="*/ 1475838 h 1475838"/>
              <a:gd name="connsiteX4" fmla="*/ 0 w 4384906"/>
              <a:gd name="connsiteY4" fmla="*/ 210711 h 1475838"/>
              <a:gd name="connsiteX5" fmla="*/ 367960 w 4384906"/>
              <a:gd name="connsiteY5" fmla="*/ 210711 h 1475838"/>
              <a:gd name="connsiteX0" fmla="*/ 367960 w 4384906"/>
              <a:gd name="connsiteY0" fmla="*/ 210711 h 1475838"/>
              <a:gd name="connsiteX1" fmla="*/ 367960 w 4384906"/>
              <a:gd name="connsiteY1" fmla="*/ 0 h 1475838"/>
              <a:gd name="connsiteX2" fmla="*/ 4384906 w 4384906"/>
              <a:gd name="connsiteY2" fmla="*/ 0 h 1475838"/>
              <a:gd name="connsiteX3" fmla="*/ 4384906 w 4384906"/>
              <a:gd name="connsiteY3" fmla="*/ 1475838 h 1475838"/>
              <a:gd name="connsiteX4" fmla="*/ 0 w 4384906"/>
              <a:gd name="connsiteY4" fmla="*/ 1475838 h 1475838"/>
              <a:gd name="connsiteX5" fmla="*/ 0 w 4384906"/>
              <a:gd name="connsiteY5" fmla="*/ 210711 h 1475838"/>
              <a:gd name="connsiteX6" fmla="*/ 459400 w 4384906"/>
              <a:gd name="connsiteY6" fmla="*/ 302151 h 1475838"/>
              <a:gd name="connsiteX0" fmla="*/ 367960 w 4384906"/>
              <a:gd name="connsiteY0" fmla="*/ 210711 h 1475838"/>
              <a:gd name="connsiteX1" fmla="*/ 367960 w 4384906"/>
              <a:gd name="connsiteY1" fmla="*/ 0 h 1475838"/>
              <a:gd name="connsiteX2" fmla="*/ 4384906 w 4384906"/>
              <a:gd name="connsiteY2" fmla="*/ 0 h 1475838"/>
              <a:gd name="connsiteX3" fmla="*/ 4384906 w 4384906"/>
              <a:gd name="connsiteY3" fmla="*/ 1475838 h 1475838"/>
              <a:gd name="connsiteX4" fmla="*/ 0 w 4384906"/>
              <a:gd name="connsiteY4" fmla="*/ 1475838 h 1475838"/>
              <a:gd name="connsiteX5" fmla="*/ 0 w 4384906"/>
              <a:gd name="connsiteY5" fmla="*/ 210711 h 1475838"/>
              <a:gd name="connsiteX0" fmla="*/ 367960 w 4384906"/>
              <a:gd name="connsiteY0" fmla="*/ 0 h 1475838"/>
              <a:gd name="connsiteX1" fmla="*/ 4384906 w 4384906"/>
              <a:gd name="connsiteY1" fmla="*/ 0 h 1475838"/>
              <a:gd name="connsiteX2" fmla="*/ 4384906 w 4384906"/>
              <a:gd name="connsiteY2" fmla="*/ 1475838 h 1475838"/>
              <a:gd name="connsiteX3" fmla="*/ 0 w 4384906"/>
              <a:gd name="connsiteY3" fmla="*/ 1475838 h 1475838"/>
              <a:gd name="connsiteX4" fmla="*/ 0 w 4384906"/>
              <a:gd name="connsiteY4" fmla="*/ 210711 h 1475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84906" h="1475838">
                <a:moveTo>
                  <a:pt x="367960" y="0"/>
                </a:moveTo>
                <a:lnTo>
                  <a:pt x="4384906" y="0"/>
                </a:lnTo>
                <a:lnTo>
                  <a:pt x="4384906" y="1475838"/>
                </a:lnTo>
                <a:lnTo>
                  <a:pt x="0" y="1475838"/>
                </a:lnTo>
                <a:lnTo>
                  <a:pt x="0" y="210711"/>
                </a:lnTo>
              </a:path>
            </a:pathLst>
          </a:custGeom>
          <a:solidFill>
            <a:srgbClr val="FFFFFF"/>
          </a:solidFill>
          <a:ln w="1270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00299" tIns="300299" rIns="300299" bIns="300299" anchor="t" anchorCtr="0">
            <a:noAutofit/>
          </a:bodyPr>
          <a:lstStyle/>
          <a:p>
            <a:pPr algn="l">
              <a:buClr>
                <a:srgbClr val="000000"/>
              </a:buClr>
              <a:defRPr/>
            </a:pPr>
            <a:r>
              <a:rPr lang="en-US" sz="1600" i="1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  <a:endParaRPr sz="1600" i="1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88" name="Shape2_20211213_182644">
            <a:extLst>
              <a:ext uri="{FF2B5EF4-FFF2-40B4-BE49-F238E27FC236}">
                <a16:creationId xmlns:a16="http://schemas.microsoft.com/office/drawing/2014/main" id="{21CE58BD-9394-AF2A-E9F9-797638599D6D}"/>
              </a:ext>
            </a:extLst>
          </p:cNvPr>
          <p:cNvSpPr>
            <a:spLocks noEditPoints="1"/>
          </p:cNvSpPr>
          <p:nvPr/>
        </p:nvSpPr>
        <p:spPr bwMode="auto">
          <a:xfrm flipH="1" flipV="1">
            <a:off x="630476" y="3774104"/>
            <a:ext cx="346228" cy="230183"/>
          </a:xfrm>
          <a:custGeom>
            <a:avLst/>
            <a:gdLst>
              <a:gd name="T0" fmla="*/ 319 w 1440"/>
              <a:gd name="T1" fmla="*/ 640 h 960"/>
              <a:gd name="T2" fmla="*/ 0 w 1440"/>
              <a:gd name="T3" fmla="*/ 320 h 960"/>
              <a:gd name="T4" fmla="*/ 320 w 1440"/>
              <a:gd name="T5" fmla="*/ 0 h 960"/>
              <a:gd name="T6" fmla="*/ 640 w 1440"/>
              <a:gd name="T7" fmla="*/ 320 h 960"/>
              <a:gd name="T8" fmla="*/ 0 w 1440"/>
              <a:gd name="T9" fmla="*/ 960 h 960"/>
              <a:gd name="T10" fmla="*/ 319 w 1440"/>
              <a:gd name="T11" fmla="*/ 640 h 960"/>
              <a:gd name="T12" fmla="*/ 800 w 1440"/>
              <a:gd name="T13" fmla="*/ 320 h 960"/>
              <a:gd name="T14" fmla="*/ 1120 w 1440"/>
              <a:gd name="T15" fmla="*/ 0 h 960"/>
              <a:gd name="T16" fmla="*/ 1440 w 1440"/>
              <a:gd name="T17" fmla="*/ 320 h 960"/>
              <a:gd name="T18" fmla="*/ 1440 w 1440"/>
              <a:gd name="T19" fmla="*/ 320 h 960"/>
              <a:gd name="T20" fmla="*/ 800 w 1440"/>
              <a:gd name="T21" fmla="*/ 960 h 960"/>
              <a:gd name="T22" fmla="*/ 1119 w 1440"/>
              <a:gd name="T23" fmla="*/ 640 h 960"/>
              <a:gd name="T24" fmla="*/ 800 w 1440"/>
              <a:gd name="T25" fmla="*/ 320 h 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440" h="960">
                <a:moveTo>
                  <a:pt x="319" y="640"/>
                </a:moveTo>
                <a:cubicBezTo>
                  <a:pt x="143" y="640"/>
                  <a:pt x="0" y="496"/>
                  <a:pt x="0" y="320"/>
                </a:cubicBezTo>
                <a:cubicBezTo>
                  <a:pt x="0" y="144"/>
                  <a:pt x="144" y="0"/>
                  <a:pt x="320" y="0"/>
                </a:cubicBezTo>
                <a:cubicBezTo>
                  <a:pt x="496" y="0"/>
                  <a:pt x="640" y="144"/>
                  <a:pt x="640" y="320"/>
                </a:cubicBezTo>
                <a:cubicBezTo>
                  <a:pt x="640" y="674"/>
                  <a:pt x="354" y="960"/>
                  <a:pt x="0" y="960"/>
                </a:cubicBezTo>
                <a:cubicBezTo>
                  <a:pt x="0" y="960"/>
                  <a:pt x="210" y="882"/>
                  <a:pt x="319" y="640"/>
                </a:cubicBezTo>
                <a:close/>
                <a:moveTo>
                  <a:pt x="800" y="320"/>
                </a:moveTo>
                <a:cubicBezTo>
                  <a:pt x="800" y="144"/>
                  <a:pt x="944" y="0"/>
                  <a:pt x="1120" y="0"/>
                </a:cubicBezTo>
                <a:cubicBezTo>
                  <a:pt x="1296" y="0"/>
                  <a:pt x="1440" y="144"/>
                  <a:pt x="1440" y="320"/>
                </a:cubicBezTo>
                <a:lnTo>
                  <a:pt x="1440" y="320"/>
                </a:lnTo>
                <a:cubicBezTo>
                  <a:pt x="1440" y="674"/>
                  <a:pt x="1154" y="960"/>
                  <a:pt x="800" y="960"/>
                </a:cubicBezTo>
                <a:cubicBezTo>
                  <a:pt x="800" y="960"/>
                  <a:pt x="1010" y="882"/>
                  <a:pt x="1119" y="640"/>
                </a:cubicBezTo>
                <a:cubicBezTo>
                  <a:pt x="943" y="640"/>
                  <a:pt x="800" y="496"/>
                  <a:pt x="800" y="320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50148" tIns="75075" rIns="150148" bIns="75075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IN" sz="2800"/>
          </a:p>
        </p:txBody>
      </p:sp>
      <p:sp>
        <p:nvSpPr>
          <p:cNvPr id="89" name="Shape3_20220517_165518">
            <a:extLst>
              <a:ext uri="{FF2B5EF4-FFF2-40B4-BE49-F238E27FC236}">
                <a16:creationId xmlns:a16="http://schemas.microsoft.com/office/drawing/2014/main" id="{85DE75F3-DD88-62E3-3E4A-6C393EBB5AC7}"/>
              </a:ext>
            </a:extLst>
          </p:cNvPr>
          <p:cNvSpPr>
            <a:spLocks/>
          </p:cNvSpPr>
          <p:nvPr/>
        </p:nvSpPr>
        <p:spPr>
          <a:xfrm>
            <a:off x="6417445" y="3867507"/>
            <a:ext cx="5345767" cy="2013839"/>
          </a:xfrm>
          <a:custGeom>
            <a:avLst/>
            <a:gdLst>
              <a:gd name="connsiteX0" fmla="*/ 367960 w 4384906"/>
              <a:gd name="connsiteY0" fmla="*/ 0 h 1475838"/>
              <a:gd name="connsiteX1" fmla="*/ 4384906 w 4384906"/>
              <a:gd name="connsiteY1" fmla="*/ 0 h 1475838"/>
              <a:gd name="connsiteX2" fmla="*/ 4384906 w 4384906"/>
              <a:gd name="connsiteY2" fmla="*/ 1475838 h 1475838"/>
              <a:gd name="connsiteX3" fmla="*/ 0 w 4384906"/>
              <a:gd name="connsiteY3" fmla="*/ 1475838 h 1475838"/>
              <a:gd name="connsiteX4" fmla="*/ 0 w 4384906"/>
              <a:gd name="connsiteY4" fmla="*/ 210711 h 1475838"/>
              <a:gd name="connsiteX5" fmla="*/ 367960 w 4384906"/>
              <a:gd name="connsiteY5" fmla="*/ 210711 h 1475838"/>
              <a:gd name="connsiteX0" fmla="*/ 367960 w 4384906"/>
              <a:gd name="connsiteY0" fmla="*/ 210711 h 1475838"/>
              <a:gd name="connsiteX1" fmla="*/ 367960 w 4384906"/>
              <a:gd name="connsiteY1" fmla="*/ 0 h 1475838"/>
              <a:gd name="connsiteX2" fmla="*/ 4384906 w 4384906"/>
              <a:gd name="connsiteY2" fmla="*/ 0 h 1475838"/>
              <a:gd name="connsiteX3" fmla="*/ 4384906 w 4384906"/>
              <a:gd name="connsiteY3" fmla="*/ 1475838 h 1475838"/>
              <a:gd name="connsiteX4" fmla="*/ 0 w 4384906"/>
              <a:gd name="connsiteY4" fmla="*/ 1475838 h 1475838"/>
              <a:gd name="connsiteX5" fmla="*/ 0 w 4384906"/>
              <a:gd name="connsiteY5" fmla="*/ 210711 h 1475838"/>
              <a:gd name="connsiteX6" fmla="*/ 459400 w 4384906"/>
              <a:gd name="connsiteY6" fmla="*/ 302151 h 1475838"/>
              <a:gd name="connsiteX0" fmla="*/ 367960 w 4384906"/>
              <a:gd name="connsiteY0" fmla="*/ 210711 h 1475838"/>
              <a:gd name="connsiteX1" fmla="*/ 367960 w 4384906"/>
              <a:gd name="connsiteY1" fmla="*/ 0 h 1475838"/>
              <a:gd name="connsiteX2" fmla="*/ 4384906 w 4384906"/>
              <a:gd name="connsiteY2" fmla="*/ 0 h 1475838"/>
              <a:gd name="connsiteX3" fmla="*/ 4384906 w 4384906"/>
              <a:gd name="connsiteY3" fmla="*/ 1475838 h 1475838"/>
              <a:gd name="connsiteX4" fmla="*/ 0 w 4384906"/>
              <a:gd name="connsiteY4" fmla="*/ 1475838 h 1475838"/>
              <a:gd name="connsiteX5" fmla="*/ 0 w 4384906"/>
              <a:gd name="connsiteY5" fmla="*/ 210711 h 1475838"/>
              <a:gd name="connsiteX0" fmla="*/ 367960 w 4384906"/>
              <a:gd name="connsiteY0" fmla="*/ 0 h 1475838"/>
              <a:gd name="connsiteX1" fmla="*/ 4384906 w 4384906"/>
              <a:gd name="connsiteY1" fmla="*/ 0 h 1475838"/>
              <a:gd name="connsiteX2" fmla="*/ 4384906 w 4384906"/>
              <a:gd name="connsiteY2" fmla="*/ 1475838 h 1475838"/>
              <a:gd name="connsiteX3" fmla="*/ 0 w 4384906"/>
              <a:gd name="connsiteY3" fmla="*/ 1475838 h 1475838"/>
              <a:gd name="connsiteX4" fmla="*/ 0 w 4384906"/>
              <a:gd name="connsiteY4" fmla="*/ 210711 h 1475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84906" h="1475838">
                <a:moveTo>
                  <a:pt x="367960" y="0"/>
                </a:moveTo>
                <a:lnTo>
                  <a:pt x="4384906" y="0"/>
                </a:lnTo>
                <a:lnTo>
                  <a:pt x="4384906" y="1475838"/>
                </a:lnTo>
                <a:lnTo>
                  <a:pt x="0" y="1475838"/>
                </a:lnTo>
                <a:lnTo>
                  <a:pt x="0" y="210711"/>
                </a:lnTo>
              </a:path>
            </a:pathLst>
          </a:custGeom>
          <a:solidFill>
            <a:srgbClr val="FFFFFF"/>
          </a:solidFill>
          <a:ln w="1270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00299" tIns="300299" rIns="300299" bIns="300299" anchor="t" anchorCtr="0">
            <a:noAutofit/>
          </a:bodyPr>
          <a:lstStyle/>
          <a:p>
            <a:pPr algn="l">
              <a:buClr>
                <a:srgbClr val="000000"/>
              </a:buClr>
              <a:defRPr/>
            </a:pPr>
            <a:r>
              <a:rPr lang="en-US" sz="1600" i="1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  <a:endParaRPr sz="1600" i="1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90" name="Shape3_20211213_182644">
            <a:extLst>
              <a:ext uri="{FF2B5EF4-FFF2-40B4-BE49-F238E27FC236}">
                <a16:creationId xmlns:a16="http://schemas.microsoft.com/office/drawing/2014/main" id="{C4783247-A452-F42D-3252-A87BAB66F089}"/>
              </a:ext>
            </a:extLst>
          </p:cNvPr>
          <p:cNvSpPr>
            <a:spLocks noEditPoints="1"/>
          </p:cNvSpPr>
          <p:nvPr/>
        </p:nvSpPr>
        <p:spPr bwMode="auto">
          <a:xfrm flipH="1" flipV="1">
            <a:off x="6348278" y="3774104"/>
            <a:ext cx="346228" cy="230183"/>
          </a:xfrm>
          <a:custGeom>
            <a:avLst/>
            <a:gdLst>
              <a:gd name="T0" fmla="*/ 319 w 1440"/>
              <a:gd name="T1" fmla="*/ 640 h 960"/>
              <a:gd name="T2" fmla="*/ 0 w 1440"/>
              <a:gd name="T3" fmla="*/ 320 h 960"/>
              <a:gd name="T4" fmla="*/ 320 w 1440"/>
              <a:gd name="T5" fmla="*/ 0 h 960"/>
              <a:gd name="T6" fmla="*/ 640 w 1440"/>
              <a:gd name="T7" fmla="*/ 320 h 960"/>
              <a:gd name="T8" fmla="*/ 0 w 1440"/>
              <a:gd name="T9" fmla="*/ 960 h 960"/>
              <a:gd name="T10" fmla="*/ 319 w 1440"/>
              <a:gd name="T11" fmla="*/ 640 h 960"/>
              <a:gd name="T12" fmla="*/ 800 w 1440"/>
              <a:gd name="T13" fmla="*/ 320 h 960"/>
              <a:gd name="T14" fmla="*/ 1120 w 1440"/>
              <a:gd name="T15" fmla="*/ 0 h 960"/>
              <a:gd name="T16" fmla="*/ 1440 w 1440"/>
              <a:gd name="T17" fmla="*/ 320 h 960"/>
              <a:gd name="T18" fmla="*/ 1440 w 1440"/>
              <a:gd name="T19" fmla="*/ 320 h 960"/>
              <a:gd name="T20" fmla="*/ 800 w 1440"/>
              <a:gd name="T21" fmla="*/ 960 h 960"/>
              <a:gd name="T22" fmla="*/ 1119 w 1440"/>
              <a:gd name="T23" fmla="*/ 640 h 960"/>
              <a:gd name="T24" fmla="*/ 800 w 1440"/>
              <a:gd name="T25" fmla="*/ 320 h 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440" h="960">
                <a:moveTo>
                  <a:pt x="319" y="640"/>
                </a:moveTo>
                <a:cubicBezTo>
                  <a:pt x="143" y="640"/>
                  <a:pt x="0" y="496"/>
                  <a:pt x="0" y="320"/>
                </a:cubicBezTo>
                <a:cubicBezTo>
                  <a:pt x="0" y="144"/>
                  <a:pt x="144" y="0"/>
                  <a:pt x="320" y="0"/>
                </a:cubicBezTo>
                <a:cubicBezTo>
                  <a:pt x="496" y="0"/>
                  <a:pt x="640" y="144"/>
                  <a:pt x="640" y="320"/>
                </a:cubicBezTo>
                <a:cubicBezTo>
                  <a:pt x="640" y="674"/>
                  <a:pt x="354" y="960"/>
                  <a:pt x="0" y="960"/>
                </a:cubicBezTo>
                <a:cubicBezTo>
                  <a:pt x="0" y="960"/>
                  <a:pt x="210" y="882"/>
                  <a:pt x="319" y="640"/>
                </a:cubicBezTo>
                <a:close/>
                <a:moveTo>
                  <a:pt x="800" y="320"/>
                </a:moveTo>
                <a:cubicBezTo>
                  <a:pt x="800" y="144"/>
                  <a:pt x="944" y="0"/>
                  <a:pt x="1120" y="0"/>
                </a:cubicBezTo>
                <a:cubicBezTo>
                  <a:pt x="1296" y="0"/>
                  <a:pt x="1440" y="144"/>
                  <a:pt x="1440" y="320"/>
                </a:cubicBezTo>
                <a:lnTo>
                  <a:pt x="1440" y="320"/>
                </a:lnTo>
                <a:cubicBezTo>
                  <a:pt x="1440" y="674"/>
                  <a:pt x="1154" y="960"/>
                  <a:pt x="800" y="960"/>
                </a:cubicBezTo>
                <a:cubicBezTo>
                  <a:pt x="800" y="960"/>
                  <a:pt x="1010" y="882"/>
                  <a:pt x="1119" y="640"/>
                </a:cubicBezTo>
                <a:cubicBezTo>
                  <a:pt x="943" y="640"/>
                  <a:pt x="800" y="496"/>
                  <a:pt x="800" y="320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50148" tIns="75075" rIns="150148" bIns="75075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IN" sz="2800"/>
          </a:p>
        </p:txBody>
      </p:sp>
    </p:spTree>
    <p:extLst>
      <p:ext uri="{BB962C8B-B14F-4D97-AF65-F5344CB8AC3E}">
        <p14:creationId xmlns:p14="http://schemas.microsoft.com/office/powerpoint/2010/main" val="3211685571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B5EC32-A69B-D8AD-F701-DE76173FDA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FD9B499A-C5FC-005F-9C03-98B514097C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F0C351A-203E-DE33-7761-F64799E639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F3F80C0-C71F-7711-111C-BA7AD7AF7C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Quotes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F0CC6BFA-E76C-6BB5-885C-A6F6FD9773AF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57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75" name="Content Placeholder 2">
            <a:extLst>
              <a:ext uri="{FF2B5EF4-FFF2-40B4-BE49-F238E27FC236}">
                <a16:creationId xmlns:a16="http://schemas.microsoft.com/office/drawing/2014/main" id="{153ABE4B-B34D-C472-463D-2267BBE009F6}"/>
              </a:ext>
            </a:extLst>
          </p:cNvPr>
          <p:cNvSpPr txBox="1">
            <a:spLocks/>
          </p:cNvSpPr>
          <p:nvPr/>
        </p:nvSpPr>
        <p:spPr>
          <a:xfrm>
            <a:off x="1079385" y="3870966"/>
            <a:ext cx="9749275" cy="419895"/>
          </a:xfrm>
          <a:prstGeom prst="rect">
            <a:avLst/>
          </a:prstGeom>
        </p:spPr>
        <p:txBody>
          <a:bodyPr vert="horz" lIns="150148" tIns="75075" rIns="150148" bIns="75075" rtlCol="0" anchor="ctr" anchorCtr="0">
            <a:sp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20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  <a:lvl6pPr marL="2506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marL="0" indent="0" algn="ctr">
              <a:lnSpc>
                <a:spcPct val="120000"/>
              </a:lnSpc>
              <a:spcBef>
                <a:spcPts val="0"/>
              </a:spcBef>
              <a:buClr>
                <a:srgbClr val="1E5155">
                  <a:lumMod val="40000"/>
                  <a:lumOff val="60000"/>
                </a:srgbClr>
              </a:buClr>
              <a:buNone/>
              <a:defRPr/>
            </a:pPr>
            <a:r>
              <a:rPr lang="en-US" sz="1600" dirty="0">
                <a:latin typeface="+mn-lt"/>
              </a:rPr>
              <a:t>Insert Text Here</a:t>
            </a:r>
          </a:p>
        </p:txBody>
      </p:sp>
      <p:sp>
        <p:nvSpPr>
          <p:cNvPr id="76" name="Freeform: Shape 75">
            <a:extLst>
              <a:ext uri="{FF2B5EF4-FFF2-40B4-BE49-F238E27FC236}">
                <a16:creationId xmlns:a16="http://schemas.microsoft.com/office/drawing/2014/main" id="{02F0ED4B-9B5D-7A83-D941-C76CFA63571F}"/>
              </a:ext>
            </a:extLst>
          </p:cNvPr>
          <p:cNvSpPr/>
          <p:nvPr/>
        </p:nvSpPr>
        <p:spPr>
          <a:xfrm>
            <a:off x="642892" y="2568111"/>
            <a:ext cx="10924404" cy="3025376"/>
          </a:xfrm>
          <a:custGeom>
            <a:avLst/>
            <a:gdLst>
              <a:gd name="connsiteX0" fmla="*/ 323438 w 10749280"/>
              <a:gd name="connsiteY0" fmla="*/ 0 h 2976880"/>
              <a:gd name="connsiteX1" fmla="*/ 352452 w 10749280"/>
              <a:gd name="connsiteY1" fmla="*/ 0 h 2976880"/>
              <a:gd name="connsiteX2" fmla="*/ 352452 w 10749280"/>
              <a:gd name="connsiteY2" fmla="*/ 138789 h 2976880"/>
              <a:gd name="connsiteX3" fmla="*/ 420853 w 10749280"/>
              <a:gd name="connsiteY3" fmla="*/ 207190 h 2976880"/>
              <a:gd name="connsiteX4" fmla="*/ 875209 w 10749280"/>
              <a:gd name="connsiteY4" fmla="*/ 207190 h 2976880"/>
              <a:gd name="connsiteX5" fmla="*/ 943610 w 10749280"/>
              <a:gd name="connsiteY5" fmla="*/ 138789 h 2976880"/>
              <a:gd name="connsiteX6" fmla="*/ 943610 w 10749280"/>
              <a:gd name="connsiteY6" fmla="*/ 0 h 2976880"/>
              <a:gd name="connsiteX7" fmla="*/ 10425842 w 10749280"/>
              <a:gd name="connsiteY7" fmla="*/ 0 h 2976880"/>
              <a:gd name="connsiteX8" fmla="*/ 10749280 w 10749280"/>
              <a:gd name="connsiteY8" fmla="*/ 323438 h 2976880"/>
              <a:gd name="connsiteX9" fmla="*/ 10749280 w 10749280"/>
              <a:gd name="connsiteY9" fmla="*/ 2653442 h 2976880"/>
              <a:gd name="connsiteX10" fmla="*/ 10425842 w 10749280"/>
              <a:gd name="connsiteY10" fmla="*/ 2976880 h 2976880"/>
              <a:gd name="connsiteX11" fmla="*/ 10397159 w 10749280"/>
              <a:gd name="connsiteY11" fmla="*/ 2976880 h 2976880"/>
              <a:gd name="connsiteX12" fmla="*/ 10397159 w 10749280"/>
              <a:gd name="connsiteY12" fmla="*/ 2834578 h 2976880"/>
              <a:gd name="connsiteX13" fmla="*/ 10328758 w 10749280"/>
              <a:gd name="connsiteY13" fmla="*/ 2766177 h 2976880"/>
              <a:gd name="connsiteX14" fmla="*/ 9874402 w 10749280"/>
              <a:gd name="connsiteY14" fmla="*/ 2766177 h 2976880"/>
              <a:gd name="connsiteX15" fmla="*/ 9806001 w 10749280"/>
              <a:gd name="connsiteY15" fmla="*/ 2834578 h 2976880"/>
              <a:gd name="connsiteX16" fmla="*/ 9806001 w 10749280"/>
              <a:gd name="connsiteY16" fmla="*/ 2976880 h 2976880"/>
              <a:gd name="connsiteX17" fmla="*/ 323438 w 10749280"/>
              <a:gd name="connsiteY17" fmla="*/ 2976880 h 2976880"/>
              <a:gd name="connsiteX18" fmla="*/ 0 w 10749280"/>
              <a:gd name="connsiteY18" fmla="*/ 2653442 h 2976880"/>
              <a:gd name="connsiteX19" fmla="*/ 0 w 10749280"/>
              <a:gd name="connsiteY19" fmla="*/ 323438 h 2976880"/>
              <a:gd name="connsiteX20" fmla="*/ 323438 w 10749280"/>
              <a:gd name="connsiteY20" fmla="*/ 0 h 29768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0749280" h="2976880">
                <a:moveTo>
                  <a:pt x="323438" y="0"/>
                </a:moveTo>
                <a:lnTo>
                  <a:pt x="352452" y="0"/>
                </a:lnTo>
                <a:lnTo>
                  <a:pt x="352452" y="138789"/>
                </a:lnTo>
                <a:cubicBezTo>
                  <a:pt x="352452" y="176566"/>
                  <a:pt x="383076" y="207190"/>
                  <a:pt x="420853" y="207190"/>
                </a:cubicBezTo>
                <a:lnTo>
                  <a:pt x="875209" y="207190"/>
                </a:lnTo>
                <a:cubicBezTo>
                  <a:pt x="912986" y="207190"/>
                  <a:pt x="943610" y="176566"/>
                  <a:pt x="943610" y="138789"/>
                </a:cubicBezTo>
                <a:lnTo>
                  <a:pt x="943610" y="0"/>
                </a:lnTo>
                <a:lnTo>
                  <a:pt x="10425842" y="0"/>
                </a:lnTo>
                <a:cubicBezTo>
                  <a:pt x="10604472" y="0"/>
                  <a:pt x="10749280" y="144808"/>
                  <a:pt x="10749280" y="323438"/>
                </a:cubicBezTo>
                <a:lnTo>
                  <a:pt x="10749280" y="2653442"/>
                </a:lnTo>
                <a:cubicBezTo>
                  <a:pt x="10749280" y="2832072"/>
                  <a:pt x="10604472" y="2976880"/>
                  <a:pt x="10425842" y="2976880"/>
                </a:cubicBezTo>
                <a:lnTo>
                  <a:pt x="10397159" y="2976880"/>
                </a:lnTo>
                <a:lnTo>
                  <a:pt x="10397159" y="2834578"/>
                </a:lnTo>
                <a:cubicBezTo>
                  <a:pt x="10397159" y="2796801"/>
                  <a:pt x="10366535" y="2766177"/>
                  <a:pt x="10328758" y="2766177"/>
                </a:cubicBezTo>
                <a:lnTo>
                  <a:pt x="9874402" y="2766177"/>
                </a:lnTo>
                <a:cubicBezTo>
                  <a:pt x="9836625" y="2766177"/>
                  <a:pt x="9806001" y="2796801"/>
                  <a:pt x="9806001" y="2834578"/>
                </a:cubicBezTo>
                <a:lnTo>
                  <a:pt x="9806001" y="2976880"/>
                </a:lnTo>
                <a:lnTo>
                  <a:pt x="323438" y="2976880"/>
                </a:lnTo>
                <a:cubicBezTo>
                  <a:pt x="144808" y="2976880"/>
                  <a:pt x="0" y="2832072"/>
                  <a:pt x="0" y="2653442"/>
                </a:cubicBezTo>
                <a:lnTo>
                  <a:pt x="0" y="323438"/>
                </a:lnTo>
                <a:cubicBezTo>
                  <a:pt x="0" y="144808"/>
                  <a:pt x="144808" y="0"/>
                  <a:pt x="323438" y="0"/>
                </a:cubicBezTo>
                <a:close/>
              </a:path>
            </a:pathLst>
          </a:cu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750715">
              <a:defRPr/>
            </a:pPr>
            <a:endParaRPr lang="en-IN" sz="3939" dirty="0">
              <a:solidFill>
                <a:prstClr val="white"/>
              </a:solidFill>
            </a:endParaRPr>
          </a:p>
        </p:txBody>
      </p:sp>
      <p:sp>
        <p:nvSpPr>
          <p:cNvPr id="77" name="Freeform 46">
            <a:extLst>
              <a:ext uri="{FF2B5EF4-FFF2-40B4-BE49-F238E27FC236}">
                <a16:creationId xmlns:a16="http://schemas.microsoft.com/office/drawing/2014/main" id="{BF3D790A-3FDF-D779-9856-355FA6362BA0}"/>
              </a:ext>
            </a:extLst>
          </p:cNvPr>
          <p:cNvSpPr>
            <a:spLocks noEditPoints="1"/>
          </p:cNvSpPr>
          <p:nvPr/>
        </p:nvSpPr>
        <p:spPr bwMode="auto">
          <a:xfrm flipH="1" flipV="1">
            <a:off x="1087552" y="2351692"/>
            <a:ext cx="436883" cy="358469"/>
          </a:xfrm>
          <a:custGeom>
            <a:avLst/>
            <a:gdLst>
              <a:gd name="T0" fmla="*/ 860 w 1462"/>
              <a:gd name="T1" fmla="*/ 0 h 1204"/>
              <a:gd name="T2" fmla="*/ 860 w 1462"/>
              <a:gd name="T3" fmla="*/ 602 h 1204"/>
              <a:gd name="T4" fmla="*/ 1204 w 1462"/>
              <a:gd name="T5" fmla="*/ 602 h 1204"/>
              <a:gd name="T6" fmla="*/ 860 w 1462"/>
              <a:gd name="T7" fmla="*/ 946 h 1204"/>
              <a:gd name="T8" fmla="*/ 860 w 1462"/>
              <a:gd name="T9" fmla="*/ 1204 h 1204"/>
              <a:gd name="T10" fmla="*/ 1462 w 1462"/>
              <a:gd name="T11" fmla="*/ 602 h 1204"/>
              <a:gd name="T12" fmla="*/ 1462 w 1462"/>
              <a:gd name="T13" fmla="*/ 0 h 1204"/>
              <a:gd name="T14" fmla="*/ 860 w 1462"/>
              <a:gd name="T15" fmla="*/ 0 h 1204"/>
              <a:gd name="T16" fmla="*/ 0 w 1462"/>
              <a:gd name="T17" fmla="*/ 602 h 1204"/>
              <a:gd name="T18" fmla="*/ 344 w 1462"/>
              <a:gd name="T19" fmla="*/ 602 h 1204"/>
              <a:gd name="T20" fmla="*/ 0 w 1462"/>
              <a:gd name="T21" fmla="*/ 946 h 1204"/>
              <a:gd name="T22" fmla="*/ 0 w 1462"/>
              <a:gd name="T23" fmla="*/ 1204 h 1204"/>
              <a:gd name="T24" fmla="*/ 602 w 1462"/>
              <a:gd name="T25" fmla="*/ 602 h 1204"/>
              <a:gd name="T26" fmla="*/ 602 w 1462"/>
              <a:gd name="T27" fmla="*/ 0 h 1204"/>
              <a:gd name="T28" fmla="*/ 0 w 1462"/>
              <a:gd name="T29" fmla="*/ 0 h 1204"/>
              <a:gd name="T30" fmla="*/ 0 w 1462"/>
              <a:gd name="T31" fmla="*/ 602 h 12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462" h="1204">
                <a:moveTo>
                  <a:pt x="860" y="0"/>
                </a:moveTo>
                <a:lnTo>
                  <a:pt x="860" y="602"/>
                </a:lnTo>
                <a:lnTo>
                  <a:pt x="1204" y="602"/>
                </a:lnTo>
                <a:cubicBezTo>
                  <a:pt x="1204" y="792"/>
                  <a:pt x="1050" y="946"/>
                  <a:pt x="860" y="946"/>
                </a:cubicBezTo>
                <a:lnTo>
                  <a:pt x="860" y="1204"/>
                </a:lnTo>
                <a:cubicBezTo>
                  <a:pt x="1193" y="1204"/>
                  <a:pt x="1462" y="935"/>
                  <a:pt x="1462" y="602"/>
                </a:cubicBezTo>
                <a:lnTo>
                  <a:pt x="1462" y="0"/>
                </a:lnTo>
                <a:lnTo>
                  <a:pt x="860" y="0"/>
                </a:lnTo>
                <a:close/>
                <a:moveTo>
                  <a:pt x="0" y="602"/>
                </a:moveTo>
                <a:lnTo>
                  <a:pt x="344" y="602"/>
                </a:lnTo>
                <a:cubicBezTo>
                  <a:pt x="344" y="792"/>
                  <a:pt x="190" y="946"/>
                  <a:pt x="0" y="946"/>
                </a:cubicBezTo>
                <a:lnTo>
                  <a:pt x="0" y="1204"/>
                </a:lnTo>
                <a:cubicBezTo>
                  <a:pt x="333" y="1204"/>
                  <a:pt x="602" y="935"/>
                  <a:pt x="602" y="602"/>
                </a:cubicBezTo>
                <a:lnTo>
                  <a:pt x="602" y="0"/>
                </a:lnTo>
                <a:lnTo>
                  <a:pt x="0" y="0"/>
                </a:lnTo>
                <a:lnTo>
                  <a:pt x="0" y="602"/>
                </a:ln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50148" tIns="75075" rIns="150148" bIns="75075" numCol="1" anchor="t" anchorCtr="0" compatLnSpc="1">
            <a:prstTxWarp prst="textNoShape">
              <a:avLst/>
            </a:prstTxWarp>
          </a:bodyPr>
          <a:lstStyle/>
          <a:p>
            <a:pPr defTabSz="750715">
              <a:defRPr/>
            </a:pPr>
            <a:endParaRPr lang="en-IN" sz="3939" dirty="0">
              <a:solidFill>
                <a:prstClr val="white"/>
              </a:solidFill>
            </a:endParaRPr>
          </a:p>
        </p:txBody>
      </p:sp>
      <p:sp>
        <p:nvSpPr>
          <p:cNvPr id="78" name="Freeform 46">
            <a:extLst>
              <a:ext uri="{FF2B5EF4-FFF2-40B4-BE49-F238E27FC236}">
                <a16:creationId xmlns:a16="http://schemas.microsoft.com/office/drawing/2014/main" id="{812AD15F-03BE-CD9F-4414-34793F3E2BE0}"/>
              </a:ext>
            </a:extLst>
          </p:cNvPr>
          <p:cNvSpPr>
            <a:spLocks noEditPoints="1"/>
          </p:cNvSpPr>
          <p:nvPr/>
        </p:nvSpPr>
        <p:spPr bwMode="auto">
          <a:xfrm>
            <a:off x="10694471" y="5461004"/>
            <a:ext cx="436883" cy="358469"/>
          </a:xfrm>
          <a:custGeom>
            <a:avLst/>
            <a:gdLst>
              <a:gd name="T0" fmla="*/ 860 w 1462"/>
              <a:gd name="T1" fmla="*/ 0 h 1204"/>
              <a:gd name="T2" fmla="*/ 860 w 1462"/>
              <a:gd name="T3" fmla="*/ 602 h 1204"/>
              <a:gd name="T4" fmla="*/ 1204 w 1462"/>
              <a:gd name="T5" fmla="*/ 602 h 1204"/>
              <a:gd name="T6" fmla="*/ 860 w 1462"/>
              <a:gd name="T7" fmla="*/ 946 h 1204"/>
              <a:gd name="T8" fmla="*/ 860 w 1462"/>
              <a:gd name="T9" fmla="*/ 1204 h 1204"/>
              <a:gd name="T10" fmla="*/ 1462 w 1462"/>
              <a:gd name="T11" fmla="*/ 602 h 1204"/>
              <a:gd name="T12" fmla="*/ 1462 w 1462"/>
              <a:gd name="T13" fmla="*/ 0 h 1204"/>
              <a:gd name="T14" fmla="*/ 860 w 1462"/>
              <a:gd name="T15" fmla="*/ 0 h 1204"/>
              <a:gd name="T16" fmla="*/ 0 w 1462"/>
              <a:gd name="T17" fmla="*/ 602 h 1204"/>
              <a:gd name="T18" fmla="*/ 344 w 1462"/>
              <a:gd name="T19" fmla="*/ 602 h 1204"/>
              <a:gd name="T20" fmla="*/ 0 w 1462"/>
              <a:gd name="T21" fmla="*/ 946 h 1204"/>
              <a:gd name="T22" fmla="*/ 0 w 1462"/>
              <a:gd name="T23" fmla="*/ 1204 h 1204"/>
              <a:gd name="T24" fmla="*/ 602 w 1462"/>
              <a:gd name="T25" fmla="*/ 602 h 1204"/>
              <a:gd name="T26" fmla="*/ 602 w 1462"/>
              <a:gd name="T27" fmla="*/ 0 h 1204"/>
              <a:gd name="T28" fmla="*/ 0 w 1462"/>
              <a:gd name="T29" fmla="*/ 0 h 1204"/>
              <a:gd name="T30" fmla="*/ 0 w 1462"/>
              <a:gd name="T31" fmla="*/ 602 h 12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462" h="1204">
                <a:moveTo>
                  <a:pt x="860" y="0"/>
                </a:moveTo>
                <a:lnTo>
                  <a:pt x="860" y="602"/>
                </a:lnTo>
                <a:lnTo>
                  <a:pt x="1204" y="602"/>
                </a:lnTo>
                <a:cubicBezTo>
                  <a:pt x="1204" y="792"/>
                  <a:pt x="1050" y="946"/>
                  <a:pt x="860" y="946"/>
                </a:cubicBezTo>
                <a:lnTo>
                  <a:pt x="860" y="1204"/>
                </a:lnTo>
                <a:cubicBezTo>
                  <a:pt x="1193" y="1204"/>
                  <a:pt x="1462" y="935"/>
                  <a:pt x="1462" y="602"/>
                </a:cubicBezTo>
                <a:lnTo>
                  <a:pt x="1462" y="0"/>
                </a:lnTo>
                <a:lnTo>
                  <a:pt x="860" y="0"/>
                </a:lnTo>
                <a:close/>
                <a:moveTo>
                  <a:pt x="0" y="602"/>
                </a:moveTo>
                <a:lnTo>
                  <a:pt x="344" y="602"/>
                </a:lnTo>
                <a:cubicBezTo>
                  <a:pt x="344" y="792"/>
                  <a:pt x="190" y="946"/>
                  <a:pt x="0" y="946"/>
                </a:cubicBezTo>
                <a:lnTo>
                  <a:pt x="0" y="1204"/>
                </a:lnTo>
                <a:cubicBezTo>
                  <a:pt x="333" y="1204"/>
                  <a:pt x="602" y="935"/>
                  <a:pt x="602" y="602"/>
                </a:cubicBezTo>
                <a:lnTo>
                  <a:pt x="602" y="0"/>
                </a:lnTo>
                <a:lnTo>
                  <a:pt x="0" y="0"/>
                </a:lnTo>
                <a:lnTo>
                  <a:pt x="0" y="602"/>
                </a:ln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50148" tIns="75075" rIns="150148" bIns="75075" numCol="1" anchor="t" anchorCtr="0" compatLnSpc="1">
            <a:prstTxWarp prst="textNoShape">
              <a:avLst/>
            </a:prstTxWarp>
          </a:bodyPr>
          <a:lstStyle/>
          <a:p>
            <a:pPr defTabSz="750715">
              <a:defRPr/>
            </a:pPr>
            <a:endParaRPr lang="en-IN" sz="3939" dirty="0">
              <a:solidFill>
                <a:prstClr val="white"/>
              </a:solidFill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51A433DC-D375-B040-B73D-D111653EEAD4}"/>
              </a:ext>
            </a:extLst>
          </p:cNvPr>
          <p:cNvSpPr/>
          <p:nvPr/>
        </p:nvSpPr>
        <p:spPr>
          <a:xfrm>
            <a:off x="626323" y="1455628"/>
            <a:ext cx="10957546" cy="7076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750715">
              <a:defRPr/>
            </a:pPr>
            <a:endParaRPr lang="en-IN" sz="3939" b="1" dirty="0">
              <a:solidFill>
                <a:prstClr val="white"/>
              </a:solidFill>
            </a:endParaRPr>
          </a:p>
        </p:txBody>
      </p:sp>
      <p:sp>
        <p:nvSpPr>
          <p:cNvPr id="80" name="Content Placeholder 2">
            <a:extLst>
              <a:ext uri="{FF2B5EF4-FFF2-40B4-BE49-F238E27FC236}">
                <a16:creationId xmlns:a16="http://schemas.microsoft.com/office/drawing/2014/main" id="{EF7EE935-E4C2-11AC-0107-418F6A31F780}"/>
              </a:ext>
            </a:extLst>
          </p:cNvPr>
          <p:cNvSpPr txBox="1">
            <a:spLocks/>
          </p:cNvSpPr>
          <p:nvPr/>
        </p:nvSpPr>
        <p:spPr>
          <a:xfrm>
            <a:off x="884667" y="1610531"/>
            <a:ext cx="10440858" cy="397838"/>
          </a:xfrm>
          <a:prstGeom prst="rect">
            <a:avLst/>
          </a:prstGeom>
        </p:spPr>
        <p:txBody>
          <a:bodyPr vert="horz" lIns="150148" tIns="75075" rIns="150148" bIns="75075" rtlCol="0" anchor="ctr" anchorCtr="0">
            <a:sp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20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  <a:lvl6pPr marL="2506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marL="0" indent="0" algn="ctr">
              <a:buClr>
                <a:srgbClr val="1E5155">
                  <a:lumMod val="40000"/>
                  <a:lumOff val="60000"/>
                </a:srgbClr>
              </a:buClr>
              <a:buNone/>
              <a:defRPr/>
            </a:pPr>
            <a:r>
              <a:rPr lang="en-US" sz="1600" b="1" dirty="0">
                <a:solidFill>
                  <a:schemeClr val="bg1"/>
                </a:solidFill>
                <a:latin typeface="+mn-lt"/>
              </a:rPr>
              <a:t>Insert Text Here</a:t>
            </a:r>
          </a:p>
        </p:txBody>
      </p:sp>
    </p:spTree>
    <p:extLst>
      <p:ext uri="{BB962C8B-B14F-4D97-AF65-F5344CB8AC3E}">
        <p14:creationId xmlns:p14="http://schemas.microsoft.com/office/powerpoint/2010/main" val="3670288131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5C22A4-F332-C305-EF0C-1477E54843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6F103883-932D-87A6-F428-7CC7C6162F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89112" y="3798180"/>
            <a:ext cx="1770469" cy="1770469"/>
          </a:xfrm>
          <a:prstGeom prst="rect">
            <a:avLst/>
          </a:prstGeom>
          <a:noFill/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5280DDA-C22E-901B-9523-A777A7D305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39134" y="3806587"/>
            <a:ext cx="1770469" cy="1770469"/>
          </a:xfrm>
          <a:prstGeom prst="rect">
            <a:avLst/>
          </a:prstGeom>
          <a:noFill/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414AACEE-445C-61A0-9D42-AE67CAD630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39133" y="1616313"/>
            <a:ext cx="1770469" cy="1770469"/>
          </a:xfrm>
          <a:prstGeom prst="rect">
            <a:avLst/>
          </a:prstGeom>
          <a:noFill/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BFB4FF4-1BE5-BF12-B404-865FBFB50D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89112" y="1591555"/>
            <a:ext cx="1770469" cy="1770469"/>
          </a:xfrm>
          <a:prstGeom prst="rect">
            <a:avLst/>
          </a:prstGeom>
          <a:noFill/>
        </p:spPr>
      </p:pic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030C35E2-2C06-8E74-A507-3A0231A6C4E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6738947-98B0-3650-1428-919A06F8DB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212A720-AEB8-D6D3-F8EE-4BDB363872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Quotes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6F15B3B5-6DC7-B3D2-6DA8-562BD4503108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58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65" name="Shape1_20220426_142924">
            <a:extLst>
              <a:ext uri="{FF2B5EF4-FFF2-40B4-BE49-F238E27FC236}">
                <a16:creationId xmlns:a16="http://schemas.microsoft.com/office/drawing/2014/main" id="{9D959AF1-FDC0-9BDB-FD1D-DA927C9EA25F}"/>
              </a:ext>
            </a:extLst>
          </p:cNvPr>
          <p:cNvSpPr/>
          <p:nvPr/>
        </p:nvSpPr>
        <p:spPr>
          <a:xfrm>
            <a:off x="630475" y="3685166"/>
            <a:ext cx="5145501" cy="1896961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800" dirty="0">
              <a:solidFill>
                <a:schemeClr val="tx1"/>
              </a:solidFill>
            </a:endParaRPr>
          </a:p>
        </p:txBody>
      </p:sp>
      <p:sp>
        <p:nvSpPr>
          <p:cNvPr id="66" name="Shape1_20220517_165512">
            <a:extLst>
              <a:ext uri="{FF2B5EF4-FFF2-40B4-BE49-F238E27FC236}">
                <a16:creationId xmlns:a16="http://schemas.microsoft.com/office/drawing/2014/main" id="{D448566F-7705-98AE-0A6C-59431223ACA0}"/>
              </a:ext>
            </a:extLst>
          </p:cNvPr>
          <p:cNvSpPr txBox="1">
            <a:spLocks/>
          </p:cNvSpPr>
          <p:nvPr/>
        </p:nvSpPr>
        <p:spPr>
          <a:xfrm>
            <a:off x="750642" y="2972679"/>
            <a:ext cx="2177965" cy="326243"/>
          </a:xfrm>
          <a:prstGeom prst="rect">
            <a:avLst/>
          </a:prstGeom>
        </p:spPr>
        <p:txBody>
          <a:bodyPr vert="horz" wrap="square" anchor="b">
            <a:spAutoFit/>
          </a:bodyPr>
          <a:lstStyle>
            <a:lvl1pPr marL="0" indent="0" algn="l" defTabSz="684213" rtl="0" eaLnBrk="1" fontAlgn="base" hangingPunct="1">
              <a:lnSpc>
                <a:spcPct val="95000"/>
              </a:lnSpc>
              <a:spcBef>
                <a:spcPts val="1075"/>
              </a:spcBef>
              <a:spcAft>
                <a:spcPct val="0"/>
              </a:spcAft>
              <a:buClr>
                <a:schemeClr val="tx2"/>
              </a:buClr>
              <a:buSzPct val="90000"/>
              <a:buFont typeface="Arial" charset="0"/>
              <a:buNone/>
              <a:defRPr lang="en-US" sz="3200" kern="1200" baseline="0">
                <a:solidFill>
                  <a:schemeClr val="tx2"/>
                </a:solidFill>
                <a:latin typeface="+mj-lt"/>
                <a:ea typeface="ＭＳ Ｐゴシック" charset="0"/>
                <a:cs typeface="CiscoSans"/>
              </a:defRPr>
            </a:lvl1pPr>
            <a:lvl2pPr marL="358775" indent="-215900" algn="l" defTabSz="684213" rtl="0" eaLnBrk="1" fontAlgn="base" hangingPunct="1">
              <a:lnSpc>
                <a:spcPct val="950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2pPr>
            <a:lvl3pPr marL="431800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3pPr>
            <a:lvl4pPr marL="503238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1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4pPr>
            <a:lvl5pPr marL="574675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1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5pPr>
            <a:lvl6pPr marL="863856" indent="-171445" algn="l" defTabSz="685777" rtl="0" eaLnBrk="1" latinLnBrk="0" hangingPunct="1">
              <a:spcBef>
                <a:spcPts val="600"/>
              </a:spcBef>
              <a:buFont typeface="Arial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35844" indent="-171422" algn="l" defTabSz="685777" rtl="0" eaLnBrk="1" latinLnBrk="0" hangingPunct="1">
              <a:spcBef>
                <a:spcPts val="600"/>
              </a:spcBef>
              <a:buFont typeface="Arial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20" indent="0" algn="l" defTabSz="685777" rtl="0" eaLnBrk="1" latinLnBrk="0" hangingPunct="1">
              <a:spcBef>
                <a:spcPct val="20000"/>
              </a:spcBef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53" indent="-171445" algn="l" defTabSz="6857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497874">
              <a:buClr>
                <a:srgbClr val="005073"/>
              </a:buClr>
            </a:pPr>
            <a:r>
              <a:rPr lang="en-US" sz="1600" b="1" i="1" dirty="0">
                <a:solidFill>
                  <a:schemeClr val="tx1"/>
                </a:solidFill>
                <a:latin typeface="+mn-lt"/>
              </a:rPr>
              <a:t>Insert Text Here</a:t>
            </a:r>
          </a:p>
        </p:txBody>
      </p:sp>
      <p:sp>
        <p:nvSpPr>
          <p:cNvPr id="67" name="Shape2_20220517_165512">
            <a:extLst>
              <a:ext uri="{FF2B5EF4-FFF2-40B4-BE49-F238E27FC236}">
                <a16:creationId xmlns:a16="http://schemas.microsoft.com/office/drawing/2014/main" id="{109413FB-C4DB-7C6E-A76E-EDE7E2A77589}"/>
              </a:ext>
            </a:extLst>
          </p:cNvPr>
          <p:cNvSpPr txBox="1">
            <a:spLocks/>
          </p:cNvSpPr>
          <p:nvPr/>
        </p:nvSpPr>
        <p:spPr>
          <a:xfrm>
            <a:off x="750642" y="5203592"/>
            <a:ext cx="2177965" cy="326243"/>
          </a:xfrm>
          <a:prstGeom prst="rect">
            <a:avLst/>
          </a:prstGeom>
        </p:spPr>
        <p:txBody>
          <a:bodyPr vert="horz" wrap="square" anchor="b">
            <a:spAutoFit/>
          </a:bodyPr>
          <a:lstStyle>
            <a:lvl1pPr marL="0" indent="0" algn="l" defTabSz="684213" rtl="0" eaLnBrk="1" fontAlgn="base" hangingPunct="1">
              <a:lnSpc>
                <a:spcPct val="95000"/>
              </a:lnSpc>
              <a:spcBef>
                <a:spcPts val="1075"/>
              </a:spcBef>
              <a:spcAft>
                <a:spcPct val="0"/>
              </a:spcAft>
              <a:buClr>
                <a:schemeClr val="tx2"/>
              </a:buClr>
              <a:buSzPct val="90000"/>
              <a:buFont typeface="Arial" charset="0"/>
              <a:buNone/>
              <a:defRPr lang="en-US" sz="3200" kern="1200" baseline="0">
                <a:solidFill>
                  <a:schemeClr val="tx2"/>
                </a:solidFill>
                <a:latin typeface="+mj-lt"/>
                <a:ea typeface="ＭＳ Ｐゴシック" charset="0"/>
                <a:cs typeface="CiscoSans"/>
              </a:defRPr>
            </a:lvl1pPr>
            <a:lvl2pPr marL="358775" indent="-215900" algn="l" defTabSz="684213" rtl="0" eaLnBrk="1" fontAlgn="base" hangingPunct="1">
              <a:lnSpc>
                <a:spcPct val="950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2pPr>
            <a:lvl3pPr marL="431800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3pPr>
            <a:lvl4pPr marL="503238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1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4pPr>
            <a:lvl5pPr marL="574675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1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5pPr>
            <a:lvl6pPr marL="863856" indent="-171445" algn="l" defTabSz="685777" rtl="0" eaLnBrk="1" latinLnBrk="0" hangingPunct="1">
              <a:spcBef>
                <a:spcPts val="600"/>
              </a:spcBef>
              <a:buFont typeface="Arial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35844" indent="-171422" algn="l" defTabSz="685777" rtl="0" eaLnBrk="1" latinLnBrk="0" hangingPunct="1">
              <a:spcBef>
                <a:spcPts val="600"/>
              </a:spcBef>
              <a:buFont typeface="Arial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20" indent="0" algn="l" defTabSz="685777" rtl="0" eaLnBrk="1" latinLnBrk="0" hangingPunct="1">
              <a:spcBef>
                <a:spcPct val="20000"/>
              </a:spcBef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53" indent="-171445" algn="l" defTabSz="6857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497874">
              <a:buClr>
                <a:srgbClr val="005073"/>
              </a:buClr>
            </a:pPr>
            <a:r>
              <a:rPr lang="en-US" sz="1600" b="1" i="1" dirty="0">
                <a:solidFill>
                  <a:schemeClr val="tx1"/>
                </a:solidFill>
                <a:latin typeface="+mn-lt"/>
              </a:rPr>
              <a:t>Insert Text Here</a:t>
            </a:r>
          </a:p>
        </p:txBody>
      </p:sp>
      <p:sp>
        <p:nvSpPr>
          <p:cNvPr id="68" name="Freeform 5">
            <a:extLst>
              <a:ext uri="{FF2B5EF4-FFF2-40B4-BE49-F238E27FC236}">
                <a16:creationId xmlns:a16="http://schemas.microsoft.com/office/drawing/2014/main" id="{4F0193FF-CF38-9950-9B22-46003F3F55F1}"/>
              </a:ext>
            </a:extLst>
          </p:cNvPr>
          <p:cNvSpPr>
            <a:spLocks/>
          </p:cNvSpPr>
          <p:nvPr/>
        </p:nvSpPr>
        <p:spPr bwMode="auto">
          <a:xfrm>
            <a:off x="821394" y="3506787"/>
            <a:ext cx="175998" cy="482472"/>
          </a:xfrm>
          <a:custGeom>
            <a:avLst/>
            <a:gdLst>
              <a:gd name="T0" fmla="*/ 0 w 71"/>
              <a:gd name="T1" fmla="*/ 199 h 199"/>
              <a:gd name="T2" fmla="*/ 71 w 71"/>
              <a:gd name="T3" fmla="*/ 199 h 199"/>
              <a:gd name="T4" fmla="*/ 71 w 71"/>
              <a:gd name="T5" fmla="*/ 94 h 199"/>
              <a:gd name="T6" fmla="*/ 45 w 71"/>
              <a:gd name="T7" fmla="*/ 94 h 199"/>
              <a:gd name="T8" fmla="*/ 71 w 71"/>
              <a:gd name="T9" fmla="*/ 46 h 199"/>
              <a:gd name="T10" fmla="*/ 71 w 71"/>
              <a:gd name="T11" fmla="*/ 5 h 199"/>
              <a:gd name="T12" fmla="*/ 0 w 71"/>
              <a:gd name="T13" fmla="*/ 111 h 199"/>
              <a:gd name="T14" fmla="*/ 0 w 71"/>
              <a:gd name="T15" fmla="*/ 199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1" h="199">
                <a:moveTo>
                  <a:pt x="0" y="199"/>
                </a:moveTo>
                <a:cubicBezTo>
                  <a:pt x="71" y="199"/>
                  <a:pt x="71" y="199"/>
                  <a:pt x="71" y="199"/>
                </a:cubicBezTo>
                <a:cubicBezTo>
                  <a:pt x="71" y="94"/>
                  <a:pt x="71" y="94"/>
                  <a:pt x="71" y="94"/>
                </a:cubicBezTo>
                <a:cubicBezTo>
                  <a:pt x="45" y="94"/>
                  <a:pt x="45" y="94"/>
                  <a:pt x="45" y="94"/>
                </a:cubicBezTo>
                <a:cubicBezTo>
                  <a:pt x="45" y="94"/>
                  <a:pt x="41" y="58"/>
                  <a:pt x="71" y="46"/>
                </a:cubicBezTo>
                <a:cubicBezTo>
                  <a:pt x="71" y="5"/>
                  <a:pt x="71" y="5"/>
                  <a:pt x="71" y="5"/>
                </a:cubicBezTo>
                <a:cubicBezTo>
                  <a:pt x="71" y="5"/>
                  <a:pt x="4" y="0"/>
                  <a:pt x="0" y="111"/>
                </a:cubicBezTo>
                <a:lnTo>
                  <a:pt x="0" y="199"/>
                </a:lnTo>
                <a:close/>
              </a:path>
            </a:pathLst>
          </a:custGeom>
          <a:solidFill>
            <a:srgbClr val="B2E0D3"/>
          </a:solidFill>
          <a:ln>
            <a:noFill/>
          </a:ln>
        </p:spPr>
        <p:txBody>
          <a:bodyPr vert="horz" wrap="square" lIns="150148" tIns="75075" rIns="150148" bIns="75075" numCol="1" anchor="t" anchorCtr="0" compatLnSpc="1">
            <a:prstTxWarp prst="textNoShape">
              <a:avLst/>
            </a:prstTxWarp>
          </a:bodyPr>
          <a:lstStyle/>
          <a:p>
            <a:endParaRPr lang="en-IN" sz="2800"/>
          </a:p>
        </p:txBody>
      </p:sp>
      <p:sp>
        <p:nvSpPr>
          <p:cNvPr id="69" name="Freeform 5~1">
            <a:extLst>
              <a:ext uri="{FF2B5EF4-FFF2-40B4-BE49-F238E27FC236}">
                <a16:creationId xmlns:a16="http://schemas.microsoft.com/office/drawing/2014/main" id="{99B93ED2-ADA6-7377-865E-0D490A6F5AE8}"/>
              </a:ext>
            </a:extLst>
          </p:cNvPr>
          <p:cNvSpPr>
            <a:spLocks/>
          </p:cNvSpPr>
          <p:nvPr/>
        </p:nvSpPr>
        <p:spPr bwMode="auto">
          <a:xfrm>
            <a:off x="1117551" y="3506787"/>
            <a:ext cx="175998" cy="482472"/>
          </a:xfrm>
          <a:custGeom>
            <a:avLst/>
            <a:gdLst>
              <a:gd name="T0" fmla="*/ 0 w 71"/>
              <a:gd name="T1" fmla="*/ 199 h 199"/>
              <a:gd name="T2" fmla="*/ 71 w 71"/>
              <a:gd name="T3" fmla="*/ 199 h 199"/>
              <a:gd name="T4" fmla="*/ 71 w 71"/>
              <a:gd name="T5" fmla="*/ 94 h 199"/>
              <a:gd name="T6" fmla="*/ 45 w 71"/>
              <a:gd name="T7" fmla="*/ 94 h 199"/>
              <a:gd name="T8" fmla="*/ 71 w 71"/>
              <a:gd name="T9" fmla="*/ 46 h 199"/>
              <a:gd name="T10" fmla="*/ 71 w 71"/>
              <a:gd name="T11" fmla="*/ 5 h 199"/>
              <a:gd name="T12" fmla="*/ 0 w 71"/>
              <a:gd name="T13" fmla="*/ 111 h 199"/>
              <a:gd name="T14" fmla="*/ 0 w 71"/>
              <a:gd name="T15" fmla="*/ 199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1" h="199">
                <a:moveTo>
                  <a:pt x="0" y="199"/>
                </a:moveTo>
                <a:cubicBezTo>
                  <a:pt x="71" y="199"/>
                  <a:pt x="71" y="199"/>
                  <a:pt x="71" y="199"/>
                </a:cubicBezTo>
                <a:cubicBezTo>
                  <a:pt x="71" y="94"/>
                  <a:pt x="71" y="94"/>
                  <a:pt x="71" y="94"/>
                </a:cubicBezTo>
                <a:cubicBezTo>
                  <a:pt x="45" y="94"/>
                  <a:pt x="45" y="94"/>
                  <a:pt x="45" y="94"/>
                </a:cubicBezTo>
                <a:cubicBezTo>
                  <a:pt x="45" y="94"/>
                  <a:pt x="41" y="58"/>
                  <a:pt x="71" y="46"/>
                </a:cubicBezTo>
                <a:cubicBezTo>
                  <a:pt x="71" y="5"/>
                  <a:pt x="71" y="5"/>
                  <a:pt x="71" y="5"/>
                </a:cubicBezTo>
                <a:cubicBezTo>
                  <a:pt x="71" y="5"/>
                  <a:pt x="4" y="0"/>
                  <a:pt x="0" y="111"/>
                </a:cubicBezTo>
                <a:lnTo>
                  <a:pt x="0" y="199"/>
                </a:lnTo>
                <a:close/>
              </a:path>
            </a:pathLst>
          </a:custGeom>
          <a:solidFill>
            <a:srgbClr val="B2E0D3"/>
          </a:solidFill>
          <a:ln>
            <a:noFill/>
          </a:ln>
        </p:spPr>
        <p:txBody>
          <a:bodyPr vert="horz" wrap="square" lIns="150148" tIns="75075" rIns="150148" bIns="75075" numCol="1" anchor="t" anchorCtr="0" compatLnSpc="1">
            <a:prstTxWarp prst="textNoShape">
              <a:avLst/>
            </a:prstTxWarp>
          </a:bodyPr>
          <a:lstStyle/>
          <a:p>
            <a:endParaRPr lang="en-IN" sz="2800"/>
          </a:p>
        </p:txBody>
      </p:sp>
      <p:sp>
        <p:nvSpPr>
          <p:cNvPr id="70" name="Shape3_20220517_165512">
            <a:extLst>
              <a:ext uri="{FF2B5EF4-FFF2-40B4-BE49-F238E27FC236}">
                <a16:creationId xmlns:a16="http://schemas.microsoft.com/office/drawing/2014/main" id="{618A74D5-6BCA-8363-E39B-668054AC4BCA}"/>
              </a:ext>
            </a:extLst>
          </p:cNvPr>
          <p:cNvSpPr txBox="1">
            <a:spLocks/>
          </p:cNvSpPr>
          <p:nvPr/>
        </p:nvSpPr>
        <p:spPr>
          <a:xfrm>
            <a:off x="6401296" y="2972679"/>
            <a:ext cx="2177965" cy="326243"/>
          </a:xfrm>
          <a:prstGeom prst="rect">
            <a:avLst/>
          </a:prstGeom>
        </p:spPr>
        <p:txBody>
          <a:bodyPr vert="horz" wrap="square" anchor="b">
            <a:spAutoFit/>
          </a:bodyPr>
          <a:lstStyle>
            <a:lvl1pPr marL="0" indent="0" algn="l" defTabSz="684213" rtl="0" eaLnBrk="1" fontAlgn="base" hangingPunct="1">
              <a:lnSpc>
                <a:spcPct val="95000"/>
              </a:lnSpc>
              <a:spcBef>
                <a:spcPts val="1075"/>
              </a:spcBef>
              <a:spcAft>
                <a:spcPct val="0"/>
              </a:spcAft>
              <a:buClr>
                <a:schemeClr val="tx2"/>
              </a:buClr>
              <a:buSzPct val="90000"/>
              <a:buFont typeface="Arial" charset="0"/>
              <a:buNone/>
              <a:defRPr lang="en-US" sz="3200" kern="1200" baseline="0">
                <a:solidFill>
                  <a:schemeClr val="tx2"/>
                </a:solidFill>
                <a:latin typeface="+mj-lt"/>
                <a:ea typeface="ＭＳ Ｐゴシック" charset="0"/>
                <a:cs typeface="CiscoSans"/>
              </a:defRPr>
            </a:lvl1pPr>
            <a:lvl2pPr marL="358775" indent="-215900" algn="l" defTabSz="684213" rtl="0" eaLnBrk="1" fontAlgn="base" hangingPunct="1">
              <a:lnSpc>
                <a:spcPct val="950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2pPr>
            <a:lvl3pPr marL="431800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3pPr>
            <a:lvl4pPr marL="503238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1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4pPr>
            <a:lvl5pPr marL="574675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1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5pPr>
            <a:lvl6pPr marL="863856" indent="-171445" algn="l" defTabSz="685777" rtl="0" eaLnBrk="1" latinLnBrk="0" hangingPunct="1">
              <a:spcBef>
                <a:spcPts val="600"/>
              </a:spcBef>
              <a:buFont typeface="Arial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35844" indent="-171422" algn="l" defTabSz="685777" rtl="0" eaLnBrk="1" latinLnBrk="0" hangingPunct="1">
              <a:spcBef>
                <a:spcPts val="600"/>
              </a:spcBef>
              <a:buFont typeface="Arial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20" indent="0" algn="l" defTabSz="685777" rtl="0" eaLnBrk="1" latinLnBrk="0" hangingPunct="1">
              <a:spcBef>
                <a:spcPct val="20000"/>
              </a:spcBef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53" indent="-171445" algn="l" defTabSz="6857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497874">
              <a:buClr>
                <a:srgbClr val="005073"/>
              </a:buClr>
            </a:pPr>
            <a:r>
              <a:rPr lang="en-US" sz="1600" b="1" i="1" dirty="0">
                <a:solidFill>
                  <a:schemeClr val="tx1"/>
                </a:solidFill>
                <a:latin typeface="+mn-lt"/>
              </a:rPr>
              <a:t>Insert Text Here</a:t>
            </a:r>
          </a:p>
        </p:txBody>
      </p:sp>
      <p:sp>
        <p:nvSpPr>
          <p:cNvPr id="71" name="Shape0_20220517_165512">
            <a:extLst>
              <a:ext uri="{FF2B5EF4-FFF2-40B4-BE49-F238E27FC236}">
                <a16:creationId xmlns:a16="http://schemas.microsoft.com/office/drawing/2014/main" id="{CDDFE577-2AE2-25B8-83E3-C1A71471B5E7}"/>
              </a:ext>
            </a:extLst>
          </p:cNvPr>
          <p:cNvSpPr txBox="1">
            <a:spLocks/>
          </p:cNvSpPr>
          <p:nvPr/>
        </p:nvSpPr>
        <p:spPr>
          <a:xfrm>
            <a:off x="1494188" y="1577426"/>
            <a:ext cx="4144919" cy="584775"/>
          </a:xfrm>
          <a:prstGeom prst="rect">
            <a:avLst/>
          </a:prstGeom>
          <a:noFill/>
        </p:spPr>
        <p:txBody>
          <a:bodyPr wrap="square" lIns="150148" rIns="3002985" rtlCol="0">
            <a:spAutoFit/>
          </a:bodyPr>
          <a:lstStyle/>
          <a:p>
            <a:pPr defTabSz="1000741"/>
            <a:r>
              <a:rPr lang="en-US" sz="1600" dirty="0"/>
              <a:t>Insert Text Here</a:t>
            </a:r>
          </a:p>
        </p:txBody>
      </p:sp>
      <p:sp>
        <p:nvSpPr>
          <p:cNvPr id="72" name="Shape4_20220517_165512">
            <a:extLst>
              <a:ext uri="{FF2B5EF4-FFF2-40B4-BE49-F238E27FC236}">
                <a16:creationId xmlns:a16="http://schemas.microsoft.com/office/drawing/2014/main" id="{8D2F970F-E85F-ECB0-D846-E835FE251213}"/>
              </a:ext>
            </a:extLst>
          </p:cNvPr>
          <p:cNvSpPr txBox="1">
            <a:spLocks/>
          </p:cNvSpPr>
          <p:nvPr/>
        </p:nvSpPr>
        <p:spPr>
          <a:xfrm>
            <a:off x="1494188" y="3808340"/>
            <a:ext cx="4144919" cy="584775"/>
          </a:xfrm>
          <a:prstGeom prst="rect">
            <a:avLst/>
          </a:prstGeom>
          <a:noFill/>
        </p:spPr>
        <p:txBody>
          <a:bodyPr wrap="square" lIns="150148" rIns="3002985" rtlCol="0">
            <a:spAutoFit/>
          </a:bodyPr>
          <a:lstStyle/>
          <a:p>
            <a:pPr defTabSz="1000741"/>
            <a:r>
              <a:rPr lang="en-IN" sz="1600" dirty="0"/>
              <a:t>Insert Text Here</a:t>
            </a:r>
          </a:p>
        </p:txBody>
      </p:sp>
      <p:sp>
        <p:nvSpPr>
          <p:cNvPr id="73" name="Shape5_20220517_165512">
            <a:extLst>
              <a:ext uri="{FF2B5EF4-FFF2-40B4-BE49-F238E27FC236}">
                <a16:creationId xmlns:a16="http://schemas.microsoft.com/office/drawing/2014/main" id="{0A61B36C-3EFB-F0E2-2D28-4D2EE086248C}"/>
              </a:ext>
            </a:extLst>
          </p:cNvPr>
          <p:cNvSpPr txBox="1">
            <a:spLocks/>
          </p:cNvSpPr>
          <p:nvPr/>
        </p:nvSpPr>
        <p:spPr>
          <a:xfrm>
            <a:off x="7056011" y="1577426"/>
            <a:ext cx="4144919" cy="584775"/>
          </a:xfrm>
          <a:prstGeom prst="rect">
            <a:avLst/>
          </a:prstGeom>
          <a:noFill/>
        </p:spPr>
        <p:txBody>
          <a:bodyPr wrap="square" lIns="150148" rIns="3002985" rtlCol="0">
            <a:spAutoFit/>
          </a:bodyPr>
          <a:lstStyle/>
          <a:p>
            <a:pPr defTabSz="1000741"/>
            <a:r>
              <a:rPr lang="en-IN" sz="1600" dirty="0"/>
              <a:t>Insert Text Here</a:t>
            </a:r>
          </a:p>
        </p:txBody>
      </p:sp>
      <p:sp>
        <p:nvSpPr>
          <p:cNvPr id="74" name="Shape6_20220517_165512">
            <a:extLst>
              <a:ext uri="{FF2B5EF4-FFF2-40B4-BE49-F238E27FC236}">
                <a16:creationId xmlns:a16="http://schemas.microsoft.com/office/drawing/2014/main" id="{57D3F9A2-9062-D112-AB76-104B82BC1B54}"/>
              </a:ext>
            </a:extLst>
          </p:cNvPr>
          <p:cNvSpPr txBox="1">
            <a:spLocks/>
          </p:cNvSpPr>
          <p:nvPr/>
        </p:nvSpPr>
        <p:spPr>
          <a:xfrm>
            <a:off x="7056011" y="3808340"/>
            <a:ext cx="4144919" cy="584775"/>
          </a:xfrm>
          <a:prstGeom prst="rect">
            <a:avLst/>
          </a:prstGeom>
          <a:noFill/>
        </p:spPr>
        <p:txBody>
          <a:bodyPr wrap="square" lIns="150148" rIns="3002985" rtlCol="0">
            <a:spAutoFit/>
          </a:bodyPr>
          <a:lstStyle/>
          <a:p>
            <a:pPr defTabSz="1000741"/>
            <a:r>
              <a:rPr lang="en-IN" sz="1600" dirty="0"/>
              <a:t>Insert Text Here</a:t>
            </a:r>
          </a:p>
        </p:txBody>
      </p:sp>
      <p:sp>
        <p:nvSpPr>
          <p:cNvPr id="81" name="Shape7_20220517_165512">
            <a:extLst>
              <a:ext uri="{FF2B5EF4-FFF2-40B4-BE49-F238E27FC236}">
                <a16:creationId xmlns:a16="http://schemas.microsoft.com/office/drawing/2014/main" id="{C4458FDA-7029-4D50-E346-2C2C30895E7D}"/>
              </a:ext>
            </a:extLst>
          </p:cNvPr>
          <p:cNvSpPr txBox="1">
            <a:spLocks/>
          </p:cNvSpPr>
          <p:nvPr/>
        </p:nvSpPr>
        <p:spPr>
          <a:xfrm>
            <a:off x="6401296" y="5203592"/>
            <a:ext cx="2177965" cy="326243"/>
          </a:xfrm>
          <a:prstGeom prst="rect">
            <a:avLst/>
          </a:prstGeom>
        </p:spPr>
        <p:txBody>
          <a:bodyPr vert="horz" wrap="square" anchor="b">
            <a:spAutoFit/>
          </a:bodyPr>
          <a:lstStyle>
            <a:lvl1pPr marL="0" indent="0" algn="l" defTabSz="684213" rtl="0" eaLnBrk="1" fontAlgn="base" hangingPunct="1">
              <a:lnSpc>
                <a:spcPct val="95000"/>
              </a:lnSpc>
              <a:spcBef>
                <a:spcPts val="1075"/>
              </a:spcBef>
              <a:spcAft>
                <a:spcPct val="0"/>
              </a:spcAft>
              <a:buClr>
                <a:schemeClr val="tx2"/>
              </a:buClr>
              <a:buSzPct val="90000"/>
              <a:buFont typeface="Arial" charset="0"/>
              <a:buNone/>
              <a:defRPr lang="en-US" sz="3200" kern="1200" baseline="0">
                <a:solidFill>
                  <a:schemeClr val="tx2"/>
                </a:solidFill>
                <a:latin typeface="+mj-lt"/>
                <a:ea typeface="ＭＳ Ｐゴシック" charset="0"/>
                <a:cs typeface="CiscoSans"/>
              </a:defRPr>
            </a:lvl1pPr>
            <a:lvl2pPr marL="358775" indent="-215900" algn="l" defTabSz="684213" rtl="0" eaLnBrk="1" fontAlgn="base" hangingPunct="1">
              <a:lnSpc>
                <a:spcPct val="950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2pPr>
            <a:lvl3pPr marL="431800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3pPr>
            <a:lvl4pPr marL="503238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1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4pPr>
            <a:lvl5pPr marL="574675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1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5pPr>
            <a:lvl6pPr marL="863856" indent="-171445" algn="l" defTabSz="685777" rtl="0" eaLnBrk="1" latinLnBrk="0" hangingPunct="1">
              <a:spcBef>
                <a:spcPts val="600"/>
              </a:spcBef>
              <a:buFont typeface="Arial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35844" indent="-171422" algn="l" defTabSz="685777" rtl="0" eaLnBrk="1" latinLnBrk="0" hangingPunct="1">
              <a:spcBef>
                <a:spcPts val="600"/>
              </a:spcBef>
              <a:buFont typeface="Arial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20" indent="0" algn="l" defTabSz="685777" rtl="0" eaLnBrk="1" latinLnBrk="0" hangingPunct="1">
              <a:spcBef>
                <a:spcPct val="20000"/>
              </a:spcBef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53" indent="-171445" algn="l" defTabSz="6857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497874">
              <a:buClr>
                <a:srgbClr val="005073"/>
              </a:buClr>
            </a:pPr>
            <a:r>
              <a:rPr lang="en-US" sz="1600" b="1" i="1" dirty="0">
                <a:solidFill>
                  <a:schemeClr val="tx1"/>
                </a:solidFill>
                <a:latin typeface="+mn-lt"/>
              </a:rPr>
              <a:t>Insert Text Here</a:t>
            </a:r>
          </a:p>
        </p:txBody>
      </p:sp>
      <p:sp>
        <p:nvSpPr>
          <p:cNvPr id="82" name="Shape1_20211019_185929">
            <a:extLst>
              <a:ext uri="{FF2B5EF4-FFF2-40B4-BE49-F238E27FC236}">
                <a16:creationId xmlns:a16="http://schemas.microsoft.com/office/drawing/2014/main" id="{404D0EB1-C61A-FD33-4610-F9DC8FC5E17C}"/>
              </a:ext>
            </a:extLst>
          </p:cNvPr>
          <p:cNvSpPr/>
          <p:nvPr/>
        </p:nvSpPr>
        <p:spPr>
          <a:xfrm flipH="1" flipV="1">
            <a:off x="796995" y="3506784"/>
            <a:ext cx="535292" cy="518989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800" dirty="0">
              <a:solidFill>
                <a:schemeClr val="tx1"/>
              </a:solidFill>
            </a:endParaRPr>
          </a:p>
        </p:txBody>
      </p:sp>
      <p:sp>
        <p:nvSpPr>
          <p:cNvPr id="83" name="Shape1_20211213_182725">
            <a:extLst>
              <a:ext uri="{FF2B5EF4-FFF2-40B4-BE49-F238E27FC236}">
                <a16:creationId xmlns:a16="http://schemas.microsoft.com/office/drawing/2014/main" id="{D465386E-2348-37B7-705C-52468C1D0AFE}"/>
              </a:ext>
            </a:extLst>
          </p:cNvPr>
          <p:cNvSpPr>
            <a:spLocks/>
          </p:cNvSpPr>
          <p:nvPr/>
        </p:nvSpPr>
        <p:spPr bwMode="auto">
          <a:xfrm>
            <a:off x="821394" y="3506789"/>
            <a:ext cx="175998" cy="482472"/>
          </a:xfrm>
          <a:custGeom>
            <a:avLst/>
            <a:gdLst>
              <a:gd name="T0" fmla="*/ 0 w 71"/>
              <a:gd name="T1" fmla="*/ 199 h 199"/>
              <a:gd name="T2" fmla="*/ 71 w 71"/>
              <a:gd name="T3" fmla="*/ 199 h 199"/>
              <a:gd name="T4" fmla="*/ 71 w 71"/>
              <a:gd name="T5" fmla="*/ 94 h 199"/>
              <a:gd name="T6" fmla="*/ 45 w 71"/>
              <a:gd name="T7" fmla="*/ 94 h 199"/>
              <a:gd name="T8" fmla="*/ 71 w 71"/>
              <a:gd name="T9" fmla="*/ 46 h 199"/>
              <a:gd name="T10" fmla="*/ 71 w 71"/>
              <a:gd name="T11" fmla="*/ 5 h 199"/>
              <a:gd name="T12" fmla="*/ 0 w 71"/>
              <a:gd name="T13" fmla="*/ 111 h 199"/>
              <a:gd name="T14" fmla="*/ 0 w 71"/>
              <a:gd name="T15" fmla="*/ 199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1" h="199">
                <a:moveTo>
                  <a:pt x="0" y="199"/>
                </a:moveTo>
                <a:cubicBezTo>
                  <a:pt x="71" y="199"/>
                  <a:pt x="71" y="199"/>
                  <a:pt x="71" y="199"/>
                </a:cubicBezTo>
                <a:cubicBezTo>
                  <a:pt x="71" y="94"/>
                  <a:pt x="71" y="94"/>
                  <a:pt x="71" y="94"/>
                </a:cubicBezTo>
                <a:cubicBezTo>
                  <a:pt x="45" y="94"/>
                  <a:pt x="45" y="94"/>
                  <a:pt x="45" y="94"/>
                </a:cubicBezTo>
                <a:cubicBezTo>
                  <a:pt x="45" y="94"/>
                  <a:pt x="41" y="58"/>
                  <a:pt x="71" y="46"/>
                </a:cubicBezTo>
                <a:cubicBezTo>
                  <a:pt x="71" y="5"/>
                  <a:pt x="71" y="5"/>
                  <a:pt x="71" y="5"/>
                </a:cubicBezTo>
                <a:cubicBezTo>
                  <a:pt x="71" y="5"/>
                  <a:pt x="4" y="0"/>
                  <a:pt x="0" y="111"/>
                </a:cubicBezTo>
                <a:lnTo>
                  <a:pt x="0" y="199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150148" tIns="75075" rIns="150148" bIns="75075" numCol="1" anchor="t" anchorCtr="0" compatLnSpc="1">
            <a:prstTxWarp prst="textNoShape">
              <a:avLst/>
            </a:prstTxWarp>
          </a:bodyPr>
          <a:lstStyle/>
          <a:p>
            <a:endParaRPr lang="en-IN" sz="2800"/>
          </a:p>
        </p:txBody>
      </p:sp>
      <p:sp>
        <p:nvSpPr>
          <p:cNvPr id="84" name="Shape2_20211213_182725">
            <a:extLst>
              <a:ext uri="{FF2B5EF4-FFF2-40B4-BE49-F238E27FC236}">
                <a16:creationId xmlns:a16="http://schemas.microsoft.com/office/drawing/2014/main" id="{03B65B2D-516F-EF6D-E152-0016AFEDDD9B}"/>
              </a:ext>
            </a:extLst>
          </p:cNvPr>
          <p:cNvSpPr>
            <a:spLocks/>
          </p:cNvSpPr>
          <p:nvPr/>
        </p:nvSpPr>
        <p:spPr bwMode="auto">
          <a:xfrm>
            <a:off x="1117551" y="3506789"/>
            <a:ext cx="175998" cy="482472"/>
          </a:xfrm>
          <a:custGeom>
            <a:avLst/>
            <a:gdLst>
              <a:gd name="T0" fmla="*/ 0 w 71"/>
              <a:gd name="T1" fmla="*/ 199 h 199"/>
              <a:gd name="T2" fmla="*/ 71 w 71"/>
              <a:gd name="T3" fmla="*/ 199 h 199"/>
              <a:gd name="T4" fmla="*/ 71 w 71"/>
              <a:gd name="T5" fmla="*/ 94 h 199"/>
              <a:gd name="T6" fmla="*/ 45 w 71"/>
              <a:gd name="T7" fmla="*/ 94 h 199"/>
              <a:gd name="T8" fmla="*/ 71 w 71"/>
              <a:gd name="T9" fmla="*/ 46 h 199"/>
              <a:gd name="T10" fmla="*/ 71 w 71"/>
              <a:gd name="T11" fmla="*/ 5 h 199"/>
              <a:gd name="T12" fmla="*/ 0 w 71"/>
              <a:gd name="T13" fmla="*/ 111 h 199"/>
              <a:gd name="T14" fmla="*/ 0 w 71"/>
              <a:gd name="T15" fmla="*/ 199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1" h="199">
                <a:moveTo>
                  <a:pt x="0" y="199"/>
                </a:moveTo>
                <a:cubicBezTo>
                  <a:pt x="71" y="199"/>
                  <a:pt x="71" y="199"/>
                  <a:pt x="71" y="199"/>
                </a:cubicBezTo>
                <a:cubicBezTo>
                  <a:pt x="71" y="94"/>
                  <a:pt x="71" y="94"/>
                  <a:pt x="71" y="94"/>
                </a:cubicBezTo>
                <a:cubicBezTo>
                  <a:pt x="45" y="94"/>
                  <a:pt x="45" y="94"/>
                  <a:pt x="45" y="94"/>
                </a:cubicBezTo>
                <a:cubicBezTo>
                  <a:pt x="45" y="94"/>
                  <a:pt x="41" y="58"/>
                  <a:pt x="71" y="46"/>
                </a:cubicBezTo>
                <a:cubicBezTo>
                  <a:pt x="71" y="5"/>
                  <a:pt x="71" y="5"/>
                  <a:pt x="71" y="5"/>
                </a:cubicBezTo>
                <a:cubicBezTo>
                  <a:pt x="71" y="5"/>
                  <a:pt x="4" y="0"/>
                  <a:pt x="0" y="111"/>
                </a:cubicBezTo>
                <a:lnTo>
                  <a:pt x="0" y="199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150148" tIns="75075" rIns="150148" bIns="75075" numCol="1" anchor="t" anchorCtr="0" compatLnSpc="1">
            <a:prstTxWarp prst="textNoShape">
              <a:avLst/>
            </a:prstTxWarp>
          </a:bodyPr>
          <a:lstStyle/>
          <a:p>
            <a:endParaRPr lang="en-IN" sz="2800"/>
          </a:p>
        </p:txBody>
      </p:sp>
      <p:sp>
        <p:nvSpPr>
          <p:cNvPr id="85" name="Shape0_20220426_142924">
            <a:extLst>
              <a:ext uri="{FF2B5EF4-FFF2-40B4-BE49-F238E27FC236}">
                <a16:creationId xmlns:a16="http://schemas.microsoft.com/office/drawing/2014/main" id="{56BB172A-2285-1154-D21C-90EEF1287C8D}"/>
              </a:ext>
            </a:extLst>
          </p:cNvPr>
          <p:cNvSpPr/>
          <p:nvPr/>
        </p:nvSpPr>
        <p:spPr>
          <a:xfrm>
            <a:off x="630475" y="1495310"/>
            <a:ext cx="5145501" cy="1896961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800" dirty="0">
              <a:solidFill>
                <a:schemeClr val="tx1"/>
              </a:solidFill>
            </a:endParaRPr>
          </a:p>
        </p:txBody>
      </p:sp>
      <p:sp>
        <p:nvSpPr>
          <p:cNvPr id="86" name="Shape0_20211019_185929">
            <a:extLst>
              <a:ext uri="{FF2B5EF4-FFF2-40B4-BE49-F238E27FC236}">
                <a16:creationId xmlns:a16="http://schemas.microsoft.com/office/drawing/2014/main" id="{B20AB159-58DB-8051-94FC-7A450433B080}"/>
              </a:ext>
            </a:extLst>
          </p:cNvPr>
          <p:cNvSpPr/>
          <p:nvPr/>
        </p:nvSpPr>
        <p:spPr>
          <a:xfrm flipH="1" flipV="1">
            <a:off x="796995" y="1275871"/>
            <a:ext cx="535292" cy="518989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800" dirty="0">
              <a:solidFill>
                <a:schemeClr val="tx1"/>
              </a:solidFill>
            </a:endParaRPr>
          </a:p>
        </p:txBody>
      </p:sp>
      <p:sp>
        <p:nvSpPr>
          <p:cNvPr id="87" name="Shape3_20211213_182725">
            <a:extLst>
              <a:ext uri="{FF2B5EF4-FFF2-40B4-BE49-F238E27FC236}">
                <a16:creationId xmlns:a16="http://schemas.microsoft.com/office/drawing/2014/main" id="{C5C64DB4-60F4-01A8-B36D-F832EC3886F7}"/>
              </a:ext>
            </a:extLst>
          </p:cNvPr>
          <p:cNvSpPr>
            <a:spLocks/>
          </p:cNvSpPr>
          <p:nvPr/>
        </p:nvSpPr>
        <p:spPr bwMode="auto">
          <a:xfrm>
            <a:off x="821394" y="1275876"/>
            <a:ext cx="175998" cy="482472"/>
          </a:xfrm>
          <a:custGeom>
            <a:avLst/>
            <a:gdLst>
              <a:gd name="T0" fmla="*/ 0 w 71"/>
              <a:gd name="T1" fmla="*/ 199 h 199"/>
              <a:gd name="T2" fmla="*/ 71 w 71"/>
              <a:gd name="T3" fmla="*/ 199 h 199"/>
              <a:gd name="T4" fmla="*/ 71 w 71"/>
              <a:gd name="T5" fmla="*/ 94 h 199"/>
              <a:gd name="T6" fmla="*/ 45 w 71"/>
              <a:gd name="T7" fmla="*/ 94 h 199"/>
              <a:gd name="T8" fmla="*/ 71 w 71"/>
              <a:gd name="T9" fmla="*/ 46 h 199"/>
              <a:gd name="T10" fmla="*/ 71 w 71"/>
              <a:gd name="T11" fmla="*/ 5 h 199"/>
              <a:gd name="T12" fmla="*/ 0 w 71"/>
              <a:gd name="T13" fmla="*/ 111 h 199"/>
              <a:gd name="T14" fmla="*/ 0 w 71"/>
              <a:gd name="T15" fmla="*/ 199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1" h="199">
                <a:moveTo>
                  <a:pt x="0" y="199"/>
                </a:moveTo>
                <a:cubicBezTo>
                  <a:pt x="71" y="199"/>
                  <a:pt x="71" y="199"/>
                  <a:pt x="71" y="199"/>
                </a:cubicBezTo>
                <a:cubicBezTo>
                  <a:pt x="71" y="94"/>
                  <a:pt x="71" y="94"/>
                  <a:pt x="71" y="94"/>
                </a:cubicBezTo>
                <a:cubicBezTo>
                  <a:pt x="45" y="94"/>
                  <a:pt x="45" y="94"/>
                  <a:pt x="45" y="94"/>
                </a:cubicBezTo>
                <a:cubicBezTo>
                  <a:pt x="45" y="94"/>
                  <a:pt x="41" y="58"/>
                  <a:pt x="71" y="46"/>
                </a:cubicBezTo>
                <a:cubicBezTo>
                  <a:pt x="71" y="5"/>
                  <a:pt x="71" y="5"/>
                  <a:pt x="71" y="5"/>
                </a:cubicBezTo>
                <a:cubicBezTo>
                  <a:pt x="71" y="5"/>
                  <a:pt x="4" y="0"/>
                  <a:pt x="0" y="111"/>
                </a:cubicBezTo>
                <a:lnTo>
                  <a:pt x="0" y="199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150148" tIns="75075" rIns="150148" bIns="75075" numCol="1" anchor="t" anchorCtr="0" compatLnSpc="1">
            <a:prstTxWarp prst="textNoShape">
              <a:avLst/>
            </a:prstTxWarp>
          </a:bodyPr>
          <a:lstStyle/>
          <a:p>
            <a:endParaRPr lang="en-IN" sz="2800"/>
          </a:p>
        </p:txBody>
      </p:sp>
      <p:sp>
        <p:nvSpPr>
          <p:cNvPr id="88" name="Shape4_20211213_182725">
            <a:extLst>
              <a:ext uri="{FF2B5EF4-FFF2-40B4-BE49-F238E27FC236}">
                <a16:creationId xmlns:a16="http://schemas.microsoft.com/office/drawing/2014/main" id="{396F0CBC-6EA1-705B-A97A-5372D4B5AF18}"/>
              </a:ext>
            </a:extLst>
          </p:cNvPr>
          <p:cNvSpPr>
            <a:spLocks/>
          </p:cNvSpPr>
          <p:nvPr/>
        </p:nvSpPr>
        <p:spPr bwMode="auto">
          <a:xfrm>
            <a:off x="1117551" y="1275876"/>
            <a:ext cx="175998" cy="482472"/>
          </a:xfrm>
          <a:custGeom>
            <a:avLst/>
            <a:gdLst>
              <a:gd name="T0" fmla="*/ 0 w 71"/>
              <a:gd name="T1" fmla="*/ 199 h 199"/>
              <a:gd name="T2" fmla="*/ 71 w 71"/>
              <a:gd name="T3" fmla="*/ 199 h 199"/>
              <a:gd name="T4" fmla="*/ 71 w 71"/>
              <a:gd name="T5" fmla="*/ 94 h 199"/>
              <a:gd name="T6" fmla="*/ 45 w 71"/>
              <a:gd name="T7" fmla="*/ 94 h 199"/>
              <a:gd name="T8" fmla="*/ 71 w 71"/>
              <a:gd name="T9" fmla="*/ 46 h 199"/>
              <a:gd name="T10" fmla="*/ 71 w 71"/>
              <a:gd name="T11" fmla="*/ 5 h 199"/>
              <a:gd name="T12" fmla="*/ 0 w 71"/>
              <a:gd name="T13" fmla="*/ 111 h 199"/>
              <a:gd name="T14" fmla="*/ 0 w 71"/>
              <a:gd name="T15" fmla="*/ 199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1" h="199">
                <a:moveTo>
                  <a:pt x="0" y="199"/>
                </a:moveTo>
                <a:cubicBezTo>
                  <a:pt x="71" y="199"/>
                  <a:pt x="71" y="199"/>
                  <a:pt x="71" y="199"/>
                </a:cubicBezTo>
                <a:cubicBezTo>
                  <a:pt x="71" y="94"/>
                  <a:pt x="71" y="94"/>
                  <a:pt x="71" y="94"/>
                </a:cubicBezTo>
                <a:cubicBezTo>
                  <a:pt x="45" y="94"/>
                  <a:pt x="45" y="94"/>
                  <a:pt x="45" y="94"/>
                </a:cubicBezTo>
                <a:cubicBezTo>
                  <a:pt x="45" y="94"/>
                  <a:pt x="41" y="58"/>
                  <a:pt x="71" y="46"/>
                </a:cubicBezTo>
                <a:cubicBezTo>
                  <a:pt x="71" y="5"/>
                  <a:pt x="71" y="5"/>
                  <a:pt x="71" y="5"/>
                </a:cubicBezTo>
                <a:cubicBezTo>
                  <a:pt x="71" y="5"/>
                  <a:pt x="4" y="0"/>
                  <a:pt x="0" y="111"/>
                </a:cubicBezTo>
                <a:lnTo>
                  <a:pt x="0" y="199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150148" tIns="75075" rIns="150148" bIns="75075" numCol="1" anchor="t" anchorCtr="0" compatLnSpc="1">
            <a:prstTxWarp prst="textNoShape">
              <a:avLst/>
            </a:prstTxWarp>
          </a:bodyPr>
          <a:lstStyle/>
          <a:p>
            <a:endParaRPr lang="en-IN" sz="2800"/>
          </a:p>
        </p:txBody>
      </p:sp>
      <p:sp>
        <p:nvSpPr>
          <p:cNvPr id="89" name="Shape2_20220426_142924">
            <a:extLst>
              <a:ext uri="{FF2B5EF4-FFF2-40B4-BE49-F238E27FC236}">
                <a16:creationId xmlns:a16="http://schemas.microsoft.com/office/drawing/2014/main" id="{4722581E-D09E-3CCA-218A-445C43AB5CA1}"/>
              </a:ext>
            </a:extLst>
          </p:cNvPr>
          <p:cNvSpPr/>
          <p:nvPr/>
        </p:nvSpPr>
        <p:spPr>
          <a:xfrm>
            <a:off x="6272776" y="1495310"/>
            <a:ext cx="5145501" cy="1896961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800" dirty="0">
              <a:solidFill>
                <a:schemeClr val="tx1"/>
              </a:solidFill>
            </a:endParaRPr>
          </a:p>
        </p:txBody>
      </p:sp>
      <p:sp>
        <p:nvSpPr>
          <p:cNvPr id="90" name="Shape2_20211019_185929">
            <a:extLst>
              <a:ext uri="{FF2B5EF4-FFF2-40B4-BE49-F238E27FC236}">
                <a16:creationId xmlns:a16="http://schemas.microsoft.com/office/drawing/2014/main" id="{7FF1058F-ACCF-569F-B095-D33B8DDE73D6}"/>
              </a:ext>
            </a:extLst>
          </p:cNvPr>
          <p:cNvSpPr/>
          <p:nvPr/>
        </p:nvSpPr>
        <p:spPr>
          <a:xfrm flipH="1" flipV="1">
            <a:off x="6439298" y="1275871"/>
            <a:ext cx="535292" cy="518989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800" dirty="0">
              <a:solidFill>
                <a:schemeClr val="tx1"/>
              </a:solidFill>
            </a:endParaRPr>
          </a:p>
        </p:txBody>
      </p:sp>
      <p:sp>
        <p:nvSpPr>
          <p:cNvPr id="91" name="Shape5_20211213_182725">
            <a:extLst>
              <a:ext uri="{FF2B5EF4-FFF2-40B4-BE49-F238E27FC236}">
                <a16:creationId xmlns:a16="http://schemas.microsoft.com/office/drawing/2014/main" id="{EAB76C0A-5094-D9BA-1DCB-B184A0FC85D1}"/>
              </a:ext>
            </a:extLst>
          </p:cNvPr>
          <p:cNvSpPr>
            <a:spLocks/>
          </p:cNvSpPr>
          <p:nvPr/>
        </p:nvSpPr>
        <p:spPr bwMode="auto">
          <a:xfrm>
            <a:off x="6463693" y="1275876"/>
            <a:ext cx="175998" cy="482472"/>
          </a:xfrm>
          <a:custGeom>
            <a:avLst/>
            <a:gdLst>
              <a:gd name="T0" fmla="*/ 0 w 71"/>
              <a:gd name="T1" fmla="*/ 199 h 199"/>
              <a:gd name="T2" fmla="*/ 71 w 71"/>
              <a:gd name="T3" fmla="*/ 199 h 199"/>
              <a:gd name="T4" fmla="*/ 71 w 71"/>
              <a:gd name="T5" fmla="*/ 94 h 199"/>
              <a:gd name="T6" fmla="*/ 45 w 71"/>
              <a:gd name="T7" fmla="*/ 94 h 199"/>
              <a:gd name="T8" fmla="*/ 71 w 71"/>
              <a:gd name="T9" fmla="*/ 46 h 199"/>
              <a:gd name="T10" fmla="*/ 71 w 71"/>
              <a:gd name="T11" fmla="*/ 5 h 199"/>
              <a:gd name="T12" fmla="*/ 0 w 71"/>
              <a:gd name="T13" fmla="*/ 111 h 199"/>
              <a:gd name="T14" fmla="*/ 0 w 71"/>
              <a:gd name="T15" fmla="*/ 199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1" h="199">
                <a:moveTo>
                  <a:pt x="0" y="199"/>
                </a:moveTo>
                <a:cubicBezTo>
                  <a:pt x="71" y="199"/>
                  <a:pt x="71" y="199"/>
                  <a:pt x="71" y="199"/>
                </a:cubicBezTo>
                <a:cubicBezTo>
                  <a:pt x="71" y="94"/>
                  <a:pt x="71" y="94"/>
                  <a:pt x="71" y="94"/>
                </a:cubicBezTo>
                <a:cubicBezTo>
                  <a:pt x="45" y="94"/>
                  <a:pt x="45" y="94"/>
                  <a:pt x="45" y="94"/>
                </a:cubicBezTo>
                <a:cubicBezTo>
                  <a:pt x="45" y="94"/>
                  <a:pt x="41" y="58"/>
                  <a:pt x="71" y="46"/>
                </a:cubicBezTo>
                <a:cubicBezTo>
                  <a:pt x="71" y="5"/>
                  <a:pt x="71" y="5"/>
                  <a:pt x="71" y="5"/>
                </a:cubicBezTo>
                <a:cubicBezTo>
                  <a:pt x="71" y="5"/>
                  <a:pt x="4" y="0"/>
                  <a:pt x="0" y="111"/>
                </a:cubicBezTo>
                <a:lnTo>
                  <a:pt x="0" y="199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150148" tIns="75075" rIns="150148" bIns="75075" numCol="1" anchor="t" anchorCtr="0" compatLnSpc="1">
            <a:prstTxWarp prst="textNoShape">
              <a:avLst/>
            </a:prstTxWarp>
          </a:bodyPr>
          <a:lstStyle/>
          <a:p>
            <a:endParaRPr lang="en-IN" sz="2800"/>
          </a:p>
        </p:txBody>
      </p:sp>
      <p:sp>
        <p:nvSpPr>
          <p:cNvPr id="92" name="Shape6_20211213_182725">
            <a:extLst>
              <a:ext uri="{FF2B5EF4-FFF2-40B4-BE49-F238E27FC236}">
                <a16:creationId xmlns:a16="http://schemas.microsoft.com/office/drawing/2014/main" id="{CD7BEE51-3FA1-1F25-5EDD-B92A9CEA9E03}"/>
              </a:ext>
            </a:extLst>
          </p:cNvPr>
          <p:cNvSpPr>
            <a:spLocks/>
          </p:cNvSpPr>
          <p:nvPr/>
        </p:nvSpPr>
        <p:spPr bwMode="auto">
          <a:xfrm>
            <a:off x="6759855" y="1275876"/>
            <a:ext cx="175998" cy="482472"/>
          </a:xfrm>
          <a:custGeom>
            <a:avLst/>
            <a:gdLst>
              <a:gd name="T0" fmla="*/ 0 w 71"/>
              <a:gd name="T1" fmla="*/ 199 h 199"/>
              <a:gd name="T2" fmla="*/ 71 w 71"/>
              <a:gd name="T3" fmla="*/ 199 h 199"/>
              <a:gd name="T4" fmla="*/ 71 w 71"/>
              <a:gd name="T5" fmla="*/ 94 h 199"/>
              <a:gd name="T6" fmla="*/ 45 w 71"/>
              <a:gd name="T7" fmla="*/ 94 h 199"/>
              <a:gd name="T8" fmla="*/ 71 w 71"/>
              <a:gd name="T9" fmla="*/ 46 h 199"/>
              <a:gd name="T10" fmla="*/ 71 w 71"/>
              <a:gd name="T11" fmla="*/ 5 h 199"/>
              <a:gd name="T12" fmla="*/ 0 w 71"/>
              <a:gd name="T13" fmla="*/ 111 h 199"/>
              <a:gd name="T14" fmla="*/ 0 w 71"/>
              <a:gd name="T15" fmla="*/ 199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1" h="199">
                <a:moveTo>
                  <a:pt x="0" y="199"/>
                </a:moveTo>
                <a:cubicBezTo>
                  <a:pt x="71" y="199"/>
                  <a:pt x="71" y="199"/>
                  <a:pt x="71" y="199"/>
                </a:cubicBezTo>
                <a:cubicBezTo>
                  <a:pt x="71" y="94"/>
                  <a:pt x="71" y="94"/>
                  <a:pt x="71" y="94"/>
                </a:cubicBezTo>
                <a:cubicBezTo>
                  <a:pt x="45" y="94"/>
                  <a:pt x="45" y="94"/>
                  <a:pt x="45" y="94"/>
                </a:cubicBezTo>
                <a:cubicBezTo>
                  <a:pt x="45" y="94"/>
                  <a:pt x="41" y="58"/>
                  <a:pt x="71" y="46"/>
                </a:cubicBezTo>
                <a:cubicBezTo>
                  <a:pt x="71" y="5"/>
                  <a:pt x="71" y="5"/>
                  <a:pt x="71" y="5"/>
                </a:cubicBezTo>
                <a:cubicBezTo>
                  <a:pt x="71" y="5"/>
                  <a:pt x="4" y="0"/>
                  <a:pt x="0" y="111"/>
                </a:cubicBezTo>
                <a:lnTo>
                  <a:pt x="0" y="199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150148" tIns="75075" rIns="150148" bIns="75075" numCol="1" anchor="t" anchorCtr="0" compatLnSpc="1">
            <a:prstTxWarp prst="textNoShape">
              <a:avLst/>
            </a:prstTxWarp>
          </a:bodyPr>
          <a:lstStyle/>
          <a:p>
            <a:endParaRPr lang="en-IN" sz="2800" dirty="0"/>
          </a:p>
        </p:txBody>
      </p:sp>
      <p:sp>
        <p:nvSpPr>
          <p:cNvPr id="93" name="Shape3_20220426_142924">
            <a:extLst>
              <a:ext uri="{FF2B5EF4-FFF2-40B4-BE49-F238E27FC236}">
                <a16:creationId xmlns:a16="http://schemas.microsoft.com/office/drawing/2014/main" id="{F4DA24A8-FD3B-AC74-2517-92324AC0B5C5}"/>
              </a:ext>
            </a:extLst>
          </p:cNvPr>
          <p:cNvSpPr/>
          <p:nvPr/>
        </p:nvSpPr>
        <p:spPr>
          <a:xfrm>
            <a:off x="6272776" y="3685167"/>
            <a:ext cx="5145501" cy="1896961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800" dirty="0">
              <a:solidFill>
                <a:schemeClr val="tx1"/>
              </a:solidFill>
            </a:endParaRPr>
          </a:p>
        </p:txBody>
      </p:sp>
      <p:sp>
        <p:nvSpPr>
          <p:cNvPr id="94" name="Shape3_20211019_185929">
            <a:extLst>
              <a:ext uri="{FF2B5EF4-FFF2-40B4-BE49-F238E27FC236}">
                <a16:creationId xmlns:a16="http://schemas.microsoft.com/office/drawing/2014/main" id="{28C46E63-62D4-EA2E-D94A-5FD1D4B9E414}"/>
              </a:ext>
            </a:extLst>
          </p:cNvPr>
          <p:cNvSpPr/>
          <p:nvPr/>
        </p:nvSpPr>
        <p:spPr>
          <a:xfrm flipH="1" flipV="1">
            <a:off x="6439298" y="3506787"/>
            <a:ext cx="535292" cy="518989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800" dirty="0">
              <a:solidFill>
                <a:schemeClr val="tx1"/>
              </a:solidFill>
            </a:endParaRPr>
          </a:p>
        </p:txBody>
      </p:sp>
      <p:sp>
        <p:nvSpPr>
          <p:cNvPr id="95" name="Shape7_20211213_182725">
            <a:extLst>
              <a:ext uri="{FF2B5EF4-FFF2-40B4-BE49-F238E27FC236}">
                <a16:creationId xmlns:a16="http://schemas.microsoft.com/office/drawing/2014/main" id="{F8EF3781-CFAF-2532-DA4D-AE162C2B36DC}"/>
              </a:ext>
            </a:extLst>
          </p:cNvPr>
          <p:cNvSpPr>
            <a:spLocks/>
          </p:cNvSpPr>
          <p:nvPr/>
        </p:nvSpPr>
        <p:spPr bwMode="auto">
          <a:xfrm>
            <a:off x="6463693" y="3506789"/>
            <a:ext cx="175998" cy="482472"/>
          </a:xfrm>
          <a:custGeom>
            <a:avLst/>
            <a:gdLst>
              <a:gd name="T0" fmla="*/ 0 w 71"/>
              <a:gd name="T1" fmla="*/ 199 h 199"/>
              <a:gd name="T2" fmla="*/ 71 w 71"/>
              <a:gd name="T3" fmla="*/ 199 h 199"/>
              <a:gd name="T4" fmla="*/ 71 w 71"/>
              <a:gd name="T5" fmla="*/ 94 h 199"/>
              <a:gd name="T6" fmla="*/ 45 w 71"/>
              <a:gd name="T7" fmla="*/ 94 h 199"/>
              <a:gd name="T8" fmla="*/ 71 w 71"/>
              <a:gd name="T9" fmla="*/ 46 h 199"/>
              <a:gd name="T10" fmla="*/ 71 w 71"/>
              <a:gd name="T11" fmla="*/ 5 h 199"/>
              <a:gd name="T12" fmla="*/ 0 w 71"/>
              <a:gd name="T13" fmla="*/ 111 h 199"/>
              <a:gd name="T14" fmla="*/ 0 w 71"/>
              <a:gd name="T15" fmla="*/ 199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1" h="199">
                <a:moveTo>
                  <a:pt x="0" y="199"/>
                </a:moveTo>
                <a:cubicBezTo>
                  <a:pt x="71" y="199"/>
                  <a:pt x="71" y="199"/>
                  <a:pt x="71" y="199"/>
                </a:cubicBezTo>
                <a:cubicBezTo>
                  <a:pt x="71" y="94"/>
                  <a:pt x="71" y="94"/>
                  <a:pt x="71" y="94"/>
                </a:cubicBezTo>
                <a:cubicBezTo>
                  <a:pt x="45" y="94"/>
                  <a:pt x="45" y="94"/>
                  <a:pt x="45" y="94"/>
                </a:cubicBezTo>
                <a:cubicBezTo>
                  <a:pt x="45" y="94"/>
                  <a:pt x="41" y="58"/>
                  <a:pt x="71" y="46"/>
                </a:cubicBezTo>
                <a:cubicBezTo>
                  <a:pt x="71" y="5"/>
                  <a:pt x="71" y="5"/>
                  <a:pt x="71" y="5"/>
                </a:cubicBezTo>
                <a:cubicBezTo>
                  <a:pt x="71" y="5"/>
                  <a:pt x="4" y="0"/>
                  <a:pt x="0" y="111"/>
                </a:cubicBezTo>
                <a:lnTo>
                  <a:pt x="0" y="199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150148" tIns="75075" rIns="150148" bIns="75075" numCol="1" anchor="t" anchorCtr="0" compatLnSpc="1">
            <a:prstTxWarp prst="textNoShape">
              <a:avLst/>
            </a:prstTxWarp>
          </a:bodyPr>
          <a:lstStyle/>
          <a:p>
            <a:endParaRPr lang="en-IN" sz="2800"/>
          </a:p>
        </p:txBody>
      </p:sp>
      <p:sp>
        <p:nvSpPr>
          <p:cNvPr id="96" name="Shape8_20211213_182725">
            <a:extLst>
              <a:ext uri="{FF2B5EF4-FFF2-40B4-BE49-F238E27FC236}">
                <a16:creationId xmlns:a16="http://schemas.microsoft.com/office/drawing/2014/main" id="{27873D4F-C43A-954D-45AC-04620E0AD1CF}"/>
              </a:ext>
            </a:extLst>
          </p:cNvPr>
          <p:cNvSpPr>
            <a:spLocks/>
          </p:cNvSpPr>
          <p:nvPr/>
        </p:nvSpPr>
        <p:spPr bwMode="auto">
          <a:xfrm>
            <a:off x="6759855" y="3506789"/>
            <a:ext cx="175998" cy="482472"/>
          </a:xfrm>
          <a:custGeom>
            <a:avLst/>
            <a:gdLst>
              <a:gd name="T0" fmla="*/ 0 w 71"/>
              <a:gd name="T1" fmla="*/ 199 h 199"/>
              <a:gd name="T2" fmla="*/ 71 w 71"/>
              <a:gd name="T3" fmla="*/ 199 h 199"/>
              <a:gd name="T4" fmla="*/ 71 w 71"/>
              <a:gd name="T5" fmla="*/ 94 h 199"/>
              <a:gd name="T6" fmla="*/ 45 w 71"/>
              <a:gd name="T7" fmla="*/ 94 h 199"/>
              <a:gd name="T8" fmla="*/ 71 w 71"/>
              <a:gd name="T9" fmla="*/ 46 h 199"/>
              <a:gd name="T10" fmla="*/ 71 w 71"/>
              <a:gd name="T11" fmla="*/ 5 h 199"/>
              <a:gd name="T12" fmla="*/ 0 w 71"/>
              <a:gd name="T13" fmla="*/ 111 h 199"/>
              <a:gd name="T14" fmla="*/ 0 w 71"/>
              <a:gd name="T15" fmla="*/ 199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1" h="199">
                <a:moveTo>
                  <a:pt x="0" y="199"/>
                </a:moveTo>
                <a:cubicBezTo>
                  <a:pt x="71" y="199"/>
                  <a:pt x="71" y="199"/>
                  <a:pt x="71" y="199"/>
                </a:cubicBezTo>
                <a:cubicBezTo>
                  <a:pt x="71" y="94"/>
                  <a:pt x="71" y="94"/>
                  <a:pt x="71" y="94"/>
                </a:cubicBezTo>
                <a:cubicBezTo>
                  <a:pt x="45" y="94"/>
                  <a:pt x="45" y="94"/>
                  <a:pt x="45" y="94"/>
                </a:cubicBezTo>
                <a:cubicBezTo>
                  <a:pt x="45" y="94"/>
                  <a:pt x="41" y="58"/>
                  <a:pt x="71" y="46"/>
                </a:cubicBezTo>
                <a:cubicBezTo>
                  <a:pt x="71" y="5"/>
                  <a:pt x="71" y="5"/>
                  <a:pt x="71" y="5"/>
                </a:cubicBezTo>
                <a:cubicBezTo>
                  <a:pt x="71" y="5"/>
                  <a:pt x="4" y="0"/>
                  <a:pt x="0" y="111"/>
                </a:cubicBezTo>
                <a:lnTo>
                  <a:pt x="0" y="199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150148" tIns="75075" rIns="150148" bIns="75075" numCol="1" anchor="t" anchorCtr="0" compatLnSpc="1">
            <a:prstTxWarp prst="textNoShape">
              <a:avLst/>
            </a:prstTxWarp>
          </a:bodyPr>
          <a:lstStyle/>
          <a:p>
            <a:endParaRPr lang="en-IN" sz="2800"/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3FEA1162-4E23-82D0-7594-14C28A4D007F}"/>
              </a:ext>
            </a:extLst>
          </p:cNvPr>
          <p:cNvSpPr/>
          <p:nvPr/>
        </p:nvSpPr>
        <p:spPr>
          <a:xfrm>
            <a:off x="10778873" y="5010848"/>
            <a:ext cx="507339" cy="518989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800" dirty="0">
              <a:solidFill>
                <a:schemeClr val="tx1"/>
              </a:solidFill>
            </a:endParaRPr>
          </a:p>
        </p:txBody>
      </p:sp>
      <p:sp>
        <p:nvSpPr>
          <p:cNvPr id="101" name="Shape9_20211213_182725">
            <a:extLst>
              <a:ext uri="{FF2B5EF4-FFF2-40B4-BE49-F238E27FC236}">
                <a16:creationId xmlns:a16="http://schemas.microsoft.com/office/drawing/2014/main" id="{DE68B583-7A54-30C6-E530-3682A1BBDD32}"/>
              </a:ext>
            </a:extLst>
          </p:cNvPr>
          <p:cNvSpPr>
            <a:spLocks/>
          </p:cNvSpPr>
          <p:nvPr/>
        </p:nvSpPr>
        <p:spPr bwMode="auto">
          <a:xfrm flipH="1" flipV="1">
            <a:off x="11113769" y="5047366"/>
            <a:ext cx="175998" cy="482472"/>
          </a:xfrm>
          <a:custGeom>
            <a:avLst/>
            <a:gdLst>
              <a:gd name="T0" fmla="*/ 0 w 71"/>
              <a:gd name="T1" fmla="*/ 199 h 199"/>
              <a:gd name="T2" fmla="*/ 71 w 71"/>
              <a:gd name="T3" fmla="*/ 199 h 199"/>
              <a:gd name="T4" fmla="*/ 71 w 71"/>
              <a:gd name="T5" fmla="*/ 94 h 199"/>
              <a:gd name="T6" fmla="*/ 45 w 71"/>
              <a:gd name="T7" fmla="*/ 94 h 199"/>
              <a:gd name="T8" fmla="*/ 71 w 71"/>
              <a:gd name="T9" fmla="*/ 46 h 199"/>
              <a:gd name="T10" fmla="*/ 71 w 71"/>
              <a:gd name="T11" fmla="*/ 5 h 199"/>
              <a:gd name="T12" fmla="*/ 0 w 71"/>
              <a:gd name="T13" fmla="*/ 111 h 199"/>
              <a:gd name="T14" fmla="*/ 0 w 71"/>
              <a:gd name="T15" fmla="*/ 199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1" h="199">
                <a:moveTo>
                  <a:pt x="0" y="199"/>
                </a:moveTo>
                <a:cubicBezTo>
                  <a:pt x="71" y="199"/>
                  <a:pt x="71" y="199"/>
                  <a:pt x="71" y="199"/>
                </a:cubicBezTo>
                <a:cubicBezTo>
                  <a:pt x="71" y="94"/>
                  <a:pt x="71" y="94"/>
                  <a:pt x="71" y="94"/>
                </a:cubicBezTo>
                <a:cubicBezTo>
                  <a:pt x="45" y="94"/>
                  <a:pt x="45" y="94"/>
                  <a:pt x="45" y="94"/>
                </a:cubicBezTo>
                <a:cubicBezTo>
                  <a:pt x="45" y="94"/>
                  <a:pt x="41" y="58"/>
                  <a:pt x="71" y="46"/>
                </a:cubicBezTo>
                <a:cubicBezTo>
                  <a:pt x="71" y="5"/>
                  <a:pt x="71" y="5"/>
                  <a:pt x="71" y="5"/>
                </a:cubicBezTo>
                <a:cubicBezTo>
                  <a:pt x="71" y="5"/>
                  <a:pt x="4" y="0"/>
                  <a:pt x="0" y="111"/>
                </a:cubicBezTo>
                <a:lnTo>
                  <a:pt x="0" y="199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150148" tIns="75075" rIns="150148" bIns="75075" numCol="1" anchor="t" anchorCtr="0" compatLnSpc="1">
            <a:prstTxWarp prst="textNoShape">
              <a:avLst/>
            </a:prstTxWarp>
          </a:bodyPr>
          <a:lstStyle/>
          <a:p>
            <a:endParaRPr lang="en-IN" sz="2800"/>
          </a:p>
        </p:txBody>
      </p:sp>
      <p:sp>
        <p:nvSpPr>
          <p:cNvPr id="102" name="Shape10_20211213_182725">
            <a:extLst>
              <a:ext uri="{FF2B5EF4-FFF2-40B4-BE49-F238E27FC236}">
                <a16:creationId xmlns:a16="http://schemas.microsoft.com/office/drawing/2014/main" id="{A7569335-8172-3532-AFB6-6FF5B66EAA70}"/>
              </a:ext>
            </a:extLst>
          </p:cNvPr>
          <p:cNvSpPr>
            <a:spLocks/>
          </p:cNvSpPr>
          <p:nvPr/>
        </p:nvSpPr>
        <p:spPr bwMode="auto">
          <a:xfrm flipH="1" flipV="1">
            <a:off x="10817610" y="5047366"/>
            <a:ext cx="175998" cy="482472"/>
          </a:xfrm>
          <a:custGeom>
            <a:avLst/>
            <a:gdLst>
              <a:gd name="T0" fmla="*/ 0 w 71"/>
              <a:gd name="T1" fmla="*/ 199 h 199"/>
              <a:gd name="T2" fmla="*/ 71 w 71"/>
              <a:gd name="T3" fmla="*/ 199 h 199"/>
              <a:gd name="T4" fmla="*/ 71 w 71"/>
              <a:gd name="T5" fmla="*/ 94 h 199"/>
              <a:gd name="T6" fmla="*/ 45 w 71"/>
              <a:gd name="T7" fmla="*/ 94 h 199"/>
              <a:gd name="T8" fmla="*/ 71 w 71"/>
              <a:gd name="T9" fmla="*/ 46 h 199"/>
              <a:gd name="T10" fmla="*/ 71 w 71"/>
              <a:gd name="T11" fmla="*/ 5 h 199"/>
              <a:gd name="T12" fmla="*/ 0 w 71"/>
              <a:gd name="T13" fmla="*/ 111 h 199"/>
              <a:gd name="T14" fmla="*/ 0 w 71"/>
              <a:gd name="T15" fmla="*/ 199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1" h="199">
                <a:moveTo>
                  <a:pt x="0" y="199"/>
                </a:moveTo>
                <a:cubicBezTo>
                  <a:pt x="71" y="199"/>
                  <a:pt x="71" y="199"/>
                  <a:pt x="71" y="199"/>
                </a:cubicBezTo>
                <a:cubicBezTo>
                  <a:pt x="71" y="94"/>
                  <a:pt x="71" y="94"/>
                  <a:pt x="71" y="94"/>
                </a:cubicBezTo>
                <a:cubicBezTo>
                  <a:pt x="45" y="94"/>
                  <a:pt x="45" y="94"/>
                  <a:pt x="45" y="94"/>
                </a:cubicBezTo>
                <a:cubicBezTo>
                  <a:pt x="45" y="94"/>
                  <a:pt x="41" y="58"/>
                  <a:pt x="71" y="46"/>
                </a:cubicBezTo>
                <a:cubicBezTo>
                  <a:pt x="71" y="5"/>
                  <a:pt x="71" y="5"/>
                  <a:pt x="71" y="5"/>
                </a:cubicBezTo>
                <a:cubicBezTo>
                  <a:pt x="71" y="5"/>
                  <a:pt x="4" y="0"/>
                  <a:pt x="0" y="111"/>
                </a:cubicBezTo>
                <a:lnTo>
                  <a:pt x="0" y="199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150148" tIns="75075" rIns="150148" bIns="75075" numCol="1" anchor="t" anchorCtr="0" compatLnSpc="1">
            <a:prstTxWarp prst="textNoShape">
              <a:avLst/>
            </a:prstTxWarp>
          </a:bodyPr>
          <a:lstStyle/>
          <a:p>
            <a:endParaRPr lang="en-IN" sz="2800"/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81714DF4-971B-36C4-9BE0-D129700EB244}"/>
              </a:ext>
            </a:extLst>
          </p:cNvPr>
          <p:cNvSpPr/>
          <p:nvPr/>
        </p:nvSpPr>
        <p:spPr>
          <a:xfrm>
            <a:off x="5128217" y="2816450"/>
            <a:ext cx="507339" cy="518989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800" dirty="0">
              <a:solidFill>
                <a:schemeClr val="tx1"/>
              </a:solidFill>
            </a:endParaRPr>
          </a:p>
        </p:txBody>
      </p:sp>
      <p:sp>
        <p:nvSpPr>
          <p:cNvPr id="104" name="Shape11_20211213_182725">
            <a:extLst>
              <a:ext uri="{FF2B5EF4-FFF2-40B4-BE49-F238E27FC236}">
                <a16:creationId xmlns:a16="http://schemas.microsoft.com/office/drawing/2014/main" id="{3FC6500D-AE15-A035-67C7-D80478AF7E0C}"/>
              </a:ext>
            </a:extLst>
          </p:cNvPr>
          <p:cNvSpPr>
            <a:spLocks/>
          </p:cNvSpPr>
          <p:nvPr/>
        </p:nvSpPr>
        <p:spPr bwMode="auto">
          <a:xfrm flipH="1" flipV="1">
            <a:off x="5463115" y="2852969"/>
            <a:ext cx="175998" cy="482472"/>
          </a:xfrm>
          <a:custGeom>
            <a:avLst/>
            <a:gdLst>
              <a:gd name="T0" fmla="*/ 0 w 71"/>
              <a:gd name="T1" fmla="*/ 199 h 199"/>
              <a:gd name="T2" fmla="*/ 71 w 71"/>
              <a:gd name="T3" fmla="*/ 199 h 199"/>
              <a:gd name="T4" fmla="*/ 71 w 71"/>
              <a:gd name="T5" fmla="*/ 94 h 199"/>
              <a:gd name="T6" fmla="*/ 45 w 71"/>
              <a:gd name="T7" fmla="*/ 94 h 199"/>
              <a:gd name="T8" fmla="*/ 71 w 71"/>
              <a:gd name="T9" fmla="*/ 46 h 199"/>
              <a:gd name="T10" fmla="*/ 71 w 71"/>
              <a:gd name="T11" fmla="*/ 5 h 199"/>
              <a:gd name="T12" fmla="*/ 0 w 71"/>
              <a:gd name="T13" fmla="*/ 111 h 199"/>
              <a:gd name="T14" fmla="*/ 0 w 71"/>
              <a:gd name="T15" fmla="*/ 199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1" h="199">
                <a:moveTo>
                  <a:pt x="0" y="199"/>
                </a:moveTo>
                <a:cubicBezTo>
                  <a:pt x="71" y="199"/>
                  <a:pt x="71" y="199"/>
                  <a:pt x="71" y="199"/>
                </a:cubicBezTo>
                <a:cubicBezTo>
                  <a:pt x="71" y="94"/>
                  <a:pt x="71" y="94"/>
                  <a:pt x="71" y="94"/>
                </a:cubicBezTo>
                <a:cubicBezTo>
                  <a:pt x="45" y="94"/>
                  <a:pt x="45" y="94"/>
                  <a:pt x="45" y="94"/>
                </a:cubicBezTo>
                <a:cubicBezTo>
                  <a:pt x="45" y="94"/>
                  <a:pt x="41" y="58"/>
                  <a:pt x="71" y="46"/>
                </a:cubicBezTo>
                <a:cubicBezTo>
                  <a:pt x="71" y="5"/>
                  <a:pt x="71" y="5"/>
                  <a:pt x="71" y="5"/>
                </a:cubicBezTo>
                <a:cubicBezTo>
                  <a:pt x="71" y="5"/>
                  <a:pt x="4" y="0"/>
                  <a:pt x="0" y="111"/>
                </a:cubicBezTo>
                <a:lnTo>
                  <a:pt x="0" y="199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150148" tIns="75075" rIns="150148" bIns="75075" numCol="1" anchor="t" anchorCtr="0" compatLnSpc="1">
            <a:prstTxWarp prst="textNoShape">
              <a:avLst/>
            </a:prstTxWarp>
          </a:bodyPr>
          <a:lstStyle/>
          <a:p>
            <a:endParaRPr lang="en-IN" sz="2800"/>
          </a:p>
        </p:txBody>
      </p:sp>
      <p:sp>
        <p:nvSpPr>
          <p:cNvPr id="105" name="Shape12_20211213_182725">
            <a:extLst>
              <a:ext uri="{FF2B5EF4-FFF2-40B4-BE49-F238E27FC236}">
                <a16:creationId xmlns:a16="http://schemas.microsoft.com/office/drawing/2014/main" id="{9E8FE138-9CB0-132F-0FDC-1AC3F6A48C09}"/>
              </a:ext>
            </a:extLst>
          </p:cNvPr>
          <p:cNvSpPr>
            <a:spLocks/>
          </p:cNvSpPr>
          <p:nvPr/>
        </p:nvSpPr>
        <p:spPr bwMode="auto">
          <a:xfrm flipH="1" flipV="1">
            <a:off x="5166955" y="2852969"/>
            <a:ext cx="175998" cy="482472"/>
          </a:xfrm>
          <a:custGeom>
            <a:avLst/>
            <a:gdLst>
              <a:gd name="T0" fmla="*/ 0 w 71"/>
              <a:gd name="T1" fmla="*/ 199 h 199"/>
              <a:gd name="T2" fmla="*/ 71 w 71"/>
              <a:gd name="T3" fmla="*/ 199 h 199"/>
              <a:gd name="T4" fmla="*/ 71 w 71"/>
              <a:gd name="T5" fmla="*/ 94 h 199"/>
              <a:gd name="T6" fmla="*/ 45 w 71"/>
              <a:gd name="T7" fmla="*/ 94 h 199"/>
              <a:gd name="T8" fmla="*/ 71 w 71"/>
              <a:gd name="T9" fmla="*/ 46 h 199"/>
              <a:gd name="T10" fmla="*/ 71 w 71"/>
              <a:gd name="T11" fmla="*/ 5 h 199"/>
              <a:gd name="T12" fmla="*/ 0 w 71"/>
              <a:gd name="T13" fmla="*/ 111 h 199"/>
              <a:gd name="T14" fmla="*/ 0 w 71"/>
              <a:gd name="T15" fmla="*/ 199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1" h="199">
                <a:moveTo>
                  <a:pt x="0" y="199"/>
                </a:moveTo>
                <a:cubicBezTo>
                  <a:pt x="71" y="199"/>
                  <a:pt x="71" y="199"/>
                  <a:pt x="71" y="199"/>
                </a:cubicBezTo>
                <a:cubicBezTo>
                  <a:pt x="71" y="94"/>
                  <a:pt x="71" y="94"/>
                  <a:pt x="71" y="94"/>
                </a:cubicBezTo>
                <a:cubicBezTo>
                  <a:pt x="45" y="94"/>
                  <a:pt x="45" y="94"/>
                  <a:pt x="45" y="94"/>
                </a:cubicBezTo>
                <a:cubicBezTo>
                  <a:pt x="45" y="94"/>
                  <a:pt x="41" y="58"/>
                  <a:pt x="71" y="46"/>
                </a:cubicBezTo>
                <a:cubicBezTo>
                  <a:pt x="71" y="5"/>
                  <a:pt x="71" y="5"/>
                  <a:pt x="71" y="5"/>
                </a:cubicBezTo>
                <a:cubicBezTo>
                  <a:pt x="71" y="5"/>
                  <a:pt x="4" y="0"/>
                  <a:pt x="0" y="111"/>
                </a:cubicBezTo>
                <a:lnTo>
                  <a:pt x="0" y="199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150148" tIns="75075" rIns="150148" bIns="75075" numCol="1" anchor="t" anchorCtr="0" compatLnSpc="1">
            <a:prstTxWarp prst="textNoShape">
              <a:avLst/>
            </a:prstTxWarp>
          </a:bodyPr>
          <a:lstStyle/>
          <a:p>
            <a:endParaRPr lang="en-IN" sz="2800"/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17F83A6D-6800-F115-7D4D-73FA2B5103F4}"/>
              </a:ext>
            </a:extLst>
          </p:cNvPr>
          <p:cNvSpPr/>
          <p:nvPr/>
        </p:nvSpPr>
        <p:spPr>
          <a:xfrm>
            <a:off x="10778873" y="2816450"/>
            <a:ext cx="507339" cy="518989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800" dirty="0">
              <a:solidFill>
                <a:schemeClr val="tx1"/>
              </a:solidFill>
            </a:endParaRPr>
          </a:p>
        </p:txBody>
      </p:sp>
      <p:sp>
        <p:nvSpPr>
          <p:cNvPr id="108" name="Shape13_20211213_182725">
            <a:extLst>
              <a:ext uri="{FF2B5EF4-FFF2-40B4-BE49-F238E27FC236}">
                <a16:creationId xmlns:a16="http://schemas.microsoft.com/office/drawing/2014/main" id="{69238B47-F7D8-1E9D-AA23-C1C78C6119C9}"/>
              </a:ext>
            </a:extLst>
          </p:cNvPr>
          <p:cNvSpPr>
            <a:spLocks/>
          </p:cNvSpPr>
          <p:nvPr/>
        </p:nvSpPr>
        <p:spPr bwMode="auto">
          <a:xfrm flipH="1" flipV="1">
            <a:off x="11113769" y="2852969"/>
            <a:ext cx="175998" cy="482472"/>
          </a:xfrm>
          <a:custGeom>
            <a:avLst/>
            <a:gdLst>
              <a:gd name="T0" fmla="*/ 0 w 71"/>
              <a:gd name="T1" fmla="*/ 199 h 199"/>
              <a:gd name="T2" fmla="*/ 71 w 71"/>
              <a:gd name="T3" fmla="*/ 199 h 199"/>
              <a:gd name="T4" fmla="*/ 71 w 71"/>
              <a:gd name="T5" fmla="*/ 94 h 199"/>
              <a:gd name="T6" fmla="*/ 45 w 71"/>
              <a:gd name="T7" fmla="*/ 94 h 199"/>
              <a:gd name="T8" fmla="*/ 71 w 71"/>
              <a:gd name="T9" fmla="*/ 46 h 199"/>
              <a:gd name="T10" fmla="*/ 71 w 71"/>
              <a:gd name="T11" fmla="*/ 5 h 199"/>
              <a:gd name="T12" fmla="*/ 0 w 71"/>
              <a:gd name="T13" fmla="*/ 111 h 199"/>
              <a:gd name="T14" fmla="*/ 0 w 71"/>
              <a:gd name="T15" fmla="*/ 199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1" h="199">
                <a:moveTo>
                  <a:pt x="0" y="199"/>
                </a:moveTo>
                <a:cubicBezTo>
                  <a:pt x="71" y="199"/>
                  <a:pt x="71" y="199"/>
                  <a:pt x="71" y="199"/>
                </a:cubicBezTo>
                <a:cubicBezTo>
                  <a:pt x="71" y="94"/>
                  <a:pt x="71" y="94"/>
                  <a:pt x="71" y="94"/>
                </a:cubicBezTo>
                <a:cubicBezTo>
                  <a:pt x="45" y="94"/>
                  <a:pt x="45" y="94"/>
                  <a:pt x="45" y="94"/>
                </a:cubicBezTo>
                <a:cubicBezTo>
                  <a:pt x="45" y="94"/>
                  <a:pt x="41" y="58"/>
                  <a:pt x="71" y="46"/>
                </a:cubicBezTo>
                <a:cubicBezTo>
                  <a:pt x="71" y="5"/>
                  <a:pt x="71" y="5"/>
                  <a:pt x="71" y="5"/>
                </a:cubicBezTo>
                <a:cubicBezTo>
                  <a:pt x="71" y="5"/>
                  <a:pt x="4" y="0"/>
                  <a:pt x="0" y="111"/>
                </a:cubicBezTo>
                <a:lnTo>
                  <a:pt x="0" y="199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150148" tIns="75075" rIns="150148" bIns="75075" numCol="1" anchor="t" anchorCtr="0" compatLnSpc="1">
            <a:prstTxWarp prst="textNoShape">
              <a:avLst/>
            </a:prstTxWarp>
          </a:bodyPr>
          <a:lstStyle/>
          <a:p>
            <a:endParaRPr lang="en-IN" sz="2800"/>
          </a:p>
        </p:txBody>
      </p:sp>
      <p:sp>
        <p:nvSpPr>
          <p:cNvPr id="109" name="Shape14_20211213_182725">
            <a:extLst>
              <a:ext uri="{FF2B5EF4-FFF2-40B4-BE49-F238E27FC236}">
                <a16:creationId xmlns:a16="http://schemas.microsoft.com/office/drawing/2014/main" id="{EA20C41F-EACD-4D8F-772E-25A102829B8A}"/>
              </a:ext>
            </a:extLst>
          </p:cNvPr>
          <p:cNvSpPr>
            <a:spLocks/>
          </p:cNvSpPr>
          <p:nvPr/>
        </p:nvSpPr>
        <p:spPr bwMode="auto">
          <a:xfrm flipH="1" flipV="1">
            <a:off x="10817610" y="2852969"/>
            <a:ext cx="175998" cy="482472"/>
          </a:xfrm>
          <a:custGeom>
            <a:avLst/>
            <a:gdLst>
              <a:gd name="T0" fmla="*/ 0 w 71"/>
              <a:gd name="T1" fmla="*/ 199 h 199"/>
              <a:gd name="T2" fmla="*/ 71 w 71"/>
              <a:gd name="T3" fmla="*/ 199 h 199"/>
              <a:gd name="T4" fmla="*/ 71 w 71"/>
              <a:gd name="T5" fmla="*/ 94 h 199"/>
              <a:gd name="T6" fmla="*/ 45 w 71"/>
              <a:gd name="T7" fmla="*/ 94 h 199"/>
              <a:gd name="T8" fmla="*/ 71 w 71"/>
              <a:gd name="T9" fmla="*/ 46 h 199"/>
              <a:gd name="T10" fmla="*/ 71 w 71"/>
              <a:gd name="T11" fmla="*/ 5 h 199"/>
              <a:gd name="T12" fmla="*/ 0 w 71"/>
              <a:gd name="T13" fmla="*/ 111 h 199"/>
              <a:gd name="T14" fmla="*/ 0 w 71"/>
              <a:gd name="T15" fmla="*/ 199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1" h="199">
                <a:moveTo>
                  <a:pt x="0" y="199"/>
                </a:moveTo>
                <a:cubicBezTo>
                  <a:pt x="71" y="199"/>
                  <a:pt x="71" y="199"/>
                  <a:pt x="71" y="199"/>
                </a:cubicBezTo>
                <a:cubicBezTo>
                  <a:pt x="71" y="94"/>
                  <a:pt x="71" y="94"/>
                  <a:pt x="71" y="94"/>
                </a:cubicBezTo>
                <a:cubicBezTo>
                  <a:pt x="45" y="94"/>
                  <a:pt x="45" y="94"/>
                  <a:pt x="45" y="94"/>
                </a:cubicBezTo>
                <a:cubicBezTo>
                  <a:pt x="45" y="94"/>
                  <a:pt x="41" y="58"/>
                  <a:pt x="71" y="46"/>
                </a:cubicBezTo>
                <a:cubicBezTo>
                  <a:pt x="71" y="5"/>
                  <a:pt x="71" y="5"/>
                  <a:pt x="71" y="5"/>
                </a:cubicBezTo>
                <a:cubicBezTo>
                  <a:pt x="71" y="5"/>
                  <a:pt x="4" y="0"/>
                  <a:pt x="0" y="111"/>
                </a:cubicBezTo>
                <a:lnTo>
                  <a:pt x="0" y="199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150148" tIns="75075" rIns="150148" bIns="75075" numCol="1" anchor="t" anchorCtr="0" compatLnSpc="1">
            <a:prstTxWarp prst="textNoShape">
              <a:avLst/>
            </a:prstTxWarp>
          </a:bodyPr>
          <a:lstStyle/>
          <a:p>
            <a:endParaRPr lang="en-IN" sz="2800"/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2157487C-36D1-B031-C3BC-23B0A52C5B49}"/>
              </a:ext>
            </a:extLst>
          </p:cNvPr>
          <p:cNvSpPr/>
          <p:nvPr/>
        </p:nvSpPr>
        <p:spPr>
          <a:xfrm>
            <a:off x="5128217" y="4999435"/>
            <a:ext cx="507339" cy="518989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800" dirty="0">
              <a:solidFill>
                <a:schemeClr val="tx1"/>
              </a:solidFill>
            </a:endParaRPr>
          </a:p>
        </p:txBody>
      </p:sp>
      <p:sp>
        <p:nvSpPr>
          <p:cNvPr id="111" name="Shape15_20211213_182725">
            <a:extLst>
              <a:ext uri="{FF2B5EF4-FFF2-40B4-BE49-F238E27FC236}">
                <a16:creationId xmlns:a16="http://schemas.microsoft.com/office/drawing/2014/main" id="{40369F35-E5AD-60F3-0770-9C86C40A77A6}"/>
              </a:ext>
            </a:extLst>
          </p:cNvPr>
          <p:cNvSpPr>
            <a:spLocks/>
          </p:cNvSpPr>
          <p:nvPr/>
        </p:nvSpPr>
        <p:spPr bwMode="auto">
          <a:xfrm flipH="1" flipV="1">
            <a:off x="5463115" y="5035955"/>
            <a:ext cx="175998" cy="482472"/>
          </a:xfrm>
          <a:custGeom>
            <a:avLst/>
            <a:gdLst>
              <a:gd name="T0" fmla="*/ 0 w 71"/>
              <a:gd name="T1" fmla="*/ 199 h 199"/>
              <a:gd name="T2" fmla="*/ 71 w 71"/>
              <a:gd name="T3" fmla="*/ 199 h 199"/>
              <a:gd name="T4" fmla="*/ 71 w 71"/>
              <a:gd name="T5" fmla="*/ 94 h 199"/>
              <a:gd name="T6" fmla="*/ 45 w 71"/>
              <a:gd name="T7" fmla="*/ 94 h 199"/>
              <a:gd name="T8" fmla="*/ 71 w 71"/>
              <a:gd name="T9" fmla="*/ 46 h 199"/>
              <a:gd name="T10" fmla="*/ 71 w 71"/>
              <a:gd name="T11" fmla="*/ 5 h 199"/>
              <a:gd name="T12" fmla="*/ 0 w 71"/>
              <a:gd name="T13" fmla="*/ 111 h 199"/>
              <a:gd name="T14" fmla="*/ 0 w 71"/>
              <a:gd name="T15" fmla="*/ 199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1" h="199">
                <a:moveTo>
                  <a:pt x="0" y="199"/>
                </a:moveTo>
                <a:cubicBezTo>
                  <a:pt x="71" y="199"/>
                  <a:pt x="71" y="199"/>
                  <a:pt x="71" y="199"/>
                </a:cubicBezTo>
                <a:cubicBezTo>
                  <a:pt x="71" y="94"/>
                  <a:pt x="71" y="94"/>
                  <a:pt x="71" y="94"/>
                </a:cubicBezTo>
                <a:cubicBezTo>
                  <a:pt x="45" y="94"/>
                  <a:pt x="45" y="94"/>
                  <a:pt x="45" y="94"/>
                </a:cubicBezTo>
                <a:cubicBezTo>
                  <a:pt x="45" y="94"/>
                  <a:pt x="41" y="58"/>
                  <a:pt x="71" y="46"/>
                </a:cubicBezTo>
                <a:cubicBezTo>
                  <a:pt x="71" y="5"/>
                  <a:pt x="71" y="5"/>
                  <a:pt x="71" y="5"/>
                </a:cubicBezTo>
                <a:cubicBezTo>
                  <a:pt x="71" y="5"/>
                  <a:pt x="4" y="0"/>
                  <a:pt x="0" y="111"/>
                </a:cubicBezTo>
                <a:lnTo>
                  <a:pt x="0" y="199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150148" tIns="75075" rIns="150148" bIns="75075" numCol="1" anchor="t" anchorCtr="0" compatLnSpc="1">
            <a:prstTxWarp prst="textNoShape">
              <a:avLst/>
            </a:prstTxWarp>
          </a:bodyPr>
          <a:lstStyle/>
          <a:p>
            <a:endParaRPr lang="en-IN" sz="2800"/>
          </a:p>
        </p:txBody>
      </p:sp>
      <p:sp>
        <p:nvSpPr>
          <p:cNvPr id="112" name="Shape0_20211213_182725">
            <a:extLst>
              <a:ext uri="{FF2B5EF4-FFF2-40B4-BE49-F238E27FC236}">
                <a16:creationId xmlns:a16="http://schemas.microsoft.com/office/drawing/2014/main" id="{29B4263F-5482-E31A-48B1-68CBDB1D1DD3}"/>
              </a:ext>
            </a:extLst>
          </p:cNvPr>
          <p:cNvSpPr>
            <a:spLocks/>
          </p:cNvSpPr>
          <p:nvPr/>
        </p:nvSpPr>
        <p:spPr bwMode="auto">
          <a:xfrm flipH="1" flipV="1">
            <a:off x="5166955" y="5035955"/>
            <a:ext cx="175998" cy="482472"/>
          </a:xfrm>
          <a:custGeom>
            <a:avLst/>
            <a:gdLst>
              <a:gd name="T0" fmla="*/ 0 w 71"/>
              <a:gd name="T1" fmla="*/ 199 h 199"/>
              <a:gd name="T2" fmla="*/ 71 w 71"/>
              <a:gd name="T3" fmla="*/ 199 h 199"/>
              <a:gd name="T4" fmla="*/ 71 w 71"/>
              <a:gd name="T5" fmla="*/ 94 h 199"/>
              <a:gd name="T6" fmla="*/ 45 w 71"/>
              <a:gd name="T7" fmla="*/ 94 h 199"/>
              <a:gd name="T8" fmla="*/ 71 w 71"/>
              <a:gd name="T9" fmla="*/ 46 h 199"/>
              <a:gd name="T10" fmla="*/ 71 w 71"/>
              <a:gd name="T11" fmla="*/ 5 h 199"/>
              <a:gd name="T12" fmla="*/ 0 w 71"/>
              <a:gd name="T13" fmla="*/ 111 h 199"/>
              <a:gd name="T14" fmla="*/ 0 w 71"/>
              <a:gd name="T15" fmla="*/ 199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1" h="199">
                <a:moveTo>
                  <a:pt x="0" y="199"/>
                </a:moveTo>
                <a:cubicBezTo>
                  <a:pt x="71" y="199"/>
                  <a:pt x="71" y="199"/>
                  <a:pt x="71" y="199"/>
                </a:cubicBezTo>
                <a:cubicBezTo>
                  <a:pt x="71" y="94"/>
                  <a:pt x="71" y="94"/>
                  <a:pt x="71" y="94"/>
                </a:cubicBezTo>
                <a:cubicBezTo>
                  <a:pt x="45" y="94"/>
                  <a:pt x="45" y="94"/>
                  <a:pt x="45" y="94"/>
                </a:cubicBezTo>
                <a:cubicBezTo>
                  <a:pt x="45" y="94"/>
                  <a:pt x="41" y="58"/>
                  <a:pt x="71" y="46"/>
                </a:cubicBezTo>
                <a:cubicBezTo>
                  <a:pt x="71" y="5"/>
                  <a:pt x="71" y="5"/>
                  <a:pt x="71" y="5"/>
                </a:cubicBezTo>
                <a:cubicBezTo>
                  <a:pt x="71" y="5"/>
                  <a:pt x="4" y="0"/>
                  <a:pt x="0" y="111"/>
                </a:cubicBezTo>
                <a:lnTo>
                  <a:pt x="0" y="199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150148" tIns="75075" rIns="150148" bIns="75075" numCol="1" anchor="t" anchorCtr="0" compatLnSpc="1">
            <a:prstTxWarp prst="textNoShape">
              <a:avLst/>
            </a:prstTxWarp>
          </a:bodyPr>
          <a:lstStyle/>
          <a:p>
            <a:endParaRPr lang="en-IN" sz="2800"/>
          </a:p>
        </p:txBody>
      </p:sp>
    </p:spTree>
    <p:extLst>
      <p:ext uri="{BB962C8B-B14F-4D97-AF65-F5344CB8AC3E}">
        <p14:creationId xmlns:p14="http://schemas.microsoft.com/office/powerpoint/2010/main" val="637192462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DF1FD2-4B30-801D-C1C8-9744383830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3DDB4E20-E83B-7E8B-DAB0-0053241AF67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1BD9BB5-E716-7CD2-3243-096558E894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6BCD405-FF39-45CD-8552-BA6B687912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Quotes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DF4AB4F5-9735-2FD3-2612-B88A1DD99888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59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5C33A53-0735-D2D6-C081-FBC220EBBADB}"/>
              </a:ext>
            </a:extLst>
          </p:cNvPr>
          <p:cNvSpPr/>
          <p:nvPr/>
        </p:nvSpPr>
        <p:spPr>
          <a:xfrm>
            <a:off x="512015" y="1776643"/>
            <a:ext cx="7033361" cy="34667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79434" tIns="39697" rIns="79434" bIns="39697" anchor="ctr" anchorCtr="0">
            <a:noAutofit/>
          </a:bodyPr>
          <a:lstStyle/>
          <a:p>
            <a:pPr algn="ctr"/>
            <a:endParaRPr lang="en-US" sz="2639" dirty="0" err="1">
              <a:solidFill>
                <a:schemeClr val="bg1"/>
              </a:solidFill>
            </a:endParaRPr>
          </a:p>
        </p:txBody>
      </p:sp>
      <p:sp>
        <p:nvSpPr>
          <p:cNvPr id="5" name="Shape 77">
            <a:extLst>
              <a:ext uri="{FF2B5EF4-FFF2-40B4-BE49-F238E27FC236}">
                <a16:creationId xmlns:a16="http://schemas.microsoft.com/office/drawing/2014/main" id="{28A457AB-0A85-0471-025D-8259599135E7}"/>
              </a:ext>
            </a:extLst>
          </p:cNvPr>
          <p:cNvSpPr/>
          <p:nvPr/>
        </p:nvSpPr>
        <p:spPr>
          <a:xfrm>
            <a:off x="1087283" y="1795395"/>
            <a:ext cx="528469" cy="148579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 anchorCtr="0">
            <a:spAutoFit/>
          </a:bodyPr>
          <a:lstStyle/>
          <a:p>
            <a:pPr>
              <a:defRPr/>
            </a:pPr>
            <a:r>
              <a:rPr lang="en-IN" altLang="en-US" sz="9655" b="1" dirty="0">
                <a:solidFill>
                  <a:schemeClr val="bg1"/>
                </a:solidFill>
                <a:ea typeface="Helvetica" panose="020B0604020202020204" pitchFamily="34" charset="0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6" name="Shape 77">
            <a:extLst>
              <a:ext uri="{FF2B5EF4-FFF2-40B4-BE49-F238E27FC236}">
                <a16:creationId xmlns:a16="http://schemas.microsoft.com/office/drawing/2014/main" id="{BF0DFE93-73C9-D01E-132D-5242741B856B}"/>
              </a:ext>
            </a:extLst>
          </p:cNvPr>
          <p:cNvSpPr/>
          <p:nvPr/>
        </p:nvSpPr>
        <p:spPr>
          <a:xfrm rot="10800000">
            <a:off x="6626866" y="3838804"/>
            <a:ext cx="507148" cy="148579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 anchorCtr="0">
            <a:spAutoFit/>
          </a:bodyPr>
          <a:lstStyle/>
          <a:p>
            <a:pPr>
              <a:defRPr/>
            </a:pPr>
            <a:r>
              <a:rPr lang="en-IN" altLang="en-US" sz="9655" b="1" dirty="0">
                <a:solidFill>
                  <a:schemeClr val="bg1"/>
                </a:solidFill>
                <a:ea typeface="Helvetica" panose="020B0604020202020204" pitchFamily="34" charset="0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7" name="Shape6_20220317_114739">
            <a:extLst>
              <a:ext uri="{FF2B5EF4-FFF2-40B4-BE49-F238E27FC236}">
                <a16:creationId xmlns:a16="http://schemas.microsoft.com/office/drawing/2014/main" id="{C8914149-B843-1494-1B82-F9F9762A0C11}"/>
              </a:ext>
            </a:extLst>
          </p:cNvPr>
          <p:cNvSpPr/>
          <p:nvPr/>
        </p:nvSpPr>
        <p:spPr>
          <a:xfrm>
            <a:off x="7545376" y="1556721"/>
            <a:ext cx="4031603" cy="3908457"/>
          </a:xfrm>
          <a:prstGeom prst="rect">
            <a:avLst/>
          </a:prstGeom>
          <a:noFill/>
          <a:ln w="28575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IN" sz="193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8" name="Shape0_20220426_142447">
            <a:extLst>
              <a:ext uri="{FF2B5EF4-FFF2-40B4-BE49-F238E27FC236}">
                <a16:creationId xmlns:a16="http://schemas.microsoft.com/office/drawing/2014/main" id="{C9643D60-9BB5-D7CE-9978-CDA99F530DF0}"/>
              </a:ext>
            </a:extLst>
          </p:cNvPr>
          <p:cNvSpPr/>
          <p:nvPr/>
        </p:nvSpPr>
        <p:spPr>
          <a:xfrm>
            <a:off x="7451633" y="1461632"/>
            <a:ext cx="253709" cy="262215"/>
          </a:xfrm>
          <a:custGeom>
            <a:avLst/>
            <a:gdLst>
              <a:gd name="connsiteX0" fmla="*/ 0 w 207169"/>
              <a:gd name="connsiteY0" fmla="*/ 214313 h 214313"/>
              <a:gd name="connsiteX1" fmla="*/ 0 w 207169"/>
              <a:gd name="connsiteY1" fmla="*/ 0 h 214313"/>
              <a:gd name="connsiteX2" fmla="*/ 207169 w 207169"/>
              <a:gd name="connsiteY2" fmla="*/ 0 h 214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7169" h="214313">
                <a:moveTo>
                  <a:pt x="0" y="214313"/>
                </a:moveTo>
                <a:lnTo>
                  <a:pt x="0" y="0"/>
                </a:lnTo>
                <a:lnTo>
                  <a:pt x="207169" y="0"/>
                </a:lnTo>
              </a:path>
            </a:pathLst>
          </a:custGeom>
          <a:noFill/>
          <a:ln w="28575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7153" tIns="73574" rIns="147153" bIns="7357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IN" sz="193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9" name="Shape1_20220426_142447">
            <a:extLst>
              <a:ext uri="{FF2B5EF4-FFF2-40B4-BE49-F238E27FC236}">
                <a16:creationId xmlns:a16="http://schemas.microsoft.com/office/drawing/2014/main" id="{7F0CC7D6-825E-5AD3-9B0D-6CC5154D7C5B}"/>
              </a:ext>
            </a:extLst>
          </p:cNvPr>
          <p:cNvSpPr/>
          <p:nvPr/>
        </p:nvSpPr>
        <p:spPr>
          <a:xfrm flipH="1" flipV="1">
            <a:off x="11416586" y="5296198"/>
            <a:ext cx="253709" cy="262215"/>
          </a:xfrm>
          <a:custGeom>
            <a:avLst/>
            <a:gdLst>
              <a:gd name="connsiteX0" fmla="*/ 0 w 207169"/>
              <a:gd name="connsiteY0" fmla="*/ 214313 h 214313"/>
              <a:gd name="connsiteX1" fmla="*/ 0 w 207169"/>
              <a:gd name="connsiteY1" fmla="*/ 0 h 214313"/>
              <a:gd name="connsiteX2" fmla="*/ 207169 w 207169"/>
              <a:gd name="connsiteY2" fmla="*/ 0 h 214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7169" h="214313">
                <a:moveTo>
                  <a:pt x="0" y="214313"/>
                </a:moveTo>
                <a:lnTo>
                  <a:pt x="0" y="0"/>
                </a:lnTo>
                <a:lnTo>
                  <a:pt x="207169" y="0"/>
                </a:lnTo>
              </a:path>
            </a:pathLst>
          </a:custGeom>
          <a:noFill/>
          <a:ln w="28575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7153" tIns="73574" rIns="147153" bIns="7357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IN" sz="193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BE747EA-B069-4BC3-80DA-53BEA4D5A9F3}"/>
              </a:ext>
            </a:extLst>
          </p:cNvPr>
          <p:cNvSpPr/>
          <p:nvPr/>
        </p:nvSpPr>
        <p:spPr>
          <a:xfrm>
            <a:off x="1204888" y="3309960"/>
            <a:ext cx="5344725" cy="40011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>
              <a:defRPr/>
            </a:pPr>
            <a:r>
              <a:rPr lang="en-US" sz="2000" b="1" dirty="0">
                <a:solidFill>
                  <a:schemeClr val="bg1"/>
                </a:solidFill>
                <a:cs typeface="Arial" panose="020B0604020202020204" pitchFamily="34" charset="0"/>
              </a:rPr>
              <a:t>Insert Quote Here</a:t>
            </a:r>
          </a:p>
        </p:txBody>
      </p:sp>
    </p:spTree>
    <p:extLst>
      <p:ext uri="{BB962C8B-B14F-4D97-AF65-F5344CB8AC3E}">
        <p14:creationId xmlns:p14="http://schemas.microsoft.com/office/powerpoint/2010/main" val="29560160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A706915-DA6E-E6EC-D3AA-3F8BEAEE74B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40131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FC09341-134F-A335-CCA5-2D4F3A299E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x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7885DC4-4EFC-653E-BC83-E9BC9E980A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6</a:t>
            </a:fld>
            <a:endParaRPr lang="en-US" dirty="0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F1C0EBC8-91B2-4F1F-A770-70CFA2D5CD20}"/>
              </a:ext>
            </a:extLst>
          </p:cNvPr>
          <p:cNvGrpSpPr/>
          <p:nvPr/>
        </p:nvGrpSpPr>
        <p:grpSpPr>
          <a:xfrm>
            <a:off x="1144349" y="1292158"/>
            <a:ext cx="914400" cy="876300"/>
            <a:chOff x="858520" y="1447800"/>
            <a:chExt cx="914400" cy="876300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3DAD30D-8979-4E9B-AC6D-ED3DEE81C979}"/>
                </a:ext>
              </a:extLst>
            </p:cNvPr>
            <p:cNvSpPr>
              <a:spLocks/>
            </p:cNvSpPr>
            <p:nvPr/>
          </p:nvSpPr>
          <p:spPr>
            <a:xfrm>
              <a:off x="858520" y="1447800"/>
              <a:ext cx="914400" cy="8763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47CAC2AC-725C-4AF1-B14D-2C85B4C04EF9}"/>
                </a:ext>
              </a:extLst>
            </p:cNvPr>
            <p:cNvSpPr>
              <a:spLocks/>
            </p:cNvSpPr>
            <p:nvPr/>
          </p:nvSpPr>
          <p:spPr>
            <a:xfrm>
              <a:off x="1389538" y="1447800"/>
              <a:ext cx="383382" cy="876300"/>
            </a:xfrm>
            <a:custGeom>
              <a:avLst/>
              <a:gdLst/>
              <a:ahLst/>
              <a:cxnLst/>
              <a:rect l="l" t="t" r="r" b="b"/>
              <a:pathLst>
                <a:path w="383382" h="876300">
                  <a:moveTo>
                    <a:pt x="247650" y="0"/>
                  </a:moveTo>
                  <a:lnTo>
                    <a:pt x="383382" y="0"/>
                  </a:lnTo>
                  <a:lnTo>
                    <a:pt x="383382" y="876300"/>
                  </a:lnTo>
                  <a:lnTo>
                    <a:pt x="216099" y="876300"/>
                  </a:lnTo>
                  <a:lnTo>
                    <a:pt x="216099" y="245864"/>
                  </a:lnTo>
                  <a:cubicBezTo>
                    <a:pt x="154980" y="303014"/>
                    <a:pt x="82947" y="345281"/>
                    <a:pt x="0" y="372666"/>
                  </a:cubicBezTo>
                  <a:lnTo>
                    <a:pt x="0" y="220861"/>
                  </a:lnTo>
                  <a:cubicBezTo>
                    <a:pt x="43656" y="206574"/>
                    <a:pt x="91083" y="179487"/>
                    <a:pt x="142280" y="139601"/>
                  </a:cubicBezTo>
                  <a:cubicBezTo>
                    <a:pt x="193477" y="99715"/>
                    <a:pt x="228600" y="53181"/>
                    <a:pt x="24765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IN" sz="9600" b="1" dirty="0">
                <a:solidFill>
                  <a:schemeClr val="accent1"/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98DA6551-A5FB-4BCB-A51C-B04BFE965DAD}"/>
              </a:ext>
            </a:extLst>
          </p:cNvPr>
          <p:cNvSpPr txBox="1">
            <a:spLocks/>
          </p:cNvSpPr>
          <p:nvPr/>
        </p:nvSpPr>
        <p:spPr>
          <a:xfrm>
            <a:off x="2379475" y="1503957"/>
            <a:ext cx="2982768" cy="452703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2000" b="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D8C4AAAF-3046-4A63-B0C2-FD3007A84569}"/>
              </a:ext>
            </a:extLst>
          </p:cNvPr>
          <p:cNvGrpSpPr/>
          <p:nvPr/>
        </p:nvGrpSpPr>
        <p:grpSpPr>
          <a:xfrm>
            <a:off x="1144349" y="3283235"/>
            <a:ext cx="914400" cy="876300"/>
            <a:chOff x="858520" y="3438877"/>
            <a:chExt cx="914400" cy="876300"/>
          </a:xfrm>
        </p:grpSpPr>
        <p:sp>
          <p:nvSpPr>
            <p:cNvPr id="96" name="Rectangle 95">
              <a:extLst>
                <a:ext uri="{FF2B5EF4-FFF2-40B4-BE49-F238E27FC236}">
                  <a16:creationId xmlns:a16="http://schemas.microsoft.com/office/drawing/2014/main" id="{5D4E459E-76B3-4DD6-B93D-49FD2C5B4B6B}"/>
                </a:ext>
              </a:extLst>
            </p:cNvPr>
            <p:cNvSpPr>
              <a:spLocks/>
            </p:cNvSpPr>
            <p:nvPr/>
          </p:nvSpPr>
          <p:spPr>
            <a:xfrm>
              <a:off x="858520" y="3438877"/>
              <a:ext cx="914400" cy="8763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6B211BE7-1F11-4CFC-9060-79B1DB8B7EBE}"/>
                </a:ext>
              </a:extLst>
            </p:cNvPr>
            <p:cNvSpPr/>
            <p:nvPr/>
          </p:nvSpPr>
          <p:spPr>
            <a:xfrm>
              <a:off x="1186538" y="3438877"/>
              <a:ext cx="586382" cy="876300"/>
            </a:xfrm>
            <a:custGeom>
              <a:avLst/>
              <a:gdLst/>
              <a:ahLst/>
              <a:cxnLst/>
              <a:rect l="l" t="t" r="r" b="b"/>
              <a:pathLst>
                <a:path w="586382" h="876300">
                  <a:moveTo>
                    <a:pt x="309562" y="0"/>
                  </a:moveTo>
                  <a:cubicBezTo>
                    <a:pt x="395684" y="0"/>
                    <a:pt x="463351" y="23217"/>
                    <a:pt x="512564" y="69652"/>
                  </a:cubicBezTo>
                  <a:cubicBezTo>
                    <a:pt x="561776" y="116086"/>
                    <a:pt x="586382" y="173831"/>
                    <a:pt x="586382" y="242888"/>
                  </a:cubicBezTo>
                  <a:cubicBezTo>
                    <a:pt x="586382" y="282178"/>
                    <a:pt x="579338" y="319584"/>
                    <a:pt x="565249" y="355104"/>
                  </a:cubicBezTo>
                  <a:cubicBezTo>
                    <a:pt x="551160" y="390624"/>
                    <a:pt x="528836" y="427831"/>
                    <a:pt x="498276" y="466725"/>
                  </a:cubicBezTo>
                  <a:cubicBezTo>
                    <a:pt x="478036" y="492522"/>
                    <a:pt x="441523" y="529630"/>
                    <a:pt x="388739" y="578049"/>
                  </a:cubicBezTo>
                  <a:cubicBezTo>
                    <a:pt x="335954" y="626467"/>
                    <a:pt x="302518" y="658614"/>
                    <a:pt x="288428" y="674489"/>
                  </a:cubicBezTo>
                  <a:cubicBezTo>
                    <a:pt x="274339" y="690364"/>
                    <a:pt x="262929" y="705842"/>
                    <a:pt x="254198" y="720924"/>
                  </a:cubicBezTo>
                  <a:lnTo>
                    <a:pt x="586382" y="720924"/>
                  </a:lnTo>
                  <a:lnTo>
                    <a:pt x="586382" y="876300"/>
                  </a:lnTo>
                  <a:lnTo>
                    <a:pt x="0" y="876300"/>
                  </a:lnTo>
                  <a:cubicBezTo>
                    <a:pt x="6350" y="817563"/>
                    <a:pt x="25400" y="761901"/>
                    <a:pt x="57150" y="709315"/>
                  </a:cubicBezTo>
                  <a:cubicBezTo>
                    <a:pt x="88900" y="656729"/>
                    <a:pt x="151606" y="586978"/>
                    <a:pt x="245268" y="500063"/>
                  </a:cubicBezTo>
                  <a:cubicBezTo>
                    <a:pt x="320675" y="429816"/>
                    <a:pt x="366911" y="382191"/>
                    <a:pt x="383976" y="357188"/>
                  </a:cubicBezTo>
                  <a:cubicBezTo>
                    <a:pt x="406995" y="322660"/>
                    <a:pt x="418504" y="288528"/>
                    <a:pt x="418504" y="254794"/>
                  </a:cubicBezTo>
                  <a:cubicBezTo>
                    <a:pt x="418504" y="217488"/>
                    <a:pt x="408483" y="188813"/>
                    <a:pt x="388441" y="168771"/>
                  </a:cubicBezTo>
                  <a:cubicBezTo>
                    <a:pt x="368399" y="148729"/>
                    <a:pt x="340717" y="138708"/>
                    <a:pt x="305395" y="138708"/>
                  </a:cubicBezTo>
                  <a:cubicBezTo>
                    <a:pt x="270470" y="138708"/>
                    <a:pt x="242689" y="149225"/>
                    <a:pt x="222051" y="170260"/>
                  </a:cubicBezTo>
                  <a:cubicBezTo>
                    <a:pt x="201414" y="191294"/>
                    <a:pt x="189507" y="226219"/>
                    <a:pt x="186332" y="275035"/>
                  </a:cubicBezTo>
                  <a:lnTo>
                    <a:pt x="19645" y="258366"/>
                  </a:lnTo>
                  <a:cubicBezTo>
                    <a:pt x="29567" y="166291"/>
                    <a:pt x="60721" y="100211"/>
                    <a:pt x="113109" y="60127"/>
                  </a:cubicBezTo>
                  <a:cubicBezTo>
                    <a:pt x="165496" y="20042"/>
                    <a:pt x="230981" y="0"/>
                    <a:pt x="309562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IN" sz="9600" b="1" dirty="0">
                <a:solidFill>
                  <a:schemeClr val="accent1"/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102" name="Text Placeholder 3">
            <a:extLst>
              <a:ext uri="{FF2B5EF4-FFF2-40B4-BE49-F238E27FC236}">
                <a16:creationId xmlns:a16="http://schemas.microsoft.com/office/drawing/2014/main" id="{920D58FB-9D44-414E-AADF-B445B0A52AA5}"/>
              </a:ext>
            </a:extLst>
          </p:cNvPr>
          <p:cNvSpPr txBox="1">
            <a:spLocks/>
          </p:cNvSpPr>
          <p:nvPr/>
        </p:nvSpPr>
        <p:spPr>
          <a:xfrm>
            <a:off x="2379475" y="3495034"/>
            <a:ext cx="2982768" cy="452703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2000" b="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FFC2DC8E-F28F-4FFB-83D2-F329D16AFD40}"/>
              </a:ext>
            </a:extLst>
          </p:cNvPr>
          <p:cNvGrpSpPr/>
          <p:nvPr/>
        </p:nvGrpSpPr>
        <p:grpSpPr>
          <a:xfrm>
            <a:off x="1144349" y="5144803"/>
            <a:ext cx="914400" cy="891183"/>
            <a:chOff x="858520" y="5300445"/>
            <a:chExt cx="914400" cy="891183"/>
          </a:xfrm>
        </p:grpSpPr>
        <p:sp>
          <p:nvSpPr>
            <p:cNvPr id="97" name="Rectangle 96">
              <a:extLst>
                <a:ext uri="{FF2B5EF4-FFF2-40B4-BE49-F238E27FC236}">
                  <a16:creationId xmlns:a16="http://schemas.microsoft.com/office/drawing/2014/main" id="{8F6AE35B-DD38-4883-96FA-39B69A4BAF85}"/>
                </a:ext>
              </a:extLst>
            </p:cNvPr>
            <p:cNvSpPr>
              <a:spLocks/>
            </p:cNvSpPr>
            <p:nvPr/>
          </p:nvSpPr>
          <p:spPr>
            <a:xfrm>
              <a:off x="858520" y="5300445"/>
              <a:ext cx="914400" cy="8763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1B5BB759-0B9D-4D52-837A-9F9348FF859A}"/>
                </a:ext>
              </a:extLst>
            </p:cNvPr>
            <p:cNvSpPr/>
            <p:nvPr/>
          </p:nvSpPr>
          <p:spPr>
            <a:xfrm>
              <a:off x="1193086" y="5300445"/>
              <a:ext cx="579834" cy="891183"/>
            </a:xfrm>
            <a:custGeom>
              <a:avLst/>
              <a:gdLst/>
              <a:ahLst/>
              <a:cxnLst/>
              <a:rect l="l" t="t" r="r" b="b"/>
              <a:pathLst>
                <a:path w="579834" h="891183">
                  <a:moveTo>
                    <a:pt x="281582" y="0"/>
                  </a:moveTo>
                  <a:cubicBezTo>
                    <a:pt x="363736" y="0"/>
                    <a:pt x="429617" y="26194"/>
                    <a:pt x="479226" y="78581"/>
                  </a:cubicBezTo>
                  <a:cubicBezTo>
                    <a:pt x="520104" y="121444"/>
                    <a:pt x="540543" y="169863"/>
                    <a:pt x="540543" y="223838"/>
                  </a:cubicBezTo>
                  <a:cubicBezTo>
                    <a:pt x="540543" y="300435"/>
                    <a:pt x="498673" y="361553"/>
                    <a:pt x="414933" y="407194"/>
                  </a:cubicBezTo>
                  <a:cubicBezTo>
                    <a:pt x="464939" y="417910"/>
                    <a:pt x="504924" y="441921"/>
                    <a:pt x="534888" y="479227"/>
                  </a:cubicBezTo>
                  <a:cubicBezTo>
                    <a:pt x="564852" y="516533"/>
                    <a:pt x="579834" y="561578"/>
                    <a:pt x="579834" y="614363"/>
                  </a:cubicBezTo>
                  <a:cubicBezTo>
                    <a:pt x="579834" y="690960"/>
                    <a:pt x="551854" y="756245"/>
                    <a:pt x="495895" y="810220"/>
                  </a:cubicBezTo>
                  <a:cubicBezTo>
                    <a:pt x="439936" y="864196"/>
                    <a:pt x="370284" y="891183"/>
                    <a:pt x="286940" y="891183"/>
                  </a:cubicBezTo>
                  <a:cubicBezTo>
                    <a:pt x="207962" y="891183"/>
                    <a:pt x="142478" y="868462"/>
                    <a:pt x="90487" y="823020"/>
                  </a:cubicBezTo>
                  <a:cubicBezTo>
                    <a:pt x="38497" y="777578"/>
                    <a:pt x="8334" y="718145"/>
                    <a:pt x="0" y="644724"/>
                  </a:cubicBezTo>
                  <a:lnTo>
                    <a:pt x="161925" y="625078"/>
                  </a:lnTo>
                  <a:cubicBezTo>
                    <a:pt x="167084" y="666353"/>
                    <a:pt x="180975" y="697905"/>
                    <a:pt x="203597" y="719733"/>
                  </a:cubicBezTo>
                  <a:cubicBezTo>
                    <a:pt x="226218" y="741561"/>
                    <a:pt x="253603" y="752475"/>
                    <a:pt x="285750" y="752475"/>
                  </a:cubicBezTo>
                  <a:cubicBezTo>
                    <a:pt x="320278" y="752475"/>
                    <a:pt x="349349" y="739378"/>
                    <a:pt x="372963" y="713185"/>
                  </a:cubicBezTo>
                  <a:cubicBezTo>
                    <a:pt x="396577" y="686991"/>
                    <a:pt x="408384" y="651669"/>
                    <a:pt x="408384" y="607219"/>
                  </a:cubicBezTo>
                  <a:cubicBezTo>
                    <a:pt x="408384" y="565150"/>
                    <a:pt x="397073" y="531813"/>
                    <a:pt x="374451" y="507206"/>
                  </a:cubicBezTo>
                  <a:cubicBezTo>
                    <a:pt x="351829" y="482600"/>
                    <a:pt x="324247" y="470297"/>
                    <a:pt x="291703" y="470297"/>
                  </a:cubicBezTo>
                  <a:cubicBezTo>
                    <a:pt x="270272" y="470297"/>
                    <a:pt x="244673" y="474464"/>
                    <a:pt x="214907" y="482799"/>
                  </a:cubicBezTo>
                  <a:lnTo>
                    <a:pt x="233362" y="346472"/>
                  </a:lnTo>
                  <a:cubicBezTo>
                    <a:pt x="278606" y="347663"/>
                    <a:pt x="313134" y="337840"/>
                    <a:pt x="336947" y="317004"/>
                  </a:cubicBezTo>
                  <a:cubicBezTo>
                    <a:pt x="360759" y="296168"/>
                    <a:pt x="372665" y="268486"/>
                    <a:pt x="372665" y="233958"/>
                  </a:cubicBezTo>
                  <a:cubicBezTo>
                    <a:pt x="372665" y="204589"/>
                    <a:pt x="363934" y="181174"/>
                    <a:pt x="346472" y="163711"/>
                  </a:cubicBezTo>
                  <a:cubicBezTo>
                    <a:pt x="329009" y="146249"/>
                    <a:pt x="305792" y="137517"/>
                    <a:pt x="276820" y="137517"/>
                  </a:cubicBezTo>
                  <a:cubicBezTo>
                    <a:pt x="248245" y="137517"/>
                    <a:pt x="223837" y="147439"/>
                    <a:pt x="203597" y="167283"/>
                  </a:cubicBezTo>
                  <a:cubicBezTo>
                    <a:pt x="183356" y="187127"/>
                    <a:pt x="171053" y="216099"/>
                    <a:pt x="166687" y="254199"/>
                  </a:cubicBezTo>
                  <a:lnTo>
                    <a:pt x="12501" y="228005"/>
                  </a:lnTo>
                  <a:cubicBezTo>
                    <a:pt x="23217" y="175221"/>
                    <a:pt x="39389" y="133053"/>
                    <a:pt x="61019" y="101501"/>
                  </a:cubicBezTo>
                  <a:cubicBezTo>
                    <a:pt x="82649" y="69949"/>
                    <a:pt x="112811" y="45145"/>
                    <a:pt x="151507" y="27087"/>
                  </a:cubicBezTo>
                  <a:cubicBezTo>
                    <a:pt x="190202" y="9029"/>
                    <a:pt x="233561" y="0"/>
                    <a:pt x="281582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IN" sz="9600" b="1" dirty="0">
                <a:solidFill>
                  <a:schemeClr val="accent1"/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103" name="Text Placeholder 3">
            <a:extLst>
              <a:ext uri="{FF2B5EF4-FFF2-40B4-BE49-F238E27FC236}">
                <a16:creationId xmlns:a16="http://schemas.microsoft.com/office/drawing/2014/main" id="{D95D2BB9-C965-447F-BF0D-C32A3564FB0A}"/>
              </a:ext>
            </a:extLst>
          </p:cNvPr>
          <p:cNvSpPr txBox="1">
            <a:spLocks/>
          </p:cNvSpPr>
          <p:nvPr/>
        </p:nvSpPr>
        <p:spPr>
          <a:xfrm>
            <a:off x="2379475" y="5364043"/>
            <a:ext cx="2982768" cy="452703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2000" b="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087DFAAC-C027-4BB3-8121-A9FF39439CA7}"/>
              </a:ext>
            </a:extLst>
          </p:cNvPr>
          <p:cNvGrpSpPr/>
          <p:nvPr/>
        </p:nvGrpSpPr>
        <p:grpSpPr>
          <a:xfrm>
            <a:off x="6870398" y="1292158"/>
            <a:ext cx="914400" cy="876300"/>
            <a:chOff x="5504180" y="1447800"/>
            <a:chExt cx="914400" cy="876300"/>
          </a:xfrm>
        </p:grpSpPr>
        <p:sp>
          <p:nvSpPr>
            <p:cNvPr id="98" name="Rectangle 97">
              <a:extLst>
                <a:ext uri="{FF2B5EF4-FFF2-40B4-BE49-F238E27FC236}">
                  <a16:creationId xmlns:a16="http://schemas.microsoft.com/office/drawing/2014/main" id="{9EF290FA-9BCB-4477-8469-29D0C70FA996}"/>
                </a:ext>
              </a:extLst>
            </p:cNvPr>
            <p:cNvSpPr>
              <a:spLocks/>
            </p:cNvSpPr>
            <p:nvPr/>
          </p:nvSpPr>
          <p:spPr>
            <a:xfrm>
              <a:off x="5504180" y="1447800"/>
              <a:ext cx="914400" cy="8763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B067E23F-1A71-405B-A8A7-23B1DD0424C6}"/>
                </a:ext>
              </a:extLst>
            </p:cNvPr>
            <p:cNvSpPr/>
            <p:nvPr/>
          </p:nvSpPr>
          <p:spPr>
            <a:xfrm>
              <a:off x="5791121" y="1447800"/>
              <a:ext cx="627459" cy="876300"/>
            </a:xfrm>
            <a:custGeom>
              <a:avLst/>
              <a:gdLst/>
              <a:ahLst/>
              <a:cxnLst/>
              <a:rect l="l" t="t" r="r" b="b"/>
              <a:pathLst>
                <a:path w="627459" h="876300">
                  <a:moveTo>
                    <a:pt x="378618" y="0"/>
                  </a:moveTo>
                  <a:lnTo>
                    <a:pt x="519112" y="0"/>
                  </a:lnTo>
                  <a:lnTo>
                    <a:pt x="519112" y="553641"/>
                  </a:lnTo>
                  <a:lnTo>
                    <a:pt x="627459" y="553641"/>
                  </a:lnTo>
                  <a:lnTo>
                    <a:pt x="627459" y="700683"/>
                  </a:lnTo>
                  <a:lnTo>
                    <a:pt x="519112" y="700683"/>
                  </a:lnTo>
                  <a:lnTo>
                    <a:pt x="519112" y="876300"/>
                  </a:lnTo>
                  <a:lnTo>
                    <a:pt x="357187" y="876300"/>
                  </a:lnTo>
                  <a:lnTo>
                    <a:pt x="357187" y="700683"/>
                  </a:lnTo>
                  <a:lnTo>
                    <a:pt x="0" y="700683"/>
                  </a:lnTo>
                  <a:lnTo>
                    <a:pt x="0" y="554236"/>
                  </a:lnTo>
                  <a:lnTo>
                    <a:pt x="378618" y="0"/>
                  </a:lnTo>
                  <a:close/>
                  <a:moveTo>
                    <a:pt x="357187" y="255389"/>
                  </a:moveTo>
                  <a:lnTo>
                    <a:pt x="156567" y="553641"/>
                  </a:lnTo>
                  <a:lnTo>
                    <a:pt x="357187" y="553641"/>
                  </a:lnTo>
                  <a:lnTo>
                    <a:pt x="357187" y="25538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IN" sz="9600" b="1" dirty="0">
                <a:solidFill>
                  <a:schemeClr val="accent1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0EDB4C2-F0D2-4EA0-BFA4-440BC33F900B}"/>
              </a:ext>
            </a:extLst>
          </p:cNvPr>
          <p:cNvGrpSpPr/>
          <p:nvPr/>
        </p:nvGrpSpPr>
        <p:grpSpPr>
          <a:xfrm>
            <a:off x="6870398" y="3283235"/>
            <a:ext cx="914400" cy="876300"/>
            <a:chOff x="5504180" y="3438877"/>
            <a:chExt cx="914400" cy="876300"/>
          </a:xfrm>
        </p:grpSpPr>
        <p:sp>
          <p:nvSpPr>
            <p:cNvPr id="99" name="Rectangle 98">
              <a:extLst>
                <a:ext uri="{FF2B5EF4-FFF2-40B4-BE49-F238E27FC236}">
                  <a16:creationId xmlns:a16="http://schemas.microsoft.com/office/drawing/2014/main" id="{EC46E888-790C-4E6F-AD0D-816625BEE07C}"/>
                </a:ext>
              </a:extLst>
            </p:cNvPr>
            <p:cNvSpPr>
              <a:spLocks/>
            </p:cNvSpPr>
            <p:nvPr/>
          </p:nvSpPr>
          <p:spPr>
            <a:xfrm>
              <a:off x="5504180" y="3438877"/>
              <a:ext cx="914400" cy="8763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F39A4BC4-73C9-46AE-B2BD-14DFE26EE10B}"/>
                </a:ext>
              </a:extLst>
            </p:cNvPr>
            <p:cNvSpPr/>
            <p:nvPr/>
          </p:nvSpPr>
          <p:spPr>
            <a:xfrm>
              <a:off x="5831602" y="3438877"/>
              <a:ext cx="586978" cy="875705"/>
            </a:xfrm>
            <a:custGeom>
              <a:avLst/>
              <a:gdLst/>
              <a:ahLst/>
              <a:cxnLst/>
              <a:rect l="l" t="t" r="r" b="b"/>
              <a:pathLst>
                <a:path w="586978" h="875705">
                  <a:moveTo>
                    <a:pt x="105966" y="0"/>
                  </a:moveTo>
                  <a:lnTo>
                    <a:pt x="548283" y="0"/>
                  </a:lnTo>
                  <a:lnTo>
                    <a:pt x="548283" y="156567"/>
                  </a:lnTo>
                  <a:lnTo>
                    <a:pt x="232767" y="156567"/>
                  </a:lnTo>
                  <a:lnTo>
                    <a:pt x="206574" y="304800"/>
                  </a:lnTo>
                  <a:cubicBezTo>
                    <a:pt x="243880" y="286147"/>
                    <a:pt x="281980" y="276821"/>
                    <a:pt x="320874" y="276821"/>
                  </a:cubicBezTo>
                  <a:cubicBezTo>
                    <a:pt x="395089" y="276821"/>
                    <a:pt x="457994" y="303808"/>
                    <a:pt x="509588" y="357783"/>
                  </a:cubicBezTo>
                  <a:cubicBezTo>
                    <a:pt x="561181" y="411758"/>
                    <a:pt x="586978" y="481807"/>
                    <a:pt x="586978" y="567928"/>
                  </a:cubicBezTo>
                  <a:cubicBezTo>
                    <a:pt x="586978" y="639763"/>
                    <a:pt x="566142" y="703858"/>
                    <a:pt x="524470" y="760214"/>
                  </a:cubicBezTo>
                  <a:cubicBezTo>
                    <a:pt x="467717" y="837208"/>
                    <a:pt x="388938" y="875705"/>
                    <a:pt x="288131" y="875705"/>
                  </a:cubicBezTo>
                  <a:cubicBezTo>
                    <a:pt x="207566" y="875705"/>
                    <a:pt x="141883" y="854075"/>
                    <a:pt x="91083" y="810816"/>
                  </a:cubicBezTo>
                  <a:cubicBezTo>
                    <a:pt x="40283" y="767557"/>
                    <a:pt x="9922" y="709414"/>
                    <a:pt x="0" y="636389"/>
                  </a:cubicBezTo>
                  <a:lnTo>
                    <a:pt x="166688" y="619125"/>
                  </a:lnTo>
                  <a:cubicBezTo>
                    <a:pt x="171450" y="656828"/>
                    <a:pt x="185539" y="686693"/>
                    <a:pt x="208955" y="708720"/>
                  </a:cubicBezTo>
                  <a:cubicBezTo>
                    <a:pt x="232370" y="730746"/>
                    <a:pt x="259358" y="741760"/>
                    <a:pt x="289917" y="741760"/>
                  </a:cubicBezTo>
                  <a:cubicBezTo>
                    <a:pt x="324842" y="741760"/>
                    <a:pt x="354410" y="727571"/>
                    <a:pt x="378619" y="699195"/>
                  </a:cubicBezTo>
                  <a:cubicBezTo>
                    <a:pt x="402828" y="670818"/>
                    <a:pt x="414933" y="628055"/>
                    <a:pt x="414933" y="570905"/>
                  </a:cubicBezTo>
                  <a:cubicBezTo>
                    <a:pt x="414933" y="517327"/>
                    <a:pt x="402927" y="477143"/>
                    <a:pt x="378917" y="450354"/>
                  </a:cubicBezTo>
                  <a:cubicBezTo>
                    <a:pt x="354906" y="423565"/>
                    <a:pt x="323652" y="410171"/>
                    <a:pt x="285155" y="410171"/>
                  </a:cubicBezTo>
                  <a:cubicBezTo>
                    <a:pt x="237133" y="410171"/>
                    <a:pt x="194072" y="431403"/>
                    <a:pt x="155972" y="473869"/>
                  </a:cubicBezTo>
                  <a:lnTo>
                    <a:pt x="20241" y="454224"/>
                  </a:lnTo>
                  <a:lnTo>
                    <a:pt x="105966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IN" sz="9600" b="1" dirty="0">
                <a:solidFill>
                  <a:schemeClr val="accent1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20D84362-2CA0-494F-8969-69F0548ED0D2}"/>
              </a:ext>
            </a:extLst>
          </p:cNvPr>
          <p:cNvGrpSpPr/>
          <p:nvPr/>
        </p:nvGrpSpPr>
        <p:grpSpPr>
          <a:xfrm>
            <a:off x="6870398" y="5144803"/>
            <a:ext cx="914400" cy="891183"/>
            <a:chOff x="5504180" y="5300445"/>
            <a:chExt cx="914400" cy="891183"/>
          </a:xfrm>
        </p:grpSpPr>
        <p:sp>
          <p:nvSpPr>
            <p:cNvPr id="100" name="Rectangle 99">
              <a:extLst>
                <a:ext uri="{FF2B5EF4-FFF2-40B4-BE49-F238E27FC236}">
                  <a16:creationId xmlns:a16="http://schemas.microsoft.com/office/drawing/2014/main" id="{3C6E159D-B8D3-4F49-8189-7CFACBBB3522}"/>
                </a:ext>
              </a:extLst>
            </p:cNvPr>
            <p:cNvSpPr>
              <a:spLocks/>
            </p:cNvSpPr>
            <p:nvPr/>
          </p:nvSpPr>
          <p:spPr>
            <a:xfrm>
              <a:off x="5504180" y="5300445"/>
              <a:ext cx="914400" cy="8763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B20D783-5F9F-43A5-80F1-6B09A71F9DDB}"/>
                </a:ext>
              </a:extLst>
            </p:cNvPr>
            <p:cNvSpPr/>
            <p:nvPr/>
          </p:nvSpPr>
          <p:spPr>
            <a:xfrm>
              <a:off x="5835769" y="5300445"/>
              <a:ext cx="582811" cy="891183"/>
            </a:xfrm>
            <a:custGeom>
              <a:avLst/>
              <a:gdLst/>
              <a:ahLst/>
              <a:cxnLst/>
              <a:rect l="l" t="t" r="r" b="b"/>
              <a:pathLst>
                <a:path w="582811" h="891183">
                  <a:moveTo>
                    <a:pt x="319087" y="0"/>
                  </a:moveTo>
                  <a:cubicBezTo>
                    <a:pt x="385366" y="0"/>
                    <a:pt x="440234" y="18554"/>
                    <a:pt x="483691" y="55662"/>
                  </a:cubicBezTo>
                  <a:cubicBezTo>
                    <a:pt x="527149" y="92770"/>
                    <a:pt x="554831" y="146646"/>
                    <a:pt x="566737" y="217289"/>
                  </a:cubicBezTo>
                  <a:lnTo>
                    <a:pt x="404812" y="235149"/>
                  </a:lnTo>
                  <a:cubicBezTo>
                    <a:pt x="400844" y="201811"/>
                    <a:pt x="390525" y="177205"/>
                    <a:pt x="373856" y="161330"/>
                  </a:cubicBezTo>
                  <a:cubicBezTo>
                    <a:pt x="357187" y="145455"/>
                    <a:pt x="335558" y="137517"/>
                    <a:pt x="308967" y="137517"/>
                  </a:cubicBezTo>
                  <a:cubicBezTo>
                    <a:pt x="273645" y="137517"/>
                    <a:pt x="243780" y="153392"/>
                    <a:pt x="219373" y="185142"/>
                  </a:cubicBezTo>
                  <a:cubicBezTo>
                    <a:pt x="194965" y="216892"/>
                    <a:pt x="179586" y="282972"/>
                    <a:pt x="173236" y="383381"/>
                  </a:cubicBezTo>
                  <a:cubicBezTo>
                    <a:pt x="214908" y="334169"/>
                    <a:pt x="266700" y="309563"/>
                    <a:pt x="328612" y="309563"/>
                  </a:cubicBezTo>
                  <a:cubicBezTo>
                    <a:pt x="398462" y="309563"/>
                    <a:pt x="458291" y="336153"/>
                    <a:pt x="508099" y="389335"/>
                  </a:cubicBezTo>
                  <a:cubicBezTo>
                    <a:pt x="557907" y="442516"/>
                    <a:pt x="582811" y="511175"/>
                    <a:pt x="582811" y="595313"/>
                  </a:cubicBezTo>
                  <a:cubicBezTo>
                    <a:pt x="582811" y="684610"/>
                    <a:pt x="556617" y="756245"/>
                    <a:pt x="504230" y="810220"/>
                  </a:cubicBezTo>
                  <a:cubicBezTo>
                    <a:pt x="451842" y="864196"/>
                    <a:pt x="384572" y="891183"/>
                    <a:pt x="302419" y="891183"/>
                  </a:cubicBezTo>
                  <a:cubicBezTo>
                    <a:pt x="214312" y="891183"/>
                    <a:pt x="141883" y="856953"/>
                    <a:pt x="85130" y="788492"/>
                  </a:cubicBezTo>
                  <a:cubicBezTo>
                    <a:pt x="28376" y="720031"/>
                    <a:pt x="0" y="607814"/>
                    <a:pt x="0" y="451842"/>
                  </a:cubicBezTo>
                  <a:cubicBezTo>
                    <a:pt x="0" y="291902"/>
                    <a:pt x="29567" y="176610"/>
                    <a:pt x="88702" y="105966"/>
                  </a:cubicBezTo>
                  <a:cubicBezTo>
                    <a:pt x="147836" y="35322"/>
                    <a:pt x="224631" y="0"/>
                    <a:pt x="319087" y="0"/>
                  </a:cubicBezTo>
                  <a:close/>
                  <a:moveTo>
                    <a:pt x="302419" y="432792"/>
                  </a:moveTo>
                  <a:cubicBezTo>
                    <a:pt x="270272" y="432792"/>
                    <a:pt x="243086" y="445393"/>
                    <a:pt x="220861" y="470595"/>
                  </a:cubicBezTo>
                  <a:cubicBezTo>
                    <a:pt x="198636" y="495796"/>
                    <a:pt x="187523" y="533003"/>
                    <a:pt x="187523" y="582216"/>
                  </a:cubicBezTo>
                  <a:cubicBezTo>
                    <a:pt x="187523" y="636588"/>
                    <a:pt x="200025" y="678557"/>
                    <a:pt x="225028" y="708124"/>
                  </a:cubicBezTo>
                  <a:cubicBezTo>
                    <a:pt x="250031" y="737692"/>
                    <a:pt x="278606" y="752475"/>
                    <a:pt x="310753" y="752475"/>
                  </a:cubicBezTo>
                  <a:cubicBezTo>
                    <a:pt x="341709" y="752475"/>
                    <a:pt x="367506" y="740371"/>
                    <a:pt x="388144" y="716161"/>
                  </a:cubicBezTo>
                  <a:cubicBezTo>
                    <a:pt x="408781" y="691952"/>
                    <a:pt x="419100" y="652264"/>
                    <a:pt x="419100" y="597099"/>
                  </a:cubicBezTo>
                  <a:cubicBezTo>
                    <a:pt x="419100" y="540346"/>
                    <a:pt x="407987" y="498773"/>
                    <a:pt x="385762" y="472381"/>
                  </a:cubicBezTo>
                  <a:cubicBezTo>
                    <a:pt x="363537" y="445989"/>
                    <a:pt x="335756" y="432792"/>
                    <a:pt x="302419" y="43279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IN" sz="9600" b="1" dirty="0">
                <a:solidFill>
                  <a:schemeClr val="accent1"/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104" name="Text Placeholder 3">
            <a:extLst>
              <a:ext uri="{FF2B5EF4-FFF2-40B4-BE49-F238E27FC236}">
                <a16:creationId xmlns:a16="http://schemas.microsoft.com/office/drawing/2014/main" id="{8FDBCB39-6FFA-4297-A136-3E097B84AFC4}"/>
              </a:ext>
            </a:extLst>
          </p:cNvPr>
          <p:cNvSpPr txBox="1">
            <a:spLocks/>
          </p:cNvSpPr>
          <p:nvPr/>
        </p:nvSpPr>
        <p:spPr>
          <a:xfrm>
            <a:off x="8105523" y="1503957"/>
            <a:ext cx="2982768" cy="452703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2000" b="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05" name="Text Placeholder 3">
            <a:extLst>
              <a:ext uri="{FF2B5EF4-FFF2-40B4-BE49-F238E27FC236}">
                <a16:creationId xmlns:a16="http://schemas.microsoft.com/office/drawing/2014/main" id="{8B9CBE38-0C04-4C0B-B58C-98C4590B8E67}"/>
              </a:ext>
            </a:extLst>
          </p:cNvPr>
          <p:cNvSpPr txBox="1">
            <a:spLocks/>
          </p:cNvSpPr>
          <p:nvPr/>
        </p:nvSpPr>
        <p:spPr>
          <a:xfrm>
            <a:off x="8105523" y="3495034"/>
            <a:ext cx="2982768" cy="452703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2000" b="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06" name="Text Placeholder 3">
            <a:extLst>
              <a:ext uri="{FF2B5EF4-FFF2-40B4-BE49-F238E27FC236}">
                <a16:creationId xmlns:a16="http://schemas.microsoft.com/office/drawing/2014/main" id="{480D66C1-5E11-4171-9244-E6847B85838E}"/>
              </a:ext>
            </a:extLst>
          </p:cNvPr>
          <p:cNvSpPr txBox="1">
            <a:spLocks/>
          </p:cNvSpPr>
          <p:nvPr/>
        </p:nvSpPr>
        <p:spPr>
          <a:xfrm>
            <a:off x="8105523" y="5364043"/>
            <a:ext cx="2982768" cy="452703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2000" b="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</p:spTree>
    <p:extLst>
      <p:ext uri="{BB962C8B-B14F-4D97-AF65-F5344CB8AC3E}">
        <p14:creationId xmlns:p14="http://schemas.microsoft.com/office/powerpoint/2010/main" val="3679992644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F90178-3612-CC10-3737-78B88B37FB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75270FFE-52D1-1C32-5DE9-D79EED0986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5270FFE-52D1-1C32-5DE9-D79EED0986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D8C3CD0-F819-9CBC-0ED4-6DBC787BF7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imeline 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793816A3-14FA-46B0-C579-1D2E33BCE997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60</a:t>
            </a:fld>
            <a:endParaRPr lang="en-US" sz="1200" dirty="0">
              <a:solidFill>
                <a:schemeClr val="bg1"/>
              </a:solidFill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707D6C1E-6296-50BF-6F20-36052AE4EDD0}"/>
              </a:ext>
            </a:extLst>
          </p:cNvPr>
          <p:cNvGrpSpPr/>
          <p:nvPr/>
        </p:nvGrpSpPr>
        <p:grpSpPr>
          <a:xfrm>
            <a:off x="626322" y="2195858"/>
            <a:ext cx="11136889" cy="402479"/>
            <a:chOff x="609600" y="1520825"/>
            <a:chExt cx="10972800" cy="396549"/>
          </a:xfrm>
        </p:grpSpPr>
        <p:sp>
          <p:nvSpPr>
            <p:cNvPr id="49" name="Google Shape;706;p15">
              <a:extLst>
                <a:ext uri="{FF2B5EF4-FFF2-40B4-BE49-F238E27FC236}">
                  <a16:creationId xmlns:a16="http://schemas.microsoft.com/office/drawing/2014/main" id="{58F9522A-0D64-B885-B64D-7EBFC1FC7DA6}"/>
                </a:ext>
              </a:extLst>
            </p:cNvPr>
            <p:cNvSpPr/>
            <p:nvPr/>
          </p:nvSpPr>
          <p:spPr>
            <a:xfrm>
              <a:off x="6733777" y="1668028"/>
              <a:ext cx="4739028" cy="102141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200166" tIns="100085" rIns="200166" bIns="100085" anchor="t" anchorCtr="0">
              <a:no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sz="2000" dirty="0">
                <a:cs typeface="Arial" panose="020B0604020202020204" pitchFamily="34" charset="0"/>
              </a:endParaRPr>
            </a:p>
          </p:txBody>
        </p:sp>
        <p:sp>
          <p:nvSpPr>
            <p:cNvPr id="50" name="Google Shape;716;p15">
              <a:extLst>
                <a:ext uri="{FF2B5EF4-FFF2-40B4-BE49-F238E27FC236}">
                  <a16:creationId xmlns:a16="http://schemas.microsoft.com/office/drawing/2014/main" id="{BA31086F-34DF-7057-0649-32A0CAC57465}"/>
                </a:ext>
              </a:extLst>
            </p:cNvPr>
            <p:cNvSpPr/>
            <p:nvPr/>
          </p:nvSpPr>
          <p:spPr>
            <a:xfrm>
              <a:off x="11344114" y="1520825"/>
              <a:ext cx="238286" cy="396549"/>
            </a:xfrm>
            <a:custGeom>
              <a:avLst/>
              <a:gdLst/>
              <a:ahLst/>
              <a:cxnLst/>
              <a:rect l="l" t="t" r="r" b="b"/>
              <a:pathLst>
                <a:path w="170" h="283" extrusionOk="0">
                  <a:moveTo>
                    <a:pt x="170" y="142"/>
                  </a:moveTo>
                  <a:cubicBezTo>
                    <a:pt x="50" y="13"/>
                    <a:pt x="50" y="13"/>
                    <a:pt x="50" y="13"/>
                  </a:cubicBezTo>
                  <a:cubicBezTo>
                    <a:pt x="39" y="1"/>
                    <a:pt x="21" y="0"/>
                    <a:pt x="9" y="11"/>
                  </a:cubicBezTo>
                  <a:cubicBezTo>
                    <a:pt x="3" y="17"/>
                    <a:pt x="0" y="25"/>
                    <a:pt x="0" y="33"/>
                  </a:cubicBezTo>
                  <a:cubicBezTo>
                    <a:pt x="0" y="40"/>
                    <a:pt x="2" y="47"/>
                    <a:pt x="7" y="53"/>
                  </a:cubicBezTo>
                  <a:cubicBezTo>
                    <a:pt x="7" y="53"/>
                    <a:pt x="66" y="115"/>
                    <a:pt x="91" y="142"/>
                  </a:cubicBezTo>
                  <a:cubicBezTo>
                    <a:pt x="66" y="168"/>
                    <a:pt x="7" y="231"/>
                    <a:pt x="7" y="231"/>
                  </a:cubicBezTo>
                  <a:cubicBezTo>
                    <a:pt x="2" y="236"/>
                    <a:pt x="0" y="243"/>
                    <a:pt x="0" y="251"/>
                  </a:cubicBezTo>
                  <a:cubicBezTo>
                    <a:pt x="0" y="258"/>
                    <a:pt x="3" y="266"/>
                    <a:pt x="9" y="272"/>
                  </a:cubicBezTo>
                  <a:cubicBezTo>
                    <a:pt x="21" y="283"/>
                    <a:pt x="39" y="282"/>
                    <a:pt x="50" y="270"/>
                  </a:cubicBezTo>
                  <a:lnTo>
                    <a:pt x="170" y="142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153161" tIns="76561" rIns="153161" bIns="76561" anchor="t" anchorCtr="0">
              <a:no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sz="2000" dirty="0">
                <a:cs typeface="Arial" panose="020B0604020202020204" pitchFamily="34" charset="0"/>
              </a:endParaRPr>
            </a:p>
          </p:txBody>
        </p:sp>
        <p:sp>
          <p:nvSpPr>
            <p:cNvPr id="51" name="Google Shape;717;p15">
              <a:extLst>
                <a:ext uri="{FF2B5EF4-FFF2-40B4-BE49-F238E27FC236}">
                  <a16:creationId xmlns:a16="http://schemas.microsoft.com/office/drawing/2014/main" id="{0E8679D6-5389-37E9-F52E-270FF0EA2452}"/>
                </a:ext>
              </a:extLst>
            </p:cNvPr>
            <p:cNvSpPr/>
            <p:nvPr/>
          </p:nvSpPr>
          <p:spPr>
            <a:xfrm>
              <a:off x="609600" y="1668028"/>
              <a:ext cx="6442019" cy="102141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200166" tIns="100085" rIns="200166" bIns="100085" anchor="t" anchorCtr="0">
              <a:no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sz="2000" dirty="0">
                <a:cs typeface="Arial" panose="020B0604020202020204" pitchFamily="34" charset="0"/>
              </a:endParaRPr>
            </a:p>
          </p:txBody>
        </p:sp>
      </p:grpSp>
      <p:sp>
        <p:nvSpPr>
          <p:cNvPr id="28" name="Shape1_20220720_095014">
            <a:extLst>
              <a:ext uri="{FF2B5EF4-FFF2-40B4-BE49-F238E27FC236}">
                <a16:creationId xmlns:a16="http://schemas.microsoft.com/office/drawing/2014/main" id="{56CD9F14-FD7C-8FDD-3A5D-21BF1CD2E739}"/>
              </a:ext>
            </a:extLst>
          </p:cNvPr>
          <p:cNvSpPr txBox="1"/>
          <p:nvPr/>
        </p:nvSpPr>
        <p:spPr>
          <a:xfrm>
            <a:off x="8639931" y="3048535"/>
            <a:ext cx="1381224" cy="1899575"/>
          </a:xfrm>
          <a:prstGeom prst="rect">
            <a:avLst/>
          </a:prstGeom>
          <a:noFill/>
          <a:ln w="12700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8670" tIns="88670" rIns="88670" bIns="88670" anchor="ctr" anchorCtr="0">
            <a:noAutofit/>
          </a:bodyPr>
          <a:lstStyle>
            <a:defPPr>
              <a:defRPr lang="en-US"/>
            </a:defPPr>
            <a:lvl1pPr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  <a:ea typeface="Trebuchet MS"/>
                <a:cs typeface="Arial" panose="020B0604020202020204" pitchFamily="34" charset="0"/>
              </a:defRPr>
            </a:lvl1pPr>
          </a:lstStyle>
          <a:p>
            <a:pPr algn="ctr"/>
            <a:r>
              <a:rPr lang="en-US" sz="1600" dirty="0">
                <a:latin typeface="+mn-lt"/>
                <a:sym typeface="Trebuchet MS"/>
              </a:rPr>
              <a:t>Insert Text Here</a:t>
            </a:r>
            <a:endParaRPr sz="1600" dirty="0">
              <a:latin typeface="+mn-lt"/>
            </a:endParaRPr>
          </a:p>
        </p:txBody>
      </p:sp>
      <p:sp>
        <p:nvSpPr>
          <p:cNvPr id="29" name="Google Shape;708;p15">
            <a:extLst>
              <a:ext uri="{FF2B5EF4-FFF2-40B4-BE49-F238E27FC236}">
                <a16:creationId xmlns:a16="http://schemas.microsoft.com/office/drawing/2014/main" id="{C360E5FE-039E-5EA7-8958-BFA6FA405C47}"/>
              </a:ext>
            </a:extLst>
          </p:cNvPr>
          <p:cNvSpPr/>
          <p:nvPr/>
        </p:nvSpPr>
        <p:spPr>
          <a:xfrm>
            <a:off x="9214860" y="2281414"/>
            <a:ext cx="231367" cy="231368"/>
          </a:xfrm>
          <a:prstGeom prst="ellipse">
            <a:avLst/>
          </a:prstGeom>
          <a:solidFill>
            <a:schemeClr val="accent2"/>
          </a:solidFill>
          <a:ln w="12700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2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30" name="Google Shape;709;p15">
            <a:extLst>
              <a:ext uri="{FF2B5EF4-FFF2-40B4-BE49-F238E27FC236}">
                <a16:creationId xmlns:a16="http://schemas.microsoft.com/office/drawing/2014/main" id="{139CE775-F787-E8DD-26CF-753B34A09CB5}"/>
              </a:ext>
            </a:extLst>
          </p:cNvPr>
          <p:cNvSpPr/>
          <p:nvPr/>
        </p:nvSpPr>
        <p:spPr>
          <a:xfrm rot="5400000">
            <a:off x="9262965" y="2727417"/>
            <a:ext cx="135154" cy="224919"/>
          </a:xfrm>
          <a:custGeom>
            <a:avLst/>
            <a:gdLst/>
            <a:ahLst/>
            <a:cxnLst/>
            <a:rect l="l" t="t" r="r" b="b"/>
            <a:pathLst>
              <a:path w="170" h="283" extrusionOk="0">
                <a:moveTo>
                  <a:pt x="170" y="142"/>
                </a:moveTo>
                <a:cubicBezTo>
                  <a:pt x="50" y="13"/>
                  <a:pt x="50" y="13"/>
                  <a:pt x="50" y="13"/>
                </a:cubicBezTo>
                <a:cubicBezTo>
                  <a:pt x="39" y="1"/>
                  <a:pt x="21" y="0"/>
                  <a:pt x="9" y="11"/>
                </a:cubicBezTo>
                <a:cubicBezTo>
                  <a:pt x="3" y="17"/>
                  <a:pt x="0" y="25"/>
                  <a:pt x="0" y="33"/>
                </a:cubicBezTo>
                <a:cubicBezTo>
                  <a:pt x="0" y="40"/>
                  <a:pt x="2" y="47"/>
                  <a:pt x="7" y="53"/>
                </a:cubicBezTo>
                <a:cubicBezTo>
                  <a:pt x="7" y="53"/>
                  <a:pt x="66" y="115"/>
                  <a:pt x="91" y="142"/>
                </a:cubicBezTo>
                <a:cubicBezTo>
                  <a:pt x="66" y="168"/>
                  <a:pt x="7" y="231"/>
                  <a:pt x="7" y="231"/>
                </a:cubicBezTo>
                <a:cubicBezTo>
                  <a:pt x="2" y="236"/>
                  <a:pt x="0" y="243"/>
                  <a:pt x="0" y="251"/>
                </a:cubicBezTo>
                <a:cubicBezTo>
                  <a:pt x="0" y="258"/>
                  <a:pt x="3" y="266"/>
                  <a:pt x="9" y="272"/>
                </a:cubicBezTo>
                <a:cubicBezTo>
                  <a:pt x="21" y="283"/>
                  <a:pt x="39" y="282"/>
                  <a:pt x="50" y="270"/>
                </a:cubicBezTo>
                <a:lnTo>
                  <a:pt x="170" y="142"/>
                </a:lnTo>
                <a:close/>
              </a:path>
            </a:pathLst>
          </a:custGeom>
          <a:solidFill>
            <a:schemeClr val="accent3"/>
          </a:solidFill>
          <a:ln>
            <a:solidFill>
              <a:schemeClr val="accent3"/>
            </a:solidFill>
          </a:ln>
        </p:spPr>
        <p:txBody>
          <a:bodyPr spcFirstLastPara="1" wrap="square" lIns="153161" tIns="76561" rIns="153161" bIns="76561" anchor="t" anchorCtr="0">
            <a:noAutofit/>
          </a:bodyPr>
          <a:lstStyle/>
          <a:p>
            <a:pPr algn="ctr"/>
            <a:endParaRPr sz="2000" dirty="0">
              <a:cs typeface="Arial" panose="020B0604020202020204" pitchFamily="34" charset="0"/>
            </a:endParaRPr>
          </a:p>
        </p:txBody>
      </p:sp>
      <p:sp>
        <p:nvSpPr>
          <p:cNvPr id="31" name="Shape2_20220720_095014">
            <a:extLst>
              <a:ext uri="{FF2B5EF4-FFF2-40B4-BE49-F238E27FC236}">
                <a16:creationId xmlns:a16="http://schemas.microsoft.com/office/drawing/2014/main" id="{3FFA9B9B-D77F-19CF-9D13-83650DBDF28C}"/>
              </a:ext>
            </a:extLst>
          </p:cNvPr>
          <p:cNvSpPr txBox="1"/>
          <p:nvPr/>
        </p:nvSpPr>
        <p:spPr>
          <a:xfrm>
            <a:off x="10207816" y="3048535"/>
            <a:ext cx="1381224" cy="1899575"/>
          </a:xfrm>
          <a:prstGeom prst="rect">
            <a:avLst/>
          </a:prstGeom>
          <a:noFill/>
          <a:ln w="12700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8670" tIns="88670" rIns="88670" bIns="88670" anchor="ctr" anchorCtr="0">
            <a:noAutofit/>
          </a:bodyPr>
          <a:lstStyle>
            <a:defPPr>
              <a:defRPr lang="en-US"/>
            </a:defPPr>
            <a:lvl1pPr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  <a:ea typeface="Trebuchet MS"/>
                <a:cs typeface="Arial" panose="020B0604020202020204" pitchFamily="34" charset="0"/>
              </a:defRPr>
            </a:lvl1pPr>
          </a:lstStyle>
          <a:p>
            <a:pPr algn="ctr"/>
            <a:r>
              <a:rPr lang="en-US" sz="1600" dirty="0">
                <a:latin typeface="+mn-lt"/>
                <a:sym typeface="Trebuchet MS"/>
              </a:rPr>
              <a:t>Insert Text Here</a:t>
            </a:r>
            <a:endParaRPr sz="1600" dirty="0">
              <a:latin typeface="+mn-lt"/>
            </a:endParaRPr>
          </a:p>
        </p:txBody>
      </p:sp>
      <p:sp>
        <p:nvSpPr>
          <p:cNvPr id="32" name="Google Shape;711;p15">
            <a:extLst>
              <a:ext uri="{FF2B5EF4-FFF2-40B4-BE49-F238E27FC236}">
                <a16:creationId xmlns:a16="http://schemas.microsoft.com/office/drawing/2014/main" id="{F701DA5E-E556-A8CE-5080-F5F0ADE411EB}"/>
              </a:ext>
            </a:extLst>
          </p:cNvPr>
          <p:cNvSpPr/>
          <p:nvPr/>
        </p:nvSpPr>
        <p:spPr>
          <a:xfrm>
            <a:off x="10782745" y="2281414"/>
            <a:ext cx="231367" cy="231368"/>
          </a:xfrm>
          <a:prstGeom prst="ellipse">
            <a:avLst/>
          </a:prstGeom>
          <a:solidFill>
            <a:schemeClr val="accent2"/>
          </a:solidFill>
          <a:ln w="12700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2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33" name="Google Shape;712;p15">
            <a:extLst>
              <a:ext uri="{FF2B5EF4-FFF2-40B4-BE49-F238E27FC236}">
                <a16:creationId xmlns:a16="http://schemas.microsoft.com/office/drawing/2014/main" id="{DB6A51D4-3E49-475D-4451-80A14C1FBDD6}"/>
              </a:ext>
            </a:extLst>
          </p:cNvPr>
          <p:cNvSpPr/>
          <p:nvPr/>
        </p:nvSpPr>
        <p:spPr>
          <a:xfrm rot="5400000">
            <a:off x="10830851" y="2727417"/>
            <a:ext cx="135154" cy="224919"/>
          </a:xfrm>
          <a:custGeom>
            <a:avLst/>
            <a:gdLst/>
            <a:ahLst/>
            <a:cxnLst/>
            <a:rect l="l" t="t" r="r" b="b"/>
            <a:pathLst>
              <a:path w="170" h="283" extrusionOk="0">
                <a:moveTo>
                  <a:pt x="170" y="142"/>
                </a:moveTo>
                <a:cubicBezTo>
                  <a:pt x="50" y="13"/>
                  <a:pt x="50" y="13"/>
                  <a:pt x="50" y="13"/>
                </a:cubicBezTo>
                <a:cubicBezTo>
                  <a:pt x="39" y="1"/>
                  <a:pt x="21" y="0"/>
                  <a:pt x="9" y="11"/>
                </a:cubicBezTo>
                <a:cubicBezTo>
                  <a:pt x="3" y="17"/>
                  <a:pt x="0" y="25"/>
                  <a:pt x="0" y="33"/>
                </a:cubicBezTo>
                <a:cubicBezTo>
                  <a:pt x="0" y="40"/>
                  <a:pt x="2" y="47"/>
                  <a:pt x="7" y="53"/>
                </a:cubicBezTo>
                <a:cubicBezTo>
                  <a:pt x="7" y="53"/>
                  <a:pt x="66" y="115"/>
                  <a:pt x="91" y="142"/>
                </a:cubicBezTo>
                <a:cubicBezTo>
                  <a:pt x="66" y="168"/>
                  <a:pt x="7" y="231"/>
                  <a:pt x="7" y="231"/>
                </a:cubicBezTo>
                <a:cubicBezTo>
                  <a:pt x="2" y="236"/>
                  <a:pt x="0" y="243"/>
                  <a:pt x="0" y="251"/>
                </a:cubicBezTo>
                <a:cubicBezTo>
                  <a:pt x="0" y="258"/>
                  <a:pt x="3" y="266"/>
                  <a:pt x="9" y="272"/>
                </a:cubicBezTo>
                <a:cubicBezTo>
                  <a:pt x="21" y="283"/>
                  <a:pt x="39" y="282"/>
                  <a:pt x="50" y="270"/>
                </a:cubicBezTo>
                <a:lnTo>
                  <a:pt x="170" y="142"/>
                </a:lnTo>
                <a:close/>
              </a:path>
            </a:pathLst>
          </a:custGeom>
          <a:solidFill>
            <a:schemeClr val="accent3"/>
          </a:solidFill>
          <a:ln>
            <a:solidFill>
              <a:schemeClr val="accent3"/>
            </a:solidFill>
          </a:ln>
        </p:spPr>
        <p:txBody>
          <a:bodyPr spcFirstLastPara="1" wrap="square" lIns="153161" tIns="76561" rIns="153161" bIns="76561" anchor="t" anchorCtr="0">
            <a:noAutofit/>
          </a:bodyPr>
          <a:lstStyle/>
          <a:p>
            <a:pPr algn="ctr"/>
            <a:endParaRPr sz="2000" dirty="0">
              <a:cs typeface="Arial" panose="020B0604020202020204" pitchFamily="34" charset="0"/>
            </a:endParaRPr>
          </a:p>
        </p:txBody>
      </p:sp>
      <p:sp>
        <p:nvSpPr>
          <p:cNvPr id="34" name="Shape3_20220720_095014">
            <a:extLst>
              <a:ext uri="{FF2B5EF4-FFF2-40B4-BE49-F238E27FC236}">
                <a16:creationId xmlns:a16="http://schemas.microsoft.com/office/drawing/2014/main" id="{74E2ABE9-065F-091D-010D-2140C04CB877}"/>
              </a:ext>
            </a:extLst>
          </p:cNvPr>
          <p:cNvSpPr txBox="1"/>
          <p:nvPr/>
        </p:nvSpPr>
        <p:spPr>
          <a:xfrm>
            <a:off x="7072044" y="3048535"/>
            <a:ext cx="1381224" cy="1899575"/>
          </a:xfrm>
          <a:prstGeom prst="rect">
            <a:avLst/>
          </a:prstGeom>
          <a:noFill/>
          <a:ln w="12700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8670" tIns="88670" rIns="88670" bIns="88670" anchor="ctr" anchorCtr="0">
            <a:noAutofit/>
          </a:bodyPr>
          <a:lstStyle>
            <a:defPPr>
              <a:defRPr lang="en-US"/>
            </a:defPPr>
            <a:lvl1pPr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  <a:ea typeface="Trebuchet MS"/>
                <a:cs typeface="Arial" panose="020B0604020202020204" pitchFamily="34" charset="0"/>
              </a:defRPr>
            </a:lvl1pPr>
          </a:lstStyle>
          <a:p>
            <a:pPr algn="ctr"/>
            <a:r>
              <a:rPr lang="en-US" sz="1600" dirty="0">
                <a:latin typeface="+mn-lt"/>
                <a:sym typeface="Trebuchet MS"/>
              </a:rPr>
              <a:t>Insert Text Here</a:t>
            </a:r>
            <a:endParaRPr sz="1600" dirty="0">
              <a:latin typeface="+mn-lt"/>
            </a:endParaRPr>
          </a:p>
        </p:txBody>
      </p:sp>
      <p:sp>
        <p:nvSpPr>
          <p:cNvPr id="35" name="Google Shape;714;p15">
            <a:extLst>
              <a:ext uri="{FF2B5EF4-FFF2-40B4-BE49-F238E27FC236}">
                <a16:creationId xmlns:a16="http://schemas.microsoft.com/office/drawing/2014/main" id="{0DF2ED8A-AB58-2EE7-B60F-DE7FEA80D412}"/>
              </a:ext>
            </a:extLst>
          </p:cNvPr>
          <p:cNvSpPr/>
          <p:nvPr/>
        </p:nvSpPr>
        <p:spPr>
          <a:xfrm>
            <a:off x="7646973" y="2281414"/>
            <a:ext cx="231367" cy="231368"/>
          </a:xfrm>
          <a:prstGeom prst="ellipse">
            <a:avLst/>
          </a:prstGeom>
          <a:solidFill>
            <a:schemeClr val="accent2"/>
          </a:solidFill>
          <a:ln w="12700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2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36" name="Google Shape;715;p15">
            <a:extLst>
              <a:ext uri="{FF2B5EF4-FFF2-40B4-BE49-F238E27FC236}">
                <a16:creationId xmlns:a16="http://schemas.microsoft.com/office/drawing/2014/main" id="{CF2BAB94-C5A0-E846-8737-11D7C6ED5170}"/>
              </a:ext>
            </a:extLst>
          </p:cNvPr>
          <p:cNvSpPr/>
          <p:nvPr/>
        </p:nvSpPr>
        <p:spPr>
          <a:xfrm rot="5400000">
            <a:off x="7695080" y="2727417"/>
            <a:ext cx="135154" cy="224919"/>
          </a:xfrm>
          <a:custGeom>
            <a:avLst/>
            <a:gdLst/>
            <a:ahLst/>
            <a:cxnLst/>
            <a:rect l="l" t="t" r="r" b="b"/>
            <a:pathLst>
              <a:path w="170" h="283" extrusionOk="0">
                <a:moveTo>
                  <a:pt x="170" y="142"/>
                </a:moveTo>
                <a:cubicBezTo>
                  <a:pt x="50" y="13"/>
                  <a:pt x="50" y="13"/>
                  <a:pt x="50" y="13"/>
                </a:cubicBezTo>
                <a:cubicBezTo>
                  <a:pt x="39" y="1"/>
                  <a:pt x="21" y="0"/>
                  <a:pt x="9" y="11"/>
                </a:cubicBezTo>
                <a:cubicBezTo>
                  <a:pt x="3" y="17"/>
                  <a:pt x="0" y="25"/>
                  <a:pt x="0" y="33"/>
                </a:cubicBezTo>
                <a:cubicBezTo>
                  <a:pt x="0" y="40"/>
                  <a:pt x="2" y="47"/>
                  <a:pt x="7" y="53"/>
                </a:cubicBezTo>
                <a:cubicBezTo>
                  <a:pt x="7" y="53"/>
                  <a:pt x="66" y="115"/>
                  <a:pt x="91" y="142"/>
                </a:cubicBezTo>
                <a:cubicBezTo>
                  <a:pt x="66" y="168"/>
                  <a:pt x="7" y="231"/>
                  <a:pt x="7" y="231"/>
                </a:cubicBezTo>
                <a:cubicBezTo>
                  <a:pt x="2" y="236"/>
                  <a:pt x="0" y="243"/>
                  <a:pt x="0" y="251"/>
                </a:cubicBezTo>
                <a:cubicBezTo>
                  <a:pt x="0" y="258"/>
                  <a:pt x="3" y="266"/>
                  <a:pt x="9" y="272"/>
                </a:cubicBezTo>
                <a:cubicBezTo>
                  <a:pt x="21" y="283"/>
                  <a:pt x="39" y="282"/>
                  <a:pt x="50" y="270"/>
                </a:cubicBezTo>
                <a:lnTo>
                  <a:pt x="170" y="142"/>
                </a:lnTo>
                <a:close/>
              </a:path>
            </a:pathLst>
          </a:custGeom>
          <a:solidFill>
            <a:schemeClr val="accent3"/>
          </a:solidFill>
          <a:ln>
            <a:solidFill>
              <a:schemeClr val="accent3"/>
            </a:solidFill>
          </a:ln>
        </p:spPr>
        <p:txBody>
          <a:bodyPr spcFirstLastPara="1" wrap="square" lIns="153161" tIns="76561" rIns="153161" bIns="76561" anchor="t" anchorCtr="0">
            <a:noAutofit/>
          </a:bodyPr>
          <a:lstStyle/>
          <a:p>
            <a:pPr algn="ctr"/>
            <a:endParaRPr sz="2000" dirty="0">
              <a:cs typeface="Arial" panose="020B0604020202020204" pitchFamily="34" charset="0"/>
            </a:endParaRPr>
          </a:p>
        </p:txBody>
      </p:sp>
      <p:sp>
        <p:nvSpPr>
          <p:cNvPr id="37" name="Shape0_20220720_095014">
            <a:extLst>
              <a:ext uri="{FF2B5EF4-FFF2-40B4-BE49-F238E27FC236}">
                <a16:creationId xmlns:a16="http://schemas.microsoft.com/office/drawing/2014/main" id="{467A92FE-B341-B5B8-D1DE-88EBD6A151D5}"/>
              </a:ext>
            </a:extLst>
          </p:cNvPr>
          <p:cNvSpPr txBox="1"/>
          <p:nvPr/>
        </p:nvSpPr>
        <p:spPr>
          <a:xfrm>
            <a:off x="800498" y="3048535"/>
            <a:ext cx="1381224" cy="1899575"/>
          </a:xfrm>
          <a:prstGeom prst="rect">
            <a:avLst/>
          </a:prstGeom>
          <a:noFill/>
          <a:ln w="12700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8670" tIns="88670" rIns="88670" bIns="88670" anchor="ctr" anchorCtr="0">
            <a:noAutofit/>
          </a:bodyPr>
          <a:lstStyle>
            <a:defPPr>
              <a:defRPr lang="en-US"/>
            </a:defPPr>
            <a:lvl1pPr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  <a:ea typeface="Trebuchet MS"/>
                <a:cs typeface="Arial" panose="020B0604020202020204" pitchFamily="34" charset="0"/>
              </a:defRPr>
            </a:lvl1pPr>
          </a:lstStyle>
          <a:p>
            <a:pPr algn="ctr"/>
            <a:r>
              <a:rPr lang="en-US" sz="1600" dirty="0">
                <a:latin typeface="+mn-lt"/>
                <a:sym typeface="Trebuchet MS"/>
              </a:rPr>
              <a:t>Insert Text Here</a:t>
            </a:r>
            <a:endParaRPr sz="1600" dirty="0">
              <a:latin typeface="+mn-lt"/>
            </a:endParaRPr>
          </a:p>
        </p:txBody>
      </p:sp>
      <p:sp>
        <p:nvSpPr>
          <p:cNvPr id="38" name="Google Shape;719;p15">
            <a:extLst>
              <a:ext uri="{FF2B5EF4-FFF2-40B4-BE49-F238E27FC236}">
                <a16:creationId xmlns:a16="http://schemas.microsoft.com/office/drawing/2014/main" id="{C13D5147-2F10-6C0D-A584-76A9418C5155}"/>
              </a:ext>
            </a:extLst>
          </p:cNvPr>
          <p:cNvSpPr/>
          <p:nvPr/>
        </p:nvSpPr>
        <p:spPr>
          <a:xfrm rot="5400000">
            <a:off x="1423535" y="2727417"/>
            <a:ext cx="135154" cy="224919"/>
          </a:xfrm>
          <a:custGeom>
            <a:avLst/>
            <a:gdLst/>
            <a:ahLst/>
            <a:cxnLst/>
            <a:rect l="l" t="t" r="r" b="b"/>
            <a:pathLst>
              <a:path w="170" h="283" extrusionOk="0">
                <a:moveTo>
                  <a:pt x="170" y="142"/>
                </a:moveTo>
                <a:cubicBezTo>
                  <a:pt x="50" y="13"/>
                  <a:pt x="50" y="13"/>
                  <a:pt x="50" y="13"/>
                </a:cubicBezTo>
                <a:cubicBezTo>
                  <a:pt x="39" y="1"/>
                  <a:pt x="21" y="0"/>
                  <a:pt x="9" y="11"/>
                </a:cubicBezTo>
                <a:cubicBezTo>
                  <a:pt x="3" y="17"/>
                  <a:pt x="0" y="25"/>
                  <a:pt x="0" y="33"/>
                </a:cubicBezTo>
                <a:cubicBezTo>
                  <a:pt x="0" y="40"/>
                  <a:pt x="2" y="47"/>
                  <a:pt x="7" y="53"/>
                </a:cubicBezTo>
                <a:cubicBezTo>
                  <a:pt x="7" y="53"/>
                  <a:pt x="66" y="115"/>
                  <a:pt x="91" y="142"/>
                </a:cubicBezTo>
                <a:cubicBezTo>
                  <a:pt x="66" y="168"/>
                  <a:pt x="7" y="231"/>
                  <a:pt x="7" y="231"/>
                </a:cubicBezTo>
                <a:cubicBezTo>
                  <a:pt x="2" y="236"/>
                  <a:pt x="0" y="243"/>
                  <a:pt x="0" y="251"/>
                </a:cubicBezTo>
                <a:cubicBezTo>
                  <a:pt x="0" y="258"/>
                  <a:pt x="3" y="266"/>
                  <a:pt x="9" y="272"/>
                </a:cubicBezTo>
                <a:cubicBezTo>
                  <a:pt x="21" y="283"/>
                  <a:pt x="39" y="282"/>
                  <a:pt x="50" y="270"/>
                </a:cubicBezTo>
                <a:lnTo>
                  <a:pt x="170" y="142"/>
                </a:lnTo>
                <a:close/>
              </a:path>
            </a:pathLst>
          </a:custGeom>
          <a:solidFill>
            <a:schemeClr val="accent3"/>
          </a:solidFill>
          <a:ln>
            <a:solidFill>
              <a:schemeClr val="accent3"/>
            </a:solidFill>
          </a:ln>
        </p:spPr>
        <p:txBody>
          <a:bodyPr spcFirstLastPara="1" wrap="square" lIns="153161" tIns="76561" rIns="153161" bIns="76561" anchor="t" anchorCtr="0">
            <a:noAutofit/>
          </a:bodyPr>
          <a:lstStyle/>
          <a:p>
            <a:pPr algn="ctr"/>
            <a:endParaRPr sz="2000" dirty="0">
              <a:cs typeface="Arial" panose="020B0604020202020204" pitchFamily="34" charset="0"/>
            </a:endParaRPr>
          </a:p>
        </p:txBody>
      </p:sp>
      <p:sp>
        <p:nvSpPr>
          <p:cNvPr id="39" name="Google Shape;720;p15">
            <a:extLst>
              <a:ext uri="{FF2B5EF4-FFF2-40B4-BE49-F238E27FC236}">
                <a16:creationId xmlns:a16="http://schemas.microsoft.com/office/drawing/2014/main" id="{2596323C-DF8F-3622-3835-39EDF256CB48}"/>
              </a:ext>
            </a:extLst>
          </p:cNvPr>
          <p:cNvSpPr/>
          <p:nvPr/>
        </p:nvSpPr>
        <p:spPr>
          <a:xfrm>
            <a:off x="1375427" y="2281414"/>
            <a:ext cx="231367" cy="231368"/>
          </a:xfrm>
          <a:prstGeom prst="ellipse">
            <a:avLst/>
          </a:prstGeom>
          <a:solidFill>
            <a:schemeClr val="accent2"/>
          </a:solidFill>
          <a:ln w="12700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2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0" name="Shape4_20220720_095014">
            <a:extLst>
              <a:ext uri="{FF2B5EF4-FFF2-40B4-BE49-F238E27FC236}">
                <a16:creationId xmlns:a16="http://schemas.microsoft.com/office/drawing/2014/main" id="{9579A87D-D995-18DA-3776-28425EC1EFF2}"/>
              </a:ext>
            </a:extLst>
          </p:cNvPr>
          <p:cNvSpPr txBox="1"/>
          <p:nvPr/>
        </p:nvSpPr>
        <p:spPr>
          <a:xfrm>
            <a:off x="2368382" y="3048535"/>
            <a:ext cx="1381224" cy="1899575"/>
          </a:xfrm>
          <a:prstGeom prst="rect">
            <a:avLst/>
          </a:prstGeom>
          <a:noFill/>
          <a:ln w="12700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8670" tIns="88670" rIns="88670" bIns="88670" anchor="ctr" anchorCtr="0">
            <a:noAutofit/>
          </a:bodyPr>
          <a:lstStyle>
            <a:defPPr>
              <a:defRPr lang="en-US"/>
            </a:defPPr>
            <a:lvl1pPr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  <a:ea typeface="Trebuchet MS"/>
                <a:cs typeface="Arial" panose="020B0604020202020204" pitchFamily="34" charset="0"/>
              </a:defRPr>
            </a:lvl1pPr>
          </a:lstStyle>
          <a:p>
            <a:pPr algn="ctr"/>
            <a:r>
              <a:rPr lang="en-US" sz="1600" dirty="0">
                <a:latin typeface="+mn-lt"/>
                <a:sym typeface="Trebuchet MS"/>
              </a:rPr>
              <a:t>Insert Text Here</a:t>
            </a:r>
            <a:endParaRPr sz="1600" dirty="0">
              <a:latin typeface="+mn-lt"/>
            </a:endParaRPr>
          </a:p>
        </p:txBody>
      </p:sp>
      <p:sp>
        <p:nvSpPr>
          <p:cNvPr id="41" name="Google Shape;722;p15">
            <a:extLst>
              <a:ext uri="{FF2B5EF4-FFF2-40B4-BE49-F238E27FC236}">
                <a16:creationId xmlns:a16="http://schemas.microsoft.com/office/drawing/2014/main" id="{C4CC70ED-F2FD-28BB-6383-770F9891F48C}"/>
              </a:ext>
            </a:extLst>
          </p:cNvPr>
          <p:cNvSpPr/>
          <p:nvPr/>
        </p:nvSpPr>
        <p:spPr>
          <a:xfrm rot="5400000">
            <a:off x="2991421" y="2727417"/>
            <a:ext cx="135154" cy="224919"/>
          </a:xfrm>
          <a:custGeom>
            <a:avLst/>
            <a:gdLst/>
            <a:ahLst/>
            <a:cxnLst/>
            <a:rect l="l" t="t" r="r" b="b"/>
            <a:pathLst>
              <a:path w="170" h="283" extrusionOk="0">
                <a:moveTo>
                  <a:pt x="170" y="142"/>
                </a:moveTo>
                <a:cubicBezTo>
                  <a:pt x="50" y="13"/>
                  <a:pt x="50" y="13"/>
                  <a:pt x="50" y="13"/>
                </a:cubicBezTo>
                <a:cubicBezTo>
                  <a:pt x="39" y="1"/>
                  <a:pt x="21" y="0"/>
                  <a:pt x="9" y="11"/>
                </a:cubicBezTo>
                <a:cubicBezTo>
                  <a:pt x="3" y="17"/>
                  <a:pt x="0" y="25"/>
                  <a:pt x="0" y="33"/>
                </a:cubicBezTo>
                <a:cubicBezTo>
                  <a:pt x="0" y="40"/>
                  <a:pt x="2" y="47"/>
                  <a:pt x="7" y="53"/>
                </a:cubicBezTo>
                <a:cubicBezTo>
                  <a:pt x="7" y="53"/>
                  <a:pt x="66" y="115"/>
                  <a:pt x="91" y="142"/>
                </a:cubicBezTo>
                <a:cubicBezTo>
                  <a:pt x="66" y="168"/>
                  <a:pt x="7" y="231"/>
                  <a:pt x="7" y="231"/>
                </a:cubicBezTo>
                <a:cubicBezTo>
                  <a:pt x="2" y="236"/>
                  <a:pt x="0" y="243"/>
                  <a:pt x="0" y="251"/>
                </a:cubicBezTo>
                <a:cubicBezTo>
                  <a:pt x="0" y="258"/>
                  <a:pt x="3" y="266"/>
                  <a:pt x="9" y="272"/>
                </a:cubicBezTo>
                <a:cubicBezTo>
                  <a:pt x="21" y="283"/>
                  <a:pt x="39" y="282"/>
                  <a:pt x="50" y="270"/>
                </a:cubicBezTo>
                <a:lnTo>
                  <a:pt x="170" y="142"/>
                </a:lnTo>
                <a:close/>
              </a:path>
            </a:pathLst>
          </a:custGeom>
          <a:solidFill>
            <a:schemeClr val="accent3"/>
          </a:solidFill>
          <a:ln>
            <a:solidFill>
              <a:schemeClr val="accent3"/>
            </a:solidFill>
          </a:ln>
        </p:spPr>
        <p:txBody>
          <a:bodyPr spcFirstLastPara="1" wrap="square" lIns="153161" tIns="76561" rIns="153161" bIns="76561" anchor="t" anchorCtr="0">
            <a:noAutofit/>
          </a:bodyPr>
          <a:lstStyle/>
          <a:p>
            <a:pPr algn="ctr"/>
            <a:endParaRPr sz="2000" dirty="0">
              <a:cs typeface="Arial" panose="020B0604020202020204" pitchFamily="34" charset="0"/>
            </a:endParaRPr>
          </a:p>
        </p:txBody>
      </p:sp>
      <p:sp>
        <p:nvSpPr>
          <p:cNvPr id="42" name="Google Shape;723;p15">
            <a:extLst>
              <a:ext uri="{FF2B5EF4-FFF2-40B4-BE49-F238E27FC236}">
                <a16:creationId xmlns:a16="http://schemas.microsoft.com/office/drawing/2014/main" id="{C9DCA5AE-78AB-4137-DEEC-88B1276C5C80}"/>
              </a:ext>
            </a:extLst>
          </p:cNvPr>
          <p:cNvSpPr/>
          <p:nvPr/>
        </p:nvSpPr>
        <p:spPr>
          <a:xfrm>
            <a:off x="2943313" y="2281414"/>
            <a:ext cx="231367" cy="231368"/>
          </a:xfrm>
          <a:prstGeom prst="ellipse">
            <a:avLst/>
          </a:prstGeom>
          <a:solidFill>
            <a:schemeClr val="accent2"/>
          </a:solidFill>
          <a:ln w="12700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2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3" name="Shape5_20220720_095014">
            <a:extLst>
              <a:ext uri="{FF2B5EF4-FFF2-40B4-BE49-F238E27FC236}">
                <a16:creationId xmlns:a16="http://schemas.microsoft.com/office/drawing/2014/main" id="{8424ABFC-5E9B-8112-CC9A-EE2B82847722}"/>
              </a:ext>
            </a:extLst>
          </p:cNvPr>
          <p:cNvSpPr txBox="1"/>
          <p:nvPr/>
        </p:nvSpPr>
        <p:spPr>
          <a:xfrm>
            <a:off x="3936270" y="3048535"/>
            <a:ext cx="1381224" cy="1899575"/>
          </a:xfrm>
          <a:prstGeom prst="rect">
            <a:avLst/>
          </a:prstGeom>
          <a:noFill/>
          <a:ln w="12700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8670" tIns="88670" rIns="88670" bIns="88670" anchor="ctr" anchorCtr="0">
            <a:noAutofit/>
          </a:bodyPr>
          <a:lstStyle>
            <a:defPPr>
              <a:defRPr lang="en-US"/>
            </a:defPPr>
            <a:lvl1pPr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  <a:ea typeface="Trebuchet MS"/>
                <a:cs typeface="Arial" panose="020B0604020202020204" pitchFamily="34" charset="0"/>
              </a:defRPr>
            </a:lvl1pPr>
          </a:lstStyle>
          <a:p>
            <a:pPr algn="ctr"/>
            <a:r>
              <a:rPr lang="en-US" sz="1600" dirty="0">
                <a:latin typeface="+mn-lt"/>
                <a:sym typeface="Trebuchet MS"/>
              </a:rPr>
              <a:t>Insert Text Here</a:t>
            </a:r>
            <a:endParaRPr sz="1600" dirty="0">
              <a:latin typeface="+mn-lt"/>
            </a:endParaRPr>
          </a:p>
        </p:txBody>
      </p:sp>
      <p:sp>
        <p:nvSpPr>
          <p:cNvPr id="44" name="Google Shape;725;p15">
            <a:extLst>
              <a:ext uri="{FF2B5EF4-FFF2-40B4-BE49-F238E27FC236}">
                <a16:creationId xmlns:a16="http://schemas.microsoft.com/office/drawing/2014/main" id="{8E0EC300-7502-509B-FC9D-4EB830324C2E}"/>
              </a:ext>
            </a:extLst>
          </p:cNvPr>
          <p:cNvSpPr/>
          <p:nvPr/>
        </p:nvSpPr>
        <p:spPr>
          <a:xfrm rot="5400000">
            <a:off x="4559306" y="2727417"/>
            <a:ext cx="135154" cy="224919"/>
          </a:xfrm>
          <a:custGeom>
            <a:avLst/>
            <a:gdLst/>
            <a:ahLst/>
            <a:cxnLst/>
            <a:rect l="l" t="t" r="r" b="b"/>
            <a:pathLst>
              <a:path w="170" h="283" extrusionOk="0">
                <a:moveTo>
                  <a:pt x="170" y="142"/>
                </a:moveTo>
                <a:cubicBezTo>
                  <a:pt x="50" y="13"/>
                  <a:pt x="50" y="13"/>
                  <a:pt x="50" y="13"/>
                </a:cubicBezTo>
                <a:cubicBezTo>
                  <a:pt x="39" y="1"/>
                  <a:pt x="21" y="0"/>
                  <a:pt x="9" y="11"/>
                </a:cubicBezTo>
                <a:cubicBezTo>
                  <a:pt x="3" y="17"/>
                  <a:pt x="0" y="25"/>
                  <a:pt x="0" y="33"/>
                </a:cubicBezTo>
                <a:cubicBezTo>
                  <a:pt x="0" y="40"/>
                  <a:pt x="2" y="47"/>
                  <a:pt x="7" y="53"/>
                </a:cubicBezTo>
                <a:cubicBezTo>
                  <a:pt x="7" y="53"/>
                  <a:pt x="66" y="115"/>
                  <a:pt x="91" y="142"/>
                </a:cubicBezTo>
                <a:cubicBezTo>
                  <a:pt x="66" y="168"/>
                  <a:pt x="7" y="231"/>
                  <a:pt x="7" y="231"/>
                </a:cubicBezTo>
                <a:cubicBezTo>
                  <a:pt x="2" y="236"/>
                  <a:pt x="0" y="243"/>
                  <a:pt x="0" y="251"/>
                </a:cubicBezTo>
                <a:cubicBezTo>
                  <a:pt x="0" y="258"/>
                  <a:pt x="3" y="266"/>
                  <a:pt x="9" y="272"/>
                </a:cubicBezTo>
                <a:cubicBezTo>
                  <a:pt x="21" y="283"/>
                  <a:pt x="39" y="282"/>
                  <a:pt x="50" y="270"/>
                </a:cubicBezTo>
                <a:lnTo>
                  <a:pt x="170" y="142"/>
                </a:lnTo>
                <a:close/>
              </a:path>
            </a:pathLst>
          </a:custGeom>
          <a:solidFill>
            <a:schemeClr val="accent3"/>
          </a:solidFill>
          <a:ln>
            <a:solidFill>
              <a:schemeClr val="accent3"/>
            </a:solidFill>
          </a:ln>
        </p:spPr>
        <p:txBody>
          <a:bodyPr spcFirstLastPara="1" wrap="square" lIns="153161" tIns="76561" rIns="153161" bIns="76561" anchor="t" anchorCtr="0">
            <a:noAutofit/>
          </a:bodyPr>
          <a:lstStyle/>
          <a:p>
            <a:pPr algn="ctr"/>
            <a:endParaRPr sz="2000" dirty="0">
              <a:cs typeface="Arial" panose="020B0604020202020204" pitchFamily="34" charset="0"/>
            </a:endParaRPr>
          </a:p>
        </p:txBody>
      </p:sp>
      <p:sp>
        <p:nvSpPr>
          <p:cNvPr id="45" name="Google Shape;726;p15">
            <a:extLst>
              <a:ext uri="{FF2B5EF4-FFF2-40B4-BE49-F238E27FC236}">
                <a16:creationId xmlns:a16="http://schemas.microsoft.com/office/drawing/2014/main" id="{7EF3E77E-9237-760E-E444-CB69C3B00E2B}"/>
              </a:ext>
            </a:extLst>
          </p:cNvPr>
          <p:cNvSpPr/>
          <p:nvPr/>
        </p:nvSpPr>
        <p:spPr>
          <a:xfrm>
            <a:off x="4511198" y="2281414"/>
            <a:ext cx="231367" cy="231368"/>
          </a:xfrm>
          <a:prstGeom prst="ellipse">
            <a:avLst/>
          </a:prstGeom>
          <a:solidFill>
            <a:schemeClr val="accent2"/>
          </a:solidFill>
          <a:ln w="12700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2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6" name="Shape6_20220720_095014">
            <a:extLst>
              <a:ext uri="{FF2B5EF4-FFF2-40B4-BE49-F238E27FC236}">
                <a16:creationId xmlns:a16="http://schemas.microsoft.com/office/drawing/2014/main" id="{75F37E51-5432-275D-6830-80ACE27F6FBF}"/>
              </a:ext>
            </a:extLst>
          </p:cNvPr>
          <p:cNvSpPr txBox="1"/>
          <p:nvPr/>
        </p:nvSpPr>
        <p:spPr>
          <a:xfrm>
            <a:off x="5504157" y="3048535"/>
            <a:ext cx="1381224" cy="1899575"/>
          </a:xfrm>
          <a:prstGeom prst="rect">
            <a:avLst/>
          </a:prstGeom>
          <a:noFill/>
          <a:ln w="12700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8670" tIns="88670" rIns="88670" bIns="88670" anchor="ctr" anchorCtr="0">
            <a:noAutofit/>
          </a:bodyPr>
          <a:lstStyle>
            <a:defPPr>
              <a:defRPr lang="en-US"/>
            </a:defPPr>
            <a:lvl1pPr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  <a:ea typeface="Trebuchet MS"/>
                <a:cs typeface="Arial" panose="020B0604020202020204" pitchFamily="34" charset="0"/>
              </a:defRPr>
            </a:lvl1pPr>
          </a:lstStyle>
          <a:p>
            <a:pPr algn="ctr"/>
            <a:r>
              <a:rPr lang="en-US" sz="1600" dirty="0">
                <a:latin typeface="+mn-lt"/>
                <a:sym typeface="Trebuchet MS"/>
              </a:rPr>
              <a:t>Insert Text Here</a:t>
            </a:r>
            <a:endParaRPr sz="1600" dirty="0">
              <a:latin typeface="+mn-lt"/>
            </a:endParaRPr>
          </a:p>
        </p:txBody>
      </p:sp>
      <p:sp>
        <p:nvSpPr>
          <p:cNvPr id="47" name="Google Shape;728;p15">
            <a:extLst>
              <a:ext uri="{FF2B5EF4-FFF2-40B4-BE49-F238E27FC236}">
                <a16:creationId xmlns:a16="http://schemas.microsoft.com/office/drawing/2014/main" id="{BB0B86C8-C860-EBE1-DF03-04225C4B3E4B}"/>
              </a:ext>
            </a:extLst>
          </p:cNvPr>
          <p:cNvSpPr/>
          <p:nvPr/>
        </p:nvSpPr>
        <p:spPr>
          <a:xfrm rot="5400000">
            <a:off x="6127192" y="2727417"/>
            <a:ext cx="135154" cy="224919"/>
          </a:xfrm>
          <a:custGeom>
            <a:avLst/>
            <a:gdLst/>
            <a:ahLst/>
            <a:cxnLst/>
            <a:rect l="l" t="t" r="r" b="b"/>
            <a:pathLst>
              <a:path w="170" h="283" extrusionOk="0">
                <a:moveTo>
                  <a:pt x="170" y="142"/>
                </a:moveTo>
                <a:cubicBezTo>
                  <a:pt x="50" y="13"/>
                  <a:pt x="50" y="13"/>
                  <a:pt x="50" y="13"/>
                </a:cubicBezTo>
                <a:cubicBezTo>
                  <a:pt x="39" y="1"/>
                  <a:pt x="21" y="0"/>
                  <a:pt x="9" y="11"/>
                </a:cubicBezTo>
                <a:cubicBezTo>
                  <a:pt x="3" y="17"/>
                  <a:pt x="0" y="25"/>
                  <a:pt x="0" y="33"/>
                </a:cubicBezTo>
                <a:cubicBezTo>
                  <a:pt x="0" y="40"/>
                  <a:pt x="2" y="47"/>
                  <a:pt x="7" y="53"/>
                </a:cubicBezTo>
                <a:cubicBezTo>
                  <a:pt x="7" y="53"/>
                  <a:pt x="66" y="115"/>
                  <a:pt x="91" y="142"/>
                </a:cubicBezTo>
                <a:cubicBezTo>
                  <a:pt x="66" y="168"/>
                  <a:pt x="7" y="231"/>
                  <a:pt x="7" y="231"/>
                </a:cubicBezTo>
                <a:cubicBezTo>
                  <a:pt x="2" y="236"/>
                  <a:pt x="0" y="243"/>
                  <a:pt x="0" y="251"/>
                </a:cubicBezTo>
                <a:cubicBezTo>
                  <a:pt x="0" y="258"/>
                  <a:pt x="3" y="266"/>
                  <a:pt x="9" y="272"/>
                </a:cubicBezTo>
                <a:cubicBezTo>
                  <a:pt x="21" y="283"/>
                  <a:pt x="39" y="282"/>
                  <a:pt x="50" y="270"/>
                </a:cubicBezTo>
                <a:lnTo>
                  <a:pt x="170" y="142"/>
                </a:lnTo>
                <a:close/>
              </a:path>
            </a:pathLst>
          </a:custGeom>
          <a:solidFill>
            <a:schemeClr val="accent3"/>
          </a:solidFill>
          <a:ln>
            <a:solidFill>
              <a:schemeClr val="accent3"/>
            </a:solidFill>
          </a:ln>
        </p:spPr>
        <p:txBody>
          <a:bodyPr spcFirstLastPara="1" wrap="square" lIns="153161" tIns="76561" rIns="153161" bIns="76561" anchor="t" anchorCtr="0">
            <a:noAutofit/>
          </a:bodyPr>
          <a:lstStyle/>
          <a:p>
            <a:pPr algn="ctr"/>
            <a:endParaRPr sz="2000" dirty="0">
              <a:cs typeface="Arial" panose="020B0604020202020204" pitchFamily="34" charset="0"/>
            </a:endParaRPr>
          </a:p>
        </p:txBody>
      </p:sp>
      <p:sp>
        <p:nvSpPr>
          <p:cNvPr id="48" name="Google Shape;729;p15">
            <a:extLst>
              <a:ext uri="{FF2B5EF4-FFF2-40B4-BE49-F238E27FC236}">
                <a16:creationId xmlns:a16="http://schemas.microsoft.com/office/drawing/2014/main" id="{30AFC4F9-0144-FDC5-94A4-6465606D9110}"/>
              </a:ext>
            </a:extLst>
          </p:cNvPr>
          <p:cNvSpPr/>
          <p:nvPr/>
        </p:nvSpPr>
        <p:spPr>
          <a:xfrm>
            <a:off x="6079086" y="2281414"/>
            <a:ext cx="231367" cy="231368"/>
          </a:xfrm>
          <a:prstGeom prst="ellipse">
            <a:avLst/>
          </a:prstGeom>
          <a:solidFill>
            <a:schemeClr val="accent2"/>
          </a:solidFill>
          <a:ln w="12700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2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9635503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00A604-1650-7A53-0FFC-B0FBD6CDCF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B0741104-5AF7-5F63-5E38-1FBF6E369F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0741104-5AF7-5F63-5E38-1FBF6E369F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80AD9B9-35F0-0562-CEFE-E037C157D5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imeline 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D5BDE7E5-592E-8D0D-AC70-3ACE30A20A2A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6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82DF595A-50EB-E4CF-3051-CB8210828832}"/>
              </a:ext>
            </a:extLst>
          </p:cNvPr>
          <p:cNvSpPr/>
          <p:nvPr/>
        </p:nvSpPr>
        <p:spPr>
          <a:xfrm rot="5400000" flipH="1">
            <a:off x="4888902" y="-684423"/>
            <a:ext cx="2079352" cy="10596207"/>
          </a:xfrm>
          <a:custGeom>
            <a:avLst/>
            <a:gdLst>
              <a:gd name="connsiteX0" fmla="*/ 2170275 w 2170275"/>
              <a:gd name="connsiteY0" fmla="*/ 4085870 h 12192003"/>
              <a:gd name="connsiteX1" fmla="*/ 1797255 w 2170275"/>
              <a:gd name="connsiteY1" fmla="*/ 93834 h 12192003"/>
              <a:gd name="connsiteX2" fmla="*/ 1777632 w 2170275"/>
              <a:gd name="connsiteY2" fmla="*/ 0 h 12192003"/>
              <a:gd name="connsiteX3" fmla="*/ 1514225 w 2170275"/>
              <a:gd name="connsiteY3" fmla="*/ 0 h 12192003"/>
              <a:gd name="connsiteX4" fmla="*/ 1565131 w 2170275"/>
              <a:gd name="connsiteY4" fmla="*/ 356868 h 12192003"/>
              <a:gd name="connsiteX5" fmla="*/ 1733697 w 2170275"/>
              <a:gd name="connsiteY5" fmla="*/ 3062373 h 12192003"/>
              <a:gd name="connsiteX6" fmla="*/ 55384 w 2170275"/>
              <a:gd name="connsiteY6" fmla="*/ 11158928 h 12192003"/>
              <a:gd name="connsiteX7" fmla="*/ 0 w 2170275"/>
              <a:gd name="connsiteY7" fmla="*/ 11271910 h 12192003"/>
              <a:gd name="connsiteX8" fmla="*/ 0 w 2170275"/>
              <a:gd name="connsiteY8" fmla="*/ 12192003 h 12192003"/>
              <a:gd name="connsiteX9" fmla="*/ 485980 w 2170275"/>
              <a:gd name="connsiteY9" fmla="*/ 12192003 h 12192003"/>
              <a:gd name="connsiteX10" fmla="*/ 521941 w 2170275"/>
              <a:gd name="connsiteY10" fmla="*/ 12117964 h 12192003"/>
              <a:gd name="connsiteX11" fmla="*/ 2170275 w 2170275"/>
              <a:gd name="connsiteY11" fmla="*/ 4085870 h 12192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170275" h="12192003">
                <a:moveTo>
                  <a:pt x="2170275" y="4085870"/>
                </a:moveTo>
                <a:cubicBezTo>
                  <a:pt x="2170275" y="2695719"/>
                  <a:pt x="2039679" y="1354918"/>
                  <a:pt x="1797255" y="93834"/>
                </a:cubicBezTo>
                <a:lnTo>
                  <a:pt x="1777632" y="0"/>
                </a:lnTo>
                <a:lnTo>
                  <a:pt x="1514225" y="0"/>
                </a:lnTo>
                <a:lnTo>
                  <a:pt x="1565131" y="356868"/>
                </a:lnTo>
                <a:cubicBezTo>
                  <a:pt x="1675656" y="1230770"/>
                  <a:pt x="1733697" y="2135605"/>
                  <a:pt x="1733697" y="3062373"/>
                </a:cubicBezTo>
                <a:cubicBezTo>
                  <a:pt x="1733697" y="6103332"/>
                  <a:pt x="1108776" y="8908134"/>
                  <a:pt x="55384" y="11158928"/>
                </a:cubicBezTo>
                <a:lnTo>
                  <a:pt x="0" y="11271910"/>
                </a:lnTo>
                <a:lnTo>
                  <a:pt x="0" y="12192003"/>
                </a:lnTo>
                <a:lnTo>
                  <a:pt x="485980" y="12192003"/>
                </a:lnTo>
                <a:lnTo>
                  <a:pt x="521941" y="12117964"/>
                </a:lnTo>
                <a:cubicBezTo>
                  <a:pt x="1557201" y="9878186"/>
                  <a:pt x="2170275" y="7097869"/>
                  <a:pt x="2170275" y="408587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spcFirstLastPara="1" wrap="square" lIns="150125" tIns="600580" rIns="150125" bIns="150125" anchor="ctr" anchorCtr="0">
            <a:noAutofit/>
          </a:bodyPr>
          <a:lstStyle/>
          <a:p>
            <a:pPr>
              <a:buClr>
                <a:srgbClr val="FFFFFF"/>
              </a:buClr>
              <a:buSzPts val="2400"/>
              <a:defRPr/>
            </a:pPr>
            <a:endParaRPr sz="16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" name="Shape1_20220425_105209">
            <a:extLst>
              <a:ext uri="{FF2B5EF4-FFF2-40B4-BE49-F238E27FC236}">
                <a16:creationId xmlns:a16="http://schemas.microsoft.com/office/drawing/2014/main" id="{71CE8AC1-3EB0-2BEA-CC8F-0BE2CBA8BA11}"/>
              </a:ext>
            </a:extLst>
          </p:cNvPr>
          <p:cNvSpPr/>
          <p:nvPr/>
        </p:nvSpPr>
        <p:spPr>
          <a:xfrm rot="5400000">
            <a:off x="3656162" y="1795140"/>
            <a:ext cx="2114770" cy="2044748"/>
          </a:xfrm>
          <a:prstGeom prst="homePlate">
            <a:avLst>
              <a:gd name="adj" fmla="val 14908"/>
            </a:avLst>
          </a:prstGeom>
          <a:solidFill>
            <a:srgbClr val="FFFFFF"/>
          </a:solidFill>
          <a:ln w="15875" cap="flat" cmpd="sng">
            <a:solidFill>
              <a:schemeClr val="tx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>
              <a:buClr>
                <a:srgbClr val="FFFFFF"/>
              </a:buClr>
              <a:buSzPts val="1568"/>
            </a:pPr>
            <a:endParaRPr sz="1600" dirty="0">
              <a:cs typeface="Arial" panose="020B0604020202020204" pitchFamily="34" charset="0"/>
            </a:endParaRPr>
          </a:p>
        </p:txBody>
      </p:sp>
      <p:sp>
        <p:nvSpPr>
          <p:cNvPr id="6" name="Google Shape;947;p12">
            <a:extLst>
              <a:ext uri="{FF2B5EF4-FFF2-40B4-BE49-F238E27FC236}">
                <a16:creationId xmlns:a16="http://schemas.microsoft.com/office/drawing/2014/main" id="{0556597C-7660-43CE-BA75-30DB0EEEBFF1}"/>
              </a:ext>
            </a:extLst>
          </p:cNvPr>
          <p:cNvSpPr txBox="1"/>
          <p:nvPr/>
        </p:nvSpPr>
        <p:spPr>
          <a:xfrm>
            <a:off x="3768680" y="2193163"/>
            <a:ext cx="1892050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45CDFF"/>
              </a:buClr>
              <a:buSzPts val="1764"/>
              <a:defRPr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7" name="Google Shape;950;p12">
            <a:extLst>
              <a:ext uri="{FF2B5EF4-FFF2-40B4-BE49-F238E27FC236}">
                <a16:creationId xmlns:a16="http://schemas.microsoft.com/office/drawing/2014/main" id="{00DBC1E8-3892-F069-984C-95118FFACE95}"/>
              </a:ext>
            </a:extLst>
          </p:cNvPr>
          <p:cNvSpPr/>
          <p:nvPr/>
        </p:nvSpPr>
        <p:spPr>
          <a:xfrm flipH="1">
            <a:off x="3768680" y="1813715"/>
            <a:ext cx="1892050" cy="2485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960"/>
              <a:defRPr/>
            </a:pPr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Title</a:t>
            </a:r>
            <a:endParaRPr sz="1600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cxnSp>
        <p:nvCxnSpPr>
          <p:cNvPr id="8" name="Shape1_20210617_094420">
            <a:extLst>
              <a:ext uri="{FF2B5EF4-FFF2-40B4-BE49-F238E27FC236}">
                <a16:creationId xmlns:a16="http://schemas.microsoft.com/office/drawing/2014/main" id="{7D5D9583-307A-917C-FFAA-14D34D2F78BE}"/>
              </a:ext>
            </a:extLst>
          </p:cNvPr>
          <p:cNvCxnSpPr/>
          <p:nvPr/>
        </p:nvCxnSpPr>
        <p:spPr>
          <a:xfrm>
            <a:off x="3767521" y="2127703"/>
            <a:ext cx="1892050" cy="0"/>
          </a:xfrm>
          <a:prstGeom prst="straightConnector1">
            <a:avLst/>
          </a:prstGeom>
          <a:noFill/>
          <a:ln w="9525" cap="flat" cmpd="sng">
            <a:solidFill>
              <a:schemeClr val="accent6"/>
            </a:solidFill>
            <a:prstDash val="sysDot"/>
            <a:round/>
            <a:headEnd type="none" w="sm" len="sm"/>
            <a:tailEnd type="none" w="sm" len="sm"/>
          </a:ln>
          <a:effectLst/>
        </p:spPr>
      </p:cxnSp>
      <p:sp>
        <p:nvSpPr>
          <p:cNvPr id="9" name="Shape0_20220429_085301">
            <a:extLst>
              <a:ext uri="{FF2B5EF4-FFF2-40B4-BE49-F238E27FC236}">
                <a16:creationId xmlns:a16="http://schemas.microsoft.com/office/drawing/2014/main" id="{F8DA58BC-1192-393C-82BA-72B269F251E0}"/>
              </a:ext>
            </a:extLst>
          </p:cNvPr>
          <p:cNvSpPr/>
          <p:nvPr/>
        </p:nvSpPr>
        <p:spPr>
          <a:xfrm>
            <a:off x="4417086" y="3584042"/>
            <a:ext cx="607332" cy="60732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bg1"/>
                </a:solidFill>
                <a:cs typeface="Arial" panose="020B0604020202020204" pitchFamily="34" charset="0"/>
              </a:rPr>
              <a:t>2</a:t>
            </a:r>
            <a:endParaRPr sz="1600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10" name="Shape0_20220425_105209">
            <a:extLst>
              <a:ext uri="{FF2B5EF4-FFF2-40B4-BE49-F238E27FC236}">
                <a16:creationId xmlns:a16="http://schemas.microsoft.com/office/drawing/2014/main" id="{DB5A26FA-6BD1-A3DF-E22E-86942C75AAFE}"/>
              </a:ext>
            </a:extLst>
          </p:cNvPr>
          <p:cNvSpPr/>
          <p:nvPr/>
        </p:nvSpPr>
        <p:spPr>
          <a:xfrm rot="5400000">
            <a:off x="1105013" y="2378579"/>
            <a:ext cx="2114770" cy="2044748"/>
          </a:xfrm>
          <a:prstGeom prst="homePlate">
            <a:avLst>
              <a:gd name="adj" fmla="val 14908"/>
            </a:avLst>
          </a:prstGeom>
          <a:solidFill>
            <a:srgbClr val="FFFFFF"/>
          </a:solidFill>
          <a:ln w="15875" cap="flat" cmpd="sng">
            <a:solidFill>
              <a:schemeClr val="tx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>
              <a:buClr>
                <a:srgbClr val="FFFFFF"/>
              </a:buClr>
              <a:buSzPts val="1568"/>
            </a:pPr>
            <a:endParaRPr sz="1600" dirty="0">
              <a:cs typeface="Arial" panose="020B0604020202020204" pitchFamily="34" charset="0"/>
            </a:endParaRPr>
          </a:p>
        </p:txBody>
      </p:sp>
      <p:sp>
        <p:nvSpPr>
          <p:cNvPr id="11" name="Google Shape;946;p12">
            <a:extLst>
              <a:ext uri="{FF2B5EF4-FFF2-40B4-BE49-F238E27FC236}">
                <a16:creationId xmlns:a16="http://schemas.microsoft.com/office/drawing/2014/main" id="{B3D2128C-5E82-D3EA-3C4E-D086E2790D03}"/>
              </a:ext>
            </a:extLst>
          </p:cNvPr>
          <p:cNvSpPr txBox="1"/>
          <p:nvPr/>
        </p:nvSpPr>
        <p:spPr>
          <a:xfrm>
            <a:off x="1212618" y="2770795"/>
            <a:ext cx="1892050" cy="2320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45CDFF"/>
              </a:buClr>
              <a:buSzPts val="1764"/>
              <a:defRPr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12" name="Google Shape;949;p12">
            <a:extLst>
              <a:ext uri="{FF2B5EF4-FFF2-40B4-BE49-F238E27FC236}">
                <a16:creationId xmlns:a16="http://schemas.microsoft.com/office/drawing/2014/main" id="{4BF22A15-C81A-E9A9-ED76-58EA54BAF5DD}"/>
              </a:ext>
            </a:extLst>
          </p:cNvPr>
          <p:cNvSpPr/>
          <p:nvPr/>
        </p:nvSpPr>
        <p:spPr>
          <a:xfrm flipH="1">
            <a:off x="1212618" y="2401605"/>
            <a:ext cx="1892050" cy="2485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960"/>
              <a:defRPr/>
            </a:pPr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Title</a:t>
            </a:r>
            <a:endParaRPr sz="1600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cxnSp>
        <p:nvCxnSpPr>
          <p:cNvPr id="13" name="Shape0_20210617_094420">
            <a:extLst>
              <a:ext uri="{FF2B5EF4-FFF2-40B4-BE49-F238E27FC236}">
                <a16:creationId xmlns:a16="http://schemas.microsoft.com/office/drawing/2014/main" id="{8EE18589-52AD-8A6B-5B32-62C504610995}"/>
              </a:ext>
            </a:extLst>
          </p:cNvPr>
          <p:cNvCxnSpPr/>
          <p:nvPr/>
        </p:nvCxnSpPr>
        <p:spPr>
          <a:xfrm>
            <a:off x="1216371" y="2710464"/>
            <a:ext cx="1892050" cy="0"/>
          </a:xfrm>
          <a:prstGeom prst="straightConnector1">
            <a:avLst/>
          </a:prstGeom>
          <a:noFill/>
          <a:ln w="9525" cap="flat" cmpd="sng">
            <a:solidFill>
              <a:schemeClr val="accent6"/>
            </a:solidFill>
            <a:prstDash val="sysDot"/>
            <a:round/>
            <a:headEnd type="none" w="sm" len="sm"/>
            <a:tailEnd type="none" w="sm" len="sm"/>
          </a:ln>
          <a:effectLst/>
        </p:spPr>
      </p:cxnSp>
      <p:sp>
        <p:nvSpPr>
          <p:cNvPr id="14" name="Shape2_20220425_105209">
            <a:extLst>
              <a:ext uri="{FF2B5EF4-FFF2-40B4-BE49-F238E27FC236}">
                <a16:creationId xmlns:a16="http://schemas.microsoft.com/office/drawing/2014/main" id="{B0D39752-869B-41F2-B73C-BB3287E367BD}"/>
              </a:ext>
            </a:extLst>
          </p:cNvPr>
          <p:cNvSpPr/>
          <p:nvPr/>
        </p:nvSpPr>
        <p:spPr>
          <a:xfrm rot="5400000">
            <a:off x="6228986" y="1496137"/>
            <a:ext cx="2025144" cy="2044748"/>
          </a:xfrm>
          <a:prstGeom prst="homePlate">
            <a:avLst>
              <a:gd name="adj" fmla="val 14908"/>
            </a:avLst>
          </a:prstGeom>
          <a:solidFill>
            <a:srgbClr val="FFFFFF"/>
          </a:solidFill>
          <a:ln w="15875" cap="flat" cmpd="sng">
            <a:solidFill>
              <a:schemeClr val="tx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>
              <a:buClr>
                <a:srgbClr val="FFFFFF"/>
              </a:buClr>
              <a:buSzPts val="1568"/>
            </a:pPr>
            <a:endParaRPr sz="1600" dirty="0">
              <a:cs typeface="Arial" panose="020B0604020202020204" pitchFamily="34" charset="0"/>
            </a:endParaRPr>
          </a:p>
        </p:txBody>
      </p:sp>
      <p:sp>
        <p:nvSpPr>
          <p:cNvPr id="15" name="Google Shape;948;p12">
            <a:extLst>
              <a:ext uri="{FF2B5EF4-FFF2-40B4-BE49-F238E27FC236}">
                <a16:creationId xmlns:a16="http://schemas.microsoft.com/office/drawing/2014/main" id="{A1B76093-1109-C9A1-8ACD-93054120D645}"/>
              </a:ext>
            </a:extLst>
          </p:cNvPr>
          <p:cNvSpPr txBox="1"/>
          <p:nvPr/>
        </p:nvSpPr>
        <p:spPr>
          <a:xfrm>
            <a:off x="6295531" y="1916482"/>
            <a:ext cx="1892050" cy="2320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45CDFF"/>
              </a:buClr>
              <a:buSzPts val="1764"/>
              <a:defRPr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16" name="Google Shape;951;p12">
            <a:extLst>
              <a:ext uri="{FF2B5EF4-FFF2-40B4-BE49-F238E27FC236}">
                <a16:creationId xmlns:a16="http://schemas.microsoft.com/office/drawing/2014/main" id="{A111E48E-B0A9-79FE-93EF-16C5B062CD6D}"/>
              </a:ext>
            </a:extLst>
          </p:cNvPr>
          <p:cNvSpPr/>
          <p:nvPr/>
        </p:nvSpPr>
        <p:spPr>
          <a:xfrm flipH="1">
            <a:off x="6295531" y="1542565"/>
            <a:ext cx="1892050" cy="2485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960"/>
              <a:defRPr/>
            </a:pPr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Title</a:t>
            </a:r>
            <a:endParaRPr sz="1600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cxnSp>
        <p:nvCxnSpPr>
          <p:cNvPr id="17" name="Shape2_20210617_094420">
            <a:extLst>
              <a:ext uri="{FF2B5EF4-FFF2-40B4-BE49-F238E27FC236}">
                <a16:creationId xmlns:a16="http://schemas.microsoft.com/office/drawing/2014/main" id="{D37FD5AA-5DF3-2A0E-619C-B78F353E2BCF}"/>
              </a:ext>
            </a:extLst>
          </p:cNvPr>
          <p:cNvCxnSpPr/>
          <p:nvPr/>
        </p:nvCxnSpPr>
        <p:spPr>
          <a:xfrm>
            <a:off x="6295531" y="1853788"/>
            <a:ext cx="1892050" cy="0"/>
          </a:xfrm>
          <a:prstGeom prst="straightConnector1">
            <a:avLst/>
          </a:prstGeom>
          <a:noFill/>
          <a:ln w="9525" cap="flat" cmpd="sng">
            <a:solidFill>
              <a:schemeClr val="accent6"/>
            </a:solidFill>
            <a:prstDash val="sysDot"/>
            <a:round/>
            <a:headEnd type="none" w="sm" len="sm"/>
            <a:tailEnd type="none" w="sm" len="sm"/>
          </a:ln>
          <a:effectLst/>
        </p:spPr>
      </p:cxnSp>
      <p:sp>
        <p:nvSpPr>
          <p:cNvPr id="18" name="Shape1_20220429_085301">
            <a:extLst>
              <a:ext uri="{FF2B5EF4-FFF2-40B4-BE49-F238E27FC236}">
                <a16:creationId xmlns:a16="http://schemas.microsoft.com/office/drawing/2014/main" id="{03C47EAD-0FFC-C91A-6C50-8965861D63DB}"/>
              </a:ext>
            </a:extLst>
          </p:cNvPr>
          <p:cNvSpPr/>
          <p:nvPr/>
        </p:nvSpPr>
        <p:spPr>
          <a:xfrm>
            <a:off x="1844774" y="4308313"/>
            <a:ext cx="607332" cy="60732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bg1"/>
                </a:solidFill>
                <a:cs typeface="Arial" panose="020B0604020202020204" pitchFamily="34" charset="0"/>
              </a:rPr>
              <a:t>1</a:t>
            </a:r>
            <a:endParaRPr sz="1600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19" name="Shape2_20220429_085301">
            <a:extLst>
              <a:ext uri="{FF2B5EF4-FFF2-40B4-BE49-F238E27FC236}">
                <a16:creationId xmlns:a16="http://schemas.microsoft.com/office/drawing/2014/main" id="{DD3B3A6E-2B01-651D-C839-3F78A45D99F4}"/>
              </a:ext>
            </a:extLst>
          </p:cNvPr>
          <p:cNvSpPr/>
          <p:nvPr/>
        </p:nvSpPr>
        <p:spPr>
          <a:xfrm>
            <a:off x="6913406" y="3292275"/>
            <a:ext cx="607332" cy="607329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bg1"/>
                </a:solidFill>
                <a:cs typeface="Arial" panose="020B0604020202020204" pitchFamily="34" charset="0"/>
              </a:rPr>
              <a:t>3</a:t>
            </a:r>
            <a:endParaRPr sz="1600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20" name="Shape3_20220425_105209">
            <a:extLst>
              <a:ext uri="{FF2B5EF4-FFF2-40B4-BE49-F238E27FC236}">
                <a16:creationId xmlns:a16="http://schemas.microsoft.com/office/drawing/2014/main" id="{CFD19563-2F88-1692-E474-671DC13DB0F6}"/>
              </a:ext>
            </a:extLst>
          </p:cNvPr>
          <p:cNvSpPr/>
          <p:nvPr/>
        </p:nvSpPr>
        <p:spPr>
          <a:xfrm rot="5400000">
            <a:off x="8713738" y="1559389"/>
            <a:ext cx="2114770" cy="2044748"/>
          </a:xfrm>
          <a:prstGeom prst="homePlate">
            <a:avLst>
              <a:gd name="adj" fmla="val 14908"/>
            </a:avLst>
          </a:prstGeom>
          <a:solidFill>
            <a:srgbClr val="FFFFFF"/>
          </a:solidFill>
          <a:ln w="15875" cap="flat" cmpd="sng">
            <a:solidFill>
              <a:schemeClr val="tx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>
              <a:buClr>
                <a:srgbClr val="FFFFFF"/>
              </a:buClr>
              <a:buSzPts val="1568"/>
            </a:pPr>
            <a:endParaRPr sz="1600" dirty="0">
              <a:cs typeface="Arial" panose="020B0604020202020204" pitchFamily="34" charset="0"/>
            </a:endParaRPr>
          </a:p>
        </p:txBody>
      </p:sp>
      <p:sp>
        <p:nvSpPr>
          <p:cNvPr id="21" name="Google Shape;948;p12~1">
            <a:extLst>
              <a:ext uri="{FF2B5EF4-FFF2-40B4-BE49-F238E27FC236}">
                <a16:creationId xmlns:a16="http://schemas.microsoft.com/office/drawing/2014/main" id="{6A347FFE-47D9-9913-2C56-69A6E8B6FFFD}"/>
              </a:ext>
            </a:extLst>
          </p:cNvPr>
          <p:cNvSpPr txBox="1"/>
          <p:nvPr/>
        </p:nvSpPr>
        <p:spPr>
          <a:xfrm>
            <a:off x="8825096" y="1953886"/>
            <a:ext cx="1892050" cy="2320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45CDFF"/>
              </a:buClr>
              <a:buSzPts val="1764"/>
              <a:defRPr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22" name="Google Shape;951;p12~1">
            <a:extLst>
              <a:ext uri="{FF2B5EF4-FFF2-40B4-BE49-F238E27FC236}">
                <a16:creationId xmlns:a16="http://schemas.microsoft.com/office/drawing/2014/main" id="{0B9D3CE4-5A55-E2A3-E50D-6D726F8BE306}"/>
              </a:ext>
            </a:extLst>
          </p:cNvPr>
          <p:cNvSpPr/>
          <p:nvPr/>
        </p:nvSpPr>
        <p:spPr>
          <a:xfrm flipH="1">
            <a:off x="8825096" y="1579969"/>
            <a:ext cx="1892050" cy="2485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960"/>
              <a:defRPr/>
            </a:pPr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Title</a:t>
            </a:r>
            <a:endParaRPr sz="1600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cxnSp>
        <p:nvCxnSpPr>
          <p:cNvPr id="23" name="Shape3_20210617_094420">
            <a:extLst>
              <a:ext uri="{FF2B5EF4-FFF2-40B4-BE49-F238E27FC236}">
                <a16:creationId xmlns:a16="http://schemas.microsoft.com/office/drawing/2014/main" id="{96AD8417-02E5-FF5F-0BEF-3A48410A7435}"/>
              </a:ext>
            </a:extLst>
          </p:cNvPr>
          <p:cNvCxnSpPr/>
          <p:nvPr/>
        </p:nvCxnSpPr>
        <p:spPr>
          <a:xfrm>
            <a:off x="8825096" y="1891191"/>
            <a:ext cx="1892050" cy="0"/>
          </a:xfrm>
          <a:prstGeom prst="straightConnector1">
            <a:avLst/>
          </a:prstGeom>
          <a:noFill/>
          <a:ln w="9525" cap="flat" cmpd="sng">
            <a:solidFill>
              <a:schemeClr val="accent6"/>
            </a:solidFill>
            <a:prstDash val="sysDot"/>
            <a:round/>
            <a:headEnd type="none" w="sm" len="sm"/>
            <a:tailEnd type="none" w="sm" len="sm"/>
          </a:ln>
          <a:effectLst/>
        </p:spPr>
      </p:cxnSp>
      <p:sp>
        <p:nvSpPr>
          <p:cNvPr id="24" name="Shape3_20220429_085301">
            <a:extLst>
              <a:ext uri="{FF2B5EF4-FFF2-40B4-BE49-F238E27FC236}">
                <a16:creationId xmlns:a16="http://schemas.microsoft.com/office/drawing/2014/main" id="{EF6EE05E-8F9C-B032-D091-B041C7DAB4C3}"/>
              </a:ext>
            </a:extLst>
          </p:cNvPr>
          <p:cNvSpPr/>
          <p:nvPr/>
        </p:nvSpPr>
        <p:spPr>
          <a:xfrm>
            <a:off x="9442971" y="3400339"/>
            <a:ext cx="607332" cy="607329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bg1"/>
                </a:solidFill>
                <a:cs typeface="Arial" panose="020B0604020202020204" pitchFamily="34" charset="0"/>
              </a:rPr>
              <a:t>4</a:t>
            </a:r>
            <a:endParaRPr sz="1600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5067485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C3BF289-01B3-B4E7-71DA-A68F007B9D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EEB9B87C-9CEB-A257-2E87-4AA690D2E8F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EB9B87C-9CEB-A257-2E87-4AA690D2E8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551FBA7-23EB-BACC-39E7-1A5A8782E2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imeline 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EEB09BB1-58B7-67A6-BD77-B5E366DDDB25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62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5" name="Google Shape;5613;p85">
            <a:extLst>
              <a:ext uri="{FF2B5EF4-FFF2-40B4-BE49-F238E27FC236}">
                <a16:creationId xmlns:a16="http://schemas.microsoft.com/office/drawing/2014/main" id="{8194AB46-8222-7134-0F7E-08621E2BDD39}"/>
              </a:ext>
            </a:extLst>
          </p:cNvPr>
          <p:cNvSpPr/>
          <p:nvPr/>
        </p:nvSpPr>
        <p:spPr>
          <a:xfrm>
            <a:off x="630475" y="1900701"/>
            <a:ext cx="10953393" cy="65527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sz="2400" dirty="0">
              <a:cs typeface="Arial" panose="020B0604020202020204" pitchFamily="34" charset="0"/>
            </a:endParaRPr>
          </a:p>
        </p:txBody>
      </p:sp>
      <p:cxnSp>
        <p:nvCxnSpPr>
          <p:cNvPr id="26" name="Shape1_20220429_101214">
            <a:extLst>
              <a:ext uri="{FF2B5EF4-FFF2-40B4-BE49-F238E27FC236}">
                <a16:creationId xmlns:a16="http://schemas.microsoft.com/office/drawing/2014/main" id="{E2A7159D-CA32-978F-7304-B1A6E47D1BCA}"/>
              </a:ext>
            </a:extLst>
          </p:cNvPr>
          <p:cNvCxnSpPr/>
          <p:nvPr/>
        </p:nvCxnSpPr>
        <p:spPr>
          <a:xfrm>
            <a:off x="630475" y="1957894"/>
            <a:ext cx="10953393" cy="0"/>
          </a:xfrm>
          <a:prstGeom prst="straightConnector1">
            <a:avLst/>
          </a:prstGeom>
          <a:noFill/>
          <a:ln w="9525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27" name="Shape2_20220429_101214">
            <a:extLst>
              <a:ext uri="{FF2B5EF4-FFF2-40B4-BE49-F238E27FC236}">
                <a16:creationId xmlns:a16="http://schemas.microsoft.com/office/drawing/2014/main" id="{91AAC134-9759-50E2-CFEE-85B70118773A}"/>
              </a:ext>
            </a:extLst>
          </p:cNvPr>
          <p:cNvCxnSpPr/>
          <p:nvPr/>
        </p:nvCxnSpPr>
        <p:spPr>
          <a:xfrm>
            <a:off x="630475" y="2503597"/>
            <a:ext cx="10953393" cy="0"/>
          </a:xfrm>
          <a:prstGeom prst="straightConnector1">
            <a:avLst/>
          </a:prstGeom>
          <a:noFill/>
          <a:ln w="9525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28" name="Shape0_20220429_101214">
            <a:extLst>
              <a:ext uri="{FF2B5EF4-FFF2-40B4-BE49-F238E27FC236}">
                <a16:creationId xmlns:a16="http://schemas.microsoft.com/office/drawing/2014/main" id="{0D528AD3-ADCE-AC93-F793-ADF1A06AFF9C}"/>
              </a:ext>
            </a:extLst>
          </p:cNvPr>
          <p:cNvCxnSpPr/>
          <p:nvPr/>
        </p:nvCxnSpPr>
        <p:spPr>
          <a:xfrm>
            <a:off x="630475" y="2230744"/>
            <a:ext cx="10953393" cy="0"/>
          </a:xfrm>
          <a:prstGeom prst="straightConnector1">
            <a:avLst/>
          </a:prstGeom>
          <a:noFill/>
          <a:ln w="9525" cap="flat" cmpd="sng">
            <a:solidFill>
              <a:schemeClr val="accent6"/>
            </a:solidFill>
            <a:prstDash val="dash"/>
            <a:miter lim="800000"/>
            <a:headEnd type="none" w="sm" len="sm"/>
            <a:tailEnd type="none" w="sm" len="sm"/>
          </a:ln>
        </p:spPr>
      </p:cxnSp>
      <p:sp>
        <p:nvSpPr>
          <p:cNvPr id="29" name="Google Shape;5623;p85">
            <a:extLst>
              <a:ext uri="{FF2B5EF4-FFF2-40B4-BE49-F238E27FC236}">
                <a16:creationId xmlns:a16="http://schemas.microsoft.com/office/drawing/2014/main" id="{E604ADA8-E563-0D80-C677-B4C195A37227}"/>
              </a:ext>
            </a:extLst>
          </p:cNvPr>
          <p:cNvSpPr txBox="1"/>
          <p:nvPr/>
        </p:nvSpPr>
        <p:spPr>
          <a:xfrm>
            <a:off x="3178615" y="2676461"/>
            <a:ext cx="1801287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30" name="Google Shape;5629;p85">
            <a:extLst>
              <a:ext uri="{FF2B5EF4-FFF2-40B4-BE49-F238E27FC236}">
                <a16:creationId xmlns:a16="http://schemas.microsoft.com/office/drawing/2014/main" id="{D099CFFA-7535-CC33-D99F-B950CD3AA4F9}"/>
              </a:ext>
            </a:extLst>
          </p:cNvPr>
          <p:cNvSpPr txBox="1"/>
          <p:nvPr/>
        </p:nvSpPr>
        <p:spPr>
          <a:xfrm>
            <a:off x="1150543" y="2676461"/>
            <a:ext cx="1801287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31" name="Google Shape;5635;p85">
            <a:extLst>
              <a:ext uri="{FF2B5EF4-FFF2-40B4-BE49-F238E27FC236}">
                <a16:creationId xmlns:a16="http://schemas.microsoft.com/office/drawing/2014/main" id="{E6B98E68-AB88-4EFA-C4DF-48EDDC403D62}"/>
              </a:ext>
            </a:extLst>
          </p:cNvPr>
          <p:cNvSpPr txBox="1"/>
          <p:nvPr/>
        </p:nvSpPr>
        <p:spPr>
          <a:xfrm>
            <a:off x="7234760" y="2676461"/>
            <a:ext cx="1801287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32" name="Google Shape;5641;p85">
            <a:extLst>
              <a:ext uri="{FF2B5EF4-FFF2-40B4-BE49-F238E27FC236}">
                <a16:creationId xmlns:a16="http://schemas.microsoft.com/office/drawing/2014/main" id="{2FC47CFD-0BEE-32FD-0999-F9862F722E72}"/>
              </a:ext>
            </a:extLst>
          </p:cNvPr>
          <p:cNvSpPr txBox="1"/>
          <p:nvPr/>
        </p:nvSpPr>
        <p:spPr>
          <a:xfrm>
            <a:off x="5206690" y="2676461"/>
            <a:ext cx="1801287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33" name="Google Shape;5651;p85">
            <a:extLst>
              <a:ext uri="{FF2B5EF4-FFF2-40B4-BE49-F238E27FC236}">
                <a16:creationId xmlns:a16="http://schemas.microsoft.com/office/drawing/2014/main" id="{A02EDDFD-4EDE-983C-4117-4ED59288CA76}"/>
              </a:ext>
            </a:extLst>
          </p:cNvPr>
          <p:cNvSpPr txBox="1"/>
          <p:nvPr/>
        </p:nvSpPr>
        <p:spPr>
          <a:xfrm>
            <a:off x="9262834" y="2676461"/>
            <a:ext cx="1801287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cxnSp>
        <p:nvCxnSpPr>
          <p:cNvPr id="34" name="Shape1_20221012_151024">
            <a:extLst>
              <a:ext uri="{FF2B5EF4-FFF2-40B4-BE49-F238E27FC236}">
                <a16:creationId xmlns:a16="http://schemas.microsoft.com/office/drawing/2014/main" id="{FE40E88F-E4FE-721E-495F-9B3EEA127AF9}"/>
              </a:ext>
            </a:extLst>
          </p:cNvPr>
          <p:cNvCxnSpPr/>
          <p:nvPr/>
        </p:nvCxnSpPr>
        <p:spPr>
          <a:xfrm>
            <a:off x="3065219" y="2572430"/>
            <a:ext cx="0" cy="3296435"/>
          </a:xfrm>
          <a:prstGeom prst="straightConnector1">
            <a:avLst/>
          </a:prstGeom>
          <a:noFill/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35" name="Shape0_20221012_151024">
            <a:extLst>
              <a:ext uri="{FF2B5EF4-FFF2-40B4-BE49-F238E27FC236}">
                <a16:creationId xmlns:a16="http://schemas.microsoft.com/office/drawing/2014/main" id="{AA87B042-1F0C-EF43-1FFC-2F8FE9D665A4}"/>
              </a:ext>
            </a:extLst>
          </p:cNvPr>
          <p:cNvCxnSpPr/>
          <p:nvPr/>
        </p:nvCxnSpPr>
        <p:spPr>
          <a:xfrm>
            <a:off x="5093288" y="2572430"/>
            <a:ext cx="0" cy="3296435"/>
          </a:xfrm>
          <a:prstGeom prst="straightConnector1">
            <a:avLst/>
          </a:prstGeom>
          <a:noFill/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36" name="Shape2_20221012_151024">
            <a:extLst>
              <a:ext uri="{FF2B5EF4-FFF2-40B4-BE49-F238E27FC236}">
                <a16:creationId xmlns:a16="http://schemas.microsoft.com/office/drawing/2014/main" id="{D32ADF6D-8388-B24D-A173-A85907261DAE}"/>
              </a:ext>
            </a:extLst>
          </p:cNvPr>
          <p:cNvCxnSpPr/>
          <p:nvPr/>
        </p:nvCxnSpPr>
        <p:spPr>
          <a:xfrm>
            <a:off x="7121363" y="2572430"/>
            <a:ext cx="0" cy="3296435"/>
          </a:xfrm>
          <a:prstGeom prst="straightConnector1">
            <a:avLst/>
          </a:prstGeom>
          <a:noFill/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37" name="Shape3_20221012_151024">
            <a:extLst>
              <a:ext uri="{FF2B5EF4-FFF2-40B4-BE49-F238E27FC236}">
                <a16:creationId xmlns:a16="http://schemas.microsoft.com/office/drawing/2014/main" id="{ACB0AD72-4E56-6242-36C1-F293AE1AE706}"/>
              </a:ext>
            </a:extLst>
          </p:cNvPr>
          <p:cNvCxnSpPr/>
          <p:nvPr/>
        </p:nvCxnSpPr>
        <p:spPr>
          <a:xfrm>
            <a:off x="9149437" y="2572430"/>
            <a:ext cx="0" cy="3296435"/>
          </a:xfrm>
          <a:prstGeom prst="straightConnector1">
            <a:avLst/>
          </a:prstGeom>
          <a:noFill/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</p:cxnSp>
      <p:grpSp>
        <p:nvGrpSpPr>
          <p:cNvPr id="38" name="Group 37">
            <a:extLst>
              <a:ext uri="{FF2B5EF4-FFF2-40B4-BE49-F238E27FC236}">
                <a16:creationId xmlns:a16="http://schemas.microsoft.com/office/drawing/2014/main" id="{3C5C76A4-B4E1-FCE5-2D7C-3579979CE7C9}"/>
              </a:ext>
            </a:extLst>
          </p:cNvPr>
          <p:cNvGrpSpPr/>
          <p:nvPr/>
        </p:nvGrpSpPr>
        <p:grpSpPr>
          <a:xfrm>
            <a:off x="1781229" y="1388728"/>
            <a:ext cx="539911" cy="740656"/>
            <a:chOff x="1762393" y="1525451"/>
            <a:chExt cx="540868" cy="741968"/>
          </a:xfrm>
        </p:grpSpPr>
        <p:sp>
          <p:nvSpPr>
            <p:cNvPr id="39" name="Google Shape;2244;p66">
              <a:extLst>
                <a:ext uri="{FF2B5EF4-FFF2-40B4-BE49-F238E27FC236}">
                  <a16:creationId xmlns:a16="http://schemas.microsoft.com/office/drawing/2014/main" id="{5794C850-92F8-EBCF-5275-67FB3993F290}"/>
                </a:ext>
              </a:extLst>
            </p:cNvPr>
            <p:cNvSpPr/>
            <p:nvPr/>
          </p:nvSpPr>
          <p:spPr>
            <a:xfrm>
              <a:off x="1762393" y="1529878"/>
              <a:ext cx="540866" cy="737541"/>
            </a:xfrm>
            <a:custGeom>
              <a:avLst/>
              <a:gdLst/>
              <a:ahLst/>
              <a:cxnLst/>
              <a:rect l="l" t="t" r="r" b="b"/>
              <a:pathLst>
                <a:path w="1407" h="1921" extrusionOk="0">
                  <a:moveTo>
                    <a:pt x="703" y="1921"/>
                  </a:moveTo>
                  <a:lnTo>
                    <a:pt x="680" y="1909"/>
                  </a:lnTo>
                  <a:lnTo>
                    <a:pt x="630" y="1879"/>
                  </a:lnTo>
                  <a:lnTo>
                    <a:pt x="548" y="1817"/>
                  </a:lnTo>
                  <a:lnTo>
                    <a:pt x="431" y="1703"/>
                  </a:lnTo>
                  <a:lnTo>
                    <a:pt x="315" y="1562"/>
                  </a:lnTo>
                  <a:lnTo>
                    <a:pt x="206" y="1396"/>
                  </a:lnTo>
                  <a:lnTo>
                    <a:pt x="134" y="1260"/>
                  </a:lnTo>
                  <a:lnTo>
                    <a:pt x="93" y="1164"/>
                  </a:lnTo>
                  <a:lnTo>
                    <a:pt x="58" y="1065"/>
                  </a:lnTo>
                  <a:lnTo>
                    <a:pt x="31" y="964"/>
                  </a:lnTo>
                  <a:lnTo>
                    <a:pt x="11" y="860"/>
                  </a:lnTo>
                  <a:lnTo>
                    <a:pt x="1" y="757"/>
                  </a:lnTo>
                  <a:lnTo>
                    <a:pt x="0" y="704"/>
                  </a:lnTo>
                  <a:lnTo>
                    <a:pt x="0" y="667"/>
                  </a:lnTo>
                  <a:lnTo>
                    <a:pt x="7" y="597"/>
                  </a:lnTo>
                  <a:lnTo>
                    <a:pt x="22" y="529"/>
                  </a:lnTo>
                  <a:lnTo>
                    <a:pt x="42" y="461"/>
                  </a:lnTo>
                  <a:lnTo>
                    <a:pt x="68" y="399"/>
                  </a:lnTo>
                  <a:lnTo>
                    <a:pt x="101" y="339"/>
                  </a:lnTo>
                  <a:lnTo>
                    <a:pt x="140" y="282"/>
                  </a:lnTo>
                  <a:lnTo>
                    <a:pt x="182" y="230"/>
                  </a:lnTo>
                  <a:lnTo>
                    <a:pt x="230" y="183"/>
                  </a:lnTo>
                  <a:lnTo>
                    <a:pt x="282" y="140"/>
                  </a:lnTo>
                  <a:lnTo>
                    <a:pt x="338" y="102"/>
                  </a:lnTo>
                  <a:lnTo>
                    <a:pt x="399" y="70"/>
                  </a:lnTo>
                  <a:lnTo>
                    <a:pt x="461" y="43"/>
                  </a:lnTo>
                  <a:lnTo>
                    <a:pt x="527" y="22"/>
                  </a:lnTo>
                  <a:lnTo>
                    <a:pt x="596" y="8"/>
                  </a:lnTo>
                  <a:lnTo>
                    <a:pt x="667" y="1"/>
                  </a:lnTo>
                  <a:lnTo>
                    <a:pt x="703" y="0"/>
                  </a:lnTo>
                  <a:lnTo>
                    <a:pt x="740" y="1"/>
                  </a:lnTo>
                  <a:lnTo>
                    <a:pt x="811" y="8"/>
                  </a:lnTo>
                  <a:lnTo>
                    <a:pt x="880" y="22"/>
                  </a:lnTo>
                  <a:lnTo>
                    <a:pt x="946" y="43"/>
                  </a:lnTo>
                  <a:lnTo>
                    <a:pt x="1009" y="70"/>
                  </a:lnTo>
                  <a:lnTo>
                    <a:pt x="1069" y="102"/>
                  </a:lnTo>
                  <a:lnTo>
                    <a:pt x="1125" y="140"/>
                  </a:lnTo>
                  <a:lnTo>
                    <a:pt x="1177" y="183"/>
                  </a:lnTo>
                  <a:lnTo>
                    <a:pt x="1225" y="230"/>
                  </a:lnTo>
                  <a:lnTo>
                    <a:pt x="1267" y="282"/>
                  </a:lnTo>
                  <a:lnTo>
                    <a:pt x="1306" y="339"/>
                  </a:lnTo>
                  <a:lnTo>
                    <a:pt x="1339" y="399"/>
                  </a:lnTo>
                  <a:lnTo>
                    <a:pt x="1365" y="461"/>
                  </a:lnTo>
                  <a:lnTo>
                    <a:pt x="1385" y="529"/>
                  </a:lnTo>
                  <a:lnTo>
                    <a:pt x="1400" y="597"/>
                  </a:lnTo>
                  <a:lnTo>
                    <a:pt x="1407" y="667"/>
                  </a:lnTo>
                  <a:lnTo>
                    <a:pt x="1407" y="704"/>
                  </a:lnTo>
                  <a:lnTo>
                    <a:pt x="1407" y="757"/>
                  </a:lnTo>
                  <a:lnTo>
                    <a:pt x="1397" y="860"/>
                  </a:lnTo>
                  <a:lnTo>
                    <a:pt x="1378" y="964"/>
                  </a:lnTo>
                  <a:lnTo>
                    <a:pt x="1349" y="1065"/>
                  </a:lnTo>
                  <a:lnTo>
                    <a:pt x="1314" y="1164"/>
                  </a:lnTo>
                  <a:lnTo>
                    <a:pt x="1273" y="1260"/>
                  </a:lnTo>
                  <a:lnTo>
                    <a:pt x="1201" y="1396"/>
                  </a:lnTo>
                  <a:lnTo>
                    <a:pt x="1092" y="1562"/>
                  </a:lnTo>
                  <a:lnTo>
                    <a:pt x="976" y="1703"/>
                  </a:lnTo>
                  <a:lnTo>
                    <a:pt x="859" y="1817"/>
                  </a:lnTo>
                  <a:lnTo>
                    <a:pt x="777" y="1879"/>
                  </a:lnTo>
                  <a:lnTo>
                    <a:pt x="727" y="1909"/>
                  </a:lnTo>
                  <a:lnTo>
                    <a:pt x="703" y="192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>
              <a:outerShdw blurRad="127000" sy="23000" kx="1200000" algn="br" rotWithShape="0">
                <a:srgbClr val="000000">
                  <a:alpha val="14117"/>
                </a:srgbClr>
              </a:outerShdw>
            </a:effectLst>
          </p:spPr>
          <p:txBody>
            <a:bodyPr spcFirstLastPara="1" wrap="square" lIns="150125" tIns="75042" rIns="150125" bIns="75042" anchor="t" anchorCtr="0"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sz="2000" dirty="0">
                <a:solidFill>
                  <a:schemeClr val="accent1"/>
                </a:solidFill>
              </a:endParaRPr>
            </a:p>
          </p:txBody>
        </p:sp>
        <p:sp>
          <p:nvSpPr>
            <p:cNvPr id="40" name="Google Shape;2245;p66">
              <a:extLst>
                <a:ext uri="{FF2B5EF4-FFF2-40B4-BE49-F238E27FC236}">
                  <a16:creationId xmlns:a16="http://schemas.microsoft.com/office/drawing/2014/main" id="{34CD04F3-4127-9C6C-FFED-A1549C64B655}"/>
                </a:ext>
              </a:extLst>
            </p:cNvPr>
            <p:cNvSpPr/>
            <p:nvPr/>
          </p:nvSpPr>
          <p:spPr>
            <a:xfrm>
              <a:off x="2032827" y="1525451"/>
              <a:ext cx="270434" cy="737541"/>
            </a:xfrm>
            <a:custGeom>
              <a:avLst/>
              <a:gdLst/>
              <a:ahLst/>
              <a:cxnLst/>
              <a:rect l="l" t="t" r="r" b="b"/>
              <a:pathLst>
                <a:path w="704" h="1921" extrusionOk="0">
                  <a:moveTo>
                    <a:pt x="0" y="0"/>
                  </a:moveTo>
                  <a:lnTo>
                    <a:pt x="37" y="1"/>
                  </a:lnTo>
                  <a:lnTo>
                    <a:pt x="108" y="8"/>
                  </a:lnTo>
                  <a:lnTo>
                    <a:pt x="177" y="22"/>
                  </a:lnTo>
                  <a:lnTo>
                    <a:pt x="243" y="43"/>
                  </a:lnTo>
                  <a:lnTo>
                    <a:pt x="306" y="70"/>
                  </a:lnTo>
                  <a:lnTo>
                    <a:pt x="366" y="102"/>
                  </a:lnTo>
                  <a:lnTo>
                    <a:pt x="422" y="140"/>
                  </a:lnTo>
                  <a:lnTo>
                    <a:pt x="474" y="183"/>
                  </a:lnTo>
                  <a:lnTo>
                    <a:pt x="522" y="230"/>
                  </a:lnTo>
                  <a:lnTo>
                    <a:pt x="564" y="282"/>
                  </a:lnTo>
                  <a:lnTo>
                    <a:pt x="603" y="339"/>
                  </a:lnTo>
                  <a:lnTo>
                    <a:pt x="636" y="399"/>
                  </a:lnTo>
                  <a:lnTo>
                    <a:pt x="662" y="461"/>
                  </a:lnTo>
                  <a:lnTo>
                    <a:pt x="682" y="529"/>
                  </a:lnTo>
                  <a:lnTo>
                    <a:pt x="697" y="597"/>
                  </a:lnTo>
                  <a:lnTo>
                    <a:pt x="704" y="667"/>
                  </a:lnTo>
                  <a:lnTo>
                    <a:pt x="704" y="704"/>
                  </a:lnTo>
                  <a:lnTo>
                    <a:pt x="704" y="757"/>
                  </a:lnTo>
                  <a:lnTo>
                    <a:pt x="694" y="860"/>
                  </a:lnTo>
                  <a:lnTo>
                    <a:pt x="675" y="964"/>
                  </a:lnTo>
                  <a:lnTo>
                    <a:pt x="646" y="1065"/>
                  </a:lnTo>
                  <a:lnTo>
                    <a:pt x="611" y="1164"/>
                  </a:lnTo>
                  <a:lnTo>
                    <a:pt x="570" y="1260"/>
                  </a:lnTo>
                  <a:lnTo>
                    <a:pt x="498" y="1396"/>
                  </a:lnTo>
                  <a:lnTo>
                    <a:pt x="389" y="1562"/>
                  </a:lnTo>
                  <a:lnTo>
                    <a:pt x="273" y="1703"/>
                  </a:lnTo>
                  <a:lnTo>
                    <a:pt x="156" y="1817"/>
                  </a:lnTo>
                  <a:lnTo>
                    <a:pt x="74" y="1879"/>
                  </a:lnTo>
                  <a:lnTo>
                    <a:pt x="24" y="1909"/>
                  </a:lnTo>
                  <a:lnTo>
                    <a:pt x="0" y="19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95167">
                <a:alpha val="29019"/>
              </a:srgbClr>
            </a:solidFill>
            <a:ln>
              <a:noFill/>
            </a:ln>
            <a:effectLst>
              <a:outerShdw blurRad="127000" sy="23000" kx="1200000" algn="br" rotWithShape="0">
                <a:srgbClr val="000000">
                  <a:alpha val="14117"/>
                </a:srgbClr>
              </a:outerShdw>
            </a:effectLst>
          </p:spPr>
          <p:txBody>
            <a:bodyPr spcFirstLastPara="1" wrap="square" lIns="150125" tIns="75042" rIns="150125" bIns="75042" anchor="t" anchorCtr="0"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sz="2000" dirty="0">
                <a:solidFill>
                  <a:schemeClr val="accent1"/>
                </a:solidFill>
              </a:endParaRPr>
            </a:p>
          </p:txBody>
        </p:sp>
        <p:sp>
          <p:nvSpPr>
            <p:cNvPr id="41" name="Google Shape;2246;p66">
              <a:extLst>
                <a:ext uri="{FF2B5EF4-FFF2-40B4-BE49-F238E27FC236}">
                  <a16:creationId xmlns:a16="http://schemas.microsoft.com/office/drawing/2014/main" id="{D14B256F-7FF1-C3E3-C7FF-FC25D72193D6}"/>
                </a:ext>
              </a:extLst>
            </p:cNvPr>
            <p:cNvSpPr/>
            <p:nvPr/>
          </p:nvSpPr>
          <p:spPr>
            <a:xfrm>
              <a:off x="1810026" y="1574620"/>
              <a:ext cx="444063" cy="44406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>
              <a:outerShdw blurRad="127000" sy="23000" kx="1200000" algn="br" rotWithShape="0">
                <a:srgbClr val="000000">
                  <a:alpha val="14117"/>
                </a:srgbClr>
              </a:outerShdw>
            </a:effectLst>
          </p:spPr>
          <p:txBody>
            <a:bodyPr spcFirstLastPara="1" wrap="square" lIns="0" tIns="75042" rIns="0" bIns="75042" anchor="ctr" anchorCtr="0"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sz="2000" b="1" dirty="0">
                <a:solidFill>
                  <a:schemeClr val="accent1"/>
                </a:solidFill>
              </a:endParaRPr>
            </a:p>
          </p:txBody>
        </p:sp>
        <p:sp>
          <p:nvSpPr>
            <p:cNvPr id="42" name="Google Shape;2247;p66">
              <a:extLst>
                <a:ext uri="{FF2B5EF4-FFF2-40B4-BE49-F238E27FC236}">
                  <a16:creationId xmlns:a16="http://schemas.microsoft.com/office/drawing/2014/main" id="{014BADF8-92FC-E7D5-17F1-5F7276DEE53C}"/>
                </a:ext>
              </a:extLst>
            </p:cNvPr>
            <p:cNvSpPr/>
            <p:nvPr/>
          </p:nvSpPr>
          <p:spPr>
            <a:xfrm>
              <a:off x="1831982" y="1599827"/>
              <a:ext cx="393658" cy="39365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150125" tIns="75042" rIns="150125" bIns="75042" anchor="ctr" anchorCtr="0"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r>
                <a:rPr lang="en-US" sz="2000" b="1" dirty="0">
                  <a:solidFill>
                    <a:schemeClr val="tx1">
                      <a:lumMod val="100000"/>
                    </a:schemeClr>
                  </a:solidFill>
                </a:rPr>
                <a:t>1</a:t>
              </a:r>
              <a:endParaRPr sz="2000" dirty="0">
                <a:solidFill>
                  <a:schemeClr val="tx1">
                    <a:lumMod val="100000"/>
                  </a:schemeClr>
                </a:solidFill>
              </a:endParaRP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2866EEFA-8731-1B30-C0E6-A3491D3E77E5}"/>
              </a:ext>
            </a:extLst>
          </p:cNvPr>
          <p:cNvGrpSpPr/>
          <p:nvPr/>
        </p:nvGrpSpPr>
        <p:grpSpPr>
          <a:xfrm>
            <a:off x="3809301" y="1388728"/>
            <a:ext cx="539911" cy="740656"/>
            <a:chOff x="3794058" y="1525451"/>
            <a:chExt cx="540868" cy="741968"/>
          </a:xfrm>
        </p:grpSpPr>
        <p:sp>
          <p:nvSpPr>
            <p:cNvPr id="44" name="Google Shape;2258;p66">
              <a:extLst>
                <a:ext uri="{FF2B5EF4-FFF2-40B4-BE49-F238E27FC236}">
                  <a16:creationId xmlns:a16="http://schemas.microsoft.com/office/drawing/2014/main" id="{25376DCF-46F2-2E29-2547-1F04FF6851FF}"/>
                </a:ext>
              </a:extLst>
            </p:cNvPr>
            <p:cNvSpPr/>
            <p:nvPr/>
          </p:nvSpPr>
          <p:spPr>
            <a:xfrm>
              <a:off x="3794058" y="1529878"/>
              <a:ext cx="540866" cy="737541"/>
            </a:xfrm>
            <a:custGeom>
              <a:avLst/>
              <a:gdLst/>
              <a:ahLst/>
              <a:cxnLst/>
              <a:rect l="l" t="t" r="r" b="b"/>
              <a:pathLst>
                <a:path w="1407" h="1921" extrusionOk="0">
                  <a:moveTo>
                    <a:pt x="703" y="1921"/>
                  </a:moveTo>
                  <a:lnTo>
                    <a:pt x="680" y="1909"/>
                  </a:lnTo>
                  <a:lnTo>
                    <a:pt x="630" y="1879"/>
                  </a:lnTo>
                  <a:lnTo>
                    <a:pt x="548" y="1817"/>
                  </a:lnTo>
                  <a:lnTo>
                    <a:pt x="431" y="1703"/>
                  </a:lnTo>
                  <a:lnTo>
                    <a:pt x="315" y="1562"/>
                  </a:lnTo>
                  <a:lnTo>
                    <a:pt x="206" y="1396"/>
                  </a:lnTo>
                  <a:lnTo>
                    <a:pt x="134" y="1260"/>
                  </a:lnTo>
                  <a:lnTo>
                    <a:pt x="93" y="1164"/>
                  </a:lnTo>
                  <a:lnTo>
                    <a:pt x="58" y="1065"/>
                  </a:lnTo>
                  <a:lnTo>
                    <a:pt x="31" y="964"/>
                  </a:lnTo>
                  <a:lnTo>
                    <a:pt x="11" y="860"/>
                  </a:lnTo>
                  <a:lnTo>
                    <a:pt x="1" y="757"/>
                  </a:lnTo>
                  <a:lnTo>
                    <a:pt x="0" y="704"/>
                  </a:lnTo>
                  <a:lnTo>
                    <a:pt x="0" y="667"/>
                  </a:lnTo>
                  <a:lnTo>
                    <a:pt x="7" y="597"/>
                  </a:lnTo>
                  <a:lnTo>
                    <a:pt x="22" y="529"/>
                  </a:lnTo>
                  <a:lnTo>
                    <a:pt x="42" y="461"/>
                  </a:lnTo>
                  <a:lnTo>
                    <a:pt x="68" y="399"/>
                  </a:lnTo>
                  <a:lnTo>
                    <a:pt x="101" y="339"/>
                  </a:lnTo>
                  <a:lnTo>
                    <a:pt x="140" y="282"/>
                  </a:lnTo>
                  <a:lnTo>
                    <a:pt x="182" y="230"/>
                  </a:lnTo>
                  <a:lnTo>
                    <a:pt x="230" y="183"/>
                  </a:lnTo>
                  <a:lnTo>
                    <a:pt x="282" y="140"/>
                  </a:lnTo>
                  <a:lnTo>
                    <a:pt x="338" y="102"/>
                  </a:lnTo>
                  <a:lnTo>
                    <a:pt x="399" y="70"/>
                  </a:lnTo>
                  <a:lnTo>
                    <a:pt x="461" y="43"/>
                  </a:lnTo>
                  <a:lnTo>
                    <a:pt x="527" y="22"/>
                  </a:lnTo>
                  <a:lnTo>
                    <a:pt x="596" y="8"/>
                  </a:lnTo>
                  <a:lnTo>
                    <a:pt x="667" y="1"/>
                  </a:lnTo>
                  <a:lnTo>
                    <a:pt x="703" y="0"/>
                  </a:lnTo>
                  <a:lnTo>
                    <a:pt x="740" y="1"/>
                  </a:lnTo>
                  <a:lnTo>
                    <a:pt x="811" y="8"/>
                  </a:lnTo>
                  <a:lnTo>
                    <a:pt x="880" y="22"/>
                  </a:lnTo>
                  <a:lnTo>
                    <a:pt x="946" y="43"/>
                  </a:lnTo>
                  <a:lnTo>
                    <a:pt x="1009" y="70"/>
                  </a:lnTo>
                  <a:lnTo>
                    <a:pt x="1069" y="102"/>
                  </a:lnTo>
                  <a:lnTo>
                    <a:pt x="1125" y="140"/>
                  </a:lnTo>
                  <a:lnTo>
                    <a:pt x="1177" y="183"/>
                  </a:lnTo>
                  <a:lnTo>
                    <a:pt x="1225" y="230"/>
                  </a:lnTo>
                  <a:lnTo>
                    <a:pt x="1267" y="282"/>
                  </a:lnTo>
                  <a:lnTo>
                    <a:pt x="1306" y="339"/>
                  </a:lnTo>
                  <a:lnTo>
                    <a:pt x="1339" y="399"/>
                  </a:lnTo>
                  <a:lnTo>
                    <a:pt x="1365" y="461"/>
                  </a:lnTo>
                  <a:lnTo>
                    <a:pt x="1385" y="529"/>
                  </a:lnTo>
                  <a:lnTo>
                    <a:pt x="1400" y="597"/>
                  </a:lnTo>
                  <a:lnTo>
                    <a:pt x="1407" y="667"/>
                  </a:lnTo>
                  <a:lnTo>
                    <a:pt x="1407" y="704"/>
                  </a:lnTo>
                  <a:lnTo>
                    <a:pt x="1407" y="757"/>
                  </a:lnTo>
                  <a:lnTo>
                    <a:pt x="1397" y="860"/>
                  </a:lnTo>
                  <a:lnTo>
                    <a:pt x="1378" y="964"/>
                  </a:lnTo>
                  <a:lnTo>
                    <a:pt x="1349" y="1065"/>
                  </a:lnTo>
                  <a:lnTo>
                    <a:pt x="1314" y="1164"/>
                  </a:lnTo>
                  <a:lnTo>
                    <a:pt x="1273" y="1260"/>
                  </a:lnTo>
                  <a:lnTo>
                    <a:pt x="1201" y="1396"/>
                  </a:lnTo>
                  <a:lnTo>
                    <a:pt x="1092" y="1562"/>
                  </a:lnTo>
                  <a:lnTo>
                    <a:pt x="976" y="1703"/>
                  </a:lnTo>
                  <a:lnTo>
                    <a:pt x="859" y="1817"/>
                  </a:lnTo>
                  <a:lnTo>
                    <a:pt x="777" y="1879"/>
                  </a:lnTo>
                  <a:lnTo>
                    <a:pt x="727" y="1909"/>
                  </a:lnTo>
                  <a:lnTo>
                    <a:pt x="703" y="192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>
              <a:outerShdw blurRad="127000" sy="23000" kx="1200000" algn="br" rotWithShape="0">
                <a:srgbClr val="000000">
                  <a:alpha val="14117"/>
                </a:srgbClr>
              </a:outerShdw>
            </a:effectLst>
          </p:spPr>
          <p:txBody>
            <a:bodyPr spcFirstLastPara="1" wrap="square" lIns="150125" tIns="75042" rIns="150125" bIns="75042" anchor="t" anchorCtr="0"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sz="2000" dirty="0">
                <a:solidFill>
                  <a:schemeClr val="accent1"/>
                </a:solidFill>
              </a:endParaRPr>
            </a:p>
          </p:txBody>
        </p:sp>
        <p:sp>
          <p:nvSpPr>
            <p:cNvPr id="45" name="Google Shape;2259;p66">
              <a:extLst>
                <a:ext uri="{FF2B5EF4-FFF2-40B4-BE49-F238E27FC236}">
                  <a16:creationId xmlns:a16="http://schemas.microsoft.com/office/drawing/2014/main" id="{556BCBC1-430C-9907-826E-98117AE8ACDF}"/>
                </a:ext>
              </a:extLst>
            </p:cNvPr>
            <p:cNvSpPr/>
            <p:nvPr/>
          </p:nvSpPr>
          <p:spPr>
            <a:xfrm>
              <a:off x="4064492" y="1525451"/>
              <a:ext cx="270434" cy="737541"/>
            </a:xfrm>
            <a:custGeom>
              <a:avLst/>
              <a:gdLst/>
              <a:ahLst/>
              <a:cxnLst/>
              <a:rect l="l" t="t" r="r" b="b"/>
              <a:pathLst>
                <a:path w="704" h="1921" extrusionOk="0">
                  <a:moveTo>
                    <a:pt x="0" y="0"/>
                  </a:moveTo>
                  <a:lnTo>
                    <a:pt x="37" y="1"/>
                  </a:lnTo>
                  <a:lnTo>
                    <a:pt x="108" y="8"/>
                  </a:lnTo>
                  <a:lnTo>
                    <a:pt x="177" y="22"/>
                  </a:lnTo>
                  <a:lnTo>
                    <a:pt x="243" y="43"/>
                  </a:lnTo>
                  <a:lnTo>
                    <a:pt x="306" y="70"/>
                  </a:lnTo>
                  <a:lnTo>
                    <a:pt x="366" y="102"/>
                  </a:lnTo>
                  <a:lnTo>
                    <a:pt x="422" y="140"/>
                  </a:lnTo>
                  <a:lnTo>
                    <a:pt x="474" y="183"/>
                  </a:lnTo>
                  <a:lnTo>
                    <a:pt x="522" y="230"/>
                  </a:lnTo>
                  <a:lnTo>
                    <a:pt x="564" y="282"/>
                  </a:lnTo>
                  <a:lnTo>
                    <a:pt x="603" y="339"/>
                  </a:lnTo>
                  <a:lnTo>
                    <a:pt x="636" y="399"/>
                  </a:lnTo>
                  <a:lnTo>
                    <a:pt x="662" y="461"/>
                  </a:lnTo>
                  <a:lnTo>
                    <a:pt x="682" y="529"/>
                  </a:lnTo>
                  <a:lnTo>
                    <a:pt x="697" y="597"/>
                  </a:lnTo>
                  <a:lnTo>
                    <a:pt x="704" y="667"/>
                  </a:lnTo>
                  <a:lnTo>
                    <a:pt x="704" y="704"/>
                  </a:lnTo>
                  <a:lnTo>
                    <a:pt x="704" y="757"/>
                  </a:lnTo>
                  <a:lnTo>
                    <a:pt x="694" y="860"/>
                  </a:lnTo>
                  <a:lnTo>
                    <a:pt x="675" y="964"/>
                  </a:lnTo>
                  <a:lnTo>
                    <a:pt x="646" y="1065"/>
                  </a:lnTo>
                  <a:lnTo>
                    <a:pt x="611" y="1164"/>
                  </a:lnTo>
                  <a:lnTo>
                    <a:pt x="570" y="1260"/>
                  </a:lnTo>
                  <a:lnTo>
                    <a:pt x="498" y="1396"/>
                  </a:lnTo>
                  <a:lnTo>
                    <a:pt x="389" y="1562"/>
                  </a:lnTo>
                  <a:lnTo>
                    <a:pt x="273" y="1703"/>
                  </a:lnTo>
                  <a:lnTo>
                    <a:pt x="156" y="1817"/>
                  </a:lnTo>
                  <a:lnTo>
                    <a:pt x="74" y="1879"/>
                  </a:lnTo>
                  <a:lnTo>
                    <a:pt x="24" y="1909"/>
                  </a:lnTo>
                  <a:lnTo>
                    <a:pt x="0" y="19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>
              <a:outerShdw blurRad="127000" sy="23000" kx="1200000" algn="br" rotWithShape="0">
                <a:srgbClr val="000000">
                  <a:alpha val="14117"/>
                </a:srgbClr>
              </a:outerShdw>
            </a:effectLst>
          </p:spPr>
          <p:txBody>
            <a:bodyPr spcFirstLastPara="1" wrap="square" lIns="150125" tIns="75042" rIns="150125" bIns="75042" anchor="t" anchorCtr="0"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sz="2000" dirty="0">
                <a:solidFill>
                  <a:schemeClr val="accent1"/>
                </a:solidFill>
              </a:endParaRPr>
            </a:p>
          </p:txBody>
        </p:sp>
        <p:sp>
          <p:nvSpPr>
            <p:cNvPr id="46" name="Google Shape;2260;p66">
              <a:extLst>
                <a:ext uri="{FF2B5EF4-FFF2-40B4-BE49-F238E27FC236}">
                  <a16:creationId xmlns:a16="http://schemas.microsoft.com/office/drawing/2014/main" id="{618EFA84-FFEF-A13E-7586-EF2BB8A2FB5B}"/>
                </a:ext>
              </a:extLst>
            </p:cNvPr>
            <p:cNvSpPr/>
            <p:nvPr/>
          </p:nvSpPr>
          <p:spPr>
            <a:xfrm>
              <a:off x="3841691" y="1574620"/>
              <a:ext cx="444063" cy="44406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>
              <a:outerShdw blurRad="127000" sy="23000" kx="1200000" algn="br" rotWithShape="0">
                <a:srgbClr val="000000">
                  <a:alpha val="14117"/>
                </a:srgbClr>
              </a:outerShdw>
            </a:effectLst>
          </p:spPr>
          <p:txBody>
            <a:bodyPr spcFirstLastPara="1" wrap="square" lIns="0" tIns="75042" rIns="0" bIns="75042" anchor="ctr" anchorCtr="0"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sz="2000" b="1" dirty="0">
                <a:solidFill>
                  <a:schemeClr val="accent1"/>
                </a:solidFill>
              </a:endParaRPr>
            </a:p>
          </p:txBody>
        </p:sp>
        <p:sp>
          <p:nvSpPr>
            <p:cNvPr id="47" name="Google Shape;2261;p66">
              <a:extLst>
                <a:ext uri="{FF2B5EF4-FFF2-40B4-BE49-F238E27FC236}">
                  <a16:creationId xmlns:a16="http://schemas.microsoft.com/office/drawing/2014/main" id="{E156ACB8-E6E6-CC19-E63F-DD395B84C272}"/>
                </a:ext>
              </a:extLst>
            </p:cNvPr>
            <p:cNvSpPr/>
            <p:nvPr/>
          </p:nvSpPr>
          <p:spPr>
            <a:xfrm>
              <a:off x="3863647" y="1599827"/>
              <a:ext cx="393658" cy="39365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150125" tIns="75042" rIns="150125" bIns="75042" anchor="ctr" anchorCtr="0"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r>
                <a:rPr lang="en-US" sz="2000" b="1" dirty="0">
                  <a:solidFill>
                    <a:schemeClr val="tx1">
                      <a:lumMod val="100000"/>
                    </a:schemeClr>
                  </a:solidFill>
                </a:rPr>
                <a:t>2</a:t>
              </a:r>
              <a:endParaRPr sz="2000" dirty="0">
                <a:solidFill>
                  <a:schemeClr val="tx1">
                    <a:lumMod val="100000"/>
                  </a:schemeClr>
                </a:solidFill>
              </a:endParaRP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AC935A96-DFF6-CB05-2CE6-BC280D240961}"/>
              </a:ext>
            </a:extLst>
          </p:cNvPr>
          <p:cNvGrpSpPr/>
          <p:nvPr/>
        </p:nvGrpSpPr>
        <p:grpSpPr>
          <a:xfrm>
            <a:off x="5837375" y="1388728"/>
            <a:ext cx="539911" cy="740656"/>
            <a:chOff x="5825724" y="1525451"/>
            <a:chExt cx="540868" cy="741968"/>
          </a:xfrm>
        </p:grpSpPr>
        <p:sp>
          <p:nvSpPr>
            <p:cNvPr id="49" name="Google Shape;2263;p66">
              <a:extLst>
                <a:ext uri="{FF2B5EF4-FFF2-40B4-BE49-F238E27FC236}">
                  <a16:creationId xmlns:a16="http://schemas.microsoft.com/office/drawing/2014/main" id="{5AFEFBF1-18F9-D2FE-C873-211C0DB17A37}"/>
                </a:ext>
              </a:extLst>
            </p:cNvPr>
            <p:cNvSpPr/>
            <p:nvPr/>
          </p:nvSpPr>
          <p:spPr>
            <a:xfrm>
              <a:off x="5825724" y="1529878"/>
              <a:ext cx="540866" cy="737541"/>
            </a:xfrm>
            <a:custGeom>
              <a:avLst/>
              <a:gdLst/>
              <a:ahLst/>
              <a:cxnLst/>
              <a:rect l="l" t="t" r="r" b="b"/>
              <a:pathLst>
                <a:path w="1407" h="1921" extrusionOk="0">
                  <a:moveTo>
                    <a:pt x="703" y="1921"/>
                  </a:moveTo>
                  <a:lnTo>
                    <a:pt x="680" y="1909"/>
                  </a:lnTo>
                  <a:lnTo>
                    <a:pt x="630" y="1879"/>
                  </a:lnTo>
                  <a:lnTo>
                    <a:pt x="548" y="1817"/>
                  </a:lnTo>
                  <a:lnTo>
                    <a:pt x="431" y="1703"/>
                  </a:lnTo>
                  <a:lnTo>
                    <a:pt x="315" y="1562"/>
                  </a:lnTo>
                  <a:lnTo>
                    <a:pt x="206" y="1396"/>
                  </a:lnTo>
                  <a:lnTo>
                    <a:pt x="134" y="1260"/>
                  </a:lnTo>
                  <a:lnTo>
                    <a:pt x="93" y="1164"/>
                  </a:lnTo>
                  <a:lnTo>
                    <a:pt x="58" y="1065"/>
                  </a:lnTo>
                  <a:lnTo>
                    <a:pt x="31" y="964"/>
                  </a:lnTo>
                  <a:lnTo>
                    <a:pt x="11" y="860"/>
                  </a:lnTo>
                  <a:lnTo>
                    <a:pt x="1" y="757"/>
                  </a:lnTo>
                  <a:lnTo>
                    <a:pt x="0" y="704"/>
                  </a:lnTo>
                  <a:lnTo>
                    <a:pt x="0" y="667"/>
                  </a:lnTo>
                  <a:lnTo>
                    <a:pt x="7" y="597"/>
                  </a:lnTo>
                  <a:lnTo>
                    <a:pt x="22" y="529"/>
                  </a:lnTo>
                  <a:lnTo>
                    <a:pt x="42" y="461"/>
                  </a:lnTo>
                  <a:lnTo>
                    <a:pt x="68" y="399"/>
                  </a:lnTo>
                  <a:lnTo>
                    <a:pt x="101" y="339"/>
                  </a:lnTo>
                  <a:lnTo>
                    <a:pt x="140" y="282"/>
                  </a:lnTo>
                  <a:lnTo>
                    <a:pt x="182" y="230"/>
                  </a:lnTo>
                  <a:lnTo>
                    <a:pt x="230" y="183"/>
                  </a:lnTo>
                  <a:lnTo>
                    <a:pt x="282" y="140"/>
                  </a:lnTo>
                  <a:lnTo>
                    <a:pt x="338" y="102"/>
                  </a:lnTo>
                  <a:lnTo>
                    <a:pt x="399" y="70"/>
                  </a:lnTo>
                  <a:lnTo>
                    <a:pt x="461" y="43"/>
                  </a:lnTo>
                  <a:lnTo>
                    <a:pt x="527" y="22"/>
                  </a:lnTo>
                  <a:lnTo>
                    <a:pt x="596" y="8"/>
                  </a:lnTo>
                  <a:lnTo>
                    <a:pt x="667" y="1"/>
                  </a:lnTo>
                  <a:lnTo>
                    <a:pt x="703" y="0"/>
                  </a:lnTo>
                  <a:lnTo>
                    <a:pt x="740" y="1"/>
                  </a:lnTo>
                  <a:lnTo>
                    <a:pt x="811" y="8"/>
                  </a:lnTo>
                  <a:lnTo>
                    <a:pt x="880" y="22"/>
                  </a:lnTo>
                  <a:lnTo>
                    <a:pt x="946" y="43"/>
                  </a:lnTo>
                  <a:lnTo>
                    <a:pt x="1009" y="70"/>
                  </a:lnTo>
                  <a:lnTo>
                    <a:pt x="1069" y="102"/>
                  </a:lnTo>
                  <a:lnTo>
                    <a:pt x="1125" y="140"/>
                  </a:lnTo>
                  <a:lnTo>
                    <a:pt x="1177" y="183"/>
                  </a:lnTo>
                  <a:lnTo>
                    <a:pt x="1225" y="230"/>
                  </a:lnTo>
                  <a:lnTo>
                    <a:pt x="1267" y="282"/>
                  </a:lnTo>
                  <a:lnTo>
                    <a:pt x="1306" y="339"/>
                  </a:lnTo>
                  <a:lnTo>
                    <a:pt x="1339" y="399"/>
                  </a:lnTo>
                  <a:lnTo>
                    <a:pt x="1365" y="461"/>
                  </a:lnTo>
                  <a:lnTo>
                    <a:pt x="1385" y="529"/>
                  </a:lnTo>
                  <a:lnTo>
                    <a:pt x="1400" y="597"/>
                  </a:lnTo>
                  <a:lnTo>
                    <a:pt x="1407" y="667"/>
                  </a:lnTo>
                  <a:lnTo>
                    <a:pt x="1407" y="704"/>
                  </a:lnTo>
                  <a:lnTo>
                    <a:pt x="1407" y="757"/>
                  </a:lnTo>
                  <a:lnTo>
                    <a:pt x="1397" y="860"/>
                  </a:lnTo>
                  <a:lnTo>
                    <a:pt x="1378" y="964"/>
                  </a:lnTo>
                  <a:lnTo>
                    <a:pt x="1349" y="1065"/>
                  </a:lnTo>
                  <a:lnTo>
                    <a:pt x="1314" y="1164"/>
                  </a:lnTo>
                  <a:lnTo>
                    <a:pt x="1273" y="1260"/>
                  </a:lnTo>
                  <a:lnTo>
                    <a:pt x="1201" y="1396"/>
                  </a:lnTo>
                  <a:lnTo>
                    <a:pt x="1092" y="1562"/>
                  </a:lnTo>
                  <a:lnTo>
                    <a:pt x="976" y="1703"/>
                  </a:lnTo>
                  <a:lnTo>
                    <a:pt x="859" y="1817"/>
                  </a:lnTo>
                  <a:lnTo>
                    <a:pt x="777" y="1879"/>
                  </a:lnTo>
                  <a:lnTo>
                    <a:pt x="727" y="1909"/>
                  </a:lnTo>
                  <a:lnTo>
                    <a:pt x="703" y="192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>
              <a:outerShdw blurRad="127000" sy="23000" kx="1200000" algn="br" rotWithShape="0">
                <a:srgbClr val="000000">
                  <a:alpha val="14117"/>
                </a:srgbClr>
              </a:outerShdw>
            </a:effectLst>
          </p:spPr>
          <p:txBody>
            <a:bodyPr spcFirstLastPara="1" wrap="square" lIns="150125" tIns="75042" rIns="150125" bIns="75042" anchor="t" anchorCtr="0"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sz="2000" dirty="0">
                <a:solidFill>
                  <a:schemeClr val="accent1"/>
                </a:solidFill>
              </a:endParaRPr>
            </a:p>
          </p:txBody>
        </p:sp>
        <p:sp>
          <p:nvSpPr>
            <p:cNvPr id="50" name="Google Shape;2264;p66">
              <a:extLst>
                <a:ext uri="{FF2B5EF4-FFF2-40B4-BE49-F238E27FC236}">
                  <a16:creationId xmlns:a16="http://schemas.microsoft.com/office/drawing/2014/main" id="{B97EF51C-E845-5CEC-B167-F61CB17F4EAA}"/>
                </a:ext>
              </a:extLst>
            </p:cNvPr>
            <p:cNvSpPr/>
            <p:nvPr/>
          </p:nvSpPr>
          <p:spPr>
            <a:xfrm>
              <a:off x="6096158" y="1525451"/>
              <a:ext cx="270434" cy="737541"/>
            </a:xfrm>
            <a:custGeom>
              <a:avLst/>
              <a:gdLst/>
              <a:ahLst/>
              <a:cxnLst/>
              <a:rect l="l" t="t" r="r" b="b"/>
              <a:pathLst>
                <a:path w="704" h="1921" extrusionOk="0">
                  <a:moveTo>
                    <a:pt x="0" y="0"/>
                  </a:moveTo>
                  <a:lnTo>
                    <a:pt x="37" y="1"/>
                  </a:lnTo>
                  <a:lnTo>
                    <a:pt x="108" y="8"/>
                  </a:lnTo>
                  <a:lnTo>
                    <a:pt x="177" y="22"/>
                  </a:lnTo>
                  <a:lnTo>
                    <a:pt x="243" y="43"/>
                  </a:lnTo>
                  <a:lnTo>
                    <a:pt x="306" y="70"/>
                  </a:lnTo>
                  <a:lnTo>
                    <a:pt x="366" y="102"/>
                  </a:lnTo>
                  <a:lnTo>
                    <a:pt x="422" y="140"/>
                  </a:lnTo>
                  <a:lnTo>
                    <a:pt x="474" y="183"/>
                  </a:lnTo>
                  <a:lnTo>
                    <a:pt x="522" y="230"/>
                  </a:lnTo>
                  <a:lnTo>
                    <a:pt x="564" y="282"/>
                  </a:lnTo>
                  <a:lnTo>
                    <a:pt x="603" y="339"/>
                  </a:lnTo>
                  <a:lnTo>
                    <a:pt x="636" y="399"/>
                  </a:lnTo>
                  <a:lnTo>
                    <a:pt x="662" y="461"/>
                  </a:lnTo>
                  <a:lnTo>
                    <a:pt x="682" y="529"/>
                  </a:lnTo>
                  <a:lnTo>
                    <a:pt x="697" y="597"/>
                  </a:lnTo>
                  <a:lnTo>
                    <a:pt x="704" y="667"/>
                  </a:lnTo>
                  <a:lnTo>
                    <a:pt x="704" y="704"/>
                  </a:lnTo>
                  <a:lnTo>
                    <a:pt x="704" y="757"/>
                  </a:lnTo>
                  <a:lnTo>
                    <a:pt x="694" y="860"/>
                  </a:lnTo>
                  <a:lnTo>
                    <a:pt x="675" y="964"/>
                  </a:lnTo>
                  <a:lnTo>
                    <a:pt x="646" y="1065"/>
                  </a:lnTo>
                  <a:lnTo>
                    <a:pt x="611" y="1164"/>
                  </a:lnTo>
                  <a:lnTo>
                    <a:pt x="570" y="1260"/>
                  </a:lnTo>
                  <a:lnTo>
                    <a:pt x="498" y="1396"/>
                  </a:lnTo>
                  <a:lnTo>
                    <a:pt x="389" y="1562"/>
                  </a:lnTo>
                  <a:lnTo>
                    <a:pt x="273" y="1703"/>
                  </a:lnTo>
                  <a:lnTo>
                    <a:pt x="156" y="1817"/>
                  </a:lnTo>
                  <a:lnTo>
                    <a:pt x="74" y="1879"/>
                  </a:lnTo>
                  <a:lnTo>
                    <a:pt x="24" y="1909"/>
                  </a:lnTo>
                  <a:lnTo>
                    <a:pt x="0" y="19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95167">
                <a:alpha val="29019"/>
              </a:srgbClr>
            </a:solidFill>
            <a:ln>
              <a:noFill/>
            </a:ln>
            <a:effectLst>
              <a:outerShdw blurRad="127000" sy="23000" kx="1200000" algn="br" rotWithShape="0">
                <a:srgbClr val="000000">
                  <a:alpha val="14117"/>
                </a:srgbClr>
              </a:outerShdw>
            </a:effectLst>
          </p:spPr>
          <p:txBody>
            <a:bodyPr spcFirstLastPara="1" wrap="square" lIns="150125" tIns="75042" rIns="150125" bIns="75042" anchor="t" anchorCtr="0"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sz="2000" dirty="0">
                <a:solidFill>
                  <a:schemeClr val="accent1"/>
                </a:solidFill>
              </a:endParaRPr>
            </a:p>
          </p:txBody>
        </p:sp>
        <p:sp>
          <p:nvSpPr>
            <p:cNvPr id="51" name="Google Shape;2265;p66">
              <a:extLst>
                <a:ext uri="{FF2B5EF4-FFF2-40B4-BE49-F238E27FC236}">
                  <a16:creationId xmlns:a16="http://schemas.microsoft.com/office/drawing/2014/main" id="{E9F3C4F5-30F6-6D0F-91ED-C35E6DCDB582}"/>
                </a:ext>
              </a:extLst>
            </p:cNvPr>
            <p:cNvSpPr/>
            <p:nvPr/>
          </p:nvSpPr>
          <p:spPr>
            <a:xfrm>
              <a:off x="5873357" y="1574620"/>
              <a:ext cx="444063" cy="44406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>
              <a:outerShdw blurRad="127000" sy="23000" kx="1200000" algn="br" rotWithShape="0">
                <a:srgbClr val="000000">
                  <a:alpha val="14117"/>
                </a:srgbClr>
              </a:outerShdw>
            </a:effectLst>
          </p:spPr>
          <p:txBody>
            <a:bodyPr spcFirstLastPara="1" wrap="square" lIns="0" tIns="75042" rIns="0" bIns="75042" anchor="ctr" anchorCtr="0"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sz="2000" b="1" dirty="0">
                <a:solidFill>
                  <a:schemeClr val="accent1"/>
                </a:solidFill>
              </a:endParaRPr>
            </a:p>
          </p:txBody>
        </p:sp>
        <p:sp>
          <p:nvSpPr>
            <p:cNvPr id="52" name="Google Shape;2266;p66">
              <a:extLst>
                <a:ext uri="{FF2B5EF4-FFF2-40B4-BE49-F238E27FC236}">
                  <a16:creationId xmlns:a16="http://schemas.microsoft.com/office/drawing/2014/main" id="{463FEECD-87A4-213A-1E9E-0DFC2F1BFE17}"/>
                </a:ext>
              </a:extLst>
            </p:cNvPr>
            <p:cNvSpPr/>
            <p:nvPr/>
          </p:nvSpPr>
          <p:spPr>
            <a:xfrm>
              <a:off x="5895313" y="1599827"/>
              <a:ext cx="393658" cy="39365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150125" tIns="75042" rIns="150125" bIns="75042" anchor="ctr" anchorCtr="0"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r>
                <a:rPr lang="en-US" sz="2000" b="1" dirty="0">
                  <a:solidFill>
                    <a:schemeClr val="tx1">
                      <a:lumMod val="100000"/>
                    </a:schemeClr>
                  </a:solidFill>
                </a:rPr>
                <a:t>3</a:t>
              </a:r>
              <a:endParaRPr sz="2000" dirty="0">
                <a:solidFill>
                  <a:schemeClr val="tx1">
                    <a:lumMod val="100000"/>
                  </a:schemeClr>
                </a:solidFill>
              </a:endParaRPr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111DEE46-12CF-4B5D-F2F8-8417CA2E7586}"/>
              </a:ext>
            </a:extLst>
          </p:cNvPr>
          <p:cNvGrpSpPr/>
          <p:nvPr/>
        </p:nvGrpSpPr>
        <p:grpSpPr>
          <a:xfrm>
            <a:off x="7865446" y="1388728"/>
            <a:ext cx="539911" cy="740656"/>
            <a:chOff x="7857390" y="1525451"/>
            <a:chExt cx="540868" cy="741968"/>
          </a:xfrm>
        </p:grpSpPr>
        <p:sp>
          <p:nvSpPr>
            <p:cNvPr id="54" name="Google Shape;2268;p66">
              <a:extLst>
                <a:ext uri="{FF2B5EF4-FFF2-40B4-BE49-F238E27FC236}">
                  <a16:creationId xmlns:a16="http://schemas.microsoft.com/office/drawing/2014/main" id="{DEED2612-B675-BBB0-629E-0E1C22D99A45}"/>
                </a:ext>
              </a:extLst>
            </p:cNvPr>
            <p:cNvSpPr/>
            <p:nvPr/>
          </p:nvSpPr>
          <p:spPr>
            <a:xfrm>
              <a:off x="7857390" y="1529878"/>
              <a:ext cx="540866" cy="737541"/>
            </a:xfrm>
            <a:custGeom>
              <a:avLst/>
              <a:gdLst/>
              <a:ahLst/>
              <a:cxnLst/>
              <a:rect l="l" t="t" r="r" b="b"/>
              <a:pathLst>
                <a:path w="1407" h="1921" extrusionOk="0">
                  <a:moveTo>
                    <a:pt x="703" y="1921"/>
                  </a:moveTo>
                  <a:lnTo>
                    <a:pt x="680" y="1909"/>
                  </a:lnTo>
                  <a:lnTo>
                    <a:pt x="630" y="1879"/>
                  </a:lnTo>
                  <a:lnTo>
                    <a:pt x="548" y="1817"/>
                  </a:lnTo>
                  <a:lnTo>
                    <a:pt x="431" y="1703"/>
                  </a:lnTo>
                  <a:lnTo>
                    <a:pt x="315" y="1562"/>
                  </a:lnTo>
                  <a:lnTo>
                    <a:pt x="206" y="1396"/>
                  </a:lnTo>
                  <a:lnTo>
                    <a:pt x="134" y="1260"/>
                  </a:lnTo>
                  <a:lnTo>
                    <a:pt x="93" y="1164"/>
                  </a:lnTo>
                  <a:lnTo>
                    <a:pt x="58" y="1065"/>
                  </a:lnTo>
                  <a:lnTo>
                    <a:pt x="31" y="964"/>
                  </a:lnTo>
                  <a:lnTo>
                    <a:pt x="11" y="860"/>
                  </a:lnTo>
                  <a:lnTo>
                    <a:pt x="1" y="757"/>
                  </a:lnTo>
                  <a:lnTo>
                    <a:pt x="0" y="704"/>
                  </a:lnTo>
                  <a:lnTo>
                    <a:pt x="0" y="667"/>
                  </a:lnTo>
                  <a:lnTo>
                    <a:pt x="7" y="597"/>
                  </a:lnTo>
                  <a:lnTo>
                    <a:pt x="22" y="529"/>
                  </a:lnTo>
                  <a:lnTo>
                    <a:pt x="42" y="461"/>
                  </a:lnTo>
                  <a:lnTo>
                    <a:pt x="68" y="399"/>
                  </a:lnTo>
                  <a:lnTo>
                    <a:pt x="101" y="339"/>
                  </a:lnTo>
                  <a:lnTo>
                    <a:pt x="140" y="282"/>
                  </a:lnTo>
                  <a:lnTo>
                    <a:pt x="182" y="230"/>
                  </a:lnTo>
                  <a:lnTo>
                    <a:pt x="230" y="183"/>
                  </a:lnTo>
                  <a:lnTo>
                    <a:pt x="282" y="140"/>
                  </a:lnTo>
                  <a:lnTo>
                    <a:pt x="338" y="102"/>
                  </a:lnTo>
                  <a:lnTo>
                    <a:pt x="399" y="70"/>
                  </a:lnTo>
                  <a:lnTo>
                    <a:pt x="461" y="43"/>
                  </a:lnTo>
                  <a:lnTo>
                    <a:pt x="527" y="22"/>
                  </a:lnTo>
                  <a:lnTo>
                    <a:pt x="596" y="8"/>
                  </a:lnTo>
                  <a:lnTo>
                    <a:pt x="667" y="1"/>
                  </a:lnTo>
                  <a:lnTo>
                    <a:pt x="703" y="0"/>
                  </a:lnTo>
                  <a:lnTo>
                    <a:pt x="740" y="1"/>
                  </a:lnTo>
                  <a:lnTo>
                    <a:pt x="811" y="8"/>
                  </a:lnTo>
                  <a:lnTo>
                    <a:pt x="880" y="22"/>
                  </a:lnTo>
                  <a:lnTo>
                    <a:pt x="946" y="43"/>
                  </a:lnTo>
                  <a:lnTo>
                    <a:pt x="1009" y="70"/>
                  </a:lnTo>
                  <a:lnTo>
                    <a:pt x="1069" y="102"/>
                  </a:lnTo>
                  <a:lnTo>
                    <a:pt x="1125" y="140"/>
                  </a:lnTo>
                  <a:lnTo>
                    <a:pt x="1177" y="183"/>
                  </a:lnTo>
                  <a:lnTo>
                    <a:pt x="1225" y="230"/>
                  </a:lnTo>
                  <a:lnTo>
                    <a:pt x="1267" y="282"/>
                  </a:lnTo>
                  <a:lnTo>
                    <a:pt x="1306" y="339"/>
                  </a:lnTo>
                  <a:lnTo>
                    <a:pt x="1339" y="399"/>
                  </a:lnTo>
                  <a:lnTo>
                    <a:pt x="1365" y="461"/>
                  </a:lnTo>
                  <a:lnTo>
                    <a:pt x="1385" y="529"/>
                  </a:lnTo>
                  <a:lnTo>
                    <a:pt x="1400" y="597"/>
                  </a:lnTo>
                  <a:lnTo>
                    <a:pt x="1407" y="667"/>
                  </a:lnTo>
                  <a:lnTo>
                    <a:pt x="1407" y="704"/>
                  </a:lnTo>
                  <a:lnTo>
                    <a:pt x="1407" y="757"/>
                  </a:lnTo>
                  <a:lnTo>
                    <a:pt x="1397" y="860"/>
                  </a:lnTo>
                  <a:lnTo>
                    <a:pt x="1378" y="964"/>
                  </a:lnTo>
                  <a:lnTo>
                    <a:pt x="1349" y="1065"/>
                  </a:lnTo>
                  <a:lnTo>
                    <a:pt x="1314" y="1164"/>
                  </a:lnTo>
                  <a:lnTo>
                    <a:pt x="1273" y="1260"/>
                  </a:lnTo>
                  <a:lnTo>
                    <a:pt x="1201" y="1396"/>
                  </a:lnTo>
                  <a:lnTo>
                    <a:pt x="1092" y="1562"/>
                  </a:lnTo>
                  <a:lnTo>
                    <a:pt x="976" y="1703"/>
                  </a:lnTo>
                  <a:lnTo>
                    <a:pt x="859" y="1817"/>
                  </a:lnTo>
                  <a:lnTo>
                    <a:pt x="777" y="1879"/>
                  </a:lnTo>
                  <a:lnTo>
                    <a:pt x="727" y="1909"/>
                  </a:lnTo>
                  <a:lnTo>
                    <a:pt x="703" y="192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>
              <a:outerShdw blurRad="127000" sy="23000" kx="1200000" algn="br" rotWithShape="0">
                <a:srgbClr val="000000">
                  <a:alpha val="14117"/>
                </a:srgbClr>
              </a:outerShdw>
            </a:effectLst>
          </p:spPr>
          <p:txBody>
            <a:bodyPr spcFirstLastPara="1" wrap="square" lIns="150125" tIns="75042" rIns="150125" bIns="75042" anchor="t" anchorCtr="0"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sz="2000" dirty="0">
                <a:solidFill>
                  <a:schemeClr val="accent1"/>
                </a:solidFill>
              </a:endParaRPr>
            </a:p>
          </p:txBody>
        </p:sp>
        <p:sp>
          <p:nvSpPr>
            <p:cNvPr id="56" name="Google Shape;2269;p66">
              <a:extLst>
                <a:ext uri="{FF2B5EF4-FFF2-40B4-BE49-F238E27FC236}">
                  <a16:creationId xmlns:a16="http://schemas.microsoft.com/office/drawing/2014/main" id="{48CE5610-E381-FB94-5624-BDB96E8721AC}"/>
                </a:ext>
              </a:extLst>
            </p:cNvPr>
            <p:cNvSpPr/>
            <p:nvPr/>
          </p:nvSpPr>
          <p:spPr>
            <a:xfrm>
              <a:off x="8127824" y="1525451"/>
              <a:ext cx="270434" cy="737541"/>
            </a:xfrm>
            <a:custGeom>
              <a:avLst/>
              <a:gdLst/>
              <a:ahLst/>
              <a:cxnLst/>
              <a:rect l="l" t="t" r="r" b="b"/>
              <a:pathLst>
                <a:path w="704" h="1921" extrusionOk="0">
                  <a:moveTo>
                    <a:pt x="0" y="0"/>
                  </a:moveTo>
                  <a:lnTo>
                    <a:pt x="37" y="1"/>
                  </a:lnTo>
                  <a:lnTo>
                    <a:pt x="108" y="8"/>
                  </a:lnTo>
                  <a:lnTo>
                    <a:pt x="177" y="22"/>
                  </a:lnTo>
                  <a:lnTo>
                    <a:pt x="243" y="43"/>
                  </a:lnTo>
                  <a:lnTo>
                    <a:pt x="306" y="70"/>
                  </a:lnTo>
                  <a:lnTo>
                    <a:pt x="366" y="102"/>
                  </a:lnTo>
                  <a:lnTo>
                    <a:pt x="422" y="140"/>
                  </a:lnTo>
                  <a:lnTo>
                    <a:pt x="474" y="183"/>
                  </a:lnTo>
                  <a:lnTo>
                    <a:pt x="522" y="230"/>
                  </a:lnTo>
                  <a:lnTo>
                    <a:pt x="564" y="282"/>
                  </a:lnTo>
                  <a:lnTo>
                    <a:pt x="603" y="339"/>
                  </a:lnTo>
                  <a:lnTo>
                    <a:pt x="636" y="399"/>
                  </a:lnTo>
                  <a:lnTo>
                    <a:pt x="662" y="461"/>
                  </a:lnTo>
                  <a:lnTo>
                    <a:pt x="682" y="529"/>
                  </a:lnTo>
                  <a:lnTo>
                    <a:pt x="697" y="597"/>
                  </a:lnTo>
                  <a:lnTo>
                    <a:pt x="704" y="667"/>
                  </a:lnTo>
                  <a:lnTo>
                    <a:pt x="704" y="704"/>
                  </a:lnTo>
                  <a:lnTo>
                    <a:pt x="704" y="757"/>
                  </a:lnTo>
                  <a:lnTo>
                    <a:pt x="694" y="860"/>
                  </a:lnTo>
                  <a:lnTo>
                    <a:pt x="675" y="964"/>
                  </a:lnTo>
                  <a:lnTo>
                    <a:pt x="646" y="1065"/>
                  </a:lnTo>
                  <a:lnTo>
                    <a:pt x="611" y="1164"/>
                  </a:lnTo>
                  <a:lnTo>
                    <a:pt x="570" y="1260"/>
                  </a:lnTo>
                  <a:lnTo>
                    <a:pt x="498" y="1396"/>
                  </a:lnTo>
                  <a:lnTo>
                    <a:pt x="389" y="1562"/>
                  </a:lnTo>
                  <a:lnTo>
                    <a:pt x="273" y="1703"/>
                  </a:lnTo>
                  <a:lnTo>
                    <a:pt x="156" y="1817"/>
                  </a:lnTo>
                  <a:lnTo>
                    <a:pt x="74" y="1879"/>
                  </a:lnTo>
                  <a:lnTo>
                    <a:pt x="24" y="1909"/>
                  </a:lnTo>
                  <a:lnTo>
                    <a:pt x="0" y="19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>
              <a:outerShdw blurRad="127000" sy="23000" kx="1200000" algn="br" rotWithShape="0">
                <a:srgbClr val="000000">
                  <a:alpha val="14117"/>
                </a:srgbClr>
              </a:outerShdw>
            </a:effectLst>
          </p:spPr>
          <p:txBody>
            <a:bodyPr spcFirstLastPara="1" wrap="square" lIns="150125" tIns="75042" rIns="150125" bIns="75042" anchor="t" anchorCtr="0"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sz="2000" dirty="0">
                <a:solidFill>
                  <a:schemeClr val="accent1"/>
                </a:solidFill>
              </a:endParaRPr>
            </a:p>
          </p:txBody>
        </p:sp>
        <p:sp>
          <p:nvSpPr>
            <p:cNvPr id="57" name="Google Shape;2270;p66">
              <a:extLst>
                <a:ext uri="{FF2B5EF4-FFF2-40B4-BE49-F238E27FC236}">
                  <a16:creationId xmlns:a16="http://schemas.microsoft.com/office/drawing/2014/main" id="{9EDDD2D3-6F62-CEF8-1753-AAA69AE05183}"/>
                </a:ext>
              </a:extLst>
            </p:cNvPr>
            <p:cNvSpPr/>
            <p:nvPr/>
          </p:nvSpPr>
          <p:spPr>
            <a:xfrm>
              <a:off x="7905023" y="1574620"/>
              <a:ext cx="444063" cy="44406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>
              <a:outerShdw blurRad="127000" sy="23000" kx="1200000" algn="br" rotWithShape="0">
                <a:srgbClr val="000000">
                  <a:alpha val="14117"/>
                </a:srgbClr>
              </a:outerShdw>
            </a:effectLst>
          </p:spPr>
          <p:txBody>
            <a:bodyPr spcFirstLastPara="1" wrap="square" lIns="0" tIns="75042" rIns="0" bIns="75042" anchor="ctr" anchorCtr="0"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sz="2000" b="1" dirty="0">
                <a:solidFill>
                  <a:schemeClr val="accent1"/>
                </a:solidFill>
              </a:endParaRPr>
            </a:p>
          </p:txBody>
        </p:sp>
        <p:sp>
          <p:nvSpPr>
            <p:cNvPr id="58" name="Google Shape;2271;p66">
              <a:extLst>
                <a:ext uri="{FF2B5EF4-FFF2-40B4-BE49-F238E27FC236}">
                  <a16:creationId xmlns:a16="http://schemas.microsoft.com/office/drawing/2014/main" id="{41FCDFDB-F5EB-E323-DFE9-424B7861514F}"/>
                </a:ext>
              </a:extLst>
            </p:cNvPr>
            <p:cNvSpPr/>
            <p:nvPr/>
          </p:nvSpPr>
          <p:spPr>
            <a:xfrm>
              <a:off x="7926979" y="1599827"/>
              <a:ext cx="393658" cy="39365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150125" tIns="75042" rIns="150125" bIns="75042" anchor="ctr" anchorCtr="0"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r>
                <a:rPr lang="en-US" sz="2000" b="1" dirty="0">
                  <a:solidFill>
                    <a:schemeClr val="tx1">
                      <a:lumMod val="100000"/>
                    </a:schemeClr>
                  </a:solidFill>
                </a:rPr>
                <a:t>4</a:t>
              </a:r>
              <a:endParaRPr sz="2000" dirty="0">
                <a:solidFill>
                  <a:schemeClr val="tx1">
                    <a:lumMod val="100000"/>
                  </a:schemeClr>
                </a:solidFill>
              </a:endParaRP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A4D8BEB6-45E1-4FF4-BF88-3BBF9E6A69C3}"/>
              </a:ext>
            </a:extLst>
          </p:cNvPr>
          <p:cNvGrpSpPr/>
          <p:nvPr/>
        </p:nvGrpSpPr>
        <p:grpSpPr>
          <a:xfrm>
            <a:off x="9893518" y="1388728"/>
            <a:ext cx="539911" cy="740656"/>
            <a:chOff x="9889055" y="1525451"/>
            <a:chExt cx="540868" cy="741968"/>
          </a:xfrm>
        </p:grpSpPr>
        <p:sp>
          <p:nvSpPr>
            <p:cNvPr id="60" name="Google Shape;2273;p66">
              <a:extLst>
                <a:ext uri="{FF2B5EF4-FFF2-40B4-BE49-F238E27FC236}">
                  <a16:creationId xmlns:a16="http://schemas.microsoft.com/office/drawing/2014/main" id="{A60152F5-0EB8-8553-9ECF-998D5B67AC8A}"/>
                </a:ext>
              </a:extLst>
            </p:cNvPr>
            <p:cNvSpPr/>
            <p:nvPr/>
          </p:nvSpPr>
          <p:spPr>
            <a:xfrm>
              <a:off x="9889055" y="1529878"/>
              <a:ext cx="540866" cy="737541"/>
            </a:xfrm>
            <a:custGeom>
              <a:avLst/>
              <a:gdLst/>
              <a:ahLst/>
              <a:cxnLst/>
              <a:rect l="l" t="t" r="r" b="b"/>
              <a:pathLst>
                <a:path w="1407" h="1921" extrusionOk="0">
                  <a:moveTo>
                    <a:pt x="703" y="1921"/>
                  </a:moveTo>
                  <a:lnTo>
                    <a:pt x="680" y="1909"/>
                  </a:lnTo>
                  <a:lnTo>
                    <a:pt x="630" y="1879"/>
                  </a:lnTo>
                  <a:lnTo>
                    <a:pt x="548" y="1817"/>
                  </a:lnTo>
                  <a:lnTo>
                    <a:pt x="431" y="1703"/>
                  </a:lnTo>
                  <a:lnTo>
                    <a:pt x="315" y="1562"/>
                  </a:lnTo>
                  <a:lnTo>
                    <a:pt x="206" y="1396"/>
                  </a:lnTo>
                  <a:lnTo>
                    <a:pt x="134" y="1260"/>
                  </a:lnTo>
                  <a:lnTo>
                    <a:pt x="93" y="1164"/>
                  </a:lnTo>
                  <a:lnTo>
                    <a:pt x="58" y="1065"/>
                  </a:lnTo>
                  <a:lnTo>
                    <a:pt x="31" y="964"/>
                  </a:lnTo>
                  <a:lnTo>
                    <a:pt x="11" y="860"/>
                  </a:lnTo>
                  <a:lnTo>
                    <a:pt x="1" y="757"/>
                  </a:lnTo>
                  <a:lnTo>
                    <a:pt x="0" y="704"/>
                  </a:lnTo>
                  <a:lnTo>
                    <a:pt x="0" y="667"/>
                  </a:lnTo>
                  <a:lnTo>
                    <a:pt x="7" y="597"/>
                  </a:lnTo>
                  <a:lnTo>
                    <a:pt x="22" y="529"/>
                  </a:lnTo>
                  <a:lnTo>
                    <a:pt x="42" y="461"/>
                  </a:lnTo>
                  <a:lnTo>
                    <a:pt x="68" y="399"/>
                  </a:lnTo>
                  <a:lnTo>
                    <a:pt x="101" y="339"/>
                  </a:lnTo>
                  <a:lnTo>
                    <a:pt x="140" y="282"/>
                  </a:lnTo>
                  <a:lnTo>
                    <a:pt x="182" y="230"/>
                  </a:lnTo>
                  <a:lnTo>
                    <a:pt x="230" y="183"/>
                  </a:lnTo>
                  <a:lnTo>
                    <a:pt x="282" y="140"/>
                  </a:lnTo>
                  <a:lnTo>
                    <a:pt x="338" y="102"/>
                  </a:lnTo>
                  <a:lnTo>
                    <a:pt x="399" y="70"/>
                  </a:lnTo>
                  <a:lnTo>
                    <a:pt x="461" y="43"/>
                  </a:lnTo>
                  <a:lnTo>
                    <a:pt x="527" y="22"/>
                  </a:lnTo>
                  <a:lnTo>
                    <a:pt x="596" y="8"/>
                  </a:lnTo>
                  <a:lnTo>
                    <a:pt x="667" y="1"/>
                  </a:lnTo>
                  <a:lnTo>
                    <a:pt x="703" y="0"/>
                  </a:lnTo>
                  <a:lnTo>
                    <a:pt x="740" y="1"/>
                  </a:lnTo>
                  <a:lnTo>
                    <a:pt x="811" y="8"/>
                  </a:lnTo>
                  <a:lnTo>
                    <a:pt x="880" y="22"/>
                  </a:lnTo>
                  <a:lnTo>
                    <a:pt x="946" y="43"/>
                  </a:lnTo>
                  <a:lnTo>
                    <a:pt x="1009" y="70"/>
                  </a:lnTo>
                  <a:lnTo>
                    <a:pt x="1069" y="102"/>
                  </a:lnTo>
                  <a:lnTo>
                    <a:pt x="1125" y="140"/>
                  </a:lnTo>
                  <a:lnTo>
                    <a:pt x="1177" y="183"/>
                  </a:lnTo>
                  <a:lnTo>
                    <a:pt x="1225" y="230"/>
                  </a:lnTo>
                  <a:lnTo>
                    <a:pt x="1267" y="282"/>
                  </a:lnTo>
                  <a:lnTo>
                    <a:pt x="1306" y="339"/>
                  </a:lnTo>
                  <a:lnTo>
                    <a:pt x="1339" y="399"/>
                  </a:lnTo>
                  <a:lnTo>
                    <a:pt x="1365" y="461"/>
                  </a:lnTo>
                  <a:lnTo>
                    <a:pt x="1385" y="529"/>
                  </a:lnTo>
                  <a:lnTo>
                    <a:pt x="1400" y="597"/>
                  </a:lnTo>
                  <a:lnTo>
                    <a:pt x="1407" y="667"/>
                  </a:lnTo>
                  <a:lnTo>
                    <a:pt x="1407" y="704"/>
                  </a:lnTo>
                  <a:lnTo>
                    <a:pt x="1407" y="757"/>
                  </a:lnTo>
                  <a:lnTo>
                    <a:pt x="1397" y="860"/>
                  </a:lnTo>
                  <a:lnTo>
                    <a:pt x="1378" y="964"/>
                  </a:lnTo>
                  <a:lnTo>
                    <a:pt x="1349" y="1065"/>
                  </a:lnTo>
                  <a:lnTo>
                    <a:pt x="1314" y="1164"/>
                  </a:lnTo>
                  <a:lnTo>
                    <a:pt x="1273" y="1260"/>
                  </a:lnTo>
                  <a:lnTo>
                    <a:pt x="1201" y="1396"/>
                  </a:lnTo>
                  <a:lnTo>
                    <a:pt x="1092" y="1562"/>
                  </a:lnTo>
                  <a:lnTo>
                    <a:pt x="976" y="1703"/>
                  </a:lnTo>
                  <a:lnTo>
                    <a:pt x="859" y="1817"/>
                  </a:lnTo>
                  <a:lnTo>
                    <a:pt x="777" y="1879"/>
                  </a:lnTo>
                  <a:lnTo>
                    <a:pt x="727" y="1909"/>
                  </a:lnTo>
                  <a:lnTo>
                    <a:pt x="703" y="192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>
              <a:outerShdw blurRad="127000" sy="23000" kx="1200000" algn="br" rotWithShape="0">
                <a:srgbClr val="000000">
                  <a:alpha val="14117"/>
                </a:srgbClr>
              </a:outerShdw>
            </a:effectLst>
          </p:spPr>
          <p:txBody>
            <a:bodyPr spcFirstLastPara="1" wrap="square" lIns="150125" tIns="75042" rIns="150125" bIns="75042" anchor="t" anchorCtr="0"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sz="2000" dirty="0">
                <a:solidFill>
                  <a:schemeClr val="accent1"/>
                </a:solidFill>
              </a:endParaRPr>
            </a:p>
          </p:txBody>
        </p:sp>
        <p:sp>
          <p:nvSpPr>
            <p:cNvPr id="61" name="Google Shape;2274;p66">
              <a:extLst>
                <a:ext uri="{FF2B5EF4-FFF2-40B4-BE49-F238E27FC236}">
                  <a16:creationId xmlns:a16="http://schemas.microsoft.com/office/drawing/2014/main" id="{8E56329F-1B5A-4F22-4BA7-3FEE20B5EFBE}"/>
                </a:ext>
              </a:extLst>
            </p:cNvPr>
            <p:cNvSpPr/>
            <p:nvPr/>
          </p:nvSpPr>
          <p:spPr>
            <a:xfrm>
              <a:off x="10159489" y="1525451"/>
              <a:ext cx="270434" cy="737541"/>
            </a:xfrm>
            <a:custGeom>
              <a:avLst/>
              <a:gdLst/>
              <a:ahLst/>
              <a:cxnLst/>
              <a:rect l="l" t="t" r="r" b="b"/>
              <a:pathLst>
                <a:path w="704" h="1921" extrusionOk="0">
                  <a:moveTo>
                    <a:pt x="0" y="0"/>
                  </a:moveTo>
                  <a:lnTo>
                    <a:pt x="37" y="1"/>
                  </a:lnTo>
                  <a:lnTo>
                    <a:pt x="108" y="8"/>
                  </a:lnTo>
                  <a:lnTo>
                    <a:pt x="177" y="22"/>
                  </a:lnTo>
                  <a:lnTo>
                    <a:pt x="243" y="43"/>
                  </a:lnTo>
                  <a:lnTo>
                    <a:pt x="306" y="70"/>
                  </a:lnTo>
                  <a:lnTo>
                    <a:pt x="366" y="102"/>
                  </a:lnTo>
                  <a:lnTo>
                    <a:pt x="422" y="140"/>
                  </a:lnTo>
                  <a:lnTo>
                    <a:pt x="474" y="183"/>
                  </a:lnTo>
                  <a:lnTo>
                    <a:pt x="522" y="230"/>
                  </a:lnTo>
                  <a:lnTo>
                    <a:pt x="564" y="282"/>
                  </a:lnTo>
                  <a:lnTo>
                    <a:pt x="603" y="339"/>
                  </a:lnTo>
                  <a:lnTo>
                    <a:pt x="636" y="399"/>
                  </a:lnTo>
                  <a:lnTo>
                    <a:pt x="662" y="461"/>
                  </a:lnTo>
                  <a:lnTo>
                    <a:pt x="682" y="529"/>
                  </a:lnTo>
                  <a:lnTo>
                    <a:pt x="697" y="597"/>
                  </a:lnTo>
                  <a:lnTo>
                    <a:pt x="704" y="667"/>
                  </a:lnTo>
                  <a:lnTo>
                    <a:pt x="704" y="704"/>
                  </a:lnTo>
                  <a:lnTo>
                    <a:pt x="704" y="757"/>
                  </a:lnTo>
                  <a:lnTo>
                    <a:pt x="694" y="860"/>
                  </a:lnTo>
                  <a:lnTo>
                    <a:pt x="675" y="964"/>
                  </a:lnTo>
                  <a:lnTo>
                    <a:pt x="646" y="1065"/>
                  </a:lnTo>
                  <a:lnTo>
                    <a:pt x="611" y="1164"/>
                  </a:lnTo>
                  <a:lnTo>
                    <a:pt x="570" y="1260"/>
                  </a:lnTo>
                  <a:lnTo>
                    <a:pt x="498" y="1396"/>
                  </a:lnTo>
                  <a:lnTo>
                    <a:pt x="389" y="1562"/>
                  </a:lnTo>
                  <a:lnTo>
                    <a:pt x="273" y="1703"/>
                  </a:lnTo>
                  <a:lnTo>
                    <a:pt x="156" y="1817"/>
                  </a:lnTo>
                  <a:lnTo>
                    <a:pt x="74" y="1879"/>
                  </a:lnTo>
                  <a:lnTo>
                    <a:pt x="24" y="1909"/>
                  </a:lnTo>
                  <a:lnTo>
                    <a:pt x="0" y="19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>
              <a:outerShdw blurRad="127000" sy="23000" kx="1200000" algn="br" rotWithShape="0">
                <a:srgbClr val="000000">
                  <a:alpha val="14117"/>
                </a:srgbClr>
              </a:outerShdw>
            </a:effectLst>
          </p:spPr>
          <p:txBody>
            <a:bodyPr spcFirstLastPara="1" wrap="square" lIns="150125" tIns="75042" rIns="150125" bIns="75042" anchor="t" anchorCtr="0"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sz="2000" dirty="0">
                <a:solidFill>
                  <a:schemeClr val="accent1"/>
                </a:solidFill>
              </a:endParaRPr>
            </a:p>
          </p:txBody>
        </p:sp>
        <p:sp>
          <p:nvSpPr>
            <p:cNvPr id="62" name="Google Shape;2275;p66">
              <a:extLst>
                <a:ext uri="{FF2B5EF4-FFF2-40B4-BE49-F238E27FC236}">
                  <a16:creationId xmlns:a16="http://schemas.microsoft.com/office/drawing/2014/main" id="{9EC13E83-ADEE-29BE-7F30-B8B46A7094B1}"/>
                </a:ext>
              </a:extLst>
            </p:cNvPr>
            <p:cNvSpPr/>
            <p:nvPr/>
          </p:nvSpPr>
          <p:spPr>
            <a:xfrm>
              <a:off x="9936688" y="1574620"/>
              <a:ext cx="444063" cy="44406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>
              <a:outerShdw blurRad="127000" sy="23000" kx="1200000" algn="br" rotWithShape="0">
                <a:srgbClr val="000000">
                  <a:alpha val="14117"/>
                </a:srgbClr>
              </a:outerShdw>
            </a:effectLst>
          </p:spPr>
          <p:txBody>
            <a:bodyPr spcFirstLastPara="1" wrap="square" lIns="0" tIns="75042" rIns="0" bIns="75042" anchor="ctr" anchorCtr="0"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sz="2000" b="1" dirty="0">
                <a:solidFill>
                  <a:schemeClr val="accent1"/>
                </a:solidFill>
              </a:endParaRPr>
            </a:p>
          </p:txBody>
        </p:sp>
        <p:sp>
          <p:nvSpPr>
            <p:cNvPr id="63" name="Google Shape;2276;p66">
              <a:extLst>
                <a:ext uri="{FF2B5EF4-FFF2-40B4-BE49-F238E27FC236}">
                  <a16:creationId xmlns:a16="http://schemas.microsoft.com/office/drawing/2014/main" id="{6367A8BC-7190-1B2E-5563-D040CD136272}"/>
                </a:ext>
              </a:extLst>
            </p:cNvPr>
            <p:cNvSpPr/>
            <p:nvPr/>
          </p:nvSpPr>
          <p:spPr>
            <a:xfrm>
              <a:off x="9958644" y="1599827"/>
              <a:ext cx="393658" cy="39365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150125" tIns="75042" rIns="150125" bIns="75042" anchor="ctr" anchorCtr="0"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r>
                <a:rPr lang="en-US" sz="2000" b="1" dirty="0">
                  <a:solidFill>
                    <a:schemeClr val="tx1">
                      <a:lumMod val="100000"/>
                    </a:schemeClr>
                  </a:solidFill>
                </a:rPr>
                <a:t>5</a:t>
              </a:r>
              <a:endParaRPr sz="2000" dirty="0">
                <a:solidFill>
                  <a:schemeClr val="tx1">
                    <a:lumMod val="10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28398748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4B7BA9-1ED5-F4D0-67BA-72379E7703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1423C98E-F59F-53E4-1342-FE254A70B2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23C98E-F59F-53E4-1342-FE254A70B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91F8747-0AA0-6A58-CF42-CBF3C35C64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imeline 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0297E097-A1A2-90C1-614D-E386C765F915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63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5" name="Google Shape;2647;p50">
            <a:extLst>
              <a:ext uri="{FF2B5EF4-FFF2-40B4-BE49-F238E27FC236}">
                <a16:creationId xmlns:a16="http://schemas.microsoft.com/office/drawing/2014/main" id="{9D6B923A-4670-55F1-CA24-868FB2C29C8D}"/>
              </a:ext>
            </a:extLst>
          </p:cNvPr>
          <p:cNvSpPr/>
          <p:nvPr/>
        </p:nvSpPr>
        <p:spPr>
          <a:xfrm>
            <a:off x="456104" y="3141727"/>
            <a:ext cx="2331435" cy="953847"/>
          </a:xfrm>
          <a:prstGeom prst="homePlate">
            <a:avLst>
              <a:gd name="adj" fmla="val 27421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2000" dirty="0">
              <a:solidFill>
                <a:schemeClr val="dk1"/>
              </a:solidFill>
              <a:cs typeface="Arial" panose="020B0604020202020204" pitchFamily="34" charset="0"/>
            </a:endParaRPr>
          </a:p>
        </p:txBody>
      </p:sp>
      <p:sp>
        <p:nvSpPr>
          <p:cNvPr id="6" name="Google Shape;2647;p50~1">
            <a:extLst>
              <a:ext uri="{FF2B5EF4-FFF2-40B4-BE49-F238E27FC236}">
                <a16:creationId xmlns:a16="http://schemas.microsoft.com/office/drawing/2014/main" id="{5D498E32-0E7D-1629-26A6-D50F1E48EA11}"/>
              </a:ext>
            </a:extLst>
          </p:cNvPr>
          <p:cNvSpPr/>
          <p:nvPr/>
        </p:nvSpPr>
        <p:spPr>
          <a:xfrm>
            <a:off x="2699833" y="3141727"/>
            <a:ext cx="2331435" cy="953847"/>
          </a:xfrm>
          <a:prstGeom prst="chevron">
            <a:avLst>
              <a:gd name="adj" fmla="val 27421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2000" dirty="0">
              <a:solidFill>
                <a:schemeClr val="dk1"/>
              </a:solidFill>
              <a:cs typeface="Arial" panose="020B0604020202020204" pitchFamily="34" charset="0"/>
            </a:endParaRPr>
          </a:p>
        </p:txBody>
      </p:sp>
      <p:sp>
        <p:nvSpPr>
          <p:cNvPr id="7" name="Google Shape;2647;p50~2">
            <a:extLst>
              <a:ext uri="{FF2B5EF4-FFF2-40B4-BE49-F238E27FC236}">
                <a16:creationId xmlns:a16="http://schemas.microsoft.com/office/drawing/2014/main" id="{9A7E90EC-CCCC-D34D-5824-EC90C74A6B4E}"/>
              </a:ext>
            </a:extLst>
          </p:cNvPr>
          <p:cNvSpPr/>
          <p:nvPr/>
        </p:nvSpPr>
        <p:spPr>
          <a:xfrm>
            <a:off x="4943565" y="3141727"/>
            <a:ext cx="2331435" cy="953847"/>
          </a:xfrm>
          <a:prstGeom prst="chevron">
            <a:avLst>
              <a:gd name="adj" fmla="val 27421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2000" dirty="0">
              <a:solidFill>
                <a:schemeClr val="dk1"/>
              </a:solidFill>
              <a:cs typeface="Arial" panose="020B0604020202020204" pitchFamily="34" charset="0"/>
            </a:endParaRPr>
          </a:p>
        </p:txBody>
      </p:sp>
      <p:sp>
        <p:nvSpPr>
          <p:cNvPr id="8" name="Google Shape;2647;p50~3">
            <a:extLst>
              <a:ext uri="{FF2B5EF4-FFF2-40B4-BE49-F238E27FC236}">
                <a16:creationId xmlns:a16="http://schemas.microsoft.com/office/drawing/2014/main" id="{4C4A0438-9906-8B2D-9BBD-1A80695BE120}"/>
              </a:ext>
            </a:extLst>
          </p:cNvPr>
          <p:cNvSpPr/>
          <p:nvPr/>
        </p:nvSpPr>
        <p:spPr>
          <a:xfrm>
            <a:off x="7187293" y="3141727"/>
            <a:ext cx="2331435" cy="953847"/>
          </a:xfrm>
          <a:prstGeom prst="chevron">
            <a:avLst>
              <a:gd name="adj" fmla="val 27421"/>
            </a:avLst>
          </a:prstGeom>
          <a:solidFill>
            <a:schemeClr val="accent4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2000" dirty="0">
              <a:solidFill>
                <a:schemeClr val="dk1"/>
              </a:solidFill>
              <a:cs typeface="Arial" panose="020B0604020202020204" pitchFamily="34" charset="0"/>
            </a:endParaRPr>
          </a:p>
        </p:txBody>
      </p:sp>
      <p:sp>
        <p:nvSpPr>
          <p:cNvPr id="9" name="Google Shape;2647;p50~4">
            <a:extLst>
              <a:ext uri="{FF2B5EF4-FFF2-40B4-BE49-F238E27FC236}">
                <a16:creationId xmlns:a16="http://schemas.microsoft.com/office/drawing/2014/main" id="{683C97AF-3CCD-7660-CE5C-0E31485C7877}"/>
              </a:ext>
            </a:extLst>
          </p:cNvPr>
          <p:cNvSpPr/>
          <p:nvPr/>
        </p:nvSpPr>
        <p:spPr>
          <a:xfrm>
            <a:off x="9431027" y="3141727"/>
            <a:ext cx="2331435" cy="953847"/>
          </a:xfrm>
          <a:prstGeom prst="chevron">
            <a:avLst>
              <a:gd name="adj" fmla="val 27421"/>
            </a:avLst>
          </a:prstGeom>
          <a:solidFill>
            <a:schemeClr val="accent6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2000" dirty="0">
              <a:solidFill>
                <a:schemeClr val="dk1"/>
              </a:solidFill>
              <a:cs typeface="Arial" panose="020B0604020202020204" pitchFamily="34" charset="0"/>
            </a:endParaRPr>
          </a:p>
        </p:txBody>
      </p:sp>
      <p:sp>
        <p:nvSpPr>
          <p:cNvPr id="10" name="Shape1_20220106_101645">
            <a:extLst>
              <a:ext uri="{FF2B5EF4-FFF2-40B4-BE49-F238E27FC236}">
                <a16:creationId xmlns:a16="http://schemas.microsoft.com/office/drawing/2014/main" id="{5C78B92A-04A5-03A8-533E-7097079ADB73}"/>
              </a:ext>
            </a:extLst>
          </p:cNvPr>
          <p:cNvSpPr txBox="1"/>
          <p:nvPr/>
        </p:nvSpPr>
        <p:spPr>
          <a:xfrm>
            <a:off x="1064922" y="3422569"/>
            <a:ext cx="1113804" cy="39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ctr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bg1"/>
                </a:solidFill>
                <a:cs typeface="Arial" panose="020B0604020202020204" pitchFamily="34" charset="0"/>
              </a:rPr>
              <a:t>01</a:t>
            </a:r>
            <a:endParaRPr sz="1600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11" name="Shape2_20220106_101645">
            <a:extLst>
              <a:ext uri="{FF2B5EF4-FFF2-40B4-BE49-F238E27FC236}">
                <a16:creationId xmlns:a16="http://schemas.microsoft.com/office/drawing/2014/main" id="{21FD74CA-1C0F-6871-6D30-5D3372FF4ADA}"/>
              </a:ext>
            </a:extLst>
          </p:cNvPr>
          <p:cNvSpPr txBox="1"/>
          <p:nvPr/>
        </p:nvSpPr>
        <p:spPr>
          <a:xfrm>
            <a:off x="3308651" y="3422569"/>
            <a:ext cx="1113804" cy="39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ctr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bg1"/>
                </a:solidFill>
                <a:cs typeface="Arial" panose="020B0604020202020204" pitchFamily="34" charset="0"/>
              </a:rPr>
              <a:t>02</a:t>
            </a:r>
            <a:endParaRPr sz="1600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12" name="Shape3_20220106_101645">
            <a:extLst>
              <a:ext uri="{FF2B5EF4-FFF2-40B4-BE49-F238E27FC236}">
                <a16:creationId xmlns:a16="http://schemas.microsoft.com/office/drawing/2014/main" id="{2286D73C-3F9A-321A-0C17-C1751C517AC3}"/>
              </a:ext>
            </a:extLst>
          </p:cNvPr>
          <p:cNvSpPr txBox="1"/>
          <p:nvPr/>
        </p:nvSpPr>
        <p:spPr>
          <a:xfrm>
            <a:off x="5552382" y="3422569"/>
            <a:ext cx="1113804" cy="39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ctr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bg1"/>
                </a:solidFill>
                <a:cs typeface="Arial" panose="020B0604020202020204" pitchFamily="34" charset="0"/>
              </a:rPr>
              <a:t>03</a:t>
            </a:r>
            <a:endParaRPr sz="1600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13" name="Shape4_20220106_101645">
            <a:extLst>
              <a:ext uri="{FF2B5EF4-FFF2-40B4-BE49-F238E27FC236}">
                <a16:creationId xmlns:a16="http://schemas.microsoft.com/office/drawing/2014/main" id="{079EA0E9-6E03-7C1B-689F-06E5D6F9DE49}"/>
              </a:ext>
            </a:extLst>
          </p:cNvPr>
          <p:cNvSpPr txBox="1"/>
          <p:nvPr/>
        </p:nvSpPr>
        <p:spPr>
          <a:xfrm>
            <a:off x="7796112" y="3422569"/>
            <a:ext cx="1113804" cy="39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ctr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bg1"/>
                </a:solidFill>
                <a:cs typeface="Arial" panose="020B0604020202020204" pitchFamily="34" charset="0"/>
              </a:rPr>
              <a:t>04</a:t>
            </a:r>
            <a:endParaRPr sz="1600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14" name="Shape0_20220106_101645">
            <a:extLst>
              <a:ext uri="{FF2B5EF4-FFF2-40B4-BE49-F238E27FC236}">
                <a16:creationId xmlns:a16="http://schemas.microsoft.com/office/drawing/2014/main" id="{B7AAD615-72D4-74AD-A486-9008D0B43C47}"/>
              </a:ext>
            </a:extLst>
          </p:cNvPr>
          <p:cNvSpPr txBox="1"/>
          <p:nvPr/>
        </p:nvSpPr>
        <p:spPr>
          <a:xfrm>
            <a:off x="10039844" y="3422569"/>
            <a:ext cx="1113804" cy="39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ctr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bg1"/>
                </a:solidFill>
                <a:cs typeface="Arial" panose="020B0604020202020204" pitchFamily="34" charset="0"/>
              </a:rPr>
              <a:t>05</a:t>
            </a:r>
            <a:endParaRPr sz="1600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15" name="Google Shape;2659;p50">
            <a:extLst>
              <a:ext uri="{FF2B5EF4-FFF2-40B4-BE49-F238E27FC236}">
                <a16:creationId xmlns:a16="http://schemas.microsoft.com/office/drawing/2014/main" id="{B97E5BEE-32BB-0ACD-351C-C5B7482F5248}"/>
              </a:ext>
            </a:extLst>
          </p:cNvPr>
          <p:cNvSpPr txBox="1"/>
          <p:nvPr/>
        </p:nvSpPr>
        <p:spPr>
          <a:xfrm>
            <a:off x="418350" y="1571920"/>
            <a:ext cx="1719867" cy="39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b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Title</a:t>
            </a:r>
            <a:endParaRPr sz="1600" b="1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16" name="Google Shape;2660;p50">
            <a:extLst>
              <a:ext uri="{FF2B5EF4-FFF2-40B4-BE49-F238E27FC236}">
                <a16:creationId xmlns:a16="http://schemas.microsoft.com/office/drawing/2014/main" id="{08B83C74-79DE-773D-2206-D42F80738847}"/>
              </a:ext>
            </a:extLst>
          </p:cNvPr>
          <p:cNvSpPr txBox="1"/>
          <p:nvPr/>
        </p:nvSpPr>
        <p:spPr>
          <a:xfrm>
            <a:off x="542112" y="2009684"/>
            <a:ext cx="1596106" cy="6439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t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17" name="Google Shape;2661;p50">
            <a:extLst>
              <a:ext uri="{FF2B5EF4-FFF2-40B4-BE49-F238E27FC236}">
                <a16:creationId xmlns:a16="http://schemas.microsoft.com/office/drawing/2014/main" id="{23FF2FCA-CE3D-F91D-92F4-69CB82330E4B}"/>
              </a:ext>
            </a:extLst>
          </p:cNvPr>
          <p:cNvSpPr txBox="1"/>
          <p:nvPr/>
        </p:nvSpPr>
        <p:spPr>
          <a:xfrm>
            <a:off x="2526581" y="4830683"/>
            <a:ext cx="1719867" cy="39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b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Title</a:t>
            </a:r>
            <a:endParaRPr sz="1600" b="1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18" name="Google Shape;2662;p50">
            <a:extLst>
              <a:ext uri="{FF2B5EF4-FFF2-40B4-BE49-F238E27FC236}">
                <a16:creationId xmlns:a16="http://schemas.microsoft.com/office/drawing/2014/main" id="{69FAA87B-F32E-29C0-C943-C89F77A3DCF1}"/>
              </a:ext>
            </a:extLst>
          </p:cNvPr>
          <p:cNvSpPr txBox="1"/>
          <p:nvPr/>
        </p:nvSpPr>
        <p:spPr>
          <a:xfrm>
            <a:off x="2337476" y="5268446"/>
            <a:ext cx="1908974" cy="39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t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19" name="Google Shape;2663;p50">
            <a:extLst>
              <a:ext uri="{FF2B5EF4-FFF2-40B4-BE49-F238E27FC236}">
                <a16:creationId xmlns:a16="http://schemas.microsoft.com/office/drawing/2014/main" id="{755A2805-40B8-879B-4CCF-6E2E36B77D6A}"/>
              </a:ext>
            </a:extLst>
          </p:cNvPr>
          <p:cNvSpPr txBox="1"/>
          <p:nvPr/>
        </p:nvSpPr>
        <p:spPr>
          <a:xfrm>
            <a:off x="4856781" y="1571920"/>
            <a:ext cx="1719867" cy="39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b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Title</a:t>
            </a:r>
          </a:p>
        </p:txBody>
      </p:sp>
      <p:sp>
        <p:nvSpPr>
          <p:cNvPr id="20" name="Google Shape;2664;p50">
            <a:extLst>
              <a:ext uri="{FF2B5EF4-FFF2-40B4-BE49-F238E27FC236}">
                <a16:creationId xmlns:a16="http://schemas.microsoft.com/office/drawing/2014/main" id="{6F47A440-76E4-4420-4A16-788FEF4E0B12}"/>
              </a:ext>
            </a:extLst>
          </p:cNvPr>
          <p:cNvSpPr txBox="1"/>
          <p:nvPr/>
        </p:nvSpPr>
        <p:spPr>
          <a:xfrm>
            <a:off x="4667676" y="2009685"/>
            <a:ext cx="1908974" cy="39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t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21" name="Google Shape;2665;p50">
            <a:extLst>
              <a:ext uri="{FF2B5EF4-FFF2-40B4-BE49-F238E27FC236}">
                <a16:creationId xmlns:a16="http://schemas.microsoft.com/office/drawing/2014/main" id="{A377B519-868A-5BD6-5AED-8DCBE1876835}"/>
              </a:ext>
            </a:extLst>
          </p:cNvPr>
          <p:cNvSpPr txBox="1"/>
          <p:nvPr/>
        </p:nvSpPr>
        <p:spPr>
          <a:xfrm>
            <a:off x="7045780" y="4830683"/>
            <a:ext cx="1719867" cy="39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b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Title</a:t>
            </a:r>
            <a:endParaRPr sz="1600" b="1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22" name="Google Shape;2666;p50">
            <a:extLst>
              <a:ext uri="{FF2B5EF4-FFF2-40B4-BE49-F238E27FC236}">
                <a16:creationId xmlns:a16="http://schemas.microsoft.com/office/drawing/2014/main" id="{356D4E0A-54E7-E029-C283-884A536ED9BF}"/>
              </a:ext>
            </a:extLst>
          </p:cNvPr>
          <p:cNvSpPr txBox="1"/>
          <p:nvPr/>
        </p:nvSpPr>
        <p:spPr>
          <a:xfrm>
            <a:off x="6856671" y="5268446"/>
            <a:ext cx="1908974" cy="39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t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23" name="Google Shape;2667;p50">
            <a:extLst>
              <a:ext uri="{FF2B5EF4-FFF2-40B4-BE49-F238E27FC236}">
                <a16:creationId xmlns:a16="http://schemas.microsoft.com/office/drawing/2014/main" id="{099D22AD-A97C-297F-EA16-D22FC18288CA}"/>
              </a:ext>
            </a:extLst>
          </p:cNvPr>
          <p:cNvSpPr txBox="1"/>
          <p:nvPr/>
        </p:nvSpPr>
        <p:spPr>
          <a:xfrm>
            <a:off x="9272223" y="1571920"/>
            <a:ext cx="1719867" cy="39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b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Title</a:t>
            </a:r>
          </a:p>
        </p:txBody>
      </p:sp>
      <p:sp>
        <p:nvSpPr>
          <p:cNvPr id="24" name="Google Shape;2668;p50">
            <a:extLst>
              <a:ext uri="{FF2B5EF4-FFF2-40B4-BE49-F238E27FC236}">
                <a16:creationId xmlns:a16="http://schemas.microsoft.com/office/drawing/2014/main" id="{09EFD6CF-DF36-698E-45B4-68C02480EBE9}"/>
              </a:ext>
            </a:extLst>
          </p:cNvPr>
          <p:cNvSpPr txBox="1"/>
          <p:nvPr/>
        </p:nvSpPr>
        <p:spPr>
          <a:xfrm>
            <a:off x="9083121" y="2009685"/>
            <a:ext cx="1908974" cy="39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t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45EE8D29-2A43-4734-DB3E-74AC80EC0AB7}"/>
              </a:ext>
            </a:extLst>
          </p:cNvPr>
          <p:cNvCxnSpPr/>
          <p:nvPr/>
        </p:nvCxnSpPr>
        <p:spPr>
          <a:xfrm flipV="1">
            <a:off x="2178721" y="1480422"/>
            <a:ext cx="0" cy="1661306"/>
          </a:xfrm>
          <a:prstGeom prst="line">
            <a:avLst/>
          </a:prstGeom>
          <a:ln w="571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1705200D-B854-748F-1F5B-81487B340001}"/>
              </a:ext>
            </a:extLst>
          </p:cNvPr>
          <p:cNvCxnSpPr/>
          <p:nvPr/>
        </p:nvCxnSpPr>
        <p:spPr>
          <a:xfrm flipV="1">
            <a:off x="4422451" y="4095579"/>
            <a:ext cx="0" cy="1661306"/>
          </a:xfrm>
          <a:prstGeom prst="line">
            <a:avLst/>
          </a:prstGeom>
          <a:ln w="571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578D1E66-8144-C9D5-27E7-5674A7AFEAD4}"/>
              </a:ext>
            </a:extLst>
          </p:cNvPr>
          <p:cNvCxnSpPr/>
          <p:nvPr/>
        </p:nvCxnSpPr>
        <p:spPr>
          <a:xfrm flipV="1">
            <a:off x="8909912" y="4095579"/>
            <a:ext cx="0" cy="1661306"/>
          </a:xfrm>
          <a:prstGeom prst="line">
            <a:avLst/>
          </a:prstGeom>
          <a:ln w="571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74BF91B4-80CA-3741-CBB7-8E31F28ADA54}"/>
              </a:ext>
            </a:extLst>
          </p:cNvPr>
          <p:cNvCxnSpPr/>
          <p:nvPr/>
        </p:nvCxnSpPr>
        <p:spPr>
          <a:xfrm flipV="1">
            <a:off x="6666182" y="1480422"/>
            <a:ext cx="0" cy="1661306"/>
          </a:xfrm>
          <a:prstGeom prst="line">
            <a:avLst/>
          </a:prstGeom>
          <a:ln w="571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4E0AD1D9-6777-6B45-077A-149ADB683121}"/>
              </a:ext>
            </a:extLst>
          </p:cNvPr>
          <p:cNvCxnSpPr/>
          <p:nvPr/>
        </p:nvCxnSpPr>
        <p:spPr>
          <a:xfrm flipV="1">
            <a:off x="11153645" y="1480422"/>
            <a:ext cx="0" cy="1661306"/>
          </a:xfrm>
          <a:prstGeom prst="line">
            <a:avLst/>
          </a:prstGeom>
          <a:ln w="571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80739126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B96B16-2FA3-C45B-3505-315834C49F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5787BCAF-B30C-3838-B9F3-6C8F376892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787BCAF-B30C-3838-B9F3-6C8F376892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307B8CE-34E3-B259-68C1-FC7A91D1C2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imeline 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1A714A2D-91AC-143A-802D-BC380E0C42AD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64</a:t>
            </a:fld>
            <a:endParaRPr lang="en-US" sz="1200" dirty="0">
              <a:solidFill>
                <a:schemeClr val="bg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4BE91B38-0170-9959-9FCC-B6F07CA9A22E}"/>
              </a:ext>
            </a:extLst>
          </p:cNvPr>
          <p:cNvGrpSpPr/>
          <p:nvPr/>
        </p:nvGrpSpPr>
        <p:grpSpPr>
          <a:xfrm>
            <a:off x="630475" y="1612401"/>
            <a:ext cx="11173261" cy="2880664"/>
            <a:chOff x="775503" y="2359745"/>
            <a:chExt cx="10806896" cy="2786209"/>
          </a:xfrm>
        </p:grpSpPr>
        <p:cxnSp>
          <p:nvCxnSpPr>
            <p:cNvPr id="25" name="Shape0_20210830_121341">
              <a:extLst>
                <a:ext uri="{FF2B5EF4-FFF2-40B4-BE49-F238E27FC236}">
                  <a16:creationId xmlns:a16="http://schemas.microsoft.com/office/drawing/2014/main" id="{5EE68E56-6650-6FCF-611E-057E69F44216}"/>
                </a:ext>
              </a:extLst>
            </p:cNvPr>
            <p:cNvCxnSpPr>
              <a:cxnSpLocks/>
            </p:cNvCxnSpPr>
            <p:nvPr/>
          </p:nvCxnSpPr>
          <p:spPr>
            <a:xfrm>
              <a:off x="775503" y="4327739"/>
              <a:ext cx="1386157" cy="0"/>
            </a:xfrm>
            <a:prstGeom prst="straightConnector1">
              <a:avLst/>
            </a:prstGeom>
            <a:noFill/>
            <a:ln w="25400" cap="flat" cmpd="sng">
              <a:solidFill>
                <a:schemeClr val="accent6"/>
              </a:solidFill>
              <a:prstDash val="solid"/>
              <a:miter lim="800000"/>
              <a:headEnd type="oval" w="med" len="med"/>
              <a:tailEnd type="none" w="sm" len="sm"/>
            </a:ln>
          </p:spPr>
        </p:cxnSp>
        <p:cxnSp>
          <p:nvCxnSpPr>
            <p:cNvPr id="26" name="Shape1_20210830_121341">
              <a:extLst>
                <a:ext uri="{FF2B5EF4-FFF2-40B4-BE49-F238E27FC236}">
                  <a16:creationId xmlns:a16="http://schemas.microsoft.com/office/drawing/2014/main" id="{28E7A6F0-2D30-B071-5605-492BC2691CBE}"/>
                </a:ext>
              </a:extLst>
            </p:cNvPr>
            <p:cNvCxnSpPr/>
            <p:nvPr/>
          </p:nvCxnSpPr>
          <p:spPr>
            <a:xfrm>
              <a:off x="2161660" y="2512959"/>
              <a:ext cx="0" cy="1814783"/>
            </a:xfrm>
            <a:prstGeom prst="straightConnector1">
              <a:avLst/>
            </a:prstGeom>
            <a:noFill/>
            <a:ln w="25400" cap="flat" cmpd="sng">
              <a:solidFill>
                <a:schemeClr val="accent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7" name="Shape2_20210830_121341">
              <a:extLst>
                <a:ext uri="{FF2B5EF4-FFF2-40B4-BE49-F238E27FC236}">
                  <a16:creationId xmlns:a16="http://schemas.microsoft.com/office/drawing/2014/main" id="{03DABE5E-2B1F-762B-CD16-ECBD907BC013}"/>
                </a:ext>
              </a:extLst>
            </p:cNvPr>
            <p:cNvCxnSpPr/>
            <p:nvPr/>
          </p:nvCxnSpPr>
          <p:spPr>
            <a:xfrm>
              <a:off x="2149220" y="2512957"/>
              <a:ext cx="1287589" cy="0"/>
            </a:xfrm>
            <a:prstGeom prst="straightConnector1">
              <a:avLst/>
            </a:prstGeom>
            <a:noFill/>
            <a:ln w="25400" cap="flat" cmpd="sng">
              <a:solidFill>
                <a:schemeClr val="accent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8" name="Shape3_20210830_121341">
              <a:extLst>
                <a:ext uri="{FF2B5EF4-FFF2-40B4-BE49-F238E27FC236}">
                  <a16:creationId xmlns:a16="http://schemas.microsoft.com/office/drawing/2014/main" id="{106E105D-0345-BF43-6A47-839CDB97B130}"/>
                </a:ext>
              </a:extLst>
            </p:cNvPr>
            <p:cNvCxnSpPr/>
            <p:nvPr/>
          </p:nvCxnSpPr>
          <p:spPr>
            <a:xfrm>
              <a:off x="3425472" y="2512957"/>
              <a:ext cx="0" cy="1611577"/>
            </a:xfrm>
            <a:prstGeom prst="straightConnector1">
              <a:avLst/>
            </a:prstGeom>
            <a:noFill/>
            <a:ln w="25400" cap="flat" cmpd="sng">
              <a:solidFill>
                <a:schemeClr val="accent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9" name="Shape4_20210830_121341">
              <a:extLst>
                <a:ext uri="{FF2B5EF4-FFF2-40B4-BE49-F238E27FC236}">
                  <a16:creationId xmlns:a16="http://schemas.microsoft.com/office/drawing/2014/main" id="{B9ECDEA2-53DB-CBD3-4E2B-19B766B85F0D}"/>
                </a:ext>
              </a:extLst>
            </p:cNvPr>
            <p:cNvCxnSpPr/>
            <p:nvPr/>
          </p:nvCxnSpPr>
          <p:spPr>
            <a:xfrm>
              <a:off x="3423227" y="4125951"/>
              <a:ext cx="1745649" cy="0"/>
            </a:xfrm>
            <a:prstGeom prst="straightConnector1">
              <a:avLst/>
            </a:prstGeom>
            <a:noFill/>
            <a:ln w="25400" cap="flat" cmpd="sng">
              <a:solidFill>
                <a:schemeClr val="accent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" name="Shape5_20210830_121341">
              <a:extLst>
                <a:ext uri="{FF2B5EF4-FFF2-40B4-BE49-F238E27FC236}">
                  <a16:creationId xmlns:a16="http://schemas.microsoft.com/office/drawing/2014/main" id="{A8946204-DC1E-EB96-F737-DCC95093AA3F}"/>
                </a:ext>
              </a:extLst>
            </p:cNvPr>
            <p:cNvCxnSpPr/>
            <p:nvPr/>
          </p:nvCxnSpPr>
          <p:spPr>
            <a:xfrm>
              <a:off x="5170722" y="4124534"/>
              <a:ext cx="0" cy="1021420"/>
            </a:xfrm>
            <a:prstGeom prst="straightConnector1">
              <a:avLst/>
            </a:prstGeom>
            <a:noFill/>
            <a:ln w="25400" cap="flat" cmpd="sng">
              <a:solidFill>
                <a:schemeClr val="accent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1" name="Shape6_20210830_121341">
              <a:extLst>
                <a:ext uri="{FF2B5EF4-FFF2-40B4-BE49-F238E27FC236}">
                  <a16:creationId xmlns:a16="http://schemas.microsoft.com/office/drawing/2014/main" id="{99D233DA-3F2F-76AD-A4F2-0ACFA7D40FAC}"/>
                </a:ext>
              </a:extLst>
            </p:cNvPr>
            <p:cNvCxnSpPr/>
            <p:nvPr/>
          </p:nvCxnSpPr>
          <p:spPr>
            <a:xfrm>
              <a:off x="5159734" y="5145954"/>
              <a:ext cx="1288312" cy="0"/>
            </a:xfrm>
            <a:prstGeom prst="straightConnector1">
              <a:avLst/>
            </a:prstGeom>
            <a:noFill/>
            <a:ln w="25400" cap="flat" cmpd="sng">
              <a:solidFill>
                <a:schemeClr val="accent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2" name="Shape7_20210830_121341">
              <a:extLst>
                <a:ext uri="{FF2B5EF4-FFF2-40B4-BE49-F238E27FC236}">
                  <a16:creationId xmlns:a16="http://schemas.microsoft.com/office/drawing/2014/main" id="{8040E029-68DB-99DD-9477-65ACB9B70FE9}"/>
                </a:ext>
              </a:extLst>
            </p:cNvPr>
            <p:cNvCxnSpPr/>
            <p:nvPr/>
          </p:nvCxnSpPr>
          <p:spPr>
            <a:xfrm>
              <a:off x="6438375" y="2359745"/>
              <a:ext cx="0" cy="2786209"/>
            </a:xfrm>
            <a:prstGeom prst="straightConnector1">
              <a:avLst/>
            </a:prstGeom>
            <a:noFill/>
            <a:ln w="25400" cap="flat" cmpd="sng">
              <a:solidFill>
                <a:schemeClr val="accent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3" name="Shape8_20210830_121341">
              <a:extLst>
                <a:ext uri="{FF2B5EF4-FFF2-40B4-BE49-F238E27FC236}">
                  <a16:creationId xmlns:a16="http://schemas.microsoft.com/office/drawing/2014/main" id="{1058407A-A3A7-FE34-93D8-B22D02B1D75F}"/>
                </a:ext>
              </a:extLst>
            </p:cNvPr>
            <p:cNvCxnSpPr/>
            <p:nvPr/>
          </p:nvCxnSpPr>
          <p:spPr>
            <a:xfrm>
              <a:off x="6431515" y="2364265"/>
              <a:ext cx="2409556" cy="0"/>
            </a:xfrm>
            <a:prstGeom prst="straightConnector1">
              <a:avLst/>
            </a:prstGeom>
            <a:noFill/>
            <a:ln w="25400" cap="flat" cmpd="sng">
              <a:solidFill>
                <a:schemeClr val="accent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4" name="Shape9_20210830_121341">
              <a:extLst>
                <a:ext uri="{FF2B5EF4-FFF2-40B4-BE49-F238E27FC236}">
                  <a16:creationId xmlns:a16="http://schemas.microsoft.com/office/drawing/2014/main" id="{F1E74953-6537-CABF-6850-071778C55D9A}"/>
                </a:ext>
              </a:extLst>
            </p:cNvPr>
            <p:cNvCxnSpPr/>
            <p:nvPr/>
          </p:nvCxnSpPr>
          <p:spPr>
            <a:xfrm>
              <a:off x="8841071" y="2359745"/>
              <a:ext cx="0" cy="1838557"/>
            </a:xfrm>
            <a:prstGeom prst="straightConnector1">
              <a:avLst/>
            </a:prstGeom>
            <a:noFill/>
            <a:ln w="25400" cap="flat" cmpd="sng">
              <a:solidFill>
                <a:schemeClr val="accent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5" name="Shape10_20210830_121341">
              <a:extLst>
                <a:ext uri="{FF2B5EF4-FFF2-40B4-BE49-F238E27FC236}">
                  <a16:creationId xmlns:a16="http://schemas.microsoft.com/office/drawing/2014/main" id="{E75A4ACC-BDCE-B7B8-E3AC-E60E7088B09A}"/>
                </a:ext>
              </a:extLst>
            </p:cNvPr>
            <p:cNvCxnSpPr/>
            <p:nvPr/>
          </p:nvCxnSpPr>
          <p:spPr>
            <a:xfrm>
              <a:off x="8829641" y="4198302"/>
              <a:ext cx="2752758" cy="0"/>
            </a:xfrm>
            <a:prstGeom prst="straightConnector1">
              <a:avLst/>
            </a:prstGeom>
            <a:noFill/>
            <a:ln w="25400" cap="flat" cmpd="sng">
              <a:solidFill>
                <a:schemeClr val="accent6"/>
              </a:solidFill>
              <a:prstDash val="solid"/>
              <a:miter lim="800000"/>
              <a:headEnd type="none" w="sm" len="sm"/>
              <a:tailEnd type="triangle" w="med" len="med"/>
            </a:ln>
          </p:spPr>
        </p:cxnSp>
      </p:grpSp>
      <p:sp>
        <p:nvSpPr>
          <p:cNvPr id="36" name="Shape1_20220429_085826">
            <a:extLst>
              <a:ext uri="{FF2B5EF4-FFF2-40B4-BE49-F238E27FC236}">
                <a16:creationId xmlns:a16="http://schemas.microsoft.com/office/drawing/2014/main" id="{D26CF7E2-7FD2-AAFF-F34F-B69E862D2FE0}"/>
              </a:ext>
            </a:extLst>
          </p:cNvPr>
          <p:cNvSpPr/>
          <p:nvPr/>
        </p:nvSpPr>
        <p:spPr>
          <a:xfrm>
            <a:off x="1810753" y="3340141"/>
            <a:ext cx="574426" cy="57442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1600" b="1" dirty="0">
                <a:solidFill>
                  <a:schemeClr val="bg1"/>
                </a:solidFill>
                <a:cs typeface="Arial" panose="020B0604020202020204" pitchFamily="34" charset="0"/>
              </a:rPr>
              <a:t>01</a:t>
            </a:r>
            <a:endParaRPr sz="1600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37" name="Shape2_20220429_085826">
            <a:extLst>
              <a:ext uri="{FF2B5EF4-FFF2-40B4-BE49-F238E27FC236}">
                <a16:creationId xmlns:a16="http://schemas.microsoft.com/office/drawing/2014/main" id="{3FE78CAE-9925-A5A1-D09E-BCC591DA8630}"/>
              </a:ext>
            </a:extLst>
          </p:cNvPr>
          <p:cNvSpPr/>
          <p:nvPr/>
        </p:nvSpPr>
        <p:spPr>
          <a:xfrm>
            <a:off x="9840971" y="3257322"/>
            <a:ext cx="574426" cy="574426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sz="1600" b="1" dirty="0">
                <a:solidFill>
                  <a:schemeClr val="bg1"/>
                </a:solidFill>
                <a:cs typeface="Arial" panose="020B0604020202020204" pitchFamily="34" charset="0"/>
              </a:rPr>
              <a:t>04</a:t>
            </a:r>
            <a:endParaRPr sz="1600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38" name="Shape1_20220106_095932">
            <a:extLst>
              <a:ext uri="{FF2B5EF4-FFF2-40B4-BE49-F238E27FC236}">
                <a16:creationId xmlns:a16="http://schemas.microsoft.com/office/drawing/2014/main" id="{CCA5C0B1-E42B-BBD1-FFAF-8163CC889415}"/>
              </a:ext>
            </a:extLst>
          </p:cNvPr>
          <p:cNvSpPr txBox="1"/>
          <p:nvPr/>
        </p:nvSpPr>
        <p:spPr>
          <a:xfrm>
            <a:off x="1375455" y="4070769"/>
            <a:ext cx="144501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39" name="Shape0_20220429_085826">
            <a:extLst>
              <a:ext uri="{FF2B5EF4-FFF2-40B4-BE49-F238E27FC236}">
                <a16:creationId xmlns:a16="http://schemas.microsoft.com/office/drawing/2014/main" id="{4BEAF39C-B777-042E-C320-B1EF53DD5E41}"/>
              </a:ext>
            </a:extLst>
          </p:cNvPr>
          <p:cNvSpPr/>
          <p:nvPr/>
        </p:nvSpPr>
        <p:spPr>
          <a:xfrm>
            <a:off x="4004690" y="3149807"/>
            <a:ext cx="574426" cy="57442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1600" b="1" dirty="0">
                <a:solidFill>
                  <a:schemeClr val="bg1"/>
                </a:solidFill>
                <a:cs typeface="Arial" panose="020B0604020202020204" pitchFamily="34" charset="0"/>
              </a:rPr>
              <a:t>02</a:t>
            </a:r>
            <a:endParaRPr sz="1600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40" name="Shape2_20220106_095932">
            <a:extLst>
              <a:ext uri="{FF2B5EF4-FFF2-40B4-BE49-F238E27FC236}">
                <a16:creationId xmlns:a16="http://schemas.microsoft.com/office/drawing/2014/main" id="{E106FE77-10AD-43F5-ADED-43A0F49C0A81}"/>
              </a:ext>
            </a:extLst>
          </p:cNvPr>
          <p:cNvSpPr txBox="1"/>
          <p:nvPr/>
        </p:nvSpPr>
        <p:spPr>
          <a:xfrm>
            <a:off x="3569393" y="2790976"/>
            <a:ext cx="144501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41" name="Shape3_20220429_085826">
            <a:extLst>
              <a:ext uri="{FF2B5EF4-FFF2-40B4-BE49-F238E27FC236}">
                <a16:creationId xmlns:a16="http://schemas.microsoft.com/office/drawing/2014/main" id="{441652B9-F0FB-4A26-9DB7-4E143D17C7B9}"/>
              </a:ext>
            </a:extLst>
          </p:cNvPr>
          <p:cNvSpPr/>
          <p:nvPr/>
        </p:nvSpPr>
        <p:spPr>
          <a:xfrm>
            <a:off x="6191854" y="2764855"/>
            <a:ext cx="574426" cy="574426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1600" b="1" dirty="0">
                <a:solidFill>
                  <a:schemeClr val="bg1"/>
                </a:solidFill>
                <a:cs typeface="Arial" panose="020B0604020202020204" pitchFamily="34" charset="0"/>
              </a:rPr>
              <a:t>03</a:t>
            </a:r>
            <a:endParaRPr sz="1600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42" name="Shape3_20220106_095932">
            <a:extLst>
              <a:ext uri="{FF2B5EF4-FFF2-40B4-BE49-F238E27FC236}">
                <a16:creationId xmlns:a16="http://schemas.microsoft.com/office/drawing/2014/main" id="{59DE89FE-D9D7-8E76-DC73-ED5E777DC951}"/>
              </a:ext>
            </a:extLst>
          </p:cNvPr>
          <p:cNvSpPr txBox="1"/>
          <p:nvPr/>
        </p:nvSpPr>
        <p:spPr>
          <a:xfrm>
            <a:off x="6993619" y="2958565"/>
            <a:ext cx="144501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43" name="Shape0_20220106_095932">
            <a:extLst>
              <a:ext uri="{FF2B5EF4-FFF2-40B4-BE49-F238E27FC236}">
                <a16:creationId xmlns:a16="http://schemas.microsoft.com/office/drawing/2014/main" id="{2343567D-4DF8-9A45-C633-21E9DDE8A91A}"/>
              </a:ext>
            </a:extLst>
          </p:cNvPr>
          <p:cNvSpPr txBox="1"/>
          <p:nvPr/>
        </p:nvSpPr>
        <p:spPr>
          <a:xfrm>
            <a:off x="9405675" y="2889851"/>
            <a:ext cx="144501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00392064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ECAF138-F68E-E600-050C-1C94D74D7F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F5A1C969-12DA-6A29-17BD-1D3BE8630DC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5A1C969-12DA-6A29-17BD-1D3BE8630D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01ED908-914A-058B-0782-5EAB93B55D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imeline 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9F06E8CC-D85C-72EB-559F-0D6B8DDFE0C5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65</a:t>
            </a:fld>
            <a:endParaRPr lang="en-US" sz="1200" dirty="0">
              <a:solidFill>
                <a:schemeClr val="bg1"/>
              </a:solidFill>
            </a:endParaRPr>
          </a:p>
        </p:txBody>
      </p:sp>
      <p:cxnSp>
        <p:nvCxnSpPr>
          <p:cNvPr id="6" name="Google Shape;2810;p56">
            <a:extLst>
              <a:ext uri="{FF2B5EF4-FFF2-40B4-BE49-F238E27FC236}">
                <a16:creationId xmlns:a16="http://schemas.microsoft.com/office/drawing/2014/main" id="{9F234AC3-8C55-3DCB-CAA8-B49D1BEFD9C1}"/>
              </a:ext>
            </a:extLst>
          </p:cNvPr>
          <p:cNvCxnSpPr>
            <a:cxnSpLocks/>
          </p:cNvCxnSpPr>
          <p:nvPr/>
        </p:nvCxnSpPr>
        <p:spPr>
          <a:xfrm>
            <a:off x="919992" y="3243607"/>
            <a:ext cx="10342325" cy="0"/>
          </a:xfrm>
          <a:prstGeom prst="straightConnector1">
            <a:avLst/>
          </a:prstGeom>
          <a:noFill/>
          <a:ln w="28575" cap="flat" cmpd="sng">
            <a:solidFill>
              <a:schemeClr val="bg2"/>
            </a:solidFill>
            <a:prstDash val="solid"/>
            <a:miter lim="800000"/>
            <a:headEnd type="none" w="lg" len="lg"/>
            <a:tailEnd type="triangle" w="lg" len="lg"/>
          </a:ln>
        </p:spPr>
      </p:cxnSp>
      <p:sp>
        <p:nvSpPr>
          <p:cNvPr id="7" name="Shape0_20210617_132804">
            <a:extLst>
              <a:ext uri="{FF2B5EF4-FFF2-40B4-BE49-F238E27FC236}">
                <a16:creationId xmlns:a16="http://schemas.microsoft.com/office/drawing/2014/main" id="{7D68C71C-8F31-6BFC-4638-FE06E12609E2}"/>
              </a:ext>
            </a:extLst>
          </p:cNvPr>
          <p:cNvSpPr/>
          <p:nvPr/>
        </p:nvSpPr>
        <p:spPr>
          <a:xfrm>
            <a:off x="1710156" y="3105546"/>
            <a:ext cx="276130" cy="276130"/>
          </a:xfrm>
          <a:prstGeom prst="ellipse">
            <a:avLst/>
          </a:prstGeom>
          <a:solidFill>
            <a:srgbClr val="FFFFFF"/>
          </a:solidFill>
          <a:ln w="2857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2800" dirty="0">
              <a:solidFill>
                <a:schemeClr val="lt1"/>
              </a:solidFill>
              <a:cs typeface="Arial" panose="020B0604020202020204" pitchFamily="34" charset="0"/>
            </a:endParaRPr>
          </a:p>
        </p:txBody>
      </p:sp>
      <p:sp>
        <p:nvSpPr>
          <p:cNvPr id="8" name="Shape1_20211015_163756">
            <a:extLst>
              <a:ext uri="{FF2B5EF4-FFF2-40B4-BE49-F238E27FC236}">
                <a16:creationId xmlns:a16="http://schemas.microsoft.com/office/drawing/2014/main" id="{D072337E-F76B-9547-DDB1-66A5E865ECE7}"/>
              </a:ext>
            </a:extLst>
          </p:cNvPr>
          <p:cNvSpPr/>
          <p:nvPr/>
        </p:nvSpPr>
        <p:spPr>
          <a:xfrm>
            <a:off x="4515384" y="3105546"/>
            <a:ext cx="276130" cy="276130"/>
          </a:xfrm>
          <a:prstGeom prst="ellipse">
            <a:avLst/>
          </a:prstGeom>
          <a:solidFill>
            <a:srgbClr val="FFFFFF"/>
          </a:solidFill>
          <a:ln w="2857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2800" dirty="0">
              <a:solidFill>
                <a:schemeClr val="lt1"/>
              </a:solidFill>
              <a:cs typeface="Arial" panose="020B0604020202020204" pitchFamily="34" charset="0"/>
            </a:endParaRPr>
          </a:p>
        </p:txBody>
      </p:sp>
      <p:sp>
        <p:nvSpPr>
          <p:cNvPr id="9" name="Shape2_20210617_132804">
            <a:extLst>
              <a:ext uri="{FF2B5EF4-FFF2-40B4-BE49-F238E27FC236}">
                <a16:creationId xmlns:a16="http://schemas.microsoft.com/office/drawing/2014/main" id="{BCB65080-C6BB-7806-9F53-48874A526D5C}"/>
              </a:ext>
            </a:extLst>
          </p:cNvPr>
          <p:cNvSpPr/>
          <p:nvPr/>
        </p:nvSpPr>
        <p:spPr>
          <a:xfrm>
            <a:off x="7320612" y="3105546"/>
            <a:ext cx="276130" cy="276130"/>
          </a:xfrm>
          <a:prstGeom prst="ellipse">
            <a:avLst/>
          </a:prstGeom>
          <a:solidFill>
            <a:srgbClr val="FFFFFF"/>
          </a:solidFill>
          <a:ln w="28575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2800" dirty="0">
              <a:solidFill>
                <a:schemeClr val="lt1"/>
              </a:solidFill>
              <a:cs typeface="Arial" panose="020B0604020202020204" pitchFamily="34" charset="0"/>
            </a:endParaRPr>
          </a:p>
        </p:txBody>
      </p:sp>
      <p:sp>
        <p:nvSpPr>
          <p:cNvPr id="10" name="Shape3_20210617_132804">
            <a:extLst>
              <a:ext uri="{FF2B5EF4-FFF2-40B4-BE49-F238E27FC236}">
                <a16:creationId xmlns:a16="http://schemas.microsoft.com/office/drawing/2014/main" id="{EAADD633-ABA0-2855-89CE-A070E34847DA}"/>
              </a:ext>
            </a:extLst>
          </p:cNvPr>
          <p:cNvSpPr/>
          <p:nvPr/>
        </p:nvSpPr>
        <p:spPr>
          <a:xfrm>
            <a:off x="10125831" y="3105546"/>
            <a:ext cx="276130" cy="276130"/>
          </a:xfrm>
          <a:prstGeom prst="ellipse">
            <a:avLst/>
          </a:prstGeom>
          <a:solidFill>
            <a:srgbClr val="FFFFFF"/>
          </a:solidFill>
          <a:ln w="2857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2800" dirty="0">
              <a:solidFill>
                <a:schemeClr val="lt1"/>
              </a:solidFill>
              <a:cs typeface="Arial" panose="020B0604020202020204" pitchFamily="34" charset="0"/>
            </a:endParaRPr>
          </a:p>
        </p:txBody>
      </p:sp>
      <p:sp>
        <p:nvSpPr>
          <p:cNvPr id="23" name="Shape0_20210617_132800">
            <a:extLst>
              <a:ext uri="{FF2B5EF4-FFF2-40B4-BE49-F238E27FC236}">
                <a16:creationId xmlns:a16="http://schemas.microsoft.com/office/drawing/2014/main" id="{4CD841D4-7271-2FA3-8E2E-6E0CA4CDDD96}"/>
              </a:ext>
            </a:extLst>
          </p:cNvPr>
          <p:cNvSpPr/>
          <p:nvPr/>
        </p:nvSpPr>
        <p:spPr>
          <a:xfrm>
            <a:off x="1062613" y="4532644"/>
            <a:ext cx="1571221" cy="679571"/>
          </a:xfrm>
          <a:prstGeom prst="rect">
            <a:avLst/>
          </a:prstGeom>
          <a:solidFill>
            <a:schemeClr val="accent1"/>
          </a:solidFill>
          <a:ln w="12700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rgbClr val="FFFFFF"/>
                </a:solidFill>
                <a:cs typeface="Arial" panose="020B0604020202020204" pitchFamily="34" charset="0"/>
              </a:rPr>
              <a:t>Title</a:t>
            </a:r>
            <a:endParaRPr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24" name="Shape0_20211015_163756">
            <a:extLst>
              <a:ext uri="{FF2B5EF4-FFF2-40B4-BE49-F238E27FC236}">
                <a16:creationId xmlns:a16="http://schemas.microsoft.com/office/drawing/2014/main" id="{A5AAED66-A688-8EE3-9E94-B6AB60B730C3}"/>
              </a:ext>
            </a:extLst>
          </p:cNvPr>
          <p:cNvSpPr/>
          <p:nvPr/>
        </p:nvSpPr>
        <p:spPr>
          <a:xfrm>
            <a:off x="3867835" y="1375920"/>
            <a:ext cx="1571221" cy="679571"/>
          </a:xfrm>
          <a:prstGeom prst="rect">
            <a:avLst/>
          </a:prstGeom>
          <a:solidFill>
            <a:schemeClr val="accent2"/>
          </a:solidFill>
          <a:ln w="12700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rgbClr val="FFFFFF"/>
                </a:solidFill>
                <a:cs typeface="Arial" panose="020B0604020202020204" pitchFamily="34" charset="0"/>
              </a:rPr>
              <a:t>Title</a:t>
            </a:r>
            <a:endParaRPr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4" name="Shape2_20210617_132800">
            <a:extLst>
              <a:ext uri="{FF2B5EF4-FFF2-40B4-BE49-F238E27FC236}">
                <a16:creationId xmlns:a16="http://schemas.microsoft.com/office/drawing/2014/main" id="{3F6A36F5-917C-FCFE-9C83-34AE1FF670AD}"/>
              </a:ext>
            </a:extLst>
          </p:cNvPr>
          <p:cNvSpPr/>
          <p:nvPr/>
        </p:nvSpPr>
        <p:spPr>
          <a:xfrm>
            <a:off x="6673061" y="4532644"/>
            <a:ext cx="1571221" cy="679571"/>
          </a:xfrm>
          <a:prstGeom prst="rect">
            <a:avLst/>
          </a:prstGeom>
          <a:solidFill>
            <a:schemeClr val="accent3"/>
          </a:solidFill>
          <a:ln w="12700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rgbClr val="FFFFFF"/>
                </a:solidFill>
                <a:cs typeface="Arial" panose="020B0604020202020204" pitchFamily="34" charset="0"/>
              </a:rPr>
              <a:t>Title</a:t>
            </a:r>
            <a:endParaRPr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5" name="Shape3_20210617_132800">
            <a:extLst>
              <a:ext uri="{FF2B5EF4-FFF2-40B4-BE49-F238E27FC236}">
                <a16:creationId xmlns:a16="http://schemas.microsoft.com/office/drawing/2014/main" id="{C283174D-10E7-8EE4-2488-5B30409A9702}"/>
              </a:ext>
            </a:extLst>
          </p:cNvPr>
          <p:cNvSpPr/>
          <p:nvPr/>
        </p:nvSpPr>
        <p:spPr>
          <a:xfrm>
            <a:off x="9478281" y="1375920"/>
            <a:ext cx="1571221" cy="679571"/>
          </a:xfrm>
          <a:prstGeom prst="rect">
            <a:avLst/>
          </a:prstGeom>
          <a:solidFill>
            <a:schemeClr val="accent4"/>
          </a:solidFill>
          <a:ln w="12700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rgbClr val="FFFFFF"/>
                </a:solidFill>
                <a:cs typeface="Arial" panose="020B0604020202020204" pitchFamily="34" charset="0"/>
              </a:rPr>
              <a:t>Title</a:t>
            </a:r>
            <a:endParaRPr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cxnSp>
        <p:nvCxnSpPr>
          <p:cNvPr id="46" name="Google Shape;2838;p56">
            <a:extLst>
              <a:ext uri="{FF2B5EF4-FFF2-40B4-BE49-F238E27FC236}">
                <a16:creationId xmlns:a16="http://schemas.microsoft.com/office/drawing/2014/main" id="{D8D6C052-9E8F-B3EE-0EDC-D9EEA495D1CC}"/>
              </a:ext>
            </a:extLst>
          </p:cNvPr>
          <p:cNvCxnSpPr>
            <a:stCxn id="10" idx="0"/>
          </p:cNvCxnSpPr>
          <p:nvPr/>
        </p:nvCxnSpPr>
        <p:spPr>
          <a:xfrm rot="10800000">
            <a:off x="10263893" y="2055425"/>
            <a:ext cx="0" cy="1050122"/>
          </a:xfrm>
          <a:prstGeom prst="straightConnector1">
            <a:avLst/>
          </a:prstGeom>
          <a:noFill/>
          <a:ln w="9525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47" name="Google Shape;2839;p56">
            <a:extLst>
              <a:ext uri="{FF2B5EF4-FFF2-40B4-BE49-F238E27FC236}">
                <a16:creationId xmlns:a16="http://schemas.microsoft.com/office/drawing/2014/main" id="{65E5ABB4-B492-CE8A-048A-76EAE8F38545}"/>
              </a:ext>
            </a:extLst>
          </p:cNvPr>
          <p:cNvCxnSpPr>
            <a:endCxn id="9" idx="4"/>
          </p:cNvCxnSpPr>
          <p:nvPr/>
        </p:nvCxnSpPr>
        <p:spPr>
          <a:xfrm flipV="1">
            <a:off x="7458672" y="3381677"/>
            <a:ext cx="0" cy="1150967"/>
          </a:xfrm>
          <a:prstGeom prst="straightConnector1">
            <a:avLst/>
          </a:prstGeom>
          <a:noFill/>
          <a:ln w="9525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48" name="Shape2_20211015_163756">
            <a:extLst>
              <a:ext uri="{FF2B5EF4-FFF2-40B4-BE49-F238E27FC236}">
                <a16:creationId xmlns:a16="http://schemas.microsoft.com/office/drawing/2014/main" id="{14992BC3-5DC2-CF89-7022-2FB7B18DFE13}"/>
              </a:ext>
            </a:extLst>
          </p:cNvPr>
          <p:cNvCxnSpPr>
            <a:cxnSpLocks/>
            <a:stCxn id="8" idx="0"/>
          </p:cNvCxnSpPr>
          <p:nvPr/>
        </p:nvCxnSpPr>
        <p:spPr>
          <a:xfrm flipV="1">
            <a:off x="4653446" y="2055487"/>
            <a:ext cx="0" cy="1050062"/>
          </a:xfrm>
          <a:prstGeom prst="straightConnector1">
            <a:avLst/>
          </a:prstGeom>
          <a:noFill/>
          <a:ln w="9525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49" name="Google Shape;2841;p56">
            <a:extLst>
              <a:ext uri="{FF2B5EF4-FFF2-40B4-BE49-F238E27FC236}">
                <a16:creationId xmlns:a16="http://schemas.microsoft.com/office/drawing/2014/main" id="{5FE26449-F36F-5130-8648-EE5FD38B400D}"/>
              </a:ext>
            </a:extLst>
          </p:cNvPr>
          <p:cNvCxnSpPr>
            <a:endCxn id="7" idx="4"/>
          </p:cNvCxnSpPr>
          <p:nvPr/>
        </p:nvCxnSpPr>
        <p:spPr>
          <a:xfrm rot="10800000">
            <a:off x="1848221" y="3381654"/>
            <a:ext cx="0" cy="1150988"/>
          </a:xfrm>
          <a:prstGeom prst="straightConnector1">
            <a:avLst/>
          </a:prstGeom>
          <a:noFill/>
          <a:ln w="9525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0" name="Google Shape;2842;p56">
            <a:extLst>
              <a:ext uri="{FF2B5EF4-FFF2-40B4-BE49-F238E27FC236}">
                <a16:creationId xmlns:a16="http://schemas.microsoft.com/office/drawing/2014/main" id="{E404D0E1-001B-873E-2BFC-82377606DE22}"/>
              </a:ext>
            </a:extLst>
          </p:cNvPr>
          <p:cNvSpPr txBox="1"/>
          <p:nvPr/>
        </p:nvSpPr>
        <p:spPr>
          <a:xfrm>
            <a:off x="1101759" y="2366189"/>
            <a:ext cx="1476517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  <a:endParaRPr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51" name="Google Shape;2843;p56">
            <a:extLst>
              <a:ext uri="{FF2B5EF4-FFF2-40B4-BE49-F238E27FC236}">
                <a16:creationId xmlns:a16="http://schemas.microsoft.com/office/drawing/2014/main" id="{98A3CF9E-5DD6-81DC-CDBC-14A382163991}"/>
              </a:ext>
            </a:extLst>
          </p:cNvPr>
          <p:cNvSpPr txBox="1"/>
          <p:nvPr/>
        </p:nvSpPr>
        <p:spPr>
          <a:xfrm>
            <a:off x="3922222" y="3542964"/>
            <a:ext cx="1476517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  <a:endParaRPr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52" name="Google Shape;2844;p56">
            <a:extLst>
              <a:ext uri="{FF2B5EF4-FFF2-40B4-BE49-F238E27FC236}">
                <a16:creationId xmlns:a16="http://schemas.microsoft.com/office/drawing/2014/main" id="{BD307964-60CE-5102-AA0B-7F55C3457AC2}"/>
              </a:ext>
            </a:extLst>
          </p:cNvPr>
          <p:cNvSpPr txBox="1"/>
          <p:nvPr/>
        </p:nvSpPr>
        <p:spPr>
          <a:xfrm>
            <a:off x="6712206" y="2366189"/>
            <a:ext cx="1476517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  <a:endParaRPr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53" name="Google Shape;2845;p56">
            <a:extLst>
              <a:ext uri="{FF2B5EF4-FFF2-40B4-BE49-F238E27FC236}">
                <a16:creationId xmlns:a16="http://schemas.microsoft.com/office/drawing/2014/main" id="{0B656CA2-CBE6-2B4A-5695-B19F1622AA27}"/>
              </a:ext>
            </a:extLst>
          </p:cNvPr>
          <p:cNvSpPr txBox="1"/>
          <p:nvPr/>
        </p:nvSpPr>
        <p:spPr>
          <a:xfrm>
            <a:off x="9535614" y="3542964"/>
            <a:ext cx="1476517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  <a:endParaRPr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8156460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C5DCCC-3413-EBF7-D0C2-BC85FA672B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C0C03ACE-14ED-634E-094F-26B7A484C4B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0C03ACE-14ED-634E-094F-26B7A484C4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4CB0515-08D4-EF9C-B163-67DDE96780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hecklist 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FFCA20AE-C9BE-E849-3F0D-03B1F0DDB343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66</a:t>
            </a:fld>
            <a:endParaRPr lang="en-US" sz="1200" dirty="0">
              <a:solidFill>
                <a:schemeClr val="bg1"/>
              </a:solidFill>
            </a:endParaRPr>
          </a:p>
        </p:txBody>
      </p:sp>
      <p:cxnSp>
        <p:nvCxnSpPr>
          <p:cNvPr id="5" name="Shape0_20220715_092402">
            <a:extLst>
              <a:ext uri="{FF2B5EF4-FFF2-40B4-BE49-F238E27FC236}">
                <a16:creationId xmlns:a16="http://schemas.microsoft.com/office/drawing/2014/main" id="{5AAD5C51-82D2-ACEA-3EDE-125EDAF58183}"/>
              </a:ext>
            </a:extLst>
          </p:cNvPr>
          <p:cNvCxnSpPr>
            <a:cxnSpLocks/>
          </p:cNvCxnSpPr>
          <p:nvPr/>
        </p:nvCxnSpPr>
        <p:spPr>
          <a:xfrm>
            <a:off x="605969" y="2304743"/>
            <a:ext cx="11157242" cy="0"/>
          </a:xfrm>
          <a:prstGeom prst="straightConnector1">
            <a:avLst/>
          </a:prstGeom>
          <a:ln w="12700">
            <a:solidFill>
              <a:schemeClr val="accent6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hape1_20220715_092402">
            <a:extLst>
              <a:ext uri="{FF2B5EF4-FFF2-40B4-BE49-F238E27FC236}">
                <a16:creationId xmlns:a16="http://schemas.microsoft.com/office/drawing/2014/main" id="{2C265A7D-3667-3EA7-C056-B6B00F9F568F}"/>
              </a:ext>
            </a:extLst>
          </p:cNvPr>
          <p:cNvCxnSpPr>
            <a:cxnSpLocks/>
          </p:cNvCxnSpPr>
          <p:nvPr/>
        </p:nvCxnSpPr>
        <p:spPr>
          <a:xfrm>
            <a:off x="605969" y="3640936"/>
            <a:ext cx="11157242" cy="0"/>
          </a:xfrm>
          <a:prstGeom prst="straightConnector1">
            <a:avLst/>
          </a:prstGeom>
          <a:ln w="12700">
            <a:solidFill>
              <a:schemeClr val="accent6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hape2_20220715_092402">
            <a:extLst>
              <a:ext uri="{FF2B5EF4-FFF2-40B4-BE49-F238E27FC236}">
                <a16:creationId xmlns:a16="http://schemas.microsoft.com/office/drawing/2014/main" id="{BD9C2C2D-BB1E-9DA9-1541-4C98AE6BFF5D}"/>
              </a:ext>
            </a:extLst>
          </p:cNvPr>
          <p:cNvCxnSpPr>
            <a:cxnSpLocks/>
          </p:cNvCxnSpPr>
          <p:nvPr/>
        </p:nvCxnSpPr>
        <p:spPr>
          <a:xfrm>
            <a:off x="605969" y="4977130"/>
            <a:ext cx="11157242" cy="0"/>
          </a:xfrm>
          <a:prstGeom prst="straightConnector1">
            <a:avLst/>
          </a:prstGeom>
          <a:ln w="12700">
            <a:solidFill>
              <a:schemeClr val="accent6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Google Shape;243;p38">
            <a:extLst>
              <a:ext uri="{FF2B5EF4-FFF2-40B4-BE49-F238E27FC236}">
                <a16:creationId xmlns:a16="http://schemas.microsoft.com/office/drawing/2014/main" id="{C44C7F79-AEE7-7E4A-2BD4-F0E89C436184}"/>
              </a:ext>
            </a:extLst>
          </p:cNvPr>
          <p:cNvSpPr>
            <a:spLocks/>
          </p:cNvSpPr>
          <p:nvPr/>
        </p:nvSpPr>
        <p:spPr>
          <a:xfrm>
            <a:off x="1272887" y="1500016"/>
            <a:ext cx="8170608" cy="25195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US" sz="2000" dirty="0">
                <a:solidFill>
                  <a:schemeClr val="tx1"/>
                </a:solidFill>
              </a:rPr>
              <a:t>Insert Text Here</a:t>
            </a:r>
          </a:p>
        </p:txBody>
      </p:sp>
      <p:sp>
        <p:nvSpPr>
          <p:cNvPr id="9" name="Google Shape;245;p38">
            <a:extLst>
              <a:ext uri="{FF2B5EF4-FFF2-40B4-BE49-F238E27FC236}">
                <a16:creationId xmlns:a16="http://schemas.microsoft.com/office/drawing/2014/main" id="{DE2D6D93-936D-6A83-4026-91B9A561EA4B}"/>
              </a:ext>
            </a:extLst>
          </p:cNvPr>
          <p:cNvSpPr/>
          <p:nvPr/>
        </p:nvSpPr>
        <p:spPr>
          <a:xfrm rot="5400000" flipH="1">
            <a:off x="610836" y="1348780"/>
            <a:ext cx="566000" cy="575734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>
              <a:buClr>
                <a:schemeClr val="lt1"/>
              </a:buClr>
              <a:buSzPts val="2400"/>
            </a:pPr>
            <a:endParaRPr sz="3200" dirty="0">
              <a:solidFill>
                <a:srgbClr val="FFFFFF"/>
              </a:solidFill>
              <a:ea typeface="Verdana"/>
              <a:cs typeface="Verdana"/>
              <a:sym typeface="Verdana"/>
            </a:endParaRPr>
          </a:p>
        </p:txBody>
      </p:sp>
      <p:sp>
        <p:nvSpPr>
          <p:cNvPr id="12" name="Google Shape;249;p38">
            <a:extLst>
              <a:ext uri="{FF2B5EF4-FFF2-40B4-BE49-F238E27FC236}">
                <a16:creationId xmlns:a16="http://schemas.microsoft.com/office/drawing/2014/main" id="{1F1A3CE5-C66D-6680-67D4-E09B975A5BEF}"/>
              </a:ext>
            </a:extLst>
          </p:cNvPr>
          <p:cNvSpPr>
            <a:spLocks/>
          </p:cNvSpPr>
          <p:nvPr/>
        </p:nvSpPr>
        <p:spPr>
          <a:xfrm>
            <a:off x="1272887" y="2846863"/>
            <a:ext cx="8170608" cy="25195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US" sz="2000" dirty="0">
                <a:solidFill>
                  <a:schemeClr val="tx1"/>
                </a:solidFill>
              </a:rPr>
              <a:t>Insert Text Here</a:t>
            </a:r>
          </a:p>
        </p:txBody>
      </p:sp>
      <p:sp>
        <p:nvSpPr>
          <p:cNvPr id="13" name="Google Shape;245;p38">
            <a:extLst>
              <a:ext uri="{FF2B5EF4-FFF2-40B4-BE49-F238E27FC236}">
                <a16:creationId xmlns:a16="http://schemas.microsoft.com/office/drawing/2014/main" id="{F93EA55A-1075-44E1-3D8D-5203378C2C05}"/>
              </a:ext>
            </a:extLst>
          </p:cNvPr>
          <p:cNvSpPr/>
          <p:nvPr/>
        </p:nvSpPr>
        <p:spPr>
          <a:xfrm rot="5400000" flipH="1">
            <a:off x="610836" y="2684972"/>
            <a:ext cx="566000" cy="575734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>
              <a:buClr>
                <a:schemeClr val="lt1"/>
              </a:buClr>
              <a:buSzPts val="2400"/>
            </a:pPr>
            <a:endParaRPr sz="3200" dirty="0">
              <a:solidFill>
                <a:srgbClr val="FFFFFF"/>
              </a:solidFill>
              <a:ea typeface="Verdana"/>
              <a:cs typeface="Verdana"/>
              <a:sym typeface="Verdana"/>
            </a:endParaRPr>
          </a:p>
        </p:txBody>
      </p:sp>
      <p:sp>
        <p:nvSpPr>
          <p:cNvPr id="15" name="Google Shape;252;p38">
            <a:extLst>
              <a:ext uri="{FF2B5EF4-FFF2-40B4-BE49-F238E27FC236}">
                <a16:creationId xmlns:a16="http://schemas.microsoft.com/office/drawing/2014/main" id="{D54EE1A2-8CD9-E888-627C-818FD2699C5E}"/>
              </a:ext>
            </a:extLst>
          </p:cNvPr>
          <p:cNvSpPr>
            <a:spLocks/>
          </p:cNvSpPr>
          <p:nvPr/>
        </p:nvSpPr>
        <p:spPr>
          <a:xfrm>
            <a:off x="1272887" y="4183054"/>
            <a:ext cx="8170608" cy="25195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US" sz="2000" dirty="0">
                <a:solidFill>
                  <a:schemeClr val="tx1"/>
                </a:solidFill>
              </a:rPr>
              <a:t>Insert Text Here</a:t>
            </a:r>
          </a:p>
        </p:txBody>
      </p:sp>
      <p:sp>
        <p:nvSpPr>
          <p:cNvPr id="16" name="Google Shape;245;p38">
            <a:extLst>
              <a:ext uri="{FF2B5EF4-FFF2-40B4-BE49-F238E27FC236}">
                <a16:creationId xmlns:a16="http://schemas.microsoft.com/office/drawing/2014/main" id="{70A48C71-B389-9AC8-0EBD-930CC318120A}"/>
              </a:ext>
            </a:extLst>
          </p:cNvPr>
          <p:cNvSpPr/>
          <p:nvPr/>
        </p:nvSpPr>
        <p:spPr>
          <a:xfrm rot="5400000" flipH="1">
            <a:off x="610836" y="4021165"/>
            <a:ext cx="566000" cy="575734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>
              <a:buClr>
                <a:schemeClr val="lt1"/>
              </a:buClr>
              <a:buSzPts val="2400"/>
            </a:pPr>
            <a:endParaRPr sz="3200" dirty="0">
              <a:solidFill>
                <a:srgbClr val="FFFFFF"/>
              </a:solidFill>
              <a:ea typeface="Verdana"/>
              <a:cs typeface="Verdana"/>
              <a:sym typeface="Verdana"/>
            </a:endParaRPr>
          </a:p>
        </p:txBody>
      </p:sp>
      <p:sp>
        <p:nvSpPr>
          <p:cNvPr id="18" name="Google Shape;252;p38">
            <a:extLst>
              <a:ext uri="{FF2B5EF4-FFF2-40B4-BE49-F238E27FC236}">
                <a16:creationId xmlns:a16="http://schemas.microsoft.com/office/drawing/2014/main" id="{87E97E5A-F07D-C015-27F7-6FD207240534}"/>
              </a:ext>
            </a:extLst>
          </p:cNvPr>
          <p:cNvSpPr>
            <a:spLocks/>
          </p:cNvSpPr>
          <p:nvPr/>
        </p:nvSpPr>
        <p:spPr>
          <a:xfrm>
            <a:off x="1272887" y="5519251"/>
            <a:ext cx="8170608" cy="25195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US" sz="2000">
                <a:solidFill>
                  <a:schemeClr val="tx1"/>
                </a:solidFill>
              </a:rPr>
              <a:t>Insert Text Here</a:t>
            </a: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19" name="Google Shape;245;p38">
            <a:extLst>
              <a:ext uri="{FF2B5EF4-FFF2-40B4-BE49-F238E27FC236}">
                <a16:creationId xmlns:a16="http://schemas.microsoft.com/office/drawing/2014/main" id="{A1334EC1-FCC7-AA09-C672-E11D1B636998}"/>
              </a:ext>
            </a:extLst>
          </p:cNvPr>
          <p:cNvSpPr/>
          <p:nvPr/>
        </p:nvSpPr>
        <p:spPr>
          <a:xfrm rot="5400000" flipH="1">
            <a:off x="610836" y="5357361"/>
            <a:ext cx="566000" cy="575734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>
              <a:buClr>
                <a:schemeClr val="lt1"/>
              </a:buClr>
              <a:buSzPts val="2400"/>
            </a:pPr>
            <a:endParaRPr sz="3200" dirty="0">
              <a:solidFill>
                <a:srgbClr val="FFFFFF"/>
              </a:solidFill>
              <a:ea typeface="Verdana"/>
              <a:cs typeface="Verdana"/>
              <a:sym typeface="Verdana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25F4AAD-6238-EDE7-8998-5D5F42FE6BCA}"/>
              </a:ext>
            </a:extLst>
          </p:cNvPr>
          <p:cNvSpPr txBox="1">
            <a:spLocks/>
          </p:cNvSpPr>
          <p:nvPr/>
        </p:nvSpPr>
        <p:spPr>
          <a:xfrm>
            <a:off x="698803" y="1488332"/>
            <a:ext cx="390069" cy="307777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1478"/>
              </a:spcBef>
              <a:spcAft>
                <a:spcPts val="658"/>
              </a:spcAft>
              <a:buSzPct val="100000"/>
            </a:pPr>
            <a:r>
              <a:rPr lang="en-US" sz="2000" b="1" dirty="0">
                <a:solidFill>
                  <a:schemeClr val="bg1"/>
                </a:solidFill>
              </a:rPr>
              <a:t>01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6E8C7DB-600D-AC14-2965-70E1C7EF14E8}"/>
              </a:ext>
            </a:extLst>
          </p:cNvPr>
          <p:cNvSpPr txBox="1">
            <a:spLocks/>
          </p:cNvSpPr>
          <p:nvPr/>
        </p:nvSpPr>
        <p:spPr>
          <a:xfrm>
            <a:off x="698803" y="2824524"/>
            <a:ext cx="390069" cy="307777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1478"/>
              </a:spcBef>
              <a:spcAft>
                <a:spcPts val="658"/>
              </a:spcAft>
              <a:buSzPct val="100000"/>
            </a:pPr>
            <a:r>
              <a:rPr lang="en-US" sz="2000" b="1" dirty="0">
                <a:solidFill>
                  <a:schemeClr val="bg1"/>
                </a:solidFill>
              </a:rPr>
              <a:t>02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8A6660F-4A95-DD09-E28B-85D76E156696}"/>
              </a:ext>
            </a:extLst>
          </p:cNvPr>
          <p:cNvSpPr txBox="1">
            <a:spLocks/>
          </p:cNvSpPr>
          <p:nvPr/>
        </p:nvSpPr>
        <p:spPr>
          <a:xfrm>
            <a:off x="698803" y="4160717"/>
            <a:ext cx="390069" cy="307777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1478"/>
              </a:spcBef>
              <a:spcAft>
                <a:spcPts val="658"/>
              </a:spcAft>
              <a:buSzPct val="100000"/>
            </a:pPr>
            <a:r>
              <a:rPr lang="en-US" sz="2000" b="1" dirty="0">
                <a:solidFill>
                  <a:schemeClr val="bg1"/>
                </a:solidFill>
              </a:rPr>
              <a:t>03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2E4837B-70AB-BA5E-12D3-0DCA157174B0}"/>
              </a:ext>
            </a:extLst>
          </p:cNvPr>
          <p:cNvSpPr txBox="1">
            <a:spLocks/>
          </p:cNvSpPr>
          <p:nvPr/>
        </p:nvSpPr>
        <p:spPr>
          <a:xfrm>
            <a:off x="698803" y="5496913"/>
            <a:ext cx="390069" cy="307777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1478"/>
              </a:spcBef>
              <a:spcAft>
                <a:spcPts val="658"/>
              </a:spcAft>
              <a:buSzPct val="100000"/>
            </a:pPr>
            <a:r>
              <a:rPr lang="en-US" sz="2000" b="1" dirty="0">
                <a:solidFill>
                  <a:schemeClr val="bg1"/>
                </a:solidFill>
              </a:rPr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2996918420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9FF67B-E08E-0132-8736-CFD365939A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34678766-1337-DADA-582E-57C1B072F04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25" imgH="426" progId="TCLayout.ActiveDocument.1">
                  <p:embed/>
                </p:oleObj>
              </mc:Choice>
              <mc:Fallback>
                <p:oleObj name="think-cell Slide" r:id="rId8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4678766-1337-DADA-582E-57C1B072F0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99E4D21-D3E7-56C3-A632-B9B99A511F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hecklist 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BA31E055-1EA1-B369-1414-0E31A4DE8145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67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D436D95-8235-4E06-03C2-5FD206C0A4BE}"/>
              </a:ext>
            </a:extLst>
          </p:cNvPr>
          <p:cNvSpPr/>
          <p:nvPr/>
        </p:nvSpPr>
        <p:spPr>
          <a:xfrm rot="16200000">
            <a:off x="515922" y="1602711"/>
            <a:ext cx="871501" cy="184610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501427">
              <a:defRPr/>
            </a:pPr>
            <a:endParaRPr lang="en-IN" b="1" dirty="0" err="1">
              <a:solidFill>
                <a:srgbClr val="20A7E0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C02E831-A11D-7AD4-F913-4DC9AE6FA4D7}"/>
              </a:ext>
            </a:extLst>
          </p:cNvPr>
          <p:cNvSpPr>
            <a:spLocks noChangeArrowheads="1"/>
          </p:cNvSpPr>
          <p:nvPr/>
        </p:nvSpPr>
        <p:spPr bwMode="gray">
          <a:xfrm>
            <a:off x="1223401" y="1743158"/>
            <a:ext cx="9289084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11" lvl="1" defTabSz="1469990" eaLnBrk="0" hangingPunct="0">
              <a:buClr>
                <a:srgbClr val="44546A"/>
              </a:buClr>
              <a:buSzPct val="120000"/>
              <a:defRPr/>
            </a:pPr>
            <a:r>
              <a:rPr lang="en-US" sz="1600" dirty="0">
                <a:cs typeface="Arial" charset="0"/>
              </a:rPr>
              <a:t>Insert Text Her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8F1820B-9107-147D-1B38-603F1EAFC8AC}"/>
              </a:ext>
            </a:extLst>
          </p:cNvPr>
          <p:cNvSpPr>
            <a:spLocks noChangeArrowheads="1"/>
          </p:cNvSpPr>
          <p:nvPr/>
        </p:nvSpPr>
        <p:spPr bwMode="gray">
          <a:xfrm>
            <a:off x="1223401" y="1405461"/>
            <a:ext cx="9289084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11" lvl="1" defTabSz="1469990" eaLnBrk="0" hangingPunct="0">
              <a:buClr>
                <a:srgbClr val="44546A"/>
              </a:buClr>
              <a:buSzPct val="120000"/>
              <a:defRPr/>
            </a:pPr>
            <a:r>
              <a:rPr lang="en-US" sz="1600" b="1" dirty="0">
                <a:cs typeface="Arial" charset="0"/>
              </a:rPr>
              <a:t>Title</a:t>
            </a:r>
          </a:p>
        </p:txBody>
      </p:sp>
      <p:cxnSp>
        <p:nvCxnSpPr>
          <p:cNvPr id="8" name="Shape0_20220715_093113">
            <a:extLst>
              <a:ext uri="{FF2B5EF4-FFF2-40B4-BE49-F238E27FC236}">
                <a16:creationId xmlns:a16="http://schemas.microsoft.com/office/drawing/2014/main" id="{CCEE79DB-919B-424F-DBDB-F32BC31506DE}"/>
              </a:ext>
            </a:extLst>
          </p:cNvPr>
          <p:cNvCxnSpPr>
            <a:cxnSpLocks/>
            <a:endCxn id="10" idx="2"/>
          </p:cNvCxnSpPr>
          <p:nvPr/>
        </p:nvCxnSpPr>
        <p:spPr>
          <a:xfrm>
            <a:off x="1108052" y="1690537"/>
            <a:ext cx="9705352" cy="4478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val 8">
            <a:extLst>
              <a:ext uri="{FF2B5EF4-FFF2-40B4-BE49-F238E27FC236}">
                <a16:creationId xmlns:a16="http://schemas.microsoft.com/office/drawing/2014/main" id="{4A6B937C-5549-29EB-9715-21D819C1AF7A}"/>
              </a:ext>
            </a:extLst>
          </p:cNvPr>
          <p:cNvSpPr/>
          <p:nvPr/>
        </p:nvSpPr>
        <p:spPr>
          <a:xfrm>
            <a:off x="793808" y="1532676"/>
            <a:ext cx="315733" cy="315733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501427">
              <a:defRPr/>
            </a:pPr>
            <a:r>
              <a:rPr lang="en-IN" sz="1600" dirty="0">
                <a:solidFill>
                  <a:schemeClr val="tx1">
                    <a:lumMod val="100000"/>
                  </a:schemeClr>
                </a:solidFill>
              </a:rPr>
              <a:t>1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F9D8903B-FDBE-FE7A-7E41-C1F8C2F636EE}"/>
              </a:ext>
            </a:extLst>
          </p:cNvPr>
          <p:cNvSpPr/>
          <p:nvPr/>
        </p:nvSpPr>
        <p:spPr>
          <a:xfrm>
            <a:off x="10813404" y="1402620"/>
            <a:ext cx="584789" cy="58478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IN" sz="2400">
              <a:solidFill>
                <a:srgbClr val="FFFFFF"/>
              </a:solidFill>
            </a:endParaRPr>
          </a:p>
        </p:txBody>
      </p:sp>
      <p:sp>
        <p:nvSpPr>
          <p:cNvPr id="11" name="WordArt 5">
            <a:extLst>
              <a:ext uri="{FF2B5EF4-FFF2-40B4-BE49-F238E27FC236}">
                <a16:creationId xmlns:a16="http://schemas.microsoft.com/office/drawing/2014/main" id="{EF5A2F31-0EF7-86E7-0ABD-BC9F28B1AD8B}"/>
              </a:ext>
            </a:extLst>
          </p:cNvPr>
          <p:cNvSpPr>
            <a:spLocks noChangeArrowheads="1" noChangeShapeType="1" noTextEdit="1"/>
          </p:cNvSpPr>
          <p:nvPr>
            <p:custDataLst>
              <p:tags r:id="rId2"/>
            </p:custDataLst>
          </p:nvPr>
        </p:nvSpPr>
        <p:spPr bwMode="gray">
          <a:xfrm>
            <a:off x="10972624" y="1558042"/>
            <a:ext cx="266341" cy="273949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/>
              </a14:hiddenEffects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>
              <a:defRPr/>
            </a:pPr>
            <a:r>
              <a:rPr lang="en-US" sz="2600" kern="10" dirty="0">
                <a:solidFill>
                  <a:srgbClr val="FFFFFF"/>
                </a:solidFill>
                <a:latin typeface="Arial" panose="020B0604020202020204" pitchFamily="34" charset="0"/>
              </a:rPr>
              <a:t>✓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9FF47BC-9980-E760-9F69-17AF5A4FE0BF}"/>
              </a:ext>
            </a:extLst>
          </p:cNvPr>
          <p:cNvSpPr>
            <a:spLocks noChangeArrowheads="1"/>
          </p:cNvSpPr>
          <p:nvPr/>
        </p:nvSpPr>
        <p:spPr bwMode="gray">
          <a:xfrm>
            <a:off x="1227598" y="2620312"/>
            <a:ext cx="9289084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11" lvl="1" defTabSz="1469990" eaLnBrk="0" hangingPunct="0">
              <a:buClr>
                <a:srgbClr val="44546A"/>
              </a:buClr>
              <a:buSzPct val="120000"/>
              <a:defRPr/>
            </a:pPr>
            <a:r>
              <a:rPr lang="en-US" sz="1600" dirty="0">
                <a:cs typeface="Arial" charset="0"/>
              </a:rPr>
              <a:t>Insert Text Her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EA0033F-1408-116B-2B4F-479E2E212F90}"/>
              </a:ext>
            </a:extLst>
          </p:cNvPr>
          <p:cNvSpPr>
            <a:spLocks noChangeArrowheads="1"/>
          </p:cNvSpPr>
          <p:nvPr/>
        </p:nvSpPr>
        <p:spPr bwMode="gray">
          <a:xfrm>
            <a:off x="1227598" y="2270413"/>
            <a:ext cx="9289084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11" lvl="1" defTabSz="1469990" eaLnBrk="0" hangingPunct="0">
              <a:buClr>
                <a:srgbClr val="44546A"/>
              </a:buClr>
              <a:buSzPct val="120000"/>
              <a:defRPr/>
            </a:pPr>
            <a:r>
              <a:rPr lang="en-US" sz="1600" b="1" dirty="0">
                <a:cs typeface="Arial" charset="0"/>
              </a:rPr>
              <a:t>Title</a:t>
            </a:r>
          </a:p>
        </p:txBody>
      </p:sp>
      <p:cxnSp>
        <p:nvCxnSpPr>
          <p:cNvPr id="14" name="Shape1_20220715_093113">
            <a:extLst>
              <a:ext uri="{FF2B5EF4-FFF2-40B4-BE49-F238E27FC236}">
                <a16:creationId xmlns:a16="http://schemas.microsoft.com/office/drawing/2014/main" id="{26526D25-AB5C-AAA4-59B2-FD47AB15213D}"/>
              </a:ext>
            </a:extLst>
          </p:cNvPr>
          <p:cNvCxnSpPr>
            <a:cxnSpLocks/>
            <a:endCxn id="17" idx="2"/>
          </p:cNvCxnSpPr>
          <p:nvPr/>
        </p:nvCxnSpPr>
        <p:spPr>
          <a:xfrm>
            <a:off x="1112155" y="2564333"/>
            <a:ext cx="9701249" cy="1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id="{0862A260-A431-DCD1-3F7A-26AED09396E2}"/>
              </a:ext>
            </a:extLst>
          </p:cNvPr>
          <p:cNvSpPr/>
          <p:nvPr/>
        </p:nvSpPr>
        <p:spPr>
          <a:xfrm rot="16200000">
            <a:off x="515923" y="2472033"/>
            <a:ext cx="871497" cy="184610"/>
          </a:xfrm>
          <a:prstGeom prst="rect">
            <a:avLst/>
          </a:prstGeom>
          <a:solidFill>
            <a:schemeClr val="accent2"/>
          </a:solidFill>
          <a:ln cap="sq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501427">
              <a:defRPr/>
            </a:pPr>
            <a:endParaRPr lang="en-IN" dirty="0" err="1">
              <a:solidFill>
                <a:srgbClr val="FFFFFF"/>
              </a:solidFill>
            </a:endParaRPr>
          </a:p>
        </p:txBody>
      </p:sp>
      <p:sp>
        <p:nvSpPr>
          <p:cNvPr id="16" name="Shape1_20220715_093109">
            <a:extLst>
              <a:ext uri="{FF2B5EF4-FFF2-40B4-BE49-F238E27FC236}">
                <a16:creationId xmlns:a16="http://schemas.microsoft.com/office/drawing/2014/main" id="{54B13854-71F8-4D6D-E4EC-C7776A5E590A}"/>
              </a:ext>
            </a:extLst>
          </p:cNvPr>
          <p:cNvSpPr/>
          <p:nvPr/>
        </p:nvSpPr>
        <p:spPr>
          <a:xfrm>
            <a:off x="793808" y="2406473"/>
            <a:ext cx="315733" cy="315733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501427">
              <a:defRPr/>
            </a:pPr>
            <a:r>
              <a:rPr lang="en-IN" sz="1600" dirty="0">
                <a:solidFill>
                  <a:schemeClr val="tx1">
                    <a:lumMod val="100000"/>
                  </a:schemeClr>
                </a:solidFill>
              </a:rPr>
              <a:t>2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277028A6-9C60-9525-9635-968E8B626C7A}"/>
              </a:ext>
            </a:extLst>
          </p:cNvPr>
          <p:cNvSpPr/>
          <p:nvPr/>
        </p:nvSpPr>
        <p:spPr>
          <a:xfrm>
            <a:off x="10813404" y="2271939"/>
            <a:ext cx="584789" cy="58478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IN" sz="2400">
              <a:solidFill>
                <a:srgbClr val="FFFFFF"/>
              </a:solidFill>
            </a:endParaRPr>
          </a:p>
        </p:txBody>
      </p:sp>
      <p:sp>
        <p:nvSpPr>
          <p:cNvPr id="18" name="WordArt 5">
            <a:extLst>
              <a:ext uri="{FF2B5EF4-FFF2-40B4-BE49-F238E27FC236}">
                <a16:creationId xmlns:a16="http://schemas.microsoft.com/office/drawing/2014/main" id="{B8972227-E424-44F7-1B3B-9D67C7B80A76}"/>
              </a:ext>
            </a:extLst>
          </p:cNvPr>
          <p:cNvSpPr>
            <a:spLocks noChangeArrowheads="1" noChangeShapeType="1" noTextEdit="1"/>
          </p:cNvSpPr>
          <p:nvPr>
            <p:custDataLst>
              <p:tags r:id="rId3"/>
            </p:custDataLst>
          </p:nvPr>
        </p:nvSpPr>
        <p:spPr bwMode="gray">
          <a:xfrm>
            <a:off x="10972624" y="2427362"/>
            <a:ext cx="266341" cy="273949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/>
              </a14:hiddenEffects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>
              <a:defRPr/>
            </a:pPr>
            <a:r>
              <a:rPr lang="en-US" sz="2600" kern="10" dirty="0">
                <a:solidFill>
                  <a:srgbClr val="FFFFFF"/>
                </a:solidFill>
                <a:latin typeface="Arial" panose="020B0604020202020204" pitchFamily="34" charset="0"/>
              </a:rPr>
              <a:t>✓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91C5282-679B-2A84-EAB2-9A2F8BAE36D7}"/>
              </a:ext>
            </a:extLst>
          </p:cNvPr>
          <p:cNvSpPr>
            <a:spLocks noChangeArrowheads="1"/>
          </p:cNvSpPr>
          <p:nvPr/>
        </p:nvSpPr>
        <p:spPr bwMode="gray">
          <a:xfrm>
            <a:off x="1223401" y="3486469"/>
            <a:ext cx="9289084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11" lvl="1" defTabSz="1469990" eaLnBrk="0" hangingPunct="0">
              <a:buClr>
                <a:srgbClr val="44546A"/>
              </a:buClr>
              <a:buSzPct val="120000"/>
              <a:defRPr/>
            </a:pPr>
            <a:r>
              <a:rPr lang="en-US" sz="1600" dirty="0">
                <a:cs typeface="Arial" charset="0"/>
              </a:rPr>
              <a:t>Insert Text Her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F9402B3-9EAD-7B59-F441-649BE58CD3CB}"/>
              </a:ext>
            </a:extLst>
          </p:cNvPr>
          <p:cNvSpPr>
            <a:spLocks noChangeArrowheads="1"/>
          </p:cNvSpPr>
          <p:nvPr/>
        </p:nvSpPr>
        <p:spPr bwMode="gray">
          <a:xfrm>
            <a:off x="1223401" y="3135906"/>
            <a:ext cx="9289084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11" lvl="1" defTabSz="1469990" eaLnBrk="0" hangingPunct="0">
              <a:buClr>
                <a:srgbClr val="44546A"/>
              </a:buClr>
              <a:buSzPct val="120000"/>
              <a:defRPr/>
            </a:pPr>
            <a:r>
              <a:rPr lang="en-US" sz="1600" b="1" dirty="0">
                <a:cs typeface="Arial" charset="0"/>
              </a:rPr>
              <a:t>Title</a:t>
            </a:r>
          </a:p>
        </p:txBody>
      </p:sp>
      <p:cxnSp>
        <p:nvCxnSpPr>
          <p:cNvPr id="21" name="Shape2_20220715_093113">
            <a:extLst>
              <a:ext uri="{FF2B5EF4-FFF2-40B4-BE49-F238E27FC236}">
                <a16:creationId xmlns:a16="http://schemas.microsoft.com/office/drawing/2014/main" id="{0AFDA408-FE12-160C-57F8-299BB6BC6B99}"/>
              </a:ext>
            </a:extLst>
          </p:cNvPr>
          <p:cNvCxnSpPr>
            <a:cxnSpLocks/>
            <a:endCxn id="24" idx="2"/>
          </p:cNvCxnSpPr>
          <p:nvPr/>
        </p:nvCxnSpPr>
        <p:spPr>
          <a:xfrm>
            <a:off x="1108052" y="3427278"/>
            <a:ext cx="9705352" cy="3526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1195596F-39B0-98A3-FE08-F8DC0E843714}"/>
              </a:ext>
            </a:extLst>
          </p:cNvPr>
          <p:cNvSpPr/>
          <p:nvPr/>
        </p:nvSpPr>
        <p:spPr>
          <a:xfrm rot="16200000">
            <a:off x="515923" y="3339453"/>
            <a:ext cx="871497" cy="184610"/>
          </a:xfrm>
          <a:prstGeom prst="rect">
            <a:avLst/>
          </a:prstGeom>
          <a:solidFill>
            <a:schemeClr val="accent3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501427">
              <a:defRPr/>
            </a:pPr>
            <a:endParaRPr lang="en-IN" b="1" dirty="0" err="1">
              <a:solidFill>
                <a:srgbClr val="000000"/>
              </a:solidFill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91DEB5C9-39D2-A3C3-D827-F37B932E9654}"/>
              </a:ext>
            </a:extLst>
          </p:cNvPr>
          <p:cNvSpPr/>
          <p:nvPr/>
        </p:nvSpPr>
        <p:spPr>
          <a:xfrm>
            <a:off x="793808" y="3269415"/>
            <a:ext cx="315733" cy="315733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501427">
              <a:defRPr/>
            </a:pPr>
            <a:r>
              <a:rPr lang="en-IN" sz="1600" dirty="0">
                <a:solidFill>
                  <a:schemeClr val="tx1">
                    <a:lumMod val="100000"/>
                  </a:schemeClr>
                </a:solidFill>
              </a:rPr>
              <a:t>3</a:t>
            </a: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A90CA4C6-677E-5A18-6F84-F258431A3792}"/>
              </a:ext>
            </a:extLst>
          </p:cNvPr>
          <p:cNvSpPr/>
          <p:nvPr/>
        </p:nvSpPr>
        <p:spPr>
          <a:xfrm>
            <a:off x="10813404" y="3138410"/>
            <a:ext cx="584789" cy="58478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IN" sz="2400">
              <a:solidFill>
                <a:srgbClr val="FFFFFF"/>
              </a:solidFill>
            </a:endParaRPr>
          </a:p>
        </p:txBody>
      </p:sp>
      <p:sp>
        <p:nvSpPr>
          <p:cNvPr id="25" name="WordArt 5">
            <a:extLst>
              <a:ext uri="{FF2B5EF4-FFF2-40B4-BE49-F238E27FC236}">
                <a16:creationId xmlns:a16="http://schemas.microsoft.com/office/drawing/2014/main" id="{2066D9E3-7126-8877-3248-0EB6734221E9}"/>
              </a:ext>
            </a:extLst>
          </p:cNvPr>
          <p:cNvSpPr>
            <a:spLocks noChangeArrowheads="1" noChangeShapeType="1" noTextEdit="1"/>
          </p:cNvSpPr>
          <p:nvPr>
            <p:custDataLst>
              <p:tags r:id="rId4"/>
            </p:custDataLst>
          </p:nvPr>
        </p:nvSpPr>
        <p:spPr bwMode="gray">
          <a:xfrm>
            <a:off x="10972624" y="3293832"/>
            <a:ext cx="266341" cy="273949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/>
              </a14:hiddenEffects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>
              <a:defRPr/>
            </a:pPr>
            <a:r>
              <a:rPr lang="en-US" sz="2600" kern="10" dirty="0">
                <a:solidFill>
                  <a:srgbClr val="FFFFFF"/>
                </a:solidFill>
                <a:latin typeface="Arial" panose="020B0604020202020204" pitchFamily="34" charset="0"/>
              </a:rPr>
              <a:t>✓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4E21230E-E177-78DF-3EDF-BC9C861196AB}"/>
              </a:ext>
            </a:extLst>
          </p:cNvPr>
          <p:cNvSpPr>
            <a:spLocks noChangeArrowheads="1"/>
          </p:cNvSpPr>
          <p:nvPr/>
        </p:nvSpPr>
        <p:spPr bwMode="gray">
          <a:xfrm>
            <a:off x="1227598" y="4347830"/>
            <a:ext cx="9289084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11" lvl="1" defTabSz="1469990" eaLnBrk="0" hangingPunct="0">
              <a:buClr>
                <a:srgbClr val="44546A"/>
              </a:buClr>
              <a:buSzPct val="120000"/>
              <a:defRPr/>
            </a:pPr>
            <a:r>
              <a:rPr lang="en-US" sz="1600" dirty="0">
                <a:cs typeface="Arial" charset="0"/>
              </a:rPr>
              <a:t>Insert Text Here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E6F2515D-204F-E649-D24E-714FDB56D9AF}"/>
              </a:ext>
            </a:extLst>
          </p:cNvPr>
          <p:cNvSpPr>
            <a:spLocks noChangeArrowheads="1"/>
          </p:cNvSpPr>
          <p:nvPr/>
        </p:nvSpPr>
        <p:spPr bwMode="gray">
          <a:xfrm>
            <a:off x="1227598" y="4012415"/>
            <a:ext cx="9289084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11" lvl="1" defTabSz="1469990" eaLnBrk="0" hangingPunct="0">
              <a:buClr>
                <a:srgbClr val="44546A"/>
              </a:buClr>
              <a:buSzPct val="120000"/>
              <a:defRPr/>
            </a:pPr>
            <a:r>
              <a:rPr lang="en-US" sz="1600" b="1" dirty="0">
                <a:cs typeface="Arial" charset="0"/>
              </a:rPr>
              <a:t>Title</a:t>
            </a:r>
          </a:p>
        </p:txBody>
      </p:sp>
      <p:cxnSp>
        <p:nvCxnSpPr>
          <p:cNvPr id="28" name="Shape3_20220715_093113">
            <a:extLst>
              <a:ext uri="{FF2B5EF4-FFF2-40B4-BE49-F238E27FC236}">
                <a16:creationId xmlns:a16="http://schemas.microsoft.com/office/drawing/2014/main" id="{419D62C8-EB6F-7C1A-BD92-DA884DC7BC09}"/>
              </a:ext>
            </a:extLst>
          </p:cNvPr>
          <p:cNvCxnSpPr>
            <a:cxnSpLocks/>
            <a:endCxn id="31" idx="2"/>
          </p:cNvCxnSpPr>
          <p:nvPr/>
        </p:nvCxnSpPr>
        <p:spPr>
          <a:xfrm flipV="1">
            <a:off x="1112155" y="4300712"/>
            <a:ext cx="9701249" cy="269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28">
            <a:extLst>
              <a:ext uri="{FF2B5EF4-FFF2-40B4-BE49-F238E27FC236}">
                <a16:creationId xmlns:a16="http://schemas.microsoft.com/office/drawing/2014/main" id="{F2DADEF4-B9F9-C7D2-3A5A-E3BF92906FD8}"/>
              </a:ext>
            </a:extLst>
          </p:cNvPr>
          <p:cNvSpPr/>
          <p:nvPr/>
        </p:nvSpPr>
        <p:spPr>
          <a:xfrm rot="16200000">
            <a:off x="515923" y="4208682"/>
            <a:ext cx="871497" cy="184610"/>
          </a:xfrm>
          <a:prstGeom prst="rect">
            <a:avLst/>
          </a:prstGeom>
          <a:solidFill>
            <a:schemeClr val="accent4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501427">
              <a:defRPr/>
            </a:pPr>
            <a:endParaRPr lang="en-IN" b="1" dirty="0" err="1">
              <a:solidFill>
                <a:srgbClr val="000000"/>
              </a:solidFill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94C70231-9A59-5F2A-A097-942BF15FC966}"/>
              </a:ext>
            </a:extLst>
          </p:cNvPr>
          <p:cNvSpPr/>
          <p:nvPr/>
        </p:nvSpPr>
        <p:spPr>
          <a:xfrm>
            <a:off x="793808" y="4143121"/>
            <a:ext cx="315733" cy="315733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501427">
              <a:defRPr/>
            </a:pPr>
            <a:r>
              <a:rPr lang="en-IN" sz="1600" b="1" dirty="0">
                <a:solidFill>
                  <a:schemeClr val="tx1">
                    <a:lumMod val="100000"/>
                  </a:schemeClr>
                </a:solidFill>
              </a:rPr>
              <a:t>4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B8997D28-7BA9-8B3A-DCA1-714650D2EA4F}"/>
              </a:ext>
            </a:extLst>
          </p:cNvPr>
          <p:cNvSpPr/>
          <p:nvPr/>
        </p:nvSpPr>
        <p:spPr>
          <a:xfrm>
            <a:off x="10813404" y="4008318"/>
            <a:ext cx="584789" cy="58478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IN" sz="2400">
              <a:solidFill>
                <a:srgbClr val="FFFFFF"/>
              </a:solidFill>
            </a:endParaRPr>
          </a:p>
        </p:txBody>
      </p:sp>
      <p:sp>
        <p:nvSpPr>
          <p:cNvPr id="32" name="WordArt 5">
            <a:extLst>
              <a:ext uri="{FF2B5EF4-FFF2-40B4-BE49-F238E27FC236}">
                <a16:creationId xmlns:a16="http://schemas.microsoft.com/office/drawing/2014/main" id="{77AEF8F7-C5D3-96A2-C6C2-C7B1096813A7}"/>
              </a:ext>
            </a:extLst>
          </p:cNvPr>
          <p:cNvSpPr>
            <a:spLocks noChangeArrowheads="1" noChangeShapeType="1" noTextEdit="1"/>
          </p:cNvSpPr>
          <p:nvPr>
            <p:custDataLst>
              <p:tags r:id="rId5"/>
            </p:custDataLst>
          </p:nvPr>
        </p:nvSpPr>
        <p:spPr bwMode="gray">
          <a:xfrm>
            <a:off x="10972624" y="4163741"/>
            <a:ext cx="266341" cy="273949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/>
              </a14:hiddenEffects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>
              <a:defRPr/>
            </a:pPr>
            <a:r>
              <a:rPr lang="en-US" sz="2600" kern="10" dirty="0">
                <a:solidFill>
                  <a:schemeClr val="bg1"/>
                </a:solidFill>
                <a:latin typeface="Arial" panose="020B0604020202020204" pitchFamily="34" charset="0"/>
              </a:rPr>
              <a:t>✓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73375DCA-5CC6-6765-6F30-9F0BA1DF1415}"/>
              </a:ext>
            </a:extLst>
          </p:cNvPr>
          <p:cNvSpPr>
            <a:spLocks noChangeArrowheads="1"/>
          </p:cNvSpPr>
          <p:nvPr/>
        </p:nvSpPr>
        <p:spPr bwMode="gray">
          <a:xfrm>
            <a:off x="1223401" y="5206318"/>
            <a:ext cx="9289084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11" lvl="1" defTabSz="1469990" eaLnBrk="0" hangingPunct="0">
              <a:buClr>
                <a:srgbClr val="44546A"/>
              </a:buClr>
              <a:buSzPct val="120000"/>
              <a:defRPr/>
            </a:pPr>
            <a:r>
              <a:rPr lang="en-US" sz="1600" dirty="0">
                <a:cs typeface="Arial" charset="0"/>
              </a:rPr>
              <a:t>Insert Text Here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14E7F24A-7165-D8DF-6291-5E845F90ECAF}"/>
              </a:ext>
            </a:extLst>
          </p:cNvPr>
          <p:cNvSpPr>
            <a:spLocks noChangeArrowheads="1"/>
          </p:cNvSpPr>
          <p:nvPr/>
        </p:nvSpPr>
        <p:spPr bwMode="gray">
          <a:xfrm>
            <a:off x="1227598" y="4870384"/>
            <a:ext cx="9289084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11" lvl="1" defTabSz="1469990" eaLnBrk="0" hangingPunct="0">
              <a:buClr>
                <a:srgbClr val="44546A"/>
              </a:buClr>
              <a:buSzPct val="120000"/>
              <a:defRPr/>
            </a:pPr>
            <a:r>
              <a:rPr lang="en-US" sz="1600" b="1" dirty="0">
                <a:cs typeface="Arial" charset="0"/>
              </a:rPr>
              <a:t>Title</a:t>
            </a:r>
          </a:p>
        </p:txBody>
      </p:sp>
      <p:cxnSp>
        <p:nvCxnSpPr>
          <p:cNvPr id="35" name="Shape4_20220715_093113">
            <a:extLst>
              <a:ext uri="{FF2B5EF4-FFF2-40B4-BE49-F238E27FC236}">
                <a16:creationId xmlns:a16="http://schemas.microsoft.com/office/drawing/2014/main" id="{020F09B8-2F7B-68AA-4E83-2DCDFD75CBCB}"/>
              </a:ext>
            </a:extLst>
          </p:cNvPr>
          <p:cNvCxnSpPr>
            <a:cxnSpLocks/>
            <a:endCxn id="38" idx="2"/>
          </p:cNvCxnSpPr>
          <p:nvPr/>
        </p:nvCxnSpPr>
        <p:spPr>
          <a:xfrm>
            <a:off x="1112155" y="5162978"/>
            <a:ext cx="9701249" cy="1496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 35">
            <a:extLst>
              <a:ext uri="{FF2B5EF4-FFF2-40B4-BE49-F238E27FC236}">
                <a16:creationId xmlns:a16="http://schemas.microsoft.com/office/drawing/2014/main" id="{80306A34-5831-AFCB-1C6A-441E3DAC7950}"/>
              </a:ext>
            </a:extLst>
          </p:cNvPr>
          <p:cNvSpPr/>
          <p:nvPr/>
        </p:nvSpPr>
        <p:spPr>
          <a:xfrm rot="5400000" flipV="1">
            <a:off x="515922" y="5070678"/>
            <a:ext cx="871501" cy="184610"/>
          </a:xfrm>
          <a:prstGeom prst="rect">
            <a:avLst/>
          </a:prstGeom>
          <a:solidFill>
            <a:schemeClr val="accent5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501427">
              <a:defRPr/>
            </a:pPr>
            <a:endParaRPr lang="en-IN" sz="2400" dirty="0" err="1">
              <a:solidFill>
                <a:srgbClr val="000000"/>
              </a:solidFill>
            </a:endParaRP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0CFBF904-85EC-1257-88F4-A0703D390E02}"/>
              </a:ext>
            </a:extLst>
          </p:cNvPr>
          <p:cNvSpPr/>
          <p:nvPr/>
        </p:nvSpPr>
        <p:spPr>
          <a:xfrm>
            <a:off x="793808" y="5005118"/>
            <a:ext cx="315733" cy="315733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501427">
              <a:defRPr/>
            </a:pPr>
            <a:r>
              <a:rPr lang="en-IN" sz="1600" dirty="0">
                <a:solidFill>
                  <a:schemeClr val="tx1">
                    <a:lumMod val="100000"/>
                  </a:schemeClr>
                </a:solidFill>
              </a:rPr>
              <a:t>5</a:t>
            </a: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5553B411-13AB-FB7F-2891-2737F22452E3}"/>
              </a:ext>
            </a:extLst>
          </p:cNvPr>
          <p:cNvSpPr/>
          <p:nvPr/>
        </p:nvSpPr>
        <p:spPr>
          <a:xfrm>
            <a:off x="10813404" y="4872080"/>
            <a:ext cx="584789" cy="584788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IN" sz="2400">
              <a:solidFill>
                <a:srgbClr val="FFFFFF"/>
              </a:solidFill>
            </a:endParaRPr>
          </a:p>
        </p:txBody>
      </p:sp>
      <p:sp>
        <p:nvSpPr>
          <p:cNvPr id="39" name="WordArt 5">
            <a:extLst>
              <a:ext uri="{FF2B5EF4-FFF2-40B4-BE49-F238E27FC236}">
                <a16:creationId xmlns:a16="http://schemas.microsoft.com/office/drawing/2014/main" id="{636178E9-D825-6886-5884-A2224A33CB68}"/>
              </a:ext>
            </a:extLst>
          </p:cNvPr>
          <p:cNvSpPr>
            <a:spLocks noChangeArrowheads="1" noChangeShapeType="1" noTextEdit="1"/>
          </p:cNvSpPr>
          <p:nvPr>
            <p:custDataLst>
              <p:tags r:id="rId6"/>
            </p:custDataLst>
          </p:nvPr>
        </p:nvSpPr>
        <p:spPr bwMode="gray">
          <a:xfrm>
            <a:off x="10972624" y="5027506"/>
            <a:ext cx="266341" cy="273949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/>
              </a14:hiddenEffects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>
              <a:defRPr/>
            </a:pPr>
            <a:r>
              <a:rPr lang="en-US" sz="2600" kern="10" dirty="0">
                <a:solidFill>
                  <a:srgbClr val="FFFFFF"/>
                </a:solidFill>
                <a:latin typeface="Arial" panose="020B0604020202020204" pitchFamily="34" charset="0"/>
              </a:rPr>
              <a:t>✓</a:t>
            </a:r>
          </a:p>
        </p:txBody>
      </p:sp>
    </p:spTree>
    <p:extLst>
      <p:ext uri="{BB962C8B-B14F-4D97-AF65-F5344CB8AC3E}">
        <p14:creationId xmlns:p14="http://schemas.microsoft.com/office/powerpoint/2010/main" val="1867378622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2B1688B-2B02-95C4-BF76-6146F6EEA2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FDA3B500-605F-F315-F048-7585B22CCF4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DA3B500-605F-F315-F048-7585B22CCF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B307562-8F7E-1C3F-90E0-1D2AE7FD40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hecklist 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13D7506F-2DB2-9092-4341-184A0E09C68C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68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" name="Shape1_20211123_123008">
            <a:extLst>
              <a:ext uri="{FF2B5EF4-FFF2-40B4-BE49-F238E27FC236}">
                <a16:creationId xmlns:a16="http://schemas.microsoft.com/office/drawing/2014/main" id="{429FEAFE-62B4-7BB7-776F-40B3386F33FD}"/>
              </a:ext>
            </a:extLst>
          </p:cNvPr>
          <p:cNvSpPr txBox="1">
            <a:spLocks/>
          </p:cNvSpPr>
          <p:nvPr/>
        </p:nvSpPr>
        <p:spPr>
          <a:xfrm>
            <a:off x="1384662" y="1648535"/>
            <a:ext cx="6521879" cy="24929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defTabSz="750715">
              <a:lnSpc>
                <a:spcPct val="90000"/>
              </a:lnSpc>
              <a:buSzPct val="100000"/>
              <a:defRPr/>
            </a:pPr>
            <a:r>
              <a:rPr lang="en-US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3ECA86E5-2849-A1BC-3D5B-272AB9B9A0D1}"/>
              </a:ext>
            </a:extLst>
          </p:cNvPr>
          <p:cNvSpPr/>
          <p:nvPr/>
        </p:nvSpPr>
        <p:spPr>
          <a:xfrm>
            <a:off x="685501" y="1475371"/>
            <a:ext cx="581538" cy="581536"/>
          </a:xfrm>
          <a:prstGeom prst="ellipse">
            <a:avLst/>
          </a:prstGeom>
          <a:solidFill>
            <a:schemeClr val="bg1"/>
          </a:solidFill>
        </p:spPr>
        <p:txBody>
          <a:bodyPr wrap="square" tIns="300022" bIns="300022" rtlCol="0" anchor="ctr" anchorCtr="0">
            <a:noAutofit/>
          </a:bodyPr>
          <a:lstStyle/>
          <a:p>
            <a:pPr algn="ctr" defTabSz="1500437">
              <a:lnSpc>
                <a:spcPct val="80000"/>
              </a:lnSpc>
              <a:defRPr/>
            </a:pPr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6" name="Shape1_20221011_163854">
            <a:extLst>
              <a:ext uri="{FF2B5EF4-FFF2-40B4-BE49-F238E27FC236}">
                <a16:creationId xmlns:a16="http://schemas.microsoft.com/office/drawing/2014/main" id="{36EBA408-00A0-676F-887C-4FFBEE432CD5}"/>
              </a:ext>
            </a:extLst>
          </p:cNvPr>
          <p:cNvSpPr/>
          <p:nvPr/>
        </p:nvSpPr>
        <p:spPr>
          <a:xfrm>
            <a:off x="626323" y="1404993"/>
            <a:ext cx="722916" cy="722916"/>
          </a:xfrm>
          <a:prstGeom prst="blockArc">
            <a:avLst>
              <a:gd name="adj1" fmla="val 4671934"/>
              <a:gd name="adj2" fmla="val 18906429"/>
              <a:gd name="adj3" fmla="val 62"/>
            </a:avLst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500437">
              <a:lnSpc>
                <a:spcPct val="90000"/>
              </a:lnSpc>
              <a:defRPr/>
            </a:pPr>
            <a:endParaRPr lang="en-IN" sz="2400" dirty="0">
              <a:solidFill>
                <a:srgbClr val="FFFFFF"/>
              </a:solidFill>
            </a:endParaRPr>
          </a:p>
        </p:txBody>
      </p:sp>
      <p:sp>
        <p:nvSpPr>
          <p:cNvPr id="7" name="Freeform 16">
            <a:extLst>
              <a:ext uri="{FF2B5EF4-FFF2-40B4-BE49-F238E27FC236}">
                <a16:creationId xmlns:a16="http://schemas.microsoft.com/office/drawing/2014/main" id="{1F1A2EC1-75F0-5004-A5FF-B3953CF88B7F}"/>
              </a:ext>
            </a:extLst>
          </p:cNvPr>
          <p:cNvSpPr>
            <a:spLocks/>
          </p:cNvSpPr>
          <p:nvPr/>
        </p:nvSpPr>
        <p:spPr bwMode="auto">
          <a:xfrm>
            <a:off x="680598" y="1468368"/>
            <a:ext cx="614363" cy="596161"/>
          </a:xfrm>
          <a:custGeom>
            <a:avLst/>
            <a:gdLst>
              <a:gd name="T0" fmla="*/ 798 w 1233"/>
              <a:gd name="T1" fmla="*/ 1168 h 1199"/>
              <a:gd name="T2" fmla="*/ 1066 w 1233"/>
              <a:gd name="T3" fmla="*/ 981 h 1199"/>
              <a:gd name="T4" fmla="*/ 1129 w 1233"/>
              <a:gd name="T5" fmla="*/ 351 h 1199"/>
              <a:gd name="T6" fmla="*/ 937 w 1233"/>
              <a:gd name="T7" fmla="*/ 143 h 1199"/>
              <a:gd name="T8" fmla="*/ 244 w 1233"/>
              <a:gd name="T9" fmla="*/ 202 h 1199"/>
              <a:gd name="T10" fmla="*/ 128 w 1233"/>
              <a:gd name="T11" fmla="*/ 896 h 1199"/>
              <a:gd name="T12" fmla="*/ 491 w 1233"/>
              <a:gd name="T13" fmla="*/ 1179 h 1199"/>
              <a:gd name="T14" fmla="*/ 798 w 1233"/>
              <a:gd name="T15" fmla="*/ 1168 h 1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233" h="1199">
                <a:moveTo>
                  <a:pt x="798" y="1168"/>
                </a:moveTo>
                <a:cubicBezTo>
                  <a:pt x="889" y="1139"/>
                  <a:pt x="1002" y="1061"/>
                  <a:pt x="1066" y="981"/>
                </a:cubicBezTo>
                <a:cubicBezTo>
                  <a:pt x="1209" y="804"/>
                  <a:pt x="1233" y="556"/>
                  <a:pt x="1129" y="351"/>
                </a:cubicBezTo>
                <a:cubicBezTo>
                  <a:pt x="1098" y="290"/>
                  <a:pt x="1004" y="189"/>
                  <a:pt x="937" y="143"/>
                </a:cubicBezTo>
                <a:cubicBezTo>
                  <a:pt x="725" y="0"/>
                  <a:pt x="437" y="24"/>
                  <a:pt x="244" y="202"/>
                </a:cubicBezTo>
                <a:cubicBezTo>
                  <a:pt x="47" y="383"/>
                  <a:pt x="0" y="662"/>
                  <a:pt x="128" y="896"/>
                </a:cubicBezTo>
                <a:cubicBezTo>
                  <a:pt x="197" y="1022"/>
                  <a:pt x="357" y="1148"/>
                  <a:pt x="491" y="1179"/>
                </a:cubicBezTo>
                <a:cubicBezTo>
                  <a:pt x="576" y="1199"/>
                  <a:pt x="711" y="1194"/>
                  <a:pt x="798" y="1168"/>
                </a:cubicBez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defTabSz="1500437">
              <a:defRPr/>
            </a:pPr>
            <a:r>
              <a:rPr lang="en-US" b="1" dirty="0">
                <a:solidFill>
                  <a:schemeClr val="bg1"/>
                </a:solidFill>
              </a:rPr>
              <a:t>01</a:t>
            </a:r>
          </a:p>
        </p:txBody>
      </p:sp>
      <p:sp>
        <p:nvSpPr>
          <p:cNvPr id="8" name="Shape0_20211123_123008">
            <a:extLst>
              <a:ext uri="{FF2B5EF4-FFF2-40B4-BE49-F238E27FC236}">
                <a16:creationId xmlns:a16="http://schemas.microsoft.com/office/drawing/2014/main" id="{C6801CA9-49DA-419A-59AB-5EB76A51D7C4}"/>
              </a:ext>
            </a:extLst>
          </p:cNvPr>
          <p:cNvSpPr txBox="1">
            <a:spLocks/>
          </p:cNvSpPr>
          <p:nvPr/>
        </p:nvSpPr>
        <p:spPr>
          <a:xfrm>
            <a:off x="1384662" y="2833360"/>
            <a:ext cx="6521879" cy="24929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defTabSz="750715">
              <a:lnSpc>
                <a:spcPct val="90000"/>
              </a:lnSpc>
              <a:buSzPct val="100000"/>
              <a:defRPr/>
            </a:pPr>
            <a:r>
              <a:rPr lang="en-US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95F94838-718C-2F01-B50E-146C2B984455}"/>
              </a:ext>
            </a:extLst>
          </p:cNvPr>
          <p:cNvSpPr/>
          <p:nvPr/>
        </p:nvSpPr>
        <p:spPr>
          <a:xfrm>
            <a:off x="685501" y="2660199"/>
            <a:ext cx="581538" cy="581536"/>
          </a:xfrm>
          <a:prstGeom prst="ellipse">
            <a:avLst/>
          </a:prstGeom>
          <a:solidFill>
            <a:schemeClr val="bg1"/>
          </a:solidFill>
        </p:spPr>
        <p:txBody>
          <a:bodyPr wrap="square" tIns="300022" bIns="300022" rtlCol="0" anchor="ctr" anchorCtr="0">
            <a:noAutofit/>
          </a:bodyPr>
          <a:lstStyle/>
          <a:p>
            <a:pPr algn="ctr" defTabSz="1500437">
              <a:lnSpc>
                <a:spcPct val="80000"/>
              </a:lnSpc>
              <a:defRPr/>
            </a:pPr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10" name="Block Arc 9">
            <a:extLst>
              <a:ext uri="{FF2B5EF4-FFF2-40B4-BE49-F238E27FC236}">
                <a16:creationId xmlns:a16="http://schemas.microsoft.com/office/drawing/2014/main" id="{7688ABE1-5791-5550-697B-AF215B448D8B}"/>
              </a:ext>
            </a:extLst>
          </p:cNvPr>
          <p:cNvSpPr/>
          <p:nvPr/>
        </p:nvSpPr>
        <p:spPr>
          <a:xfrm>
            <a:off x="626323" y="2589820"/>
            <a:ext cx="722916" cy="722916"/>
          </a:xfrm>
          <a:prstGeom prst="blockArc">
            <a:avLst>
              <a:gd name="adj1" fmla="val 4671934"/>
              <a:gd name="adj2" fmla="val 18906429"/>
              <a:gd name="adj3" fmla="val 62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500437">
              <a:lnSpc>
                <a:spcPct val="90000"/>
              </a:lnSpc>
              <a:defRPr/>
            </a:pPr>
            <a:endParaRPr lang="en-IN" sz="2400" dirty="0">
              <a:solidFill>
                <a:srgbClr val="FFFFFF"/>
              </a:solidFill>
            </a:endParaRPr>
          </a:p>
        </p:txBody>
      </p:sp>
      <p:sp>
        <p:nvSpPr>
          <p:cNvPr id="11" name="Freeform 16">
            <a:extLst>
              <a:ext uri="{FF2B5EF4-FFF2-40B4-BE49-F238E27FC236}">
                <a16:creationId xmlns:a16="http://schemas.microsoft.com/office/drawing/2014/main" id="{F4BC5229-FE81-C01C-1D8C-A280E90F46AB}"/>
              </a:ext>
            </a:extLst>
          </p:cNvPr>
          <p:cNvSpPr>
            <a:spLocks/>
          </p:cNvSpPr>
          <p:nvPr/>
        </p:nvSpPr>
        <p:spPr bwMode="auto">
          <a:xfrm>
            <a:off x="680598" y="2653193"/>
            <a:ext cx="614363" cy="596161"/>
          </a:xfrm>
          <a:custGeom>
            <a:avLst/>
            <a:gdLst>
              <a:gd name="T0" fmla="*/ 798 w 1233"/>
              <a:gd name="T1" fmla="*/ 1168 h 1199"/>
              <a:gd name="T2" fmla="*/ 1066 w 1233"/>
              <a:gd name="T3" fmla="*/ 981 h 1199"/>
              <a:gd name="T4" fmla="*/ 1129 w 1233"/>
              <a:gd name="T5" fmla="*/ 351 h 1199"/>
              <a:gd name="T6" fmla="*/ 937 w 1233"/>
              <a:gd name="T7" fmla="*/ 143 h 1199"/>
              <a:gd name="T8" fmla="*/ 244 w 1233"/>
              <a:gd name="T9" fmla="*/ 202 h 1199"/>
              <a:gd name="T10" fmla="*/ 128 w 1233"/>
              <a:gd name="T11" fmla="*/ 896 h 1199"/>
              <a:gd name="T12" fmla="*/ 491 w 1233"/>
              <a:gd name="T13" fmla="*/ 1179 h 1199"/>
              <a:gd name="T14" fmla="*/ 798 w 1233"/>
              <a:gd name="T15" fmla="*/ 1168 h 1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233" h="1199">
                <a:moveTo>
                  <a:pt x="798" y="1168"/>
                </a:moveTo>
                <a:cubicBezTo>
                  <a:pt x="889" y="1139"/>
                  <a:pt x="1002" y="1061"/>
                  <a:pt x="1066" y="981"/>
                </a:cubicBezTo>
                <a:cubicBezTo>
                  <a:pt x="1209" y="804"/>
                  <a:pt x="1233" y="556"/>
                  <a:pt x="1129" y="351"/>
                </a:cubicBezTo>
                <a:cubicBezTo>
                  <a:pt x="1098" y="290"/>
                  <a:pt x="1004" y="189"/>
                  <a:pt x="937" y="143"/>
                </a:cubicBezTo>
                <a:cubicBezTo>
                  <a:pt x="725" y="0"/>
                  <a:pt x="437" y="24"/>
                  <a:pt x="244" y="202"/>
                </a:cubicBezTo>
                <a:cubicBezTo>
                  <a:pt x="47" y="383"/>
                  <a:pt x="0" y="662"/>
                  <a:pt x="128" y="896"/>
                </a:cubicBezTo>
                <a:cubicBezTo>
                  <a:pt x="197" y="1022"/>
                  <a:pt x="357" y="1148"/>
                  <a:pt x="491" y="1179"/>
                </a:cubicBezTo>
                <a:cubicBezTo>
                  <a:pt x="576" y="1199"/>
                  <a:pt x="711" y="1194"/>
                  <a:pt x="798" y="1168"/>
                </a:cubicBez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defTabSz="1500437">
              <a:defRPr/>
            </a:pPr>
            <a:r>
              <a:rPr lang="en-US" b="1" dirty="0">
                <a:solidFill>
                  <a:schemeClr val="bg1"/>
                </a:solidFill>
              </a:rPr>
              <a:t>02</a:t>
            </a:r>
          </a:p>
        </p:txBody>
      </p:sp>
      <p:sp>
        <p:nvSpPr>
          <p:cNvPr id="12" name="Shape2_20211123_123008">
            <a:extLst>
              <a:ext uri="{FF2B5EF4-FFF2-40B4-BE49-F238E27FC236}">
                <a16:creationId xmlns:a16="http://schemas.microsoft.com/office/drawing/2014/main" id="{C763C049-E335-6E03-5904-465DEE1F4D39}"/>
              </a:ext>
            </a:extLst>
          </p:cNvPr>
          <p:cNvSpPr txBox="1">
            <a:spLocks/>
          </p:cNvSpPr>
          <p:nvPr/>
        </p:nvSpPr>
        <p:spPr>
          <a:xfrm>
            <a:off x="1384662" y="4018186"/>
            <a:ext cx="6521879" cy="24929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defTabSz="750715">
              <a:lnSpc>
                <a:spcPct val="90000"/>
              </a:lnSpc>
              <a:buSzPct val="100000"/>
              <a:defRPr/>
            </a:pPr>
            <a:r>
              <a:rPr lang="en-US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6CA20D2E-9E73-9085-6538-F7DD4A544136}"/>
              </a:ext>
            </a:extLst>
          </p:cNvPr>
          <p:cNvSpPr/>
          <p:nvPr/>
        </p:nvSpPr>
        <p:spPr>
          <a:xfrm>
            <a:off x="685501" y="3845023"/>
            <a:ext cx="581538" cy="581536"/>
          </a:xfrm>
          <a:prstGeom prst="ellipse">
            <a:avLst/>
          </a:prstGeom>
          <a:solidFill>
            <a:schemeClr val="bg1"/>
          </a:solidFill>
        </p:spPr>
        <p:txBody>
          <a:bodyPr wrap="square" tIns="300022" bIns="300022" rtlCol="0" anchor="ctr" anchorCtr="0">
            <a:noAutofit/>
          </a:bodyPr>
          <a:lstStyle/>
          <a:p>
            <a:pPr algn="ctr" defTabSz="1500437">
              <a:lnSpc>
                <a:spcPct val="80000"/>
              </a:lnSpc>
              <a:defRPr/>
            </a:pPr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14" name="Block Arc 13">
            <a:extLst>
              <a:ext uri="{FF2B5EF4-FFF2-40B4-BE49-F238E27FC236}">
                <a16:creationId xmlns:a16="http://schemas.microsoft.com/office/drawing/2014/main" id="{04D60F8E-6C35-5AB6-CEBD-B3B5504D3297}"/>
              </a:ext>
            </a:extLst>
          </p:cNvPr>
          <p:cNvSpPr/>
          <p:nvPr/>
        </p:nvSpPr>
        <p:spPr>
          <a:xfrm>
            <a:off x="626323" y="3774643"/>
            <a:ext cx="722916" cy="722916"/>
          </a:xfrm>
          <a:prstGeom prst="blockArc">
            <a:avLst>
              <a:gd name="adj1" fmla="val 4671934"/>
              <a:gd name="adj2" fmla="val 18906429"/>
              <a:gd name="adj3" fmla="val 62"/>
            </a:avLst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500437">
              <a:lnSpc>
                <a:spcPct val="90000"/>
              </a:lnSpc>
              <a:defRPr/>
            </a:pPr>
            <a:endParaRPr lang="en-IN" sz="2400" dirty="0">
              <a:solidFill>
                <a:srgbClr val="FFFFFF"/>
              </a:solidFill>
            </a:endParaRPr>
          </a:p>
        </p:txBody>
      </p:sp>
      <p:sp>
        <p:nvSpPr>
          <p:cNvPr id="15" name="Freeform 16">
            <a:extLst>
              <a:ext uri="{FF2B5EF4-FFF2-40B4-BE49-F238E27FC236}">
                <a16:creationId xmlns:a16="http://schemas.microsoft.com/office/drawing/2014/main" id="{D05C08A5-8F42-F431-02B0-5651D89663B5}"/>
              </a:ext>
            </a:extLst>
          </p:cNvPr>
          <p:cNvSpPr>
            <a:spLocks/>
          </p:cNvSpPr>
          <p:nvPr/>
        </p:nvSpPr>
        <p:spPr bwMode="auto">
          <a:xfrm>
            <a:off x="680598" y="3838021"/>
            <a:ext cx="614363" cy="596161"/>
          </a:xfrm>
          <a:custGeom>
            <a:avLst/>
            <a:gdLst>
              <a:gd name="T0" fmla="*/ 798 w 1233"/>
              <a:gd name="T1" fmla="*/ 1168 h 1199"/>
              <a:gd name="T2" fmla="*/ 1066 w 1233"/>
              <a:gd name="T3" fmla="*/ 981 h 1199"/>
              <a:gd name="T4" fmla="*/ 1129 w 1233"/>
              <a:gd name="T5" fmla="*/ 351 h 1199"/>
              <a:gd name="T6" fmla="*/ 937 w 1233"/>
              <a:gd name="T7" fmla="*/ 143 h 1199"/>
              <a:gd name="T8" fmla="*/ 244 w 1233"/>
              <a:gd name="T9" fmla="*/ 202 h 1199"/>
              <a:gd name="T10" fmla="*/ 128 w 1233"/>
              <a:gd name="T11" fmla="*/ 896 h 1199"/>
              <a:gd name="T12" fmla="*/ 491 w 1233"/>
              <a:gd name="T13" fmla="*/ 1179 h 1199"/>
              <a:gd name="T14" fmla="*/ 798 w 1233"/>
              <a:gd name="T15" fmla="*/ 1168 h 1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233" h="1199">
                <a:moveTo>
                  <a:pt x="798" y="1168"/>
                </a:moveTo>
                <a:cubicBezTo>
                  <a:pt x="889" y="1139"/>
                  <a:pt x="1002" y="1061"/>
                  <a:pt x="1066" y="981"/>
                </a:cubicBezTo>
                <a:cubicBezTo>
                  <a:pt x="1209" y="804"/>
                  <a:pt x="1233" y="556"/>
                  <a:pt x="1129" y="351"/>
                </a:cubicBezTo>
                <a:cubicBezTo>
                  <a:pt x="1098" y="290"/>
                  <a:pt x="1004" y="189"/>
                  <a:pt x="937" y="143"/>
                </a:cubicBezTo>
                <a:cubicBezTo>
                  <a:pt x="725" y="0"/>
                  <a:pt x="437" y="24"/>
                  <a:pt x="244" y="202"/>
                </a:cubicBezTo>
                <a:cubicBezTo>
                  <a:pt x="47" y="383"/>
                  <a:pt x="0" y="662"/>
                  <a:pt x="128" y="896"/>
                </a:cubicBezTo>
                <a:cubicBezTo>
                  <a:pt x="197" y="1022"/>
                  <a:pt x="357" y="1148"/>
                  <a:pt x="491" y="1179"/>
                </a:cubicBezTo>
                <a:cubicBezTo>
                  <a:pt x="576" y="1199"/>
                  <a:pt x="711" y="1194"/>
                  <a:pt x="798" y="1168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defTabSz="1500437">
              <a:defRPr/>
            </a:pPr>
            <a:r>
              <a:rPr lang="en-US" b="1" dirty="0">
                <a:solidFill>
                  <a:schemeClr val="bg1"/>
                </a:solidFill>
              </a:rPr>
              <a:t>03</a:t>
            </a:r>
          </a:p>
        </p:txBody>
      </p:sp>
      <p:sp>
        <p:nvSpPr>
          <p:cNvPr id="16" name="Shape3_20211123_123008">
            <a:extLst>
              <a:ext uri="{FF2B5EF4-FFF2-40B4-BE49-F238E27FC236}">
                <a16:creationId xmlns:a16="http://schemas.microsoft.com/office/drawing/2014/main" id="{F76C3929-1210-61AA-621A-7D9DA830F0FD}"/>
              </a:ext>
            </a:extLst>
          </p:cNvPr>
          <p:cNvSpPr txBox="1">
            <a:spLocks/>
          </p:cNvSpPr>
          <p:nvPr/>
        </p:nvSpPr>
        <p:spPr>
          <a:xfrm>
            <a:off x="1384662" y="5203012"/>
            <a:ext cx="6521879" cy="24929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defTabSz="750715">
              <a:lnSpc>
                <a:spcPct val="90000"/>
              </a:lnSpc>
              <a:buSzPct val="100000"/>
              <a:defRPr/>
            </a:pPr>
            <a:r>
              <a:rPr lang="en-US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69054B68-52C2-F789-60D8-8C87568DA599}"/>
              </a:ext>
            </a:extLst>
          </p:cNvPr>
          <p:cNvSpPr/>
          <p:nvPr/>
        </p:nvSpPr>
        <p:spPr>
          <a:xfrm>
            <a:off x="685501" y="5029845"/>
            <a:ext cx="581538" cy="581536"/>
          </a:xfrm>
          <a:prstGeom prst="ellipse">
            <a:avLst/>
          </a:prstGeom>
          <a:solidFill>
            <a:schemeClr val="bg1"/>
          </a:solidFill>
        </p:spPr>
        <p:txBody>
          <a:bodyPr wrap="square" tIns="300022" bIns="300022" rtlCol="0" anchor="ctr" anchorCtr="0">
            <a:noAutofit/>
          </a:bodyPr>
          <a:lstStyle/>
          <a:p>
            <a:pPr algn="ctr" defTabSz="1500437">
              <a:lnSpc>
                <a:spcPct val="80000"/>
              </a:lnSpc>
              <a:defRPr/>
            </a:pPr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18" name="Block Arc 17">
            <a:extLst>
              <a:ext uri="{FF2B5EF4-FFF2-40B4-BE49-F238E27FC236}">
                <a16:creationId xmlns:a16="http://schemas.microsoft.com/office/drawing/2014/main" id="{08886826-2831-1B15-3ABF-263A59FF604F}"/>
              </a:ext>
            </a:extLst>
          </p:cNvPr>
          <p:cNvSpPr/>
          <p:nvPr/>
        </p:nvSpPr>
        <p:spPr>
          <a:xfrm>
            <a:off x="626323" y="4959466"/>
            <a:ext cx="722916" cy="722916"/>
          </a:xfrm>
          <a:prstGeom prst="blockArc">
            <a:avLst>
              <a:gd name="adj1" fmla="val 4671934"/>
              <a:gd name="adj2" fmla="val 18906429"/>
              <a:gd name="adj3" fmla="val 62"/>
            </a:avLst>
          </a:prstGeom>
          <a:solidFill>
            <a:schemeClr val="bg1"/>
          </a:solidFill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500437">
              <a:lnSpc>
                <a:spcPct val="90000"/>
              </a:lnSpc>
              <a:defRPr/>
            </a:pPr>
            <a:endParaRPr lang="en-IN" sz="2400" dirty="0">
              <a:solidFill>
                <a:srgbClr val="FFFFFF"/>
              </a:solidFill>
            </a:endParaRPr>
          </a:p>
        </p:txBody>
      </p:sp>
      <p:sp>
        <p:nvSpPr>
          <p:cNvPr id="19" name="Freeform 16">
            <a:extLst>
              <a:ext uri="{FF2B5EF4-FFF2-40B4-BE49-F238E27FC236}">
                <a16:creationId xmlns:a16="http://schemas.microsoft.com/office/drawing/2014/main" id="{B0622051-167D-861F-98FE-390CFBC7548F}"/>
              </a:ext>
            </a:extLst>
          </p:cNvPr>
          <p:cNvSpPr>
            <a:spLocks/>
          </p:cNvSpPr>
          <p:nvPr/>
        </p:nvSpPr>
        <p:spPr bwMode="auto">
          <a:xfrm>
            <a:off x="680598" y="5022843"/>
            <a:ext cx="614363" cy="596161"/>
          </a:xfrm>
          <a:custGeom>
            <a:avLst/>
            <a:gdLst>
              <a:gd name="T0" fmla="*/ 798 w 1233"/>
              <a:gd name="T1" fmla="*/ 1168 h 1199"/>
              <a:gd name="T2" fmla="*/ 1066 w 1233"/>
              <a:gd name="T3" fmla="*/ 981 h 1199"/>
              <a:gd name="T4" fmla="*/ 1129 w 1233"/>
              <a:gd name="T5" fmla="*/ 351 h 1199"/>
              <a:gd name="T6" fmla="*/ 937 w 1233"/>
              <a:gd name="T7" fmla="*/ 143 h 1199"/>
              <a:gd name="T8" fmla="*/ 244 w 1233"/>
              <a:gd name="T9" fmla="*/ 202 h 1199"/>
              <a:gd name="T10" fmla="*/ 128 w 1233"/>
              <a:gd name="T11" fmla="*/ 896 h 1199"/>
              <a:gd name="T12" fmla="*/ 491 w 1233"/>
              <a:gd name="T13" fmla="*/ 1179 h 1199"/>
              <a:gd name="T14" fmla="*/ 798 w 1233"/>
              <a:gd name="T15" fmla="*/ 1168 h 1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233" h="1199">
                <a:moveTo>
                  <a:pt x="798" y="1168"/>
                </a:moveTo>
                <a:cubicBezTo>
                  <a:pt x="889" y="1139"/>
                  <a:pt x="1002" y="1061"/>
                  <a:pt x="1066" y="981"/>
                </a:cubicBezTo>
                <a:cubicBezTo>
                  <a:pt x="1209" y="804"/>
                  <a:pt x="1233" y="556"/>
                  <a:pt x="1129" y="351"/>
                </a:cubicBezTo>
                <a:cubicBezTo>
                  <a:pt x="1098" y="290"/>
                  <a:pt x="1004" y="189"/>
                  <a:pt x="937" y="143"/>
                </a:cubicBezTo>
                <a:cubicBezTo>
                  <a:pt x="725" y="0"/>
                  <a:pt x="437" y="24"/>
                  <a:pt x="244" y="202"/>
                </a:cubicBezTo>
                <a:cubicBezTo>
                  <a:pt x="47" y="383"/>
                  <a:pt x="0" y="662"/>
                  <a:pt x="128" y="896"/>
                </a:cubicBezTo>
                <a:cubicBezTo>
                  <a:pt x="197" y="1022"/>
                  <a:pt x="357" y="1148"/>
                  <a:pt x="491" y="1179"/>
                </a:cubicBezTo>
                <a:cubicBezTo>
                  <a:pt x="576" y="1199"/>
                  <a:pt x="711" y="1194"/>
                  <a:pt x="798" y="1168"/>
                </a:cubicBezTo>
                <a:close/>
              </a:path>
            </a:pathLst>
          </a:custGeom>
          <a:solidFill>
            <a:schemeClr val="accent4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defTabSz="1500437">
              <a:defRPr/>
            </a:pPr>
            <a:r>
              <a:rPr lang="en-US" b="1" dirty="0">
                <a:solidFill>
                  <a:schemeClr val="bg1"/>
                </a:solidFill>
              </a:rPr>
              <a:t>04</a:t>
            </a:r>
          </a:p>
        </p:txBody>
      </p:sp>
      <p:cxnSp>
        <p:nvCxnSpPr>
          <p:cNvPr id="20" name="Shape0_20221011_163854">
            <a:extLst>
              <a:ext uri="{FF2B5EF4-FFF2-40B4-BE49-F238E27FC236}">
                <a16:creationId xmlns:a16="http://schemas.microsoft.com/office/drawing/2014/main" id="{56A19E63-B2DE-3772-CDE1-A3973C7B4B0F}"/>
              </a:ext>
            </a:extLst>
          </p:cNvPr>
          <p:cNvCxnSpPr>
            <a:cxnSpLocks/>
          </p:cNvCxnSpPr>
          <p:nvPr/>
        </p:nvCxnSpPr>
        <p:spPr>
          <a:xfrm>
            <a:off x="1239081" y="1508913"/>
            <a:ext cx="5842910" cy="0"/>
          </a:xfrm>
          <a:prstGeom prst="line">
            <a:avLst/>
          </a:prstGeom>
          <a:solidFill>
            <a:schemeClr val="accent1"/>
          </a:solidFill>
          <a:ln w="19050">
            <a:solidFill>
              <a:schemeClr val="accent1"/>
            </a:solidFill>
            <a:tailEnd type="diamon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A2A4DD77-77D4-1C47-9390-50A0C16D5428}"/>
              </a:ext>
            </a:extLst>
          </p:cNvPr>
          <p:cNvCxnSpPr>
            <a:cxnSpLocks/>
          </p:cNvCxnSpPr>
          <p:nvPr/>
        </p:nvCxnSpPr>
        <p:spPr>
          <a:xfrm>
            <a:off x="1239081" y="2693738"/>
            <a:ext cx="5842910" cy="0"/>
          </a:xfrm>
          <a:prstGeom prst="line">
            <a:avLst/>
          </a:prstGeom>
          <a:solidFill>
            <a:schemeClr val="accent1"/>
          </a:solidFill>
          <a:ln w="19050">
            <a:solidFill>
              <a:schemeClr val="accent2"/>
            </a:solidFill>
            <a:tailEnd type="diamon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38D04776-1870-D0E9-FCD2-F33C0DFDA558}"/>
              </a:ext>
            </a:extLst>
          </p:cNvPr>
          <p:cNvCxnSpPr>
            <a:cxnSpLocks/>
          </p:cNvCxnSpPr>
          <p:nvPr/>
        </p:nvCxnSpPr>
        <p:spPr>
          <a:xfrm>
            <a:off x="1239081" y="3878564"/>
            <a:ext cx="5842910" cy="0"/>
          </a:xfrm>
          <a:prstGeom prst="line">
            <a:avLst/>
          </a:prstGeom>
          <a:solidFill>
            <a:schemeClr val="accent1"/>
          </a:solidFill>
          <a:ln w="19050">
            <a:solidFill>
              <a:schemeClr val="accent3"/>
            </a:solidFill>
            <a:tailEnd type="diamon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4DC06690-E29E-6695-3375-E7DCDFA75575}"/>
              </a:ext>
            </a:extLst>
          </p:cNvPr>
          <p:cNvCxnSpPr>
            <a:cxnSpLocks/>
          </p:cNvCxnSpPr>
          <p:nvPr/>
        </p:nvCxnSpPr>
        <p:spPr>
          <a:xfrm>
            <a:off x="1239081" y="5063388"/>
            <a:ext cx="5842910" cy="0"/>
          </a:xfrm>
          <a:prstGeom prst="line">
            <a:avLst/>
          </a:prstGeom>
          <a:solidFill>
            <a:schemeClr val="accent1"/>
          </a:solidFill>
          <a:ln w="19050">
            <a:solidFill>
              <a:schemeClr val="accent4"/>
            </a:solidFill>
            <a:tailEnd type="diamon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24" name="Group 23">
            <a:extLst>
              <a:ext uri="{FF2B5EF4-FFF2-40B4-BE49-F238E27FC236}">
                <a16:creationId xmlns:a16="http://schemas.microsoft.com/office/drawing/2014/main" id="{0907ED8F-C9ED-BCD0-7F1A-F7606B4E6D4F}"/>
              </a:ext>
            </a:extLst>
          </p:cNvPr>
          <p:cNvGrpSpPr/>
          <p:nvPr/>
        </p:nvGrpSpPr>
        <p:grpSpPr>
          <a:xfrm>
            <a:off x="8052931" y="2082560"/>
            <a:ext cx="2980830" cy="2980829"/>
            <a:chOff x="8477305" y="2232205"/>
            <a:chExt cx="3102080" cy="3102078"/>
          </a:xfrm>
        </p:grpSpPr>
        <p:sp>
          <p:nvSpPr>
            <p:cNvPr id="25" name="Arc 24">
              <a:extLst>
                <a:ext uri="{FF2B5EF4-FFF2-40B4-BE49-F238E27FC236}">
                  <a16:creationId xmlns:a16="http://schemas.microsoft.com/office/drawing/2014/main" id="{B6A2F75C-832D-C3AC-2212-D5272ECFD8F0}"/>
                </a:ext>
              </a:extLst>
            </p:cNvPr>
            <p:cNvSpPr/>
            <p:nvPr/>
          </p:nvSpPr>
          <p:spPr>
            <a:xfrm>
              <a:off x="8477305" y="2232205"/>
              <a:ext cx="3102077" cy="3102078"/>
            </a:xfrm>
            <a:prstGeom prst="arc">
              <a:avLst>
                <a:gd name="adj1" fmla="val 12236924"/>
                <a:gd name="adj2" fmla="val 20091912"/>
              </a:avLst>
            </a:prstGeom>
            <a:ln>
              <a:solidFill>
                <a:schemeClr val="accent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26" name="Arc 25">
              <a:extLst>
                <a:ext uri="{FF2B5EF4-FFF2-40B4-BE49-F238E27FC236}">
                  <a16:creationId xmlns:a16="http://schemas.microsoft.com/office/drawing/2014/main" id="{3C785DAB-A972-3720-D67E-4F7E4DD9F0B9}"/>
                </a:ext>
              </a:extLst>
            </p:cNvPr>
            <p:cNvSpPr/>
            <p:nvPr/>
          </p:nvSpPr>
          <p:spPr>
            <a:xfrm>
              <a:off x="8477306" y="2232205"/>
              <a:ext cx="3102079" cy="3102078"/>
            </a:xfrm>
            <a:prstGeom prst="arc">
              <a:avLst>
                <a:gd name="adj1" fmla="val 20947669"/>
                <a:gd name="adj2" fmla="val 4168876"/>
              </a:avLst>
            </a:prstGeom>
            <a:ln>
              <a:solidFill>
                <a:schemeClr val="accent4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27" name="Arc 26">
              <a:extLst>
                <a:ext uri="{FF2B5EF4-FFF2-40B4-BE49-F238E27FC236}">
                  <a16:creationId xmlns:a16="http://schemas.microsoft.com/office/drawing/2014/main" id="{6681E065-378F-92B4-C4C8-B8822B1758F8}"/>
                </a:ext>
              </a:extLst>
            </p:cNvPr>
            <p:cNvSpPr/>
            <p:nvPr/>
          </p:nvSpPr>
          <p:spPr>
            <a:xfrm>
              <a:off x="8477305" y="2232205"/>
              <a:ext cx="3102077" cy="3102078"/>
            </a:xfrm>
            <a:prstGeom prst="arc">
              <a:avLst>
                <a:gd name="adj1" fmla="val 4740219"/>
                <a:gd name="adj2" fmla="val 11688552"/>
              </a:avLst>
            </a:prstGeom>
            <a:ln>
              <a:solidFill>
                <a:schemeClr val="accent4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29" name="Shape8_20220502_101224">
              <a:extLst>
                <a:ext uri="{FF2B5EF4-FFF2-40B4-BE49-F238E27FC236}">
                  <a16:creationId xmlns:a16="http://schemas.microsoft.com/office/drawing/2014/main" id="{7A5830D4-91AE-A74C-CED4-F7013D27CC36}"/>
                </a:ext>
              </a:extLst>
            </p:cNvPr>
            <p:cNvSpPr/>
            <p:nvPr/>
          </p:nvSpPr>
          <p:spPr>
            <a:xfrm>
              <a:off x="9199551" y="2566156"/>
              <a:ext cx="1607766" cy="2288314"/>
            </a:xfrm>
            <a:custGeom>
              <a:avLst/>
              <a:gdLst>
                <a:gd name="connsiteX0" fmla="*/ 2227326 w 2286476"/>
                <a:gd name="connsiteY0" fmla="*/ 331565 h 3254311"/>
                <a:gd name="connsiteX1" fmla="*/ 1766888 w 2286476"/>
                <a:gd name="connsiteY1" fmla="*/ 331565 h 3254311"/>
                <a:gd name="connsiteX2" fmla="*/ 1766888 w 2286476"/>
                <a:gd name="connsiteY2" fmla="*/ 235553 h 3254311"/>
                <a:gd name="connsiteX3" fmla="*/ 1700498 w 2286476"/>
                <a:gd name="connsiteY3" fmla="*/ 169069 h 3254311"/>
                <a:gd name="connsiteX4" fmla="*/ 1369409 w 2286476"/>
                <a:gd name="connsiteY4" fmla="*/ 168974 h 3254311"/>
                <a:gd name="connsiteX5" fmla="*/ 1305782 w 2286476"/>
                <a:gd name="connsiteY5" fmla="*/ 121158 h 3254311"/>
                <a:gd name="connsiteX6" fmla="*/ 1143286 w 2286476"/>
                <a:gd name="connsiteY6" fmla="*/ 0 h 3254311"/>
                <a:gd name="connsiteX7" fmla="*/ 980789 w 2286476"/>
                <a:gd name="connsiteY7" fmla="*/ 121063 h 3254311"/>
                <a:gd name="connsiteX8" fmla="*/ 917162 w 2286476"/>
                <a:gd name="connsiteY8" fmla="*/ 168878 h 3254311"/>
                <a:gd name="connsiteX9" fmla="*/ 586169 w 2286476"/>
                <a:gd name="connsiteY9" fmla="*/ 168783 h 3254311"/>
                <a:gd name="connsiteX10" fmla="*/ 519684 w 2286476"/>
                <a:gd name="connsiteY10" fmla="*/ 235268 h 3254311"/>
                <a:gd name="connsiteX11" fmla="*/ 519684 w 2286476"/>
                <a:gd name="connsiteY11" fmla="*/ 331565 h 3254311"/>
                <a:gd name="connsiteX12" fmla="*/ 59150 w 2286476"/>
                <a:gd name="connsiteY12" fmla="*/ 331565 h 3254311"/>
                <a:gd name="connsiteX13" fmla="*/ 0 w 2286476"/>
                <a:gd name="connsiteY13" fmla="*/ 390715 h 3254311"/>
                <a:gd name="connsiteX14" fmla="*/ 0 w 2286476"/>
                <a:gd name="connsiteY14" fmla="*/ 3195161 h 3254311"/>
                <a:gd name="connsiteX15" fmla="*/ 59150 w 2286476"/>
                <a:gd name="connsiteY15" fmla="*/ 3254312 h 3254311"/>
                <a:gd name="connsiteX16" fmla="*/ 2227326 w 2286476"/>
                <a:gd name="connsiteY16" fmla="*/ 3254312 h 3254311"/>
                <a:gd name="connsiteX17" fmla="*/ 2286476 w 2286476"/>
                <a:gd name="connsiteY17" fmla="*/ 3195161 h 3254311"/>
                <a:gd name="connsiteX18" fmla="*/ 2286476 w 2286476"/>
                <a:gd name="connsiteY18" fmla="*/ 390715 h 3254311"/>
                <a:gd name="connsiteX19" fmla="*/ 2227326 w 2286476"/>
                <a:gd name="connsiteY19" fmla="*/ 331565 h 32543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286476" h="3254311">
                  <a:moveTo>
                    <a:pt x="2227326" y="331565"/>
                  </a:moveTo>
                  <a:lnTo>
                    <a:pt x="1766888" y="331565"/>
                  </a:lnTo>
                  <a:lnTo>
                    <a:pt x="1766888" y="235553"/>
                  </a:lnTo>
                  <a:cubicBezTo>
                    <a:pt x="1766888" y="198882"/>
                    <a:pt x="1737170" y="169069"/>
                    <a:pt x="1700498" y="169069"/>
                  </a:cubicBezTo>
                  <a:lnTo>
                    <a:pt x="1369409" y="168974"/>
                  </a:lnTo>
                  <a:cubicBezTo>
                    <a:pt x="1339882" y="168974"/>
                    <a:pt x="1314164" y="149447"/>
                    <a:pt x="1305782" y="121158"/>
                  </a:cubicBezTo>
                  <a:cubicBezTo>
                    <a:pt x="1284923" y="51149"/>
                    <a:pt x="1220153" y="0"/>
                    <a:pt x="1143286" y="0"/>
                  </a:cubicBezTo>
                  <a:cubicBezTo>
                    <a:pt x="1066514" y="0"/>
                    <a:pt x="1001649" y="50959"/>
                    <a:pt x="980789" y="121063"/>
                  </a:cubicBezTo>
                  <a:cubicBezTo>
                    <a:pt x="972407" y="149352"/>
                    <a:pt x="946595" y="168878"/>
                    <a:pt x="917162" y="168878"/>
                  </a:cubicBezTo>
                  <a:lnTo>
                    <a:pt x="586169" y="168783"/>
                  </a:lnTo>
                  <a:cubicBezTo>
                    <a:pt x="549497" y="168783"/>
                    <a:pt x="519684" y="198501"/>
                    <a:pt x="519684" y="235268"/>
                  </a:cubicBezTo>
                  <a:lnTo>
                    <a:pt x="519684" y="331565"/>
                  </a:lnTo>
                  <a:lnTo>
                    <a:pt x="59150" y="331565"/>
                  </a:lnTo>
                  <a:cubicBezTo>
                    <a:pt x="26480" y="331565"/>
                    <a:pt x="0" y="358045"/>
                    <a:pt x="0" y="390715"/>
                  </a:cubicBezTo>
                  <a:lnTo>
                    <a:pt x="0" y="3195161"/>
                  </a:lnTo>
                  <a:cubicBezTo>
                    <a:pt x="0" y="3227832"/>
                    <a:pt x="26480" y="3254312"/>
                    <a:pt x="59150" y="3254312"/>
                  </a:cubicBezTo>
                  <a:lnTo>
                    <a:pt x="2227326" y="3254312"/>
                  </a:lnTo>
                  <a:cubicBezTo>
                    <a:pt x="2259997" y="3254312"/>
                    <a:pt x="2286476" y="3227832"/>
                    <a:pt x="2286476" y="3195161"/>
                  </a:cubicBezTo>
                  <a:lnTo>
                    <a:pt x="2286476" y="390715"/>
                  </a:lnTo>
                  <a:cubicBezTo>
                    <a:pt x="2286476" y="358140"/>
                    <a:pt x="2259997" y="331565"/>
                    <a:pt x="2227326" y="331565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30" name="Shape9_20220502_101224">
              <a:extLst>
                <a:ext uri="{FF2B5EF4-FFF2-40B4-BE49-F238E27FC236}">
                  <a16:creationId xmlns:a16="http://schemas.microsoft.com/office/drawing/2014/main" id="{9E64971E-4EB5-5C07-FD04-F2F64CC3F864}"/>
                </a:ext>
              </a:extLst>
            </p:cNvPr>
            <p:cNvSpPr/>
            <p:nvPr/>
          </p:nvSpPr>
          <p:spPr>
            <a:xfrm>
              <a:off x="9163378" y="2763135"/>
              <a:ext cx="1607766" cy="2055170"/>
            </a:xfrm>
            <a:custGeom>
              <a:avLst/>
              <a:gdLst>
                <a:gd name="connsiteX0" fmla="*/ 2286476 w 2286476"/>
                <a:gd name="connsiteY0" fmla="*/ 2863596 h 2922746"/>
                <a:gd name="connsiteX1" fmla="*/ 2227326 w 2286476"/>
                <a:gd name="connsiteY1" fmla="*/ 2922746 h 2922746"/>
                <a:gd name="connsiteX2" fmla="*/ 59055 w 2286476"/>
                <a:gd name="connsiteY2" fmla="*/ 2922746 h 2922746"/>
                <a:gd name="connsiteX3" fmla="*/ 0 w 2286476"/>
                <a:gd name="connsiteY3" fmla="*/ 2863596 h 2922746"/>
                <a:gd name="connsiteX4" fmla="*/ 0 w 2286476"/>
                <a:gd name="connsiteY4" fmla="*/ 59150 h 2922746"/>
                <a:gd name="connsiteX5" fmla="*/ 59055 w 2286476"/>
                <a:gd name="connsiteY5" fmla="*/ 0 h 2922746"/>
                <a:gd name="connsiteX6" fmla="*/ 2227326 w 2286476"/>
                <a:gd name="connsiteY6" fmla="*/ 0 h 2922746"/>
                <a:gd name="connsiteX7" fmla="*/ 2286476 w 2286476"/>
                <a:gd name="connsiteY7" fmla="*/ 59150 h 2922746"/>
                <a:gd name="connsiteX8" fmla="*/ 2286476 w 2286476"/>
                <a:gd name="connsiteY8" fmla="*/ 2863596 h 29227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86476" h="2922746">
                  <a:moveTo>
                    <a:pt x="2286476" y="2863596"/>
                  </a:moveTo>
                  <a:cubicBezTo>
                    <a:pt x="2286476" y="2896267"/>
                    <a:pt x="2259997" y="2922746"/>
                    <a:pt x="2227326" y="2922746"/>
                  </a:cubicBezTo>
                  <a:lnTo>
                    <a:pt x="59055" y="2922746"/>
                  </a:lnTo>
                  <a:cubicBezTo>
                    <a:pt x="26384" y="2922746"/>
                    <a:pt x="0" y="2896267"/>
                    <a:pt x="0" y="2863596"/>
                  </a:cubicBezTo>
                  <a:lnTo>
                    <a:pt x="0" y="59150"/>
                  </a:lnTo>
                  <a:cubicBezTo>
                    <a:pt x="0" y="26479"/>
                    <a:pt x="26480" y="0"/>
                    <a:pt x="59055" y="0"/>
                  </a:cubicBezTo>
                  <a:lnTo>
                    <a:pt x="2227326" y="0"/>
                  </a:lnTo>
                  <a:cubicBezTo>
                    <a:pt x="2259997" y="0"/>
                    <a:pt x="2286476" y="26479"/>
                    <a:pt x="2286476" y="59150"/>
                  </a:cubicBezTo>
                  <a:lnTo>
                    <a:pt x="2286476" y="2863596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31" name="Shape10_20220502_101224">
              <a:extLst>
                <a:ext uri="{FF2B5EF4-FFF2-40B4-BE49-F238E27FC236}">
                  <a16:creationId xmlns:a16="http://schemas.microsoft.com/office/drawing/2014/main" id="{2CFB25C1-E6A3-0B5C-B49C-81B9F5F4A86D}"/>
                </a:ext>
              </a:extLst>
            </p:cNvPr>
            <p:cNvSpPr/>
            <p:nvPr/>
          </p:nvSpPr>
          <p:spPr>
            <a:xfrm>
              <a:off x="9246498" y="2846320"/>
              <a:ext cx="1441462" cy="1888734"/>
            </a:xfrm>
            <a:custGeom>
              <a:avLst/>
              <a:gdLst>
                <a:gd name="connsiteX0" fmla="*/ 0 w 2049970"/>
                <a:gd name="connsiteY0" fmla="*/ 0 h 2686050"/>
                <a:gd name="connsiteX1" fmla="*/ 2049971 w 2049970"/>
                <a:gd name="connsiteY1" fmla="*/ 0 h 2686050"/>
                <a:gd name="connsiteX2" fmla="*/ 2049971 w 2049970"/>
                <a:gd name="connsiteY2" fmla="*/ 2686050 h 2686050"/>
                <a:gd name="connsiteX3" fmla="*/ 0 w 2049970"/>
                <a:gd name="connsiteY3" fmla="*/ 2686050 h 2686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49970" h="2686050">
                  <a:moveTo>
                    <a:pt x="0" y="0"/>
                  </a:moveTo>
                  <a:lnTo>
                    <a:pt x="2049971" y="0"/>
                  </a:lnTo>
                  <a:lnTo>
                    <a:pt x="2049971" y="2686050"/>
                  </a:lnTo>
                  <a:lnTo>
                    <a:pt x="0" y="268605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32" name="Shape0_20220502_101254">
              <a:extLst>
                <a:ext uri="{FF2B5EF4-FFF2-40B4-BE49-F238E27FC236}">
                  <a16:creationId xmlns:a16="http://schemas.microsoft.com/office/drawing/2014/main" id="{9897F031-4894-9C9D-EB0A-7BD2283E00D5}"/>
                </a:ext>
              </a:extLst>
            </p:cNvPr>
            <p:cNvSpPr/>
            <p:nvPr/>
          </p:nvSpPr>
          <p:spPr>
            <a:xfrm>
              <a:off x="9528804" y="2529989"/>
              <a:ext cx="877055" cy="386588"/>
            </a:xfrm>
            <a:custGeom>
              <a:avLst/>
              <a:gdLst>
                <a:gd name="connsiteX0" fmla="*/ 849725 w 1247298"/>
                <a:gd name="connsiteY0" fmla="*/ 168974 h 549783"/>
                <a:gd name="connsiteX1" fmla="*/ 786098 w 1247298"/>
                <a:gd name="connsiteY1" fmla="*/ 121158 h 549783"/>
                <a:gd name="connsiteX2" fmla="*/ 623602 w 1247298"/>
                <a:gd name="connsiteY2" fmla="*/ 0 h 549783"/>
                <a:gd name="connsiteX3" fmla="*/ 461105 w 1247298"/>
                <a:gd name="connsiteY3" fmla="*/ 121063 h 549783"/>
                <a:gd name="connsiteX4" fmla="*/ 397478 w 1247298"/>
                <a:gd name="connsiteY4" fmla="*/ 168878 h 549783"/>
                <a:gd name="connsiteX5" fmla="*/ 66484 w 1247298"/>
                <a:gd name="connsiteY5" fmla="*/ 168783 h 549783"/>
                <a:gd name="connsiteX6" fmla="*/ 0 w 1247298"/>
                <a:gd name="connsiteY6" fmla="*/ 235268 h 549783"/>
                <a:gd name="connsiteX7" fmla="*/ 0 w 1247298"/>
                <a:gd name="connsiteY7" fmla="*/ 483108 h 549783"/>
                <a:gd name="connsiteX8" fmla="*/ 66484 w 1247298"/>
                <a:gd name="connsiteY8" fmla="*/ 549593 h 549783"/>
                <a:gd name="connsiteX9" fmla="*/ 1180814 w 1247298"/>
                <a:gd name="connsiteY9" fmla="*/ 549783 h 549783"/>
                <a:gd name="connsiteX10" fmla="*/ 1247299 w 1247298"/>
                <a:gd name="connsiteY10" fmla="*/ 483299 h 549783"/>
                <a:gd name="connsiteX11" fmla="*/ 1247299 w 1247298"/>
                <a:gd name="connsiteY11" fmla="*/ 235458 h 549783"/>
                <a:gd name="connsiteX12" fmla="*/ 1180909 w 1247298"/>
                <a:gd name="connsiteY12" fmla="*/ 168974 h 549783"/>
                <a:gd name="connsiteX13" fmla="*/ 849725 w 1247298"/>
                <a:gd name="connsiteY13" fmla="*/ 168974 h 549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47298" h="549783">
                  <a:moveTo>
                    <a:pt x="849725" y="168974"/>
                  </a:moveTo>
                  <a:cubicBezTo>
                    <a:pt x="820198" y="168974"/>
                    <a:pt x="794480" y="149447"/>
                    <a:pt x="786098" y="121158"/>
                  </a:cubicBezTo>
                  <a:cubicBezTo>
                    <a:pt x="765238" y="51054"/>
                    <a:pt x="700373" y="0"/>
                    <a:pt x="623602" y="0"/>
                  </a:cubicBezTo>
                  <a:cubicBezTo>
                    <a:pt x="546830" y="0"/>
                    <a:pt x="481965" y="50959"/>
                    <a:pt x="461105" y="121063"/>
                  </a:cubicBezTo>
                  <a:cubicBezTo>
                    <a:pt x="452723" y="149352"/>
                    <a:pt x="426910" y="168878"/>
                    <a:pt x="397478" y="168878"/>
                  </a:cubicBezTo>
                  <a:lnTo>
                    <a:pt x="66484" y="168783"/>
                  </a:lnTo>
                  <a:cubicBezTo>
                    <a:pt x="29813" y="168783"/>
                    <a:pt x="0" y="198501"/>
                    <a:pt x="0" y="235268"/>
                  </a:cubicBezTo>
                  <a:lnTo>
                    <a:pt x="0" y="483108"/>
                  </a:lnTo>
                  <a:cubicBezTo>
                    <a:pt x="0" y="519779"/>
                    <a:pt x="29718" y="549593"/>
                    <a:pt x="66484" y="549593"/>
                  </a:cubicBezTo>
                  <a:lnTo>
                    <a:pt x="1180814" y="549783"/>
                  </a:lnTo>
                  <a:cubicBezTo>
                    <a:pt x="1217486" y="549783"/>
                    <a:pt x="1247299" y="520065"/>
                    <a:pt x="1247299" y="483299"/>
                  </a:cubicBezTo>
                  <a:lnTo>
                    <a:pt x="1247299" y="235458"/>
                  </a:lnTo>
                  <a:cubicBezTo>
                    <a:pt x="1247299" y="198787"/>
                    <a:pt x="1217581" y="168974"/>
                    <a:pt x="1180909" y="168974"/>
                  </a:cubicBezTo>
                  <a:lnTo>
                    <a:pt x="849725" y="168974"/>
                  </a:ln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33" name="Shape12_20220502_101224">
              <a:extLst>
                <a:ext uri="{FF2B5EF4-FFF2-40B4-BE49-F238E27FC236}">
                  <a16:creationId xmlns:a16="http://schemas.microsoft.com/office/drawing/2014/main" id="{691D335E-7992-84A9-98A5-F94335FE4D06}"/>
                </a:ext>
              </a:extLst>
            </p:cNvPr>
            <p:cNvSpPr/>
            <p:nvPr/>
          </p:nvSpPr>
          <p:spPr>
            <a:xfrm>
              <a:off x="9915591" y="2600918"/>
              <a:ext cx="103410" cy="103478"/>
            </a:xfrm>
            <a:custGeom>
              <a:avLst/>
              <a:gdLst>
                <a:gd name="connsiteX0" fmla="*/ 147066 w 147066"/>
                <a:gd name="connsiteY0" fmla="*/ 73628 h 147161"/>
                <a:gd name="connsiteX1" fmla="*/ 73533 w 147066"/>
                <a:gd name="connsiteY1" fmla="*/ 147161 h 147161"/>
                <a:gd name="connsiteX2" fmla="*/ 0 w 147066"/>
                <a:gd name="connsiteY2" fmla="*/ 73533 h 147161"/>
                <a:gd name="connsiteX3" fmla="*/ 73628 w 147066"/>
                <a:gd name="connsiteY3" fmla="*/ 0 h 147161"/>
                <a:gd name="connsiteX4" fmla="*/ 147066 w 147066"/>
                <a:gd name="connsiteY4" fmla="*/ 73628 h 147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7066" h="147161">
                  <a:moveTo>
                    <a:pt x="147066" y="73628"/>
                  </a:moveTo>
                  <a:cubicBezTo>
                    <a:pt x="147066" y="114300"/>
                    <a:pt x="114110" y="147161"/>
                    <a:pt x="73533" y="147161"/>
                  </a:cubicBezTo>
                  <a:cubicBezTo>
                    <a:pt x="32956" y="147161"/>
                    <a:pt x="0" y="114205"/>
                    <a:pt x="0" y="73533"/>
                  </a:cubicBezTo>
                  <a:cubicBezTo>
                    <a:pt x="0" y="32957"/>
                    <a:pt x="33052" y="0"/>
                    <a:pt x="73628" y="0"/>
                  </a:cubicBezTo>
                  <a:cubicBezTo>
                    <a:pt x="114110" y="95"/>
                    <a:pt x="147066" y="32957"/>
                    <a:pt x="147066" y="73628"/>
                  </a:cubicBezTo>
                  <a:close/>
                </a:path>
              </a:pathLst>
            </a:custGeom>
            <a:solidFill>
              <a:srgbClr val="BA7C00">
                <a:alpha val="5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34" name="Shape13_20220502_101224">
              <a:extLst>
                <a:ext uri="{FF2B5EF4-FFF2-40B4-BE49-F238E27FC236}">
                  <a16:creationId xmlns:a16="http://schemas.microsoft.com/office/drawing/2014/main" id="{D8BF4C4D-E894-D739-5F6E-A7F4855E33BB}"/>
                </a:ext>
              </a:extLst>
            </p:cNvPr>
            <p:cNvSpPr/>
            <p:nvPr/>
          </p:nvSpPr>
          <p:spPr>
            <a:xfrm>
              <a:off x="9528736" y="2845785"/>
              <a:ext cx="876988" cy="70862"/>
            </a:xfrm>
            <a:custGeom>
              <a:avLst/>
              <a:gdLst>
                <a:gd name="connsiteX0" fmla="*/ 0 w 1247203"/>
                <a:gd name="connsiteY0" fmla="*/ 0 h 100774"/>
                <a:gd name="connsiteX1" fmla="*/ 1247204 w 1247203"/>
                <a:gd name="connsiteY1" fmla="*/ 0 h 100774"/>
                <a:gd name="connsiteX2" fmla="*/ 1247204 w 1247203"/>
                <a:gd name="connsiteY2" fmla="*/ 100775 h 100774"/>
                <a:gd name="connsiteX3" fmla="*/ 0 w 1247203"/>
                <a:gd name="connsiteY3" fmla="*/ 100775 h 100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7203" h="100774">
                  <a:moveTo>
                    <a:pt x="0" y="0"/>
                  </a:moveTo>
                  <a:lnTo>
                    <a:pt x="1247204" y="0"/>
                  </a:lnTo>
                  <a:lnTo>
                    <a:pt x="1247204" y="100775"/>
                  </a:lnTo>
                  <a:lnTo>
                    <a:pt x="0" y="100775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35" name="Shape14_20220502_101224">
              <a:extLst>
                <a:ext uri="{FF2B5EF4-FFF2-40B4-BE49-F238E27FC236}">
                  <a16:creationId xmlns:a16="http://schemas.microsoft.com/office/drawing/2014/main" id="{5D52A973-B388-645E-0CB6-52F805AC7E3D}"/>
                </a:ext>
              </a:extLst>
            </p:cNvPr>
            <p:cNvSpPr/>
            <p:nvPr/>
          </p:nvSpPr>
          <p:spPr>
            <a:xfrm>
              <a:off x="9859936" y="3054749"/>
              <a:ext cx="336824" cy="40386"/>
            </a:xfrm>
            <a:custGeom>
              <a:avLst/>
              <a:gdLst>
                <a:gd name="connsiteX0" fmla="*/ 0 w 479012"/>
                <a:gd name="connsiteY0" fmla="*/ 0 h 57435"/>
                <a:gd name="connsiteX1" fmla="*/ 479012 w 479012"/>
                <a:gd name="connsiteY1" fmla="*/ 0 h 57435"/>
                <a:gd name="connsiteX2" fmla="*/ 479012 w 479012"/>
                <a:gd name="connsiteY2" fmla="*/ 57436 h 57435"/>
                <a:gd name="connsiteX3" fmla="*/ 0 w 479012"/>
                <a:gd name="connsiteY3" fmla="*/ 57436 h 57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9012" h="57435">
                  <a:moveTo>
                    <a:pt x="0" y="0"/>
                  </a:moveTo>
                  <a:lnTo>
                    <a:pt x="479012" y="0"/>
                  </a:lnTo>
                  <a:lnTo>
                    <a:pt x="479012" y="57436"/>
                  </a:lnTo>
                  <a:lnTo>
                    <a:pt x="0" y="57436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36" name="Shape15_20220502_101224">
              <a:extLst>
                <a:ext uri="{FF2B5EF4-FFF2-40B4-BE49-F238E27FC236}">
                  <a16:creationId xmlns:a16="http://schemas.microsoft.com/office/drawing/2014/main" id="{AAF75F05-DAAB-5B60-30A4-007E3B9DDC7F}"/>
                </a:ext>
              </a:extLst>
            </p:cNvPr>
            <p:cNvSpPr/>
            <p:nvPr/>
          </p:nvSpPr>
          <p:spPr>
            <a:xfrm>
              <a:off x="9859936" y="3157023"/>
              <a:ext cx="673581" cy="40386"/>
            </a:xfrm>
            <a:custGeom>
              <a:avLst/>
              <a:gdLst>
                <a:gd name="connsiteX0" fmla="*/ 0 w 957929"/>
                <a:gd name="connsiteY0" fmla="*/ 0 h 57435"/>
                <a:gd name="connsiteX1" fmla="*/ 957929 w 957929"/>
                <a:gd name="connsiteY1" fmla="*/ 0 h 57435"/>
                <a:gd name="connsiteX2" fmla="*/ 957929 w 957929"/>
                <a:gd name="connsiteY2" fmla="*/ 57436 h 57435"/>
                <a:gd name="connsiteX3" fmla="*/ 0 w 957929"/>
                <a:gd name="connsiteY3" fmla="*/ 57436 h 57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7929" h="57435">
                  <a:moveTo>
                    <a:pt x="0" y="0"/>
                  </a:moveTo>
                  <a:lnTo>
                    <a:pt x="957929" y="0"/>
                  </a:lnTo>
                  <a:lnTo>
                    <a:pt x="957929" y="57436"/>
                  </a:lnTo>
                  <a:lnTo>
                    <a:pt x="0" y="57436"/>
                  </a:lnTo>
                  <a:close/>
                </a:path>
              </a:pathLst>
            </a:custGeom>
            <a:solidFill>
              <a:srgbClr val="E5E5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37" name="Shape16_20220502_101224">
              <a:extLst>
                <a:ext uri="{FF2B5EF4-FFF2-40B4-BE49-F238E27FC236}">
                  <a16:creationId xmlns:a16="http://schemas.microsoft.com/office/drawing/2014/main" id="{6A7DD3DD-26C7-1133-F451-E1545EF2FB4B}"/>
                </a:ext>
              </a:extLst>
            </p:cNvPr>
            <p:cNvSpPr/>
            <p:nvPr/>
          </p:nvSpPr>
          <p:spPr>
            <a:xfrm>
              <a:off x="9859936" y="3256549"/>
              <a:ext cx="673581" cy="40386"/>
            </a:xfrm>
            <a:custGeom>
              <a:avLst/>
              <a:gdLst>
                <a:gd name="connsiteX0" fmla="*/ 0 w 957929"/>
                <a:gd name="connsiteY0" fmla="*/ 0 h 57435"/>
                <a:gd name="connsiteX1" fmla="*/ 957929 w 957929"/>
                <a:gd name="connsiteY1" fmla="*/ 0 h 57435"/>
                <a:gd name="connsiteX2" fmla="*/ 957929 w 957929"/>
                <a:gd name="connsiteY2" fmla="*/ 57436 h 57435"/>
                <a:gd name="connsiteX3" fmla="*/ 0 w 957929"/>
                <a:gd name="connsiteY3" fmla="*/ 57436 h 57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7929" h="57435">
                  <a:moveTo>
                    <a:pt x="0" y="0"/>
                  </a:moveTo>
                  <a:lnTo>
                    <a:pt x="957929" y="0"/>
                  </a:lnTo>
                  <a:lnTo>
                    <a:pt x="957929" y="57436"/>
                  </a:lnTo>
                  <a:lnTo>
                    <a:pt x="0" y="57436"/>
                  </a:lnTo>
                  <a:close/>
                </a:path>
              </a:pathLst>
            </a:custGeom>
            <a:solidFill>
              <a:srgbClr val="E5E5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38" name="Shape17_20220502_101224">
              <a:extLst>
                <a:ext uri="{FF2B5EF4-FFF2-40B4-BE49-F238E27FC236}">
                  <a16:creationId xmlns:a16="http://schemas.microsoft.com/office/drawing/2014/main" id="{0C7823F2-E657-ECCA-7186-D68A1EED7F5A}"/>
                </a:ext>
              </a:extLst>
            </p:cNvPr>
            <p:cNvSpPr/>
            <p:nvPr/>
          </p:nvSpPr>
          <p:spPr>
            <a:xfrm>
              <a:off x="9859936" y="3356077"/>
              <a:ext cx="673581" cy="40386"/>
            </a:xfrm>
            <a:custGeom>
              <a:avLst/>
              <a:gdLst>
                <a:gd name="connsiteX0" fmla="*/ 0 w 957929"/>
                <a:gd name="connsiteY0" fmla="*/ 0 h 57435"/>
                <a:gd name="connsiteX1" fmla="*/ 957929 w 957929"/>
                <a:gd name="connsiteY1" fmla="*/ 0 h 57435"/>
                <a:gd name="connsiteX2" fmla="*/ 957929 w 957929"/>
                <a:gd name="connsiteY2" fmla="*/ 57436 h 57435"/>
                <a:gd name="connsiteX3" fmla="*/ 0 w 957929"/>
                <a:gd name="connsiteY3" fmla="*/ 57436 h 57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7929" h="57435">
                  <a:moveTo>
                    <a:pt x="0" y="0"/>
                  </a:moveTo>
                  <a:lnTo>
                    <a:pt x="957929" y="0"/>
                  </a:lnTo>
                  <a:lnTo>
                    <a:pt x="957929" y="57436"/>
                  </a:lnTo>
                  <a:lnTo>
                    <a:pt x="0" y="57436"/>
                  </a:lnTo>
                  <a:close/>
                </a:path>
              </a:pathLst>
            </a:custGeom>
            <a:solidFill>
              <a:srgbClr val="E5E5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39" name="Shape18_20220502_101224">
              <a:extLst>
                <a:ext uri="{FF2B5EF4-FFF2-40B4-BE49-F238E27FC236}">
                  <a16:creationId xmlns:a16="http://schemas.microsoft.com/office/drawing/2014/main" id="{DDBFE6F7-BC62-57D5-B94A-3FA880E98C65}"/>
                </a:ext>
              </a:extLst>
            </p:cNvPr>
            <p:cNvSpPr/>
            <p:nvPr/>
          </p:nvSpPr>
          <p:spPr>
            <a:xfrm>
              <a:off x="9403357" y="3054749"/>
              <a:ext cx="341644" cy="341646"/>
            </a:xfrm>
            <a:custGeom>
              <a:avLst/>
              <a:gdLst>
                <a:gd name="connsiteX0" fmla="*/ 76581 w 485870"/>
                <a:gd name="connsiteY0" fmla="*/ 485870 h 485870"/>
                <a:gd name="connsiteX1" fmla="*/ 22479 w 485870"/>
                <a:gd name="connsiteY1" fmla="*/ 463391 h 485870"/>
                <a:gd name="connsiteX2" fmla="*/ 0 w 485870"/>
                <a:gd name="connsiteY2" fmla="*/ 409289 h 485870"/>
                <a:gd name="connsiteX3" fmla="*/ 0 w 485870"/>
                <a:gd name="connsiteY3" fmla="*/ 76581 h 485870"/>
                <a:gd name="connsiteX4" fmla="*/ 76581 w 485870"/>
                <a:gd name="connsiteY4" fmla="*/ 0 h 485870"/>
                <a:gd name="connsiteX5" fmla="*/ 409289 w 485870"/>
                <a:gd name="connsiteY5" fmla="*/ 0 h 485870"/>
                <a:gd name="connsiteX6" fmla="*/ 485870 w 485870"/>
                <a:gd name="connsiteY6" fmla="*/ 76581 h 485870"/>
                <a:gd name="connsiteX7" fmla="*/ 485870 w 485870"/>
                <a:gd name="connsiteY7" fmla="*/ 409289 h 485870"/>
                <a:gd name="connsiteX8" fmla="*/ 463391 w 485870"/>
                <a:gd name="connsiteY8" fmla="*/ 463391 h 485870"/>
                <a:gd name="connsiteX9" fmla="*/ 409289 w 485870"/>
                <a:gd name="connsiteY9" fmla="*/ 485870 h 485870"/>
                <a:gd name="connsiteX10" fmla="*/ 76581 w 485870"/>
                <a:gd name="connsiteY10" fmla="*/ 485870 h 485870"/>
                <a:gd name="connsiteX11" fmla="*/ 76581 w 485870"/>
                <a:gd name="connsiteY11" fmla="*/ 53816 h 485870"/>
                <a:gd name="connsiteX12" fmla="*/ 60484 w 485870"/>
                <a:gd name="connsiteY12" fmla="*/ 60484 h 485870"/>
                <a:gd name="connsiteX13" fmla="*/ 53816 w 485870"/>
                <a:gd name="connsiteY13" fmla="*/ 76581 h 485870"/>
                <a:gd name="connsiteX14" fmla="*/ 53816 w 485870"/>
                <a:gd name="connsiteY14" fmla="*/ 409289 h 485870"/>
                <a:gd name="connsiteX15" fmla="*/ 76676 w 485870"/>
                <a:gd name="connsiteY15" fmla="*/ 432149 h 485870"/>
                <a:gd name="connsiteX16" fmla="*/ 409289 w 485870"/>
                <a:gd name="connsiteY16" fmla="*/ 432149 h 485870"/>
                <a:gd name="connsiteX17" fmla="*/ 432149 w 485870"/>
                <a:gd name="connsiteY17" fmla="*/ 409289 h 485870"/>
                <a:gd name="connsiteX18" fmla="*/ 432149 w 485870"/>
                <a:gd name="connsiteY18" fmla="*/ 76581 h 485870"/>
                <a:gd name="connsiteX19" fmla="*/ 409289 w 485870"/>
                <a:gd name="connsiteY19" fmla="*/ 53721 h 485870"/>
                <a:gd name="connsiteX20" fmla="*/ 409289 w 485870"/>
                <a:gd name="connsiteY20" fmla="*/ 53721 h 485870"/>
                <a:gd name="connsiteX21" fmla="*/ 76581 w 485870"/>
                <a:gd name="connsiteY21" fmla="*/ 53816 h 485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85870" h="485870">
                  <a:moveTo>
                    <a:pt x="76581" y="485870"/>
                  </a:moveTo>
                  <a:cubicBezTo>
                    <a:pt x="56197" y="485870"/>
                    <a:pt x="36957" y="477869"/>
                    <a:pt x="22479" y="463391"/>
                  </a:cubicBezTo>
                  <a:cubicBezTo>
                    <a:pt x="8001" y="448913"/>
                    <a:pt x="0" y="429673"/>
                    <a:pt x="0" y="409289"/>
                  </a:cubicBezTo>
                  <a:lnTo>
                    <a:pt x="0" y="76581"/>
                  </a:lnTo>
                  <a:cubicBezTo>
                    <a:pt x="0" y="34385"/>
                    <a:pt x="34385" y="0"/>
                    <a:pt x="76581" y="0"/>
                  </a:cubicBezTo>
                  <a:lnTo>
                    <a:pt x="409289" y="0"/>
                  </a:lnTo>
                  <a:cubicBezTo>
                    <a:pt x="451485" y="0"/>
                    <a:pt x="485870" y="34385"/>
                    <a:pt x="485870" y="76581"/>
                  </a:cubicBezTo>
                  <a:lnTo>
                    <a:pt x="485870" y="409289"/>
                  </a:lnTo>
                  <a:cubicBezTo>
                    <a:pt x="485870" y="429673"/>
                    <a:pt x="477869" y="448913"/>
                    <a:pt x="463391" y="463391"/>
                  </a:cubicBezTo>
                  <a:cubicBezTo>
                    <a:pt x="448913" y="477869"/>
                    <a:pt x="429673" y="485870"/>
                    <a:pt x="409289" y="485870"/>
                  </a:cubicBezTo>
                  <a:lnTo>
                    <a:pt x="76581" y="485870"/>
                  </a:lnTo>
                  <a:close/>
                  <a:moveTo>
                    <a:pt x="76581" y="53816"/>
                  </a:moveTo>
                  <a:cubicBezTo>
                    <a:pt x="70485" y="53816"/>
                    <a:pt x="64770" y="56198"/>
                    <a:pt x="60484" y="60484"/>
                  </a:cubicBezTo>
                  <a:cubicBezTo>
                    <a:pt x="56197" y="64770"/>
                    <a:pt x="53816" y="70580"/>
                    <a:pt x="53816" y="76581"/>
                  </a:cubicBezTo>
                  <a:lnTo>
                    <a:pt x="53816" y="409289"/>
                  </a:lnTo>
                  <a:cubicBezTo>
                    <a:pt x="53816" y="421862"/>
                    <a:pt x="64103" y="432149"/>
                    <a:pt x="76676" y="432149"/>
                  </a:cubicBezTo>
                  <a:lnTo>
                    <a:pt x="409289" y="432149"/>
                  </a:lnTo>
                  <a:cubicBezTo>
                    <a:pt x="421862" y="432149"/>
                    <a:pt x="432149" y="421862"/>
                    <a:pt x="432149" y="409289"/>
                  </a:cubicBezTo>
                  <a:lnTo>
                    <a:pt x="432149" y="76581"/>
                  </a:lnTo>
                  <a:cubicBezTo>
                    <a:pt x="432149" y="64008"/>
                    <a:pt x="421957" y="53721"/>
                    <a:pt x="409289" y="53721"/>
                  </a:cubicBezTo>
                  <a:lnTo>
                    <a:pt x="409289" y="53721"/>
                  </a:lnTo>
                  <a:lnTo>
                    <a:pt x="76581" y="53816"/>
                  </a:lnTo>
                  <a:close/>
                </a:path>
              </a:pathLst>
            </a:custGeom>
            <a:solidFill>
              <a:srgbClr val="E5E5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40" name="Shape19_20220502_101224">
              <a:extLst>
                <a:ext uri="{FF2B5EF4-FFF2-40B4-BE49-F238E27FC236}">
                  <a16:creationId xmlns:a16="http://schemas.microsoft.com/office/drawing/2014/main" id="{3021456A-0A3C-A8E9-DC3F-CAA9493AD1AE}"/>
                </a:ext>
              </a:extLst>
            </p:cNvPr>
            <p:cNvSpPr/>
            <p:nvPr/>
          </p:nvSpPr>
          <p:spPr>
            <a:xfrm>
              <a:off x="9460420" y="3140815"/>
              <a:ext cx="227585" cy="173200"/>
            </a:xfrm>
            <a:custGeom>
              <a:avLst/>
              <a:gdLst>
                <a:gd name="connsiteX0" fmla="*/ 136303 w 323659"/>
                <a:gd name="connsiteY0" fmla="*/ 246317 h 246316"/>
                <a:gd name="connsiteX1" fmla="*/ 0 w 323659"/>
                <a:gd name="connsiteY1" fmla="*/ 115824 h 246316"/>
                <a:gd name="connsiteX2" fmla="*/ 50959 w 323659"/>
                <a:gd name="connsiteY2" fmla="*/ 62579 h 246316"/>
                <a:gd name="connsiteX3" fmla="*/ 134112 w 323659"/>
                <a:gd name="connsiteY3" fmla="*/ 142113 h 246316"/>
                <a:gd name="connsiteX4" fmla="*/ 270415 w 323659"/>
                <a:gd name="connsiteY4" fmla="*/ 0 h 246316"/>
                <a:gd name="connsiteX5" fmla="*/ 323660 w 323659"/>
                <a:gd name="connsiteY5" fmla="*/ 50959 h 246316"/>
                <a:gd name="connsiteX6" fmla="*/ 136303 w 323659"/>
                <a:gd name="connsiteY6" fmla="*/ 246317 h 2463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3659" h="246316">
                  <a:moveTo>
                    <a:pt x="136303" y="246317"/>
                  </a:moveTo>
                  <a:lnTo>
                    <a:pt x="0" y="115824"/>
                  </a:lnTo>
                  <a:lnTo>
                    <a:pt x="50959" y="62579"/>
                  </a:lnTo>
                  <a:lnTo>
                    <a:pt x="134112" y="142113"/>
                  </a:lnTo>
                  <a:lnTo>
                    <a:pt x="270415" y="0"/>
                  </a:lnTo>
                  <a:lnTo>
                    <a:pt x="323660" y="50959"/>
                  </a:lnTo>
                  <a:lnTo>
                    <a:pt x="136303" y="246317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41" name="Shape20_20220502_101224">
              <a:extLst>
                <a:ext uri="{FF2B5EF4-FFF2-40B4-BE49-F238E27FC236}">
                  <a16:creationId xmlns:a16="http://schemas.microsoft.com/office/drawing/2014/main" id="{78DD8D57-ADAA-78E4-872D-ADAE41F3CAA1}"/>
                </a:ext>
              </a:extLst>
            </p:cNvPr>
            <p:cNvSpPr/>
            <p:nvPr/>
          </p:nvSpPr>
          <p:spPr>
            <a:xfrm>
              <a:off x="9859936" y="3454934"/>
              <a:ext cx="336824" cy="40386"/>
            </a:xfrm>
            <a:custGeom>
              <a:avLst/>
              <a:gdLst>
                <a:gd name="connsiteX0" fmla="*/ 0 w 479012"/>
                <a:gd name="connsiteY0" fmla="*/ 0 h 57435"/>
                <a:gd name="connsiteX1" fmla="*/ 479012 w 479012"/>
                <a:gd name="connsiteY1" fmla="*/ 0 h 57435"/>
                <a:gd name="connsiteX2" fmla="*/ 479012 w 479012"/>
                <a:gd name="connsiteY2" fmla="*/ 57436 h 57435"/>
                <a:gd name="connsiteX3" fmla="*/ 0 w 479012"/>
                <a:gd name="connsiteY3" fmla="*/ 57436 h 57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9012" h="57435">
                  <a:moveTo>
                    <a:pt x="0" y="0"/>
                  </a:moveTo>
                  <a:lnTo>
                    <a:pt x="479012" y="0"/>
                  </a:lnTo>
                  <a:lnTo>
                    <a:pt x="479012" y="57436"/>
                  </a:lnTo>
                  <a:lnTo>
                    <a:pt x="0" y="57436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42" name="Shape21_20220502_101224">
              <a:extLst>
                <a:ext uri="{FF2B5EF4-FFF2-40B4-BE49-F238E27FC236}">
                  <a16:creationId xmlns:a16="http://schemas.microsoft.com/office/drawing/2014/main" id="{EDD5A25C-9C44-28E7-BC3D-549F62422828}"/>
                </a:ext>
              </a:extLst>
            </p:cNvPr>
            <p:cNvSpPr/>
            <p:nvPr/>
          </p:nvSpPr>
          <p:spPr>
            <a:xfrm>
              <a:off x="9859936" y="3557139"/>
              <a:ext cx="673581" cy="40386"/>
            </a:xfrm>
            <a:custGeom>
              <a:avLst/>
              <a:gdLst>
                <a:gd name="connsiteX0" fmla="*/ 0 w 957929"/>
                <a:gd name="connsiteY0" fmla="*/ 0 h 57435"/>
                <a:gd name="connsiteX1" fmla="*/ 957929 w 957929"/>
                <a:gd name="connsiteY1" fmla="*/ 0 h 57435"/>
                <a:gd name="connsiteX2" fmla="*/ 957929 w 957929"/>
                <a:gd name="connsiteY2" fmla="*/ 57436 h 57435"/>
                <a:gd name="connsiteX3" fmla="*/ 0 w 957929"/>
                <a:gd name="connsiteY3" fmla="*/ 57436 h 57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7929" h="57435">
                  <a:moveTo>
                    <a:pt x="0" y="0"/>
                  </a:moveTo>
                  <a:lnTo>
                    <a:pt x="957929" y="0"/>
                  </a:lnTo>
                  <a:lnTo>
                    <a:pt x="957929" y="57436"/>
                  </a:lnTo>
                  <a:lnTo>
                    <a:pt x="0" y="57436"/>
                  </a:lnTo>
                  <a:close/>
                </a:path>
              </a:pathLst>
            </a:custGeom>
            <a:solidFill>
              <a:srgbClr val="E5E5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43" name="Shape22_20220502_101224">
              <a:extLst>
                <a:ext uri="{FF2B5EF4-FFF2-40B4-BE49-F238E27FC236}">
                  <a16:creationId xmlns:a16="http://schemas.microsoft.com/office/drawing/2014/main" id="{D273D2A5-40E3-FA76-468F-3BE6DCBAAB61}"/>
                </a:ext>
              </a:extLst>
            </p:cNvPr>
            <p:cNvSpPr/>
            <p:nvPr/>
          </p:nvSpPr>
          <p:spPr>
            <a:xfrm>
              <a:off x="9859936" y="3656667"/>
              <a:ext cx="673581" cy="40386"/>
            </a:xfrm>
            <a:custGeom>
              <a:avLst/>
              <a:gdLst>
                <a:gd name="connsiteX0" fmla="*/ 0 w 957929"/>
                <a:gd name="connsiteY0" fmla="*/ 0 h 57435"/>
                <a:gd name="connsiteX1" fmla="*/ 957929 w 957929"/>
                <a:gd name="connsiteY1" fmla="*/ 0 h 57435"/>
                <a:gd name="connsiteX2" fmla="*/ 957929 w 957929"/>
                <a:gd name="connsiteY2" fmla="*/ 57436 h 57435"/>
                <a:gd name="connsiteX3" fmla="*/ 0 w 957929"/>
                <a:gd name="connsiteY3" fmla="*/ 57436 h 57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7929" h="57435">
                  <a:moveTo>
                    <a:pt x="0" y="0"/>
                  </a:moveTo>
                  <a:lnTo>
                    <a:pt x="957929" y="0"/>
                  </a:lnTo>
                  <a:lnTo>
                    <a:pt x="957929" y="57436"/>
                  </a:lnTo>
                  <a:lnTo>
                    <a:pt x="0" y="57436"/>
                  </a:lnTo>
                  <a:close/>
                </a:path>
              </a:pathLst>
            </a:custGeom>
            <a:solidFill>
              <a:srgbClr val="E5E5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44" name="Shape23_20220502_101224">
              <a:extLst>
                <a:ext uri="{FF2B5EF4-FFF2-40B4-BE49-F238E27FC236}">
                  <a16:creationId xmlns:a16="http://schemas.microsoft.com/office/drawing/2014/main" id="{E7707F5B-4616-290E-6A07-277A0F4EBA27}"/>
                </a:ext>
              </a:extLst>
            </p:cNvPr>
            <p:cNvSpPr/>
            <p:nvPr/>
          </p:nvSpPr>
          <p:spPr>
            <a:xfrm>
              <a:off x="9859936" y="3756192"/>
              <a:ext cx="673581" cy="40386"/>
            </a:xfrm>
            <a:custGeom>
              <a:avLst/>
              <a:gdLst>
                <a:gd name="connsiteX0" fmla="*/ 0 w 957929"/>
                <a:gd name="connsiteY0" fmla="*/ 0 h 57435"/>
                <a:gd name="connsiteX1" fmla="*/ 957929 w 957929"/>
                <a:gd name="connsiteY1" fmla="*/ 0 h 57435"/>
                <a:gd name="connsiteX2" fmla="*/ 957929 w 957929"/>
                <a:gd name="connsiteY2" fmla="*/ 57436 h 57435"/>
                <a:gd name="connsiteX3" fmla="*/ 0 w 957929"/>
                <a:gd name="connsiteY3" fmla="*/ 57436 h 57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7929" h="57435">
                  <a:moveTo>
                    <a:pt x="0" y="0"/>
                  </a:moveTo>
                  <a:lnTo>
                    <a:pt x="957929" y="0"/>
                  </a:lnTo>
                  <a:lnTo>
                    <a:pt x="957929" y="57436"/>
                  </a:lnTo>
                  <a:lnTo>
                    <a:pt x="0" y="57436"/>
                  </a:lnTo>
                  <a:close/>
                </a:path>
              </a:pathLst>
            </a:custGeom>
            <a:solidFill>
              <a:srgbClr val="E5E5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45" name="Shape24_20220502_101224">
              <a:extLst>
                <a:ext uri="{FF2B5EF4-FFF2-40B4-BE49-F238E27FC236}">
                  <a16:creationId xmlns:a16="http://schemas.microsoft.com/office/drawing/2014/main" id="{8E8BBF94-A41B-9880-19FB-659338336E28}"/>
                </a:ext>
              </a:extLst>
            </p:cNvPr>
            <p:cNvSpPr/>
            <p:nvPr/>
          </p:nvSpPr>
          <p:spPr>
            <a:xfrm>
              <a:off x="9403357" y="3454934"/>
              <a:ext cx="341644" cy="341646"/>
            </a:xfrm>
            <a:custGeom>
              <a:avLst/>
              <a:gdLst>
                <a:gd name="connsiteX0" fmla="*/ 76581 w 485870"/>
                <a:gd name="connsiteY0" fmla="*/ 485870 h 485870"/>
                <a:gd name="connsiteX1" fmla="*/ 22479 w 485870"/>
                <a:gd name="connsiteY1" fmla="*/ 463391 h 485870"/>
                <a:gd name="connsiteX2" fmla="*/ 0 w 485870"/>
                <a:gd name="connsiteY2" fmla="*/ 409289 h 485870"/>
                <a:gd name="connsiteX3" fmla="*/ 0 w 485870"/>
                <a:gd name="connsiteY3" fmla="*/ 76581 h 485870"/>
                <a:gd name="connsiteX4" fmla="*/ 76581 w 485870"/>
                <a:gd name="connsiteY4" fmla="*/ 0 h 485870"/>
                <a:gd name="connsiteX5" fmla="*/ 409289 w 485870"/>
                <a:gd name="connsiteY5" fmla="*/ 0 h 485870"/>
                <a:gd name="connsiteX6" fmla="*/ 485870 w 485870"/>
                <a:gd name="connsiteY6" fmla="*/ 76581 h 485870"/>
                <a:gd name="connsiteX7" fmla="*/ 485870 w 485870"/>
                <a:gd name="connsiteY7" fmla="*/ 409289 h 485870"/>
                <a:gd name="connsiteX8" fmla="*/ 463391 w 485870"/>
                <a:gd name="connsiteY8" fmla="*/ 463391 h 485870"/>
                <a:gd name="connsiteX9" fmla="*/ 409289 w 485870"/>
                <a:gd name="connsiteY9" fmla="*/ 485870 h 485870"/>
                <a:gd name="connsiteX10" fmla="*/ 76581 w 485870"/>
                <a:gd name="connsiteY10" fmla="*/ 485870 h 485870"/>
                <a:gd name="connsiteX11" fmla="*/ 76581 w 485870"/>
                <a:gd name="connsiteY11" fmla="*/ 53721 h 485870"/>
                <a:gd name="connsiteX12" fmla="*/ 60484 w 485870"/>
                <a:gd name="connsiteY12" fmla="*/ 60388 h 485870"/>
                <a:gd name="connsiteX13" fmla="*/ 53816 w 485870"/>
                <a:gd name="connsiteY13" fmla="*/ 76486 h 485870"/>
                <a:gd name="connsiteX14" fmla="*/ 53816 w 485870"/>
                <a:gd name="connsiteY14" fmla="*/ 409194 h 485870"/>
                <a:gd name="connsiteX15" fmla="*/ 76676 w 485870"/>
                <a:gd name="connsiteY15" fmla="*/ 432054 h 485870"/>
                <a:gd name="connsiteX16" fmla="*/ 409289 w 485870"/>
                <a:gd name="connsiteY16" fmla="*/ 432054 h 485870"/>
                <a:gd name="connsiteX17" fmla="*/ 432149 w 485870"/>
                <a:gd name="connsiteY17" fmla="*/ 409194 h 485870"/>
                <a:gd name="connsiteX18" fmla="*/ 432149 w 485870"/>
                <a:gd name="connsiteY18" fmla="*/ 76486 h 485870"/>
                <a:gd name="connsiteX19" fmla="*/ 409289 w 485870"/>
                <a:gd name="connsiteY19" fmla="*/ 53626 h 485870"/>
                <a:gd name="connsiteX20" fmla="*/ 409289 w 485870"/>
                <a:gd name="connsiteY20" fmla="*/ 53626 h 485870"/>
                <a:gd name="connsiteX21" fmla="*/ 76581 w 485870"/>
                <a:gd name="connsiteY21" fmla="*/ 53721 h 485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85870" h="485870">
                  <a:moveTo>
                    <a:pt x="76581" y="485870"/>
                  </a:moveTo>
                  <a:cubicBezTo>
                    <a:pt x="56197" y="485870"/>
                    <a:pt x="36957" y="477869"/>
                    <a:pt x="22479" y="463391"/>
                  </a:cubicBezTo>
                  <a:cubicBezTo>
                    <a:pt x="8001" y="448913"/>
                    <a:pt x="0" y="429673"/>
                    <a:pt x="0" y="409289"/>
                  </a:cubicBezTo>
                  <a:lnTo>
                    <a:pt x="0" y="76581"/>
                  </a:lnTo>
                  <a:cubicBezTo>
                    <a:pt x="0" y="34385"/>
                    <a:pt x="34385" y="0"/>
                    <a:pt x="76581" y="0"/>
                  </a:cubicBezTo>
                  <a:lnTo>
                    <a:pt x="409289" y="0"/>
                  </a:lnTo>
                  <a:cubicBezTo>
                    <a:pt x="451485" y="0"/>
                    <a:pt x="485870" y="34385"/>
                    <a:pt x="485870" y="76581"/>
                  </a:cubicBezTo>
                  <a:lnTo>
                    <a:pt x="485870" y="409289"/>
                  </a:lnTo>
                  <a:cubicBezTo>
                    <a:pt x="485870" y="429673"/>
                    <a:pt x="477869" y="448913"/>
                    <a:pt x="463391" y="463391"/>
                  </a:cubicBezTo>
                  <a:cubicBezTo>
                    <a:pt x="448913" y="477869"/>
                    <a:pt x="429673" y="485870"/>
                    <a:pt x="409289" y="485870"/>
                  </a:cubicBezTo>
                  <a:lnTo>
                    <a:pt x="76581" y="485870"/>
                  </a:lnTo>
                  <a:close/>
                  <a:moveTo>
                    <a:pt x="76581" y="53721"/>
                  </a:moveTo>
                  <a:cubicBezTo>
                    <a:pt x="70485" y="53721"/>
                    <a:pt x="64770" y="56102"/>
                    <a:pt x="60484" y="60388"/>
                  </a:cubicBezTo>
                  <a:cubicBezTo>
                    <a:pt x="56197" y="64675"/>
                    <a:pt x="53816" y="70485"/>
                    <a:pt x="53816" y="76486"/>
                  </a:cubicBezTo>
                  <a:lnTo>
                    <a:pt x="53816" y="409194"/>
                  </a:lnTo>
                  <a:cubicBezTo>
                    <a:pt x="53816" y="421767"/>
                    <a:pt x="64103" y="432054"/>
                    <a:pt x="76676" y="432054"/>
                  </a:cubicBezTo>
                  <a:lnTo>
                    <a:pt x="409289" y="432054"/>
                  </a:lnTo>
                  <a:cubicBezTo>
                    <a:pt x="421862" y="432054"/>
                    <a:pt x="432149" y="421767"/>
                    <a:pt x="432149" y="409194"/>
                  </a:cubicBezTo>
                  <a:lnTo>
                    <a:pt x="432149" y="76486"/>
                  </a:lnTo>
                  <a:cubicBezTo>
                    <a:pt x="432149" y="63913"/>
                    <a:pt x="421957" y="53626"/>
                    <a:pt x="409289" y="53626"/>
                  </a:cubicBezTo>
                  <a:lnTo>
                    <a:pt x="409289" y="53626"/>
                  </a:lnTo>
                  <a:lnTo>
                    <a:pt x="76581" y="53721"/>
                  </a:lnTo>
                  <a:close/>
                </a:path>
              </a:pathLst>
            </a:custGeom>
            <a:solidFill>
              <a:srgbClr val="E5E5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46" name="Shape25_20220502_101224">
              <a:extLst>
                <a:ext uri="{FF2B5EF4-FFF2-40B4-BE49-F238E27FC236}">
                  <a16:creationId xmlns:a16="http://schemas.microsoft.com/office/drawing/2014/main" id="{F31CC86A-292E-062B-17D9-45F6AEAAEC06}"/>
                </a:ext>
              </a:extLst>
            </p:cNvPr>
            <p:cNvSpPr/>
            <p:nvPr/>
          </p:nvSpPr>
          <p:spPr>
            <a:xfrm>
              <a:off x="9460420" y="3540865"/>
              <a:ext cx="227650" cy="173267"/>
            </a:xfrm>
            <a:custGeom>
              <a:avLst/>
              <a:gdLst>
                <a:gd name="connsiteX0" fmla="*/ 136303 w 323754"/>
                <a:gd name="connsiteY0" fmla="*/ 246412 h 246411"/>
                <a:gd name="connsiteX1" fmla="*/ 0 w 323754"/>
                <a:gd name="connsiteY1" fmla="*/ 115919 h 246411"/>
                <a:gd name="connsiteX2" fmla="*/ 50959 w 323754"/>
                <a:gd name="connsiteY2" fmla="*/ 62675 h 246411"/>
                <a:gd name="connsiteX3" fmla="*/ 134112 w 323754"/>
                <a:gd name="connsiteY3" fmla="*/ 142208 h 246411"/>
                <a:gd name="connsiteX4" fmla="*/ 270510 w 323754"/>
                <a:gd name="connsiteY4" fmla="*/ 0 h 246411"/>
                <a:gd name="connsiteX5" fmla="*/ 323755 w 323754"/>
                <a:gd name="connsiteY5" fmla="*/ 50959 h 246411"/>
                <a:gd name="connsiteX6" fmla="*/ 136303 w 323754"/>
                <a:gd name="connsiteY6" fmla="*/ 246412 h 246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3754" h="246411">
                  <a:moveTo>
                    <a:pt x="136303" y="246412"/>
                  </a:moveTo>
                  <a:lnTo>
                    <a:pt x="0" y="115919"/>
                  </a:lnTo>
                  <a:lnTo>
                    <a:pt x="50959" y="62675"/>
                  </a:lnTo>
                  <a:lnTo>
                    <a:pt x="134112" y="142208"/>
                  </a:lnTo>
                  <a:lnTo>
                    <a:pt x="270510" y="0"/>
                  </a:lnTo>
                  <a:lnTo>
                    <a:pt x="323755" y="50959"/>
                  </a:lnTo>
                  <a:lnTo>
                    <a:pt x="136303" y="246412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47" name="Shape26_20220502_101224">
              <a:extLst>
                <a:ext uri="{FF2B5EF4-FFF2-40B4-BE49-F238E27FC236}">
                  <a16:creationId xmlns:a16="http://schemas.microsoft.com/office/drawing/2014/main" id="{E1A093F7-0058-A48A-4797-0B97D0EB21DE}"/>
                </a:ext>
              </a:extLst>
            </p:cNvPr>
            <p:cNvSpPr/>
            <p:nvPr/>
          </p:nvSpPr>
          <p:spPr>
            <a:xfrm>
              <a:off x="9859936" y="3855051"/>
              <a:ext cx="336824" cy="40386"/>
            </a:xfrm>
            <a:custGeom>
              <a:avLst/>
              <a:gdLst>
                <a:gd name="connsiteX0" fmla="*/ 0 w 479012"/>
                <a:gd name="connsiteY0" fmla="*/ 0 h 57435"/>
                <a:gd name="connsiteX1" fmla="*/ 479012 w 479012"/>
                <a:gd name="connsiteY1" fmla="*/ 0 h 57435"/>
                <a:gd name="connsiteX2" fmla="*/ 479012 w 479012"/>
                <a:gd name="connsiteY2" fmla="*/ 57436 h 57435"/>
                <a:gd name="connsiteX3" fmla="*/ 0 w 479012"/>
                <a:gd name="connsiteY3" fmla="*/ 57436 h 57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9012" h="57435">
                  <a:moveTo>
                    <a:pt x="0" y="0"/>
                  </a:moveTo>
                  <a:lnTo>
                    <a:pt x="479012" y="0"/>
                  </a:lnTo>
                  <a:lnTo>
                    <a:pt x="479012" y="57436"/>
                  </a:lnTo>
                  <a:lnTo>
                    <a:pt x="0" y="57436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48" name="Shape27_20220502_101224">
              <a:extLst>
                <a:ext uri="{FF2B5EF4-FFF2-40B4-BE49-F238E27FC236}">
                  <a16:creationId xmlns:a16="http://schemas.microsoft.com/office/drawing/2014/main" id="{564115A8-CBFB-A7C3-9254-929D01AB8447}"/>
                </a:ext>
              </a:extLst>
            </p:cNvPr>
            <p:cNvSpPr/>
            <p:nvPr/>
          </p:nvSpPr>
          <p:spPr>
            <a:xfrm>
              <a:off x="9859936" y="3957326"/>
              <a:ext cx="673581" cy="40386"/>
            </a:xfrm>
            <a:custGeom>
              <a:avLst/>
              <a:gdLst>
                <a:gd name="connsiteX0" fmla="*/ 0 w 957929"/>
                <a:gd name="connsiteY0" fmla="*/ 0 h 57435"/>
                <a:gd name="connsiteX1" fmla="*/ 957929 w 957929"/>
                <a:gd name="connsiteY1" fmla="*/ 0 h 57435"/>
                <a:gd name="connsiteX2" fmla="*/ 957929 w 957929"/>
                <a:gd name="connsiteY2" fmla="*/ 57436 h 57435"/>
                <a:gd name="connsiteX3" fmla="*/ 0 w 957929"/>
                <a:gd name="connsiteY3" fmla="*/ 57436 h 57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7929" h="57435">
                  <a:moveTo>
                    <a:pt x="0" y="0"/>
                  </a:moveTo>
                  <a:lnTo>
                    <a:pt x="957929" y="0"/>
                  </a:lnTo>
                  <a:lnTo>
                    <a:pt x="957929" y="57436"/>
                  </a:lnTo>
                  <a:lnTo>
                    <a:pt x="0" y="57436"/>
                  </a:lnTo>
                  <a:close/>
                </a:path>
              </a:pathLst>
            </a:custGeom>
            <a:solidFill>
              <a:srgbClr val="E5E5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49" name="Shape28_20220502_101224">
              <a:extLst>
                <a:ext uri="{FF2B5EF4-FFF2-40B4-BE49-F238E27FC236}">
                  <a16:creationId xmlns:a16="http://schemas.microsoft.com/office/drawing/2014/main" id="{3AD5E118-FC99-3F5A-DDF6-47D59C1E0C15}"/>
                </a:ext>
              </a:extLst>
            </p:cNvPr>
            <p:cNvSpPr/>
            <p:nvPr/>
          </p:nvSpPr>
          <p:spPr>
            <a:xfrm>
              <a:off x="9859936" y="4056785"/>
              <a:ext cx="673581" cy="40386"/>
            </a:xfrm>
            <a:custGeom>
              <a:avLst/>
              <a:gdLst>
                <a:gd name="connsiteX0" fmla="*/ 0 w 957929"/>
                <a:gd name="connsiteY0" fmla="*/ 0 h 57435"/>
                <a:gd name="connsiteX1" fmla="*/ 957929 w 957929"/>
                <a:gd name="connsiteY1" fmla="*/ 0 h 57435"/>
                <a:gd name="connsiteX2" fmla="*/ 957929 w 957929"/>
                <a:gd name="connsiteY2" fmla="*/ 57436 h 57435"/>
                <a:gd name="connsiteX3" fmla="*/ 0 w 957929"/>
                <a:gd name="connsiteY3" fmla="*/ 57436 h 57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7929" h="57435">
                  <a:moveTo>
                    <a:pt x="0" y="0"/>
                  </a:moveTo>
                  <a:lnTo>
                    <a:pt x="957929" y="0"/>
                  </a:lnTo>
                  <a:lnTo>
                    <a:pt x="957929" y="57436"/>
                  </a:lnTo>
                  <a:lnTo>
                    <a:pt x="0" y="57436"/>
                  </a:lnTo>
                  <a:close/>
                </a:path>
              </a:pathLst>
            </a:custGeom>
            <a:solidFill>
              <a:srgbClr val="E5E5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50" name="Shape29_20220502_101224">
              <a:extLst>
                <a:ext uri="{FF2B5EF4-FFF2-40B4-BE49-F238E27FC236}">
                  <a16:creationId xmlns:a16="http://schemas.microsoft.com/office/drawing/2014/main" id="{9F99FDE3-CF3C-1090-2C7D-6B28D1984095}"/>
                </a:ext>
              </a:extLst>
            </p:cNvPr>
            <p:cNvSpPr/>
            <p:nvPr/>
          </p:nvSpPr>
          <p:spPr>
            <a:xfrm>
              <a:off x="9859936" y="4156310"/>
              <a:ext cx="673581" cy="40386"/>
            </a:xfrm>
            <a:custGeom>
              <a:avLst/>
              <a:gdLst>
                <a:gd name="connsiteX0" fmla="*/ 0 w 957929"/>
                <a:gd name="connsiteY0" fmla="*/ 0 h 57435"/>
                <a:gd name="connsiteX1" fmla="*/ 957929 w 957929"/>
                <a:gd name="connsiteY1" fmla="*/ 0 h 57435"/>
                <a:gd name="connsiteX2" fmla="*/ 957929 w 957929"/>
                <a:gd name="connsiteY2" fmla="*/ 57436 h 57435"/>
                <a:gd name="connsiteX3" fmla="*/ 0 w 957929"/>
                <a:gd name="connsiteY3" fmla="*/ 57436 h 57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7929" h="57435">
                  <a:moveTo>
                    <a:pt x="0" y="0"/>
                  </a:moveTo>
                  <a:lnTo>
                    <a:pt x="957929" y="0"/>
                  </a:lnTo>
                  <a:lnTo>
                    <a:pt x="957929" y="57436"/>
                  </a:lnTo>
                  <a:lnTo>
                    <a:pt x="0" y="57436"/>
                  </a:lnTo>
                  <a:close/>
                </a:path>
              </a:pathLst>
            </a:custGeom>
            <a:solidFill>
              <a:srgbClr val="E5E5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51" name="Shape30_20220502_101224">
              <a:extLst>
                <a:ext uri="{FF2B5EF4-FFF2-40B4-BE49-F238E27FC236}">
                  <a16:creationId xmlns:a16="http://schemas.microsoft.com/office/drawing/2014/main" id="{0A452D9E-9C64-020A-64DF-CCD06510F2A7}"/>
                </a:ext>
              </a:extLst>
            </p:cNvPr>
            <p:cNvSpPr/>
            <p:nvPr/>
          </p:nvSpPr>
          <p:spPr>
            <a:xfrm>
              <a:off x="9403357" y="3855051"/>
              <a:ext cx="341644" cy="341646"/>
            </a:xfrm>
            <a:custGeom>
              <a:avLst/>
              <a:gdLst>
                <a:gd name="connsiteX0" fmla="*/ 76581 w 485870"/>
                <a:gd name="connsiteY0" fmla="*/ 485870 h 485870"/>
                <a:gd name="connsiteX1" fmla="*/ 22479 w 485870"/>
                <a:gd name="connsiteY1" fmla="*/ 463391 h 485870"/>
                <a:gd name="connsiteX2" fmla="*/ 0 w 485870"/>
                <a:gd name="connsiteY2" fmla="*/ 409289 h 485870"/>
                <a:gd name="connsiteX3" fmla="*/ 0 w 485870"/>
                <a:gd name="connsiteY3" fmla="*/ 76581 h 485870"/>
                <a:gd name="connsiteX4" fmla="*/ 76581 w 485870"/>
                <a:gd name="connsiteY4" fmla="*/ 0 h 485870"/>
                <a:gd name="connsiteX5" fmla="*/ 409289 w 485870"/>
                <a:gd name="connsiteY5" fmla="*/ 0 h 485870"/>
                <a:gd name="connsiteX6" fmla="*/ 485870 w 485870"/>
                <a:gd name="connsiteY6" fmla="*/ 76581 h 485870"/>
                <a:gd name="connsiteX7" fmla="*/ 485870 w 485870"/>
                <a:gd name="connsiteY7" fmla="*/ 409289 h 485870"/>
                <a:gd name="connsiteX8" fmla="*/ 463391 w 485870"/>
                <a:gd name="connsiteY8" fmla="*/ 463391 h 485870"/>
                <a:gd name="connsiteX9" fmla="*/ 409289 w 485870"/>
                <a:gd name="connsiteY9" fmla="*/ 485870 h 485870"/>
                <a:gd name="connsiteX10" fmla="*/ 76581 w 485870"/>
                <a:gd name="connsiteY10" fmla="*/ 485870 h 485870"/>
                <a:gd name="connsiteX11" fmla="*/ 76581 w 485870"/>
                <a:gd name="connsiteY11" fmla="*/ 53721 h 485870"/>
                <a:gd name="connsiteX12" fmla="*/ 60484 w 485870"/>
                <a:gd name="connsiteY12" fmla="*/ 60388 h 485870"/>
                <a:gd name="connsiteX13" fmla="*/ 53816 w 485870"/>
                <a:gd name="connsiteY13" fmla="*/ 76486 h 485870"/>
                <a:gd name="connsiteX14" fmla="*/ 53816 w 485870"/>
                <a:gd name="connsiteY14" fmla="*/ 409194 h 485870"/>
                <a:gd name="connsiteX15" fmla="*/ 76676 w 485870"/>
                <a:gd name="connsiteY15" fmla="*/ 432054 h 485870"/>
                <a:gd name="connsiteX16" fmla="*/ 409289 w 485870"/>
                <a:gd name="connsiteY16" fmla="*/ 432054 h 485870"/>
                <a:gd name="connsiteX17" fmla="*/ 432149 w 485870"/>
                <a:gd name="connsiteY17" fmla="*/ 409194 h 485870"/>
                <a:gd name="connsiteX18" fmla="*/ 432149 w 485870"/>
                <a:gd name="connsiteY18" fmla="*/ 76486 h 485870"/>
                <a:gd name="connsiteX19" fmla="*/ 409289 w 485870"/>
                <a:gd name="connsiteY19" fmla="*/ 53626 h 485870"/>
                <a:gd name="connsiteX20" fmla="*/ 409289 w 485870"/>
                <a:gd name="connsiteY20" fmla="*/ 53626 h 485870"/>
                <a:gd name="connsiteX21" fmla="*/ 76581 w 485870"/>
                <a:gd name="connsiteY21" fmla="*/ 53721 h 485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85870" h="485870">
                  <a:moveTo>
                    <a:pt x="76581" y="485870"/>
                  </a:moveTo>
                  <a:cubicBezTo>
                    <a:pt x="56197" y="485870"/>
                    <a:pt x="36957" y="477869"/>
                    <a:pt x="22479" y="463391"/>
                  </a:cubicBezTo>
                  <a:cubicBezTo>
                    <a:pt x="8001" y="448913"/>
                    <a:pt x="0" y="429673"/>
                    <a:pt x="0" y="409289"/>
                  </a:cubicBezTo>
                  <a:lnTo>
                    <a:pt x="0" y="76581"/>
                  </a:lnTo>
                  <a:cubicBezTo>
                    <a:pt x="0" y="34385"/>
                    <a:pt x="34385" y="0"/>
                    <a:pt x="76581" y="0"/>
                  </a:cubicBezTo>
                  <a:lnTo>
                    <a:pt x="409289" y="0"/>
                  </a:lnTo>
                  <a:cubicBezTo>
                    <a:pt x="451485" y="0"/>
                    <a:pt x="485870" y="34385"/>
                    <a:pt x="485870" y="76581"/>
                  </a:cubicBezTo>
                  <a:lnTo>
                    <a:pt x="485870" y="409289"/>
                  </a:lnTo>
                  <a:cubicBezTo>
                    <a:pt x="485870" y="429673"/>
                    <a:pt x="477869" y="448913"/>
                    <a:pt x="463391" y="463391"/>
                  </a:cubicBezTo>
                  <a:cubicBezTo>
                    <a:pt x="448913" y="477869"/>
                    <a:pt x="429673" y="485870"/>
                    <a:pt x="409289" y="485870"/>
                  </a:cubicBezTo>
                  <a:lnTo>
                    <a:pt x="76581" y="485870"/>
                  </a:lnTo>
                  <a:close/>
                  <a:moveTo>
                    <a:pt x="76581" y="53721"/>
                  </a:moveTo>
                  <a:cubicBezTo>
                    <a:pt x="70485" y="53721"/>
                    <a:pt x="64770" y="56102"/>
                    <a:pt x="60484" y="60388"/>
                  </a:cubicBezTo>
                  <a:cubicBezTo>
                    <a:pt x="56197" y="64675"/>
                    <a:pt x="53816" y="70485"/>
                    <a:pt x="53816" y="76486"/>
                  </a:cubicBezTo>
                  <a:lnTo>
                    <a:pt x="53816" y="409194"/>
                  </a:lnTo>
                  <a:cubicBezTo>
                    <a:pt x="53816" y="421767"/>
                    <a:pt x="64103" y="432054"/>
                    <a:pt x="76676" y="432054"/>
                  </a:cubicBezTo>
                  <a:lnTo>
                    <a:pt x="409289" y="432054"/>
                  </a:lnTo>
                  <a:cubicBezTo>
                    <a:pt x="421862" y="432054"/>
                    <a:pt x="432149" y="421767"/>
                    <a:pt x="432149" y="409194"/>
                  </a:cubicBezTo>
                  <a:lnTo>
                    <a:pt x="432149" y="76486"/>
                  </a:lnTo>
                  <a:cubicBezTo>
                    <a:pt x="432149" y="63913"/>
                    <a:pt x="421957" y="53626"/>
                    <a:pt x="409289" y="53626"/>
                  </a:cubicBezTo>
                  <a:lnTo>
                    <a:pt x="409289" y="53626"/>
                  </a:lnTo>
                  <a:lnTo>
                    <a:pt x="76581" y="53721"/>
                  </a:lnTo>
                  <a:close/>
                </a:path>
              </a:pathLst>
            </a:custGeom>
            <a:solidFill>
              <a:srgbClr val="E5E5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52" name="Shape31_20220502_101224">
              <a:extLst>
                <a:ext uri="{FF2B5EF4-FFF2-40B4-BE49-F238E27FC236}">
                  <a16:creationId xmlns:a16="http://schemas.microsoft.com/office/drawing/2014/main" id="{3F65EFD6-1C8F-DEB5-A3DF-4AE5D5C5276B}"/>
                </a:ext>
              </a:extLst>
            </p:cNvPr>
            <p:cNvSpPr/>
            <p:nvPr/>
          </p:nvSpPr>
          <p:spPr>
            <a:xfrm>
              <a:off x="9460420" y="3941047"/>
              <a:ext cx="227650" cy="173267"/>
            </a:xfrm>
            <a:custGeom>
              <a:avLst/>
              <a:gdLst>
                <a:gd name="connsiteX0" fmla="*/ 136303 w 323754"/>
                <a:gd name="connsiteY0" fmla="*/ 246412 h 246411"/>
                <a:gd name="connsiteX1" fmla="*/ 0 w 323754"/>
                <a:gd name="connsiteY1" fmla="*/ 115919 h 246411"/>
                <a:gd name="connsiteX2" fmla="*/ 50959 w 323754"/>
                <a:gd name="connsiteY2" fmla="*/ 62675 h 246411"/>
                <a:gd name="connsiteX3" fmla="*/ 134112 w 323754"/>
                <a:gd name="connsiteY3" fmla="*/ 142208 h 246411"/>
                <a:gd name="connsiteX4" fmla="*/ 270510 w 323754"/>
                <a:gd name="connsiteY4" fmla="*/ 0 h 246411"/>
                <a:gd name="connsiteX5" fmla="*/ 323755 w 323754"/>
                <a:gd name="connsiteY5" fmla="*/ 50959 h 246411"/>
                <a:gd name="connsiteX6" fmla="*/ 136303 w 323754"/>
                <a:gd name="connsiteY6" fmla="*/ 246412 h 246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3754" h="246411">
                  <a:moveTo>
                    <a:pt x="136303" y="246412"/>
                  </a:moveTo>
                  <a:lnTo>
                    <a:pt x="0" y="115919"/>
                  </a:lnTo>
                  <a:lnTo>
                    <a:pt x="50959" y="62675"/>
                  </a:lnTo>
                  <a:lnTo>
                    <a:pt x="134112" y="142208"/>
                  </a:lnTo>
                  <a:lnTo>
                    <a:pt x="270510" y="0"/>
                  </a:lnTo>
                  <a:lnTo>
                    <a:pt x="323755" y="50959"/>
                  </a:lnTo>
                  <a:lnTo>
                    <a:pt x="136303" y="246412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53" name="Shape32_20220502_101224">
              <a:extLst>
                <a:ext uri="{FF2B5EF4-FFF2-40B4-BE49-F238E27FC236}">
                  <a16:creationId xmlns:a16="http://schemas.microsoft.com/office/drawing/2014/main" id="{D9725AE4-AB93-1A19-E7CE-057B25186F3E}"/>
                </a:ext>
              </a:extLst>
            </p:cNvPr>
            <p:cNvSpPr/>
            <p:nvPr/>
          </p:nvSpPr>
          <p:spPr>
            <a:xfrm>
              <a:off x="9859936" y="4255168"/>
              <a:ext cx="336824" cy="40386"/>
            </a:xfrm>
            <a:custGeom>
              <a:avLst/>
              <a:gdLst>
                <a:gd name="connsiteX0" fmla="*/ 0 w 479012"/>
                <a:gd name="connsiteY0" fmla="*/ 0 h 57435"/>
                <a:gd name="connsiteX1" fmla="*/ 479012 w 479012"/>
                <a:gd name="connsiteY1" fmla="*/ 0 h 57435"/>
                <a:gd name="connsiteX2" fmla="*/ 479012 w 479012"/>
                <a:gd name="connsiteY2" fmla="*/ 57436 h 57435"/>
                <a:gd name="connsiteX3" fmla="*/ 0 w 479012"/>
                <a:gd name="connsiteY3" fmla="*/ 57436 h 57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9012" h="57435">
                  <a:moveTo>
                    <a:pt x="0" y="0"/>
                  </a:moveTo>
                  <a:lnTo>
                    <a:pt x="479012" y="0"/>
                  </a:lnTo>
                  <a:lnTo>
                    <a:pt x="479012" y="57436"/>
                  </a:lnTo>
                  <a:lnTo>
                    <a:pt x="0" y="57436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54" name="Shape33_20220502_101224">
              <a:extLst>
                <a:ext uri="{FF2B5EF4-FFF2-40B4-BE49-F238E27FC236}">
                  <a16:creationId xmlns:a16="http://schemas.microsoft.com/office/drawing/2014/main" id="{01E6E1A4-E8F2-ECB4-032E-C145DED657B3}"/>
                </a:ext>
              </a:extLst>
            </p:cNvPr>
            <p:cNvSpPr/>
            <p:nvPr/>
          </p:nvSpPr>
          <p:spPr>
            <a:xfrm>
              <a:off x="9859936" y="4357442"/>
              <a:ext cx="673581" cy="40386"/>
            </a:xfrm>
            <a:custGeom>
              <a:avLst/>
              <a:gdLst>
                <a:gd name="connsiteX0" fmla="*/ 0 w 957929"/>
                <a:gd name="connsiteY0" fmla="*/ 0 h 57435"/>
                <a:gd name="connsiteX1" fmla="*/ 957929 w 957929"/>
                <a:gd name="connsiteY1" fmla="*/ 0 h 57435"/>
                <a:gd name="connsiteX2" fmla="*/ 957929 w 957929"/>
                <a:gd name="connsiteY2" fmla="*/ 57436 h 57435"/>
                <a:gd name="connsiteX3" fmla="*/ 0 w 957929"/>
                <a:gd name="connsiteY3" fmla="*/ 57436 h 57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7929" h="57435">
                  <a:moveTo>
                    <a:pt x="0" y="0"/>
                  </a:moveTo>
                  <a:lnTo>
                    <a:pt x="957929" y="0"/>
                  </a:lnTo>
                  <a:lnTo>
                    <a:pt x="957929" y="57436"/>
                  </a:lnTo>
                  <a:lnTo>
                    <a:pt x="0" y="57436"/>
                  </a:lnTo>
                  <a:close/>
                </a:path>
              </a:pathLst>
            </a:custGeom>
            <a:solidFill>
              <a:srgbClr val="E5E5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56" name="Shape34_20220502_101224">
              <a:extLst>
                <a:ext uri="{FF2B5EF4-FFF2-40B4-BE49-F238E27FC236}">
                  <a16:creationId xmlns:a16="http://schemas.microsoft.com/office/drawing/2014/main" id="{B433E6B1-5185-FB43-20B0-2C0D257A9924}"/>
                </a:ext>
              </a:extLst>
            </p:cNvPr>
            <p:cNvSpPr/>
            <p:nvPr/>
          </p:nvSpPr>
          <p:spPr>
            <a:xfrm>
              <a:off x="9859936" y="4456969"/>
              <a:ext cx="673581" cy="40386"/>
            </a:xfrm>
            <a:custGeom>
              <a:avLst/>
              <a:gdLst>
                <a:gd name="connsiteX0" fmla="*/ 0 w 957929"/>
                <a:gd name="connsiteY0" fmla="*/ 0 h 57435"/>
                <a:gd name="connsiteX1" fmla="*/ 957929 w 957929"/>
                <a:gd name="connsiteY1" fmla="*/ 0 h 57435"/>
                <a:gd name="connsiteX2" fmla="*/ 957929 w 957929"/>
                <a:gd name="connsiteY2" fmla="*/ 57436 h 57435"/>
                <a:gd name="connsiteX3" fmla="*/ 0 w 957929"/>
                <a:gd name="connsiteY3" fmla="*/ 57436 h 57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7929" h="57435">
                  <a:moveTo>
                    <a:pt x="0" y="0"/>
                  </a:moveTo>
                  <a:lnTo>
                    <a:pt x="957929" y="0"/>
                  </a:lnTo>
                  <a:lnTo>
                    <a:pt x="957929" y="57436"/>
                  </a:lnTo>
                  <a:lnTo>
                    <a:pt x="0" y="57436"/>
                  </a:lnTo>
                  <a:close/>
                </a:path>
              </a:pathLst>
            </a:custGeom>
            <a:solidFill>
              <a:srgbClr val="E5E5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57" name="Shape35_20220502_101224">
              <a:extLst>
                <a:ext uri="{FF2B5EF4-FFF2-40B4-BE49-F238E27FC236}">
                  <a16:creationId xmlns:a16="http://schemas.microsoft.com/office/drawing/2014/main" id="{B7EADCA3-82DE-5F4F-9B73-1A0A1AAF50D3}"/>
                </a:ext>
              </a:extLst>
            </p:cNvPr>
            <p:cNvSpPr/>
            <p:nvPr/>
          </p:nvSpPr>
          <p:spPr>
            <a:xfrm>
              <a:off x="9859936" y="4556428"/>
              <a:ext cx="673581" cy="40386"/>
            </a:xfrm>
            <a:custGeom>
              <a:avLst/>
              <a:gdLst>
                <a:gd name="connsiteX0" fmla="*/ 0 w 957929"/>
                <a:gd name="connsiteY0" fmla="*/ 0 h 57435"/>
                <a:gd name="connsiteX1" fmla="*/ 957929 w 957929"/>
                <a:gd name="connsiteY1" fmla="*/ 0 h 57435"/>
                <a:gd name="connsiteX2" fmla="*/ 957929 w 957929"/>
                <a:gd name="connsiteY2" fmla="*/ 57436 h 57435"/>
                <a:gd name="connsiteX3" fmla="*/ 0 w 957929"/>
                <a:gd name="connsiteY3" fmla="*/ 57436 h 57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7929" h="57435">
                  <a:moveTo>
                    <a:pt x="0" y="0"/>
                  </a:moveTo>
                  <a:lnTo>
                    <a:pt x="957929" y="0"/>
                  </a:lnTo>
                  <a:lnTo>
                    <a:pt x="957929" y="57436"/>
                  </a:lnTo>
                  <a:lnTo>
                    <a:pt x="0" y="57436"/>
                  </a:lnTo>
                  <a:close/>
                </a:path>
              </a:pathLst>
            </a:custGeom>
            <a:solidFill>
              <a:srgbClr val="E5E5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58" name="Shape36_20220502_101224">
              <a:extLst>
                <a:ext uri="{FF2B5EF4-FFF2-40B4-BE49-F238E27FC236}">
                  <a16:creationId xmlns:a16="http://schemas.microsoft.com/office/drawing/2014/main" id="{02D1DB78-96B6-B0AF-34FE-FB81D2289731}"/>
                </a:ext>
              </a:extLst>
            </p:cNvPr>
            <p:cNvSpPr/>
            <p:nvPr/>
          </p:nvSpPr>
          <p:spPr>
            <a:xfrm>
              <a:off x="9403357" y="4255168"/>
              <a:ext cx="341644" cy="341646"/>
            </a:xfrm>
            <a:custGeom>
              <a:avLst/>
              <a:gdLst>
                <a:gd name="connsiteX0" fmla="*/ 76581 w 485870"/>
                <a:gd name="connsiteY0" fmla="*/ 485870 h 485870"/>
                <a:gd name="connsiteX1" fmla="*/ 22479 w 485870"/>
                <a:gd name="connsiteY1" fmla="*/ 463391 h 485870"/>
                <a:gd name="connsiteX2" fmla="*/ 0 w 485870"/>
                <a:gd name="connsiteY2" fmla="*/ 409289 h 485870"/>
                <a:gd name="connsiteX3" fmla="*/ 0 w 485870"/>
                <a:gd name="connsiteY3" fmla="*/ 76581 h 485870"/>
                <a:gd name="connsiteX4" fmla="*/ 76581 w 485870"/>
                <a:gd name="connsiteY4" fmla="*/ 0 h 485870"/>
                <a:gd name="connsiteX5" fmla="*/ 409289 w 485870"/>
                <a:gd name="connsiteY5" fmla="*/ 0 h 485870"/>
                <a:gd name="connsiteX6" fmla="*/ 485870 w 485870"/>
                <a:gd name="connsiteY6" fmla="*/ 76581 h 485870"/>
                <a:gd name="connsiteX7" fmla="*/ 485870 w 485870"/>
                <a:gd name="connsiteY7" fmla="*/ 409289 h 485870"/>
                <a:gd name="connsiteX8" fmla="*/ 463391 w 485870"/>
                <a:gd name="connsiteY8" fmla="*/ 463391 h 485870"/>
                <a:gd name="connsiteX9" fmla="*/ 409289 w 485870"/>
                <a:gd name="connsiteY9" fmla="*/ 485870 h 485870"/>
                <a:gd name="connsiteX10" fmla="*/ 76581 w 485870"/>
                <a:gd name="connsiteY10" fmla="*/ 485870 h 485870"/>
                <a:gd name="connsiteX11" fmla="*/ 76581 w 485870"/>
                <a:gd name="connsiteY11" fmla="*/ 53721 h 485870"/>
                <a:gd name="connsiteX12" fmla="*/ 60484 w 485870"/>
                <a:gd name="connsiteY12" fmla="*/ 60389 h 485870"/>
                <a:gd name="connsiteX13" fmla="*/ 53816 w 485870"/>
                <a:gd name="connsiteY13" fmla="*/ 76486 h 485870"/>
                <a:gd name="connsiteX14" fmla="*/ 53816 w 485870"/>
                <a:gd name="connsiteY14" fmla="*/ 409194 h 485870"/>
                <a:gd name="connsiteX15" fmla="*/ 76676 w 485870"/>
                <a:gd name="connsiteY15" fmla="*/ 432054 h 485870"/>
                <a:gd name="connsiteX16" fmla="*/ 409289 w 485870"/>
                <a:gd name="connsiteY16" fmla="*/ 432054 h 485870"/>
                <a:gd name="connsiteX17" fmla="*/ 432149 w 485870"/>
                <a:gd name="connsiteY17" fmla="*/ 409194 h 485870"/>
                <a:gd name="connsiteX18" fmla="*/ 432149 w 485870"/>
                <a:gd name="connsiteY18" fmla="*/ 76486 h 485870"/>
                <a:gd name="connsiteX19" fmla="*/ 409289 w 485870"/>
                <a:gd name="connsiteY19" fmla="*/ 53626 h 485870"/>
                <a:gd name="connsiteX20" fmla="*/ 409289 w 485870"/>
                <a:gd name="connsiteY20" fmla="*/ 53626 h 485870"/>
                <a:gd name="connsiteX21" fmla="*/ 76581 w 485870"/>
                <a:gd name="connsiteY21" fmla="*/ 53721 h 485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85870" h="485870">
                  <a:moveTo>
                    <a:pt x="76581" y="485870"/>
                  </a:moveTo>
                  <a:cubicBezTo>
                    <a:pt x="56197" y="485870"/>
                    <a:pt x="36957" y="477869"/>
                    <a:pt x="22479" y="463391"/>
                  </a:cubicBezTo>
                  <a:cubicBezTo>
                    <a:pt x="8001" y="448913"/>
                    <a:pt x="0" y="429673"/>
                    <a:pt x="0" y="409289"/>
                  </a:cubicBezTo>
                  <a:lnTo>
                    <a:pt x="0" y="76581"/>
                  </a:lnTo>
                  <a:cubicBezTo>
                    <a:pt x="0" y="34385"/>
                    <a:pt x="34385" y="0"/>
                    <a:pt x="76581" y="0"/>
                  </a:cubicBezTo>
                  <a:lnTo>
                    <a:pt x="409289" y="0"/>
                  </a:lnTo>
                  <a:cubicBezTo>
                    <a:pt x="451485" y="0"/>
                    <a:pt x="485870" y="34385"/>
                    <a:pt x="485870" y="76581"/>
                  </a:cubicBezTo>
                  <a:lnTo>
                    <a:pt x="485870" y="409289"/>
                  </a:lnTo>
                  <a:cubicBezTo>
                    <a:pt x="485870" y="429673"/>
                    <a:pt x="477869" y="448913"/>
                    <a:pt x="463391" y="463391"/>
                  </a:cubicBezTo>
                  <a:cubicBezTo>
                    <a:pt x="448913" y="477869"/>
                    <a:pt x="429673" y="485870"/>
                    <a:pt x="409289" y="485870"/>
                  </a:cubicBezTo>
                  <a:lnTo>
                    <a:pt x="76581" y="485870"/>
                  </a:lnTo>
                  <a:close/>
                  <a:moveTo>
                    <a:pt x="76581" y="53721"/>
                  </a:moveTo>
                  <a:cubicBezTo>
                    <a:pt x="70485" y="53721"/>
                    <a:pt x="64770" y="56102"/>
                    <a:pt x="60484" y="60389"/>
                  </a:cubicBezTo>
                  <a:cubicBezTo>
                    <a:pt x="56197" y="64675"/>
                    <a:pt x="53816" y="70485"/>
                    <a:pt x="53816" y="76486"/>
                  </a:cubicBezTo>
                  <a:lnTo>
                    <a:pt x="53816" y="409194"/>
                  </a:lnTo>
                  <a:cubicBezTo>
                    <a:pt x="53816" y="421767"/>
                    <a:pt x="64103" y="432054"/>
                    <a:pt x="76676" y="432054"/>
                  </a:cubicBezTo>
                  <a:lnTo>
                    <a:pt x="409289" y="432054"/>
                  </a:lnTo>
                  <a:cubicBezTo>
                    <a:pt x="421862" y="432054"/>
                    <a:pt x="432149" y="421767"/>
                    <a:pt x="432149" y="409194"/>
                  </a:cubicBezTo>
                  <a:lnTo>
                    <a:pt x="432149" y="76486"/>
                  </a:lnTo>
                  <a:cubicBezTo>
                    <a:pt x="432149" y="63913"/>
                    <a:pt x="421957" y="53626"/>
                    <a:pt x="409289" y="53626"/>
                  </a:cubicBezTo>
                  <a:lnTo>
                    <a:pt x="409289" y="53626"/>
                  </a:lnTo>
                  <a:lnTo>
                    <a:pt x="76581" y="53721"/>
                  </a:lnTo>
                  <a:close/>
                </a:path>
              </a:pathLst>
            </a:custGeom>
            <a:solidFill>
              <a:srgbClr val="E5E5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59" name="Shape37_20220502_101224">
              <a:extLst>
                <a:ext uri="{FF2B5EF4-FFF2-40B4-BE49-F238E27FC236}">
                  <a16:creationId xmlns:a16="http://schemas.microsoft.com/office/drawing/2014/main" id="{1A465F2E-5731-DDD4-7FD0-979FF193299F}"/>
                </a:ext>
              </a:extLst>
            </p:cNvPr>
            <p:cNvSpPr/>
            <p:nvPr/>
          </p:nvSpPr>
          <p:spPr>
            <a:xfrm>
              <a:off x="9460419" y="4341164"/>
              <a:ext cx="227650" cy="173267"/>
            </a:xfrm>
            <a:custGeom>
              <a:avLst/>
              <a:gdLst>
                <a:gd name="connsiteX0" fmla="*/ 136303 w 323754"/>
                <a:gd name="connsiteY0" fmla="*/ 246412 h 246411"/>
                <a:gd name="connsiteX1" fmla="*/ 0 w 323754"/>
                <a:gd name="connsiteY1" fmla="*/ 115919 h 246411"/>
                <a:gd name="connsiteX2" fmla="*/ 50959 w 323754"/>
                <a:gd name="connsiteY2" fmla="*/ 62674 h 246411"/>
                <a:gd name="connsiteX3" fmla="*/ 134112 w 323754"/>
                <a:gd name="connsiteY3" fmla="*/ 142208 h 246411"/>
                <a:gd name="connsiteX4" fmla="*/ 270510 w 323754"/>
                <a:gd name="connsiteY4" fmla="*/ 0 h 246411"/>
                <a:gd name="connsiteX5" fmla="*/ 323755 w 323754"/>
                <a:gd name="connsiteY5" fmla="*/ 50959 h 246411"/>
                <a:gd name="connsiteX6" fmla="*/ 136303 w 323754"/>
                <a:gd name="connsiteY6" fmla="*/ 246412 h 246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3754" h="246411">
                  <a:moveTo>
                    <a:pt x="136303" y="246412"/>
                  </a:moveTo>
                  <a:lnTo>
                    <a:pt x="0" y="115919"/>
                  </a:lnTo>
                  <a:lnTo>
                    <a:pt x="50959" y="62674"/>
                  </a:lnTo>
                  <a:lnTo>
                    <a:pt x="134112" y="142208"/>
                  </a:lnTo>
                  <a:lnTo>
                    <a:pt x="270510" y="0"/>
                  </a:lnTo>
                  <a:lnTo>
                    <a:pt x="323755" y="50959"/>
                  </a:lnTo>
                  <a:lnTo>
                    <a:pt x="136303" y="246412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60" name="Shape38_20220502_101224">
              <a:extLst>
                <a:ext uri="{FF2B5EF4-FFF2-40B4-BE49-F238E27FC236}">
                  <a16:creationId xmlns:a16="http://schemas.microsoft.com/office/drawing/2014/main" id="{079FE57B-66D1-8C10-F1C8-F60FF58907E9}"/>
                </a:ext>
              </a:extLst>
            </p:cNvPr>
            <p:cNvSpPr/>
            <p:nvPr/>
          </p:nvSpPr>
          <p:spPr>
            <a:xfrm rot="20243205">
              <a:off x="9915443" y="2600987"/>
              <a:ext cx="103543" cy="103409"/>
            </a:xfrm>
            <a:custGeom>
              <a:avLst/>
              <a:gdLst>
                <a:gd name="connsiteX0" fmla="*/ 147253 w 147253"/>
                <a:gd name="connsiteY0" fmla="*/ 73531 h 147062"/>
                <a:gd name="connsiteX1" fmla="*/ 73627 w 147253"/>
                <a:gd name="connsiteY1" fmla="*/ 147063 h 147062"/>
                <a:gd name="connsiteX2" fmla="*/ 0 w 147253"/>
                <a:gd name="connsiteY2" fmla="*/ 73531 h 147062"/>
                <a:gd name="connsiteX3" fmla="*/ 73627 w 147253"/>
                <a:gd name="connsiteY3" fmla="*/ 0 h 147062"/>
                <a:gd name="connsiteX4" fmla="*/ 147253 w 147253"/>
                <a:gd name="connsiteY4" fmla="*/ 73531 h 1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7253" h="147062">
                  <a:moveTo>
                    <a:pt x="147253" y="73531"/>
                  </a:moveTo>
                  <a:cubicBezTo>
                    <a:pt x="147253" y="114142"/>
                    <a:pt x="114289" y="147063"/>
                    <a:pt x="73627" y="147063"/>
                  </a:cubicBezTo>
                  <a:cubicBezTo>
                    <a:pt x="32964" y="147063"/>
                    <a:pt x="0" y="114142"/>
                    <a:pt x="0" y="73531"/>
                  </a:cubicBezTo>
                  <a:cubicBezTo>
                    <a:pt x="0" y="32921"/>
                    <a:pt x="32964" y="0"/>
                    <a:pt x="73627" y="0"/>
                  </a:cubicBezTo>
                  <a:cubicBezTo>
                    <a:pt x="114289" y="0"/>
                    <a:pt x="147253" y="32921"/>
                    <a:pt x="147253" y="73531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9086319A-2011-F414-35AE-FE3E1323F1D6}"/>
                </a:ext>
              </a:extLst>
            </p:cNvPr>
            <p:cNvGrpSpPr/>
            <p:nvPr/>
          </p:nvGrpSpPr>
          <p:grpSpPr>
            <a:xfrm>
              <a:off x="10922865" y="3113622"/>
              <a:ext cx="182578" cy="1522104"/>
              <a:chOff x="15675063" y="4403926"/>
              <a:chExt cx="266139" cy="2218722"/>
            </a:xfrm>
          </p:grpSpPr>
          <p:sp>
            <p:nvSpPr>
              <p:cNvPr id="62" name="Shape39_20220502_101224">
                <a:extLst>
                  <a:ext uri="{FF2B5EF4-FFF2-40B4-BE49-F238E27FC236}">
                    <a16:creationId xmlns:a16="http://schemas.microsoft.com/office/drawing/2014/main" id="{67B9B5B8-6F7A-C107-5941-88FACB5DE5E3}"/>
                  </a:ext>
                </a:extLst>
              </p:cNvPr>
              <p:cNvSpPr/>
              <p:nvPr/>
            </p:nvSpPr>
            <p:spPr>
              <a:xfrm>
                <a:off x="15724853" y="4453811"/>
                <a:ext cx="216349" cy="2168837"/>
              </a:xfrm>
              <a:custGeom>
                <a:avLst/>
                <a:gdLst>
                  <a:gd name="connsiteX0" fmla="*/ 187738 w 211074"/>
                  <a:gd name="connsiteY0" fmla="*/ 123825 h 2115978"/>
                  <a:gd name="connsiteX1" fmla="*/ 163735 w 211074"/>
                  <a:gd name="connsiteY1" fmla="*/ 123825 h 2115978"/>
                  <a:gd name="connsiteX2" fmla="*/ 163735 w 211074"/>
                  <a:gd name="connsiteY2" fmla="*/ 80105 h 2115978"/>
                  <a:gd name="connsiteX3" fmla="*/ 163735 w 211074"/>
                  <a:gd name="connsiteY3" fmla="*/ 27146 h 2115978"/>
                  <a:gd name="connsiteX4" fmla="*/ 136589 w 211074"/>
                  <a:gd name="connsiteY4" fmla="*/ 0 h 2115978"/>
                  <a:gd name="connsiteX5" fmla="*/ 74486 w 211074"/>
                  <a:gd name="connsiteY5" fmla="*/ 0 h 2115978"/>
                  <a:gd name="connsiteX6" fmla="*/ 47339 w 211074"/>
                  <a:gd name="connsiteY6" fmla="*/ 27146 h 2115978"/>
                  <a:gd name="connsiteX7" fmla="*/ 47339 w 211074"/>
                  <a:gd name="connsiteY7" fmla="*/ 80200 h 2115978"/>
                  <a:gd name="connsiteX8" fmla="*/ 47339 w 211074"/>
                  <a:gd name="connsiteY8" fmla="*/ 123920 h 2115978"/>
                  <a:gd name="connsiteX9" fmla="*/ 23336 w 211074"/>
                  <a:gd name="connsiteY9" fmla="*/ 123920 h 2115978"/>
                  <a:gd name="connsiteX10" fmla="*/ 0 w 211074"/>
                  <a:gd name="connsiteY10" fmla="*/ 147256 h 2115978"/>
                  <a:gd name="connsiteX11" fmla="*/ 0 w 211074"/>
                  <a:gd name="connsiteY11" fmla="*/ 205264 h 2115978"/>
                  <a:gd name="connsiteX12" fmla="*/ 0 w 211074"/>
                  <a:gd name="connsiteY12" fmla="*/ 222790 h 2115978"/>
                  <a:gd name="connsiteX13" fmla="*/ 0 w 211074"/>
                  <a:gd name="connsiteY13" fmla="*/ 1190816 h 2115978"/>
                  <a:gd name="connsiteX14" fmla="*/ 34576 w 211074"/>
                  <a:gd name="connsiteY14" fmla="*/ 1832991 h 2115978"/>
                  <a:gd name="connsiteX15" fmla="*/ 34576 w 211074"/>
                  <a:gd name="connsiteY15" fmla="*/ 1881569 h 2115978"/>
                  <a:gd name="connsiteX16" fmla="*/ 49911 w 211074"/>
                  <a:gd name="connsiteY16" fmla="*/ 1881569 h 2115978"/>
                  <a:gd name="connsiteX17" fmla="*/ 71723 w 211074"/>
                  <a:gd name="connsiteY17" fmla="*/ 2057876 h 2115978"/>
                  <a:gd name="connsiteX18" fmla="*/ 91154 w 211074"/>
                  <a:gd name="connsiteY18" fmla="*/ 2057876 h 2115978"/>
                  <a:gd name="connsiteX19" fmla="*/ 91154 w 211074"/>
                  <a:gd name="connsiteY19" fmla="*/ 2101120 h 2115978"/>
                  <a:gd name="connsiteX20" fmla="*/ 105537 w 211074"/>
                  <a:gd name="connsiteY20" fmla="*/ 2115979 h 2115978"/>
                  <a:gd name="connsiteX21" fmla="*/ 119920 w 211074"/>
                  <a:gd name="connsiteY21" fmla="*/ 2101120 h 2115978"/>
                  <a:gd name="connsiteX22" fmla="*/ 119920 w 211074"/>
                  <a:gd name="connsiteY22" fmla="*/ 2057876 h 2115978"/>
                  <a:gd name="connsiteX23" fmla="*/ 139351 w 211074"/>
                  <a:gd name="connsiteY23" fmla="*/ 2057876 h 2115978"/>
                  <a:gd name="connsiteX24" fmla="*/ 161163 w 211074"/>
                  <a:gd name="connsiteY24" fmla="*/ 1881569 h 2115978"/>
                  <a:gd name="connsiteX25" fmla="*/ 174593 w 211074"/>
                  <a:gd name="connsiteY25" fmla="*/ 1881569 h 2115978"/>
                  <a:gd name="connsiteX26" fmla="*/ 176498 w 211074"/>
                  <a:gd name="connsiteY26" fmla="*/ 1881569 h 2115978"/>
                  <a:gd name="connsiteX27" fmla="*/ 176498 w 211074"/>
                  <a:gd name="connsiteY27" fmla="*/ 1832991 h 2115978"/>
                  <a:gd name="connsiteX28" fmla="*/ 211074 w 211074"/>
                  <a:gd name="connsiteY28" fmla="*/ 1190816 h 2115978"/>
                  <a:gd name="connsiteX29" fmla="*/ 211074 w 211074"/>
                  <a:gd name="connsiteY29" fmla="*/ 1190816 h 2115978"/>
                  <a:gd name="connsiteX30" fmla="*/ 211074 w 211074"/>
                  <a:gd name="connsiteY30" fmla="*/ 1190816 h 2115978"/>
                  <a:gd name="connsiteX31" fmla="*/ 211074 w 211074"/>
                  <a:gd name="connsiteY31" fmla="*/ 1122712 h 2115978"/>
                  <a:gd name="connsiteX32" fmla="*/ 211074 w 211074"/>
                  <a:gd name="connsiteY32" fmla="*/ 222885 h 2115978"/>
                  <a:gd name="connsiteX33" fmla="*/ 211074 w 211074"/>
                  <a:gd name="connsiteY33" fmla="*/ 205359 h 2115978"/>
                  <a:gd name="connsiteX34" fmla="*/ 211074 w 211074"/>
                  <a:gd name="connsiteY34" fmla="*/ 147352 h 2115978"/>
                  <a:gd name="connsiteX35" fmla="*/ 187738 w 211074"/>
                  <a:gd name="connsiteY35" fmla="*/ 123825 h 21159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211074" h="2115978">
                    <a:moveTo>
                      <a:pt x="187738" y="123825"/>
                    </a:moveTo>
                    <a:lnTo>
                      <a:pt x="163735" y="123825"/>
                    </a:lnTo>
                    <a:lnTo>
                      <a:pt x="163735" y="80105"/>
                    </a:lnTo>
                    <a:lnTo>
                      <a:pt x="163735" y="27146"/>
                    </a:lnTo>
                    <a:cubicBezTo>
                      <a:pt x="163735" y="12192"/>
                      <a:pt x="151543" y="0"/>
                      <a:pt x="136589" y="0"/>
                    </a:cubicBezTo>
                    <a:lnTo>
                      <a:pt x="74486" y="0"/>
                    </a:lnTo>
                    <a:cubicBezTo>
                      <a:pt x="59531" y="0"/>
                      <a:pt x="47339" y="12192"/>
                      <a:pt x="47339" y="27146"/>
                    </a:cubicBezTo>
                    <a:lnTo>
                      <a:pt x="47339" y="80200"/>
                    </a:lnTo>
                    <a:lnTo>
                      <a:pt x="47339" y="123920"/>
                    </a:lnTo>
                    <a:lnTo>
                      <a:pt x="23336" y="123920"/>
                    </a:lnTo>
                    <a:cubicBezTo>
                      <a:pt x="10478" y="123920"/>
                      <a:pt x="0" y="134398"/>
                      <a:pt x="0" y="147256"/>
                    </a:cubicBezTo>
                    <a:lnTo>
                      <a:pt x="0" y="205264"/>
                    </a:lnTo>
                    <a:lnTo>
                      <a:pt x="0" y="222790"/>
                    </a:lnTo>
                    <a:lnTo>
                      <a:pt x="0" y="1190816"/>
                    </a:lnTo>
                    <a:lnTo>
                      <a:pt x="34576" y="1832991"/>
                    </a:lnTo>
                    <a:lnTo>
                      <a:pt x="34576" y="1881569"/>
                    </a:lnTo>
                    <a:lnTo>
                      <a:pt x="49911" y="1881569"/>
                    </a:lnTo>
                    <a:lnTo>
                      <a:pt x="71723" y="2057876"/>
                    </a:lnTo>
                    <a:lnTo>
                      <a:pt x="91154" y="2057876"/>
                    </a:lnTo>
                    <a:lnTo>
                      <a:pt x="91154" y="2101120"/>
                    </a:lnTo>
                    <a:cubicBezTo>
                      <a:pt x="91154" y="2109311"/>
                      <a:pt x="97631" y="2115979"/>
                      <a:pt x="105537" y="2115979"/>
                    </a:cubicBezTo>
                    <a:cubicBezTo>
                      <a:pt x="113443" y="2115979"/>
                      <a:pt x="119920" y="2109311"/>
                      <a:pt x="119920" y="2101120"/>
                    </a:cubicBezTo>
                    <a:lnTo>
                      <a:pt x="119920" y="2057876"/>
                    </a:lnTo>
                    <a:lnTo>
                      <a:pt x="139351" y="2057876"/>
                    </a:lnTo>
                    <a:lnTo>
                      <a:pt x="161163" y="1881569"/>
                    </a:lnTo>
                    <a:lnTo>
                      <a:pt x="174593" y="1881569"/>
                    </a:lnTo>
                    <a:lnTo>
                      <a:pt x="176498" y="1881569"/>
                    </a:lnTo>
                    <a:lnTo>
                      <a:pt x="176498" y="1832991"/>
                    </a:lnTo>
                    <a:lnTo>
                      <a:pt x="211074" y="1190816"/>
                    </a:lnTo>
                    <a:lnTo>
                      <a:pt x="211074" y="1190816"/>
                    </a:lnTo>
                    <a:lnTo>
                      <a:pt x="211074" y="1190816"/>
                    </a:lnTo>
                    <a:lnTo>
                      <a:pt x="211074" y="1122712"/>
                    </a:lnTo>
                    <a:lnTo>
                      <a:pt x="211074" y="222885"/>
                    </a:lnTo>
                    <a:lnTo>
                      <a:pt x="211074" y="205359"/>
                    </a:lnTo>
                    <a:lnTo>
                      <a:pt x="211074" y="147352"/>
                    </a:lnTo>
                    <a:cubicBezTo>
                      <a:pt x="211074" y="134302"/>
                      <a:pt x="200501" y="123825"/>
                      <a:pt x="187738" y="123825"/>
                    </a:cubicBezTo>
                    <a:close/>
                  </a:path>
                </a:pathLst>
              </a:custGeom>
              <a:solidFill>
                <a:srgbClr val="000000">
                  <a:alpha val="12000"/>
                </a:srgb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50715">
                  <a:lnSpc>
                    <a:spcPct val="90000"/>
                  </a:lnSpc>
                  <a:defRPr/>
                </a:pPr>
                <a:endParaRPr lang="en-IN" sz="2800" dirty="0">
                  <a:solidFill>
                    <a:srgbClr val="070605"/>
                  </a:solidFill>
                </a:endParaRPr>
              </a:p>
            </p:txBody>
          </p:sp>
          <p:sp>
            <p:nvSpPr>
              <p:cNvPr id="63" name="Shape40_20220502_101224">
                <a:extLst>
                  <a:ext uri="{FF2B5EF4-FFF2-40B4-BE49-F238E27FC236}">
                    <a16:creationId xmlns:a16="http://schemas.microsoft.com/office/drawing/2014/main" id="{C6F3A482-7BE7-3EBA-3FDE-D880D734B960}"/>
                  </a:ext>
                </a:extLst>
              </p:cNvPr>
              <p:cNvSpPr/>
              <p:nvPr/>
            </p:nvSpPr>
            <p:spPr>
              <a:xfrm>
                <a:off x="15723585" y="4403926"/>
                <a:ext cx="119303" cy="236751"/>
              </a:xfrm>
              <a:custGeom>
                <a:avLst/>
                <a:gdLst>
                  <a:gd name="connsiteX0" fmla="*/ 89249 w 116395"/>
                  <a:gd name="connsiteY0" fmla="*/ 230981 h 230981"/>
                  <a:gd name="connsiteX1" fmla="*/ 27146 w 116395"/>
                  <a:gd name="connsiteY1" fmla="*/ 230981 h 230981"/>
                  <a:gd name="connsiteX2" fmla="*/ 0 w 116395"/>
                  <a:gd name="connsiteY2" fmla="*/ 203835 h 230981"/>
                  <a:gd name="connsiteX3" fmla="*/ 0 w 116395"/>
                  <a:gd name="connsiteY3" fmla="*/ 27146 h 230981"/>
                  <a:gd name="connsiteX4" fmla="*/ 27146 w 116395"/>
                  <a:gd name="connsiteY4" fmla="*/ 0 h 230981"/>
                  <a:gd name="connsiteX5" fmla="*/ 89249 w 116395"/>
                  <a:gd name="connsiteY5" fmla="*/ 0 h 230981"/>
                  <a:gd name="connsiteX6" fmla="*/ 116396 w 116395"/>
                  <a:gd name="connsiteY6" fmla="*/ 27146 h 230981"/>
                  <a:gd name="connsiteX7" fmla="*/ 116396 w 116395"/>
                  <a:gd name="connsiteY7" fmla="*/ 203835 h 230981"/>
                  <a:gd name="connsiteX8" fmla="*/ 89249 w 116395"/>
                  <a:gd name="connsiteY8" fmla="*/ 230981 h 2309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6395" h="230981">
                    <a:moveTo>
                      <a:pt x="89249" y="230981"/>
                    </a:moveTo>
                    <a:lnTo>
                      <a:pt x="27146" y="230981"/>
                    </a:lnTo>
                    <a:cubicBezTo>
                      <a:pt x="12192" y="230981"/>
                      <a:pt x="0" y="218789"/>
                      <a:pt x="0" y="203835"/>
                    </a:cubicBezTo>
                    <a:lnTo>
                      <a:pt x="0" y="27146"/>
                    </a:lnTo>
                    <a:cubicBezTo>
                      <a:pt x="0" y="12192"/>
                      <a:pt x="12192" y="0"/>
                      <a:pt x="27146" y="0"/>
                    </a:cubicBezTo>
                    <a:lnTo>
                      <a:pt x="89249" y="0"/>
                    </a:lnTo>
                    <a:cubicBezTo>
                      <a:pt x="104203" y="0"/>
                      <a:pt x="116396" y="12192"/>
                      <a:pt x="116396" y="27146"/>
                    </a:cubicBezTo>
                    <a:lnTo>
                      <a:pt x="116396" y="203835"/>
                    </a:lnTo>
                    <a:cubicBezTo>
                      <a:pt x="116300" y="218694"/>
                      <a:pt x="104108" y="230981"/>
                      <a:pt x="89249" y="230981"/>
                    </a:cubicBez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50715">
                  <a:lnSpc>
                    <a:spcPct val="90000"/>
                  </a:lnSpc>
                  <a:defRPr/>
                </a:pPr>
                <a:endParaRPr lang="en-IN" sz="2800" dirty="0">
                  <a:solidFill>
                    <a:srgbClr val="070605"/>
                  </a:solidFill>
                </a:endParaRPr>
              </a:p>
            </p:txBody>
          </p:sp>
          <p:sp>
            <p:nvSpPr>
              <p:cNvPr id="64" name="Shape41_20220502_101224">
                <a:extLst>
                  <a:ext uri="{FF2B5EF4-FFF2-40B4-BE49-F238E27FC236}">
                    <a16:creationId xmlns:a16="http://schemas.microsoft.com/office/drawing/2014/main" id="{4690AA3C-3F3C-9E6C-B2EA-1D735DC90042}"/>
                  </a:ext>
                </a:extLst>
              </p:cNvPr>
              <p:cNvSpPr/>
              <p:nvPr/>
            </p:nvSpPr>
            <p:spPr>
              <a:xfrm>
                <a:off x="15675063" y="4530942"/>
                <a:ext cx="216251" cy="125257"/>
              </a:xfrm>
              <a:custGeom>
                <a:avLst/>
                <a:gdLst>
                  <a:gd name="connsiteX0" fmla="*/ 187642 w 210979"/>
                  <a:gd name="connsiteY0" fmla="*/ 122206 h 122205"/>
                  <a:gd name="connsiteX1" fmla="*/ 23336 w 210979"/>
                  <a:gd name="connsiteY1" fmla="*/ 122206 h 122205"/>
                  <a:gd name="connsiteX2" fmla="*/ 0 w 210979"/>
                  <a:gd name="connsiteY2" fmla="*/ 98869 h 122205"/>
                  <a:gd name="connsiteX3" fmla="*/ 0 w 210979"/>
                  <a:gd name="connsiteY3" fmla="*/ 23336 h 122205"/>
                  <a:gd name="connsiteX4" fmla="*/ 23336 w 210979"/>
                  <a:gd name="connsiteY4" fmla="*/ 0 h 122205"/>
                  <a:gd name="connsiteX5" fmla="*/ 187642 w 210979"/>
                  <a:gd name="connsiteY5" fmla="*/ 0 h 122205"/>
                  <a:gd name="connsiteX6" fmla="*/ 210979 w 210979"/>
                  <a:gd name="connsiteY6" fmla="*/ 23336 h 122205"/>
                  <a:gd name="connsiteX7" fmla="*/ 210979 w 210979"/>
                  <a:gd name="connsiteY7" fmla="*/ 98869 h 122205"/>
                  <a:gd name="connsiteX8" fmla="*/ 187642 w 210979"/>
                  <a:gd name="connsiteY8" fmla="*/ 122206 h 1222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10979" h="122205">
                    <a:moveTo>
                      <a:pt x="187642" y="122206"/>
                    </a:moveTo>
                    <a:lnTo>
                      <a:pt x="23336" y="122206"/>
                    </a:lnTo>
                    <a:cubicBezTo>
                      <a:pt x="10477" y="122206"/>
                      <a:pt x="0" y="111728"/>
                      <a:pt x="0" y="98869"/>
                    </a:cubicBezTo>
                    <a:lnTo>
                      <a:pt x="0" y="23336"/>
                    </a:lnTo>
                    <a:cubicBezTo>
                      <a:pt x="0" y="10477"/>
                      <a:pt x="10477" y="0"/>
                      <a:pt x="23336" y="0"/>
                    </a:cubicBezTo>
                    <a:lnTo>
                      <a:pt x="187642" y="0"/>
                    </a:lnTo>
                    <a:cubicBezTo>
                      <a:pt x="200501" y="0"/>
                      <a:pt x="210979" y="10477"/>
                      <a:pt x="210979" y="23336"/>
                    </a:cubicBezTo>
                    <a:lnTo>
                      <a:pt x="210979" y="98869"/>
                    </a:lnTo>
                    <a:cubicBezTo>
                      <a:pt x="211074" y="111728"/>
                      <a:pt x="200501" y="122206"/>
                      <a:pt x="187642" y="122206"/>
                    </a:cubicBez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50715">
                  <a:lnSpc>
                    <a:spcPct val="90000"/>
                  </a:lnSpc>
                  <a:defRPr/>
                </a:pPr>
                <a:endParaRPr lang="en-IN" sz="2800" dirty="0">
                  <a:solidFill>
                    <a:srgbClr val="070605"/>
                  </a:solidFill>
                </a:endParaRPr>
              </a:p>
            </p:txBody>
          </p:sp>
          <p:sp>
            <p:nvSpPr>
              <p:cNvPr id="65" name="Shape0_20220502_101239">
                <a:extLst>
                  <a:ext uri="{FF2B5EF4-FFF2-40B4-BE49-F238E27FC236}">
                    <a16:creationId xmlns:a16="http://schemas.microsoft.com/office/drawing/2014/main" id="{B8EAA28F-77C1-7D94-CE44-EBE8059EE31A}"/>
                  </a:ext>
                </a:extLst>
              </p:cNvPr>
              <p:cNvSpPr/>
              <p:nvPr/>
            </p:nvSpPr>
            <p:spPr>
              <a:xfrm>
                <a:off x="15675063" y="4614317"/>
                <a:ext cx="216347" cy="1668389"/>
              </a:xfrm>
              <a:custGeom>
                <a:avLst/>
                <a:gdLst>
                  <a:gd name="connsiteX0" fmla="*/ 105537 w 211073"/>
                  <a:gd name="connsiteY0" fmla="*/ 0 h 1627727"/>
                  <a:gd name="connsiteX1" fmla="*/ 105537 w 211073"/>
                  <a:gd name="connsiteY1" fmla="*/ 0 h 1627727"/>
                  <a:gd name="connsiteX2" fmla="*/ 0 w 211073"/>
                  <a:gd name="connsiteY2" fmla="*/ 0 h 1627727"/>
                  <a:gd name="connsiteX3" fmla="*/ 0 w 211073"/>
                  <a:gd name="connsiteY3" fmla="*/ 985552 h 1627727"/>
                  <a:gd name="connsiteX4" fmla="*/ 34576 w 211073"/>
                  <a:gd name="connsiteY4" fmla="*/ 1627727 h 1627727"/>
                  <a:gd name="connsiteX5" fmla="*/ 105537 w 211073"/>
                  <a:gd name="connsiteY5" fmla="*/ 1627727 h 1627727"/>
                  <a:gd name="connsiteX6" fmla="*/ 105537 w 211073"/>
                  <a:gd name="connsiteY6" fmla="*/ 1627727 h 1627727"/>
                  <a:gd name="connsiteX7" fmla="*/ 176498 w 211073"/>
                  <a:gd name="connsiteY7" fmla="*/ 1627727 h 1627727"/>
                  <a:gd name="connsiteX8" fmla="*/ 211074 w 211073"/>
                  <a:gd name="connsiteY8" fmla="*/ 985552 h 1627727"/>
                  <a:gd name="connsiteX9" fmla="*/ 211074 w 211073"/>
                  <a:gd name="connsiteY9" fmla="*/ 0 h 1627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11073" h="1627727">
                    <a:moveTo>
                      <a:pt x="105537" y="0"/>
                    </a:moveTo>
                    <a:lnTo>
                      <a:pt x="105537" y="0"/>
                    </a:lnTo>
                    <a:lnTo>
                      <a:pt x="0" y="0"/>
                    </a:lnTo>
                    <a:lnTo>
                      <a:pt x="0" y="985552"/>
                    </a:lnTo>
                    <a:lnTo>
                      <a:pt x="34576" y="1627727"/>
                    </a:lnTo>
                    <a:lnTo>
                      <a:pt x="105537" y="1627727"/>
                    </a:lnTo>
                    <a:lnTo>
                      <a:pt x="105537" y="1627727"/>
                    </a:lnTo>
                    <a:lnTo>
                      <a:pt x="176498" y="1627727"/>
                    </a:lnTo>
                    <a:lnTo>
                      <a:pt x="211074" y="985552"/>
                    </a:lnTo>
                    <a:lnTo>
                      <a:pt x="211074" y="0"/>
                    </a:lnTo>
                    <a:close/>
                  </a:path>
                </a:pathLst>
              </a:custGeom>
              <a:solidFill>
                <a:schemeClr val="accent2">
                  <a:lumMod val="40000"/>
                  <a:lumOff val="60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50715">
                  <a:lnSpc>
                    <a:spcPct val="90000"/>
                  </a:lnSpc>
                  <a:defRPr/>
                </a:pPr>
                <a:endParaRPr lang="en-IN" sz="2800" dirty="0">
                  <a:solidFill>
                    <a:srgbClr val="070605"/>
                  </a:solidFill>
                </a:endParaRPr>
              </a:p>
            </p:txBody>
          </p:sp>
          <p:sp>
            <p:nvSpPr>
              <p:cNvPr id="66" name="Shape0_20220502_101227">
                <a:extLst>
                  <a:ext uri="{FF2B5EF4-FFF2-40B4-BE49-F238E27FC236}">
                    <a16:creationId xmlns:a16="http://schemas.microsoft.com/office/drawing/2014/main" id="{A25D706F-A10E-44D6-871F-1B852C3A781B}"/>
                  </a:ext>
                </a:extLst>
              </p:cNvPr>
              <p:cNvSpPr/>
              <p:nvPr/>
            </p:nvSpPr>
            <p:spPr>
              <a:xfrm>
                <a:off x="15792024" y="4614317"/>
                <a:ext cx="99387" cy="1668389"/>
              </a:xfrm>
              <a:custGeom>
                <a:avLst/>
                <a:gdLst>
                  <a:gd name="connsiteX0" fmla="*/ 34576 w 96964"/>
                  <a:gd name="connsiteY0" fmla="*/ 0 h 1627727"/>
                  <a:gd name="connsiteX1" fmla="*/ 34576 w 96964"/>
                  <a:gd name="connsiteY1" fmla="*/ 985552 h 1627727"/>
                  <a:gd name="connsiteX2" fmla="*/ 0 w 96964"/>
                  <a:gd name="connsiteY2" fmla="*/ 1627727 h 1627727"/>
                  <a:gd name="connsiteX3" fmla="*/ 62389 w 96964"/>
                  <a:gd name="connsiteY3" fmla="*/ 1627727 h 1627727"/>
                  <a:gd name="connsiteX4" fmla="*/ 96964 w 96964"/>
                  <a:gd name="connsiteY4" fmla="*/ 985552 h 1627727"/>
                  <a:gd name="connsiteX5" fmla="*/ 96964 w 96964"/>
                  <a:gd name="connsiteY5" fmla="*/ 0 h 1627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6964" h="1627727">
                    <a:moveTo>
                      <a:pt x="34576" y="0"/>
                    </a:moveTo>
                    <a:lnTo>
                      <a:pt x="34576" y="985552"/>
                    </a:lnTo>
                    <a:lnTo>
                      <a:pt x="0" y="1627727"/>
                    </a:lnTo>
                    <a:lnTo>
                      <a:pt x="62389" y="1627727"/>
                    </a:lnTo>
                    <a:lnTo>
                      <a:pt x="96964" y="985552"/>
                    </a:lnTo>
                    <a:lnTo>
                      <a:pt x="96964" y="0"/>
                    </a:lnTo>
                    <a:close/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50715">
                  <a:lnSpc>
                    <a:spcPct val="90000"/>
                  </a:lnSpc>
                  <a:defRPr/>
                </a:pPr>
                <a:endParaRPr lang="en-IN" sz="2800" dirty="0">
                  <a:solidFill>
                    <a:srgbClr val="070605"/>
                  </a:solidFill>
                </a:endParaRPr>
              </a:p>
            </p:txBody>
          </p:sp>
          <p:sp>
            <p:nvSpPr>
              <p:cNvPr id="67" name="Shape1_20220502_101243">
                <a:extLst>
                  <a:ext uri="{FF2B5EF4-FFF2-40B4-BE49-F238E27FC236}">
                    <a16:creationId xmlns:a16="http://schemas.microsoft.com/office/drawing/2014/main" id="{20F751FD-745C-A084-492D-1CF2B76EA16A}"/>
                  </a:ext>
                </a:extLst>
              </p:cNvPr>
              <p:cNvSpPr/>
              <p:nvPr/>
            </p:nvSpPr>
            <p:spPr>
              <a:xfrm>
                <a:off x="15707282" y="6212802"/>
                <a:ext cx="151813" cy="69902"/>
              </a:xfrm>
              <a:custGeom>
                <a:avLst/>
                <a:gdLst>
                  <a:gd name="connsiteX0" fmla="*/ 0 w 148113"/>
                  <a:gd name="connsiteY0" fmla="*/ 0 h 68198"/>
                  <a:gd name="connsiteX1" fmla="*/ 3429 w 148113"/>
                  <a:gd name="connsiteY1" fmla="*/ 68199 h 68198"/>
                  <a:gd name="connsiteX2" fmla="*/ 74104 w 148113"/>
                  <a:gd name="connsiteY2" fmla="*/ 68199 h 68198"/>
                  <a:gd name="connsiteX3" fmla="*/ 74104 w 148113"/>
                  <a:gd name="connsiteY3" fmla="*/ 68199 h 68198"/>
                  <a:gd name="connsiteX4" fmla="*/ 145066 w 148113"/>
                  <a:gd name="connsiteY4" fmla="*/ 68199 h 68198"/>
                  <a:gd name="connsiteX5" fmla="*/ 148114 w 148113"/>
                  <a:gd name="connsiteY5" fmla="*/ 0 h 68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48113" h="68198">
                    <a:moveTo>
                      <a:pt x="0" y="0"/>
                    </a:moveTo>
                    <a:lnTo>
                      <a:pt x="3429" y="68199"/>
                    </a:lnTo>
                    <a:lnTo>
                      <a:pt x="74104" y="68199"/>
                    </a:lnTo>
                    <a:lnTo>
                      <a:pt x="74104" y="68199"/>
                    </a:lnTo>
                    <a:lnTo>
                      <a:pt x="145066" y="68199"/>
                    </a:lnTo>
                    <a:lnTo>
                      <a:pt x="148114" y="0"/>
                    </a:lnTo>
                    <a:close/>
                  </a:path>
                </a:pathLst>
              </a:custGeom>
              <a:solidFill>
                <a:srgbClr val="0B8A9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50715">
                  <a:lnSpc>
                    <a:spcPct val="90000"/>
                  </a:lnSpc>
                  <a:defRPr/>
                </a:pPr>
                <a:endParaRPr lang="en-IN" sz="2800" dirty="0">
                  <a:solidFill>
                    <a:srgbClr val="070605"/>
                  </a:solidFill>
                </a:endParaRPr>
              </a:p>
            </p:txBody>
          </p:sp>
          <p:sp>
            <p:nvSpPr>
              <p:cNvPr id="68" name="Shape44_20220502_101224">
                <a:extLst>
                  <a:ext uri="{FF2B5EF4-FFF2-40B4-BE49-F238E27FC236}">
                    <a16:creationId xmlns:a16="http://schemas.microsoft.com/office/drawing/2014/main" id="{DB71A894-87BD-EC27-F12B-52D2AF6E9B8B}"/>
                  </a:ext>
                </a:extLst>
              </p:cNvPr>
              <p:cNvSpPr/>
              <p:nvPr/>
            </p:nvSpPr>
            <p:spPr>
              <a:xfrm>
                <a:off x="15768495" y="6420751"/>
                <a:ext cx="29484" cy="152009"/>
              </a:xfrm>
              <a:custGeom>
                <a:avLst/>
                <a:gdLst>
                  <a:gd name="connsiteX0" fmla="*/ 14383 w 28765"/>
                  <a:gd name="connsiteY0" fmla="*/ 148304 h 148304"/>
                  <a:gd name="connsiteX1" fmla="*/ 0 w 28765"/>
                  <a:gd name="connsiteY1" fmla="*/ 133445 h 148304"/>
                  <a:gd name="connsiteX2" fmla="*/ 0 w 28765"/>
                  <a:gd name="connsiteY2" fmla="*/ 14859 h 148304"/>
                  <a:gd name="connsiteX3" fmla="*/ 14383 w 28765"/>
                  <a:gd name="connsiteY3" fmla="*/ 0 h 148304"/>
                  <a:gd name="connsiteX4" fmla="*/ 28766 w 28765"/>
                  <a:gd name="connsiteY4" fmla="*/ 14859 h 148304"/>
                  <a:gd name="connsiteX5" fmla="*/ 28766 w 28765"/>
                  <a:gd name="connsiteY5" fmla="*/ 133445 h 148304"/>
                  <a:gd name="connsiteX6" fmla="*/ 14383 w 28765"/>
                  <a:gd name="connsiteY6" fmla="*/ 148304 h 1483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8765" h="148304">
                    <a:moveTo>
                      <a:pt x="14383" y="148304"/>
                    </a:moveTo>
                    <a:cubicBezTo>
                      <a:pt x="6477" y="148304"/>
                      <a:pt x="0" y="141637"/>
                      <a:pt x="0" y="133445"/>
                    </a:cubicBezTo>
                    <a:lnTo>
                      <a:pt x="0" y="14859"/>
                    </a:lnTo>
                    <a:cubicBezTo>
                      <a:pt x="0" y="6668"/>
                      <a:pt x="6477" y="0"/>
                      <a:pt x="14383" y="0"/>
                    </a:cubicBezTo>
                    <a:cubicBezTo>
                      <a:pt x="22288" y="0"/>
                      <a:pt x="28766" y="6668"/>
                      <a:pt x="28766" y="14859"/>
                    </a:cubicBezTo>
                    <a:lnTo>
                      <a:pt x="28766" y="133445"/>
                    </a:lnTo>
                    <a:cubicBezTo>
                      <a:pt x="28766" y="141637"/>
                      <a:pt x="22288" y="148304"/>
                      <a:pt x="14383" y="148304"/>
                    </a:cubicBezTo>
                    <a:close/>
                  </a:path>
                </a:pathLst>
              </a:custGeom>
              <a:solidFill>
                <a:srgbClr val="353D4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50715">
                  <a:lnSpc>
                    <a:spcPct val="90000"/>
                  </a:lnSpc>
                  <a:defRPr/>
                </a:pPr>
                <a:endParaRPr lang="en-IN" sz="2800" dirty="0">
                  <a:solidFill>
                    <a:srgbClr val="070605"/>
                  </a:solidFill>
                </a:endParaRPr>
              </a:p>
            </p:txBody>
          </p:sp>
          <p:sp>
            <p:nvSpPr>
              <p:cNvPr id="69" name="Shape2_20220502_101243">
                <a:extLst>
                  <a:ext uri="{FF2B5EF4-FFF2-40B4-BE49-F238E27FC236}">
                    <a16:creationId xmlns:a16="http://schemas.microsoft.com/office/drawing/2014/main" id="{C219ED63-1FA1-8262-6CB3-6324D14DDE20}"/>
                  </a:ext>
                </a:extLst>
              </p:cNvPr>
              <p:cNvSpPr/>
              <p:nvPr/>
            </p:nvSpPr>
            <p:spPr>
              <a:xfrm>
                <a:off x="15675063" y="5554586"/>
                <a:ext cx="216349" cy="69902"/>
              </a:xfrm>
              <a:custGeom>
                <a:avLst/>
                <a:gdLst>
                  <a:gd name="connsiteX0" fmla="*/ 0 w 211074"/>
                  <a:gd name="connsiteY0" fmla="*/ 0 h 68198"/>
                  <a:gd name="connsiteX1" fmla="*/ 211074 w 211074"/>
                  <a:gd name="connsiteY1" fmla="*/ 0 h 68198"/>
                  <a:gd name="connsiteX2" fmla="*/ 211074 w 211074"/>
                  <a:gd name="connsiteY2" fmla="*/ 68199 h 68198"/>
                  <a:gd name="connsiteX3" fmla="*/ 0 w 211074"/>
                  <a:gd name="connsiteY3" fmla="*/ 68199 h 68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1074" h="68198">
                    <a:moveTo>
                      <a:pt x="0" y="0"/>
                    </a:moveTo>
                    <a:lnTo>
                      <a:pt x="211074" y="0"/>
                    </a:lnTo>
                    <a:lnTo>
                      <a:pt x="211074" y="68199"/>
                    </a:lnTo>
                    <a:lnTo>
                      <a:pt x="0" y="68199"/>
                    </a:ln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50715">
                  <a:lnSpc>
                    <a:spcPct val="90000"/>
                  </a:lnSpc>
                  <a:defRPr/>
                </a:pPr>
                <a:endParaRPr lang="en-IN" sz="2800" dirty="0">
                  <a:solidFill>
                    <a:srgbClr val="070605"/>
                  </a:solidFill>
                </a:endParaRPr>
              </a:p>
            </p:txBody>
          </p:sp>
          <p:sp>
            <p:nvSpPr>
              <p:cNvPr id="70" name="Shape46_20220502_101224">
                <a:extLst>
                  <a:ext uri="{FF2B5EF4-FFF2-40B4-BE49-F238E27FC236}">
                    <a16:creationId xmlns:a16="http://schemas.microsoft.com/office/drawing/2014/main" id="{3FFAB09C-12C4-D313-14FA-C910B5CC5EEA}"/>
                  </a:ext>
                </a:extLst>
              </p:cNvPr>
              <p:cNvSpPr/>
              <p:nvPr/>
            </p:nvSpPr>
            <p:spPr>
              <a:xfrm>
                <a:off x="15710503" y="6282705"/>
                <a:ext cx="145470" cy="49792"/>
              </a:xfrm>
              <a:custGeom>
                <a:avLst/>
                <a:gdLst>
                  <a:gd name="connsiteX0" fmla="*/ 140018 w 141922"/>
                  <a:gd name="connsiteY0" fmla="*/ 0 h 48577"/>
                  <a:gd name="connsiteX1" fmla="*/ 107347 w 141922"/>
                  <a:gd name="connsiteY1" fmla="*/ 0 h 48577"/>
                  <a:gd name="connsiteX2" fmla="*/ 0 w 141922"/>
                  <a:gd name="connsiteY2" fmla="*/ 0 h 48577"/>
                  <a:gd name="connsiteX3" fmla="*/ 0 w 141922"/>
                  <a:gd name="connsiteY3" fmla="*/ 48578 h 48577"/>
                  <a:gd name="connsiteX4" fmla="*/ 107347 w 141922"/>
                  <a:gd name="connsiteY4" fmla="*/ 48578 h 48577"/>
                  <a:gd name="connsiteX5" fmla="*/ 140018 w 141922"/>
                  <a:gd name="connsiteY5" fmla="*/ 48578 h 48577"/>
                  <a:gd name="connsiteX6" fmla="*/ 141923 w 141922"/>
                  <a:gd name="connsiteY6" fmla="*/ 48578 h 48577"/>
                  <a:gd name="connsiteX7" fmla="*/ 141923 w 141922"/>
                  <a:gd name="connsiteY7" fmla="*/ 0 h 485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1922" h="48577">
                    <a:moveTo>
                      <a:pt x="140018" y="0"/>
                    </a:moveTo>
                    <a:lnTo>
                      <a:pt x="107347" y="0"/>
                    </a:lnTo>
                    <a:lnTo>
                      <a:pt x="0" y="0"/>
                    </a:lnTo>
                    <a:lnTo>
                      <a:pt x="0" y="48578"/>
                    </a:lnTo>
                    <a:lnTo>
                      <a:pt x="107347" y="48578"/>
                    </a:lnTo>
                    <a:lnTo>
                      <a:pt x="140018" y="48578"/>
                    </a:lnTo>
                    <a:lnTo>
                      <a:pt x="141923" y="48578"/>
                    </a:lnTo>
                    <a:lnTo>
                      <a:pt x="141923" y="0"/>
                    </a:lnTo>
                    <a:close/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50715">
                  <a:lnSpc>
                    <a:spcPct val="90000"/>
                  </a:lnSpc>
                  <a:defRPr/>
                </a:pPr>
                <a:endParaRPr lang="en-IN" sz="2800" dirty="0">
                  <a:solidFill>
                    <a:srgbClr val="070605"/>
                  </a:solidFill>
                </a:endParaRPr>
              </a:p>
            </p:txBody>
          </p:sp>
          <p:sp>
            <p:nvSpPr>
              <p:cNvPr id="71" name="Shape1_20220502_101239">
                <a:extLst>
                  <a:ext uri="{FF2B5EF4-FFF2-40B4-BE49-F238E27FC236}">
                    <a16:creationId xmlns:a16="http://schemas.microsoft.com/office/drawing/2014/main" id="{D1006105-4FE8-C21A-D6EA-A07448408E31}"/>
                  </a:ext>
                </a:extLst>
              </p:cNvPr>
              <p:cNvSpPr/>
              <p:nvPr/>
            </p:nvSpPr>
            <p:spPr>
              <a:xfrm>
                <a:off x="15726223" y="6332496"/>
                <a:ext cx="114031" cy="180710"/>
              </a:xfrm>
              <a:custGeom>
                <a:avLst/>
                <a:gdLst>
                  <a:gd name="connsiteX0" fmla="*/ 0 w 111251"/>
                  <a:gd name="connsiteY0" fmla="*/ 0 h 176307"/>
                  <a:gd name="connsiteX1" fmla="*/ 21812 w 111251"/>
                  <a:gd name="connsiteY1" fmla="*/ 176308 h 176307"/>
                  <a:gd name="connsiteX2" fmla="*/ 89440 w 111251"/>
                  <a:gd name="connsiteY2" fmla="*/ 176308 h 176307"/>
                  <a:gd name="connsiteX3" fmla="*/ 111252 w 111251"/>
                  <a:gd name="connsiteY3" fmla="*/ 0 h 176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1251" h="176307">
                    <a:moveTo>
                      <a:pt x="0" y="0"/>
                    </a:moveTo>
                    <a:lnTo>
                      <a:pt x="21812" y="176308"/>
                    </a:lnTo>
                    <a:lnTo>
                      <a:pt x="89440" y="176308"/>
                    </a:lnTo>
                    <a:lnTo>
                      <a:pt x="111252" y="0"/>
                    </a:lnTo>
                    <a:close/>
                  </a:path>
                </a:pathLst>
              </a:custGeom>
              <a:solidFill>
                <a:schemeClr val="accent2">
                  <a:lumMod val="40000"/>
                  <a:lumOff val="60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50715">
                  <a:lnSpc>
                    <a:spcPct val="90000"/>
                  </a:lnSpc>
                  <a:defRPr/>
                </a:pPr>
                <a:endParaRPr lang="en-IN" sz="2800" dirty="0">
                  <a:solidFill>
                    <a:srgbClr val="070605"/>
                  </a:solidFill>
                </a:endParaRPr>
              </a:p>
            </p:txBody>
          </p:sp>
          <p:sp>
            <p:nvSpPr>
              <p:cNvPr id="72" name="Shape0_20220502_101249">
                <a:extLst>
                  <a:ext uri="{FF2B5EF4-FFF2-40B4-BE49-F238E27FC236}">
                    <a16:creationId xmlns:a16="http://schemas.microsoft.com/office/drawing/2014/main" id="{75BCC78D-6BE7-DB4D-1C9F-5EE6E2BC006F}"/>
                  </a:ext>
                </a:extLst>
              </p:cNvPr>
              <p:cNvSpPr/>
              <p:nvPr/>
            </p:nvSpPr>
            <p:spPr>
              <a:xfrm>
                <a:off x="15827465" y="5554586"/>
                <a:ext cx="63947" cy="69805"/>
              </a:xfrm>
              <a:custGeom>
                <a:avLst/>
                <a:gdLst>
                  <a:gd name="connsiteX0" fmla="*/ 0 w 62388"/>
                  <a:gd name="connsiteY0" fmla="*/ 0 h 68103"/>
                  <a:gd name="connsiteX1" fmla="*/ 62389 w 62388"/>
                  <a:gd name="connsiteY1" fmla="*/ 0 h 68103"/>
                  <a:gd name="connsiteX2" fmla="*/ 62389 w 62388"/>
                  <a:gd name="connsiteY2" fmla="*/ 68104 h 68103"/>
                  <a:gd name="connsiteX3" fmla="*/ 0 w 62388"/>
                  <a:gd name="connsiteY3" fmla="*/ 68104 h 681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2388" h="68103">
                    <a:moveTo>
                      <a:pt x="0" y="0"/>
                    </a:moveTo>
                    <a:lnTo>
                      <a:pt x="62389" y="0"/>
                    </a:lnTo>
                    <a:lnTo>
                      <a:pt x="62389" y="68104"/>
                    </a:lnTo>
                    <a:lnTo>
                      <a:pt x="0" y="68104"/>
                    </a:lnTo>
                    <a:close/>
                  </a:path>
                </a:pathLst>
              </a:custGeom>
              <a:solidFill>
                <a:srgbClr val="0B8A9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50715">
                  <a:lnSpc>
                    <a:spcPct val="90000"/>
                  </a:lnSpc>
                  <a:defRPr/>
                </a:pPr>
                <a:endParaRPr lang="en-IN" sz="2800" dirty="0">
                  <a:solidFill>
                    <a:srgbClr val="070605"/>
                  </a:solidFill>
                </a:endParaRPr>
              </a:p>
            </p:txBody>
          </p:sp>
          <p:sp>
            <p:nvSpPr>
              <p:cNvPr id="73" name="Shape1_20220502_101249">
                <a:extLst>
                  <a:ext uri="{FF2B5EF4-FFF2-40B4-BE49-F238E27FC236}">
                    <a16:creationId xmlns:a16="http://schemas.microsoft.com/office/drawing/2014/main" id="{C902B28A-8E28-CCAB-7A03-8A9DF4AFD642}"/>
                  </a:ext>
                </a:extLst>
              </p:cNvPr>
              <p:cNvSpPr/>
              <p:nvPr/>
            </p:nvSpPr>
            <p:spPr>
              <a:xfrm>
                <a:off x="15795245" y="6212802"/>
                <a:ext cx="63848" cy="69902"/>
              </a:xfrm>
              <a:custGeom>
                <a:avLst/>
                <a:gdLst>
                  <a:gd name="connsiteX0" fmla="*/ 0 w 62293"/>
                  <a:gd name="connsiteY0" fmla="*/ 0 h 68198"/>
                  <a:gd name="connsiteX1" fmla="*/ 0 w 62293"/>
                  <a:gd name="connsiteY1" fmla="*/ 68199 h 68198"/>
                  <a:gd name="connsiteX2" fmla="*/ 59246 w 62293"/>
                  <a:gd name="connsiteY2" fmla="*/ 68199 h 68198"/>
                  <a:gd name="connsiteX3" fmla="*/ 62293 w 62293"/>
                  <a:gd name="connsiteY3" fmla="*/ 0 h 68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2293" h="68198">
                    <a:moveTo>
                      <a:pt x="0" y="0"/>
                    </a:moveTo>
                    <a:lnTo>
                      <a:pt x="0" y="68199"/>
                    </a:lnTo>
                    <a:lnTo>
                      <a:pt x="59246" y="68199"/>
                    </a:lnTo>
                    <a:lnTo>
                      <a:pt x="62293" y="0"/>
                    </a:lnTo>
                    <a:close/>
                  </a:path>
                </a:pathLst>
              </a:custGeom>
              <a:solidFill>
                <a:srgbClr val="0B8A9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50715">
                  <a:lnSpc>
                    <a:spcPct val="90000"/>
                  </a:lnSpc>
                  <a:defRPr/>
                </a:pPr>
                <a:endParaRPr lang="en-IN" sz="2800" dirty="0">
                  <a:solidFill>
                    <a:srgbClr val="070605"/>
                  </a:solidFill>
                </a:endParaRPr>
              </a:p>
            </p:txBody>
          </p:sp>
          <p:sp>
            <p:nvSpPr>
              <p:cNvPr id="74" name="Shape50_20220502_101224">
                <a:extLst>
                  <a:ext uri="{FF2B5EF4-FFF2-40B4-BE49-F238E27FC236}">
                    <a16:creationId xmlns:a16="http://schemas.microsoft.com/office/drawing/2014/main" id="{D583C652-8AD7-9D67-CC80-52BB054F8100}"/>
                  </a:ext>
                </a:extLst>
              </p:cNvPr>
              <p:cNvSpPr/>
              <p:nvPr/>
            </p:nvSpPr>
            <p:spPr>
              <a:xfrm>
                <a:off x="15723585" y="4486129"/>
                <a:ext cx="119207" cy="44811"/>
              </a:xfrm>
              <a:custGeom>
                <a:avLst/>
                <a:gdLst>
                  <a:gd name="connsiteX0" fmla="*/ 0 w 116300"/>
                  <a:gd name="connsiteY0" fmla="*/ 0 h 43719"/>
                  <a:gd name="connsiteX1" fmla="*/ 116300 w 116300"/>
                  <a:gd name="connsiteY1" fmla="*/ 0 h 43719"/>
                  <a:gd name="connsiteX2" fmla="*/ 116300 w 116300"/>
                  <a:gd name="connsiteY2" fmla="*/ 43720 h 43719"/>
                  <a:gd name="connsiteX3" fmla="*/ 0 w 116300"/>
                  <a:gd name="connsiteY3" fmla="*/ 43720 h 437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6300" h="43719">
                    <a:moveTo>
                      <a:pt x="0" y="0"/>
                    </a:moveTo>
                    <a:lnTo>
                      <a:pt x="116300" y="0"/>
                    </a:lnTo>
                    <a:lnTo>
                      <a:pt x="116300" y="43720"/>
                    </a:lnTo>
                    <a:lnTo>
                      <a:pt x="0" y="43720"/>
                    </a:lnTo>
                    <a:close/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50715">
                  <a:lnSpc>
                    <a:spcPct val="90000"/>
                  </a:lnSpc>
                  <a:defRPr/>
                </a:pPr>
                <a:endParaRPr lang="en-IN" sz="2800" dirty="0">
                  <a:solidFill>
                    <a:srgbClr val="070605"/>
                  </a:solidFill>
                </a:endParaRPr>
              </a:p>
            </p:txBody>
          </p:sp>
          <p:sp>
            <p:nvSpPr>
              <p:cNvPr id="75" name="Shape51_20220502_101224">
                <a:extLst>
                  <a:ext uri="{FF2B5EF4-FFF2-40B4-BE49-F238E27FC236}">
                    <a16:creationId xmlns:a16="http://schemas.microsoft.com/office/drawing/2014/main" id="{30338024-758F-C58B-6699-CBC10E898E71}"/>
                  </a:ext>
                </a:extLst>
              </p:cNvPr>
              <p:cNvSpPr/>
              <p:nvPr/>
            </p:nvSpPr>
            <p:spPr>
              <a:xfrm>
                <a:off x="15747799" y="4727176"/>
                <a:ext cx="75955" cy="536863"/>
              </a:xfrm>
              <a:custGeom>
                <a:avLst/>
                <a:gdLst>
                  <a:gd name="connsiteX0" fmla="*/ 67628 w 74104"/>
                  <a:gd name="connsiteY0" fmla="*/ 523780 h 523779"/>
                  <a:gd name="connsiteX1" fmla="*/ 6477 w 74104"/>
                  <a:gd name="connsiteY1" fmla="*/ 523780 h 523779"/>
                  <a:gd name="connsiteX2" fmla="*/ 0 w 74104"/>
                  <a:gd name="connsiteY2" fmla="*/ 517303 h 523779"/>
                  <a:gd name="connsiteX3" fmla="*/ 0 w 74104"/>
                  <a:gd name="connsiteY3" fmla="*/ 6477 h 523779"/>
                  <a:gd name="connsiteX4" fmla="*/ 6477 w 74104"/>
                  <a:gd name="connsiteY4" fmla="*/ 0 h 523779"/>
                  <a:gd name="connsiteX5" fmla="*/ 67628 w 74104"/>
                  <a:gd name="connsiteY5" fmla="*/ 0 h 523779"/>
                  <a:gd name="connsiteX6" fmla="*/ 74104 w 74104"/>
                  <a:gd name="connsiteY6" fmla="*/ 6477 h 523779"/>
                  <a:gd name="connsiteX7" fmla="*/ 74104 w 74104"/>
                  <a:gd name="connsiteY7" fmla="*/ 517303 h 523779"/>
                  <a:gd name="connsiteX8" fmla="*/ 67628 w 74104"/>
                  <a:gd name="connsiteY8" fmla="*/ 523780 h 5237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4104" h="523779">
                    <a:moveTo>
                      <a:pt x="67628" y="523780"/>
                    </a:moveTo>
                    <a:lnTo>
                      <a:pt x="6477" y="523780"/>
                    </a:lnTo>
                    <a:cubicBezTo>
                      <a:pt x="2953" y="523780"/>
                      <a:pt x="0" y="520922"/>
                      <a:pt x="0" y="517303"/>
                    </a:cubicBezTo>
                    <a:lnTo>
                      <a:pt x="0" y="6477"/>
                    </a:lnTo>
                    <a:cubicBezTo>
                      <a:pt x="0" y="2953"/>
                      <a:pt x="2858" y="0"/>
                      <a:pt x="6477" y="0"/>
                    </a:cubicBezTo>
                    <a:lnTo>
                      <a:pt x="67628" y="0"/>
                    </a:lnTo>
                    <a:cubicBezTo>
                      <a:pt x="71152" y="0"/>
                      <a:pt x="74104" y="2858"/>
                      <a:pt x="74104" y="6477"/>
                    </a:cubicBezTo>
                    <a:lnTo>
                      <a:pt x="74104" y="517303"/>
                    </a:lnTo>
                    <a:cubicBezTo>
                      <a:pt x="74104" y="520922"/>
                      <a:pt x="71247" y="523780"/>
                      <a:pt x="67628" y="523780"/>
                    </a:cubicBezTo>
                    <a:close/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50715">
                  <a:lnSpc>
                    <a:spcPct val="90000"/>
                  </a:lnSpc>
                  <a:defRPr/>
                </a:pPr>
                <a:endParaRPr lang="en-IN" sz="2800" dirty="0">
                  <a:solidFill>
                    <a:srgbClr val="070605"/>
                  </a:solidFill>
                </a:endParaRPr>
              </a:p>
            </p:txBody>
          </p:sp>
          <p:sp>
            <p:nvSpPr>
              <p:cNvPr id="76" name="Shape52_20220502_101224">
                <a:extLst>
                  <a:ext uri="{FF2B5EF4-FFF2-40B4-BE49-F238E27FC236}">
                    <a16:creationId xmlns:a16="http://schemas.microsoft.com/office/drawing/2014/main" id="{68ECD7E5-709A-C481-30E7-6F8D69116F93}"/>
                  </a:ext>
                </a:extLst>
              </p:cNvPr>
              <p:cNvSpPr/>
              <p:nvPr/>
            </p:nvSpPr>
            <p:spPr>
              <a:xfrm>
                <a:off x="15747894" y="5337555"/>
                <a:ext cx="75857" cy="62385"/>
              </a:xfrm>
              <a:custGeom>
                <a:avLst/>
                <a:gdLst>
                  <a:gd name="connsiteX0" fmla="*/ 48387 w 74009"/>
                  <a:gd name="connsiteY0" fmla="*/ 26384 h 60864"/>
                  <a:gd name="connsiteX1" fmla="*/ 25622 w 74009"/>
                  <a:gd name="connsiteY1" fmla="*/ 26384 h 60864"/>
                  <a:gd name="connsiteX2" fmla="*/ 0 w 74009"/>
                  <a:gd name="connsiteY2" fmla="*/ 0 h 60864"/>
                  <a:gd name="connsiteX3" fmla="*/ 0 w 74009"/>
                  <a:gd name="connsiteY3" fmla="*/ 34480 h 60864"/>
                  <a:gd name="connsiteX4" fmla="*/ 25622 w 74009"/>
                  <a:gd name="connsiteY4" fmla="*/ 60865 h 60864"/>
                  <a:gd name="connsiteX5" fmla="*/ 48387 w 74009"/>
                  <a:gd name="connsiteY5" fmla="*/ 60865 h 60864"/>
                  <a:gd name="connsiteX6" fmla="*/ 74009 w 74009"/>
                  <a:gd name="connsiteY6" fmla="*/ 34480 h 60864"/>
                  <a:gd name="connsiteX7" fmla="*/ 74009 w 74009"/>
                  <a:gd name="connsiteY7" fmla="*/ 0 h 60864"/>
                  <a:gd name="connsiteX8" fmla="*/ 48387 w 74009"/>
                  <a:gd name="connsiteY8" fmla="*/ 26384 h 60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4009" h="60864">
                    <a:moveTo>
                      <a:pt x="48387" y="26384"/>
                    </a:moveTo>
                    <a:lnTo>
                      <a:pt x="25622" y="26384"/>
                    </a:lnTo>
                    <a:cubicBezTo>
                      <a:pt x="11430" y="26384"/>
                      <a:pt x="0" y="14573"/>
                      <a:pt x="0" y="0"/>
                    </a:cubicBezTo>
                    <a:lnTo>
                      <a:pt x="0" y="34480"/>
                    </a:lnTo>
                    <a:cubicBezTo>
                      <a:pt x="0" y="49054"/>
                      <a:pt x="11525" y="60865"/>
                      <a:pt x="25622" y="60865"/>
                    </a:cubicBezTo>
                    <a:lnTo>
                      <a:pt x="48387" y="60865"/>
                    </a:lnTo>
                    <a:cubicBezTo>
                      <a:pt x="62579" y="60865"/>
                      <a:pt x="74009" y="49054"/>
                      <a:pt x="74009" y="34480"/>
                    </a:cubicBezTo>
                    <a:lnTo>
                      <a:pt x="74009" y="0"/>
                    </a:lnTo>
                    <a:cubicBezTo>
                      <a:pt x="74009" y="14573"/>
                      <a:pt x="62579" y="26384"/>
                      <a:pt x="48387" y="26384"/>
                    </a:cubicBezTo>
                    <a:close/>
                  </a:path>
                </a:pathLst>
              </a:custGeom>
              <a:solidFill>
                <a:srgbClr val="0B8A9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50715">
                  <a:lnSpc>
                    <a:spcPct val="90000"/>
                  </a:lnSpc>
                  <a:defRPr/>
                </a:pPr>
                <a:endParaRPr lang="en-IN" sz="2800" dirty="0">
                  <a:solidFill>
                    <a:srgbClr val="070605"/>
                  </a:solidFill>
                </a:endParaRPr>
              </a:p>
            </p:txBody>
          </p:sp>
          <p:sp>
            <p:nvSpPr>
              <p:cNvPr id="77" name="Shape0_20220502_101243">
                <a:extLst>
                  <a:ext uri="{FF2B5EF4-FFF2-40B4-BE49-F238E27FC236}">
                    <a16:creationId xmlns:a16="http://schemas.microsoft.com/office/drawing/2014/main" id="{666661C1-FBAF-657F-105B-816ED0DD05D0}"/>
                  </a:ext>
                </a:extLst>
              </p:cNvPr>
              <p:cNvSpPr/>
              <p:nvPr/>
            </p:nvSpPr>
            <p:spPr>
              <a:xfrm>
                <a:off x="15747894" y="4727371"/>
                <a:ext cx="75859" cy="640156"/>
              </a:xfrm>
              <a:custGeom>
                <a:avLst/>
                <a:gdLst>
                  <a:gd name="connsiteX0" fmla="*/ 48006 w 74009"/>
                  <a:gd name="connsiteY0" fmla="*/ 624554 h 624554"/>
                  <a:gd name="connsiteX1" fmla="*/ 26003 w 74009"/>
                  <a:gd name="connsiteY1" fmla="*/ 624554 h 624554"/>
                  <a:gd name="connsiteX2" fmla="*/ 0 w 74009"/>
                  <a:gd name="connsiteY2" fmla="*/ 598551 h 624554"/>
                  <a:gd name="connsiteX3" fmla="*/ 0 w 74009"/>
                  <a:gd name="connsiteY3" fmla="*/ 26003 h 624554"/>
                  <a:gd name="connsiteX4" fmla="*/ 26003 w 74009"/>
                  <a:gd name="connsiteY4" fmla="*/ 0 h 624554"/>
                  <a:gd name="connsiteX5" fmla="*/ 48006 w 74009"/>
                  <a:gd name="connsiteY5" fmla="*/ 0 h 624554"/>
                  <a:gd name="connsiteX6" fmla="*/ 74009 w 74009"/>
                  <a:gd name="connsiteY6" fmla="*/ 26003 h 624554"/>
                  <a:gd name="connsiteX7" fmla="*/ 74009 w 74009"/>
                  <a:gd name="connsiteY7" fmla="*/ 598551 h 624554"/>
                  <a:gd name="connsiteX8" fmla="*/ 48006 w 74009"/>
                  <a:gd name="connsiteY8" fmla="*/ 624554 h 624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4009" h="624554">
                    <a:moveTo>
                      <a:pt x="48006" y="624554"/>
                    </a:moveTo>
                    <a:lnTo>
                      <a:pt x="26003" y="624554"/>
                    </a:lnTo>
                    <a:cubicBezTo>
                      <a:pt x="11621" y="624554"/>
                      <a:pt x="0" y="612934"/>
                      <a:pt x="0" y="598551"/>
                    </a:cubicBezTo>
                    <a:lnTo>
                      <a:pt x="0" y="26003"/>
                    </a:lnTo>
                    <a:cubicBezTo>
                      <a:pt x="0" y="11621"/>
                      <a:pt x="11621" y="0"/>
                      <a:pt x="26003" y="0"/>
                    </a:cubicBezTo>
                    <a:lnTo>
                      <a:pt x="48006" y="0"/>
                    </a:lnTo>
                    <a:cubicBezTo>
                      <a:pt x="62389" y="0"/>
                      <a:pt x="74009" y="11621"/>
                      <a:pt x="74009" y="26003"/>
                    </a:cubicBezTo>
                    <a:lnTo>
                      <a:pt x="74009" y="598551"/>
                    </a:lnTo>
                    <a:cubicBezTo>
                      <a:pt x="74009" y="612839"/>
                      <a:pt x="62389" y="624554"/>
                      <a:pt x="48006" y="624554"/>
                    </a:cubicBez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50715">
                  <a:lnSpc>
                    <a:spcPct val="90000"/>
                  </a:lnSpc>
                  <a:defRPr/>
                </a:pPr>
                <a:endParaRPr lang="en-IN" sz="2800" dirty="0">
                  <a:solidFill>
                    <a:srgbClr val="070605"/>
                  </a:solidFill>
                </a:endParaRPr>
              </a:p>
            </p:txBody>
          </p:sp>
          <p:sp>
            <p:nvSpPr>
              <p:cNvPr id="78" name="Shape2_20220502_101249">
                <a:extLst>
                  <a:ext uri="{FF2B5EF4-FFF2-40B4-BE49-F238E27FC236}">
                    <a16:creationId xmlns:a16="http://schemas.microsoft.com/office/drawing/2014/main" id="{71CCADB6-9B35-C557-F338-A8AF5CE69FD6}"/>
                  </a:ext>
                </a:extLst>
              </p:cNvPr>
              <p:cNvSpPr/>
              <p:nvPr/>
            </p:nvSpPr>
            <p:spPr>
              <a:xfrm>
                <a:off x="15747894" y="5305142"/>
                <a:ext cx="75857" cy="62385"/>
              </a:xfrm>
              <a:custGeom>
                <a:avLst/>
                <a:gdLst>
                  <a:gd name="connsiteX0" fmla="*/ 48387 w 74009"/>
                  <a:gd name="connsiteY0" fmla="*/ 26384 h 60864"/>
                  <a:gd name="connsiteX1" fmla="*/ 25622 w 74009"/>
                  <a:gd name="connsiteY1" fmla="*/ 26384 h 60864"/>
                  <a:gd name="connsiteX2" fmla="*/ 0 w 74009"/>
                  <a:gd name="connsiteY2" fmla="*/ 0 h 60864"/>
                  <a:gd name="connsiteX3" fmla="*/ 0 w 74009"/>
                  <a:gd name="connsiteY3" fmla="*/ 34481 h 60864"/>
                  <a:gd name="connsiteX4" fmla="*/ 25622 w 74009"/>
                  <a:gd name="connsiteY4" fmla="*/ 60865 h 60864"/>
                  <a:gd name="connsiteX5" fmla="*/ 48387 w 74009"/>
                  <a:gd name="connsiteY5" fmla="*/ 60865 h 60864"/>
                  <a:gd name="connsiteX6" fmla="*/ 74009 w 74009"/>
                  <a:gd name="connsiteY6" fmla="*/ 34481 h 60864"/>
                  <a:gd name="connsiteX7" fmla="*/ 74009 w 74009"/>
                  <a:gd name="connsiteY7" fmla="*/ 0 h 60864"/>
                  <a:gd name="connsiteX8" fmla="*/ 48387 w 74009"/>
                  <a:gd name="connsiteY8" fmla="*/ 26384 h 60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4009" h="60864">
                    <a:moveTo>
                      <a:pt x="48387" y="26384"/>
                    </a:moveTo>
                    <a:lnTo>
                      <a:pt x="25622" y="26384"/>
                    </a:lnTo>
                    <a:cubicBezTo>
                      <a:pt x="11430" y="26384"/>
                      <a:pt x="0" y="14573"/>
                      <a:pt x="0" y="0"/>
                    </a:cubicBezTo>
                    <a:lnTo>
                      <a:pt x="0" y="34481"/>
                    </a:lnTo>
                    <a:cubicBezTo>
                      <a:pt x="0" y="49054"/>
                      <a:pt x="11525" y="60865"/>
                      <a:pt x="25622" y="60865"/>
                    </a:cubicBezTo>
                    <a:lnTo>
                      <a:pt x="48387" y="60865"/>
                    </a:lnTo>
                    <a:cubicBezTo>
                      <a:pt x="62579" y="60865"/>
                      <a:pt x="74009" y="49054"/>
                      <a:pt x="74009" y="34481"/>
                    </a:cubicBezTo>
                    <a:lnTo>
                      <a:pt x="74009" y="0"/>
                    </a:lnTo>
                    <a:cubicBezTo>
                      <a:pt x="74009" y="14573"/>
                      <a:pt x="62579" y="26384"/>
                      <a:pt x="48387" y="26384"/>
                    </a:cubicBezTo>
                    <a:close/>
                  </a:path>
                </a:pathLst>
              </a:custGeom>
              <a:solidFill>
                <a:srgbClr val="0B8A9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50715">
                  <a:lnSpc>
                    <a:spcPct val="90000"/>
                  </a:lnSpc>
                  <a:defRPr/>
                </a:pPr>
                <a:endParaRPr lang="en-IN" sz="2800" dirty="0">
                  <a:solidFill>
                    <a:srgbClr val="070605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73741006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4A4F39-390C-FADA-A674-3F1E1018F6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54285EE3-EC8A-8EA3-F9F5-184F1D61E3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4285EE3-EC8A-8EA3-F9F5-184F1D61E3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226B506-4924-802E-78FE-4891086BB7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hecklist 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24EF9FFF-6D86-C728-9EAB-D9321F37A9DC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69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3509858-4E41-0E18-1C6B-8EC8B680CAB3}"/>
              </a:ext>
            </a:extLst>
          </p:cNvPr>
          <p:cNvSpPr/>
          <p:nvPr/>
        </p:nvSpPr>
        <p:spPr>
          <a:xfrm rot="5400000">
            <a:off x="2886168" y="-179240"/>
            <a:ext cx="1062770" cy="4106787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 dirty="0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023D1A72-836D-6617-FFA2-67F292343FE3}"/>
              </a:ext>
            </a:extLst>
          </p:cNvPr>
          <p:cNvSpPr/>
          <p:nvPr/>
        </p:nvSpPr>
        <p:spPr>
          <a:xfrm>
            <a:off x="707603" y="1342764"/>
            <a:ext cx="1305376" cy="1062770"/>
          </a:xfrm>
          <a:custGeom>
            <a:avLst/>
            <a:gdLst>
              <a:gd name="connsiteX0" fmla="*/ 0 w 1361209"/>
              <a:gd name="connsiteY0" fmla="*/ 0 h 1091045"/>
              <a:gd name="connsiteX1" fmla="*/ 1361209 w 1361209"/>
              <a:gd name="connsiteY1" fmla="*/ 0 h 1091045"/>
              <a:gd name="connsiteX2" fmla="*/ 755765 w 1361209"/>
              <a:gd name="connsiteY2" fmla="*/ 1091045 h 1091045"/>
              <a:gd name="connsiteX3" fmla="*/ 0 w 1361209"/>
              <a:gd name="connsiteY3" fmla="*/ 1091045 h 1091045"/>
              <a:gd name="connsiteX4" fmla="*/ 0 w 1361209"/>
              <a:gd name="connsiteY4" fmla="*/ 0 h 10910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61209" h="1091045">
                <a:moveTo>
                  <a:pt x="0" y="0"/>
                </a:moveTo>
                <a:lnTo>
                  <a:pt x="1361209" y="0"/>
                </a:lnTo>
                <a:lnTo>
                  <a:pt x="755765" y="1091045"/>
                </a:lnTo>
                <a:lnTo>
                  <a:pt x="0" y="109104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F25C772-4DBE-08A1-7918-AE2427C3ECE3}"/>
              </a:ext>
            </a:extLst>
          </p:cNvPr>
          <p:cNvSpPr txBox="1"/>
          <p:nvPr/>
        </p:nvSpPr>
        <p:spPr>
          <a:xfrm>
            <a:off x="896851" y="1626431"/>
            <a:ext cx="47000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000" b="1" dirty="0">
                <a:solidFill>
                  <a:schemeClr val="bg1"/>
                </a:solidFill>
              </a:rPr>
              <a:t>01</a:t>
            </a:r>
          </a:p>
        </p:txBody>
      </p:sp>
      <p:sp>
        <p:nvSpPr>
          <p:cNvPr id="7" name="Shape1_20211215_103712">
            <a:extLst>
              <a:ext uri="{FF2B5EF4-FFF2-40B4-BE49-F238E27FC236}">
                <a16:creationId xmlns:a16="http://schemas.microsoft.com/office/drawing/2014/main" id="{2F260FF9-566F-038C-DBD1-FA79F564554F}"/>
              </a:ext>
            </a:extLst>
          </p:cNvPr>
          <p:cNvSpPr txBox="1"/>
          <p:nvPr/>
        </p:nvSpPr>
        <p:spPr>
          <a:xfrm>
            <a:off x="1980835" y="1453643"/>
            <a:ext cx="2573832" cy="33855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l"/>
            <a:r>
              <a:rPr lang="en-US" sz="1600" b="1" dirty="0"/>
              <a:t>Title</a:t>
            </a:r>
          </a:p>
        </p:txBody>
      </p:sp>
      <p:sp>
        <p:nvSpPr>
          <p:cNvPr id="8" name="Shape0_20211215_103712">
            <a:extLst>
              <a:ext uri="{FF2B5EF4-FFF2-40B4-BE49-F238E27FC236}">
                <a16:creationId xmlns:a16="http://schemas.microsoft.com/office/drawing/2014/main" id="{1E24400B-7615-04EE-FD18-CA31B1A008A2}"/>
              </a:ext>
            </a:extLst>
          </p:cNvPr>
          <p:cNvSpPr txBox="1"/>
          <p:nvPr/>
        </p:nvSpPr>
        <p:spPr>
          <a:xfrm>
            <a:off x="1980835" y="1742555"/>
            <a:ext cx="2573832" cy="33855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4730" lvl="1" defTabSz="2666516">
              <a:buClr>
                <a:schemeClr val="tx2"/>
              </a:buClr>
              <a:buSzPct val="120000"/>
            </a:pPr>
            <a:r>
              <a:rPr lang="en-US" sz="1600" dirty="0"/>
              <a:t>Insert Text Her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94050C7-E181-2176-8857-BD75022A07FB}"/>
              </a:ext>
            </a:extLst>
          </p:cNvPr>
          <p:cNvSpPr/>
          <p:nvPr/>
        </p:nvSpPr>
        <p:spPr>
          <a:xfrm rot="5400000">
            <a:off x="8723181" y="-179240"/>
            <a:ext cx="1062770" cy="4106787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F8323CEC-F58C-C5AD-7379-F326355A1ED3}"/>
              </a:ext>
            </a:extLst>
          </p:cNvPr>
          <p:cNvSpPr/>
          <p:nvPr/>
        </p:nvSpPr>
        <p:spPr>
          <a:xfrm>
            <a:off x="6544617" y="1342764"/>
            <a:ext cx="1305376" cy="1062770"/>
          </a:xfrm>
          <a:custGeom>
            <a:avLst/>
            <a:gdLst>
              <a:gd name="connsiteX0" fmla="*/ 0 w 1361209"/>
              <a:gd name="connsiteY0" fmla="*/ 0 h 1091045"/>
              <a:gd name="connsiteX1" fmla="*/ 1361209 w 1361209"/>
              <a:gd name="connsiteY1" fmla="*/ 0 h 1091045"/>
              <a:gd name="connsiteX2" fmla="*/ 755765 w 1361209"/>
              <a:gd name="connsiteY2" fmla="*/ 1091045 h 1091045"/>
              <a:gd name="connsiteX3" fmla="*/ 0 w 1361209"/>
              <a:gd name="connsiteY3" fmla="*/ 1091045 h 1091045"/>
              <a:gd name="connsiteX4" fmla="*/ 0 w 1361209"/>
              <a:gd name="connsiteY4" fmla="*/ 0 h 10910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61209" h="1091045">
                <a:moveTo>
                  <a:pt x="0" y="0"/>
                </a:moveTo>
                <a:lnTo>
                  <a:pt x="1361209" y="0"/>
                </a:lnTo>
                <a:lnTo>
                  <a:pt x="755765" y="1091045"/>
                </a:lnTo>
                <a:lnTo>
                  <a:pt x="0" y="109104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 w="63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7CD30D2-B908-1B57-C5E7-656297556C70}"/>
              </a:ext>
            </a:extLst>
          </p:cNvPr>
          <p:cNvSpPr txBox="1"/>
          <p:nvPr/>
        </p:nvSpPr>
        <p:spPr>
          <a:xfrm>
            <a:off x="6733867" y="1626431"/>
            <a:ext cx="47000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000" b="1" dirty="0">
                <a:solidFill>
                  <a:schemeClr val="bg1"/>
                </a:solidFill>
              </a:rPr>
              <a:t>02</a:t>
            </a:r>
          </a:p>
        </p:txBody>
      </p:sp>
      <p:sp>
        <p:nvSpPr>
          <p:cNvPr id="12" name="Shape2_20211215_103712">
            <a:extLst>
              <a:ext uri="{FF2B5EF4-FFF2-40B4-BE49-F238E27FC236}">
                <a16:creationId xmlns:a16="http://schemas.microsoft.com/office/drawing/2014/main" id="{79C5CB80-5994-BB32-ABD9-8966D0F6BE5A}"/>
              </a:ext>
            </a:extLst>
          </p:cNvPr>
          <p:cNvSpPr txBox="1"/>
          <p:nvPr/>
        </p:nvSpPr>
        <p:spPr>
          <a:xfrm>
            <a:off x="7817852" y="1453643"/>
            <a:ext cx="2573832" cy="33855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l"/>
            <a:r>
              <a:rPr lang="en-US" sz="1600" b="1" dirty="0"/>
              <a:t>Title</a:t>
            </a:r>
          </a:p>
        </p:txBody>
      </p:sp>
      <p:sp>
        <p:nvSpPr>
          <p:cNvPr id="13" name="Shape3_20211215_103712">
            <a:extLst>
              <a:ext uri="{FF2B5EF4-FFF2-40B4-BE49-F238E27FC236}">
                <a16:creationId xmlns:a16="http://schemas.microsoft.com/office/drawing/2014/main" id="{592AE7E5-E47C-0A0A-C93C-CC593FB25854}"/>
              </a:ext>
            </a:extLst>
          </p:cNvPr>
          <p:cNvSpPr txBox="1"/>
          <p:nvPr/>
        </p:nvSpPr>
        <p:spPr>
          <a:xfrm>
            <a:off x="7817852" y="1742555"/>
            <a:ext cx="2573832" cy="33855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4730" lvl="1" defTabSz="2666516">
              <a:buClr>
                <a:schemeClr val="tx2"/>
              </a:buClr>
              <a:buSzPct val="120000"/>
            </a:pPr>
            <a:r>
              <a:rPr lang="en-US" sz="1600" dirty="0"/>
              <a:t>Insert Text Here</a:t>
            </a:r>
          </a:p>
        </p:txBody>
      </p:sp>
      <p:sp>
        <p:nvSpPr>
          <p:cNvPr id="14" name="Shape0_20220526_143018">
            <a:extLst>
              <a:ext uri="{FF2B5EF4-FFF2-40B4-BE49-F238E27FC236}">
                <a16:creationId xmlns:a16="http://schemas.microsoft.com/office/drawing/2014/main" id="{C9CE0DDD-1D68-5CB5-0952-69A26639761B}"/>
              </a:ext>
            </a:extLst>
          </p:cNvPr>
          <p:cNvSpPr/>
          <p:nvPr/>
        </p:nvSpPr>
        <p:spPr>
          <a:xfrm>
            <a:off x="4740396" y="1698710"/>
            <a:ext cx="345443" cy="350882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15" name="Shape1_20220526_143018">
            <a:extLst>
              <a:ext uri="{FF2B5EF4-FFF2-40B4-BE49-F238E27FC236}">
                <a16:creationId xmlns:a16="http://schemas.microsoft.com/office/drawing/2014/main" id="{BCDDB334-7299-B3ED-1BC2-56105AD64EB2}"/>
              </a:ext>
            </a:extLst>
          </p:cNvPr>
          <p:cNvSpPr/>
          <p:nvPr/>
        </p:nvSpPr>
        <p:spPr>
          <a:xfrm>
            <a:off x="10598939" y="1698710"/>
            <a:ext cx="345443" cy="350882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16" name="Shape2_20210614_103039">
            <a:extLst>
              <a:ext uri="{FF2B5EF4-FFF2-40B4-BE49-F238E27FC236}">
                <a16:creationId xmlns:a16="http://schemas.microsoft.com/office/drawing/2014/main" id="{D8670086-3927-4BB6-FFE9-E4C705F65EEE}"/>
              </a:ext>
            </a:extLst>
          </p:cNvPr>
          <p:cNvSpPr/>
          <p:nvPr/>
        </p:nvSpPr>
        <p:spPr>
          <a:xfrm>
            <a:off x="4809353" y="1793938"/>
            <a:ext cx="207536" cy="160429"/>
          </a:xfrm>
          <a:custGeom>
            <a:avLst/>
            <a:gdLst>
              <a:gd name="connsiteX0" fmla="*/ 136303 w 323659"/>
              <a:gd name="connsiteY0" fmla="*/ 246317 h 246316"/>
              <a:gd name="connsiteX1" fmla="*/ 0 w 323659"/>
              <a:gd name="connsiteY1" fmla="*/ 115824 h 246316"/>
              <a:gd name="connsiteX2" fmla="*/ 50959 w 323659"/>
              <a:gd name="connsiteY2" fmla="*/ 62579 h 246316"/>
              <a:gd name="connsiteX3" fmla="*/ 134112 w 323659"/>
              <a:gd name="connsiteY3" fmla="*/ 142113 h 246316"/>
              <a:gd name="connsiteX4" fmla="*/ 270415 w 323659"/>
              <a:gd name="connsiteY4" fmla="*/ 0 h 246316"/>
              <a:gd name="connsiteX5" fmla="*/ 323660 w 323659"/>
              <a:gd name="connsiteY5" fmla="*/ 50959 h 246316"/>
              <a:gd name="connsiteX6" fmla="*/ 136303 w 323659"/>
              <a:gd name="connsiteY6" fmla="*/ 246317 h 246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23659" h="246316">
                <a:moveTo>
                  <a:pt x="136303" y="246317"/>
                </a:moveTo>
                <a:lnTo>
                  <a:pt x="0" y="115824"/>
                </a:lnTo>
                <a:lnTo>
                  <a:pt x="50959" y="62579"/>
                </a:lnTo>
                <a:lnTo>
                  <a:pt x="134112" y="142113"/>
                </a:lnTo>
                <a:lnTo>
                  <a:pt x="270415" y="0"/>
                </a:lnTo>
                <a:lnTo>
                  <a:pt x="323660" y="50959"/>
                </a:lnTo>
                <a:lnTo>
                  <a:pt x="136303" y="246317"/>
                </a:lnTo>
                <a:close/>
              </a:path>
            </a:pathLst>
          </a:custGeom>
          <a:solidFill>
            <a:srgbClr val="24A14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750715">
              <a:lnSpc>
                <a:spcPct val="90000"/>
              </a:lnSpc>
              <a:defRPr/>
            </a:pPr>
            <a:endParaRPr lang="en-IN" sz="2400" dirty="0">
              <a:solidFill>
                <a:srgbClr val="070605"/>
              </a:solidFill>
            </a:endParaRPr>
          </a:p>
        </p:txBody>
      </p:sp>
      <p:sp>
        <p:nvSpPr>
          <p:cNvPr id="17" name="Shape4_20210614_103039">
            <a:extLst>
              <a:ext uri="{FF2B5EF4-FFF2-40B4-BE49-F238E27FC236}">
                <a16:creationId xmlns:a16="http://schemas.microsoft.com/office/drawing/2014/main" id="{9C65FE7E-393F-8E3C-11C9-E743DB43EC16}"/>
              </a:ext>
            </a:extLst>
          </p:cNvPr>
          <p:cNvSpPr/>
          <p:nvPr/>
        </p:nvSpPr>
        <p:spPr>
          <a:xfrm>
            <a:off x="10663331" y="1794255"/>
            <a:ext cx="207536" cy="160429"/>
          </a:xfrm>
          <a:custGeom>
            <a:avLst/>
            <a:gdLst>
              <a:gd name="connsiteX0" fmla="*/ 136303 w 323659"/>
              <a:gd name="connsiteY0" fmla="*/ 246317 h 246316"/>
              <a:gd name="connsiteX1" fmla="*/ 0 w 323659"/>
              <a:gd name="connsiteY1" fmla="*/ 115824 h 246316"/>
              <a:gd name="connsiteX2" fmla="*/ 50959 w 323659"/>
              <a:gd name="connsiteY2" fmla="*/ 62579 h 246316"/>
              <a:gd name="connsiteX3" fmla="*/ 134112 w 323659"/>
              <a:gd name="connsiteY3" fmla="*/ 142113 h 246316"/>
              <a:gd name="connsiteX4" fmla="*/ 270415 w 323659"/>
              <a:gd name="connsiteY4" fmla="*/ 0 h 246316"/>
              <a:gd name="connsiteX5" fmla="*/ 323660 w 323659"/>
              <a:gd name="connsiteY5" fmla="*/ 50959 h 246316"/>
              <a:gd name="connsiteX6" fmla="*/ 136303 w 323659"/>
              <a:gd name="connsiteY6" fmla="*/ 246317 h 246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23659" h="246316">
                <a:moveTo>
                  <a:pt x="136303" y="246317"/>
                </a:moveTo>
                <a:lnTo>
                  <a:pt x="0" y="115824"/>
                </a:lnTo>
                <a:lnTo>
                  <a:pt x="50959" y="62579"/>
                </a:lnTo>
                <a:lnTo>
                  <a:pt x="134112" y="142113"/>
                </a:lnTo>
                <a:lnTo>
                  <a:pt x="270415" y="0"/>
                </a:lnTo>
                <a:lnTo>
                  <a:pt x="323660" y="50959"/>
                </a:lnTo>
                <a:lnTo>
                  <a:pt x="136303" y="246317"/>
                </a:lnTo>
                <a:close/>
              </a:path>
            </a:pathLst>
          </a:custGeom>
          <a:solidFill>
            <a:srgbClr val="24A14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750715">
              <a:lnSpc>
                <a:spcPct val="90000"/>
              </a:lnSpc>
              <a:defRPr/>
            </a:pPr>
            <a:endParaRPr lang="en-IN" sz="2400" dirty="0">
              <a:solidFill>
                <a:srgbClr val="070605"/>
              </a:solidFill>
            </a:endParaRPr>
          </a:p>
        </p:txBody>
      </p:sp>
      <p:sp>
        <p:nvSpPr>
          <p:cNvPr id="18" name="Shape2_20220526_143018">
            <a:extLst>
              <a:ext uri="{FF2B5EF4-FFF2-40B4-BE49-F238E27FC236}">
                <a16:creationId xmlns:a16="http://schemas.microsoft.com/office/drawing/2014/main" id="{FD1FC723-5872-1007-24C6-98AE4A420256}"/>
              </a:ext>
            </a:extLst>
          </p:cNvPr>
          <p:cNvSpPr/>
          <p:nvPr/>
        </p:nvSpPr>
        <p:spPr>
          <a:xfrm rot="5400000">
            <a:off x="2886168" y="3086699"/>
            <a:ext cx="1062770" cy="4106787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19" name="Shape3_20220526_143018">
            <a:extLst>
              <a:ext uri="{FF2B5EF4-FFF2-40B4-BE49-F238E27FC236}">
                <a16:creationId xmlns:a16="http://schemas.microsoft.com/office/drawing/2014/main" id="{646816DE-D334-B6AA-5235-9C60C297F2FB}"/>
              </a:ext>
            </a:extLst>
          </p:cNvPr>
          <p:cNvSpPr/>
          <p:nvPr/>
        </p:nvSpPr>
        <p:spPr>
          <a:xfrm>
            <a:off x="707603" y="4608703"/>
            <a:ext cx="1305376" cy="1062770"/>
          </a:xfrm>
          <a:custGeom>
            <a:avLst/>
            <a:gdLst>
              <a:gd name="connsiteX0" fmla="*/ 0 w 1361209"/>
              <a:gd name="connsiteY0" fmla="*/ 0 h 1091045"/>
              <a:gd name="connsiteX1" fmla="*/ 1361209 w 1361209"/>
              <a:gd name="connsiteY1" fmla="*/ 0 h 1091045"/>
              <a:gd name="connsiteX2" fmla="*/ 755765 w 1361209"/>
              <a:gd name="connsiteY2" fmla="*/ 1091045 h 1091045"/>
              <a:gd name="connsiteX3" fmla="*/ 0 w 1361209"/>
              <a:gd name="connsiteY3" fmla="*/ 1091045 h 1091045"/>
              <a:gd name="connsiteX4" fmla="*/ 0 w 1361209"/>
              <a:gd name="connsiteY4" fmla="*/ 0 h 10910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61209" h="1091045">
                <a:moveTo>
                  <a:pt x="0" y="0"/>
                </a:moveTo>
                <a:lnTo>
                  <a:pt x="1361209" y="0"/>
                </a:lnTo>
                <a:lnTo>
                  <a:pt x="755765" y="1091045"/>
                </a:lnTo>
                <a:lnTo>
                  <a:pt x="0" y="109104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1DC8192-8EE9-A704-FF83-F4E401FA76CE}"/>
              </a:ext>
            </a:extLst>
          </p:cNvPr>
          <p:cNvSpPr txBox="1"/>
          <p:nvPr/>
        </p:nvSpPr>
        <p:spPr>
          <a:xfrm>
            <a:off x="896851" y="4892371"/>
            <a:ext cx="47000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000" b="1" dirty="0">
                <a:solidFill>
                  <a:schemeClr val="bg1"/>
                </a:solidFill>
              </a:rPr>
              <a:t>05</a:t>
            </a:r>
          </a:p>
        </p:txBody>
      </p:sp>
      <p:sp>
        <p:nvSpPr>
          <p:cNvPr id="21" name="Shape4_20211215_103712">
            <a:extLst>
              <a:ext uri="{FF2B5EF4-FFF2-40B4-BE49-F238E27FC236}">
                <a16:creationId xmlns:a16="http://schemas.microsoft.com/office/drawing/2014/main" id="{848C2491-4868-22FA-9600-56E710CB91E2}"/>
              </a:ext>
            </a:extLst>
          </p:cNvPr>
          <p:cNvSpPr txBox="1"/>
          <p:nvPr/>
        </p:nvSpPr>
        <p:spPr>
          <a:xfrm>
            <a:off x="1980835" y="4719582"/>
            <a:ext cx="2573832" cy="33855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l"/>
            <a:r>
              <a:rPr lang="en-US" sz="1600" b="1" dirty="0"/>
              <a:t>Title</a:t>
            </a:r>
          </a:p>
        </p:txBody>
      </p:sp>
      <p:sp>
        <p:nvSpPr>
          <p:cNvPr id="22" name="Shape5_20211215_103712">
            <a:extLst>
              <a:ext uri="{FF2B5EF4-FFF2-40B4-BE49-F238E27FC236}">
                <a16:creationId xmlns:a16="http://schemas.microsoft.com/office/drawing/2014/main" id="{8EF15D9B-EA79-41AB-24CF-2795625AB4AE}"/>
              </a:ext>
            </a:extLst>
          </p:cNvPr>
          <p:cNvSpPr txBox="1"/>
          <p:nvPr/>
        </p:nvSpPr>
        <p:spPr>
          <a:xfrm>
            <a:off x="1980835" y="5008492"/>
            <a:ext cx="2573832" cy="33855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4730" lvl="1" defTabSz="2666516">
              <a:buClr>
                <a:schemeClr val="tx2"/>
              </a:buClr>
              <a:buSzPct val="120000"/>
            </a:pPr>
            <a:r>
              <a:rPr lang="en-US" sz="1600" dirty="0"/>
              <a:t>Insert Text Her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EF85554-F4B3-BD18-BD10-05EEA2C986A8}"/>
              </a:ext>
            </a:extLst>
          </p:cNvPr>
          <p:cNvSpPr/>
          <p:nvPr/>
        </p:nvSpPr>
        <p:spPr>
          <a:xfrm rot="5400000">
            <a:off x="8723181" y="3086699"/>
            <a:ext cx="1062770" cy="4106787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774A46AC-F52B-DA6E-7F43-594D00727F91}"/>
              </a:ext>
            </a:extLst>
          </p:cNvPr>
          <p:cNvSpPr/>
          <p:nvPr/>
        </p:nvSpPr>
        <p:spPr>
          <a:xfrm>
            <a:off x="6544617" y="4608703"/>
            <a:ext cx="1305376" cy="1062770"/>
          </a:xfrm>
          <a:custGeom>
            <a:avLst/>
            <a:gdLst>
              <a:gd name="connsiteX0" fmla="*/ 0 w 1361209"/>
              <a:gd name="connsiteY0" fmla="*/ 0 h 1091045"/>
              <a:gd name="connsiteX1" fmla="*/ 1361209 w 1361209"/>
              <a:gd name="connsiteY1" fmla="*/ 0 h 1091045"/>
              <a:gd name="connsiteX2" fmla="*/ 755765 w 1361209"/>
              <a:gd name="connsiteY2" fmla="*/ 1091045 h 1091045"/>
              <a:gd name="connsiteX3" fmla="*/ 0 w 1361209"/>
              <a:gd name="connsiteY3" fmla="*/ 1091045 h 1091045"/>
              <a:gd name="connsiteX4" fmla="*/ 0 w 1361209"/>
              <a:gd name="connsiteY4" fmla="*/ 0 h 10910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61209" h="1091045">
                <a:moveTo>
                  <a:pt x="0" y="0"/>
                </a:moveTo>
                <a:lnTo>
                  <a:pt x="1361209" y="0"/>
                </a:lnTo>
                <a:lnTo>
                  <a:pt x="755765" y="1091045"/>
                </a:lnTo>
                <a:lnTo>
                  <a:pt x="0" y="109104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 w="63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52B7AE5-D93E-1DAC-4142-F103432F046E}"/>
              </a:ext>
            </a:extLst>
          </p:cNvPr>
          <p:cNvSpPr txBox="1"/>
          <p:nvPr/>
        </p:nvSpPr>
        <p:spPr>
          <a:xfrm>
            <a:off x="6733867" y="4892371"/>
            <a:ext cx="47000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000" b="1" dirty="0">
                <a:solidFill>
                  <a:schemeClr val="bg1"/>
                </a:solidFill>
              </a:rPr>
              <a:t>06</a:t>
            </a:r>
          </a:p>
        </p:txBody>
      </p:sp>
      <p:sp>
        <p:nvSpPr>
          <p:cNvPr id="26" name="Shape6_20211215_103712">
            <a:extLst>
              <a:ext uri="{FF2B5EF4-FFF2-40B4-BE49-F238E27FC236}">
                <a16:creationId xmlns:a16="http://schemas.microsoft.com/office/drawing/2014/main" id="{67D7B0C0-FC17-F995-AB95-9B129C835EB5}"/>
              </a:ext>
            </a:extLst>
          </p:cNvPr>
          <p:cNvSpPr txBox="1"/>
          <p:nvPr/>
        </p:nvSpPr>
        <p:spPr>
          <a:xfrm>
            <a:off x="7817852" y="4719582"/>
            <a:ext cx="2573832" cy="33855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l"/>
            <a:r>
              <a:rPr lang="en-US" sz="1600" b="1" dirty="0"/>
              <a:t>Title</a:t>
            </a:r>
          </a:p>
        </p:txBody>
      </p:sp>
      <p:sp>
        <p:nvSpPr>
          <p:cNvPr id="27" name="Shape7_20211215_103712">
            <a:extLst>
              <a:ext uri="{FF2B5EF4-FFF2-40B4-BE49-F238E27FC236}">
                <a16:creationId xmlns:a16="http://schemas.microsoft.com/office/drawing/2014/main" id="{EA1B35CB-2D65-CF0E-E3C0-0EFCC1527232}"/>
              </a:ext>
            </a:extLst>
          </p:cNvPr>
          <p:cNvSpPr txBox="1"/>
          <p:nvPr/>
        </p:nvSpPr>
        <p:spPr>
          <a:xfrm>
            <a:off x="7817852" y="5008492"/>
            <a:ext cx="2573832" cy="33855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4730" lvl="1" defTabSz="2666516">
              <a:buClr>
                <a:schemeClr val="tx2"/>
              </a:buClr>
              <a:buSzPct val="120000"/>
            </a:pPr>
            <a:r>
              <a:rPr lang="en-US" sz="1600" dirty="0"/>
              <a:t>Insert Text Here</a:t>
            </a:r>
          </a:p>
        </p:txBody>
      </p:sp>
      <p:sp>
        <p:nvSpPr>
          <p:cNvPr id="28" name="Shape4_20220526_143018">
            <a:extLst>
              <a:ext uri="{FF2B5EF4-FFF2-40B4-BE49-F238E27FC236}">
                <a16:creationId xmlns:a16="http://schemas.microsoft.com/office/drawing/2014/main" id="{D265EEC7-5D4D-AA14-950A-257F051EAEA0}"/>
              </a:ext>
            </a:extLst>
          </p:cNvPr>
          <p:cNvSpPr/>
          <p:nvPr/>
        </p:nvSpPr>
        <p:spPr>
          <a:xfrm>
            <a:off x="4740396" y="4964647"/>
            <a:ext cx="345443" cy="350882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29" name="Shape5_20220526_143018">
            <a:extLst>
              <a:ext uri="{FF2B5EF4-FFF2-40B4-BE49-F238E27FC236}">
                <a16:creationId xmlns:a16="http://schemas.microsoft.com/office/drawing/2014/main" id="{5354440A-20C0-47A0-4823-DC008CEF3745}"/>
              </a:ext>
            </a:extLst>
          </p:cNvPr>
          <p:cNvSpPr/>
          <p:nvPr/>
        </p:nvSpPr>
        <p:spPr>
          <a:xfrm>
            <a:off x="10598939" y="4964647"/>
            <a:ext cx="345443" cy="350882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30" name="Shape3_20210614_103039">
            <a:extLst>
              <a:ext uri="{FF2B5EF4-FFF2-40B4-BE49-F238E27FC236}">
                <a16:creationId xmlns:a16="http://schemas.microsoft.com/office/drawing/2014/main" id="{BE6B0DE7-75C0-4F86-F12F-1C3B39EBCE3A}"/>
              </a:ext>
            </a:extLst>
          </p:cNvPr>
          <p:cNvSpPr/>
          <p:nvPr/>
        </p:nvSpPr>
        <p:spPr>
          <a:xfrm>
            <a:off x="4809353" y="5059874"/>
            <a:ext cx="207536" cy="160429"/>
          </a:xfrm>
          <a:custGeom>
            <a:avLst/>
            <a:gdLst>
              <a:gd name="connsiteX0" fmla="*/ 136303 w 323659"/>
              <a:gd name="connsiteY0" fmla="*/ 246317 h 246316"/>
              <a:gd name="connsiteX1" fmla="*/ 0 w 323659"/>
              <a:gd name="connsiteY1" fmla="*/ 115824 h 246316"/>
              <a:gd name="connsiteX2" fmla="*/ 50959 w 323659"/>
              <a:gd name="connsiteY2" fmla="*/ 62579 h 246316"/>
              <a:gd name="connsiteX3" fmla="*/ 134112 w 323659"/>
              <a:gd name="connsiteY3" fmla="*/ 142113 h 246316"/>
              <a:gd name="connsiteX4" fmla="*/ 270415 w 323659"/>
              <a:gd name="connsiteY4" fmla="*/ 0 h 246316"/>
              <a:gd name="connsiteX5" fmla="*/ 323660 w 323659"/>
              <a:gd name="connsiteY5" fmla="*/ 50959 h 246316"/>
              <a:gd name="connsiteX6" fmla="*/ 136303 w 323659"/>
              <a:gd name="connsiteY6" fmla="*/ 246317 h 246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23659" h="246316">
                <a:moveTo>
                  <a:pt x="136303" y="246317"/>
                </a:moveTo>
                <a:lnTo>
                  <a:pt x="0" y="115824"/>
                </a:lnTo>
                <a:lnTo>
                  <a:pt x="50959" y="62579"/>
                </a:lnTo>
                <a:lnTo>
                  <a:pt x="134112" y="142113"/>
                </a:lnTo>
                <a:lnTo>
                  <a:pt x="270415" y="0"/>
                </a:lnTo>
                <a:lnTo>
                  <a:pt x="323660" y="50959"/>
                </a:lnTo>
                <a:lnTo>
                  <a:pt x="136303" y="246317"/>
                </a:lnTo>
                <a:close/>
              </a:path>
            </a:pathLst>
          </a:custGeom>
          <a:solidFill>
            <a:srgbClr val="24A14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750715">
              <a:lnSpc>
                <a:spcPct val="90000"/>
              </a:lnSpc>
              <a:defRPr/>
            </a:pPr>
            <a:endParaRPr lang="en-IN" sz="2400" dirty="0">
              <a:solidFill>
                <a:srgbClr val="070605"/>
              </a:solidFill>
            </a:endParaRPr>
          </a:p>
        </p:txBody>
      </p:sp>
      <p:sp>
        <p:nvSpPr>
          <p:cNvPr id="31" name="Shape5_20210614_103039">
            <a:extLst>
              <a:ext uri="{FF2B5EF4-FFF2-40B4-BE49-F238E27FC236}">
                <a16:creationId xmlns:a16="http://schemas.microsoft.com/office/drawing/2014/main" id="{B20E70DE-AD99-2CA2-1239-E771006F3502}"/>
              </a:ext>
            </a:extLst>
          </p:cNvPr>
          <p:cNvSpPr/>
          <p:nvPr/>
        </p:nvSpPr>
        <p:spPr>
          <a:xfrm>
            <a:off x="10663331" y="5061919"/>
            <a:ext cx="207536" cy="160429"/>
          </a:xfrm>
          <a:custGeom>
            <a:avLst/>
            <a:gdLst>
              <a:gd name="connsiteX0" fmla="*/ 136303 w 323659"/>
              <a:gd name="connsiteY0" fmla="*/ 246317 h 246316"/>
              <a:gd name="connsiteX1" fmla="*/ 0 w 323659"/>
              <a:gd name="connsiteY1" fmla="*/ 115824 h 246316"/>
              <a:gd name="connsiteX2" fmla="*/ 50959 w 323659"/>
              <a:gd name="connsiteY2" fmla="*/ 62579 h 246316"/>
              <a:gd name="connsiteX3" fmla="*/ 134112 w 323659"/>
              <a:gd name="connsiteY3" fmla="*/ 142113 h 246316"/>
              <a:gd name="connsiteX4" fmla="*/ 270415 w 323659"/>
              <a:gd name="connsiteY4" fmla="*/ 0 h 246316"/>
              <a:gd name="connsiteX5" fmla="*/ 323660 w 323659"/>
              <a:gd name="connsiteY5" fmla="*/ 50959 h 246316"/>
              <a:gd name="connsiteX6" fmla="*/ 136303 w 323659"/>
              <a:gd name="connsiteY6" fmla="*/ 246317 h 246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23659" h="246316">
                <a:moveTo>
                  <a:pt x="136303" y="246317"/>
                </a:moveTo>
                <a:lnTo>
                  <a:pt x="0" y="115824"/>
                </a:lnTo>
                <a:lnTo>
                  <a:pt x="50959" y="62579"/>
                </a:lnTo>
                <a:lnTo>
                  <a:pt x="134112" y="142113"/>
                </a:lnTo>
                <a:lnTo>
                  <a:pt x="270415" y="0"/>
                </a:lnTo>
                <a:lnTo>
                  <a:pt x="323660" y="50959"/>
                </a:lnTo>
                <a:lnTo>
                  <a:pt x="136303" y="246317"/>
                </a:lnTo>
                <a:close/>
              </a:path>
            </a:pathLst>
          </a:custGeom>
          <a:solidFill>
            <a:srgbClr val="24A14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750715">
              <a:lnSpc>
                <a:spcPct val="90000"/>
              </a:lnSpc>
              <a:defRPr/>
            </a:pPr>
            <a:endParaRPr lang="en-IN" sz="2400" dirty="0">
              <a:solidFill>
                <a:srgbClr val="070605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7C7144C0-02EB-06F3-6CAA-9114D8F16F69}"/>
              </a:ext>
            </a:extLst>
          </p:cNvPr>
          <p:cNvSpPr/>
          <p:nvPr/>
        </p:nvSpPr>
        <p:spPr>
          <a:xfrm rot="5400000">
            <a:off x="2886168" y="1453731"/>
            <a:ext cx="1062770" cy="4106787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1A7B82A3-B837-08E8-346B-3592C802DDE4}"/>
              </a:ext>
            </a:extLst>
          </p:cNvPr>
          <p:cNvSpPr/>
          <p:nvPr/>
        </p:nvSpPr>
        <p:spPr>
          <a:xfrm>
            <a:off x="707603" y="2975732"/>
            <a:ext cx="1305376" cy="1062770"/>
          </a:xfrm>
          <a:custGeom>
            <a:avLst/>
            <a:gdLst>
              <a:gd name="connsiteX0" fmla="*/ 0 w 1361209"/>
              <a:gd name="connsiteY0" fmla="*/ 0 h 1091045"/>
              <a:gd name="connsiteX1" fmla="*/ 1361209 w 1361209"/>
              <a:gd name="connsiteY1" fmla="*/ 0 h 1091045"/>
              <a:gd name="connsiteX2" fmla="*/ 755765 w 1361209"/>
              <a:gd name="connsiteY2" fmla="*/ 1091045 h 1091045"/>
              <a:gd name="connsiteX3" fmla="*/ 0 w 1361209"/>
              <a:gd name="connsiteY3" fmla="*/ 1091045 h 1091045"/>
              <a:gd name="connsiteX4" fmla="*/ 0 w 1361209"/>
              <a:gd name="connsiteY4" fmla="*/ 0 h 10910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61209" h="1091045">
                <a:moveTo>
                  <a:pt x="0" y="0"/>
                </a:moveTo>
                <a:lnTo>
                  <a:pt x="1361209" y="0"/>
                </a:lnTo>
                <a:lnTo>
                  <a:pt x="755765" y="1091045"/>
                </a:lnTo>
                <a:lnTo>
                  <a:pt x="0" y="109104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63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0320495F-C4CD-F88B-B7EA-137EB9C46A94}"/>
              </a:ext>
            </a:extLst>
          </p:cNvPr>
          <p:cNvSpPr txBox="1"/>
          <p:nvPr/>
        </p:nvSpPr>
        <p:spPr>
          <a:xfrm>
            <a:off x="896851" y="3259401"/>
            <a:ext cx="47000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000" b="1" dirty="0">
                <a:solidFill>
                  <a:schemeClr val="bg1"/>
                </a:solidFill>
              </a:rPr>
              <a:t>03</a:t>
            </a:r>
          </a:p>
        </p:txBody>
      </p:sp>
      <p:sp>
        <p:nvSpPr>
          <p:cNvPr id="35" name="Shape8_20211215_103712">
            <a:extLst>
              <a:ext uri="{FF2B5EF4-FFF2-40B4-BE49-F238E27FC236}">
                <a16:creationId xmlns:a16="http://schemas.microsoft.com/office/drawing/2014/main" id="{63081BCA-D277-13BB-B322-0BE2ADDD0D26}"/>
              </a:ext>
            </a:extLst>
          </p:cNvPr>
          <p:cNvSpPr txBox="1"/>
          <p:nvPr/>
        </p:nvSpPr>
        <p:spPr>
          <a:xfrm>
            <a:off x="1980835" y="3086610"/>
            <a:ext cx="2573832" cy="33855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l"/>
            <a:r>
              <a:rPr lang="en-US" sz="1600" b="1" dirty="0"/>
              <a:t>Title</a:t>
            </a:r>
          </a:p>
        </p:txBody>
      </p:sp>
      <p:sp>
        <p:nvSpPr>
          <p:cNvPr id="36" name="Shape9_20211215_103712">
            <a:extLst>
              <a:ext uri="{FF2B5EF4-FFF2-40B4-BE49-F238E27FC236}">
                <a16:creationId xmlns:a16="http://schemas.microsoft.com/office/drawing/2014/main" id="{5DB89B63-D228-9DA3-ABB5-0E808D4B5F9B}"/>
              </a:ext>
            </a:extLst>
          </p:cNvPr>
          <p:cNvSpPr txBox="1"/>
          <p:nvPr/>
        </p:nvSpPr>
        <p:spPr>
          <a:xfrm>
            <a:off x="1980835" y="3375521"/>
            <a:ext cx="2573832" cy="33855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4730" lvl="1" defTabSz="2666516">
              <a:buClr>
                <a:schemeClr val="tx2"/>
              </a:buClr>
              <a:buSzPct val="120000"/>
            </a:pPr>
            <a:r>
              <a:rPr lang="en-US" sz="1600" dirty="0"/>
              <a:t>Insert Text Here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F2814CDA-C71B-6871-A0A4-AA759620645C}"/>
              </a:ext>
            </a:extLst>
          </p:cNvPr>
          <p:cNvSpPr/>
          <p:nvPr/>
        </p:nvSpPr>
        <p:spPr>
          <a:xfrm rot="5400000">
            <a:off x="8723181" y="1453731"/>
            <a:ext cx="1062770" cy="4106787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38" name="Shape1_20210614_103039">
            <a:extLst>
              <a:ext uri="{FF2B5EF4-FFF2-40B4-BE49-F238E27FC236}">
                <a16:creationId xmlns:a16="http://schemas.microsoft.com/office/drawing/2014/main" id="{07FCC2A9-6C47-5E5C-4CE0-E57826BB5F2E}"/>
              </a:ext>
            </a:extLst>
          </p:cNvPr>
          <p:cNvSpPr/>
          <p:nvPr/>
        </p:nvSpPr>
        <p:spPr>
          <a:xfrm>
            <a:off x="6544617" y="2975732"/>
            <a:ext cx="1305376" cy="1062770"/>
          </a:xfrm>
          <a:custGeom>
            <a:avLst/>
            <a:gdLst>
              <a:gd name="connsiteX0" fmla="*/ 0 w 1361209"/>
              <a:gd name="connsiteY0" fmla="*/ 0 h 1091045"/>
              <a:gd name="connsiteX1" fmla="*/ 1361209 w 1361209"/>
              <a:gd name="connsiteY1" fmla="*/ 0 h 1091045"/>
              <a:gd name="connsiteX2" fmla="*/ 755765 w 1361209"/>
              <a:gd name="connsiteY2" fmla="*/ 1091045 h 1091045"/>
              <a:gd name="connsiteX3" fmla="*/ 0 w 1361209"/>
              <a:gd name="connsiteY3" fmla="*/ 1091045 h 1091045"/>
              <a:gd name="connsiteX4" fmla="*/ 0 w 1361209"/>
              <a:gd name="connsiteY4" fmla="*/ 0 h 10910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61209" h="1091045">
                <a:moveTo>
                  <a:pt x="0" y="0"/>
                </a:moveTo>
                <a:lnTo>
                  <a:pt x="1361209" y="0"/>
                </a:lnTo>
                <a:lnTo>
                  <a:pt x="755765" y="1091045"/>
                </a:lnTo>
                <a:lnTo>
                  <a:pt x="0" y="109104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2CABED7B-916B-4A95-0F30-75C5049C8C21}"/>
              </a:ext>
            </a:extLst>
          </p:cNvPr>
          <p:cNvSpPr txBox="1"/>
          <p:nvPr/>
        </p:nvSpPr>
        <p:spPr>
          <a:xfrm>
            <a:off x="6733867" y="3259401"/>
            <a:ext cx="47000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000" b="1" dirty="0">
                <a:solidFill>
                  <a:schemeClr val="bg1"/>
                </a:solidFill>
              </a:rPr>
              <a:t>04</a:t>
            </a:r>
          </a:p>
        </p:txBody>
      </p:sp>
      <p:sp>
        <p:nvSpPr>
          <p:cNvPr id="40" name="Shape10_20211215_103712">
            <a:extLst>
              <a:ext uri="{FF2B5EF4-FFF2-40B4-BE49-F238E27FC236}">
                <a16:creationId xmlns:a16="http://schemas.microsoft.com/office/drawing/2014/main" id="{EEF0E727-AB75-9940-F757-BD9AD788A5C6}"/>
              </a:ext>
            </a:extLst>
          </p:cNvPr>
          <p:cNvSpPr txBox="1"/>
          <p:nvPr/>
        </p:nvSpPr>
        <p:spPr>
          <a:xfrm>
            <a:off x="7817852" y="3086610"/>
            <a:ext cx="2573832" cy="33855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l"/>
            <a:r>
              <a:rPr lang="en-US" sz="1600" b="1" dirty="0"/>
              <a:t>Title</a:t>
            </a:r>
          </a:p>
        </p:txBody>
      </p:sp>
      <p:sp>
        <p:nvSpPr>
          <p:cNvPr id="41" name="Shape11_20211215_103712">
            <a:extLst>
              <a:ext uri="{FF2B5EF4-FFF2-40B4-BE49-F238E27FC236}">
                <a16:creationId xmlns:a16="http://schemas.microsoft.com/office/drawing/2014/main" id="{CA7ABC0C-8CA7-A1C0-BFA5-EC505AB0EDEE}"/>
              </a:ext>
            </a:extLst>
          </p:cNvPr>
          <p:cNvSpPr txBox="1"/>
          <p:nvPr/>
        </p:nvSpPr>
        <p:spPr>
          <a:xfrm>
            <a:off x="7817852" y="3375521"/>
            <a:ext cx="2573832" cy="33855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4730" lvl="1" defTabSz="2666516">
              <a:buClr>
                <a:schemeClr val="tx2"/>
              </a:buClr>
              <a:buSzPct val="120000"/>
            </a:pPr>
            <a:r>
              <a:rPr lang="en-US" sz="1600" dirty="0"/>
              <a:t>Insert Text Here</a:t>
            </a:r>
          </a:p>
        </p:txBody>
      </p:sp>
      <p:sp>
        <p:nvSpPr>
          <p:cNvPr id="42" name="Shape6_20220526_143018">
            <a:extLst>
              <a:ext uri="{FF2B5EF4-FFF2-40B4-BE49-F238E27FC236}">
                <a16:creationId xmlns:a16="http://schemas.microsoft.com/office/drawing/2014/main" id="{0710136D-5098-1DD1-AC0D-93203A85C6BA}"/>
              </a:ext>
            </a:extLst>
          </p:cNvPr>
          <p:cNvSpPr/>
          <p:nvPr/>
        </p:nvSpPr>
        <p:spPr>
          <a:xfrm>
            <a:off x="4740396" y="3331677"/>
            <a:ext cx="345443" cy="350882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43" name="Shape7_20220526_143018">
            <a:extLst>
              <a:ext uri="{FF2B5EF4-FFF2-40B4-BE49-F238E27FC236}">
                <a16:creationId xmlns:a16="http://schemas.microsoft.com/office/drawing/2014/main" id="{7C77983B-13EA-E539-A8DF-7F875A6EC55F}"/>
              </a:ext>
            </a:extLst>
          </p:cNvPr>
          <p:cNvSpPr/>
          <p:nvPr/>
        </p:nvSpPr>
        <p:spPr>
          <a:xfrm>
            <a:off x="10598939" y="3331677"/>
            <a:ext cx="345443" cy="350882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44" name="Shape0_20210614_103039">
            <a:extLst>
              <a:ext uri="{FF2B5EF4-FFF2-40B4-BE49-F238E27FC236}">
                <a16:creationId xmlns:a16="http://schemas.microsoft.com/office/drawing/2014/main" id="{157121D2-C781-9E7E-633A-BA6BAC9BB6A8}"/>
              </a:ext>
            </a:extLst>
          </p:cNvPr>
          <p:cNvSpPr/>
          <p:nvPr/>
        </p:nvSpPr>
        <p:spPr>
          <a:xfrm>
            <a:off x="4809353" y="3426902"/>
            <a:ext cx="207536" cy="160429"/>
          </a:xfrm>
          <a:custGeom>
            <a:avLst/>
            <a:gdLst>
              <a:gd name="connsiteX0" fmla="*/ 136303 w 323659"/>
              <a:gd name="connsiteY0" fmla="*/ 246317 h 246316"/>
              <a:gd name="connsiteX1" fmla="*/ 0 w 323659"/>
              <a:gd name="connsiteY1" fmla="*/ 115824 h 246316"/>
              <a:gd name="connsiteX2" fmla="*/ 50959 w 323659"/>
              <a:gd name="connsiteY2" fmla="*/ 62579 h 246316"/>
              <a:gd name="connsiteX3" fmla="*/ 134112 w 323659"/>
              <a:gd name="connsiteY3" fmla="*/ 142113 h 246316"/>
              <a:gd name="connsiteX4" fmla="*/ 270415 w 323659"/>
              <a:gd name="connsiteY4" fmla="*/ 0 h 246316"/>
              <a:gd name="connsiteX5" fmla="*/ 323660 w 323659"/>
              <a:gd name="connsiteY5" fmla="*/ 50959 h 246316"/>
              <a:gd name="connsiteX6" fmla="*/ 136303 w 323659"/>
              <a:gd name="connsiteY6" fmla="*/ 246317 h 246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23659" h="246316">
                <a:moveTo>
                  <a:pt x="136303" y="246317"/>
                </a:moveTo>
                <a:lnTo>
                  <a:pt x="0" y="115824"/>
                </a:lnTo>
                <a:lnTo>
                  <a:pt x="50959" y="62579"/>
                </a:lnTo>
                <a:lnTo>
                  <a:pt x="134112" y="142113"/>
                </a:lnTo>
                <a:lnTo>
                  <a:pt x="270415" y="0"/>
                </a:lnTo>
                <a:lnTo>
                  <a:pt x="323660" y="50959"/>
                </a:lnTo>
                <a:lnTo>
                  <a:pt x="136303" y="246317"/>
                </a:lnTo>
                <a:close/>
              </a:path>
            </a:pathLst>
          </a:custGeom>
          <a:solidFill>
            <a:srgbClr val="24A14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750715">
              <a:lnSpc>
                <a:spcPct val="90000"/>
              </a:lnSpc>
              <a:defRPr/>
            </a:pPr>
            <a:endParaRPr lang="en-IN" sz="2400" dirty="0">
              <a:solidFill>
                <a:srgbClr val="070605"/>
              </a:solidFill>
            </a:endParaRPr>
          </a:p>
        </p:txBody>
      </p:sp>
      <p:sp>
        <p:nvSpPr>
          <p:cNvPr id="45" name="Shape0_20210614_103047">
            <a:extLst>
              <a:ext uri="{FF2B5EF4-FFF2-40B4-BE49-F238E27FC236}">
                <a16:creationId xmlns:a16="http://schemas.microsoft.com/office/drawing/2014/main" id="{90C8AF0A-0B65-3B61-F35D-AEFC19CD505A}"/>
              </a:ext>
            </a:extLst>
          </p:cNvPr>
          <p:cNvSpPr/>
          <p:nvPr/>
        </p:nvSpPr>
        <p:spPr>
          <a:xfrm>
            <a:off x="10647162" y="3376523"/>
            <a:ext cx="259055" cy="263136"/>
          </a:xfrm>
          <a:prstGeom prst="mathMultiply">
            <a:avLst>
              <a:gd name="adj1" fmla="val 18520"/>
            </a:avLst>
          </a:prstGeom>
          <a:solidFill>
            <a:srgbClr val="DA1E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198355935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1A8B6DF-E366-CE85-F9D1-689A2C793C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think-cell data - do not delete" hidden="1">
            <a:extLst>
              <a:ext uri="{FF2B5EF4-FFF2-40B4-BE49-F238E27FC236}">
                <a16:creationId xmlns:a16="http://schemas.microsoft.com/office/drawing/2014/main" id="{52A33A17-02C1-54EB-D59B-A90F87A82C2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38967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1E9A301-1AF5-860C-7B6C-79D91CB6B3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x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29D91BA-27E9-5605-C69A-6038D82E70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B1D8E1B2-C4B5-E1A3-4B62-9DCAD383CC5A}"/>
              </a:ext>
            </a:extLst>
          </p:cNvPr>
          <p:cNvSpPr/>
          <p:nvPr/>
        </p:nvSpPr>
        <p:spPr>
          <a:xfrm flipV="1">
            <a:off x="1933452" y="2999068"/>
            <a:ext cx="576000" cy="336935"/>
          </a:xfrm>
          <a:prstGeom prst="round2SameRect">
            <a:avLst>
              <a:gd name="adj1" fmla="val 36365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cs typeface="Arial" panose="020B0604020202020204" pitchFamily="34" charset="0"/>
            </a:endParaRPr>
          </a:p>
        </p:txBody>
      </p:sp>
      <p:sp>
        <p:nvSpPr>
          <p:cNvPr id="7" name="Rectangle: Top Corners Rounded 6">
            <a:extLst>
              <a:ext uri="{FF2B5EF4-FFF2-40B4-BE49-F238E27FC236}">
                <a16:creationId xmlns:a16="http://schemas.microsoft.com/office/drawing/2014/main" id="{5084357C-D758-B63C-9F1C-3AA8772ECCF7}"/>
              </a:ext>
            </a:extLst>
          </p:cNvPr>
          <p:cNvSpPr/>
          <p:nvPr/>
        </p:nvSpPr>
        <p:spPr>
          <a:xfrm flipV="1">
            <a:off x="1933452" y="5676852"/>
            <a:ext cx="576000" cy="336935"/>
          </a:xfrm>
          <a:prstGeom prst="round2SameRect">
            <a:avLst>
              <a:gd name="adj1" fmla="val 36365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cs typeface="Arial" panose="020B0604020202020204" pitchFamily="34" charset="0"/>
            </a:endParaRPr>
          </a:p>
        </p:txBody>
      </p:sp>
      <p:sp>
        <p:nvSpPr>
          <p:cNvPr id="8" name="Rectangle: Top Corners Rounded 7">
            <a:extLst>
              <a:ext uri="{FF2B5EF4-FFF2-40B4-BE49-F238E27FC236}">
                <a16:creationId xmlns:a16="http://schemas.microsoft.com/office/drawing/2014/main" id="{C2B0E676-1FED-9DE0-05B4-ACBCED104A4C}"/>
              </a:ext>
            </a:extLst>
          </p:cNvPr>
          <p:cNvSpPr/>
          <p:nvPr/>
        </p:nvSpPr>
        <p:spPr>
          <a:xfrm flipV="1">
            <a:off x="7617552" y="2999068"/>
            <a:ext cx="576000" cy="336935"/>
          </a:xfrm>
          <a:prstGeom prst="round2SameRect">
            <a:avLst>
              <a:gd name="adj1" fmla="val 36365"/>
              <a:gd name="adj2" fmla="val 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9" name="Rectangle: Top Corners Rounded 8">
            <a:extLst>
              <a:ext uri="{FF2B5EF4-FFF2-40B4-BE49-F238E27FC236}">
                <a16:creationId xmlns:a16="http://schemas.microsoft.com/office/drawing/2014/main" id="{AD007D3F-3C06-5A2E-E569-17FA4A1DCAA0}"/>
              </a:ext>
            </a:extLst>
          </p:cNvPr>
          <p:cNvSpPr/>
          <p:nvPr/>
        </p:nvSpPr>
        <p:spPr>
          <a:xfrm flipV="1">
            <a:off x="7617552" y="5676852"/>
            <a:ext cx="576000" cy="336935"/>
          </a:xfrm>
          <a:prstGeom prst="round2SameRect">
            <a:avLst>
              <a:gd name="adj1" fmla="val 36365"/>
              <a:gd name="adj2" fmla="val 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cs typeface="Arial" panose="020B0604020202020204" pitchFamily="34" charset="0"/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3D5B52C9-A2F5-8201-56C0-5169581CBC07}"/>
              </a:ext>
            </a:extLst>
          </p:cNvPr>
          <p:cNvSpPr/>
          <p:nvPr/>
        </p:nvSpPr>
        <p:spPr>
          <a:xfrm>
            <a:off x="1797978" y="1623484"/>
            <a:ext cx="3892042" cy="1525952"/>
          </a:xfrm>
          <a:prstGeom prst="roundRect">
            <a:avLst>
              <a:gd name="adj" fmla="val 3334"/>
            </a:avLst>
          </a:prstGeom>
          <a:solidFill>
            <a:schemeClr val="bg1"/>
          </a:solidFill>
          <a:ln>
            <a:noFill/>
          </a:ln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cs typeface="Arial" panose="020B0604020202020204" pitchFamily="34" charset="0"/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5B9C5BE9-96BB-6E1D-FD93-AD3AE69061C7}"/>
              </a:ext>
            </a:extLst>
          </p:cNvPr>
          <p:cNvSpPr/>
          <p:nvPr/>
        </p:nvSpPr>
        <p:spPr>
          <a:xfrm>
            <a:off x="858519" y="1289334"/>
            <a:ext cx="1433245" cy="2046669"/>
          </a:xfrm>
          <a:prstGeom prst="roundRect">
            <a:avLst>
              <a:gd name="adj" fmla="val 9167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cs typeface="Arial" panose="020B0604020202020204" pitchFamily="34" charset="0"/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2D232A38-7524-C3E8-0C14-05F8EB6E91F8}"/>
              </a:ext>
            </a:extLst>
          </p:cNvPr>
          <p:cNvSpPr/>
          <p:nvPr/>
        </p:nvSpPr>
        <p:spPr>
          <a:xfrm>
            <a:off x="1797978" y="4301268"/>
            <a:ext cx="3892042" cy="1525952"/>
          </a:xfrm>
          <a:prstGeom prst="roundRect">
            <a:avLst>
              <a:gd name="adj" fmla="val 3334"/>
            </a:avLst>
          </a:prstGeom>
          <a:solidFill>
            <a:schemeClr val="bg1"/>
          </a:solidFill>
          <a:ln>
            <a:noFill/>
          </a:ln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cs typeface="Arial" panose="020B0604020202020204" pitchFamily="34" charset="0"/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29248F63-F5D3-00DB-0E1C-2FDAE4B740FE}"/>
              </a:ext>
            </a:extLst>
          </p:cNvPr>
          <p:cNvSpPr/>
          <p:nvPr/>
        </p:nvSpPr>
        <p:spPr>
          <a:xfrm>
            <a:off x="858519" y="3967118"/>
            <a:ext cx="1433245" cy="2046669"/>
          </a:xfrm>
          <a:prstGeom prst="roundRect">
            <a:avLst>
              <a:gd name="adj" fmla="val 916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cs typeface="Arial" panose="020B0604020202020204" pitchFamily="34" charset="0"/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1662F248-35F5-89D2-EB8D-2E69D6F156D3}"/>
              </a:ext>
            </a:extLst>
          </p:cNvPr>
          <p:cNvSpPr/>
          <p:nvPr/>
        </p:nvSpPr>
        <p:spPr>
          <a:xfrm>
            <a:off x="7482078" y="1623484"/>
            <a:ext cx="3892042" cy="1525952"/>
          </a:xfrm>
          <a:prstGeom prst="roundRect">
            <a:avLst>
              <a:gd name="adj" fmla="val 3334"/>
            </a:avLst>
          </a:prstGeom>
          <a:solidFill>
            <a:schemeClr val="bg1"/>
          </a:solidFill>
          <a:ln>
            <a:noFill/>
          </a:ln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cs typeface="Arial" panose="020B0604020202020204" pitchFamily="34" charset="0"/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6967726F-1745-12E1-4F01-FAD4AECFACEE}"/>
              </a:ext>
            </a:extLst>
          </p:cNvPr>
          <p:cNvSpPr/>
          <p:nvPr/>
        </p:nvSpPr>
        <p:spPr>
          <a:xfrm>
            <a:off x="6542619" y="1289334"/>
            <a:ext cx="1433245" cy="2046669"/>
          </a:xfrm>
          <a:prstGeom prst="roundRect">
            <a:avLst>
              <a:gd name="adj" fmla="val 9167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868319A0-ABD3-5040-0B53-B1CE54F05B1A}"/>
              </a:ext>
            </a:extLst>
          </p:cNvPr>
          <p:cNvSpPr/>
          <p:nvPr/>
        </p:nvSpPr>
        <p:spPr>
          <a:xfrm>
            <a:off x="7482078" y="4301268"/>
            <a:ext cx="3892042" cy="1525952"/>
          </a:xfrm>
          <a:prstGeom prst="roundRect">
            <a:avLst>
              <a:gd name="adj" fmla="val 3334"/>
            </a:avLst>
          </a:prstGeom>
          <a:solidFill>
            <a:schemeClr val="bg1"/>
          </a:solidFill>
          <a:ln>
            <a:noFill/>
          </a:ln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cs typeface="Arial" panose="020B0604020202020204" pitchFamily="34" charset="0"/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C88D4688-C762-DB58-7031-80E8B0FC6186}"/>
              </a:ext>
            </a:extLst>
          </p:cNvPr>
          <p:cNvSpPr/>
          <p:nvPr/>
        </p:nvSpPr>
        <p:spPr>
          <a:xfrm>
            <a:off x="6542619" y="3967118"/>
            <a:ext cx="1433245" cy="2046669"/>
          </a:xfrm>
          <a:prstGeom prst="roundRect">
            <a:avLst>
              <a:gd name="adj" fmla="val 9167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cs typeface="Arial" panose="020B0604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A16411E-2726-D14D-3B02-AEF5156EC583}"/>
              </a:ext>
            </a:extLst>
          </p:cNvPr>
          <p:cNvSpPr txBox="1"/>
          <p:nvPr/>
        </p:nvSpPr>
        <p:spPr>
          <a:xfrm>
            <a:off x="1305141" y="1565508"/>
            <a:ext cx="540000" cy="406265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 algn="ctr"/>
            <a:r>
              <a:rPr lang="en-IN" sz="2000" dirty="0">
                <a:solidFill>
                  <a:schemeClr val="bg1"/>
                </a:solidFill>
                <a:cs typeface="Arial" panose="020B0604020202020204" pitchFamily="34" charset="0"/>
              </a:rPr>
              <a:t>01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F3425FB-AADC-292F-CBB6-78425F7D8536}"/>
              </a:ext>
            </a:extLst>
          </p:cNvPr>
          <p:cNvSpPr txBox="1"/>
          <p:nvPr/>
        </p:nvSpPr>
        <p:spPr>
          <a:xfrm>
            <a:off x="6989241" y="1565508"/>
            <a:ext cx="540000" cy="406265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 algn="ctr"/>
            <a:r>
              <a:rPr lang="en-IN" sz="2000" dirty="0">
                <a:solidFill>
                  <a:schemeClr val="bg1"/>
                </a:solidFill>
                <a:cs typeface="Arial" panose="020B0604020202020204" pitchFamily="34" charset="0"/>
              </a:rPr>
              <a:t>03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D9F9C7C-0A35-A838-C6DC-8B3BAD18848A}"/>
              </a:ext>
            </a:extLst>
          </p:cNvPr>
          <p:cNvSpPr txBox="1"/>
          <p:nvPr/>
        </p:nvSpPr>
        <p:spPr>
          <a:xfrm>
            <a:off x="1305141" y="4243292"/>
            <a:ext cx="540000" cy="406265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 algn="ctr"/>
            <a:r>
              <a:rPr lang="en-IN" sz="2000" dirty="0">
                <a:solidFill>
                  <a:schemeClr val="bg1"/>
                </a:solidFill>
                <a:cs typeface="Arial" panose="020B0604020202020204" pitchFamily="34" charset="0"/>
              </a:rPr>
              <a:t>02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0A9FBBC-7366-0D61-D43D-54BF3EE08AC9}"/>
              </a:ext>
            </a:extLst>
          </p:cNvPr>
          <p:cNvSpPr txBox="1"/>
          <p:nvPr/>
        </p:nvSpPr>
        <p:spPr>
          <a:xfrm>
            <a:off x="6989241" y="4243292"/>
            <a:ext cx="540000" cy="406265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 algn="ctr"/>
            <a:r>
              <a:rPr lang="en-IN" sz="2000" dirty="0">
                <a:solidFill>
                  <a:schemeClr val="bg1"/>
                </a:solidFill>
                <a:cs typeface="Arial" panose="020B0604020202020204" pitchFamily="34" charset="0"/>
              </a:rPr>
              <a:t>04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75D49778-3A3B-8452-E8AC-01A9211279BC}"/>
              </a:ext>
            </a:extLst>
          </p:cNvPr>
          <p:cNvCxnSpPr>
            <a:cxnSpLocks/>
          </p:cNvCxnSpPr>
          <p:nvPr/>
        </p:nvCxnSpPr>
        <p:spPr>
          <a:xfrm>
            <a:off x="1403197" y="2103853"/>
            <a:ext cx="34388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F6ED50E5-8C1A-8ED0-5272-548A8611C40F}"/>
              </a:ext>
            </a:extLst>
          </p:cNvPr>
          <p:cNvCxnSpPr>
            <a:cxnSpLocks/>
          </p:cNvCxnSpPr>
          <p:nvPr/>
        </p:nvCxnSpPr>
        <p:spPr>
          <a:xfrm>
            <a:off x="7087297" y="2103853"/>
            <a:ext cx="34388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4B0924D2-4AED-E684-79A3-EC8351CCEB3B}"/>
              </a:ext>
            </a:extLst>
          </p:cNvPr>
          <p:cNvCxnSpPr>
            <a:cxnSpLocks/>
          </p:cNvCxnSpPr>
          <p:nvPr/>
        </p:nvCxnSpPr>
        <p:spPr>
          <a:xfrm>
            <a:off x="1403197" y="4781637"/>
            <a:ext cx="34388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127BBD2F-80BC-6532-855C-AD38B70D59B9}"/>
              </a:ext>
            </a:extLst>
          </p:cNvPr>
          <p:cNvCxnSpPr>
            <a:cxnSpLocks/>
          </p:cNvCxnSpPr>
          <p:nvPr/>
        </p:nvCxnSpPr>
        <p:spPr>
          <a:xfrm>
            <a:off x="7087297" y="4781637"/>
            <a:ext cx="34388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ABD2335B-7F03-EAFE-2D61-F05F412F0642}"/>
              </a:ext>
            </a:extLst>
          </p:cNvPr>
          <p:cNvSpPr txBox="1">
            <a:spLocks/>
          </p:cNvSpPr>
          <p:nvPr/>
        </p:nvSpPr>
        <p:spPr>
          <a:xfrm>
            <a:off x="2427432" y="2160109"/>
            <a:ext cx="2982768" cy="452703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1800" b="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40A20540-1E17-A6CE-854D-C1B183C12F9E}"/>
              </a:ext>
            </a:extLst>
          </p:cNvPr>
          <p:cNvSpPr txBox="1">
            <a:spLocks/>
          </p:cNvSpPr>
          <p:nvPr/>
        </p:nvSpPr>
        <p:spPr>
          <a:xfrm>
            <a:off x="2427432" y="4837893"/>
            <a:ext cx="2982768" cy="452703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1800" b="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0318D327-6852-F7AA-01B8-84CF5788A71D}"/>
              </a:ext>
            </a:extLst>
          </p:cNvPr>
          <p:cNvSpPr txBox="1">
            <a:spLocks/>
          </p:cNvSpPr>
          <p:nvPr/>
        </p:nvSpPr>
        <p:spPr>
          <a:xfrm>
            <a:off x="8111338" y="2160109"/>
            <a:ext cx="2982768" cy="452703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1800" b="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E8F3D173-54A3-3BC4-C5C7-0D389F12E0AF}"/>
              </a:ext>
            </a:extLst>
          </p:cNvPr>
          <p:cNvSpPr txBox="1">
            <a:spLocks/>
          </p:cNvSpPr>
          <p:nvPr/>
        </p:nvSpPr>
        <p:spPr>
          <a:xfrm>
            <a:off x="8111338" y="4837893"/>
            <a:ext cx="2982768" cy="452703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1800" b="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D2D3DD82-EB15-2A54-A378-52D194CA074F}"/>
              </a:ext>
            </a:extLst>
          </p:cNvPr>
          <p:cNvSpPr txBox="1">
            <a:spLocks/>
          </p:cNvSpPr>
          <p:nvPr/>
        </p:nvSpPr>
        <p:spPr>
          <a:xfrm>
            <a:off x="1195528" y="2306623"/>
            <a:ext cx="759227" cy="452703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20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Title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CDFDC06E-1669-5D82-A4DB-A27355F14173}"/>
              </a:ext>
            </a:extLst>
          </p:cNvPr>
          <p:cNvSpPr txBox="1">
            <a:spLocks/>
          </p:cNvSpPr>
          <p:nvPr/>
        </p:nvSpPr>
        <p:spPr>
          <a:xfrm>
            <a:off x="1195528" y="4984407"/>
            <a:ext cx="759227" cy="452703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20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Title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D716B653-C984-0FDC-2136-69EF63C35F64}"/>
              </a:ext>
            </a:extLst>
          </p:cNvPr>
          <p:cNvSpPr txBox="1">
            <a:spLocks/>
          </p:cNvSpPr>
          <p:nvPr/>
        </p:nvSpPr>
        <p:spPr>
          <a:xfrm>
            <a:off x="6879628" y="2306623"/>
            <a:ext cx="759227" cy="452703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20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Title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396B46BA-C77C-71B3-231B-3F61407D6FCE}"/>
              </a:ext>
            </a:extLst>
          </p:cNvPr>
          <p:cNvSpPr txBox="1">
            <a:spLocks/>
          </p:cNvSpPr>
          <p:nvPr/>
        </p:nvSpPr>
        <p:spPr>
          <a:xfrm>
            <a:off x="6879628" y="4984407"/>
            <a:ext cx="759227" cy="452703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20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292682397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26A3AC-397B-5730-54E0-75A8B62377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A74655FE-4A57-9DB0-9382-575465327E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74655FE-4A57-9DB0-9382-575465327E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5156766-DEA5-422E-5714-F24CA0F5CE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hecklist 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1A30FD61-FB37-989F-D0AF-5DC837F0B90D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70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" name="Shape1_20211020_181843">
            <a:extLst>
              <a:ext uri="{FF2B5EF4-FFF2-40B4-BE49-F238E27FC236}">
                <a16:creationId xmlns:a16="http://schemas.microsoft.com/office/drawing/2014/main" id="{8759D7D5-9DBD-7FA3-EC13-E67A49EA18D4}"/>
              </a:ext>
            </a:extLst>
          </p:cNvPr>
          <p:cNvSpPr/>
          <p:nvPr/>
        </p:nvSpPr>
        <p:spPr>
          <a:xfrm>
            <a:off x="675603" y="1814281"/>
            <a:ext cx="1701132" cy="3286992"/>
          </a:xfrm>
          <a:custGeom>
            <a:avLst/>
            <a:gdLst>
              <a:gd name="connsiteX0" fmla="*/ 5805 w 1259143"/>
              <a:gd name="connsiteY0" fmla="*/ 0 h 2506678"/>
              <a:gd name="connsiteX1" fmla="*/ 1259143 w 1259143"/>
              <a:gd name="connsiteY1" fmla="*/ 1253339 h 2506678"/>
              <a:gd name="connsiteX2" fmla="*/ 5805 w 1259143"/>
              <a:gd name="connsiteY2" fmla="*/ 2506678 h 2506678"/>
              <a:gd name="connsiteX3" fmla="*/ 0 w 1259143"/>
              <a:gd name="connsiteY3" fmla="*/ 2506385 h 2506678"/>
              <a:gd name="connsiteX4" fmla="*/ 0 w 1259143"/>
              <a:gd name="connsiteY4" fmla="*/ 293 h 25066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59143" h="2506678">
                <a:moveTo>
                  <a:pt x="5805" y="0"/>
                </a:moveTo>
                <a:cubicBezTo>
                  <a:pt x="698004" y="0"/>
                  <a:pt x="1259143" y="561139"/>
                  <a:pt x="1259143" y="1253339"/>
                </a:cubicBezTo>
                <a:cubicBezTo>
                  <a:pt x="1259143" y="1945539"/>
                  <a:pt x="698004" y="2506678"/>
                  <a:pt x="5805" y="2506678"/>
                </a:cubicBezTo>
                <a:lnTo>
                  <a:pt x="0" y="2506385"/>
                </a:lnTo>
                <a:lnTo>
                  <a:pt x="0" y="293"/>
                </a:lnTo>
                <a:close/>
              </a:path>
            </a:pathLst>
          </a:custGeom>
          <a:solidFill>
            <a:srgbClr val="FFFFFF"/>
          </a:solidFill>
          <a:ln w="25400" cap="flat" cmpd="sng" algn="ctr">
            <a:solidFill>
              <a:schemeClr val="accent1"/>
            </a:solidFill>
            <a:prstDash val="solid"/>
          </a:ln>
          <a:effectLst/>
        </p:spPr>
        <p:txBody>
          <a:bodyPr wrap="square" rtlCol="0" anchor="ctr">
            <a:noAutofit/>
          </a:bodyPr>
          <a:lstStyle/>
          <a:p>
            <a:pPr defTabSz="625570">
              <a:defRPr/>
            </a:pPr>
            <a:endParaRPr lang="en-US" sz="2400" dirty="0">
              <a:solidFill>
                <a:srgbClr val="005073"/>
              </a:solidFill>
            </a:endParaRP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184C9875-B8F2-F255-B7A7-964B16D19004}"/>
              </a:ext>
            </a:extLst>
          </p:cNvPr>
          <p:cNvSpPr/>
          <p:nvPr/>
        </p:nvSpPr>
        <p:spPr>
          <a:xfrm>
            <a:off x="675606" y="1887723"/>
            <a:ext cx="1625119" cy="3140110"/>
          </a:xfrm>
          <a:custGeom>
            <a:avLst/>
            <a:gdLst>
              <a:gd name="connsiteX0" fmla="*/ 5805 w 1259143"/>
              <a:gd name="connsiteY0" fmla="*/ 0 h 2506678"/>
              <a:gd name="connsiteX1" fmla="*/ 1259143 w 1259143"/>
              <a:gd name="connsiteY1" fmla="*/ 1253339 h 2506678"/>
              <a:gd name="connsiteX2" fmla="*/ 5805 w 1259143"/>
              <a:gd name="connsiteY2" fmla="*/ 2506678 h 2506678"/>
              <a:gd name="connsiteX3" fmla="*/ 0 w 1259143"/>
              <a:gd name="connsiteY3" fmla="*/ 2506385 h 2506678"/>
              <a:gd name="connsiteX4" fmla="*/ 0 w 1259143"/>
              <a:gd name="connsiteY4" fmla="*/ 293 h 25066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59143" h="2506678">
                <a:moveTo>
                  <a:pt x="5805" y="0"/>
                </a:moveTo>
                <a:cubicBezTo>
                  <a:pt x="698004" y="0"/>
                  <a:pt x="1259143" y="561139"/>
                  <a:pt x="1259143" y="1253339"/>
                </a:cubicBezTo>
                <a:cubicBezTo>
                  <a:pt x="1259143" y="1945539"/>
                  <a:pt x="698004" y="2506678"/>
                  <a:pt x="5805" y="2506678"/>
                </a:cubicBezTo>
                <a:lnTo>
                  <a:pt x="0" y="2506385"/>
                </a:lnTo>
                <a:lnTo>
                  <a:pt x="0" y="293"/>
                </a:lnTo>
                <a:close/>
              </a:path>
            </a:pathLst>
          </a:cu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wrap="square" rtlCol="0" anchor="ctr">
            <a:noAutofit/>
          </a:bodyPr>
          <a:lstStyle/>
          <a:p>
            <a:pPr defTabSz="625570">
              <a:defRPr/>
            </a:pPr>
            <a:endParaRPr lang="en-US" sz="2400" dirty="0">
              <a:solidFill>
                <a:srgbClr val="005073"/>
              </a:solidFill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14B44AB5-A902-959F-1B71-188B3ACFD5DB}"/>
              </a:ext>
            </a:extLst>
          </p:cNvPr>
          <p:cNvSpPr/>
          <p:nvPr/>
        </p:nvSpPr>
        <p:spPr>
          <a:xfrm>
            <a:off x="1270560" y="1590821"/>
            <a:ext cx="115671" cy="112271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625570">
              <a:defRPr/>
            </a:pPr>
            <a:endParaRPr lang="en-US" sz="2400" dirty="0">
              <a:solidFill>
                <a:srgbClr val="005073"/>
              </a:solidFill>
            </a:endParaRPr>
          </a:p>
        </p:txBody>
      </p:sp>
      <p:cxnSp>
        <p:nvCxnSpPr>
          <p:cNvPr id="7" name="Shape1_20220517_163352">
            <a:extLst>
              <a:ext uri="{FF2B5EF4-FFF2-40B4-BE49-F238E27FC236}">
                <a16:creationId xmlns:a16="http://schemas.microsoft.com/office/drawing/2014/main" id="{27077A94-BBE1-565C-6D14-9705463F470E}"/>
              </a:ext>
            </a:extLst>
          </p:cNvPr>
          <p:cNvCxnSpPr>
            <a:cxnSpLocks/>
            <a:stCxn id="6" idx="6"/>
            <a:endCxn id="8" idx="2"/>
          </p:cNvCxnSpPr>
          <p:nvPr/>
        </p:nvCxnSpPr>
        <p:spPr>
          <a:xfrm>
            <a:off x="1386230" y="1646957"/>
            <a:ext cx="1482983" cy="0"/>
          </a:xfrm>
          <a:prstGeom prst="line">
            <a:avLst/>
          </a:prstGeom>
          <a:noFill/>
          <a:ln w="9525" cap="flat" cmpd="sng" algn="ctr">
            <a:solidFill>
              <a:schemeClr val="accent6"/>
            </a:solidFill>
            <a:prstDash val="solid"/>
          </a:ln>
          <a:effectLst/>
        </p:spPr>
      </p:cxnSp>
      <p:sp>
        <p:nvSpPr>
          <p:cNvPr id="8" name="Shape2_20220517_163352">
            <a:extLst>
              <a:ext uri="{FF2B5EF4-FFF2-40B4-BE49-F238E27FC236}">
                <a16:creationId xmlns:a16="http://schemas.microsoft.com/office/drawing/2014/main" id="{CEE229C7-94E9-AE5B-D85F-AA7433CE2C6D}"/>
              </a:ext>
            </a:extLst>
          </p:cNvPr>
          <p:cNvSpPr>
            <a:spLocks noChangeAspect="1"/>
          </p:cNvSpPr>
          <p:nvPr/>
        </p:nvSpPr>
        <p:spPr>
          <a:xfrm>
            <a:off x="2869213" y="1401302"/>
            <a:ext cx="492809" cy="491309"/>
          </a:xfrm>
          <a:prstGeom prst="ellipse">
            <a:avLst/>
          </a:prstGeom>
          <a:noFill/>
          <a:ln w="9525" cap="flat" cmpd="sng" algn="ctr">
            <a:solidFill>
              <a:schemeClr val="accent6"/>
            </a:solidFill>
            <a:prstDash val="solid"/>
          </a:ln>
          <a:effectLst/>
        </p:spPr>
        <p:txBody>
          <a:bodyPr rtlCol="0" anchor="ctr"/>
          <a:lstStyle/>
          <a:p>
            <a:pPr defTabSz="625570">
              <a:defRPr/>
            </a:pPr>
            <a:endParaRPr lang="en-US" sz="2400" dirty="0">
              <a:solidFill>
                <a:srgbClr val="005073"/>
              </a:solidFill>
            </a:endParaRPr>
          </a:p>
        </p:txBody>
      </p:sp>
      <p:sp>
        <p:nvSpPr>
          <p:cNvPr id="9" name="Shape1_20211020_182018">
            <a:extLst>
              <a:ext uri="{FF2B5EF4-FFF2-40B4-BE49-F238E27FC236}">
                <a16:creationId xmlns:a16="http://schemas.microsoft.com/office/drawing/2014/main" id="{26530910-EA32-6D78-937A-AC9CE1D99F63}"/>
              </a:ext>
            </a:extLst>
          </p:cNvPr>
          <p:cNvSpPr/>
          <p:nvPr/>
        </p:nvSpPr>
        <p:spPr>
          <a:xfrm>
            <a:off x="2942714" y="1474056"/>
            <a:ext cx="345800" cy="345800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0" name="Freeform 5">
            <a:extLst>
              <a:ext uri="{FF2B5EF4-FFF2-40B4-BE49-F238E27FC236}">
                <a16:creationId xmlns:a16="http://schemas.microsoft.com/office/drawing/2014/main" id="{F1201028-63D0-D64E-45F7-D482EE94CD8C}"/>
              </a:ext>
            </a:extLst>
          </p:cNvPr>
          <p:cNvSpPr>
            <a:spLocks/>
          </p:cNvSpPr>
          <p:nvPr/>
        </p:nvSpPr>
        <p:spPr bwMode="auto">
          <a:xfrm>
            <a:off x="2991064" y="1532351"/>
            <a:ext cx="249103" cy="229211"/>
          </a:xfrm>
          <a:custGeom>
            <a:avLst/>
            <a:gdLst>
              <a:gd name="T0" fmla="*/ 2218 w 2218"/>
              <a:gd name="T1" fmla="*/ 0 h 2050"/>
              <a:gd name="T2" fmla="*/ 2211 w 2218"/>
              <a:gd name="T3" fmla="*/ 84 h 2050"/>
              <a:gd name="T4" fmla="*/ 864 w 2218"/>
              <a:gd name="T5" fmla="*/ 1798 h 2050"/>
              <a:gd name="T6" fmla="*/ 520 w 2218"/>
              <a:gd name="T7" fmla="*/ 1882 h 2050"/>
              <a:gd name="T8" fmla="*/ 0 w 2218"/>
              <a:gd name="T9" fmla="*/ 1155 h 2050"/>
              <a:gd name="T10" fmla="*/ 329 w 2218"/>
              <a:gd name="T11" fmla="*/ 1017 h 2050"/>
              <a:gd name="T12" fmla="*/ 696 w 2218"/>
              <a:gd name="T13" fmla="*/ 1484 h 2050"/>
              <a:gd name="T14" fmla="*/ 2218 w 2218"/>
              <a:gd name="T15" fmla="*/ 0 h 20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218" h="2050">
                <a:moveTo>
                  <a:pt x="2218" y="0"/>
                </a:moveTo>
                <a:cubicBezTo>
                  <a:pt x="2211" y="84"/>
                  <a:pt x="2211" y="84"/>
                  <a:pt x="2211" y="84"/>
                </a:cubicBezTo>
                <a:cubicBezTo>
                  <a:pt x="1507" y="604"/>
                  <a:pt x="1132" y="1247"/>
                  <a:pt x="864" y="1798"/>
                </a:cubicBezTo>
                <a:cubicBezTo>
                  <a:pt x="704" y="1905"/>
                  <a:pt x="589" y="2050"/>
                  <a:pt x="520" y="1882"/>
                </a:cubicBezTo>
                <a:cubicBezTo>
                  <a:pt x="436" y="1660"/>
                  <a:pt x="252" y="1239"/>
                  <a:pt x="0" y="1155"/>
                </a:cubicBezTo>
                <a:cubicBezTo>
                  <a:pt x="107" y="1033"/>
                  <a:pt x="206" y="1002"/>
                  <a:pt x="329" y="1017"/>
                </a:cubicBezTo>
                <a:cubicBezTo>
                  <a:pt x="489" y="1040"/>
                  <a:pt x="635" y="1346"/>
                  <a:pt x="696" y="1484"/>
                </a:cubicBezTo>
                <a:cubicBezTo>
                  <a:pt x="1025" y="933"/>
                  <a:pt x="1629" y="306"/>
                  <a:pt x="2218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25125" tIns="62563" rIns="125125" bIns="62563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/>
          </a:p>
        </p:txBody>
      </p:sp>
      <p:sp>
        <p:nvSpPr>
          <p:cNvPr id="11" name="Shape0_20211215_104047">
            <a:extLst>
              <a:ext uri="{FF2B5EF4-FFF2-40B4-BE49-F238E27FC236}">
                <a16:creationId xmlns:a16="http://schemas.microsoft.com/office/drawing/2014/main" id="{79269156-2A4E-321B-0885-819B8C78C9F5}"/>
              </a:ext>
            </a:extLst>
          </p:cNvPr>
          <p:cNvSpPr>
            <a:spLocks/>
          </p:cNvSpPr>
          <p:nvPr/>
        </p:nvSpPr>
        <p:spPr>
          <a:xfrm>
            <a:off x="3506634" y="1523846"/>
            <a:ext cx="7971446" cy="246221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4730" lvl="1" defTabSz="2666516">
              <a:spcBef>
                <a:spcPct val="20000"/>
              </a:spcBef>
              <a:buClr>
                <a:srgbClr val="44546A"/>
              </a:buClr>
              <a:buSzPct val="120000"/>
              <a:defRPr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74BE9EBD-5879-3962-7956-D94CC2742017}"/>
              </a:ext>
            </a:extLst>
          </p:cNvPr>
          <p:cNvSpPr/>
          <p:nvPr/>
        </p:nvSpPr>
        <p:spPr>
          <a:xfrm>
            <a:off x="2521351" y="2778849"/>
            <a:ext cx="115671" cy="112271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625570">
              <a:defRPr/>
            </a:pPr>
            <a:endParaRPr lang="en-US" sz="2400" dirty="0">
              <a:solidFill>
                <a:srgbClr val="005073"/>
              </a:solidFill>
            </a:endParaRPr>
          </a:p>
        </p:txBody>
      </p:sp>
      <p:cxnSp>
        <p:nvCxnSpPr>
          <p:cNvPr id="13" name="Shape3_20220517_163352">
            <a:extLst>
              <a:ext uri="{FF2B5EF4-FFF2-40B4-BE49-F238E27FC236}">
                <a16:creationId xmlns:a16="http://schemas.microsoft.com/office/drawing/2014/main" id="{1BE88B83-2D0A-4F11-F5DB-032E6028F41A}"/>
              </a:ext>
            </a:extLst>
          </p:cNvPr>
          <p:cNvCxnSpPr>
            <a:cxnSpLocks/>
            <a:stCxn id="12" idx="6"/>
            <a:endCxn id="14" idx="2"/>
          </p:cNvCxnSpPr>
          <p:nvPr/>
        </p:nvCxnSpPr>
        <p:spPr>
          <a:xfrm>
            <a:off x="2637021" y="2834984"/>
            <a:ext cx="232187" cy="2"/>
          </a:xfrm>
          <a:prstGeom prst="line">
            <a:avLst/>
          </a:prstGeom>
          <a:noFill/>
          <a:ln w="9525" cap="flat" cmpd="sng" algn="ctr">
            <a:solidFill>
              <a:schemeClr val="accent6"/>
            </a:solidFill>
            <a:prstDash val="solid"/>
          </a:ln>
          <a:effectLst/>
        </p:spPr>
      </p:cxnSp>
      <p:sp>
        <p:nvSpPr>
          <p:cNvPr id="14" name="Shape4_20220517_163352">
            <a:extLst>
              <a:ext uri="{FF2B5EF4-FFF2-40B4-BE49-F238E27FC236}">
                <a16:creationId xmlns:a16="http://schemas.microsoft.com/office/drawing/2014/main" id="{5488A2FF-5F85-983D-A17D-44935D925317}"/>
              </a:ext>
            </a:extLst>
          </p:cNvPr>
          <p:cNvSpPr>
            <a:spLocks noChangeAspect="1"/>
          </p:cNvSpPr>
          <p:nvPr/>
        </p:nvSpPr>
        <p:spPr>
          <a:xfrm>
            <a:off x="2869209" y="2589331"/>
            <a:ext cx="492809" cy="491309"/>
          </a:xfrm>
          <a:prstGeom prst="ellipse">
            <a:avLst/>
          </a:prstGeom>
          <a:noFill/>
          <a:ln w="9525" cap="flat" cmpd="sng" algn="ctr">
            <a:solidFill>
              <a:schemeClr val="accent6"/>
            </a:solidFill>
            <a:prstDash val="solid"/>
          </a:ln>
          <a:effectLst/>
        </p:spPr>
        <p:txBody>
          <a:bodyPr rtlCol="0" anchor="ctr"/>
          <a:lstStyle/>
          <a:p>
            <a:pPr defTabSz="625570">
              <a:defRPr/>
            </a:pPr>
            <a:endParaRPr lang="en-US" sz="2400" dirty="0">
              <a:solidFill>
                <a:srgbClr val="005073"/>
              </a:solidFill>
            </a:endParaRPr>
          </a:p>
        </p:txBody>
      </p:sp>
      <p:sp>
        <p:nvSpPr>
          <p:cNvPr id="15" name="Shape2_20211020_182018">
            <a:extLst>
              <a:ext uri="{FF2B5EF4-FFF2-40B4-BE49-F238E27FC236}">
                <a16:creationId xmlns:a16="http://schemas.microsoft.com/office/drawing/2014/main" id="{AE392260-B0A9-2C72-C8D2-50AE508FC669}"/>
              </a:ext>
            </a:extLst>
          </p:cNvPr>
          <p:cNvSpPr/>
          <p:nvPr/>
        </p:nvSpPr>
        <p:spPr>
          <a:xfrm>
            <a:off x="2942714" y="2662080"/>
            <a:ext cx="345800" cy="345800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6" name="Freeform 5">
            <a:extLst>
              <a:ext uri="{FF2B5EF4-FFF2-40B4-BE49-F238E27FC236}">
                <a16:creationId xmlns:a16="http://schemas.microsoft.com/office/drawing/2014/main" id="{A518261B-62EF-B92A-8B92-C085ABF8BAC4}"/>
              </a:ext>
            </a:extLst>
          </p:cNvPr>
          <p:cNvSpPr>
            <a:spLocks/>
          </p:cNvSpPr>
          <p:nvPr/>
        </p:nvSpPr>
        <p:spPr bwMode="auto">
          <a:xfrm>
            <a:off x="2991064" y="2720376"/>
            <a:ext cx="249103" cy="229211"/>
          </a:xfrm>
          <a:custGeom>
            <a:avLst/>
            <a:gdLst>
              <a:gd name="T0" fmla="*/ 2218 w 2218"/>
              <a:gd name="T1" fmla="*/ 0 h 2050"/>
              <a:gd name="T2" fmla="*/ 2211 w 2218"/>
              <a:gd name="T3" fmla="*/ 84 h 2050"/>
              <a:gd name="T4" fmla="*/ 864 w 2218"/>
              <a:gd name="T5" fmla="*/ 1798 h 2050"/>
              <a:gd name="T6" fmla="*/ 520 w 2218"/>
              <a:gd name="T7" fmla="*/ 1882 h 2050"/>
              <a:gd name="T8" fmla="*/ 0 w 2218"/>
              <a:gd name="T9" fmla="*/ 1155 h 2050"/>
              <a:gd name="T10" fmla="*/ 329 w 2218"/>
              <a:gd name="T11" fmla="*/ 1017 h 2050"/>
              <a:gd name="T12" fmla="*/ 696 w 2218"/>
              <a:gd name="T13" fmla="*/ 1484 h 2050"/>
              <a:gd name="T14" fmla="*/ 2218 w 2218"/>
              <a:gd name="T15" fmla="*/ 0 h 20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218" h="2050">
                <a:moveTo>
                  <a:pt x="2218" y="0"/>
                </a:moveTo>
                <a:cubicBezTo>
                  <a:pt x="2211" y="84"/>
                  <a:pt x="2211" y="84"/>
                  <a:pt x="2211" y="84"/>
                </a:cubicBezTo>
                <a:cubicBezTo>
                  <a:pt x="1507" y="604"/>
                  <a:pt x="1132" y="1247"/>
                  <a:pt x="864" y="1798"/>
                </a:cubicBezTo>
                <a:cubicBezTo>
                  <a:pt x="704" y="1905"/>
                  <a:pt x="589" y="2050"/>
                  <a:pt x="520" y="1882"/>
                </a:cubicBezTo>
                <a:cubicBezTo>
                  <a:pt x="436" y="1660"/>
                  <a:pt x="252" y="1239"/>
                  <a:pt x="0" y="1155"/>
                </a:cubicBezTo>
                <a:cubicBezTo>
                  <a:pt x="107" y="1033"/>
                  <a:pt x="206" y="1002"/>
                  <a:pt x="329" y="1017"/>
                </a:cubicBezTo>
                <a:cubicBezTo>
                  <a:pt x="489" y="1040"/>
                  <a:pt x="635" y="1346"/>
                  <a:pt x="696" y="1484"/>
                </a:cubicBezTo>
                <a:cubicBezTo>
                  <a:pt x="1025" y="933"/>
                  <a:pt x="1629" y="306"/>
                  <a:pt x="2218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25125" tIns="62563" rIns="125125" bIns="62563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/>
          </a:p>
        </p:txBody>
      </p:sp>
      <p:sp>
        <p:nvSpPr>
          <p:cNvPr id="17" name="Shape1_20211215_104047">
            <a:extLst>
              <a:ext uri="{FF2B5EF4-FFF2-40B4-BE49-F238E27FC236}">
                <a16:creationId xmlns:a16="http://schemas.microsoft.com/office/drawing/2014/main" id="{474E536A-22F9-A3C9-DD8E-AECADD469B0F}"/>
              </a:ext>
            </a:extLst>
          </p:cNvPr>
          <p:cNvSpPr>
            <a:spLocks/>
          </p:cNvSpPr>
          <p:nvPr/>
        </p:nvSpPr>
        <p:spPr>
          <a:xfrm>
            <a:off x="3506634" y="2711873"/>
            <a:ext cx="7971446" cy="246221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4730" lvl="1" defTabSz="2666516">
              <a:spcBef>
                <a:spcPct val="20000"/>
              </a:spcBef>
              <a:buClr>
                <a:srgbClr val="44546A"/>
              </a:buClr>
              <a:buSzPct val="120000"/>
              <a:defRPr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06BF3C57-1543-C6CB-181E-2FFB1F662E3D}"/>
              </a:ext>
            </a:extLst>
          </p:cNvPr>
          <p:cNvSpPr/>
          <p:nvPr/>
        </p:nvSpPr>
        <p:spPr>
          <a:xfrm>
            <a:off x="2546438" y="3966875"/>
            <a:ext cx="115671" cy="112271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625570">
              <a:defRPr/>
            </a:pPr>
            <a:endParaRPr lang="en-US" sz="2400" dirty="0">
              <a:solidFill>
                <a:srgbClr val="005073"/>
              </a:solidFill>
            </a:endParaRPr>
          </a:p>
        </p:txBody>
      </p:sp>
      <p:cxnSp>
        <p:nvCxnSpPr>
          <p:cNvPr id="19" name="Shape7_20220517_163352">
            <a:extLst>
              <a:ext uri="{FF2B5EF4-FFF2-40B4-BE49-F238E27FC236}">
                <a16:creationId xmlns:a16="http://schemas.microsoft.com/office/drawing/2014/main" id="{D9C187FB-FE73-0852-7AD4-19FE8F9BDF9E}"/>
              </a:ext>
            </a:extLst>
          </p:cNvPr>
          <p:cNvCxnSpPr>
            <a:cxnSpLocks/>
            <a:stCxn id="18" idx="6"/>
            <a:endCxn id="20" idx="2"/>
          </p:cNvCxnSpPr>
          <p:nvPr/>
        </p:nvCxnSpPr>
        <p:spPr>
          <a:xfrm>
            <a:off x="2662108" y="4023011"/>
            <a:ext cx="207100" cy="4"/>
          </a:xfrm>
          <a:prstGeom prst="line">
            <a:avLst/>
          </a:prstGeom>
          <a:noFill/>
          <a:ln w="9525" cap="flat" cmpd="sng" algn="ctr">
            <a:solidFill>
              <a:schemeClr val="accent6"/>
            </a:solidFill>
            <a:prstDash val="solid"/>
          </a:ln>
          <a:effectLst/>
        </p:spPr>
      </p:cxnSp>
      <p:sp>
        <p:nvSpPr>
          <p:cNvPr id="20" name="Shape8_20220517_163352">
            <a:extLst>
              <a:ext uri="{FF2B5EF4-FFF2-40B4-BE49-F238E27FC236}">
                <a16:creationId xmlns:a16="http://schemas.microsoft.com/office/drawing/2014/main" id="{53E5AA82-3A98-DAE2-8A45-88E0868363A8}"/>
              </a:ext>
            </a:extLst>
          </p:cNvPr>
          <p:cNvSpPr>
            <a:spLocks noChangeAspect="1"/>
          </p:cNvSpPr>
          <p:nvPr/>
        </p:nvSpPr>
        <p:spPr>
          <a:xfrm>
            <a:off x="2869209" y="3777360"/>
            <a:ext cx="492809" cy="491309"/>
          </a:xfrm>
          <a:prstGeom prst="ellipse">
            <a:avLst/>
          </a:prstGeom>
          <a:noFill/>
          <a:ln w="9525" cap="flat" cmpd="sng" algn="ctr">
            <a:solidFill>
              <a:schemeClr val="accent6"/>
            </a:solidFill>
            <a:prstDash val="solid"/>
          </a:ln>
          <a:effectLst/>
        </p:spPr>
        <p:txBody>
          <a:bodyPr rtlCol="0" anchor="ctr"/>
          <a:lstStyle/>
          <a:p>
            <a:pPr defTabSz="625570">
              <a:defRPr/>
            </a:pPr>
            <a:endParaRPr lang="en-US" sz="2400" dirty="0">
              <a:solidFill>
                <a:srgbClr val="005073"/>
              </a:solidFill>
            </a:endParaRPr>
          </a:p>
        </p:txBody>
      </p:sp>
      <p:sp>
        <p:nvSpPr>
          <p:cNvPr id="21" name="Shape4_20211020_182018">
            <a:extLst>
              <a:ext uri="{FF2B5EF4-FFF2-40B4-BE49-F238E27FC236}">
                <a16:creationId xmlns:a16="http://schemas.microsoft.com/office/drawing/2014/main" id="{BE6AEB63-ECD3-1776-80EC-FA5D801443A2}"/>
              </a:ext>
            </a:extLst>
          </p:cNvPr>
          <p:cNvSpPr/>
          <p:nvPr/>
        </p:nvSpPr>
        <p:spPr>
          <a:xfrm>
            <a:off x="2942714" y="3850108"/>
            <a:ext cx="345800" cy="345800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22" name="Freeform 5">
            <a:extLst>
              <a:ext uri="{FF2B5EF4-FFF2-40B4-BE49-F238E27FC236}">
                <a16:creationId xmlns:a16="http://schemas.microsoft.com/office/drawing/2014/main" id="{2B0F5BAA-0753-1E03-A683-BCFC8DBC5B8A}"/>
              </a:ext>
            </a:extLst>
          </p:cNvPr>
          <p:cNvSpPr>
            <a:spLocks/>
          </p:cNvSpPr>
          <p:nvPr/>
        </p:nvSpPr>
        <p:spPr bwMode="auto">
          <a:xfrm>
            <a:off x="2991064" y="3908403"/>
            <a:ext cx="249103" cy="229211"/>
          </a:xfrm>
          <a:custGeom>
            <a:avLst/>
            <a:gdLst>
              <a:gd name="T0" fmla="*/ 2218 w 2218"/>
              <a:gd name="T1" fmla="*/ 0 h 2050"/>
              <a:gd name="T2" fmla="*/ 2211 w 2218"/>
              <a:gd name="T3" fmla="*/ 84 h 2050"/>
              <a:gd name="T4" fmla="*/ 864 w 2218"/>
              <a:gd name="T5" fmla="*/ 1798 h 2050"/>
              <a:gd name="T6" fmla="*/ 520 w 2218"/>
              <a:gd name="T7" fmla="*/ 1882 h 2050"/>
              <a:gd name="T8" fmla="*/ 0 w 2218"/>
              <a:gd name="T9" fmla="*/ 1155 h 2050"/>
              <a:gd name="T10" fmla="*/ 329 w 2218"/>
              <a:gd name="T11" fmla="*/ 1017 h 2050"/>
              <a:gd name="T12" fmla="*/ 696 w 2218"/>
              <a:gd name="T13" fmla="*/ 1484 h 2050"/>
              <a:gd name="T14" fmla="*/ 2218 w 2218"/>
              <a:gd name="T15" fmla="*/ 0 h 20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218" h="2050">
                <a:moveTo>
                  <a:pt x="2218" y="0"/>
                </a:moveTo>
                <a:cubicBezTo>
                  <a:pt x="2211" y="84"/>
                  <a:pt x="2211" y="84"/>
                  <a:pt x="2211" y="84"/>
                </a:cubicBezTo>
                <a:cubicBezTo>
                  <a:pt x="1507" y="604"/>
                  <a:pt x="1132" y="1247"/>
                  <a:pt x="864" y="1798"/>
                </a:cubicBezTo>
                <a:cubicBezTo>
                  <a:pt x="704" y="1905"/>
                  <a:pt x="589" y="2050"/>
                  <a:pt x="520" y="1882"/>
                </a:cubicBezTo>
                <a:cubicBezTo>
                  <a:pt x="436" y="1660"/>
                  <a:pt x="252" y="1239"/>
                  <a:pt x="0" y="1155"/>
                </a:cubicBezTo>
                <a:cubicBezTo>
                  <a:pt x="107" y="1033"/>
                  <a:pt x="206" y="1002"/>
                  <a:pt x="329" y="1017"/>
                </a:cubicBezTo>
                <a:cubicBezTo>
                  <a:pt x="489" y="1040"/>
                  <a:pt x="635" y="1346"/>
                  <a:pt x="696" y="1484"/>
                </a:cubicBezTo>
                <a:cubicBezTo>
                  <a:pt x="1025" y="933"/>
                  <a:pt x="1629" y="306"/>
                  <a:pt x="2218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25125" tIns="62563" rIns="125125" bIns="62563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/>
          </a:p>
        </p:txBody>
      </p:sp>
      <p:sp>
        <p:nvSpPr>
          <p:cNvPr id="23" name="Shape3_20211215_104047">
            <a:extLst>
              <a:ext uri="{FF2B5EF4-FFF2-40B4-BE49-F238E27FC236}">
                <a16:creationId xmlns:a16="http://schemas.microsoft.com/office/drawing/2014/main" id="{902F2CC4-27D8-34AE-83D4-4B9A83F6AD4C}"/>
              </a:ext>
            </a:extLst>
          </p:cNvPr>
          <p:cNvSpPr>
            <a:spLocks/>
          </p:cNvSpPr>
          <p:nvPr/>
        </p:nvSpPr>
        <p:spPr>
          <a:xfrm>
            <a:off x="3506634" y="3899898"/>
            <a:ext cx="7971446" cy="246221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4730" lvl="1" defTabSz="2666516">
              <a:spcBef>
                <a:spcPct val="20000"/>
              </a:spcBef>
              <a:buClr>
                <a:srgbClr val="44546A"/>
              </a:buClr>
              <a:buSzPct val="120000"/>
              <a:defRPr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45E57C5E-C56F-E0CA-AA07-30918EC4517D}"/>
              </a:ext>
            </a:extLst>
          </p:cNvPr>
          <p:cNvSpPr/>
          <p:nvPr/>
        </p:nvSpPr>
        <p:spPr>
          <a:xfrm>
            <a:off x="1526169" y="5154902"/>
            <a:ext cx="115671" cy="112271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625570">
              <a:defRPr/>
            </a:pPr>
            <a:endParaRPr lang="en-US" sz="2400" dirty="0">
              <a:solidFill>
                <a:srgbClr val="005073"/>
              </a:solidFill>
            </a:endParaRPr>
          </a:p>
        </p:txBody>
      </p:sp>
      <p:cxnSp>
        <p:nvCxnSpPr>
          <p:cNvPr id="25" name="Shape9_20220517_163352">
            <a:extLst>
              <a:ext uri="{FF2B5EF4-FFF2-40B4-BE49-F238E27FC236}">
                <a16:creationId xmlns:a16="http://schemas.microsoft.com/office/drawing/2014/main" id="{563D3600-BE52-9C7B-975B-3F1CE26B6B22}"/>
              </a:ext>
            </a:extLst>
          </p:cNvPr>
          <p:cNvCxnSpPr>
            <a:cxnSpLocks/>
            <a:stCxn id="24" idx="6"/>
            <a:endCxn id="26" idx="2"/>
          </p:cNvCxnSpPr>
          <p:nvPr/>
        </p:nvCxnSpPr>
        <p:spPr>
          <a:xfrm>
            <a:off x="1641839" y="5211037"/>
            <a:ext cx="1227369" cy="7"/>
          </a:xfrm>
          <a:prstGeom prst="line">
            <a:avLst/>
          </a:prstGeom>
          <a:noFill/>
          <a:ln w="9525" cap="flat" cmpd="sng" algn="ctr">
            <a:solidFill>
              <a:schemeClr val="accent6"/>
            </a:solidFill>
            <a:prstDash val="solid"/>
          </a:ln>
          <a:effectLst/>
        </p:spPr>
      </p:cxnSp>
      <p:sp>
        <p:nvSpPr>
          <p:cNvPr id="26" name="Shape10_20220517_163352">
            <a:extLst>
              <a:ext uri="{FF2B5EF4-FFF2-40B4-BE49-F238E27FC236}">
                <a16:creationId xmlns:a16="http://schemas.microsoft.com/office/drawing/2014/main" id="{F43080B6-EBFC-955A-6907-C63291757C24}"/>
              </a:ext>
            </a:extLst>
          </p:cNvPr>
          <p:cNvSpPr>
            <a:spLocks noChangeAspect="1"/>
          </p:cNvSpPr>
          <p:nvPr/>
        </p:nvSpPr>
        <p:spPr>
          <a:xfrm>
            <a:off x="2869209" y="4965389"/>
            <a:ext cx="492809" cy="491309"/>
          </a:xfrm>
          <a:prstGeom prst="ellipse">
            <a:avLst/>
          </a:prstGeom>
          <a:noFill/>
          <a:ln w="9525" cap="flat" cmpd="sng" algn="ctr">
            <a:solidFill>
              <a:schemeClr val="accent6"/>
            </a:solidFill>
            <a:prstDash val="solid"/>
          </a:ln>
          <a:effectLst/>
        </p:spPr>
        <p:txBody>
          <a:bodyPr rtlCol="0" anchor="ctr"/>
          <a:lstStyle/>
          <a:p>
            <a:pPr defTabSz="625570">
              <a:defRPr/>
            </a:pPr>
            <a:endParaRPr lang="en-US" sz="2400" dirty="0">
              <a:solidFill>
                <a:srgbClr val="005073"/>
              </a:solidFill>
            </a:endParaRPr>
          </a:p>
        </p:txBody>
      </p:sp>
      <p:sp>
        <p:nvSpPr>
          <p:cNvPr id="27" name="Shape0_20211020_182018">
            <a:extLst>
              <a:ext uri="{FF2B5EF4-FFF2-40B4-BE49-F238E27FC236}">
                <a16:creationId xmlns:a16="http://schemas.microsoft.com/office/drawing/2014/main" id="{02E1AE4A-1ACB-558E-0DF5-5FEA97E1FAC3}"/>
              </a:ext>
            </a:extLst>
          </p:cNvPr>
          <p:cNvSpPr/>
          <p:nvPr/>
        </p:nvSpPr>
        <p:spPr>
          <a:xfrm>
            <a:off x="2942714" y="5038133"/>
            <a:ext cx="345800" cy="345800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28" name="Freeform 5">
            <a:extLst>
              <a:ext uri="{FF2B5EF4-FFF2-40B4-BE49-F238E27FC236}">
                <a16:creationId xmlns:a16="http://schemas.microsoft.com/office/drawing/2014/main" id="{DA2B5977-AC51-5993-3CFE-DFBAAB6723D6}"/>
              </a:ext>
            </a:extLst>
          </p:cNvPr>
          <p:cNvSpPr>
            <a:spLocks/>
          </p:cNvSpPr>
          <p:nvPr/>
        </p:nvSpPr>
        <p:spPr bwMode="auto">
          <a:xfrm>
            <a:off x="2991064" y="5096431"/>
            <a:ext cx="249103" cy="229211"/>
          </a:xfrm>
          <a:custGeom>
            <a:avLst/>
            <a:gdLst>
              <a:gd name="T0" fmla="*/ 2218 w 2218"/>
              <a:gd name="T1" fmla="*/ 0 h 2050"/>
              <a:gd name="T2" fmla="*/ 2211 w 2218"/>
              <a:gd name="T3" fmla="*/ 84 h 2050"/>
              <a:gd name="T4" fmla="*/ 864 w 2218"/>
              <a:gd name="T5" fmla="*/ 1798 h 2050"/>
              <a:gd name="T6" fmla="*/ 520 w 2218"/>
              <a:gd name="T7" fmla="*/ 1882 h 2050"/>
              <a:gd name="T8" fmla="*/ 0 w 2218"/>
              <a:gd name="T9" fmla="*/ 1155 h 2050"/>
              <a:gd name="T10" fmla="*/ 329 w 2218"/>
              <a:gd name="T11" fmla="*/ 1017 h 2050"/>
              <a:gd name="T12" fmla="*/ 696 w 2218"/>
              <a:gd name="T13" fmla="*/ 1484 h 2050"/>
              <a:gd name="T14" fmla="*/ 2218 w 2218"/>
              <a:gd name="T15" fmla="*/ 0 h 20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218" h="2050">
                <a:moveTo>
                  <a:pt x="2218" y="0"/>
                </a:moveTo>
                <a:cubicBezTo>
                  <a:pt x="2211" y="84"/>
                  <a:pt x="2211" y="84"/>
                  <a:pt x="2211" y="84"/>
                </a:cubicBezTo>
                <a:cubicBezTo>
                  <a:pt x="1507" y="604"/>
                  <a:pt x="1132" y="1247"/>
                  <a:pt x="864" y="1798"/>
                </a:cubicBezTo>
                <a:cubicBezTo>
                  <a:pt x="704" y="1905"/>
                  <a:pt x="589" y="2050"/>
                  <a:pt x="520" y="1882"/>
                </a:cubicBezTo>
                <a:cubicBezTo>
                  <a:pt x="436" y="1660"/>
                  <a:pt x="252" y="1239"/>
                  <a:pt x="0" y="1155"/>
                </a:cubicBezTo>
                <a:cubicBezTo>
                  <a:pt x="107" y="1033"/>
                  <a:pt x="206" y="1002"/>
                  <a:pt x="329" y="1017"/>
                </a:cubicBezTo>
                <a:cubicBezTo>
                  <a:pt x="489" y="1040"/>
                  <a:pt x="635" y="1346"/>
                  <a:pt x="696" y="1484"/>
                </a:cubicBezTo>
                <a:cubicBezTo>
                  <a:pt x="1025" y="933"/>
                  <a:pt x="1629" y="306"/>
                  <a:pt x="2218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25125" tIns="62563" rIns="125125" bIns="62563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/>
          </a:p>
        </p:txBody>
      </p:sp>
      <p:sp>
        <p:nvSpPr>
          <p:cNvPr id="29" name="Shape4_20211215_104047">
            <a:extLst>
              <a:ext uri="{FF2B5EF4-FFF2-40B4-BE49-F238E27FC236}">
                <a16:creationId xmlns:a16="http://schemas.microsoft.com/office/drawing/2014/main" id="{F4D976C6-DE92-2A82-BCC1-016BBB42086F}"/>
              </a:ext>
            </a:extLst>
          </p:cNvPr>
          <p:cNvSpPr>
            <a:spLocks/>
          </p:cNvSpPr>
          <p:nvPr/>
        </p:nvSpPr>
        <p:spPr>
          <a:xfrm>
            <a:off x="3506634" y="5087927"/>
            <a:ext cx="7971446" cy="246221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4730" lvl="1" defTabSz="2666516">
              <a:spcBef>
                <a:spcPct val="20000"/>
              </a:spcBef>
              <a:buClr>
                <a:srgbClr val="44546A"/>
              </a:buClr>
              <a:buSzPct val="120000"/>
              <a:defRPr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cxnSp>
        <p:nvCxnSpPr>
          <p:cNvPr id="30" name="Shape2_20220715_102623">
            <a:extLst>
              <a:ext uri="{FF2B5EF4-FFF2-40B4-BE49-F238E27FC236}">
                <a16:creationId xmlns:a16="http://schemas.microsoft.com/office/drawing/2014/main" id="{09DB5024-B7C1-69B0-CF26-60790B6512D6}"/>
              </a:ext>
            </a:extLst>
          </p:cNvPr>
          <p:cNvCxnSpPr>
            <a:cxnSpLocks/>
          </p:cNvCxnSpPr>
          <p:nvPr/>
        </p:nvCxnSpPr>
        <p:spPr>
          <a:xfrm>
            <a:off x="3506634" y="4617029"/>
            <a:ext cx="7961969" cy="0"/>
          </a:xfrm>
          <a:prstGeom prst="line">
            <a:avLst/>
          </a:prstGeom>
          <a:noFill/>
          <a:ln w="12700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hape3_20220715_102623">
            <a:extLst>
              <a:ext uri="{FF2B5EF4-FFF2-40B4-BE49-F238E27FC236}">
                <a16:creationId xmlns:a16="http://schemas.microsoft.com/office/drawing/2014/main" id="{74C77369-CB0E-8C82-94B4-A893E703C983}"/>
              </a:ext>
            </a:extLst>
          </p:cNvPr>
          <p:cNvCxnSpPr>
            <a:cxnSpLocks/>
          </p:cNvCxnSpPr>
          <p:nvPr/>
        </p:nvCxnSpPr>
        <p:spPr>
          <a:xfrm>
            <a:off x="3506634" y="2240971"/>
            <a:ext cx="7961969" cy="0"/>
          </a:xfrm>
          <a:prstGeom prst="line">
            <a:avLst/>
          </a:prstGeom>
          <a:noFill/>
          <a:ln w="12700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hape4_20220715_102623">
            <a:extLst>
              <a:ext uri="{FF2B5EF4-FFF2-40B4-BE49-F238E27FC236}">
                <a16:creationId xmlns:a16="http://schemas.microsoft.com/office/drawing/2014/main" id="{0F919C52-3DC5-2258-F72C-04D41891C679}"/>
              </a:ext>
            </a:extLst>
          </p:cNvPr>
          <p:cNvCxnSpPr>
            <a:cxnSpLocks/>
          </p:cNvCxnSpPr>
          <p:nvPr/>
        </p:nvCxnSpPr>
        <p:spPr>
          <a:xfrm>
            <a:off x="3506634" y="3429000"/>
            <a:ext cx="7961969" cy="0"/>
          </a:xfrm>
          <a:prstGeom prst="line">
            <a:avLst/>
          </a:prstGeom>
          <a:noFill/>
          <a:ln w="12700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32">
            <a:extLst>
              <a:ext uri="{FF2B5EF4-FFF2-40B4-BE49-F238E27FC236}">
                <a16:creationId xmlns:a16="http://schemas.microsoft.com/office/drawing/2014/main" id="{8A01E4A5-6939-6777-676F-E18F0D138B06}"/>
              </a:ext>
            </a:extLst>
          </p:cNvPr>
          <p:cNvSpPr/>
          <p:nvPr/>
        </p:nvSpPr>
        <p:spPr>
          <a:xfrm>
            <a:off x="661479" y="3319395"/>
            <a:ext cx="1453340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 defTabSz="625570">
              <a:defRPr/>
            </a:pPr>
            <a:r>
              <a:rPr lang="en-US" b="1" dirty="0">
                <a:solidFill>
                  <a:schemeClr val="bg1"/>
                </a:solidFill>
                <a:ea typeface="ＭＳ Ｐゴシック" charset="0"/>
                <a:cs typeface="Arial" panose="020B0604020202020204" pitchFamily="34" charset="0"/>
              </a:rPr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425032962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D6F3E5-C9ED-9A83-A817-EA757EB033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B68B6E3E-668E-37CB-091D-C72EAEB234A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68B6E3E-668E-37CB-091D-C72EAEB234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3A3ED19-B71A-5810-2DA2-0C8139DC06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hecklist 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A81DA5FB-57AC-0C76-ABAE-132CB9C030E5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71</a:t>
            </a:fld>
            <a:endParaRPr lang="en-US" sz="1200" dirty="0">
              <a:solidFill>
                <a:schemeClr val="bg1"/>
              </a:solidFill>
            </a:endParaRP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5DC95014-5DBB-F16E-EFFF-7588A98693BD}"/>
              </a:ext>
            </a:extLst>
          </p:cNvPr>
          <p:cNvGrpSpPr/>
          <p:nvPr/>
        </p:nvGrpSpPr>
        <p:grpSpPr>
          <a:xfrm>
            <a:off x="5386309" y="1460429"/>
            <a:ext cx="1419383" cy="4720451"/>
            <a:chOff x="5280370" y="1645625"/>
            <a:chExt cx="1419383" cy="4164428"/>
          </a:xfrm>
        </p:grpSpPr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48230CCA-FB53-1B96-3BD7-B7FB7358D385}"/>
                </a:ext>
              </a:extLst>
            </p:cNvPr>
            <p:cNvSpPr/>
            <p:nvPr/>
          </p:nvSpPr>
          <p:spPr>
            <a:xfrm>
              <a:off x="5280370" y="1645625"/>
              <a:ext cx="555359" cy="4164428"/>
            </a:xfrm>
            <a:custGeom>
              <a:avLst/>
              <a:gdLst>
                <a:gd name="connsiteX0" fmla="*/ 0 w 714375"/>
                <a:gd name="connsiteY0" fmla="*/ 0 h 3114675"/>
                <a:gd name="connsiteX1" fmla="*/ 714375 w 714375"/>
                <a:gd name="connsiteY1" fmla="*/ 0 h 3114675"/>
                <a:gd name="connsiteX2" fmla="*/ 714375 w 714375"/>
                <a:gd name="connsiteY2" fmla="*/ 3114675 h 3114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14375" h="3114675">
                  <a:moveTo>
                    <a:pt x="0" y="0"/>
                  </a:moveTo>
                  <a:lnTo>
                    <a:pt x="714375" y="0"/>
                  </a:lnTo>
                  <a:lnTo>
                    <a:pt x="714375" y="3114675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US" sz="2800" dirty="0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87D02F49-B502-983E-4E6A-1E4209A0C0C0}"/>
                </a:ext>
              </a:extLst>
            </p:cNvPr>
            <p:cNvSpPr/>
            <p:nvPr/>
          </p:nvSpPr>
          <p:spPr>
            <a:xfrm flipH="1">
              <a:off x="6144394" y="1645625"/>
              <a:ext cx="555359" cy="4164428"/>
            </a:xfrm>
            <a:custGeom>
              <a:avLst/>
              <a:gdLst>
                <a:gd name="connsiteX0" fmla="*/ 0 w 714375"/>
                <a:gd name="connsiteY0" fmla="*/ 0 h 3114675"/>
                <a:gd name="connsiteX1" fmla="*/ 714375 w 714375"/>
                <a:gd name="connsiteY1" fmla="*/ 0 h 3114675"/>
                <a:gd name="connsiteX2" fmla="*/ 714375 w 714375"/>
                <a:gd name="connsiteY2" fmla="*/ 3114675 h 3114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14375" h="3114675">
                  <a:moveTo>
                    <a:pt x="0" y="0"/>
                  </a:moveTo>
                  <a:lnTo>
                    <a:pt x="714375" y="0"/>
                  </a:lnTo>
                  <a:lnTo>
                    <a:pt x="714375" y="3114675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US" sz="2800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37" name="Rectangle 36">
            <a:extLst>
              <a:ext uri="{FF2B5EF4-FFF2-40B4-BE49-F238E27FC236}">
                <a16:creationId xmlns:a16="http://schemas.microsoft.com/office/drawing/2014/main" id="{56E76D76-A870-05C7-78C8-350AC373DB84}"/>
              </a:ext>
            </a:extLst>
          </p:cNvPr>
          <p:cNvSpPr>
            <a:spLocks/>
          </p:cNvSpPr>
          <p:nvPr/>
        </p:nvSpPr>
        <p:spPr>
          <a:xfrm>
            <a:off x="732263" y="1229252"/>
            <a:ext cx="5034287" cy="489754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>
              <a:defRPr/>
            </a:pPr>
            <a:r>
              <a:rPr lang="en-IN" sz="1600" b="1" dirty="0">
                <a:solidFill>
                  <a:schemeClr val="bg1"/>
                </a:solidFill>
                <a:cs typeface="Arial" panose="020B0604020202020204" pitchFamily="34" charset="0"/>
              </a:rPr>
              <a:t>Title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A5F37194-C9B3-A39A-B7DF-4B6997E2F1C5}"/>
              </a:ext>
            </a:extLst>
          </p:cNvPr>
          <p:cNvSpPr>
            <a:spLocks/>
          </p:cNvSpPr>
          <p:nvPr/>
        </p:nvSpPr>
        <p:spPr>
          <a:xfrm>
            <a:off x="6425452" y="1229252"/>
            <a:ext cx="5034287" cy="489754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>
              <a:defRPr/>
            </a:pPr>
            <a:r>
              <a:rPr lang="en-IN" sz="1600" b="1" dirty="0">
                <a:solidFill>
                  <a:schemeClr val="bg1"/>
                </a:solidFill>
                <a:cs typeface="Arial" panose="020B0604020202020204" pitchFamily="34" charset="0"/>
              </a:rPr>
              <a:t>Title</a:t>
            </a:r>
          </a:p>
        </p:txBody>
      </p:sp>
      <p:sp>
        <p:nvSpPr>
          <p:cNvPr id="39" name="Shape1_20210427_203713">
            <a:extLst>
              <a:ext uri="{FF2B5EF4-FFF2-40B4-BE49-F238E27FC236}">
                <a16:creationId xmlns:a16="http://schemas.microsoft.com/office/drawing/2014/main" id="{1D97391F-4301-8820-907F-17598136359D}"/>
              </a:ext>
            </a:extLst>
          </p:cNvPr>
          <p:cNvSpPr/>
          <p:nvPr/>
        </p:nvSpPr>
        <p:spPr>
          <a:xfrm>
            <a:off x="1440367" y="2126874"/>
            <a:ext cx="4221084" cy="246221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l">
              <a:defRPr/>
            </a:pPr>
            <a:r>
              <a:rPr lang="en-US" sz="1600" dirty="0">
                <a:solidFill>
                  <a:schemeClr val="tx1"/>
                </a:solidFill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40" name="Shape0_20220517_164050">
            <a:extLst>
              <a:ext uri="{FF2B5EF4-FFF2-40B4-BE49-F238E27FC236}">
                <a16:creationId xmlns:a16="http://schemas.microsoft.com/office/drawing/2014/main" id="{CBBD400E-E03F-9325-26D6-025DB772F068}"/>
              </a:ext>
            </a:extLst>
          </p:cNvPr>
          <p:cNvSpPr/>
          <p:nvPr/>
        </p:nvSpPr>
        <p:spPr>
          <a:xfrm>
            <a:off x="732261" y="1994107"/>
            <a:ext cx="511759" cy="511759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accent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IN" sz="2400" dirty="0" err="1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1E3F48B2-B21D-47E1-C993-65E7F4D3BF93}"/>
              </a:ext>
            </a:extLst>
          </p:cNvPr>
          <p:cNvSpPr/>
          <p:nvPr/>
        </p:nvSpPr>
        <p:spPr>
          <a:xfrm>
            <a:off x="844587" y="2140728"/>
            <a:ext cx="287119" cy="218509"/>
          </a:xfrm>
          <a:custGeom>
            <a:avLst/>
            <a:gdLst>
              <a:gd name="connsiteX0" fmla="*/ 136303 w 323659"/>
              <a:gd name="connsiteY0" fmla="*/ 246317 h 246316"/>
              <a:gd name="connsiteX1" fmla="*/ 0 w 323659"/>
              <a:gd name="connsiteY1" fmla="*/ 115824 h 246316"/>
              <a:gd name="connsiteX2" fmla="*/ 50959 w 323659"/>
              <a:gd name="connsiteY2" fmla="*/ 62579 h 246316"/>
              <a:gd name="connsiteX3" fmla="*/ 134112 w 323659"/>
              <a:gd name="connsiteY3" fmla="*/ 142113 h 246316"/>
              <a:gd name="connsiteX4" fmla="*/ 270415 w 323659"/>
              <a:gd name="connsiteY4" fmla="*/ 0 h 246316"/>
              <a:gd name="connsiteX5" fmla="*/ 323660 w 323659"/>
              <a:gd name="connsiteY5" fmla="*/ 50959 h 246316"/>
              <a:gd name="connsiteX6" fmla="*/ 136303 w 323659"/>
              <a:gd name="connsiteY6" fmla="*/ 246317 h 246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23659" h="246316">
                <a:moveTo>
                  <a:pt x="136303" y="246317"/>
                </a:moveTo>
                <a:lnTo>
                  <a:pt x="0" y="115824"/>
                </a:lnTo>
                <a:lnTo>
                  <a:pt x="50959" y="62579"/>
                </a:lnTo>
                <a:lnTo>
                  <a:pt x="134112" y="142113"/>
                </a:lnTo>
                <a:lnTo>
                  <a:pt x="270415" y="0"/>
                </a:lnTo>
                <a:lnTo>
                  <a:pt x="323660" y="50959"/>
                </a:lnTo>
                <a:lnTo>
                  <a:pt x="136303" y="246317"/>
                </a:lnTo>
                <a:close/>
              </a:path>
            </a:pathLst>
          </a:custGeom>
          <a:solidFill>
            <a:srgbClr val="0B8A9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750715">
              <a:defRPr/>
            </a:pPr>
            <a:endParaRPr lang="en-IN" sz="2400">
              <a:solidFill>
                <a:srgbClr val="070605"/>
              </a:solidFill>
              <a:cs typeface="Arial" panose="020B0604020202020204" pitchFamily="34" charset="0"/>
            </a:endParaRPr>
          </a:p>
        </p:txBody>
      </p:sp>
      <p:sp>
        <p:nvSpPr>
          <p:cNvPr id="42" name="Shape0_20210427_203713">
            <a:extLst>
              <a:ext uri="{FF2B5EF4-FFF2-40B4-BE49-F238E27FC236}">
                <a16:creationId xmlns:a16="http://schemas.microsoft.com/office/drawing/2014/main" id="{B6B049CA-CAA2-3ECD-F4D9-093D319A23F9}"/>
              </a:ext>
            </a:extLst>
          </p:cNvPr>
          <p:cNvSpPr/>
          <p:nvPr/>
        </p:nvSpPr>
        <p:spPr>
          <a:xfrm>
            <a:off x="7129247" y="2126874"/>
            <a:ext cx="4221084" cy="246221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l">
              <a:defRPr/>
            </a:pPr>
            <a:r>
              <a:rPr lang="en-US" sz="1600" dirty="0">
                <a:solidFill>
                  <a:schemeClr val="tx1"/>
                </a:solidFill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43" name="Shape1_20220517_164050">
            <a:extLst>
              <a:ext uri="{FF2B5EF4-FFF2-40B4-BE49-F238E27FC236}">
                <a16:creationId xmlns:a16="http://schemas.microsoft.com/office/drawing/2014/main" id="{5ECA75D2-4854-57E1-9B41-EE93FD4E8236}"/>
              </a:ext>
            </a:extLst>
          </p:cNvPr>
          <p:cNvSpPr/>
          <p:nvPr/>
        </p:nvSpPr>
        <p:spPr>
          <a:xfrm>
            <a:off x="6425451" y="2004267"/>
            <a:ext cx="511759" cy="511759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accent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IN" sz="2400" dirty="0" err="1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44" name="Freeform: Shape 43">
            <a:extLst>
              <a:ext uri="{FF2B5EF4-FFF2-40B4-BE49-F238E27FC236}">
                <a16:creationId xmlns:a16="http://schemas.microsoft.com/office/drawing/2014/main" id="{FE20AC0C-DC3F-FBE9-9771-308FBE002D0A}"/>
              </a:ext>
            </a:extLst>
          </p:cNvPr>
          <p:cNvSpPr/>
          <p:nvPr/>
        </p:nvSpPr>
        <p:spPr>
          <a:xfrm>
            <a:off x="6537775" y="2140728"/>
            <a:ext cx="287119" cy="218509"/>
          </a:xfrm>
          <a:custGeom>
            <a:avLst/>
            <a:gdLst>
              <a:gd name="connsiteX0" fmla="*/ 136303 w 323659"/>
              <a:gd name="connsiteY0" fmla="*/ 246317 h 246316"/>
              <a:gd name="connsiteX1" fmla="*/ 0 w 323659"/>
              <a:gd name="connsiteY1" fmla="*/ 115824 h 246316"/>
              <a:gd name="connsiteX2" fmla="*/ 50959 w 323659"/>
              <a:gd name="connsiteY2" fmla="*/ 62579 h 246316"/>
              <a:gd name="connsiteX3" fmla="*/ 134112 w 323659"/>
              <a:gd name="connsiteY3" fmla="*/ 142113 h 246316"/>
              <a:gd name="connsiteX4" fmla="*/ 270415 w 323659"/>
              <a:gd name="connsiteY4" fmla="*/ 0 h 246316"/>
              <a:gd name="connsiteX5" fmla="*/ 323660 w 323659"/>
              <a:gd name="connsiteY5" fmla="*/ 50959 h 246316"/>
              <a:gd name="connsiteX6" fmla="*/ 136303 w 323659"/>
              <a:gd name="connsiteY6" fmla="*/ 246317 h 246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23659" h="246316">
                <a:moveTo>
                  <a:pt x="136303" y="246317"/>
                </a:moveTo>
                <a:lnTo>
                  <a:pt x="0" y="115824"/>
                </a:lnTo>
                <a:lnTo>
                  <a:pt x="50959" y="62579"/>
                </a:lnTo>
                <a:lnTo>
                  <a:pt x="134112" y="142113"/>
                </a:lnTo>
                <a:lnTo>
                  <a:pt x="270415" y="0"/>
                </a:lnTo>
                <a:lnTo>
                  <a:pt x="323660" y="50959"/>
                </a:lnTo>
                <a:lnTo>
                  <a:pt x="136303" y="246317"/>
                </a:lnTo>
                <a:close/>
              </a:path>
            </a:pathLst>
          </a:custGeom>
          <a:solidFill>
            <a:srgbClr val="0B8A9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750715">
              <a:defRPr/>
            </a:pPr>
            <a:endParaRPr lang="en-IN" sz="2400">
              <a:solidFill>
                <a:srgbClr val="070605"/>
              </a:solidFill>
              <a:cs typeface="Arial" panose="020B0604020202020204" pitchFamily="34" charset="0"/>
            </a:endParaRPr>
          </a:p>
        </p:txBody>
      </p:sp>
      <p:sp>
        <p:nvSpPr>
          <p:cNvPr id="45" name="Shape4_20210427_203713">
            <a:extLst>
              <a:ext uri="{FF2B5EF4-FFF2-40B4-BE49-F238E27FC236}">
                <a16:creationId xmlns:a16="http://schemas.microsoft.com/office/drawing/2014/main" id="{C3604D46-DA28-2EB0-77BD-340749E28E19}"/>
              </a:ext>
            </a:extLst>
          </p:cNvPr>
          <p:cNvSpPr/>
          <p:nvPr/>
        </p:nvSpPr>
        <p:spPr>
          <a:xfrm>
            <a:off x="1440367" y="4079804"/>
            <a:ext cx="4221084" cy="246221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l">
              <a:defRPr/>
            </a:pPr>
            <a:r>
              <a:rPr lang="en-US" sz="1600" dirty="0">
                <a:solidFill>
                  <a:schemeClr val="tx1"/>
                </a:solidFill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46" name="Shape2_20220517_164050">
            <a:extLst>
              <a:ext uri="{FF2B5EF4-FFF2-40B4-BE49-F238E27FC236}">
                <a16:creationId xmlns:a16="http://schemas.microsoft.com/office/drawing/2014/main" id="{EA1DC5CF-9741-25A0-552A-C6811BB9F7CE}"/>
              </a:ext>
            </a:extLst>
          </p:cNvPr>
          <p:cNvSpPr/>
          <p:nvPr/>
        </p:nvSpPr>
        <p:spPr>
          <a:xfrm>
            <a:off x="732261" y="3947032"/>
            <a:ext cx="511759" cy="511759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accent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IN" sz="2400" dirty="0" err="1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47" name="Freeform: Shape 46">
            <a:extLst>
              <a:ext uri="{FF2B5EF4-FFF2-40B4-BE49-F238E27FC236}">
                <a16:creationId xmlns:a16="http://schemas.microsoft.com/office/drawing/2014/main" id="{791E62FF-8EE7-11E1-F7DC-1AD5A2CAC92B}"/>
              </a:ext>
            </a:extLst>
          </p:cNvPr>
          <p:cNvSpPr/>
          <p:nvPr/>
        </p:nvSpPr>
        <p:spPr>
          <a:xfrm>
            <a:off x="844587" y="4093657"/>
            <a:ext cx="287119" cy="218509"/>
          </a:xfrm>
          <a:custGeom>
            <a:avLst/>
            <a:gdLst>
              <a:gd name="connsiteX0" fmla="*/ 136303 w 323659"/>
              <a:gd name="connsiteY0" fmla="*/ 246317 h 246316"/>
              <a:gd name="connsiteX1" fmla="*/ 0 w 323659"/>
              <a:gd name="connsiteY1" fmla="*/ 115824 h 246316"/>
              <a:gd name="connsiteX2" fmla="*/ 50959 w 323659"/>
              <a:gd name="connsiteY2" fmla="*/ 62579 h 246316"/>
              <a:gd name="connsiteX3" fmla="*/ 134112 w 323659"/>
              <a:gd name="connsiteY3" fmla="*/ 142113 h 246316"/>
              <a:gd name="connsiteX4" fmla="*/ 270415 w 323659"/>
              <a:gd name="connsiteY4" fmla="*/ 0 h 246316"/>
              <a:gd name="connsiteX5" fmla="*/ 323660 w 323659"/>
              <a:gd name="connsiteY5" fmla="*/ 50959 h 246316"/>
              <a:gd name="connsiteX6" fmla="*/ 136303 w 323659"/>
              <a:gd name="connsiteY6" fmla="*/ 246317 h 246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23659" h="246316">
                <a:moveTo>
                  <a:pt x="136303" y="246317"/>
                </a:moveTo>
                <a:lnTo>
                  <a:pt x="0" y="115824"/>
                </a:lnTo>
                <a:lnTo>
                  <a:pt x="50959" y="62579"/>
                </a:lnTo>
                <a:lnTo>
                  <a:pt x="134112" y="142113"/>
                </a:lnTo>
                <a:lnTo>
                  <a:pt x="270415" y="0"/>
                </a:lnTo>
                <a:lnTo>
                  <a:pt x="323660" y="50959"/>
                </a:lnTo>
                <a:lnTo>
                  <a:pt x="136303" y="246317"/>
                </a:lnTo>
                <a:close/>
              </a:path>
            </a:pathLst>
          </a:custGeom>
          <a:solidFill>
            <a:srgbClr val="0B8A9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750715">
              <a:defRPr/>
            </a:pPr>
            <a:endParaRPr lang="en-IN" sz="2400">
              <a:solidFill>
                <a:srgbClr val="070605"/>
              </a:solidFill>
              <a:cs typeface="Arial" panose="020B0604020202020204" pitchFamily="34" charset="0"/>
            </a:endParaRPr>
          </a:p>
        </p:txBody>
      </p:sp>
      <p:sp>
        <p:nvSpPr>
          <p:cNvPr id="48" name="Shape7_20210427_203713">
            <a:extLst>
              <a:ext uri="{FF2B5EF4-FFF2-40B4-BE49-F238E27FC236}">
                <a16:creationId xmlns:a16="http://schemas.microsoft.com/office/drawing/2014/main" id="{776F2F20-B4C3-819C-96DE-1326B237ECBE}"/>
              </a:ext>
            </a:extLst>
          </p:cNvPr>
          <p:cNvSpPr/>
          <p:nvPr/>
        </p:nvSpPr>
        <p:spPr>
          <a:xfrm>
            <a:off x="7129247" y="4079804"/>
            <a:ext cx="4221084" cy="246221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l">
              <a:defRPr/>
            </a:pPr>
            <a:r>
              <a:rPr lang="en-US" sz="1600" dirty="0">
                <a:solidFill>
                  <a:schemeClr val="tx1"/>
                </a:solidFill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49" name="Shape3_20220517_164050">
            <a:extLst>
              <a:ext uri="{FF2B5EF4-FFF2-40B4-BE49-F238E27FC236}">
                <a16:creationId xmlns:a16="http://schemas.microsoft.com/office/drawing/2014/main" id="{5EB103EE-DBEA-A9EB-A312-074F04EA5C17}"/>
              </a:ext>
            </a:extLst>
          </p:cNvPr>
          <p:cNvSpPr/>
          <p:nvPr/>
        </p:nvSpPr>
        <p:spPr>
          <a:xfrm>
            <a:off x="6425451" y="3947032"/>
            <a:ext cx="511759" cy="511759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accent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IN" sz="2400" dirty="0" err="1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50" name="Freeform: Shape 49">
            <a:extLst>
              <a:ext uri="{FF2B5EF4-FFF2-40B4-BE49-F238E27FC236}">
                <a16:creationId xmlns:a16="http://schemas.microsoft.com/office/drawing/2014/main" id="{6E332FF1-7B82-C818-69D1-5F4BDCBD8527}"/>
              </a:ext>
            </a:extLst>
          </p:cNvPr>
          <p:cNvSpPr/>
          <p:nvPr/>
        </p:nvSpPr>
        <p:spPr>
          <a:xfrm>
            <a:off x="6537775" y="4093657"/>
            <a:ext cx="287119" cy="218509"/>
          </a:xfrm>
          <a:custGeom>
            <a:avLst/>
            <a:gdLst>
              <a:gd name="connsiteX0" fmla="*/ 136303 w 323659"/>
              <a:gd name="connsiteY0" fmla="*/ 246317 h 246316"/>
              <a:gd name="connsiteX1" fmla="*/ 0 w 323659"/>
              <a:gd name="connsiteY1" fmla="*/ 115824 h 246316"/>
              <a:gd name="connsiteX2" fmla="*/ 50959 w 323659"/>
              <a:gd name="connsiteY2" fmla="*/ 62579 h 246316"/>
              <a:gd name="connsiteX3" fmla="*/ 134112 w 323659"/>
              <a:gd name="connsiteY3" fmla="*/ 142113 h 246316"/>
              <a:gd name="connsiteX4" fmla="*/ 270415 w 323659"/>
              <a:gd name="connsiteY4" fmla="*/ 0 h 246316"/>
              <a:gd name="connsiteX5" fmla="*/ 323660 w 323659"/>
              <a:gd name="connsiteY5" fmla="*/ 50959 h 246316"/>
              <a:gd name="connsiteX6" fmla="*/ 136303 w 323659"/>
              <a:gd name="connsiteY6" fmla="*/ 246317 h 246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23659" h="246316">
                <a:moveTo>
                  <a:pt x="136303" y="246317"/>
                </a:moveTo>
                <a:lnTo>
                  <a:pt x="0" y="115824"/>
                </a:lnTo>
                <a:lnTo>
                  <a:pt x="50959" y="62579"/>
                </a:lnTo>
                <a:lnTo>
                  <a:pt x="134112" y="142113"/>
                </a:lnTo>
                <a:lnTo>
                  <a:pt x="270415" y="0"/>
                </a:lnTo>
                <a:lnTo>
                  <a:pt x="323660" y="50959"/>
                </a:lnTo>
                <a:lnTo>
                  <a:pt x="136303" y="246317"/>
                </a:lnTo>
                <a:close/>
              </a:path>
            </a:pathLst>
          </a:custGeom>
          <a:solidFill>
            <a:srgbClr val="0B8A9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750715">
              <a:defRPr/>
            </a:pPr>
            <a:endParaRPr lang="en-IN" sz="2400">
              <a:solidFill>
                <a:srgbClr val="07060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3008145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E5923F-1C15-865A-0F95-A916EC5668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4">
            <a:extLst>
              <a:ext uri="{FF2B5EF4-FFF2-40B4-BE49-F238E27FC236}">
                <a16:creationId xmlns:a16="http://schemas.microsoft.com/office/drawing/2014/main" id="{6DF58F17-CFB0-92E3-6618-996A434AC45B}"/>
              </a:ext>
            </a:extLst>
          </p:cNvPr>
          <p:cNvSpPr txBox="1">
            <a:spLocks/>
          </p:cNvSpPr>
          <p:nvPr/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lnSpc>
                <a:spcPct val="90000"/>
              </a:lnSpc>
              <a:spcBef>
                <a:spcPct val="0"/>
              </a:spcBef>
              <a:buNone/>
              <a:defRPr sz="5400" b="1">
                <a:solidFill>
                  <a:schemeClr val="bg1"/>
                </a:solidFill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chemeClr val="accent1"/>
                </a:solidFill>
              </a:rPr>
              <a:t>02</a:t>
            </a:r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E5796BB5-24C4-EE65-DAA4-CA0202C77C75}"/>
              </a:ext>
            </a:extLst>
          </p:cNvPr>
          <p:cNvSpPr txBox="1">
            <a:spLocks/>
          </p:cNvSpPr>
          <p:nvPr/>
        </p:nvSpPr>
        <p:spPr>
          <a:xfrm>
            <a:off x="419099" y="3635858"/>
            <a:ext cx="11283166" cy="434926"/>
          </a:xfrm>
          <a:prstGeom prst="rect">
            <a:avLst/>
          </a:prstGeom>
        </p:spPr>
        <p:txBody>
          <a:bodyPr/>
          <a:lstStyle>
            <a:lvl1pPr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Tx/>
              <a:buNone/>
              <a:defRPr b="1">
                <a:solidFill>
                  <a:schemeClr val="bg1"/>
                </a:solidFill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Tx/>
              <a:buNone/>
              <a:defRPr b="1">
                <a:solidFill>
                  <a:schemeClr val="bg1"/>
                </a:solidFill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Tx/>
              <a:buNone/>
              <a:defRPr b="1">
                <a:solidFill>
                  <a:schemeClr val="bg1"/>
                </a:solidFill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Tx/>
              <a:buNone/>
              <a:defRPr b="1">
                <a:solidFill>
                  <a:schemeClr val="bg1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sz="3600" b="0" dirty="0">
                <a:solidFill>
                  <a:schemeClr val="tx1"/>
                </a:solidFill>
              </a:rPr>
              <a:t>Graphic Slid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2C2AD03-15DA-61F0-01AB-84AB191C3370}"/>
              </a:ext>
            </a:extLst>
          </p:cNvPr>
          <p:cNvCxnSpPr/>
          <p:nvPr/>
        </p:nvCxnSpPr>
        <p:spPr>
          <a:xfrm>
            <a:off x="419099" y="3521558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73220492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BCA544-C455-3A49-BDBC-33C38A7633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41FACFD4-D016-44E2-38ED-CC9710EB522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1FACFD4-D016-44E2-38ED-CC9710EB52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E622E76-F464-E7D9-BEF2-422FC0DED7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30-60-90 Plan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A1F2C3C9-20BA-9632-F316-2D47063AAD3B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73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78" name="Google Shape;457;p13">
            <a:extLst>
              <a:ext uri="{FF2B5EF4-FFF2-40B4-BE49-F238E27FC236}">
                <a16:creationId xmlns:a16="http://schemas.microsoft.com/office/drawing/2014/main" id="{D54E070D-D990-0D37-5024-684E01022576}"/>
              </a:ext>
            </a:extLst>
          </p:cNvPr>
          <p:cNvSpPr>
            <a:spLocks/>
          </p:cNvSpPr>
          <p:nvPr/>
        </p:nvSpPr>
        <p:spPr>
          <a:xfrm>
            <a:off x="522710" y="1058952"/>
            <a:ext cx="3537192" cy="1753216"/>
          </a:xfrm>
          <a:prstGeom prst="round2Same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 defTabSz="1508028"/>
            <a:endParaRPr sz="3939" dirty="0">
              <a:solidFill>
                <a:srgbClr val="FFFFFF"/>
              </a:solidFill>
              <a:ea typeface="Century Gothic"/>
              <a:cs typeface="Arial" panose="020B0604020202020204" pitchFamily="34" charset="0"/>
              <a:sym typeface="Century Gothic"/>
            </a:endParaRPr>
          </a:p>
        </p:txBody>
      </p:sp>
      <p:sp>
        <p:nvSpPr>
          <p:cNvPr id="79" name="Google Shape;459;p13">
            <a:extLst>
              <a:ext uri="{FF2B5EF4-FFF2-40B4-BE49-F238E27FC236}">
                <a16:creationId xmlns:a16="http://schemas.microsoft.com/office/drawing/2014/main" id="{53A2129C-6E56-17D2-14D5-E1F9F7169044}"/>
              </a:ext>
            </a:extLst>
          </p:cNvPr>
          <p:cNvSpPr>
            <a:spLocks/>
          </p:cNvSpPr>
          <p:nvPr/>
        </p:nvSpPr>
        <p:spPr>
          <a:xfrm flipH="1">
            <a:off x="522710" y="2949290"/>
            <a:ext cx="3537192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defTabSz="1508028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Insert Text Here</a:t>
            </a:r>
            <a:endParaRPr kumimoji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80" name="Google Shape;460;p13">
            <a:extLst>
              <a:ext uri="{FF2B5EF4-FFF2-40B4-BE49-F238E27FC236}">
                <a16:creationId xmlns:a16="http://schemas.microsoft.com/office/drawing/2014/main" id="{FB5931B6-3C10-F18F-5315-964F334DE55E}"/>
              </a:ext>
            </a:extLst>
          </p:cNvPr>
          <p:cNvSpPr txBox="1"/>
          <p:nvPr/>
        </p:nvSpPr>
        <p:spPr>
          <a:xfrm>
            <a:off x="819551" y="2194640"/>
            <a:ext cx="2943525" cy="400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defTabSz="1508028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6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30 DAY</a:t>
            </a:r>
            <a:endParaRPr kumimoji="0" sz="26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81" name="Google Shape;462;p13">
            <a:extLst>
              <a:ext uri="{FF2B5EF4-FFF2-40B4-BE49-F238E27FC236}">
                <a16:creationId xmlns:a16="http://schemas.microsoft.com/office/drawing/2014/main" id="{71B25358-E9B3-CAA8-7D71-9F5FF38F167A}"/>
              </a:ext>
            </a:extLst>
          </p:cNvPr>
          <p:cNvSpPr/>
          <p:nvPr/>
        </p:nvSpPr>
        <p:spPr>
          <a:xfrm>
            <a:off x="4322561" y="1058952"/>
            <a:ext cx="3537192" cy="1753216"/>
          </a:xfrm>
          <a:prstGeom prst="round2Same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 defTabSz="1508028"/>
            <a:endParaRPr sz="3939" dirty="0">
              <a:solidFill>
                <a:srgbClr val="FFFFFF"/>
              </a:solidFill>
              <a:ea typeface="Century Gothic"/>
              <a:cs typeface="Arial" panose="020B0604020202020204" pitchFamily="34" charset="0"/>
              <a:sym typeface="Century Gothic"/>
            </a:endParaRPr>
          </a:p>
        </p:txBody>
      </p:sp>
      <p:sp>
        <p:nvSpPr>
          <p:cNvPr id="82" name="Google Shape;464;p13">
            <a:extLst>
              <a:ext uri="{FF2B5EF4-FFF2-40B4-BE49-F238E27FC236}">
                <a16:creationId xmlns:a16="http://schemas.microsoft.com/office/drawing/2014/main" id="{57D5B201-D1AE-8AC5-5CF8-39F53C3EF3DB}"/>
              </a:ext>
            </a:extLst>
          </p:cNvPr>
          <p:cNvSpPr>
            <a:spLocks/>
          </p:cNvSpPr>
          <p:nvPr/>
        </p:nvSpPr>
        <p:spPr>
          <a:xfrm flipH="1">
            <a:off x="4322561" y="2949290"/>
            <a:ext cx="3537192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defTabSz="1508028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Insert Text Here</a:t>
            </a:r>
            <a:endParaRPr kumimoji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83" name="Google Shape;465;p13">
            <a:extLst>
              <a:ext uri="{FF2B5EF4-FFF2-40B4-BE49-F238E27FC236}">
                <a16:creationId xmlns:a16="http://schemas.microsoft.com/office/drawing/2014/main" id="{0FA88FBB-317F-4669-7D99-DD7D93B6C046}"/>
              </a:ext>
            </a:extLst>
          </p:cNvPr>
          <p:cNvSpPr txBox="1"/>
          <p:nvPr/>
        </p:nvSpPr>
        <p:spPr>
          <a:xfrm>
            <a:off x="4619396" y="2194640"/>
            <a:ext cx="2943525" cy="400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defTabSz="1508028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6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60 DAY</a:t>
            </a:r>
            <a:endParaRPr kumimoji="0" sz="26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84" name="Google Shape;467;p13">
            <a:extLst>
              <a:ext uri="{FF2B5EF4-FFF2-40B4-BE49-F238E27FC236}">
                <a16:creationId xmlns:a16="http://schemas.microsoft.com/office/drawing/2014/main" id="{947F4258-A61E-540C-FA97-AB01245AB187}"/>
              </a:ext>
            </a:extLst>
          </p:cNvPr>
          <p:cNvSpPr/>
          <p:nvPr/>
        </p:nvSpPr>
        <p:spPr>
          <a:xfrm>
            <a:off x="8122407" y="1058952"/>
            <a:ext cx="3537192" cy="1753216"/>
          </a:xfrm>
          <a:prstGeom prst="round2Same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marL="0" marR="0" lvl="0" indent="0" algn="ctr" defTabSz="150802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3939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Century Gothic"/>
              <a:cs typeface="Arial" panose="020B0604020202020204" pitchFamily="34" charset="0"/>
              <a:sym typeface="Century Gothic"/>
            </a:endParaRPr>
          </a:p>
        </p:txBody>
      </p:sp>
      <p:sp>
        <p:nvSpPr>
          <p:cNvPr id="85" name="Google Shape;469;p13">
            <a:extLst>
              <a:ext uri="{FF2B5EF4-FFF2-40B4-BE49-F238E27FC236}">
                <a16:creationId xmlns:a16="http://schemas.microsoft.com/office/drawing/2014/main" id="{864C95C2-F8A9-774B-55EA-E69220359EBD}"/>
              </a:ext>
            </a:extLst>
          </p:cNvPr>
          <p:cNvSpPr>
            <a:spLocks/>
          </p:cNvSpPr>
          <p:nvPr/>
        </p:nvSpPr>
        <p:spPr>
          <a:xfrm flipH="1">
            <a:off x="8122407" y="2949290"/>
            <a:ext cx="3537192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defTabSz="1508028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Insert Text Here</a:t>
            </a:r>
            <a:endParaRPr kumimoji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86" name="Google Shape;470;p13">
            <a:extLst>
              <a:ext uri="{FF2B5EF4-FFF2-40B4-BE49-F238E27FC236}">
                <a16:creationId xmlns:a16="http://schemas.microsoft.com/office/drawing/2014/main" id="{DAE58F56-15AD-8219-C25A-4C7AF807C873}"/>
              </a:ext>
            </a:extLst>
          </p:cNvPr>
          <p:cNvSpPr txBox="1"/>
          <p:nvPr/>
        </p:nvSpPr>
        <p:spPr>
          <a:xfrm>
            <a:off x="8419246" y="2194640"/>
            <a:ext cx="2943525" cy="400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defTabSz="1508028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6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90 DAY</a:t>
            </a:r>
            <a:endParaRPr kumimoji="0" sz="26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grpSp>
        <p:nvGrpSpPr>
          <p:cNvPr id="91" name="Group 90">
            <a:extLst>
              <a:ext uri="{FF2B5EF4-FFF2-40B4-BE49-F238E27FC236}">
                <a16:creationId xmlns:a16="http://schemas.microsoft.com/office/drawing/2014/main" id="{A6C1D8E0-1FFB-66D3-39DF-9032D79DBEF1}"/>
              </a:ext>
            </a:extLst>
          </p:cNvPr>
          <p:cNvGrpSpPr/>
          <p:nvPr/>
        </p:nvGrpSpPr>
        <p:grpSpPr>
          <a:xfrm>
            <a:off x="9540882" y="1262162"/>
            <a:ext cx="700249" cy="694423"/>
            <a:chOff x="9592182" y="1643412"/>
            <a:chExt cx="708145" cy="702253"/>
          </a:xfrm>
        </p:grpSpPr>
        <p:sp>
          <p:nvSpPr>
            <p:cNvPr id="92" name="Freeform 44">
              <a:extLst>
                <a:ext uri="{FF2B5EF4-FFF2-40B4-BE49-F238E27FC236}">
                  <a16:creationId xmlns:a16="http://schemas.microsoft.com/office/drawing/2014/main" id="{986A6F74-C67E-8BB6-4914-917124BCF9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757415" y="1808647"/>
              <a:ext cx="371778" cy="371781"/>
            </a:xfrm>
            <a:custGeom>
              <a:avLst/>
              <a:gdLst>
                <a:gd name="T0" fmla="*/ 114 w 228"/>
                <a:gd name="T1" fmla="*/ 228 h 228"/>
                <a:gd name="T2" fmla="*/ 0 w 228"/>
                <a:gd name="T3" fmla="*/ 114 h 228"/>
                <a:gd name="T4" fmla="*/ 114 w 228"/>
                <a:gd name="T5" fmla="*/ 0 h 228"/>
                <a:gd name="T6" fmla="*/ 228 w 228"/>
                <a:gd name="T7" fmla="*/ 114 h 228"/>
                <a:gd name="T8" fmla="*/ 114 w 228"/>
                <a:gd name="T9" fmla="*/ 228 h 228"/>
                <a:gd name="T10" fmla="*/ 114 w 228"/>
                <a:gd name="T11" fmla="*/ 12 h 228"/>
                <a:gd name="T12" fmla="*/ 12 w 228"/>
                <a:gd name="T13" fmla="*/ 114 h 228"/>
                <a:gd name="T14" fmla="*/ 114 w 228"/>
                <a:gd name="T15" fmla="*/ 216 h 228"/>
                <a:gd name="T16" fmla="*/ 216 w 228"/>
                <a:gd name="T17" fmla="*/ 114 h 228"/>
                <a:gd name="T18" fmla="*/ 114 w 228"/>
                <a:gd name="T19" fmla="*/ 12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8" h="228">
                  <a:moveTo>
                    <a:pt x="114" y="228"/>
                  </a:moveTo>
                  <a:cubicBezTo>
                    <a:pt x="51" y="228"/>
                    <a:pt x="0" y="177"/>
                    <a:pt x="0" y="114"/>
                  </a:cubicBezTo>
                  <a:cubicBezTo>
                    <a:pt x="0" y="51"/>
                    <a:pt x="51" y="0"/>
                    <a:pt x="114" y="0"/>
                  </a:cubicBezTo>
                  <a:cubicBezTo>
                    <a:pt x="177" y="0"/>
                    <a:pt x="228" y="51"/>
                    <a:pt x="228" y="114"/>
                  </a:cubicBezTo>
                  <a:cubicBezTo>
                    <a:pt x="228" y="177"/>
                    <a:pt x="177" y="228"/>
                    <a:pt x="114" y="228"/>
                  </a:cubicBezTo>
                  <a:close/>
                  <a:moveTo>
                    <a:pt x="114" y="12"/>
                  </a:moveTo>
                  <a:cubicBezTo>
                    <a:pt x="58" y="12"/>
                    <a:pt x="12" y="58"/>
                    <a:pt x="12" y="114"/>
                  </a:cubicBezTo>
                  <a:cubicBezTo>
                    <a:pt x="12" y="170"/>
                    <a:pt x="58" y="216"/>
                    <a:pt x="114" y="216"/>
                  </a:cubicBezTo>
                  <a:cubicBezTo>
                    <a:pt x="170" y="216"/>
                    <a:pt x="216" y="170"/>
                    <a:pt x="216" y="114"/>
                  </a:cubicBezTo>
                  <a:cubicBezTo>
                    <a:pt x="216" y="58"/>
                    <a:pt x="170" y="12"/>
                    <a:pt x="114" y="1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508028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3939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93" name="Freeform 45">
              <a:extLst>
                <a:ext uri="{FF2B5EF4-FFF2-40B4-BE49-F238E27FC236}">
                  <a16:creationId xmlns:a16="http://schemas.microsoft.com/office/drawing/2014/main" id="{CA73DD42-933D-A6D5-1667-3F8BEC3D779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92182" y="1643412"/>
              <a:ext cx="708145" cy="702253"/>
            </a:xfrm>
            <a:custGeom>
              <a:avLst/>
              <a:gdLst>
                <a:gd name="T0" fmla="*/ 204 w 432"/>
                <a:gd name="T1" fmla="*/ 432 h 432"/>
                <a:gd name="T2" fmla="*/ 172 w 432"/>
                <a:gd name="T3" fmla="*/ 379 h 432"/>
                <a:gd name="T4" fmla="*/ 116 w 432"/>
                <a:gd name="T5" fmla="*/ 378 h 432"/>
                <a:gd name="T6" fmla="*/ 54 w 432"/>
                <a:gd name="T7" fmla="*/ 360 h 432"/>
                <a:gd name="T8" fmla="*/ 54 w 432"/>
                <a:gd name="T9" fmla="*/ 316 h 432"/>
                <a:gd name="T10" fmla="*/ 53 w 432"/>
                <a:gd name="T11" fmla="*/ 260 h 432"/>
                <a:gd name="T12" fmla="*/ 0 w 432"/>
                <a:gd name="T13" fmla="*/ 228 h 432"/>
                <a:gd name="T14" fmla="*/ 31 w 432"/>
                <a:gd name="T15" fmla="*/ 172 h 432"/>
                <a:gd name="T16" fmla="*/ 70 w 432"/>
                <a:gd name="T17" fmla="*/ 132 h 432"/>
                <a:gd name="T18" fmla="*/ 45 w 432"/>
                <a:gd name="T19" fmla="*/ 94 h 432"/>
                <a:gd name="T20" fmla="*/ 72 w 432"/>
                <a:gd name="T21" fmla="*/ 54 h 432"/>
                <a:gd name="T22" fmla="*/ 132 w 432"/>
                <a:gd name="T23" fmla="*/ 70 h 432"/>
                <a:gd name="T24" fmla="*/ 172 w 432"/>
                <a:gd name="T25" fmla="*/ 31 h 432"/>
                <a:gd name="T26" fmla="*/ 229 w 432"/>
                <a:gd name="T27" fmla="*/ 0 h 432"/>
                <a:gd name="T28" fmla="*/ 260 w 432"/>
                <a:gd name="T29" fmla="*/ 53 h 432"/>
                <a:gd name="T30" fmla="*/ 316 w 432"/>
                <a:gd name="T31" fmla="*/ 54 h 432"/>
                <a:gd name="T32" fmla="*/ 378 w 432"/>
                <a:gd name="T33" fmla="*/ 72 h 432"/>
                <a:gd name="T34" fmla="*/ 378 w 432"/>
                <a:gd name="T35" fmla="*/ 116 h 432"/>
                <a:gd name="T36" fmla="*/ 379 w 432"/>
                <a:gd name="T37" fmla="*/ 172 h 432"/>
                <a:gd name="T38" fmla="*/ 432 w 432"/>
                <a:gd name="T39" fmla="*/ 203 h 432"/>
                <a:gd name="T40" fmla="*/ 401 w 432"/>
                <a:gd name="T41" fmla="*/ 260 h 432"/>
                <a:gd name="T42" fmla="*/ 362 w 432"/>
                <a:gd name="T43" fmla="*/ 300 h 432"/>
                <a:gd name="T44" fmla="*/ 387 w 432"/>
                <a:gd name="T45" fmla="*/ 338 h 432"/>
                <a:gd name="T46" fmla="*/ 360 w 432"/>
                <a:gd name="T47" fmla="*/ 378 h 432"/>
                <a:gd name="T48" fmla="*/ 300 w 432"/>
                <a:gd name="T49" fmla="*/ 362 h 432"/>
                <a:gd name="T50" fmla="*/ 260 w 432"/>
                <a:gd name="T51" fmla="*/ 401 h 432"/>
                <a:gd name="T52" fmla="*/ 131 w 432"/>
                <a:gd name="T53" fmla="*/ 348 h 432"/>
                <a:gd name="T54" fmla="*/ 180 w 432"/>
                <a:gd name="T55" fmla="*/ 368 h 432"/>
                <a:gd name="T56" fmla="*/ 185 w 432"/>
                <a:gd name="T57" fmla="*/ 401 h 432"/>
                <a:gd name="T58" fmla="*/ 229 w 432"/>
                <a:gd name="T59" fmla="*/ 420 h 432"/>
                <a:gd name="T60" fmla="*/ 248 w 432"/>
                <a:gd name="T61" fmla="*/ 374 h 432"/>
                <a:gd name="T62" fmla="*/ 298 w 432"/>
                <a:gd name="T63" fmla="*/ 349 h 432"/>
                <a:gd name="T64" fmla="*/ 325 w 432"/>
                <a:gd name="T65" fmla="*/ 369 h 432"/>
                <a:gd name="T66" fmla="*/ 369 w 432"/>
                <a:gd name="T67" fmla="*/ 351 h 432"/>
                <a:gd name="T68" fmla="*/ 351 w 432"/>
                <a:gd name="T69" fmla="*/ 306 h 432"/>
                <a:gd name="T70" fmla="*/ 349 w 432"/>
                <a:gd name="T71" fmla="*/ 298 h 432"/>
                <a:gd name="T72" fmla="*/ 374 w 432"/>
                <a:gd name="T73" fmla="*/ 247 h 432"/>
                <a:gd name="T74" fmla="*/ 420 w 432"/>
                <a:gd name="T75" fmla="*/ 228 h 432"/>
                <a:gd name="T76" fmla="*/ 401 w 432"/>
                <a:gd name="T77" fmla="*/ 184 h 432"/>
                <a:gd name="T78" fmla="*/ 368 w 432"/>
                <a:gd name="T79" fmla="*/ 180 h 432"/>
                <a:gd name="T80" fmla="*/ 350 w 432"/>
                <a:gd name="T81" fmla="*/ 126 h 432"/>
                <a:gd name="T82" fmla="*/ 369 w 432"/>
                <a:gd name="T83" fmla="*/ 80 h 432"/>
                <a:gd name="T84" fmla="*/ 325 w 432"/>
                <a:gd name="T85" fmla="*/ 63 h 432"/>
                <a:gd name="T86" fmla="*/ 298 w 432"/>
                <a:gd name="T87" fmla="*/ 83 h 432"/>
                <a:gd name="T88" fmla="*/ 248 w 432"/>
                <a:gd name="T89" fmla="*/ 58 h 432"/>
                <a:gd name="T90" fmla="*/ 229 w 432"/>
                <a:gd name="T91" fmla="*/ 12 h 432"/>
                <a:gd name="T92" fmla="*/ 185 w 432"/>
                <a:gd name="T93" fmla="*/ 31 h 432"/>
                <a:gd name="T94" fmla="*/ 180 w 432"/>
                <a:gd name="T95" fmla="*/ 64 h 432"/>
                <a:gd name="T96" fmla="*/ 127 w 432"/>
                <a:gd name="T97" fmla="*/ 82 h 432"/>
                <a:gd name="T98" fmla="*/ 81 w 432"/>
                <a:gd name="T99" fmla="*/ 63 h 432"/>
                <a:gd name="T100" fmla="*/ 57 w 432"/>
                <a:gd name="T101" fmla="*/ 94 h 432"/>
                <a:gd name="T102" fmla="*/ 82 w 432"/>
                <a:gd name="T103" fmla="*/ 126 h 432"/>
                <a:gd name="T104" fmla="*/ 64 w 432"/>
                <a:gd name="T105" fmla="*/ 180 h 432"/>
                <a:gd name="T106" fmla="*/ 31 w 432"/>
                <a:gd name="T107" fmla="*/ 184 h 432"/>
                <a:gd name="T108" fmla="*/ 12 w 432"/>
                <a:gd name="T109" fmla="*/ 228 h 432"/>
                <a:gd name="T110" fmla="*/ 58 w 432"/>
                <a:gd name="T111" fmla="*/ 247 h 432"/>
                <a:gd name="T112" fmla="*/ 83 w 432"/>
                <a:gd name="T113" fmla="*/ 298 h 432"/>
                <a:gd name="T114" fmla="*/ 82 w 432"/>
                <a:gd name="T115" fmla="*/ 306 h 432"/>
                <a:gd name="T116" fmla="*/ 57 w 432"/>
                <a:gd name="T117" fmla="*/ 338 h 432"/>
                <a:gd name="T118" fmla="*/ 81 w 432"/>
                <a:gd name="T119" fmla="*/ 369 h 432"/>
                <a:gd name="T120" fmla="*/ 126 w 432"/>
                <a:gd name="T121" fmla="*/ 350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32" h="432">
                  <a:moveTo>
                    <a:pt x="229" y="432"/>
                  </a:moveTo>
                  <a:cubicBezTo>
                    <a:pt x="204" y="432"/>
                    <a:pt x="204" y="432"/>
                    <a:pt x="204" y="432"/>
                  </a:cubicBezTo>
                  <a:cubicBezTo>
                    <a:pt x="186" y="432"/>
                    <a:pt x="172" y="418"/>
                    <a:pt x="172" y="401"/>
                  </a:cubicBezTo>
                  <a:cubicBezTo>
                    <a:pt x="172" y="379"/>
                    <a:pt x="172" y="379"/>
                    <a:pt x="172" y="379"/>
                  </a:cubicBezTo>
                  <a:cubicBezTo>
                    <a:pt x="158" y="375"/>
                    <a:pt x="145" y="369"/>
                    <a:pt x="132" y="362"/>
                  </a:cubicBezTo>
                  <a:cubicBezTo>
                    <a:pt x="116" y="378"/>
                    <a:pt x="116" y="378"/>
                    <a:pt x="116" y="378"/>
                  </a:cubicBezTo>
                  <a:cubicBezTo>
                    <a:pt x="104" y="390"/>
                    <a:pt x="84" y="390"/>
                    <a:pt x="72" y="378"/>
                  </a:cubicBezTo>
                  <a:cubicBezTo>
                    <a:pt x="54" y="360"/>
                    <a:pt x="54" y="360"/>
                    <a:pt x="54" y="360"/>
                  </a:cubicBezTo>
                  <a:cubicBezTo>
                    <a:pt x="48" y="354"/>
                    <a:pt x="45" y="346"/>
                    <a:pt x="45" y="338"/>
                  </a:cubicBezTo>
                  <a:cubicBezTo>
                    <a:pt x="45" y="329"/>
                    <a:pt x="48" y="322"/>
                    <a:pt x="54" y="316"/>
                  </a:cubicBezTo>
                  <a:cubicBezTo>
                    <a:pt x="70" y="300"/>
                    <a:pt x="70" y="300"/>
                    <a:pt x="70" y="300"/>
                  </a:cubicBezTo>
                  <a:cubicBezTo>
                    <a:pt x="63" y="287"/>
                    <a:pt x="57" y="274"/>
                    <a:pt x="53" y="260"/>
                  </a:cubicBezTo>
                  <a:cubicBezTo>
                    <a:pt x="31" y="260"/>
                    <a:pt x="31" y="260"/>
                    <a:pt x="31" y="260"/>
                  </a:cubicBezTo>
                  <a:cubicBezTo>
                    <a:pt x="14" y="260"/>
                    <a:pt x="0" y="246"/>
                    <a:pt x="0" y="228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0" y="186"/>
                    <a:pt x="14" y="172"/>
                    <a:pt x="31" y="172"/>
                  </a:cubicBezTo>
                  <a:cubicBezTo>
                    <a:pt x="53" y="172"/>
                    <a:pt x="53" y="172"/>
                    <a:pt x="53" y="172"/>
                  </a:cubicBezTo>
                  <a:cubicBezTo>
                    <a:pt x="57" y="158"/>
                    <a:pt x="63" y="144"/>
                    <a:pt x="70" y="132"/>
                  </a:cubicBezTo>
                  <a:cubicBezTo>
                    <a:pt x="54" y="116"/>
                    <a:pt x="54" y="116"/>
                    <a:pt x="54" y="116"/>
                  </a:cubicBezTo>
                  <a:cubicBezTo>
                    <a:pt x="48" y="110"/>
                    <a:pt x="45" y="102"/>
                    <a:pt x="45" y="94"/>
                  </a:cubicBezTo>
                  <a:cubicBezTo>
                    <a:pt x="45" y="85"/>
                    <a:pt x="48" y="78"/>
                    <a:pt x="54" y="72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84" y="42"/>
                    <a:pt x="104" y="42"/>
                    <a:pt x="116" y="54"/>
                  </a:cubicBezTo>
                  <a:cubicBezTo>
                    <a:pt x="132" y="70"/>
                    <a:pt x="132" y="70"/>
                    <a:pt x="132" y="70"/>
                  </a:cubicBezTo>
                  <a:cubicBezTo>
                    <a:pt x="145" y="62"/>
                    <a:pt x="158" y="57"/>
                    <a:pt x="172" y="53"/>
                  </a:cubicBezTo>
                  <a:cubicBezTo>
                    <a:pt x="172" y="31"/>
                    <a:pt x="172" y="31"/>
                    <a:pt x="172" y="31"/>
                  </a:cubicBezTo>
                  <a:cubicBezTo>
                    <a:pt x="172" y="14"/>
                    <a:pt x="186" y="0"/>
                    <a:pt x="204" y="0"/>
                  </a:cubicBezTo>
                  <a:cubicBezTo>
                    <a:pt x="229" y="0"/>
                    <a:pt x="229" y="0"/>
                    <a:pt x="229" y="0"/>
                  </a:cubicBezTo>
                  <a:cubicBezTo>
                    <a:pt x="246" y="0"/>
                    <a:pt x="260" y="14"/>
                    <a:pt x="260" y="31"/>
                  </a:cubicBezTo>
                  <a:cubicBezTo>
                    <a:pt x="260" y="53"/>
                    <a:pt x="260" y="53"/>
                    <a:pt x="260" y="53"/>
                  </a:cubicBezTo>
                  <a:cubicBezTo>
                    <a:pt x="274" y="57"/>
                    <a:pt x="288" y="62"/>
                    <a:pt x="300" y="70"/>
                  </a:cubicBezTo>
                  <a:cubicBezTo>
                    <a:pt x="316" y="54"/>
                    <a:pt x="316" y="54"/>
                    <a:pt x="316" y="54"/>
                  </a:cubicBezTo>
                  <a:cubicBezTo>
                    <a:pt x="328" y="42"/>
                    <a:pt x="348" y="42"/>
                    <a:pt x="360" y="54"/>
                  </a:cubicBezTo>
                  <a:cubicBezTo>
                    <a:pt x="378" y="72"/>
                    <a:pt x="378" y="72"/>
                    <a:pt x="378" y="72"/>
                  </a:cubicBezTo>
                  <a:cubicBezTo>
                    <a:pt x="384" y="78"/>
                    <a:pt x="387" y="85"/>
                    <a:pt x="387" y="94"/>
                  </a:cubicBezTo>
                  <a:cubicBezTo>
                    <a:pt x="387" y="102"/>
                    <a:pt x="384" y="110"/>
                    <a:pt x="378" y="116"/>
                  </a:cubicBezTo>
                  <a:cubicBezTo>
                    <a:pt x="362" y="132"/>
                    <a:pt x="362" y="132"/>
                    <a:pt x="362" y="132"/>
                  </a:cubicBezTo>
                  <a:cubicBezTo>
                    <a:pt x="370" y="144"/>
                    <a:pt x="375" y="158"/>
                    <a:pt x="379" y="172"/>
                  </a:cubicBezTo>
                  <a:cubicBezTo>
                    <a:pt x="401" y="172"/>
                    <a:pt x="401" y="172"/>
                    <a:pt x="401" y="172"/>
                  </a:cubicBezTo>
                  <a:cubicBezTo>
                    <a:pt x="418" y="172"/>
                    <a:pt x="432" y="186"/>
                    <a:pt x="432" y="203"/>
                  </a:cubicBezTo>
                  <a:cubicBezTo>
                    <a:pt x="432" y="228"/>
                    <a:pt x="432" y="228"/>
                    <a:pt x="432" y="228"/>
                  </a:cubicBezTo>
                  <a:cubicBezTo>
                    <a:pt x="432" y="246"/>
                    <a:pt x="418" y="260"/>
                    <a:pt x="401" y="260"/>
                  </a:cubicBezTo>
                  <a:cubicBezTo>
                    <a:pt x="379" y="260"/>
                    <a:pt x="379" y="260"/>
                    <a:pt x="379" y="260"/>
                  </a:cubicBezTo>
                  <a:cubicBezTo>
                    <a:pt x="375" y="274"/>
                    <a:pt x="370" y="287"/>
                    <a:pt x="362" y="300"/>
                  </a:cubicBezTo>
                  <a:cubicBezTo>
                    <a:pt x="378" y="316"/>
                    <a:pt x="378" y="316"/>
                    <a:pt x="378" y="316"/>
                  </a:cubicBezTo>
                  <a:cubicBezTo>
                    <a:pt x="384" y="322"/>
                    <a:pt x="387" y="329"/>
                    <a:pt x="387" y="338"/>
                  </a:cubicBezTo>
                  <a:cubicBezTo>
                    <a:pt x="387" y="346"/>
                    <a:pt x="384" y="354"/>
                    <a:pt x="378" y="360"/>
                  </a:cubicBezTo>
                  <a:cubicBezTo>
                    <a:pt x="360" y="378"/>
                    <a:pt x="360" y="378"/>
                    <a:pt x="360" y="378"/>
                  </a:cubicBezTo>
                  <a:cubicBezTo>
                    <a:pt x="348" y="390"/>
                    <a:pt x="328" y="390"/>
                    <a:pt x="316" y="378"/>
                  </a:cubicBezTo>
                  <a:cubicBezTo>
                    <a:pt x="300" y="362"/>
                    <a:pt x="300" y="362"/>
                    <a:pt x="300" y="362"/>
                  </a:cubicBezTo>
                  <a:cubicBezTo>
                    <a:pt x="288" y="369"/>
                    <a:pt x="274" y="375"/>
                    <a:pt x="260" y="379"/>
                  </a:cubicBezTo>
                  <a:cubicBezTo>
                    <a:pt x="260" y="401"/>
                    <a:pt x="260" y="401"/>
                    <a:pt x="260" y="401"/>
                  </a:cubicBezTo>
                  <a:cubicBezTo>
                    <a:pt x="260" y="418"/>
                    <a:pt x="246" y="432"/>
                    <a:pt x="229" y="432"/>
                  </a:cubicBezTo>
                  <a:close/>
                  <a:moveTo>
                    <a:pt x="131" y="348"/>
                  </a:moveTo>
                  <a:cubicBezTo>
                    <a:pt x="132" y="348"/>
                    <a:pt x="133" y="349"/>
                    <a:pt x="134" y="349"/>
                  </a:cubicBezTo>
                  <a:cubicBezTo>
                    <a:pt x="148" y="358"/>
                    <a:pt x="164" y="364"/>
                    <a:pt x="180" y="368"/>
                  </a:cubicBezTo>
                  <a:cubicBezTo>
                    <a:pt x="183" y="369"/>
                    <a:pt x="185" y="371"/>
                    <a:pt x="185" y="374"/>
                  </a:cubicBezTo>
                  <a:cubicBezTo>
                    <a:pt x="185" y="401"/>
                    <a:pt x="185" y="401"/>
                    <a:pt x="185" y="401"/>
                  </a:cubicBezTo>
                  <a:cubicBezTo>
                    <a:pt x="185" y="411"/>
                    <a:pt x="193" y="420"/>
                    <a:pt x="204" y="420"/>
                  </a:cubicBezTo>
                  <a:cubicBezTo>
                    <a:pt x="229" y="420"/>
                    <a:pt x="229" y="420"/>
                    <a:pt x="229" y="420"/>
                  </a:cubicBezTo>
                  <a:cubicBezTo>
                    <a:pt x="239" y="420"/>
                    <a:pt x="248" y="411"/>
                    <a:pt x="248" y="401"/>
                  </a:cubicBezTo>
                  <a:cubicBezTo>
                    <a:pt x="248" y="374"/>
                    <a:pt x="248" y="374"/>
                    <a:pt x="248" y="374"/>
                  </a:cubicBezTo>
                  <a:cubicBezTo>
                    <a:pt x="248" y="371"/>
                    <a:pt x="250" y="369"/>
                    <a:pt x="252" y="368"/>
                  </a:cubicBezTo>
                  <a:cubicBezTo>
                    <a:pt x="269" y="364"/>
                    <a:pt x="284" y="358"/>
                    <a:pt x="298" y="349"/>
                  </a:cubicBezTo>
                  <a:cubicBezTo>
                    <a:pt x="301" y="348"/>
                    <a:pt x="304" y="348"/>
                    <a:pt x="306" y="350"/>
                  </a:cubicBezTo>
                  <a:cubicBezTo>
                    <a:pt x="325" y="369"/>
                    <a:pt x="325" y="369"/>
                    <a:pt x="325" y="369"/>
                  </a:cubicBezTo>
                  <a:cubicBezTo>
                    <a:pt x="332" y="376"/>
                    <a:pt x="344" y="376"/>
                    <a:pt x="352" y="369"/>
                  </a:cubicBezTo>
                  <a:cubicBezTo>
                    <a:pt x="369" y="351"/>
                    <a:pt x="369" y="351"/>
                    <a:pt x="369" y="351"/>
                  </a:cubicBezTo>
                  <a:cubicBezTo>
                    <a:pt x="377" y="344"/>
                    <a:pt x="377" y="332"/>
                    <a:pt x="369" y="324"/>
                  </a:cubicBezTo>
                  <a:cubicBezTo>
                    <a:pt x="351" y="306"/>
                    <a:pt x="351" y="306"/>
                    <a:pt x="351" y="306"/>
                  </a:cubicBezTo>
                  <a:cubicBezTo>
                    <a:pt x="349" y="304"/>
                    <a:pt x="348" y="302"/>
                    <a:pt x="349" y="299"/>
                  </a:cubicBezTo>
                  <a:cubicBezTo>
                    <a:pt x="349" y="299"/>
                    <a:pt x="349" y="298"/>
                    <a:pt x="349" y="298"/>
                  </a:cubicBezTo>
                  <a:cubicBezTo>
                    <a:pt x="358" y="284"/>
                    <a:pt x="364" y="268"/>
                    <a:pt x="368" y="252"/>
                  </a:cubicBezTo>
                  <a:cubicBezTo>
                    <a:pt x="369" y="249"/>
                    <a:pt x="371" y="247"/>
                    <a:pt x="374" y="247"/>
                  </a:cubicBezTo>
                  <a:cubicBezTo>
                    <a:pt x="401" y="247"/>
                    <a:pt x="401" y="247"/>
                    <a:pt x="401" y="247"/>
                  </a:cubicBezTo>
                  <a:cubicBezTo>
                    <a:pt x="412" y="247"/>
                    <a:pt x="420" y="239"/>
                    <a:pt x="420" y="228"/>
                  </a:cubicBezTo>
                  <a:cubicBezTo>
                    <a:pt x="420" y="203"/>
                    <a:pt x="420" y="203"/>
                    <a:pt x="420" y="203"/>
                  </a:cubicBezTo>
                  <a:cubicBezTo>
                    <a:pt x="420" y="193"/>
                    <a:pt x="412" y="184"/>
                    <a:pt x="401" y="184"/>
                  </a:cubicBezTo>
                  <a:cubicBezTo>
                    <a:pt x="374" y="184"/>
                    <a:pt x="374" y="184"/>
                    <a:pt x="374" y="184"/>
                  </a:cubicBezTo>
                  <a:cubicBezTo>
                    <a:pt x="371" y="184"/>
                    <a:pt x="369" y="182"/>
                    <a:pt x="368" y="180"/>
                  </a:cubicBezTo>
                  <a:cubicBezTo>
                    <a:pt x="364" y="163"/>
                    <a:pt x="358" y="148"/>
                    <a:pt x="349" y="134"/>
                  </a:cubicBezTo>
                  <a:cubicBezTo>
                    <a:pt x="348" y="131"/>
                    <a:pt x="348" y="128"/>
                    <a:pt x="350" y="126"/>
                  </a:cubicBezTo>
                  <a:cubicBezTo>
                    <a:pt x="369" y="107"/>
                    <a:pt x="369" y="107"/>
                    <a:pt x="369" y="107"/>
                  </a:cubicBezTo>
                  <a:cubicBezTo>
                    <a:pt x="377" y="100"/>
                    <a:pt x="377" y="88"/>
                    <a:pt x="369" y="80"/>
                  </a:cubicBezTo>
                  <a:cubicBezTo>
                    <a:pt x="352" y="63"/>
                    <a:pt x="352" y="63"/>
                    <a:pt x="352" y="63"/>
                  </a:cubicBezTo>
                  <a:cubicBezTo>
                    <a:pt x="344" y="55"/>
                    <a:pt x="332" y="55"/>
                    <a:pt x="325" y="63"/>
                  </a:cubicBezTo>
                  <a:cubicBezTo>
                    <a:pt x="306" y="82"/>
                    <a:pt x="306" y="82"/>
                    <a:pt x="306" y="82"/>
                  </a:cubicBezTo>
                  <a:cubicBezTo>
                    <a:pt x="304" y="84"/>
                    <a:pt x="300" y="84"/>
                    <a:pt x="298" y="83"/>
                  </a:cubicBezTo>
                  <a:cubicBezTo>
                    <a:pt x="284" y="74"/>
                    <a:pt x="269" y="68"/>
                    <a:pt x="252" y="64"/>
                  </a:cubicBezTo>
                  <a:cubicBezTo>
                    <a:pt x="250" y="63"/>
                    <a:pt x="248" y="61"/>
                    <a:pt x="248" y="58"/>
                  </a:cubicBezTo>
                  <a:cubicBezTo>
                    <a:pt x="248" y="31"/>
                    <a:pt x="248" y="31"/>
                    <a:pt x="248" y="31"/>
                  </a:cubicBezTo>
                  <a:cubicBezTo>
                    <a:pt x="248" y="20"/>
                    <a:pt x="239" y="12"/>
                    <a:pt x="229" y="12"/>
                  </a:cubicBezTo>
                  <a:cubicBezTo>
                    <a:pt x="204" y="12"/>
                    <a:pt x="204" y="12"/>
                    <a:pt x="204" y="12"/>
                  </a:cubicBezTo>
                  <a:cubicBezTo>
                    <a:pt x="193" y="12"/>
                    <a:pt x="185" y="20"/>
                    <a:pt x="185" y="31"/>
                  </a:cubicBezTo>
                  <a:cubicBezTo>
                    <a:pt x="185" y="58"/>
                    <a:pt x="185" y="58"/>
                    <a:pt x="185" y="58"/>
                  </a:cubicBezTo>
                  <a:cubicBezTo>
                    <a:pt x="185" y="61"/>
                    <a:pt x="183" y="63"/>
                    <a:pt x="180" y="64"/>
                  </a:cubicBezTo>
                  <a:cubicBezTo>
                    <a:pt x="164" y="68"/>
                    <a:pt x="148" y="74"/>
                    <a:pt x="134" y="83"/>
                  </a:cubicBezTo>
                  <a:cubicBezTo>
                    <a:pt x="132" y="84"/>
                    <a:pt x="129" y="84"/>
                    <a:pt x="127" y="82"/>
                  </a:cubicBezTo>
                  <a:cubicBezTo>
                    <a:pt x="108" y="63"/>
                    <a:pt x="108" y="63"/>
                    <a:pt x="108" y="63"/>
                  </a:cubicBezTo>
                  <a:cubicBezTo>
                    <a:pt x="100" y="55"/>
                    <a:pt x="88" y="55"/>
                    <a:pt x="81" y="63"/>
                  </a:cubicBezTo>
                  <a:cubicBezTo>
                    <a:pt x="63" y="80"/>
                    <a:pt x="63" y="80"/>
                    <a:pt x="63" y="80"/>
                  </a:cubicBezTo>
                  <a:cubicBezTo>
                    <a:pt x="59" y="84"/>
                    <a:pt x="57" y="89"/>
                    <a:pt x="57" y="94"/>
                  </a:cubicBezTo>
                  <a:cubicBezTo>
                    <a:pt x="57" y="99"/>
                    <a:pt x="59" y="104"/>
                    <a:pt x="63" y="107"/>
                  </a:cubicBezTo>
                  <a:cubicBezTo>
                    <a:pt x="82" y="126"/>
                    <a:pt x="82" y="126"/>
                    <a:pt x="82" y="126"/>
                  </a:cubicBezTo>
                  <a:cubicBezTo>
                    <a:pt x="84" y="128"/>
                    <a:pt x="84" y="131"/>
                    <a:pt x="83" y="134"/>
                  </a:cubicBezTo>
                  <a:cubicBezTo>
                    <a:pt x="74" y="148"/>
                    <a:pt x="68" y="163"/>
                    <a:pt x="64" y="180"/>
                  </a:cubicBezTo>
                  <a:cubicBezTo>
                    <a:pt x="63" y="182"/>
                    <a:pt x="61" y="184"/>
                    <a:pt x="58" y="184"/>
                  </a:cubicBezTo>
                  <a:cubicBezTo>
                    <a:pt x="31" y="184"/>
                    <a:pt x="31" y="184"/>
                    <a:pt x="31" y="184"/>
                  </a:cubicBezTo>
                  <a:cubicBezTo>
                    <a:pt x="21" y="184"/>
                    <a:pt x="12" y="193"/>
                    <a:pt x="12" y="203"/>
                  </a:cubicBezTo>
                  <a:cubicBezTo>
                    <a:pt x="12" y="228"/>
                    <a:pt x="12" y="228"/>
                    <a:pt x="12" y="228"/>
                  </a:cubicBezTo>
                  <a:cubicBezTo>
                    <a:pt x="12" y="239"/>
                    <a:pt x="21" y="247"/>
                    <a:pt x="31" y="247"/>
                  </a:cubicBezTo>
                  <a:cubicBezTo>
                    <a:pt x="58" y="247"/>
                    <a:pt x="58" y="247"/>
                    <a:pt x="58" y="247"/>
                  </a:cubicBezTo>
                  <a:cubicBezTo>
                    <a:pt x="61" y="247"/>
                    <a:pt x="63" y="249"/>
                    <a:pt x="64" y="252"/>
                  </a:cubicBezTo>
                  <a:cubicBezTo>
                    <a:pt x="68" y="268"/>
                    <a:pt x="74" y="284"/>
                    <a:pt x="83" y="298"/>
                  </a:cubicBezTo>
                  <a:cubicBezTo>
                    <a:pt x="83" y="298"/>
                    <a:pt x="83" y="299"/>
                    <a:pt x="83" y="299"/>
                  </a:cubicBezTo>
                  <a:cubicBezTo>
                    <a:pt x="84" y="302"/>
                    <a:pt x="83" y="304"/>
                    <a:pt x="82" y="306"/>
                  </a:cubicBezTo>
                  <a:cubicBezTo>
                    <a:pt x="63" y="324"/>
                    <a:pt x="63" y="324"/>
                    <a:pt x="63" y="324"/>
                  </a:cubicBezTo>
                  <a:cubicBezTo>
                    <a:pt x="59" y="328"/>
                    <a:pt x="57" y="333"/>
                    <a:pt x="57" y="338"/>
                  </a:cubicBezTo>
                  <a:cubicBezTo>
                    <a:pt x="57" y="343"/>
                    <a:pt x="59" y="348"/>
                    <a:pt x="63" y="351"/>
                  </a:cubicBezTo>
                  <a:cubicBezTo>
                    <a:pt x="81" y="369"/>
                    <a:pt x="81" y="369"/>
                    <a:pt x="81" y="369"/>
                  </a:cubicBezTo>
                  <a:cubicBezTo>
                    <a:pt x="88" y="376"/>
                    <a:pt x="100" y="376"/>
                    <a:pt x="108" y="369"/>
                  </a:cubicBezTo>
                  <a:cubicBezTo>
                    <a:pt x="126" y="350"/>
                    <a:pt x="126" y="350"/>
                    <a:pt x="126" y="350"/>
                  </a:cubicBezTo>
                  <a:cubicBezTo>
                    <a:pt x="127" y="349"/>
                    <a:pt x="129" y="348"/>
                    <a:pt x="131" y="3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508028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3939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10" name="Group 109">
            <a:extLst>
              <a:ext uri="{FF2B5EF4-FFF2-40B4-BE49-F238E27FC236}">
                <a16:creationId xmlns:a16="http://schemas.microsoft.com/office/drawing/2014/main" id="{AE6F2CFB-2594-78AF-19ED-59BDF5A97374}"/>
              </a:ext>
            </a:extLst>
          </p:cNvPr>
          <p:cNvGrpSpPr/>
          <p:nvPr/>
        </p:nvGrpSpPr>
        <p:grpSpPr>
          <a:xfrm>
            <a:off x="5741030" y="1262162"/>
            <a:ext cx="700249" cy="694423"/>
            <a:chOff x="9592182" y="1643412"/>
            <a:chExt cx="708145" cy="702253"/>
          </a:xfrm>
        </p:grpSpPr>
        <p:sp>
          <p:nvSpPr>
            <p:cNvPr id="111" name="Freeform 44">
              <a:extLst>
                <a:ext uri="{FF2B5EF4-FFF2-40B4-BE49-F238E27FC236}">
                  <a16:creationId xmlns:a16="http://schemas.microsoft.com/office/drawing/2014/main" id="{C8A0FD86-8872-060D-7C4E-ECD4EC6C7F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757415" y="1808647"/>
              <a:ext cx="371778" cy="371781"/>
            </a:xfrm>
            <a:custGeom>
              <a:avLst/>
              <a:gdLst>
                <a:gd name="T0" fmla="*/ 114 w 228"/>
                <a:gd name="T1" fmla="*/ 228 h 228"/>
                <a:gd name="T2" fmla="*/ 0 w 228"/>
                <a:gd name="T3" fmla="*/ 114 h 228"/>
                <a:gd name="T4" fmla="*/ 114 w 228"/>
                <a:gd name="T5" fmla="*/ 0 h 228"/>
                <a:gd name="T6" fmla="*/ 228 w 228"/>
                <a:gd name="T7" fmla="*/ 114 h 228"/>
                <a:gd name="T8" fmla="*/ 114 w 228"/>
                <a:gd name="T9" fmla="*/ 228 h 228"/>
                <a:gd name="T10" fmla="*/ 114 w 228"/>
                <a:gd name="T11" fmla="*/ 12 h 228"/>
                <a:gd name="T12" fmla="*/ 12 w 228"/>
                <a:gd name="T13" fmla="*/ 114 h 228"/>
                <a:gd name="T14" fmla="*/ 114 w 228"/>
                <a:gd name="T15" fmla="*/ 216 h 228"/>
                <a:gd name="T16" fmla="*/ 216 w 228"/>
                <a:gd name="T17" fmla="*/ 114 h 228"/>
                <a:gd name="T18" fmla="*/ 114 w 228"/>
                <a:gd name="T19" fmla="*/ 12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8" h="228">
                  <a:moveTo>
                    <a:pt x="114" y="228"/>
                  </a:moveTo>
                  <a:cubicBezTo>
                    <a:pt x="51" y="228"/>
                    <a:pt x="0" y="177"/>
                    <a:pt x="0" y="114"/>
                  </a:cubicBezTo>
                  <a:cubicBezTo>
                    <a:pt x="0" y="51"/>
                    <a:pt x="51" y="0"/>
                    <a:pt x="114" y="0"/>
                  </a:cubicBezTo>
                  <a:cubicBezTo>
                    <a:pt x="177" y="0"/>
                    <a:pt x="228" y="51"/>
                    <a:pt x="228" y="114"/>
                  </a:cubicBezTo>
                  <a:cubicBezTo>
                    <a:pt x="228" y="177"/>
                    <a:pt x="177" y="228"/>
                    <a:pt x="114" y="228"/>
                  </a:cubicBezTo>
                  <a:close/>
                  <a:moveTo>
                    <a:pt x="114" y="12"/>
                  </a:moveTo>
                  <a:cubicBezTo>
                    <a:pt x="58" y="12"/>
                    <a:pt x="12" y="58"/>
                    <a:pt x="12" y="114"/>
                  </a:cubicBezTo>
                  <a:cubicBezTo>
                    <a:pt x="12" y="170"/>
                    <a:pt x="58" y="216"/>
                    <a:pt x="114" y="216"/>
                  </a:cubicBezTo>
                  <a:cubicBezTo>
                    <a:pt x="170" y="216"/>
                    <a:pt x="216" y="170"/>
                    <a:pt x="216" y="114"/>
                  </a:cubicBezTo>
                  <a:cubicBezTo>
                    <a:pt x="216" y="58"/>
                    <a:pt x="170" y="12"/>
                    <a:pt x="114" y="1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508028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3939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2" name="Freeform 45">
              <a:extLst>
                <a:ext uri="{FF2B5EF4-FFF2-40B4-BE49-F238E27FC236}">
                  <a16:creationId xmlns:a16="http://schemas.microsoft.com/office/drawing/2014/main" id="{EB5E06D1-C179-A915-4E05-C75F861E75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92182" y="1643412"/>
              <a:ext cx="708145" cy="702253"/>
            </a:xfrm>
            <a:custGeom>
              <a:avLst/>
              <a:gdLst>
                <a:gd name="T0" fmla="*/ 204 w 432"/>
                <a:gd name="T1" fmla="*/ 432 h 432"/>
                <a:gd name="T2" fmla="*/ 172 w 432"/>
                <a:gd name="T3" fmla="*/ 379 h 432"/>
                <a:gd name="T4" fmla="*/ 116 w 432"/>
                <a:gd name="T5" fmla="*/ 378 h 432"/>
                <a:gd name="T6" fmla="*/ 54 w 432"/>
                <a:gd name="T7" fmla="*/ 360 h 432"/>
                <a:gd name="T8" fmla="*/ 54 w 432"/>
                <a:gd name="T9" fmla="*/ 316 h 432"/>
                <a:gd name="T10" fmla="*/ 53 w 432"/>
                <a:gd name="T11" fmla="*/ 260 h 432"/>
                <a:gd name="T12" fmla="*/ 0 w 432"/>
                <a:gd name="T13" fmla="*/ 228 h 432"/>
                <a:gd name="T14" fmla="*/ 31 w 432"/>
                <a:gd name="T15" fmla="*/ 172 h 432"/>
                <a:gd name="T16" fmla="*/ 70 w 432"/>
                <a:gd name="T17" fmla="*/ 132 h 432"/>
                <a:gd name="T18" fmla="*/ 45 w 432"/>
                <a:gd name="T19" fmla="*/ 94 h 432"/>
                <a:gd name="T20" fmla="*/ 72 w 432"/>
                <a:gd name="T21" fmla="*/ 54 h 432"/>
                <a:gd name="T22" fmla="*/ 132 w 432"/>
                <a:gd name="T23" fmla="*/ 70 h 432"/>
                <a:gd name="T24" fmla="*/ 172 w 432"/>
                <a:gd name="T25" fmla="*/ 31 h 432"/>
                <a:gd name="T26" fmla="*/ 229 w 432"/>
                <a:gd name="T27" fmla="*/ 0 h 432"/>
                <a:gd name="T28" fmla="*/ 260 w 432"/>
                <a:gd name="T29" fmla="*/ 53 h 432"/>
                <a:gd name="T30" fmla="*/ 316 w 432"/>
                <a:gd name="T31" fmla="*/ 54 h 432"/>
                <a:gd name="T32" fmla="*/ 378 w 432"/>
                <a:gd name="T33" fmla="*/ 72 h 432"/>
                <a:gd name="T34" fmla="*/ 378 w 432"/>
                <a:gd name="T35" fmla="*/ 116 h 432"/>
                <a:gd name="T36" fmla="*/ 379 w 432"/>
                <a:gd name="T37" fmla="*/ 172 h 432"/>
                <a:gd name="T38" fmla="*/ 432 w 432"/>
                <a:gd name="T39" fmla="*/ 203 h 432"/>
                <a:gd name="T40" fmla="*/ 401 w 432"/>
                <a:gd name="T41" fmla="*/ 260 h 432"/>
                <a:gd name="T42" fmla="*/ 362 w 432"/>
                <a:gd name="T43" fmla="*/ 300 h 432"/>
                <a:gd name="T44" fmla="*/ 387 w 432"/>
                <a:gd name="T45" fmla="*/ 338 h 432"/>
                <a:gd name="T46" fmla="*/ 360 w 432"/>
                <a:gd name="T47" fmla="*/ 378 h 432"/>
                <a:gd name="T48" fmla="*/ 300 w 432"/>
                <a:gd name="T49" fmla="*/ 362 h 432"/>
                <a:gd name="T50" fmla="*/ 260 w 432"/>
                <a:gd name="T51" fmla="*/ 401 h 432"/>
                <a:gd name="T52" fmla="*/ 131 w 432"/>
                <a:gd name="T53" fmla="*/ 348 h 432"/>
                <a:gd name="T54" fmla="*/ 180 w 432"/>
                <a:gd name="T55" fmla="*/ 368 h 432"/>
                <a:gd name="T56" fmla="*/ 185 w 432"/>
                <a:gd name="T57" fmla="*/ 401 h 432"/>
                <a:gd name="T58" fmla="*/ 229 w 432"/>
                <a:gd name="T59" fmla="*/ 420 h 432"/>
                <a:gd name="T60" fmla="*/ 248 w 432"/>
                <a:gd name="T61" fmla="*/ 374 h 432"/>
                <a:gd name="T62" fmla="*/ 298 w 432"/>
                <a:gd name="T63" fmla="*/ 349 h 432"/>
                <a:gd name="T64" fmla="*/ 325 w 432"/>
                <a:gd name="T65" fmla="*/ 369 h 432"/>
                <a:gd name="T66" fmla="*/ 369 w 432"/>
                <a:gd name="T67" fmla="*/ 351 h 432"/>
                <a:gd name="T68" fmla="*/ 351 w 432"/>
                <a:gd name="T69" fmla="*/ 306 h 432"/>
                <a:gd name="T70" fmla="*/ 349 w 432"/>
                <a:gd name="T71" fmla="*/ 298 h 432"/>
                <a:gd name="T72" fmla="*/ 374 w 432"/>
                <a:gd name="T73" fmla="*/ 247 h 432"/>
                <a:gd name="T74" fmla="*/ 420 w 432"/>
                <a:gd name="T75" fmla="*/ 228 h 432"/>
                <a:gd name="T76" fmla="*/ 401 w 432"/>
                <a:gd name="T77" fmla="*/ 184 h 432"/>
                <a:gd name="T78" fmla="*/ 368 w 432"/>
                <a:gd name="T79" fmla="*/ 180 h 432"/>
                <a:gd name="T80" fmla="*/ 350 w 432"/>
                <a:gd name="T81" fmla="*/ 126 h 432"/>
                <a:gd name="T82" fmla="*/ 369 w 432"/>
                <a:gd name="T83" fmla="*/ 80 h 432"/>
                <a:gd name="T84" fmla="*/ 325 w 432"/>
                <a:gd name="T85" fmla="*/ 63 h 432"/>
                <a:gd name="T86" fmla="*/ 298 w 432"/>
                <a:gd name="T87" fmla="*/ 83 h 432"/>
                <a:gd name="T88" fmla="*/ 248 w 432"/>
                <a:gd name="T89" fmla="*/ 58 h 432"/>
                <a:gd name="T90" fmla="*/ 229 w 432"/>
                <a:gd name="T91" fmla="*/ 12 h 432"/>
                <a:gd name="T92" fmla="*/ 185 w 432"/>
                <a:gd name="T93" fmla="*/ 31 h 432"/>
                <a:gd name="T94" fmla="*/ 180 w 432"/>
                <a:gd name="T95" fmla="*/ 64 h 432"/>
                <a:gd name="T96" fmla="*/ 127 w 432"/>
                <a:gd name="T97" fmla="*/ 82 h 432"/>
                <a:gd name="T98" fmla="*/ 81 w 432"/>
                <a:gd name="T99" fmla="*/ 63 h 432"/>
                <a:gd name="T100" fmla="*/ 57 w 432"/>
                <a:gd name="T101" fmla="*/ 94 h 432"/>
                <a:gd name="T102" fmla="*/ 82 w 432"/>
                <a:gd name="T103" fmla="*/ 126 h 432"/>
                <a:gd name="T104" fmla="*/ 64 w 432"/>
                <a:gd name="T105" fmla="*/ 180 h 432"/>
                <a:gd name="T106" fmla="*/ 31 w 432"/>
                <a:gd name="T107" fmla="*/ 184 h 432"/>
                <a:gd name="T108" fmla="*/ 12 w 432"/>
                <a:gd name="T109" fmla="*/ 228 h 432"/>
                <a:gd name="T110" fmla="*/ 58 w 432"/>
                <a:gd name="T111" fmla="*/ 247 h 432"/>
                <a:gd name="T112" fmla="*/ 83 w 432"/>
                <a:gd name="T113" fmla="*/ 298 h 432"/>
                <a:gd name="T114" fmla="*/ 82 w 432"/>
                <a:gd name="T115" fmla="*/ 306 h 432"/>
                <a:gd name="T116" fmla="*/ 57 w 432"/>
                <a:gd name="T117" fmla="*/ 338 h 432"/>
                <a:gd name="T118" fmla="*/ 81 w 432"/>
                <a:gd name="T119" fmla="*/ 369 h 432"/>
                <a:gd name="T120" fmla="*/ 126 w 432"/>
                <a:gd name="T121" fmla="*/ 350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32" h="432">
                  <a:moveTo>
                    <a:pt x="229" y="432"/>
                  </a:moveTo>
                  <a:cubicBezTo>
                    <a:pt x="204" y="432"/>
                    <a:pt x="204" y="432"/>
                    <a:pt x="204" y="432"/>
                  </a:cubicBezTo>
                  <a:cubicBezTo>
                    <a:pt x="186" y="432"/>
                    <a:pt x="172" y="418"/>
                    <a:pt x="172" y="401"/>
                  </a:cubicBezTo>
                  <a:cubicBezTo>
                    <a:pt x="172" y="379"/>
                    <a:pt x="172" y="379"/>
                    <a:pt x="172" y="379"/>
                  </a:cubicBezTo>
                  <a:cubicBezTo>
                    <a:pt x="158" y="375"/>
                    <a:pt x="145" y="369"/>
                    <a:pt x="132" y="362"/>
                  </a:cubicBezTo>
                  <a:cubicBezTo>
                    <a:pt x="116" y="378"/>
                    <a:pt x="116" y="378"/>
                    <a:pt x="116" y="378"/>
                  </a:cubicBezTo>
                  <a:cubicBezTo>
                    <a:pt x="104" y="390"/>
                    <a:pt x="84" y="390"/>
                    <a:pt x="72" y="378"/>
                  </a:cubicBezTo>
                  <a:cubicBezTo>
                    <a:pt x="54" y="360"/>
                    <a:pt x="54" y="360"/>
                    <a:pt x="54" y="360"/>
                  </a:cubicBezTo>
                  <a:cubicBezTo>
                    <a:pt x="48" y="354"/>
                    <a:pt x="45" y="346"/>
                    <a:pt x="45" y="338"/>
                  </a:cubicBezTo>
                  <a:cubicBezTo>
                    <a:pt x="45" y="329"/>
                    <a:pt x="48" y="322"/>
                    <a:pt x="54" y="316"/>
                  </a:cubicBezTo>
                  <a:cubicBezTo>
                    <a:pt x="70" y="300"/>
                    <a:pt x="70" y="300"/>
                    <a:pt x="70" y="300"/>
                  </a:cubicBezTo>
                  <a:cubicBezTo>
                    <a:pt x="63" y="287"/>
                    <a:pt x="57" y="274"/>
                    <a:pt x="53" y="260"/>
                  </a:cubicBezTo>
                  <a:cubicBezTo>
                    <a:pt x="31" y="260"/>
                    <a:pt x="31" y="260"/>
                    <a:pt x="31" y="260"/>
                  </a:cubicBezTo>
                  <a:cubicBezTo>
                    <a:pt x="14" y="260"/>
                    <a:pt x="0" y="246"/>
                    <a:pt x="0" y="228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0" y="186"/>
                    <a:pt x="14" y="172"/>
                    <a:pt x="31" y="172"/>
                  </a:cubicBezTo>
                  <a:cubicBezTo>
                    <a:pt x="53" y="172"/>
                    <a:pt x="53" y="172"/>
                    <a:pt x="53" y="172"/>
                  </a:cubicBezTo>
                  <a:cubicBezTo>
                    <a:pt x="57" y="158"/>
                    <a:pt x="63" y="144"/>
                    <a:pt x="70" y="132"/>
                  </a:cubicBezTo>
                  <a:cubicBezTo>
                    <a:pt x="54" y="116"/>
                    <a:pt x="54" y="116"/>
                    <a:pt x="54" y="116"/>
                  </a:cubicBezTo>
                  <a:cubicBezTo>
                    <a:pt x="48" y="110"/>
                    <a:pt x="45" y="102"/>
                    <a:pt x="45" y="94"/>
                  </a:cubicBezTo>
                  <a:cubicBezTo>
                    <a:pt x="45" y="85"/>
                    <a:pt x="48" y="78"/>
                    <a:pt x="54" y="72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84" y="42"/>
                    <a:pt x="104" y="42"/>
                    <a:pt x="116" y="54"/>
                  </a:cubicBezTo>
                  <a:cubicBezTo>
                    <a:pt x="132" y="70"/>
                    <a:pt x="132" y="70"/>
                    <a:pt x="132" y="70"/>
                  </a:cubicBezTo>
                  <a:cubicBezTo>
                    <a:pt x="145" y="62"/>
                    <a:pt x="158" y="57"/>
                    <a:pt x="172" y="53"/>
                  </a:cubicBezTo>
                  <a:cubicBezTo>
                    <a:pt x="172" y="31"/>
                    <a:pt x="172" y="31"/>
                    <a:pt x="172" y="31"/>
                  </a:cubicBezTo>
                  <a:cubicBezTo>
                    <a:pt x="172" y="14"/>
                    <a:pt x="186" y="0"/>
                    <a:pt x="204" y="0"/>
                  </a:cubicBezTo>
                  <a:cubicBezTo>
                    <a:pt x="229" y="0"/>
                    <a:pt x="229" y="0"/>
                    <a:pt x="229" y="0"/>
                  </a:cubicBezTo>
                  <a:cubicBezTo>
                    <a:pt x="246" y="0"/>
                    <a:pt x="260" y="14"/>
                    <a:pt x="260" y="31"/>
                  </a:cubicBezTo>
                  <a:cubicBezTo>
                    <a:pt x="260" y="53"/>
                    <a:pt x="260" y="53"/>
                    <a:pt x="260" y="53"/>
                  </a:cubicBezTo>
                  <a:cubicBezTo>
                    <a:pt x="274" y="57"/>
                    <a:pt x="288" y="62"/>
                    <a:pt x="300" y="70"/>
                  </a:cubicBezTo>
                  <a:cubicBezTo>
                    <a:pt x="316" y="54"/>
                    <a:pt x="316" y="54"/>
                    <a:pt x="316" y="54"/>
                  </a:cubicBezTo>
                  <a:cubicBezTo>
                    <a:pt x="328" y="42"/>
                    <a:pt x="348" y="42"/>
                    <a:pt x="360" y="54"/>
                  </a:cubicBezTo>
                  <a:cubicBezTo>
                    <a:pt x="378" y="72"/>
                    <a:pt x="378" y="72"/>
                    <a:pt x="378" y="72"/>
                  </a:cubicBezTo>
                  <a:cubicBezTo>
                    <a:pt x="384" y="78"/>
                    <a:pt x="387" y="85"/>
                    <a:pt x="387" y="94"/>
                  </a:cubicBezTo>
                  <a:cubicBezTo>
                    <a:pt x="387" y="102"/>
                    <a:pt x="384" y="110"/>
                    <a:pt x="378" y="116"/>
                  </a:cubicBezTo>
                  <a:cubicBezTo>
                    <a:pt x="362" y="132"/>
                    <a:pt x="362" y="132"/>
                    <a:pt x="362" y="132"/>
                  </a:cubicBezTo>
                  <a:cubicBezTo>
                    <a:pt x="370" y="144"/>
                    <a:pt x="375" y="158"/>
                    <a:pt x="379" y="172"/>
                  </a:cubicBezTo>
                  <a:cubicBezTo>
                    <a:pt x="401" y="172"/>
                    <a:pt x="401" y="172"/>
                    <a:pt x="401" y="172"/>
                  </a:cubicBezTo>
                  <a:cubicBezTo>
                    <a:pt x="418" y="172"/>
                    <a:pt x="432" y="186"/>
                    <a:pt x="432" y="203"/>
                  </a:cubicBezTo>
                  <a:cubicBezTo>
                    <a:pt x="432" y="228"/>
                    <a:pt x="432" y="228"/>
                    <a:pt x="432" y="228"/>
                  </a:cubicBezTo>
                  <a:cubicBezTo>
                    <a:pt x="432" y="246"/>
                    <a:pt x="418" y="260"/>
                    <a:pt x="401" y="260"/>
                  </a:cubicBezTo>
                  <a:cubicBezTo>
                    <a:pt x="379" y="260"/>
                    <a:pt x="379" y="260"/>
                    <a:pt x="379" y="260"/>
                  </a:cubicBezTo>
                  <a:cubicBezTo>
                    <a:pt x="375" y="274"/>
                    <a:pt x="370" y="287"/>
                    <a:pt x="362" y="300"/>
                  </a:cubicBezTo>
                  <a:cubicBezTo>
                    <a:pt x="378" y="316"/>
                    <a:pt x="378" y="316"/>
                    <a:pt x="378" y="316"/>
                  </a:cubicBezTo>
                  <a:cubicBezTo>
                    <a:pt x="384" y="322"/>
                    <a:pt x="387" y="329"/>
                    <a:pt x="387" y="338"/>
                  </a:cubicBezTo>
                  <a:cubicBezTo>
                    <a:pt x="387" y="346"/>
                    <a:pt x="384" y="354"/>
                    <a:pt x="378" y="360"/>
                  </a:cubicBezTo>
                  <a:cubicBezTo>
                    <a:pt x="360" y="378"/>
                    <a:pt x="360" y="378"/>
                    <a:pt x="360" y="378"/>
                  </a:cubicBezTo>
                  <a:cubicBezTo>
                    <a:pt x="348" y="390"/>
                    <a:pt x="328" y="390"/>
                    <a:pt x="316" y="378"/>
                  </a:cubicBezTo>
                  <a:cubicBezTo>
                    <a:pt x="300" y="362"/>
                    <a:pt x="300" y="362"/>
                    <a:pt x="300" y="362"/>
                  </a:cubicBezTo>
                  <a:cubicBezTo>
                    <a:pt x="288" y="369"/>
                    <a:pt x="274" y="375"/>
                    <a:pt x="260" y="379"/>
                  </a:cubicBezTo>
                  <a:cubicBezTo>
                    <a:pt x="260" y="401"/>
                    <a:pt x="260" y="401"/>
                    <a:pt x="260" y="401"/>
                  </a:cubicBezTo>
                  <a:cubicBezTo>
                    <a:pt x="260" y="418"/>
                    <a:pt x="246" y="432"/>
                    <a:pt x="229" y="432"/>
                  </a:cubicBezTo>
                  <a:close/>
                  <a:moveTo>
                    <a:pt x="131" y="348"/>
                  </a:moveTo>
                  <a:cubicBezTo>
                    <a:pt x="132" y="348"/>
                    <a:pt x="133" y="349"/>
                    <a:pt x="134" y="349"/>
                  </a:cubicBezTo>
                  <a:cubicBezTo>
                    <a:pt x="148" y="358"/>
                    <a:pt x="164" y="364"/>
                    <a:pt x="180" y="368"/>
                  </a:cubicBezTo>
                  <a:cubicBezTo>
                    <a:pt x="183" y="369"/>
                    <a:pt x="185" y="371"/>
                    <a:pt x="185" y="374"/>
                  </a:cubicBezTo>
                  <a:cubicBezTo>
                    <a:pt x="185" y="401"/>
                    <a:pt x="185" y="401"/>
                    <a:pt x="185" y="401"/>
                  </a:cubicBezTo>
                  <a:cubicBezTo>
                    <a:pt x="185" y="411"/>
                    <a:pt x="193" y="420"/>
                    <a:pt x="204" y="420"/>
                  </a:cubicBezTo>
                  <a:cubicBezTo>
                    <a:pt x="229" y="420"/>
                    <a:pt x="229" y="420"/>
                    <a:pt x="229" y="420"/>
                  </a:cubicBezTo>
                  <a:cubicBezTo>
                    <a:pt x="239" y="420"/>
                    <a:pt x="248" y="411"/>
                    <a:pt x="248" y="401"/>
                  </a:cubicBezTo>
                  <a:cubicBezTo>
                    <a:pt x="248" y="374"/>
                    <a:pt x="248" y="374"/>
                    <a:pt x="248" y="374"/>
                  </a:cubicBezTo>
                  <a:cubicBezTo>
                    <a:pt x="248" y="371"/>
                    <a:pt x="250" y="369"/>
                    <a:pt x="252" y="368"/>
                  </a:cubicBezTo>
                  <a:cubicBezTo>
                    <a:pt x="269" y="364"/>
                    <a:pt x="284" y="358"/>
                    <a:pt x="298" y="349"/>
                  </a:cubicBezTo>
                  <a:cubicBezTo>
                    <a:pt x="301" y="348"/>
                    <a:pt x="304" y="348"/>
                    <a:pt x="306" y="350"/>
                  </a:cubicBezTo>
                  <a:cubicBezTo>
                    <a:pt x="325" y="369"/>
                    <a:pt x="325" y="369"/>
                    <a:pt x="325" y="369"/>
                  </a:cubicBezTo>
                  <a:cubicBezTo>
                    <a:pt x="332" y="376"/>
                    <a:pt x="344" y="376"/>
                    <a:pt x="352" y="369"/>
                  </a:cubicBezTo>
                  <a:cubicBezTo>
                    <a:pt x="369" y="351"/>
                    <a:pt x="369" y="351"/>
                    <a:pt x="369" y="351"/>
                  </a:cubicBezTo>
                  <a:cubicBezTo>
                    <a:pt x="377" y="344"/>
                    <a:pt x="377" y="332"/>
                    <a:pt x="369" y="324"/>
                  </a:cubicBezTo>
                  <a:cubicBezTo>
                    <a:pt x="351" y="306"/>
                    <a:pt x="351" y="306"/>
                    <a:pt x="351" y="306"/>
                  </a:cubicBezTo>
                  <a:cubicBezTo>
                    <a:pt x="349" y="304"/>
                    <a:pt x="348" y="302"/>
                    <a:pt x="349" y="299"/>
                  </a:cubicBezTo>
                  <a:cubicBezTo>
                    <a:pt x="349" y="299"/>
                    <a:pt x="349" y="298"/>
                    <a:pt x="349" y="298"/>
                  </a:cubicBezTo>
                  <a:cubicBezTo>
                    <a:pt x="358" y="284"/>
                    <a:pt x="364" y="268"/>
                    <a:pt x="368" y="252"/>
                  </a:cubicBezTo>
                  <a:cubicBezTo>
                    <a:pt x="369" y="249"/>
                    <a:pt x="371" y="247"/>
                    <a:pt x="374" y="247"/>
                  </a:cubicBezTo>
                  <a:cubicBezTo>
                    <a:pt x="401" y="247"/>
                    <a:pt x="401" y="247"/>
                    <a:pt x="401" y="247"/>
                  </a:cubicBezTo>
                  <a:cubicBezTo>
                    <a:pt x="412" y="247"/>
                    <a:pt x="420" y="239"/>
                    <a:pt x="420" y="228"/>
                  </a:cubicBezTo>
                  <a:cubicBezTo>
                    <a:pt x="420" y="203"/>
                    <a:pt x="420" y="203"/>
                    <a:pt x="420" y="203"/>
                  </a:cubicBezTo>
                  <a:cubicBezTo>
                    <a:pt x="420" y="193"/>
                    <a:pt x="412" y="184"/>
                    <a:pt x="401" y="184"/>
                  </a:cubicBezTo>
                  <a:cubicBezTo>
                    <a:pt x="374" y="184"/>
                    <a:pt x="374" y="184"/>
                    <a:pt x="374" y="184"/>
                  </a:cubicBezTo>
                  <a:cubicBezTo>
                    <a:pt x="371" y="184"/>
                    <a:pt x="369" y="182"/>
                    <a:pt x="368" y="180"/>
                  </a:cubicBezTo>
                  <a:cubicBezTo>
                    <a:pt x="364" y="163"/>
                    <a:pt x="358" y="148"/>
                    <a:pt x="349" y="134"/>
                  </a:cubicBezTo>
                  <a:cubicBezTo>
                    <a:pt x="348" y="131"/>
                    <a:pt x="348" y="128"/>
                    <a:pt x="350" y="126"/>
                  </a:cubicBezTo>
                  <a:cubicBezTo>
                    <a:pt x="369" y="107"/>
                    <a:pt x="369" y="107"/>
                    <a:pt x="369" y="107"/>
                  </a:cubicBezTo>
                  <a:cubicBezTo>
                    <a:pt x="377" y="100"/>
                    <a:pt x="377" y="88"/>
                    <a:pt x="369" y="80"/>
                  </a:cubicBezTo>
                  <a:cubicBezTo>
                    <a:pt x="352" y="63"/>
                    <a:pt x="352" y="63"/>
                    <a:pt x="352" y="63"/>
                  </a:cubicBezTo>
                  <a:cubicBezTo>
                    <a:pt x="344" y="55"/>
                    <a:pt x="332" y="55"/>
                    <a:pt x="325" y="63"/>
                  </a:cubicBezTo>
                  <a:cubicBezTo>
                    <a:pt x="306" y="82"/>
                    <a:pt x="306" y="82"/>
                    <a:pt x="306" y="82"/>
                  </a:cubicBezTo>
                  <a:cubicBezTo>
                    <a:pt x="304" y="84"/>
                    <a:pt x="300" y="84"/>
                    <a:pt x="298" y="83"/>
                  </a:cubicBezTo>
                  <a:cubicBezTo>
                    <a:pt x="284" y="74"/>
                    <a:pt x="269" y="68"/>
                    <a:pt x="252" y="64"/>
                  </a:cubicBezTo>
                  <a:cubicBezTo>
                    <a:pt x="250" y="63"/>
                    <a:pt x="248" y="61"/>
                    <a:pt x="248" y="58"/>
                  </a:cubicBezTo>
                  <a:cubicBezTo>
                    <a:pt x="248" y="31"/>
                    <a:pt x="248" y="31"/>
                    <a:pt x="248" y="31"/>
                  </a:cubicBezTo>
                  <a:cubicBezTo>
                    <a:pt x="248" y="20"/>
                    <a:pt x="239" y="12"/>
                    <a:pt x="229" y="12"/>
                  </a:cubicBezTo>
                  <a:cubicBezTo>
                    <a:pt x="204" y="12"/>
                    <a:pt x="204" y="12"/>
                    <a:pt x="204" y="12"/>
                  </a:cubicBezTo>
                  <a:cubicBezTo>
                    <a:pt x="193" y="12"/>
                    <a:pt x="185" y="20"/>
                    <a:pt x="185" y="31"/>
                  </a:cubicBezTo>
                  <a:cubicBezTo>
                    <a:pt x="185" y="58"/>
                    <a:pt x="185" y="58"/>
                    <a:pt x="185" y="58"/>
                  </a:cubicBezTo>
                  <a:cubicBezTo>
                    <a:pt x="185" y="61"/>
                    <a:pt x="183" y="63"/>
                    <a:pt x="180" y="64"/>
                  </a:cubicBezTo>
                  <a:cubicBezTo>
                    <a:pt x="164" y="68"/>
                    <a:pt x="148" y="74"/>
                    <a:pt x="134" y="83"/>
                  </a:cubicBezTo>
                  <a:cubicBezTo>
                    <a:pt x="132" y="84"/>
                    <a:pt x="129" y="84"/>
                    <a:pt x="127" y="82"/>
                  </a:cubicBezTo>
                  <a:cubicBezTo>
                    <a:pt x="108" y="63"/>
                    <a:pt x="108" y="63"/>
                    <a:pt x="108" y="63"/>
                  </a:cubicBezTo>
                  <a:cubicBezTo>
                    <a:pt x="100" y="55"/>
                    <a:pt x="88" y="55"/>
                    <a:pt x="81" y="63"/>
                  </a:cubicBezTo>
                  <a:cubicBezTo>
                    <a:pt x="63" y="80"/>
                    <a:pt x="63" y="80"/>
                    <a:pt x="63" y="80"/>
                  </a:cubicBezTo>
                  <a:cubicBezTo>
                    <a:pt x="59" y="84"/>
                    <a:pt x="57" y="89"/>
                    <a:pt x="57" y="94"/>
                  </a:cubicBezTo>
                  <a:cubicBezTo>
                    <a:pt x="57" y="99"/>
                    <a:pt x="59" y="104"/>
                    <a:pt x="63" y="107"/>
                  </a:cubicBezTo>
                  <a:cubicBezTo>
                    <a:pt x="82" y="126"/>
                    <a:pt x="82" y="126"/>
                    <a:pt x="82" y="126"/>
                  </a:cubicBezTo>
                  <a:cubicBezTo>
                    <a:pt x="84" y="128"/>
                    <a:pt x="84" y="131"/>
                    <a:pt x="83" y="134"/>
                  </a:cubicBezTo>
                  <a:cubicBezTo>
                    <a:pt x="74" y="148"/>
                    <a:pt x="68" y="163"/>
                    <a:pt x="64" y="180"/>
                  </a:cubicBezTo>
                  <a:cubicBezTo>
                    <a:pt x="63" y="182"/>
                    <a:pt x="61" y="184"/>
                    <a:pt x="58" y="184"/>
                  </a:cubicBezTo>
                  <a:cubicBezTo>
                    <a:pt x="31" y="184"/>
                    <a:pt x="31" y="184"/>
                    <a:pt x="31" y="184"/>
                  </a:cubicBezTo>
                  <a:cubicBezTo>
                    <a:pt x="21" y="184"/>
                    <a:pt x="12" y="193"/>
                    <a:pt x="12" y="203"/>
                  </a:cubicBezTo>
                  <a:cubicBezTo>
                    <a:pt x="12" y="228"/>
                    <a:pt x="12" y="228"/>
                    <a:pt x="12" y="228"/>
                  </a:cubicBezTo>
                  <a:cubicBezTo>
                    <a:pt x="12" y="239"/>
                    <a:pt x="21" y="247"/>
                    <a:pt x="31" y="247"/>
                  </a:cubicBezTo>
                  <a:cubicBezTo>
                    <a:pt x="58" y="247"/>
                    <a:pt x="58" y="247"/>
                    <a:pt x="58" y="247"/>
                  </a:cubicBezTo>
                  <a:cubicBezTo>
                    <a:pt x="61" y="247"/>
                    <a:pt x="63" y="249"/>
                    <a:pt x="64" y="252"/>
                  </a:cubicBezTo>
                  <a:cubicBezTo>
                    <a:pt x="68" y="268"/>
                    <a:pt x="74" y="284"/>
                    <a:pt x="83" y="298"/>
                  </a:cubicBezTo>
                  <a:cubicBezTo>
                    <a:pt x="83" y="298"/>
                    <a:pt x="83" y="299"/>
                    <a:pt x="83" y="299"/>
                  </a:cubicBezTo>
                  <a:cubicBezTo>
                    <a:pt x="84" y="302"/>
                    <a:pt x="83" y="304"/>
                    <a:pt x="82" y="306"/>
                  </a:cubicBezTo>
                  <a:cubicBezTo>
                    <a:pt x="63" y="324"/>
                    <a:pt x="63" y="324"/>
                    <a:pt x="63" y="324"/>
                  </a:cubicBezTo>
                  <a:cubicBezTo>
                    <a:pt x="59" y="328"/>
                    <a:pt x="57" y="333"/>
                    <a:pt x="57" y="338"/>
                  </a:cubicBezTo>
                  <a:cubicBezTo>
                    <a:pt x="57" y="343"/>
                    <a:pt x="59" y="348"/>
                    <a:pt x="63" y="351"/>
                  </a:cubicBezTo>
                  <a:cubicBezTo>
                    <a:pt x="81" y="369"/>
                    <a:pt x="81" y="369"/>
                    <a:pt x="81" y="369"/>
                  </a:cubicBezTo>
                  <a:cubicBezTo>
                    <a:pt x="88" y="376"/>
                    <a:pt x="100" y="376"/>
                    <a:pt x="108" y="369"/>
                  </a:cubicBezTo>
                  <a:cubicBezTo>
                    <a:pt x="126" y="350"/>
                    <a:pt x="126" y="350"/>
                    <a:pt x="126" y="350"/>
                  </a:cubicBezTo>
                  <a:cubicBezTo>
                    <a:pt x="127" y="349"/>
                    <a:pt x="129" y="348"/>
                    <a:pt x="131" y="3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508028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3939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85F3412F-B280-C532-ADA5-DD5C78FC2728}"/>
              </a:ext>
            </a:extLst>
          </p:cNvPr>
          <p:cNvGrpSpPr/>
          <p:nvPr/>
        </p:nvGrpSpPr>
        <p:grpSpPr>
          <a:xfrm>
            <a:off x="1941181" y="1262162"/>
            <a:ext cx="700249" cy="694423"/>
            <a:chOff x="9592182" y="1643412"/>
            <a:chExt cx="708145" cy="702253"/>
          </a:xfrm>
        </p:grpSpPr>
        <p:sp>
          <p:nvSpPr>
            <p:cNvPr id="114" name="Freeform 44">
              <a:extLst>
                <a:ext uri="{FF2B5EF4-FFF2-40B4-BE49-F238E27FC236}">
                  <a16:creationId xmlns:a16="http://schemas.microsoft.com/office/drawing/2014/main" id="{45BDA24F-67A7-DB91-AFD7-AF167361937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757415" y="1808647"/>
              <a:ext cx="371778" cy="371781"/>
            </a:xfrm>
            <a:custGeom>
              <a:avLst/>
              <a:gdLst>
                <a:gd name="T0" fmla="*/ 114 w 228"/>
                <a:gd name="T1" fmla="*/ 228 h 228"/>
                <a:gd name="T2" fmla="*/ 0 w 228"/>
                <a:gd name="T3" fmla="*/ 114 h 228"/>
                <a:gd name="T4" fmla="*/ 114 w 228"/>
                <a:gd name="T5" fmla="*/ 0 h 228"/>
                <a:gd name="T6" fmla="*/ 228 w 228"/>
                <a:gd name="T7" fmla="*/ 114 h 228"/>
                <a:gd name="T8" fmla="*/ 114 w 228"/>
                <a:gd name="T9" fmla="*/ 228 h 228"/>
                <a:gd name="T10" fmla="*/ 114 w 228"/>
                <a:gd name="T11" fmla="*/ 12 h 228"/>
                <a:gd name="T12" fmla="*/ 12 w 228"/>
                <a:gd name="T13" fmla="*/ 114 h 228"/>
                <a:gd name="T14" fmla="*/ 114 w 228"/>
                <a:gd name="T15" fmla="*/ 216 h 228"/>
                <a:gd name="T16" fmla="*/ 216 w 228"/>
                <a:gd name="T17" fmla="*/ 114 h 228"/>
                <a:gd name="T18" fmla="*/ 114 w 228"/>
                <a:gd name="T19" fmla="*/ 12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8" h="228">
                  <a:moveTo>
                    <a:pt x="114" y="228"/>
                  </a:moveTo>
                  <a:cubicBezTo>
                    <a:pt x="51" y="228"/>
                    <a:pt x="0" y="177"/>
                    <a:pt x="0" y="114"/>
                  </a:cubicBezTo>
                  <a:cubicBezTo>
                    <a:pt x="0" y="51"/>
                    <a:pt x="51" y="0"/>
                    <a:pt x="114" y="0"/>
                  </a:cubicBezTo>
                  <a:cubicBezTo>
                    <a:pt x="177" y="0"/>
                    <a:pt x="228" y="51"/>
                    <a:pt x="228" y="114"/>
                  </a:cubicBezTo>
                  <a:cubicBezTo>
                    <a:pt x="228" y="177"/>
                    <a:pt x="177" y="228"/>
                    <a:pt x="114" y="228"/>
                  </a:cubicBezTo>
                  <a:close/>
                  <a:moveTo>
                    <a:pt x="114" y="12"/>
                  </a:moveTo>
                  <a:cubicBezTo>
                    <a:pt x="58" y="12"/>
                    <a:pt x="12" y="58"/>
                    <a:pt x="12" y="114"/>
                  </a:cubicBezTo>
                  <a:cubicBezTo>
                    <a:pt x="12" y="170"/>
                    <a:pt x="58" y="216"/>
                    <a:pt x="114" y="216"/>
                  </a:cubicBezTo>
                  <a:cubicBezTo>
                    <a:pt x="170" y="216"/>
                    <a:pt x="216" y="170"/>
                    <a:pt x="216" y="114"/>
                  </a:cubicBezTo>
                  <a:cubicBezTo>
                    <a:pt x="216" y="58"/>
                    <a:pt x="170" y="12"/>
                    <a:pt x="114" y="1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508028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3939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5" name="Freeform 45">
              <a:extLst>
                <a:ext uri="{FF2B5EF4-FFF2-40B4-BE49-F238E27FC236}">
                  <a16:creationId xmlns:a16="http://schemas.microsoft.com/office/drawing/2014/main" id="{6837FBA4-9B83-419D-8789-BBAA24427F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92182" y="1643412"/>
              <a:ext cx="708145" cy="702253"/>
            </a:xfrm>
            <a:custGeom>
              <a:avLst/>
              <a:gdLst>
                <a:gd name="T0" fmla="*/ 204 w 432"/>
                <a:gd name="T1" fmla="*/ 432 h 432"/>
                <a:gd name="T2" fmla="*/ 172 w 432"/>
                <a:gd name="T3" fmla="*/ 379 h 432"/>
                <a:gd name="T4" fmla="*/ 116 w 432"/>
                <a:gd name="T5" fmla="*/ 378 h 432"/>
                <a:gd name="T6" fmla="*/ 54 w 432"/>
                <a:gd name="T7" fmla="*/ 360 h 432"/>
                <a:gd name="T8" fmla="*/ 54 w 432"/>
                <a:gd name="T9" fmla="*/ 316 h 432"/>
                <a:gd name="T10" fmla="*/ 53 w 432"/>
                <a:gd name="T11" fmla="*/ 260 h 432"/>
                <a:gd name="T12" fmla="*/ 0 w 432"/>
                <a:gd name="T13" fmla="*/ 228 h 432"/>
                <a:gd name="T14" fmla="*/ 31 w 432"/>
                <a:gd name="T15" fmla="*/ 172 h 432"/>
                <a:gd name="T16" fmla="*/ 70 w 432"/>
                <a:gd name="T17" fmla="*/ 132 h 432"/>
                <a:gd name="T18" fmla="*/ 45 w 432"/>
                <a:gd name="T19" fmla="*/ 94 h 432"/>
                <a:gd name="T20" fmla="*/ 72 w 432"/>
                <a:gd name="T21" fmla="*/ 54 h 432"/>
                <a:gd name="T22" fmla="*/ 132 w 432"/>
                <a:gd name="T23" fmla="*/ 70 h 432"/>
                <a:gd name="T24" fmla="*/ 172 w 432"/>
                <a:gd name="T25" fmla="*/ 31 h 432"/>
                <a:gd name="T26" fmla="*/ 229 w 432"/>
                <a:gd name="T27" fmla="*/ 0 h 432"/>
                <a:gd name="T28" fmla="*/ 260 w 432"/>
                <a:gd name="T29" fmla="*/ 53 h 432"/>
                <a:gd name="T30" fmla="*/ 316 w 432"/>
                <a:gd name="T31" fmla="*/ 54 h 432"/>
                <a:gd name="T32" fmla="*/ 378 w 432"/>
                <a:gd name="T33" fmla="*/ 72 h 432"/>
                <a:gd name="T34" fmla="*/ 378 w 432"/>
                <a:gd name="T35" fmla="*/ 116 h 432"/>
                <a:gd name="T36" fmla="*/ 379 w 432"/>
                <a:gd name="T37" fmla="*/ 172 h 432"/>
                <a:gd name="T38" fmla="*/ 432 w 432"/>
                <a:gd name="T39" fmla="*/ 203 h 432"/>
                <a:gd name="T40" fmla="*/ 401 w 432"/>
                <a:gd name="T41" fmla="*/ 260 h 432"/>
                <a:gd name="T42" fmla="*/ 362 w 432"/>
                <a:gd name="T43" fmla="*/ 300 h 432"/>
                <a:gd name="T44" fmla="*/ 387 w 432"/>
                <a:gd name="T45" fmla="*/ 338 h 432"/>
                <a:gd name="T46" fmla="*/ 360 w 432"/>
                <a:gd name="T47" fmla="*/ 378 h 432"/>
                <a:gd name="T48" fmla="*/ 300 w 432"/>
                <a:gd name="T49" fmla="*/ 362 h 432"/>
                <a:gd name="T50" fmla="*/ 260 w 432"/>
                <a:gd name="T51" fmla="*/ 401 h 432"/>
                <a:gd name="T52" fmla="*/ 131 w 432"/>
                <a:gd name="T53" fmla="*/ 348 h 432"/>
                <a:gd name="T54" fmla="*/ 180 w 432"/>
                <a:gd name="T55" fmla="*/ 368 h 432"/>
                <a:gd name="T56" fmla="*/ 185 w 432"/>
                <a:gd name="T57" fmla="*/ 401 h 432"/>
                <a:gd name="T58" fmla="*/ 229 w 432"/>
                <a:gd name="T59" fmla="*/ 420 h 432"/>
                <a:gd name="T60" fmla="*/ 248 w 432"/>
                <a:gd name="T61" fmla="*/ 374 h 432"/>
                <a:gd name="T62" fmla="*/ 298 w 432"/>
                <a:gd name="T63" fmla="*/ 349 h 432"/>
                <a:gd name="T64" fmla="*/ 325 w 432"/>
                <a:gd name="T65" fmla="*/ 369 h 432"/>
                <a:gd name="T66" fmla="*/ 369 w 432"/>
                <a:gd name="T67" fmla="*/ 351 h 432"/>
                <a:gd name="T68" fmla="*/ 351 w 432"/>
                <a:gd name="T69" fmla="*/ 306 h 432"/>
                <a:gd name="T70" fmla="*/ 349 w 432"/>
                <a:gd name="T71" fmla="*/ 298 h 432"/>
                <a:gd name="T72" fmla="*/ 374 w 432"/>
                <a:gd name="T73" fmla="*/ 247 h 432"/>
                <a:gd name="T74" fmla="*/ 420 w 432"/>
                <a:gd name="T75" fmla="*/ 228 h 432"/>
                <a:gd name="T76" fmla="*/ 401 w 432"/>
                <a:gd name="T77" fmla="*/ 184 h 432"/>
                <a:gd name="T78" fmla="*/ 368 w 432"/>
                <a:gd name="T79" fmla="*/ 180 h 432"/>
                <a:gd name="T80" fmla="*/ 350 w 432"/>
                <a:gd name="T81" fmla="*/ 126 h 432"/>
                <a:gd name="T82" fmla="*/ 369 w 432"/>
                <a:gd name="T83" fmla="*/ 80 h 432"/>
                <a:gd name="T84" fmla="*/ 325 w 432"/>
                <a:gd name="T85" fmla="*/ 63 h 432"/>
                <a:gd name="T86" fmla="*/ 298 w 432"/>
                <a:gd name="T87" fmla="*/ 83 h 432"/>
                <a:gd name="T88" fmla="*/ 248 w 432"/>
                <a:gd name="T89" fmla="*/ 58 h 432"/>
                <a:gd name="T90" fmla="*/ 229 w 432"/>
                <a:gd name="T91" fmla="*/ 12 h 432"/>
                <a:gd name="T92" fmla="*/ 185 w 432"/>
                <a:gd name="T93" fmla="*/ 31 h 432"/>
                <a:gd name="T94" fmla="*/ 180 w 432"/>
                <a:gd name="T95" fmla="*/ 64 h 432"/>
                <a:gd name="T96" fmla="*/ 127 w 432"/>
                <a:gd name="T97" fmla="*/ 82 h 432"/>
                <a:gd name="T98" fmla="*/ 81 w 432"/>
                <a:gd name="T99" fmla="*/ 63 h 432"/>
                <a:gd name="T100" fmla="*/ 57 w 432"/>
                <a:gd name="T101" fmla="*/ 94 h 432"/>
                <a:gd name="T102" fmla="*/ 82 w 432"/>
                <a:gd name="T103" fmla="*/ 126 h 432"/>
                <a:gd name="T104" fmla="*/ 64 w 432"/>
                <a:gd name="T105" fmla="*/ 180 h 432"/>
                <a:gd name="T106" fmla="*/ 31 w 432"/>
                <a:gd name="T107" fmla="*/ 184 h 432"/>
                <a:gd name="T108" fmla="*/ 12 w 432"/>
                <a:gd name="T109" fmla="*/ 228 h 432"/>
                <a:gd name="T110" fmla="*/ 58 w 432"/>
                <a:gd name="T111" fmla="*/ 247 h 432"/>
                <a:gd name="T112" fmla="*/ 83 w 432"/>
                <a:gd name="T113" fmla="*/ 298 h 432"/>
                <a:gd name="T114" fmla="*/ 82 w 432"/>
                <a:gd name="T115" fmla="*/ 306 h 432"/>
                <a:gd name="T116" fmla="*/ 57 w 432"/>
                <a:gd name="T117" fmla="*/ 338 h 432"/>
                <a:gd name="T118" fmla="*/ 81 w 432"/>
                <a:gd name="T119" fmla="*/ 369 h 432"/>
                <a:gd name="T120" fmla="*/ 126 w 432"/>
                <a:gd name="T121" fmla="*/ 350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32" h="432">
                  <a:moveTo>
                    <a:pt x="229" y="432"/>
                  </a:moveTo>
                  <a:cubicBezTo>
                    <a:pt x="204" y="432"/>
                    <a:pt x="204" y="432"/>
                    <a:pt x="204" y="432"/>
                  </a:cubicBezTo>
                  <a:cubicBezTo>
                    <a:pt x="186" y="432"/>
                    <a:pt x="172" y="418"/>
                    <a:pt x="172" y="401"/>
                  </a:cubicBezTo>
                  <a:cubicBezTo>
                    <a:pt x="172" y="379"/>
                    <a:pt x="172" y="379"/>
                    <a:pt x="172" y="379"/>
                  </a:cubicBezTo>
                  <a:cubicBezTo>
                    <a:pt x="158" y="375"/>
                    <a:pt x="145" y="369"/>
                    <a:pt x="132" y="362"/>
                  </a:cubicBezTo>
                  <a:cubicBezTo>
                    <a:pt x="116" y="378"/>
                    <a:pt x="116" y="378"/>
                    <a:pt x="116" y="378"/>
                  </a:cubicBezTo>
                  <a:cubicBezTo>
                    <a:pt x="104" y="390"/>
                    <a:pt x="84" y="390"/>
                    <a:pt x="72" y="378"/>
                  </a:cubicBezTo>
                  <a:cubicBezTo>
                    <a:pt x="54" y="360"/>
                    <a:pt x="54" y="360"/>
                    <a:pt x="54" y="360"/>
                  </a:cubicBezTo>
                  <a:cubicBezTo>
                    <a:pt x="48" y="354"/>
                    <a:pt x="45" y="346"/>
                    <a:pt x="45" y="338"/>
                  </a:cubicBezTo>
                  <a:cubicBezTo>
                    <a:pt x="45" y="329"/>
                    <a:pt x="48" y="322"/>
                    <a:pt x="54" y="316"/>
                  </a:cubicBezTo>
                  <a:cubicBezTo>
                    <a:pt x="70" y="300"/>
                    <a:pt x="70" y="300"/>
                    <a:pt x="70" y="300"/>
                  </a:cubicBezTo>
                  <a:cubicBezTo>
                    <a:pt x="63" y="287"/>
                    <a:pt x="57" y="274"/>
                    <a:pt x="53" y="260"/>
                  </a:cubicBezTo>
                  <a:cubicBezTo>
                    <a:pt x="31" y="260"/>
                    <a:pt x="31" y="260"/>
                    <a:pt x="31" y="260"/>
                  </a:cubicBezTo>
                  <a:cubicBezTo>
                    <a:pt x="14" y="260"/>
                    <a:pt x="0" y="246"/>
                    <a:pt x="0" y="228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0" y="186"/>
                    <a:pt x="14" y="172"/>
                    <a:pt x="31" y="172"/>
                  </a:cubicBezTo>
                  <a:cubicBezTo>
                    <a:pt x="53" y="172"/>
                    <a:pt x="53" y="172"/>
                    <a:pt x="53" y="172"/>
                  </a:cubicBezTo>
                  <a:cubicBezTo>
                    <a:pt x="57" y="158"/>
                    <a:pt x="63" y="144"/>
                    <a:pt x="70" y="132"/>
                  </a:cubicBezTo>
                  <a:cubicBezTo>
                    <a:pt x="54" y="116"/>
                    <a:pt x="54" y="116"/>
                    <a:pt x="54" y="116"/>
                  </a:cubicBezTo>
                  <a:cubicBezTo>
                    <a:pt x="48" y="110"/>
                    <a:pt x="45" y="102"/>
                    <a:pt x="45" y="94"/>
                  </a:cubicBezTo>
                  <a:cubicBezTo>
                    <a:pt x="45" y="85"/>
                    <a:pt x="48" y="78"/>
                    <a:pt x="54" y="72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84" y="42"/>
                    <a:pt x="104" y="42"/>
                    <a:pt x="116" y="54"/>
                  </a:cubicBezTo>
                  <a:cubicBezTo>
                    <a:pt x="132" y="70"/>
                    <a:pt x="132" y="70"/>
                    <a:pt x="132" y="70"/>
                  </a:cubicBezTo>
                  <a:cubicBezTo>
                    <a:pt x="145" y="62"/>
                    <a:pt x="158" y="57"/>
                    <a:pt x="172" y="53"/>
                  </a:cubicBezTo>
                  <a:cubicBezTo>
                    <a:pt x="172" y="31"/>
                    <a:pt x="172" y="31"/>
                    <a:pt x="172" y="31"/>
                  </a:cubicBezTo>
                  <a:cubicBezTo>
                    <a:pt x="172" y="14"/>
                    <a:pt x="186" y="0"/>
                    <a:pt x="204" y="0"/>
                  </a:cubicBezTo>
                  <a:cubicBezTo>
                    <a:pt x="229" y="0"/>
                    <a:pt x="229" y="0"/>
                    <a:pt x="229" y="0"/>
                  </a:cubicBezTo>
                  <a:cubicBezTo>
                    <a:pt x="246" y="0"/>
                    <a:pt x="260" y="14"/>
                    <a:pt x="260" y="31"/>
                  </a:cubicBezTo>
                  <a:cubicBezTo>
                    <a:pt x="260" y="53"/>
                    <a:pt x="260" y="53"/>
                    <a:pt x="260" y="53"/>
                  </a:cubicBezTo>
                  <a:cubicBezTo>
                    <a:pt x="274" y="57"/>
                    <a:pt x="288" y="62"/>
                    <a:pt x="300" y="70"/>
                  </a:cubicBezTo>
                  <a:cubicBezTo>
                    <a:pt x="316" y="54"/>
                    <a:pt x="316" y="54"/>
                    <a:pt x="316" y="54"/>
                  </a:cubicBezTo>
                  <a:cubicBezTo>
                    <a:pt x="328" y="42"/>
                    <a:pt x="348" y="42"/>
                    <a:pt x="360" y="54"/>
                  </a:cubicBezTo>
                  <a:cubicBezTo>
                    <a:pt x="378" y="72"/>
                    <a:pt x="378" y="72"/>
                    <a:pt x="378" y="72"/>
                  </a:cubicBezTo>
                  <a:cubicBezTo>
                    <a:pt x="384" y="78"/>
                    <a:pt x="387" y="85"/>
                    <a:pt x="387" y="94"/>
                  </a:cubicBezTo>
                  <a:cubicBezTo>
                    <a:pt x="387" y="102"/>
                    <a:pt x="384" y="110"/>
                    <a:pt x="378" y="116"/>
                  </a:cubicBezTo>
                  <a:cubicBezTo>
                    <a:pt x="362" y="132"/>
                    <a:pt x="362" y="132"/>
                    <a:pt x="362" y="132"/>
                  </a:cubicBezTo>
                  <a:cubicBezTo>
                    <a:pt x="370" y="144"/>
                    <a:pt x="375" y="158"/>
                    <a:pt x="379" y="172"/>
                  </a:cubicBezTo>
                  <a:cubicBezTo>
                    <a:pt x="401" y="172"/>
                    <a:pt x="401" y="172"/>
                    <a:pt x="401" y="172"/>
                  </a:cubicBezTo>
                  <a:cubicBezTo>
                    <a:pt x="418" y="172"/>
                    <a:pt x="432" y="186"/>
                    <a:pt x="432" y="203"/>
                  </a:cubicBezTo>
                  <a:cubicBezTo>
                    <a:pt x="432" y="228"/>
                    <a:pt x="432" y="228"/>
                    <a:pt x="432" y="228"/>
                  </a:cubicBezTo>
                  <a:cubicBezTo>
                    <a:pt x="432" y="246"/>
                    <a:pt x="418" y="260"/>
                    <a:pt x="401" y="260"/>
                  </a:cubicBezTo>
                  <a:cubicBezTo>
                    <a:pt x="379" y="260"/>
                    <a:pt x="379" y="260"/>
                    <a:pt x="379" y="260"/>
                  </a:cubicBezTo>
                  <a:cubicBezTo>
                    <a:pt x="375" y="274"/>
                    <a:pt x="370" y="287"/>
                    <a:pt x="362" y="300"/>
                  </a:cubicBezTo>
                  <a:cubicBezTo>
                    <a:pt x="378" y="316"/>
                    <a:pt x="378" y="316"/>
                    <a:pt x="378" y="316"/>
                  </a:cubicBezTo>
                  <a:cubicBezTo>
                    <a:pt x="384" y="322"/>
                    <a:pt x="387" y="329"/>
                    <a:pt x="387" y="338"/>
                  </a:cubicBezTo>
                  <a:cubicBezTo>
                    <a:pt x="387" y="346"/>
                    <a:pt x="384" y="354"/>
                    <a:pt x="378" y="360"/>
                  </a:cubicBezTo>
                  <a:cubicBezTo>
                    <a:pt x="360" y="378"/>
                    <a:pt x="360" y="378"/>
                    <a:pt x="360" y="378"/>
                  </a:cubicBezTo>
                  <a:cubicBezTo>
                    <a:pt x="348" y="390"/>
                    <a:pt x="328" y="390"/>
                    <a:pt x="316" y="378"/>
                  </a:cubicBezTo>
                  <a:cubicBezTo>
                    <a:pt x="300" y="362"/>
                    <a:pt x="300" y="362"/>
                    <a:pt x="300" y="362"/>
                  </a:cubicBezTo>
                  <a:cubicBezTo>
                    <a:pt x="288" y="369"/>
                    <a:pt x="274" y="375"/>
                    <a:pt x="260" y="379"/>
                  </a:cubicBezTo>
                  <a:cubicBezTo>
                    <a:pt x="260" y="401"/>
                    <a:pt x="260" y="401"/>
                    <a:pt x="260" y="401"/>
                  </a:cubicBezTo>
                  <a:cubicBezTo>
                    <a:pt x="260" y="418"/>
                    <a:pt x="246" y="432"/>
                    <a:pt x="229" y="432"/>
                  </a:cubicBezTo>
                  <a:close/>
                  <a:moveTo>
                    <a:pt x="131" y="348"/>
                  </a:moveTo>
                  <a:cubicBezTo>
                    <a:pt x="132" y="348"/>
                    <a:pt x="133" y="349"/>
                    <a:pt x="134" y="349"/>
                  </a:cubicBezTo>
                  <a:cubicBezTo>
                    <a:pt x="148" y="358"/>
                    <a:pt x="164" y="364"/>
                    <a:pt x="180" y="368"/>
                  </a:cubicBezTo>
                  <a:cubicBezTo>
                    <a:pt x="183" y="369"/>
                    <a:pt x="185" y="371"/>
                    <a:pt x="185" y="374"/>
                  </a:cubicBezTo>
                  <a:cubicBezTo>
                    <a:pt x="185" y="401"/>
                    <a:pt x="185" y="401"/>
                    <a:pt x="185" y="401"/>
                  </a:cubicBezTo>
                  <a:cubicBezTo>
                    <a:pt x="185" y="411"/>
                    <a:pt x="193" y="420"/>
                    <a:pt x="204" y="420"/>
                  </a:cubicBezTo>
                  <a:cubicBezTo>
                    <a:pt x="229" y="420"/>
                    <a:pt x="229" y="420"/>
                    <a:pt x="229" y="420"/>
                  </a:cubicBezTo>
                  <a:cubicBezTo>
                    <a:pt x="239" y="420"/>
                    <a:pt x="248" y="411"/>
                    <a:pt x="248" y="401"/>
                  </a:cubicBezTo>
                  <a:cubicBezTo>
                    <a:pt x="248" y="374"/>
                    <a:pt x="248" y="374"/>
                    <a:pt x="248" y="374"/>
                  </a:cubicBezTo>
                  <a:cubicBezTo>
                    <a:pt x="248" y="371"/>
                    <a:pt x="250" y="369"/>
                    <a:pt x="252" y="368"/>
                  </a:cubicBezTo>
                  <a:cubicBezTo>
                    <a:pt x="269" y="364"/>
                    <a:pt x="284" y="358"/>
                    <a:pt x="298" y="349"/>
                  </a:cubicBezTo>
                  <a:cubicBezTo>
                    <a:pt x="301" y="348"/>
                    <a:pt x="304" y="348"/>
                    <a:pt x="306" y="350"/>
                  </a:cubicBezTo>
                  <a:cubicBezTo>
                    <a:pt x="325" y="369"/>
                    <a:pt x="325" y="369"/>
                    <a:pt x="325" y="369"/>
                  </a:cubicBezTo>
                  <a:cubicBezTo>
                    <a:pt x="332" y="376"/>
                    <a:pt x="344" y="376"/>
                    <a:pt x="352" y="369"/>
                  </a:cubicBezTo>
                  <a:cubicBezTo>
                    <a:pt x="369" y="351"/>
                    <a:pt x="369" y="351"/>
                    <a:pt x="369" y="351"/>
                  </a:cubicBezTo>
                  <a:cubicBezTo>
                    <a:pt x="377" y="344"/>
                    <a:pt x="377" y="332"/>
                    <a:pt x="369" y="324"/>
                  </a:cubicBezTo>
                  <a:cubicBezTo>
                    <a:pt x="351" y="306"/>
                    <a:pt x="351" y="306"/>
                    <a:pt x="351" y="306"/>
                  </a:cubicBezTo>
                  <a:cubicBezTo>
                    <a:pt x="349" y="304"/>
                    <a:pt x="348" y="302"/>
                    <a:pt x="349" y="299"/>
                  </a:cubicBezTo>
                  <a:cubicBezTo>
                    <a:pt x="349" y="299"/>
                    <a:pt x="349" y="298"/>
                    <a:pt x="349" y="298"/>
                  </a:cubicBezTo>
                  <a:cubicBezTo>
                    <a:pt x="358" y="284"/>
                    <a:pt x="364" y="268"/>
                    <a:pt x="368" y="252"/>
                  </a:cubicBezTo>
                  <a:cubicBezTo>
                    <a:pt x="369" y="249"/>
                    <a:pt x="371" y="247"/>
                    <a:pt x="374" y="247"/>
                  </a:cubicBezTo>
                  <a:cubicBezTo>
                    <a:pt x="401" y="247"/>
                    <a:pt x="401" y="247"/>
                    <a:pt x="401" y="247"/>
                  </a:cubicBezTo>
                  <a:cubicBezTo>
                    <a:pt x="412" y="247"/>
                    <a:pt x="420" y="239"/>
                    <a:pt x="420" y="228"/>
                  </a:cubicBezTo>
                  <a:cubicBezTo>
                    <a:pt x="420" y="203"/>
                    <a:pt x="420" y="203"/>
                    <a:pt x="420" y="203"/>
                  </a:cubicBezTo>
                  <a:cubicBezTo>
                    <a:pt x="420" y="193"/>
                    <a:pt x="412" y="184"/>
                    <a:pt x="401" y="184"/>
                  </a:cubicBezTo>
                  <a:cubicBezTo>
                    <a:pt x="374" y="184"/>
                    <a:pt x="374" y="184"/>
                    <a:pt x="374" y="184"/>
                  </a:cubicBezTo>
                  <a:cubicBezTo>
                    <a:pt x="371" y="184"/>
                    <a:pt x="369" y="182"/>
                    <a:pt x="368" y="180"/>
                  </a:cubicBezTo>
                  <a:cubicBezTo>
                    <a:pt x="364" y="163"/>
                    <a:pt x="358" y="148"/>
                    <a:pt x="349" y="134"/>
                  </a:cubicBezTo>
                  <a:cubicBezTo>
                    <a:pt x="348" y="131"/>
                    <a:pt x="348" y="128"/>
                    <a:pt x="350" y="126"/>
                  </a:cubicBezTo>
                  <a:cubicBezTo>
                    <a:pt x="369" y="107"/>
                    <a:pt x="369" y="107"/>
                    <a:pt x="369" y="107"/>
                  </a:cubicBezTo>
                  <a:cubicBezTo>
                    <a:pt x="377" y="100"/>
                    <a:pt x="377" y="88"/>
                    <a:pt x="369" y="80"/>
                  </a:cubicBezTo>
                  <a:cubicBezTo>
                    <a:pt x="352" y="63"/>
                    <a:pt x="352" y="63"/>
                    <a:pt x="352" y="63"/>
                  </a:cubicBezTo>
                  <a:cubicBezTo>
                    <a:pt x="344" y="55"/>
                    <a:pt x="332" y="55"/>
                    <a:pt x="325" y="63"/>
                  </a:cubicBezTo>
                  <a:cubicBezTo>
                    <a:pt x="306" y="82"/>
                    <a:pt x="306" y="82"/>
                    <a:pt x="306" y="82"/>
                  </a:cubicBezTo>
                  <a:cubicBezTo>
                    <a:pt x="304" y="84"/>
                    <a:pt x="300" y="84"/>
                    <a:pt x="298" y="83"/>
                  </a:cubicBezTo>
                  <a:cubicBezTo>
                    <a:pt x="284" y="74"/>
                    <a:pt x="269" y="68"/>
                    <a:pt x="252" y="64"/>
                  </a:cubicBezTo>
                  <a:cubicBezTo>
                    <a:pt x="250" y="63"/>
                    <a:pt x="248" y="61"/>
                    <a:pt x="248" y="58"/>
                  </a:cubicBezTo>
                  <a:cubicBezTo>
                    <a:pt x="248" y="31"/>
                    <a:pt x="248" y="31"/>
                    <a:pt x="248" y="31"/>
                  </a:cubicBezTo>
                  <a:cubicBezTo>
                    <a:pt x="248" y="20"/>
                    <a:pt x="239" y="12"/>
                    <a:pt x="229" y="12"/>
                  </a:cubicBezTo>
                  <a:cubicBezTo>
                    <a:pt x="204" y="12"/>
                    <a:pt x="204" y="12"/>
                    <a:pt x="204" y="12"/>
                  </a:cubicBezTo>
                  <a:cubicBezTo>
                    <a:pt x="193" y="12"/>
                    <a:pt x="185" y="20"/>
                    <a:pt x="185" y="31"/>
                  </a:cubicBezTo>
                  <a:cubicBezTo>
                    <a:pt x="185" y="58"/>
                    <a:pt x="185" y="58"/>
                    <a:pt x="185" y="58"/>
                  </a:cubicBezTo>
                  <a:cubicBezTo>
                    <a:pt x="185" y="61"/>
                    <a:pt x="183" y="63"/>
                    <a:pt x="180" y="64"/>
                  </a:cubicBezTo>
                  <a:cubicBezTo>
                    <a:pt x="164" y="68"/>
                    <a:pt x="148" y="74"/>
                    <a:pt x="134" y="83"/>
                  </a:cubicBezTo>
                  <a:cubicBezTo>
                    <a:pt x="132" y="84"/>
                    <a:pt x="129" y="84"/>
                    <a:pt x="127" y="82"/>
                  </a:cubicBezTo>
                  <a:cubicBezTo>
                    <a:pt x="108" y="63"/>
                    <a:pt x="108" y="63"/>
                    <a:pt x="108" y="63"/>
                  </a:cubicBezTo>
                  <a:cubicBezTo>
                    <a:pt x="100" y="55"/>
                    <a:pt x="88" y="55"/>
                    <a:pt x="81" y="63"/>
                  </a:cubicBezTo>
                  <a:cubicBezTo>
                    <a:pt x="63" y="80"/>
                    <a:pt x="63" y="80"/>
                    <a:pt x="63" y="80"/>
                  </a:cubicBezTo>
                  <a:cubicBezTo>
                    <a:pt x="59" y="84"/>
                    <a:pt x="57" y="89"/>
                    <a:pt x="57" y="94"/>
                  </a:cubicBezTo>
                  <a:cubicBezTo>
                    <a:pt x="57" y="99"/>
                    <a:pt x="59" y="104"/>
                    <a:pt x="63" y="107"/>
                  </a:cubicBezTo>
                  <a:cubicBezTo>
                    <a:pt x="82" y="126"/>
                    <a:pt x="82" y="126"/>
                    <a:pt x="82" y="126"/>
                  </a:cubicBezTo>
                  <a:cubicBezTo>
                    <a:pt x="84" y="128"/>
                    <a:pt x="84" y="131"/>
                    <a:pt x="83" y="134"/>
                  </a:cubicBezTo>
                  <a:cubicBezTo>
                    <a:pt x="74" y="148"/>
                    <a:pt x="68" y="163"/>
                    <a:pt x="64" y="180"/>
                  </a:cubicBezTo>
                  <a:cubicBezTo>
                    <a:pt x="63" y="182"/>
                    <a:pt x="61" y="184"/>
                    <a:pt x="58" y="184"/>
                  </a:cubicBezTo>
                  <a:cubicBezTo>
                    <a:pt x="31" y="184"/>
                    <a:pt x="31" y="184"/>
                    <a:pt x="31" y="184"/>
                  </a:cubicBezTo>
                  <a:cubicBezTo>
                    <a:pt x="21" y="184"/>
                    <a:pt x="12" y="193"/>
                    <a:pt x="12" y="203"/>
                  </a:cubicBezTo>
                  <a:cubicBezTo>
                    <a:pt x="12" y="228"/>
                    <a:pt x="12" y="228"/>
                    <a:pt x="12" y="228"/>
                  </a:cubicBezTo>
                  <a:cubicBezTo>
                    <a:pt x="12" y="239"/>
                    <a:pt x="21" y="247"/>
                    <a:pt x="31" y="247"/>
                  </a:cubicBezTo>
                  <a:cubicBezTo>
                    <a:pt x="58" y="247"/>
                    <a:pt x="58" y="247"/>
                    <a:pt x="58" y="247"/>
                  </a:cubicBezTo>
                  <a:cubicBezTo>
                    <a:pt x="61" y="247"/>
                    <a:pt x="63" y="249"/>
                    <a:pt x="64" y="252"/>
                  </a:cubicBezTo>
                  <a:cubicBezTo>
                    <a:pt x="68" y="268"/>
                    <a:pt x="74" y="284"/>
                    <a:pt x="83" y="298"/>
                  </a:cubicBezTo>
                  <a:cubicBezTo>
                    <a:pt x="83" y="298"/>
                    <a:pt x="83" y="299"/>
                    <a:pt x="83" y="299"/>
                  </a:cubicBezTo>
                  <a:cubicBezTo>
                    <a:pt x="84" y="302"/>
                    <a:pt x="83" y="304"/>
                    <a:pt x="82" y="306"/>
                  </a:cubicBezTo>
                  <a:cubicBezTo>
                    <a:pt x="63" y="324"/>
                    <a:pt x="63" y="324"/>
                    <a:pt x="63" y="324"/>
                  </a:cubicBezTo>
                  <a:cubicBezTo>
                    <a:pt x="59" y="328"/>
                    <a:pt x="57" y="333"/>
                    <a:pt x="57" y="338"/>
                  </a:cubicBezTo>
                  <a:cubicBezTo>
                    <a:pt x="57" y="343"/>
                    <a:pt x="59" y="348"/>
                    <a:pt x="63" y="351"/>
                  </a:cubicBezTo>
                  <a:cubicBezTo>
                    <a:pt x="81" y="369"/>
                    <a:pt x="81" y="369"/>
                    <a:pt x="81" y="369"/>
                  </a:cubicBezTo>
                  <a:cubicBezTo>
                    <a:pt x="88" y="376"/>
                    <a:pt x="100" y="376"/>
                    <a:pt x="108" y="369"/>
                  </a:cubicBezTo>
                  <a:cubicBezTo>
                    <a:pt x="126" y="350"/>
                    <a:pt x="126" y="350"/>
                    <a:pt x="126" y="350"/>
                  </a:cubicBezTo>
                  <a:cubicBezTo>
                    <a:pt x="127" y="349"/>
                    <a:pt x="129" y="348"/>
                    <a:pt x="131" y="3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508028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3939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69691606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2470E0-0851-0A59-EC42-3532BDFD01B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CBF16972-408C-8AAF-A59D-D51BC43AB2E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F16972-408C-8AAF-A59D-D51BC43AB2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013AC50-ECCD-6914-4353-1D554822DC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30-60-90 Plan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6471C073-DF33-D743-44FE-FAA85D7539A2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74</a:t>
            </a:fld>
            <a:endParaRPr lang="en-US" sz="1200" dirty="0">
              <a:solidFill>
                <a:schemeClr val="bg1"/>
              </a:solidFill>
            </a:endParaRPr>
          </a:p>
        </p:txBody>
      </p:sp>
      <p:cxnSp>
        <p:nvCxnSpPr>
          <p:cNvPr id="5" name="Shape0_20220526_222950">
            <a:extLst>
              <a:ext uri="{FF2B5EF4-FFF2-40B4-BE49-F238E27FC236}">
                <a16:creationId xmlns:a16="http://schemas.microsoft.com/office/drawing/2014/main" id="{170A91B8-0197-FB24-DF82-5CB63D47DDD3}"/>
              </a:ext>
            </a:extLst>
          </p:cNvPr>
          <p:cNvCxnSpPr/>
          <p:nvPr/>
        </p:nvCxnSpPr>
        <p:spPr>
          <a:xfrm>
            <a:off x="6334410" y="2863863"/>
            <a:ext cx="0" cy="2855786"/>
          </a:xfrm>
          <a:prstGeom prst="straightConnector1">
            <a:avLst/>
          </a:prstGeom>
          <a:noFill/>
          <a:ln w="9525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6" name="Shape1_20220526_222950">
            <a:extLst>
              <a:ext uri="{FF2B5EF4-FFF2-40B4-BE49-F238E27FC236}">
                <a16:creationId xmlns:a16="http://schemas.microsoft.com/office/drawing/2014/main" id="{FC3AE197-F33E-B625-9971-2C719239DEAD}"/>
              </a:ext>
            </a:extLst>
          </p:cNvPr>
          <p:cNvCxnSpPr/>
          <p:nvPr/>
        </p:nvCxnSpPr>
        <p:spPr>
          <a:xfrm>
            <a:off x="9038451" y="2863863"/>
            <a:ext cx="0" cy="2855786"/>
          </a:xfrm>
          <a:prstGeom prst="straightConnector1">
            <a:avLst/>
          </a:prstGeom>
          <a:noFill/>
          <a:ln w="9525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" name="Google Shape;547;p17">
            <a:extLst>
              <a:ext uri="{FF2B5EF4-FFF2-40B4-BE49-F238E27FC236}">
                <a16:creationId xmlns:a16="http://schemas.microsoft.com/office/drawing/2014/main" id="{DCE1BF80-066A-7F16-97F8-73E3828DE6BF}"/>
              </a:ext>
            </a:extLst>
          </p:cNvPr>
          <p:cNvSpPr/>
          <p:nvPr/>
        </p:nvSpPr>
        <p:spPr>
          <a:xfrm flipH="1">
            <a:off x="6622851" y="2833610"/>
            <a:ext cx="2127171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sz="2000" dirty="0"/>
              <a:t>Insert Text Here</a:t>
            </a:r>
            <a:endParaRPr sz="2000" dirty="0"/>
          </a:p>
        </p:txBody>
      </p:sp>
      <p:sp>
        <p:nvSpPr>
          <p:cNvPr id="8" name="Google Shape;553;p17">
            <a:extLst>
              <a:ext uri="{FF2B5EF4-FFF2-40B4-BE49-F238E27FC236}">
                <a16:creationId xmlns:a16="http://schemas.microsoft.com/office/drawing/2014/main" id="{706C6CA5-2E77-7065-5ACC-7355AB70B9D3}"/>
              </a:ext>
            </a:extLst>
          </p:cNvPr>
          <p:cNvSpPr/>
          <p:nvPr/>
        </p:nvSpPr>
        <p:spPr>
          <a:xfrm>
            <a:off x="6952375" y="1154340"/>
            <a:ext cx="1470129" cy="1470129"/>
          </a:xfrm>
          <a:prstGeom prst="ellipse">
            <a:avLst/>
          </a:prstGeom>
          <a:noFill/>
          <a:ln w="12700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3200" dirty="0">
              <a:solidFill>
                <a:srgbClr val="FFFFFF"/>
              </a:solidFill>
              <a:cs typeface="Arial" panose="020B0604020202020204" pitchFamily="34" charset="0"/>
              <a:sym typeface="Century Gothic"/>
            </a:endParaRPr>
          </a:p>
        </p:txBody>
      </p:sp>
      <p:sp>
        <p:nvSpPr>
          <p:cNvPr id="9" name="Google Shape;554;p17">
            <a:extLst>
              <a:ext uri="{FF2B5EF4-FFF2-40B4-BE49-F238E27FC236}">
                <a16:creationId xmlns:a16="http://schemas.microsoft.com/office/drawing/2014/main" id="{AE6D7F76-E6AF-EE38-F13B-2208603BB38A}"/>
              </a:ext>
            </a:extLst>
          </p:cNvPr>
          <p:cNvSpPr/>
          <p:nvPr/>
        </p:nvSpPr>
        <p:spPr>
          <a:xfrm>
            <a:off x="6950357" y="1154837"/>
            <a:ext cx="1472146" cy="1472146"/>
          </a:xfrm>
          <a:prstGeom prst="arc">
            <a:avLst>
              <a:gd name="adj1" fmla="val 16699520"/>
              <a:gd name="adj2" fmla="val 7288241"/>
            </a:avLst>
          </a:prstGeom>
          <a:noFill/>
          <a:ln w="76200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3200" dirty="0">
              <a:ea typeface="Century Gothic"/>
              <a:cs typeface="Arial" panose="020B0604020202020204" pitchFamily="34" charset="0"/>
              <a:sym typeface="Century Gothic"/>
            </a:endParaRPr>
          </a:p>
        </p:txBody>
      </p:sp>
      <p:sp>
        <p:nvSpPr>
          <p:cNvPr id="10" name="Google Shape;559;p17">
            <a:extLst>
              <a:ext uri="{FF2B5EF4-FFF2-40B4-BE49-F238E27FC236}">
                <a16:creationId xmlns:a16="http://schemas.microsoft.com/office/drawing/2014/main" id="{FAD040D7-F924-8416-72FF-043D55D30786}"/>
              </a:ext>
            </a:extLst>
          </p:cNvPr>
          <p:cNvSpPr txBox="1"/>
          <p:nvPr/>
        </p:nvSpPr>
        <p:spPr>
          <a:xfrm>
            <a:off x="7056379" y="1988384"/>
            <a:ext cx="1260105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sz="2000" b="1" dirty="0"/>
              <a:t>60 DAY</a:t>
            </a:r>
            <a:endParaRPr sz="2000" dirty="0"/>
          </a:p>
        </p:txBody>
      </p:sp>
      <p:sp>
        <p:nvSpPr>
          <p:cNvPr id="11" name="Google Shape;548;p17">
            <a:extLst>
              <a:ext uri="{FF2B5EF4-FFF2-40B4-BE49-F238E27FC236}">
                <a16:creationId xmlns:a16="http://schemas.microsoft.com/office/drawing/2014/main" id="{3D82A530-AE3F-6B0A-16C8-2B3DF39FC233}"/>
              </a:ext>
            </a:extLst>
          </p:cNvPr>
          <p:cNvSpPr/>
          <p:nvPr/>
        </p:nvSpPr>
        <p:spPr>
          <a:xfrm flipH="1">
            <a:off x="9326892" y="2833610"/>
            <a:ext cx="2127171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sz="2000" dirty="0"/>
              <a:t>Insert Text Here</a:t>
            </a:r>
            <a:endParaRPr sz="2000" dirty="0"/>
          </a:p>
        </p:txBody>
      </p:sp>
      <p:sp>
        <p:nvSpPr>
          <p:cNvPr id="12" name="Google Shape;556;p17">
            <a:extLst>
              <a:ext uri="{FF2B5EF4-FFF2-40B4-BE49-F238E27FC236}">
                <a16:creationId xmlns:a16="http://schemas.microsoft.com/office/drawing/2014/main" id="{F558DF44-BB69-5940-93A7-8BF4914E442B}"/>
              </a:ext>
            </a:extLst>
          </p:cNvPr>
          <p:cNvSpPr/>
          <p:nvPr/>
        </p:nvSpPr>
        <p:spPr>
          <a:xfrm>
            <a:off x="9656417" y="1154340"/>
            <a:ext cx="1470129" cy="1470129"/>
          </a:xfrm>
          <a:prstGeom prst="ellipse">
            <a:avLst/>
          </a:prstGeom>
          <a:noFill/>
          <a:ln w="12700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3200" dirty="0">
              <a:solidFill>
                <a:srgbClr val="FFFFFF"/>
              </a:solidFill>
              <a:cs typeface="Arial" panose="020B0604020202020204" pitchFamily="34" charset="0"/>
              <a:sym typeface="Century Gothic"/>
            </a:endParaRPr>
          </a:p>
        </p:txBody>
      </p:sp>
      <p:sp>
        <p:nvSpPr>
          <p:cNvPr id="13" name="Google Shape;557;p17">
            <a:extLst>
              <a:ext uri="{FF2B5EF4-FFF2-40B4-BE49-F238E27FC236}">
                <a16:creationId xmlns:a16="http://schemas.microsoft.com/office/drawing/2014/main" id="{CCBB9D68-3A28-DB11-6DA7-8283C75CCD13}"/>
              </a:ext>
            </a:extLst>
          </p:cNvPr>
          <p:cNvSpPr/>
          <p:nvPr/>
        </p:nvSpPr>
        <p:spPr>
          <a:xfrm>
            <a:off x="9654401" y="1154837"/>
            <a:ext cx="1472146" cy="1472146"/>
          </a:xfrm>
          <a:prstGeom prst="arc">
            <a:avLst>
              <a:gd name="adj1" fmla="val 16699520"/>
              <a:gd name="adj2" fmla="val 14680637"/>
            </a:avLst>
          </a:prstGeom>
          <a:noFill/>
          <a:ln w="7620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3200" dirty="0">
              <a:ea typeface="Century Gothic"/>
              <a:cs typeface="Arial" panose="020B0604020202020204" pitchFamily="34" charset="0"/>
              <a:sym typeface="Century Gothic"/>
            </a:endParaRPr>
          </a:p>
        </p:txBody>
      </p:sp>
      <p:sp>
        <p:nvSpPr>
          <p:cNvPr id="14" name="Google Shape;560;p17">
            <a:extLst>
              <a:ext uri="{FF2B5EF4-FFF2-40B4-BE49-F238E27FC236}">
                <a16:creationId xmlns:a16="http://schemas.microsoft.com/office/drawing/2014/main" id="{9ACD6470-681D-5163-6E0A-633E20E40885}"/>
              </a:ext>
            </a:extLst>
          </p:cNvPr>
          <p:cNvSpPr txBox="1"/>
          <p:nvPr/>
        </p:nvSpPr>
        <p:spPr>
          <a:xfrm>
            <a:off x="9760421" y="1988384"/>
            <a:ext cx="1260105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sz="2000" b="1" dirty="0"/>
              <a:t>90 DAY</a:t>
            </a:r>
            <a:endParaRPr sz="2000" dirty="0"/>
          </a:p>
        </p:txBody>
      </p:sp>
      <p:sp>
        <p:nvSpPr>
          <p:cNvPr id="15" name="Google Shape;546;p17">
            <a:extLst>
              <a:ext uri="{FF2B5EF4-FFF2-40B4-BE49-F238E27FC236}">
                <a16:creationId xmlns:a16="http://schemas.microsoft.com/office/drawing/2014/main" id="{8CA6C955-7B5C-E862-9147-3A960F8C9197}"/>
              </a:ext>
            </a:extLst>
          </p:cNvPr>
          <p:cNvSpPr/>
          <p:nvPr/>
        </p:nvSpPr>
        <p:spPr>
          <a:xfrm flipH="1">
            <a:off x="3918809" y="2833610"/>
            <a:ext cx="2127171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sz="2000" dirty="0"/>
              <a:t>Insert Text Here</a:t>
            </a:r>
            <a:endParaRPr sz="2000" dirty="0"/>
          </a:p>
        </p:txBody>
      </p:sp>
      <p:sp>
        <p:nvSpPr>
          <p:cNvPr id="16" name="Google Shape;550;p17">
            <a:extLst>
              <a:ext uri="{FF2B5EF4-FFF2-40B4-BE49-F238E27FC236}">
                <a16:creationId xmlns:a16="http://schemas.microsoft.com/office/drawing/2014/main" id="{010B82C7-4863-E4FF-9666-7763B89A088E}"/>
              </a:ext>
            </a:extLst>
          </p:cNvPr>
          <p:cNvSpPr/>
          <p:nvPr/>
        </p:nvSpPr>
        <p:spPr>
          <a:xfrm>
            <a:off x="4248334" y="1154340"/>
            <a:ext cx="1470129" cy="1470129"/>
          </a:xfrm>
          <a:prstGeom prst="ellipse">
            <a:avLst/>
          </a:prstGeom>
          <a:noFill/>
          <a:ln w="12700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3200" dirty="0">
              <a:solidFill>
                <a:srgbClr val="FFFFFF"/>
              </a:solidFill>
              <a:ea typeface="Century Gothic"/>
              <a:cs typeface="Arial" panose="020B0604020202020204" pitchFamily="34" charset="0"/>
              <a:sym typeface="Century Gothic"/>
            </a:endParaRPr>
          </a:p>
        </p:txBody>
      </p:sp>
      <p:sp>
        <p:nvSpPr>
          <p:cNvPr id="17" name="Google Shape;551;p17">
            <a:extLst>
              <a:ext uri="{FF2B5EF4-FFF2-40B4-BE49-F238E27FC236}">
                <a16:creationId xmlns:a16="http://schemas.microsoft.com/office/drawing/2014/main" id="{38A38A77-BF72-7040-5E6B-6C2DD9AA7006}"/>
              </a:ext>
            </a:extLst>
          </p:cNvPr>
          <p:cNvSpPr/>
          <p:nvPr/>
        </p:nvSpPr>
        <p:spPr>
          <a:xfrm>
            <a:off x="4246317" y="1154837"/>
            <a:ext cx="1472146" cy="1472146"/>
          </a:xfrm>
          <a:prstGeom prst="arc">
            <a:avLst>
              <a:gd name="adj1" fmla="val 16699520"/>
              <a:gd name="adj2" fmla="val 964185"/>
            </a:avLst>
          </a:prstGeom>
          <a:noFill/>
          <a:ln w="762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3200" dirty="0">
              <a:ea typeface="Century Gothic"/>
              <a:cs typeface="Arial" panose="020B0604020202020204" pitchFamily="34" charset="0"/>
              <a:sym typeface="Century Gothic"/>
            </a:endParaRPr>
          </a:p>
        </p:txBody>
      </p:sp>
      <p:sp>
        <p:nvSpPr>
          <p:cNvPr id="18" name="Google Shape;558;p17">
            <a:extLst>
              <a:ext uri="{FF2B5EF4-FFF2-40B4-BE49-F238E27FC236}">
                <a16:creationId xmlns:a16="http://schemas.microsoft.com/office/drawing/2014/main" id="{4CD5D770-1F59-912C-C0CE-BC7F20F316B4}"/>
              </a:ext>
            </a:extLst>
          </p:cNvPr>
          <p:cNvSpPr txBox="1"/>
          <p:nvPr/>
        </p:nvSpPr>
        <p:spPr>
          <a:xfrm>
            <a:off x="4352338" y="1988384"/>
            <a:ext cx="1260105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sz="2000" b="1" dirty="0"/>
              <a:t>30 DAY</a:t>
            </a:r>
            <a:endParaRPr sz="2000" dirty="0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DE5880E5-FC59-2C3E-F17A-9E073DD3BC55}"/>
              </a:ext>
            </a:extLst>
          </p:cNvPr>
          <p:cNvGrpSpPr/>
          <p:nvPr/>
        </p:nvGrpSpPr>
        <p:grpSpPr>
          <a:xfrm>
            <a:off x="10224533" y="1437474"/>
            <a:ext cx="331880" cy="329118"/>
            <a:chOff x="10255012" y="1748700"/>
            <a:chExt cx="332937" cy="330167"/>
          </a:xfrm>
          <a:solidFill>
            <a:schemeClr val="accent1"/>
          </a:solidFill>
        </p:grpSpPr>
        <p:sp>
          <p:nvSpPr>
            <p:cNvPr id="24" name="Freeform 44">
              <a:extLst>
                <a:ext uri="{FF2B5EF4-FFF2-40B4-BE49-F238E27FC236}">
                  <a16:creationId xmlns:a16="http://schemas.microsoft.com/office/drawing/2014/main" id="{60665585-6C2C-A088-074D-F077FBEA6B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32697" y="1826387"/>
              <a:ext cx="174793" cy="174794"/>
            </a:xfrm>
            <a:custGeom>
              <a:avLst/>
              <a:gdLst>
                <a:gd name="T0" fmla="*/ 114 w 228"/>
                <a:gd name="T1" fmla="*/ 228 h 228"/>
                <a:gd name="T2" fmla="*/ 0 w 228"/>
                <a:gd name="T3" fmla="*/ 114 h 228"/>
                <a:gd name="T4" fmla="*/ 114 w 228"/>
                <a:gd name="T5" fmla="*/ 0 h 228"/>
                <a:gd name="T6" fmla="*/ 228 w 228"/>
                <a:gd name="T7" fmla="*/ 114 h 228"/>
                <a:gd name="T8" fmla="*/ 114 w 228"/>
                <a:gd name="T9" fmla="*/ 228 h 228"/>
                <a:gd name="T10" fmla="*/ 114 w 228"/>
                <a:gd name="T11" fmla="*/ 12 h 228"/>
                <a:gd name="T12" fmla="*/ 12 w 228"/>
                <a:gd name="T13" fmla="*/ 114 h 228"/>
                <a:gd name="T14" fmla="*/ 114 w 228"/>
                <a:gd name="T15" fmla="*/ 216 h 228"/>
                <a:gd name="T16" fmla="*/ 216 w 228"/>
                <a:gd name="T17" fmla="*/ 114 h 228"/>
                <a:gd name="T18" fmla="*/ 114 w 228"/>
                <a:gd name="T19" fmla="*/ 12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8" h="228">
                  <a:moveTo>
                    <a:pt x="114" y="228"/>
                  </a:moveTo>
                  <a:cubicBezTo>
                    <a:pt x="51" y="228"/>
                    <a:pt x="0" y="177"/>
                    <a:pt x="0" y="114"/>
                  </a:cubicBezTo>
                  <a:cubicBezTo>
                    <a:pt x="0" y="51"/>
                    <a:pt x="51" y="0"/>
                    <a:pt x="114" y="0"/>
                  </a:cubicBezTo>
                  <a:cubicBezTo>
                    <a:pt x="177" y="0"/>
                    <a:pt x="228" y="51"/>
                    <a:pt x="228" y="114"/>
                  </a:cubicBezTo>
                  <a:cubicBezTo>
                    <a:pt x="228" y="177"/>
                    <a:pt x="177" y="228"/>
                    <a:pt x="114" y="228"/>
                  </a:cubicBezTo>
                  <a:close/>
                  <a:moveTo>
                    <a:pt x="114" y="12"/>
                  </a:moveTo>
                  <a:cubicBezTo>
                    <a:pt x="58" y="12"/>
                    <a:pt x="12" y="58"/>
                    <a:pt x="12" y="114"/>
                  </a:cubicBezTo>
                  <a:cubicBezTo>
                    <a:pt x="12" y="170"/>
                    <a:pt x="58" y="216"/>
                    <a:pt x="114" y="216"/>
                  </a:cubicBezTo>
                  <a:cubicBezTo>
                    <a:pt x="170" y="216"/>
                    <a:pt x="216" y="170"/>
                    <a:pt x="216" y="114"/>
                  </a:cubicBezTo>
                  <a:cubicBezTo>
                    <a:pt x="216" y="58"/>
                    <a:pt x="170" y="12"/>
                    <a:pt x="11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25" name="Freeform 45">
              <a:extLst>
                <a:ext uri="{FF2B5EF4-FFF2-40B4-BE49-F238E27FC236}">
                  <a16:creationId xmlns:a16="http://schemas.microsoft.com/office/drawing/2014/main" id="{D9B910AA-AA6E-3351-26B2-1A735852EBC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5012" y="1748700"/>
              <a:ext cx="332937" cy="330167"/>
            </a:xfrm>
            <a:custGeom>
              <a:avLst/>
              <a:gdLst>
                <a:gd name="T0" fmla="*/ 204 w 432"/>
                <a:gd name="T1" fmla="*/ 432 h 432"/>
                <a:gd name="T2" fmla="*/ 172 w 432"/>
                <a:gd name="T3" fmla="*/ 379 h 432"/>
                <a:gd name="T4" fmla="*/ 116 w 432"/>
                <a:gd name="T5" fmla="*/ 378 h 432"/>
                <a:gd name="T6" fmla="*/ 54 w 432"/>
                <a:gd name="T7" fmla="*/ 360 h 432"/>
                <a:gd name="T8" fmla="*/ 54 w 432"/>
                <a:gd name="T9" fmla="*/ 316 h 432"/>
                <a:gd name="T10" fmla="*/ 53 w 432"/>
                <a:gd name="T11" fmla="*/ 260 h 432"/>
                <a:gd name="T12" fmla="*/ 0 w 432"/>
                <a:gd name="T13" fmla="*/ 228 h 432"/>
                <a:gd name="T14" fmla="*/ 31 w 432"/>
                <a:gd name="T15" fmla="*/ 172 h 432"/>
                <a:gd name="T16" fmla="*/ 70 w 432"/>
                <a:gd name="T17" fmla="*/ 132 h 432"/>
                <a:gd name="T18" fmla="*/ 45 w 432"/>
                <a:gd name="T19" fmla="*/ 94 h 432"/>
                <a:gd name="T20" fmla="*/ 72 w 432"/>
                <a:gd name="T21" fmla="*/ 54 h 432"/>
                <a:gd name="T22" fmla="*/ 132 w 432"/>
                <a:gd name="T23" fmla="*/ 70 h 432"/>
                <a:gd name="T24" fmla="*/ 172 w 432"/>
                <a:gd name="T25" fmla="*/ 31 h 432"/>
                <a:gd name="T26" fmla="*/ 229 w 432"/>
                <a:gd name="T27" fmla="*/ 0 h 432"/>
                <a:gd name="T28" fmla="*/ 260 w 432"/>
                <a:gd name="T29" fmla="*/ 53 h 432"/>
                <a:gd name="T30" fmla="*/ 316 w 432"/>
                <a:gd name="T31" fmla="*/ 54 h 432"/>
                <a:gd name="T32" fmla="*/ 378 w 432"/>
                <a:gd name="T33" fmla="*/ 72 h 432"/>
                <a:gd name="T34" fmla="*/ 378 w 432"/>
                <a:gd name="T35" fmla="*/ 116 h 432"/>
                <a:gd name="T36" fmla="*/ 379 w 432"/>
                <a:gd name="T37" fmla="*/ 172 h 432"/>
                <a:gd name="T38" fmla="*/ 432 w 432"/>
                <a:gd name="T39" fmla="*/ 203 h 432"/>
                <a:gd name="T40" fmla="*/ 401 w 432"/>
                <a:gd name="T41" fmla="*/ 260 h 432"/>
                <a:gd name="T42" fmla="*/ 362 w 432"/>
                <a:gd name="T43" fmla="*/ 300 h 432"/>
                <a:gd name="T44" fmla="*/ 387 w 432"/>
                <a:gd name="T45" fmla="*/ 338 h 432"/>
                <a:gd name="T46" fmla="*/ 360 w 432"/>
                <a:gd name="T47" fmla="*/ 378 h 432"/>
                <a:gd name="T48" fmla="*/ 300 w 432"/>
                <a:gd name="T49" fmla="*/ 362 h 432"/>
                <a:gd name="T50" fmla="*/ 260 w 432"/>
                <a:gd name="T51" fmla="*/ 401 h 432"/>
                <a:gd name="T52" fmla="*/ 131 w 432"/>
                <a:gd name="T53" fmla="*/ 348 h 432"/>
                <a:gd name="T54" fmla="*/ 180 w 432"/>
                <a:gd name="T55" fmla="*/ 368 h 432"/>
                <a:gd name="T56" fmla="*/ 185 w 432"/>
                <a:gd name="T57" fmla="*/ 401 h 432"/>
                <a:gd name="T58" fmla="*/ 229 w 432"/>
                <a:gd name="T59" fmla="*/ 420 h 432"/>
                <a:gd name="T60" fmla="*/ 248 w 432"/>
                <a:gd name="T61" fmla="*/ 374 h 432"/>
                <a:gd name="T62" fmla="*/ 298 w 432"/>
                <a:gd name="T63" fmla="*/ 349 h 432"/>
                <a:gd name="T64" fmla="*/ 325 w 432"/>
                <a:gd name="T65" fmla="*/ 369 h 432"/>
                <a:gd name="T66" fmla="*/ 369 w 432"/>
                <a:gd name="T67" fmla="*/ 351 h 432"/>
                <a:gd name="T68" fmla="*/ 351 w 432"/>
                <a:gd name="T69" fmla="*/ 306 h 432"/>
                <a:gd name="T70" fmla="*/ 349 w 432"/>
                <a:gd name="T71" fmla="*/ 298 h 432"/>
                <a:gd name="T72" fmla="*/ 374 w 432"/>
                <a:gd name="T73" fmla="*/ 247 h 432"/>
                <a:gd name="T74" fmla="*/ 420 w 432"/>
                <a:gd name="T75" fmla="*/ 228 h 432"/>
                <a:gd name="T76" fmla="*/ 401 w 432"/>
                <a:gd name="T77" fmla="*/ 184 h 432"/>
                <a:gd name="T78" fmla="*/ 368 w 432"/>
                <a:gd name="T79" fmla="*/ 180 h 432"/>
                <a:gd name="T80" fmla="*/ 350 w 432"/>
                <a:gd name="T81" fmla="*/ 126 h 432"/>
                <a:gd name="T82" fmla="*/ 369 w 432"/>
                <a:gd name="T83" fmla="*/ 80 h 432"/>
                <a:gd name="T84" fmla="*/ 325 w 432"/>
                <a:gd name="T85" fmla="*/ 63 h 432"/>
                <a:gd name="T86" fmla="*/ 298 w 432"/>
                <a:gd name="T87" fmla="*/ 83 h 432"/>
                <a:gd name="T88" fmla="*/ 248 w 432"/>
                <a:gd name="T89" fmla="*/ 58 h 432"/>
                <a:gd name="T90" fmla="*/ 229 w 432"/>
                <a:gd name="T91" fmla="*/ 12 h 432"/>
                <a:gd name="T92" fmla="*/ 185 w 432"/>
                <a:gd name="T93" fmla="*/ 31 h 432"/>
                <a:gd name="T94" fmla="*/ 180 w 432"/>
                <a:gd name="T95" fmla="*/ 64 h 432"/>
                <a:gd name="T96" fmla="*/ 127 w 432"/>
                <a:gd name="T97" fmla="*/ 82 h 432"/>
                <a:gd name="T98" fmla="*/ 81 w 432"/>
                <a:gd name="T99" fmla="*/ 63 h 432"/>
                <a:gd name="T100" fmla="*/ 57 w 432"/>
                <a:gd name="T101" fmla="*/ 94 h 432"/>
                <a:gd name="T102" fmla="*/ 82 w 432"/>
                <a:gd name="T103" fmla="*/ 126 h 432"/>
                <a:gd name="T104" fmla="*/ 64 w 432"/>
                <a:gd name="T105" fmla="*/ 180 h 432"/>
                <a:gd name="T106" fmla="*/ 31 w 432"/>
                <a:gd name="T107" fmla="*/ 184 h 432"/>
                <a:gd name="T108" fmla="*/ 12 w 432"/>
                <a:gd name="T109" fmla="*/ 228 h 432"/>
                <a:gd name="T110" fmla="*/ 58 w 432"/>
                <a:gd name="T111" fmla="*/ 247 h 432"/>
                <a:gd name="T112" fmla="*/ 83 w 432"/>
                <a:gd name="T113" fmla="*/ 298 h 432"/>
                <a:gd name="T114" fmla="*/ 82 w 432"/>
                <a:gd name="T115" fmla="*/ 306 h 432"/>
                <a:gd name="T116" fmla="*/ 57 w 432"/>
                <a:gd name="T117" fmla="*/ 338 h 432"/>
                <a:gd name="T118" fmla="*/ 81 w 432"/>
                <a:gd name="T119" fmla="*/ 369 h 432"/>
                <a:gd name="T120" fmla="*/ 126 w 432"/>
                <a:gd name="T121" fmla="*/ 350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32" h="432">
                  <a:moveTo>
                    <a:pt x="229" y="432"/>
                  </a:moveTo>
                  <a:cubicBezTo>
                    <a:pt x="204" y="432"/>
                    <a:pt x="204" y="432"/>
                    <a:pt x="204" y="432"/>
                  </a:cubicBezTo>
                  <a:cubicBezTo>
                    <a:pt x="186" y="432"/>
                    <a:pt x="172" y="418"/>
                    <a:pt x="172" y="401"/>
                  </a:cubicBezTo>
                  <a:cubicBezTo>
                    <a:pt x="172" y="379"/>
                    <a:pt x="172" y="379"/>
                    <a:pt x="172" y="379"/>
                  </a:cubicBezTo>
                  <a:cubicBezTo>
                    <a:pt x="158" y="375"/>
                    <a:pt x="145" y="369"/>
                    <a:pt x="132" y="362"/>
                  </a:cubicBezTo>
                  <a:cubicBezTo>
                    <a:pt x="116" y="378"/>
                    <a:pt x="116" y="378"/>
                    <a:pt x="116" y="378"/>
                  </a:cubicBezTo>
                  <a:cubicBezTo>
                    <a:pt x="104" y="390"/>
                    <a:pt x="84" y="390"/>
                    <a:pt x="72" y="378"/>
                  </a:cubicBezTo>
                  <a:cubicBezTo>
                    <a:pt x="54" y="360"/>
                    <a:pt x="54" y="360"/>
                    <a:pt x="54" y="360"/>
                  </a:cubicBezTo>
                  <a:cubicBezTo>
                    <a:pt x="48" y="354"/>
                    <a:pt x="45" y="346"/>
                    <a:pt x="45" y="338"/>
                  </a:cubicBezTo>
                  <a:cubicBezTo>
                    <a:pt x="45" y="329"/>
                    <a:pt x="48" y="322"/>
                    <a:pt x="54" y="316"/>
                  </a:cubicBezTo>
                  <a:cubicBezTo>
                    <a:pt x="70" y="300"/>
                    <a:pt x="70" y="300"/>
                    <a:pt x="70" y="300"/>
                  </a:cubicBezTo>
                  <a:cubicBezTo>
                    <a:pt x="63" y="287"/>
                    <a:pt x="57" y="274"/>
                    <a:pt x="53" y="260"/>
                  </a:cubicBezTo>
                  <a:cubicBezTo>
                    <a:pt x="31" y="260"/>
                    <a:pt x="31" y="260"/>
                    <a:pt x="31" y="260"/>
                  </a:cubicBezTo>
                  <a:cubicBezTo>
                    <a:pt x="14" y="260"/>
                    <a:pt x="0" y="246"/>
                    <a:pt x="0" y="228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0" y="186"/>
                    <a:pt x="14" y="172"/>
                    <a:pt x="31" y="172"/>
                  </a:cubicBezTo>
                  <a:cubicBezTo>
                    <a:pt x="53" y="172"/>
                    <a:pt x="53" y="172"/>
                    <a:pt x="53" y="172"/>
                  </a:cubicBezTo>
                  <a:cubicBezTo>
                    <a:pt x="57" y="158"/>
                    <a:pt x="63" y="144"/>
                    <a:pt x="70" y="132"/>
                  </a:cubicBezTo>
                  <a:cubicBezTo>
                    <a:pt x="54" y="116"/>
                    <a:pt x="54" y="116"/>
                    <a:pt x="54" y="116"/>
                  </a:cubicBezTo>
                  <a:cubicBezTo>
                    <a:pt x="48" y="110"/>
                    <a:pt x="45" y="102"/>
                    <a:pt x="45" y="94"/>
                  </a:cubicBezTo>
                  <a:cubicBezTo>
                    <a:pt x="45" y="85"/>
                    <a:pt x="48" y="78"/>
                    <a:pt x="54" y="72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84" y="42"/>
                    <a:pt x="104" y="42"/>
                    <a:pt x="116" y="54"/>
                  </a:cubicBezTo>
                  <a:cubicBezTo>
                    <a:pt x="132" y="70"/>
                    <a:pt x="132" y="70"/>
                    <a:pt x="132" y="70"/>
                  </a:cubicBezTo>
                  <a:cubicBezTo>
                    <a:pt x="145" y="62"/>
                    <a:pt x="158" y="57"/>
                    <a:pt x="172" y="53"/>
                  </a:cubicBezTo>
                  <a:cubicBezTo>
                    <a:pt x="172" y="31"/>
                    <a:pt x="172" y="31"/>
                    <a:pt x="172" y="31"/>
                  </a:cubicBezTo>
                  <a:cubicBezTo>
                    <a:pt x="172" y="14"/>
                    <a:pt x="186" y="0"/>
                    <a:pt x="204" y="0"/>
                  </a:cubicBezTo>
                  <a:cubicBezTo>
                    <a:pt x="229" y="0"/>
                    <a:pt x="229" y="0"/>
                    <a:pt x="229" y="0"/>
                  </a:cubicBezTo>
                  <a:cubicBezTo>
                    <a:pt x="246" y="0"/>
                    <a:pt x="260" y="14"/>
                    <a:pt x="260" y="31"/>
                  </a:cubicBezTo>
                  <a:cubicBezTo>
                    <a:pt x="260" y="53"/>
                    <a:pt x="260" y="53"/>
                    <a:pt x="260" y="53"/>
                  </a:cubicBezTo>
                  <a:cubicBezTo>
                    <a:pt x="274" y="57"/>
                    <a:pt x="288" y="62"/>
                    <a:pt x="300" y="70"/>
                  </a:cubicBezTo>
                  <a:cubicBezTo>
                    <a:pt x="316" y="54"/>
                    <a:pt x="316" y="54"/>
                    <a:pt x="316" y="54"/>
                  </a:cubicBezTo>
                  <a:cubicBezTo>
                    <a:pt x="328" y="42"/>
                    <a:pt x="348" y="42"/>
                    <a:pt x="360" y="54"/>
                  </a:cubicBezTo>
                  <a:cubicBezTo>
                    <a:pt x="378" y="72"/>
                    <a:pt x="378" y="72"/>
                    <a:pt x="378" y="72"/>
                  </a:cubicBezTo>
                  <a:cubicBezTo>
                    <a:pt x="384" y="78"/>
                    <a:pt x="387" y="85"/>
                    <a:pt x="387" y="94"/>
                  </a:cubicBezTo>
                  <a:cubicBezTo>
                    <a:pt x="387" y="102"/>
                    <a:pt x="384" y="110"/>
                    <a:pt x="378" y="116"/>
                  </a:cubicBezTo>
                  <a:cubicBezTo>
                    <a:pt x="362" y="132"/>
                    <a:pt x="362" y="132"/>
                    <a:pt x="362" y="132"/>
                  </a:cubicBezTo>
                  <a:cubicBezTo>
                    <a:pt x="370" y="144"/>
                    <a:pt x="375" y="158"/>
                    <a:pt x="379" y="172"/>
                  </a:cubicBezTo>
                  <a:cubicBezTo>
                    <a:pt x="401" y="172"/>
                    <a:pt x="401" y="172"/>
                    <a:pt x="401" y="172"/>
                  </a:cubicBezTo>
                  <a:cubicBezTo>
                    <a:pt x="418" y="172"/>
                    <a:pt x="432" y="186"/>
                    <a:pt x="432" y="203"/>
                  </a:cubicBezTo>
                  <a:cubicBezTo>
                    <a:pt x="432" y="228"/>
                    <a:pt x="432" y="228"/>
                    <a:pt x="432" y="228"/>
                  </a:cubicBezTo>
                  <a:cubicBezTo>
                    <a:pt x="432" y="246"/>
                    <a:pt x="418" y="260"/>
                    <a:pt x="401" y="260"/>
                  </a:cubicBezTo>
                  <a:cubicBezTo>
                    <a:pt x="379" y="260"/>
                    <a:pt x="379" y="260"/>
                    <a:pt x="379" y="260"/>
                  </a:cubicBezTo>
                  <a:cubicBezTo>
                    <a:pt x="375" y="274"/>
                    <a:pt x="370" y="287"/>
                    <a:pt x="362" y="300"/>
                  </a:cubicBezTo>
                  <a:cubicBezTo>
                    <a:pt x="378" y="316"/>
                    <a:pt x="378" y="316"/>
                    <a:pt x="378" y="316"/>
                  </a:cubicBezTo>
                  <a:cubicBezTo>
                    <a:pt x="384" y="322"/>
                    <a:pt x="387" y="329"/>
                    <a:pt x="387" y="338"/>
                  </a:cubicBezTo>
                  <a:cubicBezTo>
                    <a:pt x="387" y="346"/>
                    <a:pt x="384" y="354"/>
                    <a:pt x="378" y="360"/>
                  </a:cubicBezTo>
                  <a:cubicBezTo>
                    <a:pt x="360" y="378"/>
                    <a:pt x="360" y="378"/>
                    <a:pt x="360" y="378"/>
                  </a:cubicBezTo>
                  <a:cubicBezTo>
                    <a:pt x="348" y="390"/>
                    <a:pt x="328" y="390"/>
                    <a:pt x="316" y="378"/>
                  </a:cubicBezTo>
                  <a:cubicBezTo>
                    <a:pt x="300" y="362"/>
                    <a:pt x="300" y="362"/>
                    <a:pt x="300" y="362"/>
                  </a:cubicBezTo>
                  <a:cubicBezTo>
                    <a:pt x="288" y="369"/>
                    <a:pt x="274" y="375"/>
                    <a:pt x="260" y="379"/>
                  </a:cubicBezTo>
                  <a:cubicBezTo>
                    <a:pt x="260" y="401"/>
                    <a:pt x="260" y="401"/>
                    <a:pt x="260" y="401"/>
                  </a:cubicBezTo>
                  <a:cubicBezTo>
                    <a:pt x="260" y="418"/>
                    <a:pt x="246" y="432"/>
                    <a:pt x="229" y="432"/>
                  </a:cubicBezTo>
                  <a:close/>
                  <a:moveTo>
                    <a:pt x="131" y="348"/>
                  </a:moveTo>
                  <a:cubicBezTo>
                    <a:pt x="132" y="348"/>
                    <a:pt x="133" y="349"/>
                    <a:pt x="134" y="349"/>
                  </a:cubicBezTo>
                  <a:cubicBezTo>
                    <a:pt x="148" y="358"/>
                    <a:pt x="164" y="364"/>
                    <a:pt x="180" y="368"/>
                  </a:cubicBezTo>
                  <a:cubicBezTo>
                    <a:pt x="183" y="369"/>
                    <a:pt x="185" y="371"/>
                    <a:pt x="185" y="374"/>
                  </a:cubicBezTo>
                  <a:cubicBezTo>
                    <a:pt x="185" y="401"/>
                    <a:pt x="185" y="401"/>
                    <a:pt x="185" y="401"/>
                  </a:cubicBezTo>
                  <a:cubicBezTo>
                    <a:pt x="185" y="411"/>
                    <a:pt x="193" y="420"/>
                    <a:pt x="204" y="420"/>
                  </a:cubicBezTo>
                  <a:cubicBezTo>
                    <a:pt x="229" y="420"/>
                    <a:pt x="229" y="420"/>
                    <a:pt x="229" y="420"/>
                  </a:cubicBezTo>
                  <a:cubicBezTo>
                    <a:pt x="239" y="420"/>
                    <a:pt x="248" y="411"/>
                    <a:pt x="248" y="401"/>
                  </a:cubicBezTo>
                  <a:cubicBezTo>
                    <a:pt x="248" y="374"/>
                    <a:pt x="248" y="374"/>
                    <a:pt x="248" y="374"/>
                  </a:cubicBezTo>
                  <a:cubicBezTo>
                    <a:pt x="248" y="371"/>
                    <a:pt x="250" y="369"/>
                    <a:pt x="252" y="368"/>
                  </a:cubicBezTo>
                  <a:cubicBezTo>
                    <a:pt x="269" y="364"/>
                    <a:pt x="284" y="358"/>
                    <a:pt x="298" y="349"/>
                  </a:cubicBezTo>
                  <a:cubicBezTo>
                    <a:pt x="301" y="348"/>
                    <a:pt x="304" y="348"/>
                    <a:pt x="306" y="350"/>
                  </a:cubicBezTo>
                  <a:cubicBezTo>
                    <a:pt x="325" y="369"/>
                    <a:pt x="325" y="369"/>
                    <a:pt x="325" y="369"/>
                  </a:cubicBezTo>
                  <a:cubicBezTo>
                    <a:pt x="332" y="376"/>
                    <a:pt x="344" y="376"/>
                    <a:pt x="352" y="369"/>
                  </a:cubicBezTo>
                  <a:cubicBezTo>
                    <a:pt x="369" y="351"/>
                    <a:pt x="369" y="351"/>
                    <a:pt x="369" y="351"/>
                  </a:cubicBezTo>
                  <a:cubicBezTo>
                    <a:pt x="377" y="344"/>
                    <a:pt x="377" y="332"/>
                    <a:pt x="369" y="324"/>
                  </a:cubicBezTo>
                  <a:cubicBezTo>
                    <a:pt x="351" y="306"/>
                    <a:pt x="351" y="306"/>
                    <a:pt x="351" y="306"/>
                  </a:cubicBezTo>
                  <a:cubicBezTo>
                    <a:pt x="349" y="304"/>
                    <a:pt x="348" y="302"/>
                    <a:pt x="349" y="299"/>
                  </a:cubicBezTo>
                  <a:cubicBezTo>
                    <a:pt x="349" y="299"/>
                    <a:pt x="349" y="298"/>
                    <a:pt x="349" y="298"/>
                  </a:cubicBezTo>
                  <a:cubicBezTo>
                    <a:pt x="358" y="284"/>
                    <a:pt x="364" y="268"/>
                    <a:pt x="368" y="252"/>
                  </a:cubicBezTo>
                  <a:cubicBezTo>
                    <a:pt x="369" y="249"/>
                    <a:pt x="371" y="247"/>
                    <a:pt x="374" y="247"/>
                  </a:cubicBezTo>
                  <a:cubicBezTo>
                    <a:pt x="401" y="247"/>
                    <a:pt x="401" y="247"/>
                    <a:pt x="401" y="247"/>
                  </a:cubicBezTo>
                  <a:cubicBezTo>
                    <a:pt x="412" y="247"/>
                    <a:pt x="420" y="239"/>
                    <a:pt x="420" y="228"/>
                  </a:cubicBezTo>
                  <a:cubicBezTo>
                    <a:pt x="420" y="203"/>
                    <a:pt x="420" y="203"/>
                    <a:pt x="420" y="203"/>
                  </a:cubicBezTo>
                  <a:cubicBezTo>
                    <a:pt x="420" y="193"/>
                    <a:pt x="412" y="184"/>
                    <a:pt x="401" y="184"/>
                  </a:cubicBezTo>
                  <a:cubicBezTo>
                    <a:pt x="374" y="184"/>
                    <a:pt x="374" y="184"/>
                    <a:pt x="374" y="184"/>
                  </a:cubicBezTo>
                  <a:cubicBezTo>
                    <a:pt x="371" y="184"/>
                    <a:pt x="369" y="182"/>
                    <a:pt x="368" y="180"/>
                  </a:cubicBezTo>
                  <a:cubicBezTo>
                    <a:pt x="364" y="163"/>
                    <a:pt x="358" y="148"/>
                    <a:pt x="349" y="134"/>
                  </a:cubicBezTo>
                  <a:cubicBezTo>
                    <a:pt x="348" y="131"/>
                    <a:pt x="348" y="128"/>
                    <a:pt x="350" y="126"/>
                  </a:cubicBezTo>
                  <a:cubicBezTo>
                    <a:pt x="369" y="107"/>
                    <a:pt x="369" y="107"/>
                    <a:pt x="369" y="107"/>
                  </a:cubicBezTo>
                  <a:cubicBezTo>
                    <a:pt x="377" y="100"/>
                    <a:pt x="377" y="88"/>
                    <a:pt x="369" y="80"/>
                  </a:cubicBezTo>
                  <a:cubicBezTo>
                    <a:pt x="352" y="63"/>
                    <a:pt x="352" y="63"/>
                    <a:pt x="352" y="63"/>
                  </a:cubicBezTo>
                  <a:cubicBezTo>
                    <a:pt x="344" y="55"/>
                    <a:pt x="332" y="55"/>
                    <a:pt x="325" y="63"/>
                  </a:cubicBezTo>
                  <a:cubicBezTo>
                    <a:pt x="306" y="82"/>
                    <a:pt x="306" y="82"/>
                    <a:pt x="306" y="82"/>
                  </a:cubicBezTo>
                  <a:cubicBezTo>
                    <a:pt x="304" y="84"/>
                    <a:pt x="300" y="84"/>
                    <a:pt x="298" y="83"/>
                  </a:cubicBezTo>
                  <a:cubicBezTo>
                    <a:pt x="284" y="74"/>
                    <a:pt x="269" y="68"/>
                    <a:pt x="252" y="64"/>
                  </a:cubicBezTo>
                  <a:cubicBezTo>
                    <a:pt x="250" y="63"/>
                    <a:pt x="248" y="61"/>
                    <a:pt x="248" y="58"/>
                  </a:cubicBezTo>
                  <a:cubicBezTo>
                    <a:pt x="248" y="31"/>
                    <a:pt x="248" y="31"/>
                    <a:pt x="248" y="31"/>
                  </a:cubicBezTo>
                  <a:cubicBezTo>
                    <a:pt x="248" y="20"/>
                    <a:pt x="239" y="12"/>
                    <a:pt x="229" y="12"/>
                  </a:cubicBezTo>
                  <a:cubicBezTo>
                    <a:pt x="204" y="12"/>
                    <a:pt x="204" y="12"/>
                    <a:pt x="204" y="12"/>
                  </a:cubicBezTo>
                  <a:cubicBezTo>
                    <a:pt x="193" y="12"/>
                    <a:pt x="185" y="20"/>
                    <a:pt x="185" y="31"/>
                  </a:cubicBezTo>
                  <a:cubicBezTo>
                    <a:pt x="185" y="58"/>
                    <a:pt x="185" y="58"/>
                    <a:pt x="185" y="58"/>
                  </a:cubicBezTo>
                  <a:cubicBezTo>
                    <a:pt x="185" y="61"/>
                    <a:pt x="183" y="63"/>
                    <a:pt x="180" y="64"/>
                  </a:cubicBezTo>
                  <a:cubicBezTo>
                    <a:pt x="164" y="68"/>
                    <a:pt x="148" y="74"/>
                    <a:pt x="134" y="83"/>
                  </a:cubicBezTo>
                  <a:cubicBezTo>
                    <a:pt x="132" y="84"/>
                    <a:pt x="129" y="84"/>
                    <a:pt x="127" y="82"/>
                  </a:cubicBezTo>
                  <a:cubicBezTo>
                    <a:pt x="108" y="63"/>
                    <a:pt x="108" y="63"/>
                    <a:pt x="108" y="63"/>
                  </a:cubicBezTo>
                  <a:cubicBezTo>
                    <a:pt x="100" y="55"/>
                    <a:pt x="88" y="55"/>
                    <a:pt x="81" y="63"/>
                  </a:cubicBezTo>
                  <a:cubicBezTo>
                    <a:pt x="63" y="80"/>
                    <a:pt x="63" y="80"/>
                    <a:pt x="63" y="80"/>
                  </a:cubicBezTo>
                  <a:cubicBezTo>
                    <a:pt x="59" y="84"/>
                    <a:pt x="57" y="89"/>
                    <a:pt x="57" y="94"/>
                  </a:cubicBezTo>
                  <a:cubicBezTo>
                    <a:pt x="57" y="99"/>
                    <a:pt x="59" y="104"/>
                    <a:pt x="63" y="107"/>
                  </a:cubicBezTo>
                  <a:cubicBezTo>
                    <a:pt x="82" y="126"/>
                    <a:pt x="82" y="126"/>
                    <a:pt x="82" y="126"/>
                  </a:cubicBezTo>
                  <a:cubicBezTo>
                    <a:pt x="84" y="128"/>
                    <a:pt x="84" y="131"/>
                    <a:pt x="83" y="134"/>
                  </a:cubicBezTo>
                  <a:cubicBezTo>
                    <a:pt x="74" y="148"/>
                    <a:pt x="68" y="163"/>
                    <a:pt x="64" y="180"/>
                  </a:cubicBezTo>
                  <a:cubicBezTo>
                    <a:pt x="63" y="182"/>
                    <a:pt x="61" y="184"/>
                    <a:pt x="58" y="184"/>
                  </a:cubicBezTo>
                  <a:cubicBezTo>
                    <a:pt x="31" y="184"/>
                    <a:pt x="31" y="184"/>
                    <a:pt x="31" y="184"/>
                  </a:cubicBezTo>
                  <a:cubicBezTo>
                    <a:pt x="21" y="184"/>
                    <a:pt x="12" y="193"/>
                    <a:pt x="12" y="203"/>
                  </a:cubicBezTo>
                  <a:cubicBezTo>
                    <a:pt x="12" y="228"/>
                    <a:pt x="12" y="228"/>
                    <a:pt x="12" y="228"/>
                  </a:cubicBezTo>
                  <a:cubicBezTo>
                    <a:pt x="12" y="239"/>
                    <a:pt x="21" y="247"/>
                    <a:pt x="31" y="247"/>
                  </a:cubicBezTo>
                  <a:cubicBezTo>
                    <a:pt x="58" y="247"/>
                    <a:pt x="58" y="247"/>
                    <a:pt x="58" y="247"/>
                  </a:cubicBezTo>
                  <a:cubicBezTo>
                    <a:pt x="61" y="247"/>
                    <a:pt x="63" y="249"/>
                    <a:pt x="64" y="252"/>
                  </a:cubicBezTo>
                  <a:cubicBezTo>
                    <a:pt x="68" y="268"/>
                    <a:pt x="74" y="284"/>
                    <a:pt x="83" y="298"/>
                  </a:cubicBezTo>
                  <a:cubicBezTo>
                    <a:pt x="83" y="298"/>
                    <a:pt x="83" y="299"/>
                    <a:pt x="83" y="299"/>
                  </a:cubicBezTo>
                  <a:cubicBezTo>
                    <a:pt x="84" y="302"/>
                    <a:pt x="83" y="304"/>
                    <a:pt x="82" y="306"/>
                  </a:cubicBezTo>
                  <a:cubicBezTo>
                    <a:pt x="63" y="324"/>
                    <a:pt x="63" y="324"/>
                    <a:pt x="63" y="324"/>
                  </a:cubicBezTo>
                  <a:cubicBezTo>
                    <a:pt x="59" y="328"/>
                    <a:pt x="57" y="333"/>
                    <a:pt x="57" y="338"/>
                  </a:cubicBezTo>
                  <a:cubicBezTo>
                    <a:pt x="57" y="343"/>
                    <a:pt x="59" y="348"/>
                    <a:pt x="63" y="351"/>
                  </a:cubicBezTo>
                  <a:cubicBezTo>
                    <a:pt x="81" y="369"/>
                    <a:pt x="81" y="369"/>
                    <a:pt x="81" y="369"/>
                  </a:cubicBezTo>
                  <a:cubicBezTo>
                    <a:pt x="88" y="376"/>
                    <a:pt x="100" y="376"/>
                    <a:pt x="108" y="369"/>
                  </a:cubicBezTo>
                  <a:cubicBezTo>
                    <a:pt x="126" y="350"/>
                    <a:pt x="126" y="350"/>
                    <a:pt x="126" y="350"/>
                  </a:cubicBezTo>
                  <a:cubicBezTo>
                    <a:pt x="127" y="349"/>
                    <a:pt x="129" y="348"/>
                    <a:pt x="131" y="34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B90B8F9D-3538-5903-4049-762F001B570F}"/>
              </a:ext>
            </a:extLst>
          </p:cNvPr>
          <p:cNvGrpSpPr/>
          <p:nvPr/>
        </p:nvGrpSpPr>
        <p:grpSpPr>
          <a:xfrm>
            <a:off x="7520490" y="1437474"/>
            <a:ext cx="331880" cy="329118"/>
            <a:chOff x="10255012" y="1748700"/>
            <a:chExt cx="332937" cy="330167"/>
          </a:xfrm>
          <a:solidFill>
            <a:schemeClr val="accent1"/>
          </a:solidFill>
        </p:grpSpPr>
        <p:sp>
          <p:nvSpPr>
            <p:cNvPr id="41" name="Freeform 44">
              <a:extLst>
                <a:ext uri="{FF2B5EF4-FFF2-40B4-BE49-F238E27FC236}">
                  <a16:creationId xmlns:a16="http://schemas.microsoft.com/office/drawing/2014/main" id="{CEDFC65F-C85F-3683-06CF-6D0A83CFDF3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32697" y="1826387"/>
              <a:ext cx="174793" cy="174794"/>
            </a:xfrm>
            <a:custGeom>
              <a:avLst/>
              <a:gdLst>
                <a:gd name="T0" fmla="*/ 114 w 228"/>
                <a:gd name="T1" fmla="*/ 228 h 228"/>
                <a:gd name="T2" fmla="*/ 0 w 228"/>
                <a:gd name="T3" fmla="*/ 114 h 228"/>
                <a:gd name="T4" fmla="*/ 114 w 228"/>
                <a:gd name="T5" fmla="*/ 0 h 228"/>
                <a:gd name="T6" fmla="*/ 228 w 228"/>
                <a:gd name="T7" fmla="*/ 114 h 228"/>
                <a:gd name="T8" fmla="*/ 114 w 228"/>
                <a:gd name="T9" fmla="*/ 228 h 228"/>
                <a:gd name="T10" fmla="*/ 114 w 228"/>
                <a:gd name="T11" fmla="*/ 12 h 228"/>
                <a:gd name="T12" fmla="*/ 12 w 228"/>
                <a:gd name="T13" fmla="*/ 114 h 228"/>
                <a:gd name="T14" fmla="*/ 114 w 228"/>
                <a:gd name="T15" fmla="*/ 216 h 228"/>
                <a:gd name="T16" fmla="*/ 216 w 228"/>
                <a:gd name="T17" fmla="*/ 114 h 228"/>
                <a:gd name="T18" fmla="*/ 114 w 228"/>
                <a:gd name="T19" fmla="*/ 12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8" h="228">
                  <a:moveTo>
                    <a:pt x="114" y="228"/>
                  </a:moveTo>
                  <a:cubicBezTo>
                    <a:pt x="51" y="228"/>
                    <a:pt x="0" y="177"/>
                    <a:pt x="0" y="114"/>
                  </a:cubicBezTo>
                  <a:cubicBezTo>
                    <a:pt x="0" y="51"/>
                    <a:pt x="51" y="0"/>
                    <a:pt x="114" y="0"/>
                  </a:cubicBezTo>
                  <a:cubicBezTo>
                    <a:pt x="177" y="0"/>
                    <a:pt x="228" y="51"/>
                    <a:pt x="228" y="114"/>
                  </a:cubicBezTo>
                  <a:cubicBezTo>
                    <a:pt x="228" y="177"/>
                    <a:pt x="177" y="228"/>
                    <a:pt x="114" y="228"/>
                  </a:cubicBezTo>
                  <a:close/>
                  <a:moveTo>
                    <a:pt x="114" y="12"/>
                  </a:moveTo>
                  <a:cubicBezTo>
                    <a:pt x="58" y="12"/>
                    <a:pt x="12" y="58"/>
                    <a:pt x="12" y="114"/>
                  </a:cubicBezTo>
                  <a:cubicBezTo>
                    <a:pt x="12" y="170"/>
                    <a:pt x="58" y="216"/>
                    <a:pt x="114" y="216"/>
                  </a:cubicBezTo>
                  <a:cubicBezTo>
                    <a:pt x="170" y="216"/>
                    <a:pt x="216" y="170"/>
                    <a:pt x="216" y="114"/>
                  </a:cubicBezTo>
                  <a:cubicBezTo>
                    <a:pt x="216" y="58"/>
                    <a:pt x="170" y="12"/>
                    <a:pt x="11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42" name="Freeform 45">
              <a:extLst>
                <a:ext uri="{FF2B5EF4-FFF2-40B4-BE49-F238E27FC236}">
                  <a16:creationId xmlns:a16="http://schemas.microsoft.com/office/drawing/2014/main" id="{B3C360AB-B8D8-7CBF-7C42-AA1A99C425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5012" y="1748700"/>
              <a:ext cx="332937" cy="330167"/>
            </a:xfrm>
            <a:custGeom>
              <a:avLst/>
              <a:gdLst>
                <a:gd name="T0" fmla="*/ 204 w 432"/>
                <a:gd name="T1" fmla="*/ 432 h 432"/>
                <a:gd name="T2" fmla="*/ 172 w 432"/>
                <a:gd name="T3" fmla="*/ 379 h 432"/>
                <a:gd name="T4" fmla="*/ 116 w 432"/>
                <a:gd name="T5" fmla="*/ 378 h 432"/>
                <a:gd name="T6" fmla="*/ 54 w 432"/>
                <a:gd name="T7" fmla="*/ 360 h 432"/>
                <a:gd name="T8" fmla="*/ 54 w 432"/>
                <a:gd name="T9" fmla="*/ 316 h 432"/>
                <a:gd name="T10" fmla="*/ 53 w 432"/>
                <a:gd name="T11" fmla="*/ 260 h 432"/>
                <a:gd name="T12" fmla="*/ 0 w 432"/>
                <a:gd name="T13" fmla="*/ 228 h 432"/>
                <a:gd name="T14" fmla="*/ 31 w 432"/>
                <a:gd name="T15" fmla="*/ 172 h 432"/>
                <a:gd name="T16" fmla="*/ 70 w 432"/>
                <a:gd name="T17" fmla="*/ 132 h 432"/>
                <a:gd name="T18" fmla="*/ 45 w 432"/>
                <a:gd name="T19" fmla="*/ 94 h 432"/>
                <a:gd name="T20" fmla="*/ 72 w 432"/>
                <a:gd name="T21" fmla="*/ 54 h 432"/>
                <a:gd name="T22" fmla="*/ 132 w 432"/>
                <a:gd name="T23" fmla="*/ 70 h 432"/>
                <a:gd name="T24" fmla="*/ 172 w 432"/>
                <a:gd name="T25" fmla="*/ 31 h 432"/>
                <a:gd name="T26" fmla="*/ 229 w 432"/>
                <a:gd name="T27" fmla="*/ 0 h 432"/>
                <a:gd name="T28" fmla="*/ 260 w 432"/>
                <a:gd name="T29" fmla="*/ 53 h 432"/>
                <a:gd name="T30" fmla="*/ 316 w 432"/>
                <a:gd name="T31" fmla="*/ 54 h 432"/>
                <a:gd name="T32" fmla="*/ 378 w 432"/>
                <a:gd name="T33" fmla="*/ 72 h 432"/>
                <a:gd name="T34" fmla="*/ 378 w 432"/>
                <a:gd name="T35" fmla="*/ 116 h 432"/>
                <a:gd name="T36" fmla="*/ 379 w 432"/>
                <a:gd name="T37" fmla="*/ 172 h 432"/>
                <a:gd name="T38" fmla="*/ 432 w 432"/>
                <a:gd name="T39" fmla="*/ 203 h 432"/>
                <a:gd name="T40" fmla="*/ 401 w 432"/>
                <a:gd name="T41" fmla="*/ 260 h 432"/>
                <a:gd name="T42" fmla="*/ 362 w 432"/>
                <a:gd name="T43" fmla="*/ 300 h 432"/>
                <a:gd name="T44" fmla="*/ 387 w 432"/>
                <a:gd name="T45" fmla="*/ 338 h 432"/>
                <a:gd name="T46" fmla="*/ 360 w 432"/>
                <a:gd name="T47" fmla="*/ 378 h 432"/>
                <a:gd name="T48" fmla="*/ 300 w 432"/>
                <a:gd name="T49" fmla="*/ 362 h 432"/>
                <a:gd name="T50" fmla="*/ 260 w 432"/>
                <a:gd name="T51" fmla="*/ 401 h 432"/>
                <a:gd name="T52" fmla="*/ 131 w 432"/>
                <a:gd name="T53" fmla="*/ 348 h 432"/>
                <a:gd name="T54" fmla="*/ 180 w 432"/>
                <a:gd name="T55" fmla="*/ 368 h 432"/>
                <a:gd name="T56" fmla="*/ 185 w 432"/>
                <a:gd name="T57" fmla="*/ 401 h 432"/>
                <a:gd name="T58" fmla="*/ 229 w 432"/>
                <a:gd name="T59" fmla="*/ 420 h 432"/>
                <a:gd name="T60" fmla="*/ 248 w 432"/>
                <a:gd name="T61" fmla="*/ 374 h 432"/>
                <a:gd name="T62" fmla="*/ 298 w 432"/>
                <a:gd name="T63" fmla="*/ 349 h 432"/>
                <a:gd name="T64" fmla="*/ 325 w 432"/>
                <a:gd name="T65" fmla="*/ 369 h 432"/>
                <a:gd name="T66" fmla="*/ 369 w 432"/>
                <a:gd name="T67" fmla="*/ 351 h 432"/>
                <a:gd name="T68" fmla="*/ 351 w 432"/>
                <a:gd name="T69" fmla="*/ 306 h 432"/>
                <a:gd name="T70" fmla="*/ 349 w 432"/>
                <a:gd name="T71" fmla="*/ 298 h 432"/>
                <a:gd name="T72" fmla="*/ 374 w 432"/>
                <a:gd name="T73" fmla="*/ 247 h 432"/>
                <a:gd name="T74" fmla="*/ 420 w 432"/>
                <a:gd name="T75" fmla="*/ 228 h 432"/>
                <a:gd name="T76" fmla="*/ 401 w 432"/>
                <a:gd name="T77" fmla="*/ 184 h 432"/>
                <a:gd name="T78" fmla="*/ 368 w 432"/>
                <a:gd name="T79" fmla="*/ 180 h 432"/>
                <a:gd name="T80" fmla="*/ 350 w 432"/>
                <a:gd name="T81" fmla="*/ 126 h 432"/>
                <a:gd name="T82" fmla="*/ 369 w 432"/>
                <a:gd name="T83" fmla="*/ 80 h 432"/>
                <a:gd name="T84" fmla="*/ 325 w 432"/>
                <a:gd name="T85" fmla="*/ 63 h 432"/>
                <a:gd name="T86" fmla="*/ 298 w 432"/>
                <a:gd name="T87" fmla="*/ 83 h 432"/>
                <a:gd name="T88" fmla="*/ 248 w 432"/>
                <a:gd name="T89" fmla="*/ 58 h 432"/>
                <a:gd name="T90" fmla="*/ 229 w 432"/>
                <a:gd name="T91" fmla="*/ 12 h 432"/>
                <a:gd name="T92" fmla="*/ 185 w 432"/>
                <a:gd name="T93" fmla="*/ 31 h 432"/>
                <a:gd name="T94" fmla="*/ 180 w 432"/>
                <a:gd name="T95" fmla="*/ 64 h 432"/>
                <a:gd name="T96" fmla="*/ 127 w 432"/>
                <a:gd name="T97" fmla="*/ 82 h 432"/>
                <a:gd name="T98" fmla="*/ 81 w 432"/>
                <a:gd name="T99" fmla="*/ 63 h 432"/>
                <a:gd name="T100" fmla="*/ 57 w 432"/>
                <a:gd name="T101" fmla="*/ 94 h 432"/>
                <a:gd name="T102" fmla="*/ 82 w 432"/>
                <a:gd name="T103" fmla="*/ 126 h 432"/>
                <a:gd name="T104" fmla="*/ 64 w 432"/>
                <a:gd name="T105" fmla="*/ 180 h 432"/>
                <a:gd name="T106" fmla="*/ 31 w 432"/>
                <a:gd name="T107" fmla="*/ 184 h 432"/>
                <a:gd name="T108" fmla="*/ 12 w 432"/>
                <a:gd name="T109" fmla="*/ 228 h 432"/>
                <a:gd name="T110" fmla="*/ 58 w 432"/>
                <a:gd name="T111" fmla="*/ 247 h 432"/>
                <a:gd name="T112" fmla="*/ 83 w 432"/>
                <a:gd name="T113" fmla="*/ 298 h 432"/>
                <a:gd name="T114" fmla="*/ 82 w 432"/>
                <a:gd name="T115" fmla="*/ 306 h 432"/>
                <a:gd name="T116" fmla="*/ 57 w 432"/>
                <a:gd name="T117" fmla="*/ 338 h 432"/>
                <a:gd name="T118" fmla="*/ 81 w 432"/>
                <a:gd name="T119" fmla="*/ 369 h 432"/>
                <a:gd name="T120" fmla="*/ 126 w 432"/>
                <a:gd name="T121" fmla="*/ 350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32" h="432">
                  <a:moveTo>
                    <a:pt x="229" y="432"/>
                  </a:moveTo>
                  <a:cubicBezTo>
                    <a:pt x="204" y="432"/>
                    <a:pt x="204" y="432"/>
                    <a:pt x="204" y="432"/>
                  </a:cubicBezTo>
                  <a:cubicBezTo>
                    <a:pt x="186" y="432"/>
                    <a:pt x="172" y="418"/>
                    <a:pt x="172" y="401"/>
                  </a:cubicBezTo>
                  <a:cubicBezTo>
                    <a:pt x="172" y="379"/>
                    <a:pt x="172" y="379"/>
                    <a:pt x="172" y="379"/>
                  </a:cubicBezTo>
                  <a:cubicBezTo>
                    <a:pt x="158" y="375"/>
                    <a:pt x="145" y="369"/>
                    <a:pt x="132" y="362"/>
                  </a:cubicBezTo>
                  <a:cubicBezTo>
                    <a:pt x="116" y="378"/>
                    <a:pt x="116" y="378"/>
                    <a:pt x="116" y="378"/>
                  </a:cubicBezTo>
                  <a:cubicBezTo>
                    <a:pt x="104" y="390"/>
                    <a:pt x="84" y="390"/>
                    <a:pt x="72" y="378"/>
                  </a:cubicBezTo>
                  <a:cubicBezTo>
                    <a:pt x="54" y="360"/>
                    <a:pt x="54" y="360"/>
                    <a:pt x="54" y="360"/>
                  </a:cubicBezTo>
                  <a:cubicBezTo>
                    <a:pt x="48" y="354"/>
                    <a:pt x="45" y="346"/>
                    <a:pt x="45" y="338"/>
                  </a:cubicBezTo>
                  <a:cubicBezTo>
                    <a:pt x="45" y="329"/>
                    <a:pt x="48" y="322"/>
                    <a:pt x="54" y="316"/>
                  </a:cubicBezTo>
                  <a:cubicBezTo>
                    <a:pt x="70" y="300"/>
                    <a:pt x="70" y="300"/>
                    <a:pt x="70" y="300"/>
                  </a:cubicBezTo>
                  <a:cubicBezTo>
                    <a:pt x="63" y="287"/>
                    <a:pt x="57" y="274"/>
                    <a:pt x="53" y="260"/>
                  </a:cubicBezTo>
                  <a:cubicBezTo>
                    <a:pt x="31" y="260"/>
                    <a:pt x="31" y="260"/>
                    <a:pt x="31" y="260"/>
                  </a:cubicBezTo>
                  <a:cubicBezTo>
                    <a:pt x="14" y="260"/>
                    <a:pt x="0" y="246"/>
                    <a:pt x="0" y="228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0" y="186"/>
                    <a:pt x="14" y="172"/>
                    <a:pt x="31" y="172"/>
                  </a:cubicBezTo>
                  <a:cubicBezTo>
                    <a:pt x="53" y="172"/>
                    <a:pt x="53" y="172"/>
                    <a:pt x="53" y="172"/>
                  </a:cubicBezTo>
                  <a:cubicBezTo>
                    <a:pt x="57" y="158"/>
                    <a:pt x="63" y="144"/>
                    <a:pt x="70" y="132"/>
                  </a:cubicBezTo>
                  <a:cubicBezTo>
                    <a:pt x="54" y="116"/>
                    <a:pt x="54" y="116"/>
                    <a:pt x="54" y="116"/>
                  </a:cubicBezTo>
                  <a:cubicBezTo>
                    <a:pt x="48" y="110"/>
                    <a:pt x="45" y="102"/>
                    <a:pt x="45" y="94"/>
                  </a:cubicBezTo>
                  <a:cubicBezTo>
                    <a:pt x="45" y="85"/>
                    <a:pt x="48" y="78"/>
                    <a:pt x="54" y="72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84" y="42"/>
                    <a:pt x="104" y="42"/>
                    <a:pt x="116" y="54"/>
                  </a:cubicBezTo>
                  <a:cubicBezTo>
                    <a:pt x="132" y="70"/>
                    <a:pt x="132" y="70"/>
                    <a:pt x="132" y="70"/>
                  </a:cubicBezTo>
                  <a:cubicBezTo>
                    <a:pt x="145" y="62"/>
                    <a:pt x="158" y="57"/>
                    <a:pt x="172" y="53"/>
                  </a:cubicBezTo>
                  <a:cubicBezTo>
                    <a:pt x="172" y="31"/>
                    <a:pt x="172" y="31"/>
                    <a:pt x="172" y="31"/>
                  </a:cubicBezTo>
                  <a:cubicBezTo>
                    <a:pt x="172" y="14"/>
                    <a:pt x="186" y="0"/>
                    <a:pt x="204" y="0"/>
                  </a:cubicBezTo>
                  <a:cubicBezTo>
                    <a:pt x="229" y="0"/>
                    <a:pt x="229" y="0"/>
                    <a:pt x="229" y="0"/>
                  </a:cubicBezTo>
                  <a:cubicBezTo>
                    <a:pt x="246" y="0"/>
                    <a:pt x="260" y="14"/>
                    <a:pt x="260" y="31"/>
                  </a:cubicBezTo>
                  <a:cubicBezTo>
                    <a:pt x="260" y="53"/>
                    <a:pt x="260" y="53"/>
                    <a:pt x="260" y="53"/>
                  </a:cubicBezTo>
                  <a:cubicBezTo>
                    <a:pt x="274" y="57"/>
                    <a:pt x="288" y="62"/>
                    <a:pt x="300" y="70"/>
                  </a:cubicBezTo>
                  <a:cubicBezTo>
                    <a:pt x="316" y="54"/>
                    <a:pt x="316" y="54"/>
                    <a:pt x="316" y="54"/>
                  </a:cubicBezTo>
                  <a:cubicBezTo>
                    <a:pt x="328" y="42"/>
                    <a:pt x="348" y="42"/>
                    <a:pt x="360" y="54"/>
                  </a:cubicBezTo>
                  <a:cubicBezTo>
                    <a:pt x="378" y="72"/>
                    <a:pt x="378" y="72"/>
                    <a:pt x="378" y="72"/>
                  </a:cubicBezTo>
                  <a:cubicBezTo>
                    <a:pt x="384" y="78"/>
                    <a:pt x="387" y="85"/>
                    <a:pt x="387" y="94"/>
                  </a:cubicBezTo>
                  <a:cubicBezTo>
                    <a:pt x="387" y="102"/>
                    <a:pt x="384" y="110"/>
                    <a:pt x="378" y="116"/>
                  </a:cubicBezTo>
                  <a:cubicBezTo>
                    <a:pt x="362" y="132"/>
                    <a:pt x="362" y="132"/>
                    <a:pt x="362" y="132"/>
                  </a:cubicBezTo>
                  <a:cubicBezTo>
                    <a:pt x="370" y="144"/>
                    <a:pt x="375" y="158"/>
                    <a:pt x="379" y="172"/>
                  </a:cubicBezTo>
                  <a:cubicBezTo>
                    <a:pt x="401" y="172"/>
                    <a:pt x="401" y="172"/>
                    <a:pt x="401" y="172"/>
                  </a:cubicBezTo>
                  <a:cubicBezTo>
                    <a:pt x="418" y="172"/>
                    <a:pt x="432" y="186"/>
                    <a:pt x="432" y="203"/>
                  </a:cubicBezTo>
                  <a:cubicBezTo>
                    <a:pt x="432" y="228"/>
                    <a:pt x="432" y="228"/>
                    <a:pt x="432" y="228"/>
                  </a:cubicBezTo>
                  <a:cubicBezTo>
                    <a:pt x="432" y="246"/>
                    <a:pt x="418" y="260"/>
                    <a:pt x="401" y="260"/>
                  </a:cubicBezTo>
                  <a:cubicBezTo>
                    <a:pt x="379" y="260"/>
                    <a:pt x="379" y="260"/>
                    <a:pt x="379" y="260"/>
                  </a:cubicBezTo>
                  <a:cubicBezTo>
                    <a:pt x="375" y="274"/>
                    <a:pt x="370" y="287"/>
                    <a:pt x="362" y="300"/>
                  </a:cubicBezTo>
                  <a:cubicBezTo>
                    <a:pt x="378" y="316"/>
                    <a:pt x="378" y="316"/>
                    <a:pt x="378" y="316"/>
                  </a:cubicBezTo>
                  <a:cubicBezTo>
                    <a:pt x="384" y="322"/>
                    <a:pt x="387" y="329"/>
                    <a:pt x="387" y="338"/>
                  </a:cubicBezTo>
                  <a:cubicBezTo>
                    <a:pt x="387" y="346"/>
                    <a:pt x="384" y="354"/>
                    <a:pt x="378" y="360"/>
                  </a:cubicBezTo>
                  <a:cubicBezTo>
                    <a:pt x="360" y="378"/>
                    <a:pt x="360" y="378"/>
                    <a:pt x="360" y="378"/>
                  </a:cubicBezTo>
                  <a:cubicBezTo>
                    <a:pt x="348" y="390"/>
                    <a:pt x="328" y="390"/>
                    <a:pt x="316" y="378"/>
                  </a:cubicBezTo>
                  <a:cubicBezTo>
                    <a:pt x="300" y="362"/>
                    <a:pt x="300" y="362"/>
                    <a:pt x="300" y="362"/>
                  </a:cubicBezTo>
                  <a:cubicBezTo>
                    <a:pt x="288" y="369"/>
                    <a:pt x="274" y="375"/>
                    <a:pt x="260" y="379"/>
                  </a:cubicBezTo>
                  <a:cubicBezTo>
                    <a:pt x="260" y="401"/>
                    <a:pt x="260" y="401"/>
                    <a:pt x="260" y="401"/>
                  </a:cubicBezTo>
                  <a:cubicBezTo>
                    <a:pt x="260" y="418"/>
                    <a:pt x="246" y="432"/>
                    <a:pt x="229" y="432"/>
                  </a:cubicBezTo>
                  <a:close/>
                  <a:moveTo>
                    <a:pt x="131" y="348"/>
                  </a:moveTo>
                  <a:cubicBezTo>
                    <a:pt x="132" y="348"/>
                    <a:pt x="133" y="349"/>
                    <a:pt x="134" y="349"/>
                  </a:cubicBezTo>
                  <a:cubicBezTo>
                    <a:pt x="148" y="358"/>
                    <a:pt x="164" y="364"/>
                    <a:pt x="180" y="368"/>
                  </a:cubicBezTo>
                  <a:cubicBezTo>
                    <a:pt x="183" y="369"/>
                    <a:pt x="185" y="371"/>
                    <a:pt x="185" y="374"/>
                  </a:cubicBezTo>
                  <a:cubicBezTo>
                    <a:pt x="185" y="401"/>
                    <a:pt x="185" y="401"/>
                    <a:pt x="185" y="401"/>
                  </a:cubicBezTo>
                  <a:cubicBezTo>
                    <a:pt x="185" y="411"/>
                    <a:pt x="193" y="420"/>
                    <a:pt x="204" y="420"/>
                  </a:cubicBezTo>
                  <a:cubicBezTo>
                    <a:pt x="229" y="420"/>
                    <a:pt x="229" y="420"/>
                    <a:pt x="229" y="420"/>
                  </a:cubicBezTo>
                  <a:cubicBezTo>
                    <a:pt x="239" y="420"/>
                    <a:pt x="248" y="411"/>
                    <a:pt x="248" y="401"/>
                  </a:cubicBezTo>
                  <a:cubicBezTo>
                    <a:pt x="248" y="374"/>
                    <a:pt x="248" y="374"/>
                    <a:pt x="248" y="374"/>
                  </a:cubicBezTo>
                  <a:cubicBezTo>
                    <a:pt x="248" y="371"/>
                    <a:pt x="250" y="369"/>
                    <a:pt x="252" y="368"/>
                  </a:cubicBezTo>
                  <a:cubicBezTo>
                    <a:pt x="269" y="364"/>
                    <a:pt x="284" y="358"/>
                    <a:pt x="298" y="349"/>
                  </a:cubicBezTo>
                  <a:cubicBezTo>
                    <a:pt x="301" y="348"/>
                    <a:pt x="304" y="348"/>
                    <a:pt x="306" y="350"/>
                  </a:cubicBezTo>
                  <a:cubicBezTo>
                    <a:pt x="325" y="369"/>
                    <a:pt x="325" y="369"/>
                    <a:pt x="325" y="369"/>
                  </a:cubicBezTo>
                  <a:cubicBezTo>
                    <a:pt x="332" y="376"/>
                    <a:pt x="344" y="376"/>
                    <a:pt x="352" y="369"/>
                  </a:cubicBezTo>
                  <a:cubicBezTo>
                    <a:pt x="369" y="351"/>
                    <a:pt x="369" y="351"/>
                    <a:pt x="369" y="351"/>
                  </a:cubicBezTo>
                  <a:cubicBezTo>
                    <a:pt x="377" y="344"/>
                    <a:pt x="377" y="332"/>
                    <a:pt x="369" y="324"/>
                  </a:cubicBezTo>
                  <a:cubicBezTo>
                    <a:pt x="351" y="306"/>
                    <a:pt x="351" y="306"/>
                    <a:pt x="351" y="306"/>
                  </a:cubicBezTo>
                  <a:cubicBezTo>
                    <a:pt x="349" y="304"/>
                    <a:pt x="348" y="302"/>
                    <a:pt x="349" y="299"/>
                  </a:cubicBezTo>
                  <a:cubicBezTo>
                    <a:pt x="349" y="299"/>
                    <a:pt x="349" y="298"/>
                    <a:pt x="349" y="298"/>
                  </a:cubicBezTo>
                  <a:cubicBezTo>
                    <a:pt x="358" y="284"/>
                    <a:pt x="364" y="268"/>
                    <a:pt x="368" y="252"/>
                  </a:cubicBezTo>
                  <a:cubicBezTo>
                    <a:pt x="369" y="249"/>
                    <a:pt x="371" y="247"/>
                    <a:pt x="374" y="247"/>
                  </a:cubicBezTo>
                  <a:cubicBezTo>
                    <a:pt x="401" y="247"/>
                    <a:pt x="401" y="247"/>
                    <a:pt x="401" y="247"/>
                  </a:cubicBezTo>
                  <a:cubicBezTo>
                    <a:pt x="412" y="247"/>
                    <a:pt x="420" y="239"/>
                    <a:pt x="420" y="228"/>
                  </a:cubicBezTo>
                  <a:cubicBezTo>
                    <a:pt x="420" y="203"/>
                    <a:pt x="420" y="203"/>
                    <a:pt x="420" y="203"/>
                  </a:cubicBezTo>
                  <a:cubicBezTo>
                    <a:pt x="420" y="193"/>
                    <a:pt x="412" y="184"/>
                    <a:pt x="401" y="184"/>
                  </a:cubicBezTo>
                  <a:cubicBezTo>
                    <a:pt x="374" y="184"/>
                    <a:pt x="374" y="184"/>
                    <a:pt x="374" y="184"/>
                  </a:cubicBezTo>
                  <a:cubicBezTo>
                    <a:pt x="371" y="184"/>
                    <a:pt x="369" y="182"/>
                    <a:pt x="368" y="180"/>
                  </a:cubicBezTo>
                  <a:cubicBezTo>
                    <a:pt x="364" y="163"/>
                    <a:pt x="358" y="148"/>
                    <a:pt x="349" y="134"/>
                  </a:cubicBezTo>
                  <a:cubicBezTo>
                    <a:pt x="348" y="131"/>
                    <a:pt x="348" y="128"/>
                    <a:pt x="350" y="126"/>
                  </a:cubicBezTo>
                  <a:cubicBezTo>
                    <a:pt x="369" y="107"/>
                    <a:pt x="369" y="107"/>
                    <a:pt x="369" y="107"/>
                  </a:cubicBezTo>
                  <a:cubicBezTo>
                    <a:pt x="377" y="100"/>
                    <a:pt x="377" y="88"/>
                    <a:pt x="369" y="80"/>
                  </a:cubicBezTo>
                  <a:cubicBezTo>
                    <a:pt x="352" y="63"/>
                    <a:pt x="352" y="63"/>
                    <a:pt x="352" y="63"/>
                  </a:cubicBezTo>
                  <a:cubicBezTo>
                    <a:pt x="344" y="55"/>
                    <a:pt x="332" y="55"/>
                    <a:pt x="325" y="63"/>
                  </a:cubicBezTo>
                  <a:cubicBezTo>
                    <a:pt x="306" y="82"/>
                    <a:pt x="306" y="82"/>
                    <a:pt x="306" y="82"/>
                  </a:cubicBezTo>
                  <a:cubicBezTo>
                    <a:pt x="304" y="84"/>
                    <a:pt x="300" y="84"/>
                    <a:pt x="298" y="83"/>
                  </a:cubicBezTo>
                  <a:cubicBezTo>
                    <a:pt x="284" y="74"/>
                    <a:pt x="269" y="68"/>
                    <a:pt x="252" y="64"/>
                  </a:cubicBezTo>
                  <a:cubicBezTo>
                    <a:pt x="250" y="63"/>
                    <a:pt x="248" y="61"/>
                    <a:pt x="248" y="58"/>
                  </a:cubicBezTo>
                  <a:cubicBezTo>
                    <a:pt x="248" y="31"/>
                    <a:pt x="248" y="31"/>
                    <a:pt x="248" y="31"/>
                  </a:cubicBezTo>
                  <a:cubicBezTo>
                    <a:pt x="248" y="20"/>
                    <a:pt x="239" y="12"/>
                    <a:pt x="229" y="12"/>
                  </a:cubicBezTo>
                  <a:cubicBezTo>
                    <a:pt x="204" y="12"/>
                    <a:pt x="204" y="12"/>
                    <a:pt x="204" y="12"/>
                  </a:cubicBezTo>
                  <a:cubicBezTo>
                    <a:pt x="193" y="12"/>
                    <a:pt x="185" y="20"/>
                    <a:pt x="185" y="31"/>
                  </a:cubicBezTo>
                  <a:cubicBezTo>
                    <a:pt x="185" y="58"/>
                    <a:pt x="185" y="58"/>
                    <a:pt x="185" y="58"/>
                  </a:cubicBezTo>
                  <a:cubicBezTo>
                    <a:pt x="185" y="61"/>
                    <a:pt x="183" y="63"/>
                    <a:pt x="180" y="64"/>
                  </a:cubicBezTo>
                  <a:cubicBezTo>
                    <a:pt x="164" y="68"/>
                    <a:pt x="148" y="74"/>
                    <a:pt x="134" y="83"/>
                  </a:cubicBezTo>
                  <a:cubicBezTo>
                    <a:pt x="132" y="84"/>
                    <a:pt x="129" y="84"/>
                    <a:pt x="127" y="82"/>
                  </a:cubicBezTo>
                  <a:cubicBezTo>
                    <a:pt x="108" y="63"/>
                    <a:pt x="108" y="63"/>
                    <a:pt x="108" y="63"/>
                  </a:cubicBezTo>
                  <a:cubicBezTo>
                    <a:pt x="100" y="55"/>
                    <a:pt x="88" y="55"/>
                    <a:pt x="81" y="63"/>
                  </a:cubicBezTo>
                  <a:cubicBezTo>
                    <a:pt x="63" y="80"/>
                    <a:pt x="63" y="80"/>
                    <a:pt x="63" y="80"/>
                  </a:cubicBezTo>
                  <a:cubicBezTo>
                    <a:pt x="59" y="84"/>
                    <a:pt x="57" y="89"/>
                    <a:pt x="57" y="94"/>
                  </a:cubicBezTo>
                  <a:cubicBezTo>
                    <a:pt x="57" y="99"/>
                    <a:pt x="59" y="104"/>
                    <a:pt x="63" y="107"/>
                  </a:cubicBezTo>
                  <a:cubicBezTo>
                    <a:pt x="82" y="126"/>
                    <a:pt x="82" y="126"/>
                    <a:pt x="82" y="126"/>
                  </a:cubicBezTo>
                  <a:cubicBezTo>
                    <a:pt x="84" y="128"/>
                    <a:pt x="84" y="131"/>
                    <a:pt x="83" y="134"/>
                  </a:cubicBezTo>
                  <a:cubicBezTo>
                    <a:pt x="74" y="148"/>
                    <a:pt x="68" y="163"/>
                    <a:pt x="64" y="180"/>
                  </a:cubicBezTo>
                  <a:cubicBezTo>
                    <a:pt x="63" y="182"/>
                    <a:pt x="61" y="184"/>
                    <a:pt x="58" y="184"/>
                  </a:cubicBezTo>
                  <a:cubicBezTo>
                    <a:pt x="31" y="184"/>
                    <a:pt x="31" y="184"/>
                    <a:pt x="31" y="184"/>
                  </a:cubicBezTo>
                  <a:cubicBezTo>
                    <a:pt x="21" y="184"/>
                    <a:pt x="12" y="193"/>
                    <a:pt x="12" y="203"/>
                  </a:cubicBezTo>
                  <a:cubicBezTo>
                    <a:pt x="12" y="228"/>
                    <a:pt x="12" y="228"/>
                    <a:pt x="12" y="228"/>
                  </a:cubicBezTo>
                  <a:cubicBezTo>
                    <a:pt x="12" y="239"/>
                    <a:pt x="21" y="247"/>
                    <a:pt x="31" y="247"/>
                  </a:cubicBezTo>
                  <a:cubicBezTo>
                    <a:pt x="58" y="247"/>
                    <a:pt x="58" y="247"/>
                    <a:pt x="58" y="247"/>
                  </a:cubicBezTo>
                  <a:cubicBezTo>
                    <a:pt x="61" y="247"/>
                    <a:pt x="63" y="249"/>
                    <a:pt x="64" y="252"/>
                  </a:cubicBezTo>
                  <a:cubicBezTo>
                    <a:pt x="68" y="268"/>
                    <a:pt x="74" y="284"/>
                    <a:pt x="83" y="298"/>
                  </a:cubicBezTo>
                  <a:cubicBezTo>
                    <a:pt x="83" y="298"/>
                    <a:pt x="83" y="299"/>
                    <a:pt x="83" y="299"/>
                  </a:cubicBezTo>
                  <a:cubicBezTo>
                    <a:pt x="84" y="302"/>
                    <a:pt x="83" y="304"/>
                    <a:pt x="82" y="306"/>
                  </a:cubicBezTo>
                  <a:cubicBezTo>
                    <a:pt x="63" y="324"/>
                    <a:pt x="63" y="324"/>
                    <a:pt x="63" y="324"/>
                  </a:cubicBezTo>
                  <a:cubicBezTo>
                    <a:pt x="59" y="328"/>
                    <a:pt x="57" y="333"/>
                    <a:pt x="57" y="338"/>
                  </a:cubicBezTo>
                  <a:cubicBezTo>
                    <a:pt x="57" y="343"/>
                    <a:pt x="59" y="348"/>
                    <a:pt x="63" y="351"/>
                  </a:cubicBezTo>
                  <a:cubicBezTo>
                    <a:pt x="81" y="369"/>
                    <a:pt x="81" y="369"/>
                    <a:pt x="81" y="369"/>
                  </a:cubicBezTo>
                  <a:cubicBezTo>
                    <a:pt x="88" y="376"/>
                    <a:pt x="100" y="376"/>
                    <a:pt x="108" y="369"/>
                  </a:cubicBezTo>
                  <a:cubicBezTo>
                    <a:pt x="126" y="350"/>
                    <a:pt x="126" y="350"/>
                    <a:pt x="126" y="350"/>
                  </a:cubicBezTo>
                  <a:cubicBezTo>
                    <a:pt x="127" y="349"/>
                    <a:pt x="129" y="348"/>
                    <a:pt x="131" y="34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</p:grpSp>
      <p:pic>
        <p:nvPicPr>
          <p:cNvPr id="46" name="Picture 2" descr="Free Calendar Emotion photo and picture">
            <a:extLst>
              <a:ext uri="{FF2B5EF4-FFF2-40B4-BE49-F238E27FC236}">
                <a16:creationId xmlns:a16="http://schemas.microsoft.com/office/drawing/2014/main" id="{70341A79-D23C-B999-088C-E061B8F8833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8620"/>
          <a:stretch/>
        </p:blipFill>
        <p:spPr bwMode="auto">
          <a:xfrm>
            <a:off x="-37416" y="1154340"/>
            <a:ext cx="3548759" cy="4581299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7" name="Group 46">
            <a:extLst>
              <a:ext uri="{FF2B5EF4-FFF2-40B4-BE49-F238E27FC236}">
                <a16:creationId xmlns:a16="http://schemas.microsoft.com/office/drawing/2014/main" id="{077C3667-AC0D-782B-A05F-65B0F7264AD1}"/>
              </a:ext>
            </a:extLst>
          </p:cNvPr>
          <p:cNvGrpSpPr/>
          <p:nvPr/>
        </p:nvGrpSpPr>
        <p:grpSpPr>
          <a:xfrm>
            <a:off x="4832902" y="1437474"/>
            <a:ext cx="331880" cy="329118"/>
            <a:chOff x="10255012" y="1748700"/>
            <a:chExt cx="332937" cy="330167"/>
          </a:xfrm>
          <a:solidFill>
            <a:schemeClr val="accent1"/>
          </a:solidFill>
        </p:grpSpPr>
        <p:sp>
          <p:nvSpPr>
            <p:cNvPr id="48" name="Freeform 44">
              <a:extLst>
                <a:ext uri="{FF2B5EF4-FFF2-40B4-BE49-F238E27FC236}">
                  <a16:creationId xmlns:a16="http://schemas.microsoft.com/office/drawing/2014/main" id="{A703EBF1-4FB1-9432-5AA0-750D898FB3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32697" y="1826387"/>
              <a:ext cx="174793" cy="174794"/>
            </a:xfrm>
            <a:custGeom>
              <a:avLst/>
              <a:gdLst>
                <a:gd name="T0" fmla="*/ 114 w 228"/>
                <a:gd name="T1" fmla="*/ 228 h 228"/>
                <a:gd name="T2" fmla="*/ 0 w 228"/>
                <a:gd name="T3" fmla="*/ 114 h 228"/>
                <a:gd name="T4" fmla="*/ 114 w 228"/>
                <a:gd name="T5" fmla="*/ 0 h 228"/>
                <a:gd name="T6" fmla="*/ 228 w 228"/>
                <a:gd name="T7" fmla="*/ 114 h 228"/>
                <a:gd name="T8" fmla="*/ 114 w 228"/>
                <a:gd name="T9" fmla="*/ 228 h 228"/>
                <a:gd name="T10" fmla="*/ 114 w 228"/>
                <a:gd name="T11" fmla="*/ 12 h 228"/>
                <a:gd name="T12" fmla="*/ 12 w 228"/>
                <a:gd name="T13" fmla="*/ 114 h 228"/>
                <a:gd name="T14" fmla="*/ 114 w 228"/>
                <a:gd name="T15" fmla="*/ 216 h 228"/>
                <a:gd name="T16" fmla="*/ 216 w 228"/>
                <a:gd name="T17" fmla="*/ 114 h 228"/>
                <a:gd name="T18" fmla="*/ 114 w 228"/>
                <a:gd name="T19" fmla="*/ 12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8" h="228">
                  <a:moveTo>
                    <a:pt x="114" y="228"/>
                  </a:moveTo>
                  <a:cubicBezTo>
                    <a:pt x="51" y="228"/>
                    <a:pt x="0" y="177"/>
                    <a:pt x="0" y="114"/>
                  </a:cubicBezTo>
                  <a:cubicBezTo>
                    <a:pt x="0" y="51"/>
                    <a:pt x="51" y="0"/>
                    <a:pt x="114" y="0"/>
                  </a:cubicBezTo>
                  <a:cubicBezTo>
                    <a:pt x="177" y="0"/>
                    <a:pt x="228" y="51"/>
                    <a:pt x="228" y="114"/>
                  </a:cubicBezTo>
                  <a:cubicBezTo>
                    <a:pt x="228" y="177"/>
                    <a:pt x="177" y="228"/>
                    <a:pt x="114" y="228"/>
                  </a:cubicBezTo>
                  <a:close/>
                  <a:moveTo>
                    <a:pt x="114" y="12"/>
                  </a:moveTo>
                  <a:cubicBezTo>
                    <a:pt x="58" y="12"/>
                    <a:pt x="12" y="58"/>
                    <a:pt x="12" y="114"/>
                  </a:cubicBezTo>
                  <a:cubicBezTo>
                    <a:pt x="12" y="170"/>
                    <a:pt x="58" y="216"/>
                    <a:pt x="114" y="216"/>
                  </a:cubicBezTo>
                  <a:cubicBezTo>
                    <a:pt x="170" y="216"/>
                    <a:pt x="216" y="170"/>
                    <a:pt x="216" y="114"/>
                  </a:cubicBezTo>
                  <a:cubicBezTo>
                    <a:pt x="216" y="58"/>
                    <a:pt x="170" y="12"/>
                    <a:pt x="11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49" name="Freeform 45">
              <a:extLst>
                <a:ext uri="{FF2B5EF4-FFF2-40B4-BE49-F238E27FC236}">
                  <a16:creationId xmlns:a16="http://schemas.microsoft.com/office/drawing/2014/main" id="{DF6537C4-8C72-93F7-4B47-4C5111D52AB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5012" y="1748700"/>
              <a:ext cx="332937" cy="330167"/>
            </a:xfrm>
            <a:custGeom>
              <a:avLst/>
              <a:gdLst>
                <a:gd name="T0" fmla="*/ 204 w 432"/>
                <a:gd name="T1" fmla="*/ 432 h 432"/>
                <a:gd name="T2" fmla="*/ 172 w 432"/>
                <a:gd name="T3" fmla="*/ 379 h 432"/>
                <a:gd name="T4" fmla="*/ 116 w 432"/>
                <a:gd name="T5" fmla="*/ 378 h 432"/>
                <a:gd name="T6" fmla="*/ 54 w 432"/>
                <a:gd name="T7" fmla="*/ 360 h 432"/>
                <a:gd name="T8" fmla="*/ 54 w 432"/>
                <a:gd name="T9" fmla="*/ 316 h 432"/>
                <a:gd name="T10" fmla="*/ 53 w 432"/>
                <a:gd name="T11" fmla="*/ 260 h 432"/>
                <a:gd name="T12" fmla="*/ 0 w 432"/>
                <a:gd name="T13" fmla="*/ 228 h 432"/>
                <a:gd name="T14" fmla="*/ 31 w 432"/>
                <a:gd name="T15" fmla="*/ 172 h 432"/>
                <a:gd name="T16" fmla="*/ 70 w 432"/>
                <a:gd name="T17" fmla="*/ 132 h 432"/>
                <a:gd name="T18" fmla="*/ 45 w 432"/>
                <a:gd name="T19" fmla="*/ 94 h 432"/>
                <a:gd name="T20" fmla="*/ 72 w 432"/>
                <a:gd name="T21" fmla="*/ 54 h 432"/>
                <a:gd name="T22" fmla="*/ 132 w 432"/>
                <a:gd name="T23" fmla="*/ 70 h 432"/>
                <a:gd name="T24" fmla="*/ 172 w 432"/>
                <a:gd name="T25" fmla="*/ 31 h 432"/>
                <a:gd name="T26" fmla="*/ 229 w 432"/>
                <a:gd name="T27" fmla="*/ 0 h 432"/>
                <a:gd name="T28" fmla="*/ 260 w 432"/>
                <a:gd name="T29" fmla="*/ 53 h 432"/>
                <a:gd name="T30" fmla="*/ 316 w 432"/>
                <a:gd name="T31" fmla="*/ 54 h 432"/>
                <a:gd name="T32" fmla="*/ 378 w 432"/>
                <a:gd name="T33" fmla="*/ 72 h 432"/>
                <a:gd name="T34" fmla="*/ 378 w 432"/>
                <a:gd name="T35" fmla="*/ 116 h 432"/>
                <a:gd name="T36" fmla="*/ 379 w 432"/>
                <a:gd name="T37" fmla="*/ 172 h 432"/>
                <a:gd name="T38" fmla="*/ 432 w 432"/>
                <a:gd name="T39" fmla="*/ 203 h 432"/>
                <a:gd name="T40" fmla="*/ 401 w 432"/>
                <a:gd name="T41" fmla="*/ 260 h 432"/>
                <a:gd name="T42" fmla="*/ 362 w 432"/>
                <a:gd name="T43" fmla="*/ 300 h 432"/>
                <a:gd name="T44" fmla="*/ 387 w 432"/>
                <a:gd name="T45" fmla="*/ 338 h 432"/>
                <a:gd name="T46" fmla="*/ 360 w 432"/>
                <a:gd name="T47" fmla="*/ 378 h 432"/>
                <a:gd name="T48" fmla="*/ 300 w 432"/>
                <a:gd name="T49" fmla="*/ 362 h 432"/>
                <a:gd name="T50" fmla="*/ 260 w 432"/>
                <a:gd name="T51" fmla="*/ 401 h 432"/>
                <a:gd name="T52" fmla="*/ 131 w 432"/>
                <a:gd name="T53" fmla="*/ 348 h 432"/>
                <a:gd name="T54" fmla="*/ 180 w 432"/>
                <a:gd name="T55" fmla="*/ 368 h 432"/>
                <a:gd name="T56" fmla="*/ 185 w 432"/>
                <a:gd name="T57" fmla="*/ 401 h 432"/>
                <a:gd name="T58" fmla="*/ 229 w 432"/>
                <a:gd name="T59" fmla="*/ 420 h 432"/>
                <a:gd name="T60" fmla="*/ 248 w 432"/>
                <a:gd name="T61" fmla="*/ 374 h 432"/>
                <a:gd name="T62" fmla="*/ 298 w 432"/>
                <a:gd name="T63" fmla="*/ 349 h 432"/>
                <a:gd name="T64" fmla="*/ 325 w 432"/>
                <a:gd name="T65" fmla="*/ 369 h 432"/>
                <a:gd name="T66" fmla="*/ 369 w 432"/>
                <a:gd name="T67" fmla="*/ 351 h 432"/>
                <a:gd name="T68" fmla="*/ 351 w 432"/>
                <a:gd name="T69" fmla="*/ 306 h 432"/>
                <a:gd name="T70" fmla="*/ 349 w 432"/>
                <a:gd name="T71" fmla="*/ 298 h 432"/>
                <a:gd name="T72" fmla="*/ 374 w 432"/>
                <a:gd name="T73" fmla="*/ 247 h 432"/>
                <a:gd name="T74" fmla="*/ 420 w 432"/>
                <a:gd name="T75" fmla="*/ 228 h 432"/>
                <a:gd name="T76" fmla="*/ 401 w 432"/>
                <a:gd name="T77" fmla="*/ 184 h 432"/>
                <a:gd name="T78" fmla="*/ 368 w 432"/>
                <a:gd name="T79" fmla="*/ 180 h 432"/>
                <a:gd name="T80" fmla="*/ 350 w 432"/>
                <a:gd name="T81" fmla="*/ 126 h 432"/>
                <a:gd name="T82" fmla="*/ 369 w 432"/>
                <a:gd name="T83" fmla="*/ 80 h 432"/>
                <a:gd name="T84" fmla="*/ 325 w 432"/>
                <a:gd name="T85" fmla="*/ 63 h 432"/>
                <a:gd name="T86" fmla="*/ 298 w 432"/>
                <a:gd name="T87" fmla="*/ 83 h 432"/>
                <a:gd name="T88" fmla="*/ 248 w 432"/>
                <a:gd name="T89" fmla="*/ 58 h 432"/>
                <a:gd name="T90" fmla="*/ 229 w 432"/>
                <a:gd name="T91" fmla="*/ 12 h 432"/>
                <a:gd name="T92" fmla="*/ 185 w 432"/>
                <a:gd name="T93" fmla="*/ 31 h 432"/>
                <a:gd name="T94" fmla="*/ 180 w 432"/>
                <a:gd name="T95" fmla="*/ 64 h 432"/>
                <a:gd name="T96" fmla="*/ 127 w 432"/>
                <a:gd name="T97" fmla="*/ 82 h 432"/>
                <a:gd name="T98" fmla="*/ 81 w 432"/>
                <a:gd name="T99" fmla="*/ 63 h 432"/>
                <a:gd name="T100" fmla="*/ 57 w 432"/>
                <a:gd name="T101" fmla="*/ 94 h 432"/>
                <a:gd name="T102" fmla="*/ 82 w 432"/>
                <a:gd name="T103" fmla="*/ 126 h 432"/>
                <a:gd name="T104" fmla="*/ 64 w 432"/>
                <a:gd name="T105" fmla="*/ 180 h 432"/>
                <a:gd name="T106" fmla="*/ 31 w 432"/>
                <a:gd name="T107" fmla="*/ 184 h 432"/>
                <a:gd name="T108" fmla="*/ 12 w 432"/>
                <a:gd name="T109" fmla="*/ 228 h 432"/>
                <a:gd name="T110" fmla="*/ 58 w 432"/>
                <a:gd name="T111" fmla="*/ 247 h 432"/>
                <a:gd name="T112" fmla="*/ 83 w 432"/>
                <a:gd name="T113" fmla="*/ 298 h 432"/>
                <a:gd name="T114" fmla="*/ 82 w 432"/>
                <a:gd name="T115" fmla="*/ 306 h 432"/>
                <a:gd name="T116" fmla="*/ 57 w 432"/>
                <a:gd name="T117" fmla="*/ 338 h 432"/>
                <a:gd name="T118" fmla="*/ 81 w 432"/>
                <a:gd name="T119" fmla="*/ 369 h 432"/>
                <a:gd name="T120" fmla="*/ 126 w 432"/>
                <a:gd name="T121" fmla="*/ 350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32" h="432">
                  <a:moveTo>
                    <a:pt x="229" y="432"/>
                  </a:moveTo>
                  <a:cubicBezTo>
                    <a:pt x="204" y="432"/>
                    <a:pt x="204" y="432"/>
                    <a:pt x="204" y="432"/>
                  </a:cubicBezTo>
                  <a:cubicBezTo>
                    <a:pt x="186" y="432"/>
                    <a:pt x="172" y="418"/>
                    <a:pt x="172" y="401"/>
                  </a:cubicBezTo>
                  <a:cubicBezTo>
                    <a:pt x="172" y="379"/>
                    <a:pt x="172" y="379"/>
                    <a:pt x="172" y="379"/>
                  </a:cubicBezTo>
                  <a:cubicBezTo>
                    <a:pt x="158" y="375"/>
                    <a:pt x="145" y="369"/>
                    <a:pt x="132" y="362"/>
                  </a:cubicBezTo>
                  <a:cubicBezTo>
                    <a:pt x="116" y="378"/>
                    <a:pt x="116" y="378"/>
                    <a:pt x="116" y="378"/>
                  </a:cubicBezTo>
                  <a:cubicBezTo>
                    <a:pt x="104" y="390"/>
                    <a:pt x="84" y="390"/>
                    <a:pt x="72" y="378"/>
                  </a:cubicBezTo>
                  <a:cubicBezTo>
                    <a:pt x="54" y="360"/>
                    <a:pt x="54" y="360"/>
                    <a:pt x="54" y="360"/>
                  </a:cubicBezTo>
                  <a:cubicBezTo>
                    <a:pt x="48" y="354"/>
                    <a:pt x="45" y="346"/>
                    <a:pt x="45" y="338"/>
                  </a:cubicBezTo>
                  <a:cubicBezTo>
                    <a:pt x="45" y="329"/>
                    <a:pt x="48" y="322"/>
                    <a:pt x="54" y="316"/>
                  </a:cubicBezTo>
                  <a:cubicBezTo>
                    <a:pt x="70" y="300"/>
                    <a:pt x="70" y="300"/>
                    <a:pt x="70" y="300"/>
                  </a:cubicBezTo>
                  <a:cubicBezTo>
                    <a:pt x="63" y="287"/>
                    <a:pt x="57" y="274"/>
                    <a:pt x="53" y="260"/>
                  </a:cubicBezTo>
                  <a:cubicBezTo>
                    <a:pt x="31" y="260"/>
                    <a:pt x="31" y="260"/>
                    <a:pt x="31" y="260"/>
                  </a:cubicBezTo>
                  <a:cubicBezTo>
                    <a:pt x="14" y="260"/>
                    <a:pt x="0" y="246"/>
                    <a:pt x="0" y="228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0" y="186"/>
                    <a:pt x="14" y="172"/>
                    <a:pt x="31" y="172"/>
                  </a:cubicBezTo>
                  <a:cubicBezTo>
                    <a:pt x="53" y="172"/>
                    <a:pt x="53" y="172"/>
                    <a:pt x="53" y="172"/>
                  </a:cubicBezTo>
                  <a:cubicBezTo>
                    <a:pt x="57" y="158"/>
                    <a:pt x="63" y="144"/>
                    <a:pt x="70" y="132"/>
                  </a:cubicBezTo>
                  <a:cubicBezTo>
                    <a:pt x="54" y="116"/>
                    <a:pt x="54" y="116"/>
                    <a:pt x="54" y="116"/>
                  </a:cubicBezTo>
                  <a:cubicBezTo>
                    <a:pt x="48" y="110"/>
                    <a:pt x="45" y="102"/>
                    <a:pt x="45" y="94"/>
                  </a:cubicBezTo>
                  <a:cubicBezTo>
                    <a:pt x="45" y="85"/>
                    <a:pt x="48" y="78"/>
                    <a:pt x="54" y="72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84" y="42"/>
                    <a:pt x="104" y="42"/>
                    <a:pt x="116" y="54"/>
                  </a:cubicBezTo>
                  <a:cubicBezTo>
                    <a:pt x="132" y="70"/>
                    <a:pt x="132" y="70"/>
                    <a:pt x="132" y="70"/>
                  </a:cubicBezTo>
                  <a:cubicBezTo>
                    <a:pt x="145" y="62"/>
                    <a:pt x="158" y="57"/>
                    <a:pt x="172" y="53"/>
                  </a:cubicBezTo>
                  <a:cubicBezTo>
                    <a:pt x="172" y="31"/>
                    <a:pt x="172" y="31"/>
                    <a:pt x="172" y="31"/>
                  </a:cubicBezTo>
                  <a:cubicBezTo>
                    <a:pt x="172" y="14"/>
                    <a:pt x="186" y="0"/>
                    <a:pt x="204" y="0"/>
                  </a:cubicBezTo>
                  <a:cubicBezTo>
                    <a:pt x="229" y="0"/>
                    <a:pt x="229" y="0"/>
                    <a:pt x="229" y="0"/>
                  </a:cubicBezTo>
                  <a:cubicBezTo>
                    <a:pt x="246" y="0"/>
                    <a:pt x="260" y="14"/>
                    <a:pt x="260" y="31"/>
                  </a:cubicBezTo>
                  <a:cubicBezTo>
                    <a:pt x="260" y="53"/>
                    <a:pt x="260" y="53"/>
                    <a:pt x="260" y="53"/>
                  </a:cubicBezTo>
                  <a:cubicBezTo>
                    <a:pt x="274" y="57"/>
                    <a:pt x="288" y="62"/>
                    <a:pt x="300" y="70"/>
                  </a:cubicBezTo>
                  <a:cubicBezTo>
                    <a:pt x="316" y="54"/>
                    <a:pt x="316" y="54"/>
                    <a:pt x="316" y="54"/>
                  </a:cubicBezTo>
                  <a:cubicBezTo>
                    <a:pt x="328" y="42"/>
                    <a:pt x="348" y="42"/>
                    <a:pt x="360" y="54"/>
                  </a:cubicBezTo>
                  <a:cubicBezTo>
                    <a:pt x="378" y="72"/>
                    <a:pt x="378" y="72"/>
                    <a:pt x="378" y="72"/>
                  </a:cubicBezTo>
                  <a:cubicBezTo>
                    <a:pt x="384" y="78"/>
                    <a:pt x="387" y="85"/>
                    <a:pt x="387" y="94"/>
                  </a:cubicBezTo>
                  <a:cubicBezTo>
                    <a:pt x="387" y="102"/>
                    <a:pt x="384" y="110"/>
                    <a:pt x="378" y="116"/>
                  </a:cubicBezTo>
                  <a:cubicBezTo>
                    <a:pt x="362" y="132"/>
                    <a:pt x="362" y="132"/>
                    <a:pt x="362" y="132"/>
                  </a:cubicBezTo>
                  <a:cubicBezTo>
                    <a:pt x="370" y="144"/>
                    <a:pt x="375" y="158"/>
                    <a:pt x="379" y="172"/>
                  </a:cubicBezTo>
                  <a:cubicBezTo>
                    <a:pt x="401" y="172"/>
                    <a:pt x="401" y="172"/>
                    <a:pt x="401" y="172"/>
                  </a:cubicBezTo>
                  <a:cubicBezTo>
                    <a:pt x="418" y="172"/>
                    <a:pt x="432" y="186"/>
                    <a:pt x="432" y="203"/>
                  </a:cubicBezTo>
                  <a:cubicBezTo>
                    <a:pt x="432" y="228"/>
                    <a:pt x="432" y="228"/>
                    <a:pt x="432" y="228"/>
                  </a:cubicBezTo>
                  <a:cubicBezTo>
                    <a:pt x="432" y="246"/>
                    <a:pt x="418" y="260"/>
                    <a:pt x="401" y="260"/>
                  </a:cubicBezTo>
                  <a:cubicBezTo>
                    <a:pt x="379" y="260"/>
                    <a:pt x="379" y="260"/>
                    <a:pt x="379" y="260"/>
                  </a:cubicBezTo>
                  <a:cubicBezTo>
                    <a:pt x="375" y="274"/>
                    <a:pt x="370" y="287"/>
                    <a:pt x="362" y="300"/>
                  </a:cubicBezTo>
                  <a:cubicBezTo>
                    <a:pt x="378" y="316"/>
                    <a:pt x="378" y="316"/>
                    <a:pt x="378" y="316"/>
                  </a:cubicBezTo>
                  <a:cubicBezTo>
                    <a:pt x="384" y="322"/>
                    <a:pt x="387" y="329"/>
                    <a:pt x="387" y="338"/>
                  </a:cubicBezTo>
                  <a:cubicBezTo>
                    <a:pt x="387" y="346"/>
                    <a:pt x="384" y="354"/>
                    <a:pt x="378" y="360"/>
                  </a:cubicBezTo>
                  <a:cubicBezTo>
                    <a:pt x="360" y="378"/>
                    <a:pt x="360" y="378"/>
                    <a:pt x="360" y="378"/>
                  </a:cubicBezTo>
                  <a:cubicBezTo>
                    <a:pt x="348" y="390"/>
                    <a:pt x="328" y="390"/>
                    <a:pt x="316" y="378"/>
                  </a:cubicBezTo>
                  <a:cubicBezTo>
                    <a:pt x="300" y="362"/>
                    <a:pt x="300" y="362"/>
                    <a:pt x="300" y="362"/>
                  </a:cubicBezTo>
                  <a:cubicBezTo>
                    <a:pt x="288" y="369"/>
                    <a:pt x="274" y="375"/>
                    <a:pt x="260" y="379"/>
                  </a:cubicBezTo>
                  <a:cubicBezTo>
                    <a:pt x="260" y="401"/>
                    <a:pt x="260" y="401"/>
                    <a:pt x="260" y="401"/>
                  </a:cubicBezTo>
                  <a:cubicBezTo>
                    <a:pt x="260" y="418"/>
                    <a:pt x="246" y="432"/>
                    <a:pt x="229" y="432"/>
                  </a:cubicBezTo>
                  <a:close/>
                  <a:moveTo>
                    <a:pt x="131" y="348"/>
                  </a:moveTo>
                  <a:cubicBezTo>
                    <a:pt x="132" y="348"/>
                    <a:pt x="133" y="349"/>
                    <a:pt x="134" y="349"/>
                  </a:cubicBezTo>
                  <a:cubicBezTo>
                    <a:pt x="148" y="358"/>
                    <a:pt x="164" y="364"/>
                    <a:pt x="180" y="368"/>
                  </a:cubicBezTo>
                  <a:cubicBezTo>
                    <a:pt x="183" y="369"/>
                    <a:pt x="185" y="371"/>
                    <a:pt x="185" y="374"/>
                  </a:cubicBezTo>
                  <a:cubicBezTo>
                    <a:pt x="185" y="401"/>
                    <a:pt x="185" y="401"/>
                    <a:pt x="185" y="401"/>
                  </a:cubicBezTo>
                  <a:cubicBezTo>
                    <a:pt x="185" y="411"/>
                    <a:pt x="193" y="420"/>
                    <a:pt x="204" y="420"/>
                  </a:cubicBezTo>
                  <a:cubicBezTo>
                    <a:pt x="229" y="420"/>
                    <a:pt x="229" y="420"/>
                    <a:pt x="229" y="420"/>
                  </a:cubicBezTo>
                  <a:cubicBezTo>
                    <a:pt x="239" y="420"/>
                    <a:pt x="248" y="411"/>
                    <a:pt x="248" y="401"/>
                  </a:cubicBezTo>
                  <a:cubicBezTo>
                    <a:pt x="248" y="374"/>
                    <a:pt x="248" y="374"/>
                    <a:pt x="248" y="374"/>
                  </a:cubicBezTo>
                  <a:cubicBezTo>
                    <a:pt x="248" y="371"/>
                    <a:pt x="250" y="369"/>
                    <a:pt x="252" y="368"/>
                  </a:cubicBezTo>
                  <a:cubicBezTo>
                    <a:pt x="269" y="364"/>
                    <a:pt x="284" y="358"/>
                    <a:pt x="298" y="349"/>
                  </a:cubicBezTo>
                  <a:cubicBezTo>
                    <a:pt x="301" y="348"/>
                    <a:pt x="304" y="348"/>
                    <a:pt x="306" y="350"/>
                  </a:cubicBezTo>
                  <a:cubicBezTo>
                    <a:pt x="325" y="369"/>
                    <a:pt x="325" y="369"/>
                    <a:pt x="325" y="369"/>
                  </a:cubicBezTo>
                  <a:cubicBezTo>
                    <a:pt x="332" y="376"/>
                    <a:pt x="344" y="376"/>
                    <a:pt x="352" y="369"/>
                  </a:cubicBezTo>
                  <a:cubicBezTo>
                    <a:pt x="369" y="351"/>
                    <a:pt x="369" y="351"/>
                    <a:pt x="369" y="351"/>
                  </a:cubicBezTo>
                  <a:cubicBezTo>
                    <a:pt x="377" y="344"/>
                    <a:pt x="377" y="332"/>
                    <a:pt x="369" y="324"/>
                  </a:cubicBezTo>
                  <a:cubicBezTo>
                    <a:pt x="351" y="306"/>
                    <a:pt x="351" y="306"/>
                    <a:pt x="351" y="306"/>
                  </a:cubicBezTo>
                  <a:cubicBezTo>
                    <a:pt x="349" y="304"/>
                    <a:pt x="348" y="302"/>
                    <a:pt x="349" y="299"/>
                  </a:cubicBezTo>
                  <a:cubicBezTo>
                    <a:pt x="349" y="299"/>
                    <a:pt x="349" y="298"/>
                    <a:pt x="349" y="298"/>
                  </a:cubicBezTo>
                  <a:cubicBezTo>
                    <a:pt x="358" y="284"/>
                    <a:pt x="364" y="268"/>
                    <a:pt x="368" y="252"/>
                  </a:cubicBezTo>
                  <a:cubicBezTo>
                    <a:pt x="369" y="249"/>
                    <a:pt x="371" y="247"/>
                    <a:pt x="374" y="247"/>
                  </a:cubicBezTo>
                  <a:cubicBezTo>
                    <a:pt x="401" y="247"/>
                    <a:pt x="401" y="247"/>
                    <a:pt x="401" y="247"/>
                  </a:cubicBezTo>
                  <a:cubicBezTo>
                    <a:pt x="412" y="247"/>
                    <a:pt x="420" y="239"/>
                    <a:pt x="420" y="228"/>
                  </a:cubicBezTo>
                  <a:cubicBezTo>
                    <a:pt x="420" y="203"/>
                    <a:pt x="420" y="203"/>
                    <a:pt x="420" y="203"/>
                  </a:cubicBezTo>
                  <a:cubicBezTo>
                    <a:pt x="420" y="193"/>
                    <a:pt x="412" y="184"/>
                    <a:pt x="401" y="184"/>
                  </a:cubicBezTo>
                  <a:cubicBezTo>
                    <a:pt x="374" y="184"/>
                    <a:pt x="374" y="184"/>
                    <a:pt x="374" y="184"/>
                  </a:cubicBezTo>
                  <a:cubicBezTo>
                    <a:pt x="371" y="184"/>
                    <a:pt x="369" y="182"/>
                    <a:pt x="368" y="180"/>
                  </a:cubicBezTo>
                  <a:cubicBezTo>
                    <a:pt x="364" y="163"/>
                    <a:pt x="358" y="148"/>
                    <a:pt x="349" y="134"/>
                  </a:cubicBezTo>
                  <a:cubicBezTo>
                    <a:pt x="348" y="131"/>
                    <a:pt x="348" y="128"/>
                    <a:pt x="350" y="126"/>
                  </a:cubicBezTo>
                  <a:cubicBezTo>
                    <a:pt x="369" y="107"/>
                    <a:pt x="369" y="107"/>
                    <a:pt x="369" y="107"/>
                  </a:cubicBezTo>
                  <a:cubicBezTo>
                    <a:pt x="377" y="100"/>
                    <a:pt x="377" y="88"/>
                    <a:pt x="369" y="80"/>
                  </a:cubicBezTo>
                  <a:cubicBezTo>
                    <a:pt x="352" y="63"/>
                    <a:pt x="352" y="63"/>
                    <a:pt x="352" y="63"/>
                  </a:cubicBezTo>
                  <a:cubicBezTo>
                    <a:pt x="344" y="55"/>
                    <a:pt x="332" y="55"/>
                    <a:pt x="325" y="63"/>
                  </a:cubicBezTo>
                  <a:cubicBezTo>
                    <a:pt x="306" y="82"/>
                    <a:pt x="306" y="82"/>
                    <a:pt x="306" y="82"/>
                  </a:cubicBezTo>
                  <a:cubicBezTo>
                    <a:pt x="304" y="84"/>
                    <a:pt x="300" y="84"/>
                    <a:pt x="298" y="83"/>
                  </a:cubicBezTo>
                  <a:cubicBezTo>
                    <a:pt x="284" y="74"/>
                    <a:pt x="269" y="68"/>
                    <a:pt x="252" y="64"/>
                  </a:cubicBezTo>
                  <a:cubicBezTo>
                    <a:pt x="250" y="63"/>
                    <a:pt x="248" y="61"/>
                    <a:pt x="248" y="58"/>
                  </a:cubicBezTo>
                  <a:cubicBezTo>
                    <a:pt x="248" y="31"/>
                    <a:pt x="248" y="31"/>
                    <a:pt x="248" y="31"/>
                  </a:cubicBezTo>
                  <a:cubicBezTo>
                    <a:pt x="248" y="20"/>
                    <a:pt x="239" y="12"/>
                    <a:pt x="229" y="12"/>
                  </a:cubicBezTo>
                  <a:cubicBezTo>
                    <a:pt x="204" y="12"/>
                    <a:pt x="204" y="12"/>
                    <a:pt x="204" y="12"/>
                  </a:cubicBezTo>
                  <a:cubicBezTo>
                    <a:pt x="193" y="12"/>
                    <a:pt x="185" y="20"/>
                    <a:pt x="185" y="31"/>
                  </a:cubicBezTo>
                  <a:cubicBezTo>
                    <a:pt x="185" y="58"/>
                    <a:pt x="185" y="58"/>
                    <a:pt x="185" y="58"/>
                  </a:cubicBezTo>
                  <a:cubicBezTo>
                    <a:pt x="185" y="61"/>
                    <a:pt x="183" y="63"/>
                    <a:pt x="180" y="64"/>
                  </a:cubicBezTo>
                  <a:cubicBezTo>
                    <a:pt x="164" y="68"/>
                    <a:pt x="148" y="74"/>
                    <a:pt x="134" y="83"/>
                  </a:cubicBezTo>
                  <a:cubicBezTo>
                    <a:pt x="132" y="84"/>
                    <a:pt x="129" y="84"/>
                    <a:pt x="127" y="82"/>
                  </a:cubicBezTo>
                  <a:cubicBezTo>
                    <a:pt x="108" y="63"/>
                    <a:pt x="108" y="63"/>
                    <a:pt x="108" y="63"/>
                  </a:cubicBezTo>
                  <a:cubicBezTo>
                    <a:pt x="100" y="55"/>
                    <a:pt x="88" y="55"/>
                    <a:pt x="81" y="63"/>
                  </a:cubicBezTo>
                  <a:cubicBezTo>
                    <a:pt x="63" y="80"/>
                    <a:pt x="63" y="80"/>
                    <a:pt x="63" y="80"/>
                  </a:cubicBezTo>
                  <a:cubicBezTo>
                    <a:pt x="59" y="84"/>
                    <a:pt x="57" y="89"/>
                    <a:pt x="57" y="94"/>
                  </a:cubicBezTo>
                  <a:cubicBezTo>
                    <a:pt x="57" y="99"/>
                    <a:pt x="59" y="104"/>
                    <a:pt x="63" y="107"/>
                  </a:cubicBezTo>
                  <a:cubicBezTo>
                    <a:pt x="82" y="126"/>
                    <a:pt x="82" y="126"/>
                    <a:pt x="82" y="126"/>
                  </a:cubicBezTo>
                  <a:cubicBezTo>
                    <a:pt x="84" y="128"/>
                    <a:pt x="84" y="131"/>
                    <a:pt x="83" y="134"/>
                  </a:cubicBezTo>
                  <a:cubicBezTo>
                    <a:pt x="74" y="148"/>
                    <a:pt x="68" y="163"/>
                    <a:pt x="64" y="180"/>
                  </a:cubicBezTo>
                  <a:cubicBezTo>
                    <a:pt x="63" y="182"/>
                    <a:pt x="61" y="184"/>
                    <a:pt x="58" y="184"/>
                  </a:cubicBezTo>
                  <a:cubicBezTo>
                    <a:pt x="31" y="184"/>
                    <a:pt x="31" y="184"/>
                    <a:pt x="31" y="184"/>
                  </a:cubicBezTo>
                  <a:cubicBezTo>
                    <a:pt x="21" y="184"/>
                    <a:pt x="12" y="193"/>
                    <a:pt x="12" y="203"/>
                  </a:cubicBezTo>
                  <a:cubicBezTo>
                    <a:pt x="12" y="228"/>
                    <a:pt x="12" y="228"/>
                    <a:pt x="12" y="228"/>
                  </a:cubicBezTo>
                  <a:cubicBezTo>
                    <a:pt x="12" y="239"/>
                    <a:pt x="21" y="247"/>
                    <a:pt x="31" y="247"/>
                  </a:cubicBezTo>
                  <a:cubicBezTo>
                    <a:pt x="58" y="247"/>
                    <a:pt x="58" y="247"/>
                    <a:pt x="58" y="247"/>
                  </a:cubicBezTo>
                  <a:cubicBezTo>
                    <a:pt x="61" y="247"/>
                    <a:pt x="63" y="249"/>
                    <a:pt x="64" y="252"/>
                  </a:cubicBezTo>
                  <a:cubicBezTo>
                    <a:pt x="68" y="268"/>
                    <a:pt x="74" y="284"/>
                    <a:pt x="83" y="298"/>
                  </a:cubicBezTo>
                  <a:cubicBezTo>
                    <a:pt x="83" y="298"/>
                    <a:pt x="83" y="299"/>
                    <a:pt x="83" y="299"/>
                  </a:cubicBezTo>
                  <a:cubicBezTo>
                    <a:pt x="84" y="302"/>
                    <a:pt x="83" y="304"/>
                    <a:pt x="82" y="306"/>
                  </a:cubicBezTo>
                  <a:cubicBezTo>
                    <a:pt x="63" y="324"/>
                    <a:pt x="63" y="324"/>
                    <a:pt x="63" y="324"/>
                  </a:cubicBezTo>
                  <a:cubicBezTo>
                    <a:pt x="59" y="328"/>
                    <a:pt x="57" y="333"/>
                    <a:pt x="57" y="338"/>
                  </a:cubicBezTo>
                  <a:cubicBezTo>
                    <a:pt x="57" y="343"/>
                    <a:pt x="59" y="348"/>
                    <a:pt x="63" y="351"/>
                  </a:cubicBezTo>
                  <a:cubicBezTo>
                    <a:pt x="81" y="369"/>
                    <a:pt x="81" y="369"/>
                    <a:pt x="81" y="369"/>
                  </a:cubicBezTo>
                  <a:cubicBezTo>
                    <a:pt x="88" y="376"/>
                    <a:pt x="100" y="376"/>
                    <a:pt x="108" y="369"/>
                  </a:cubicBezTo>
                  <a:cubicBezTo>
                    <a:pt x="126" y="350"/>
                    <a:pt x="126" y="350"/>
                    <a:pt x="126" y="350"/>
                  </a:cubicBezTo>
                  <a:cubicBezTo>
                    <a:pt x="127" y="349"/>
                    <a:pt x="129" y="348"/>
                    <a:pt x="131" y="34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</p:grpSp>
    </p:spTree>
    <p:extLst>
      <p:ext uri="{BB962C8B-B14F-4D97-AF65-F5344CB8AC3E}">
        <p14:creationId xmlns:p14="http://schemas.microsoft.com/office/powerpoint/2010/main" val="63994955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6CF549-BE1C-B6C0-B480-20A63CEF8D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8B5DCF63-49FA-7B29-9459-DBB26792785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B5DCF63-49FA-7B29-9459-DBB2679278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9CFC0B3-9DC6-AD5D-5E72-0D9BC405E6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30-60-90 Plan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80759EEE-0D0B-539A-98CE-F51FD7344EA7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75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" name="Shape1_20220526_193751">
            <a:extLst>
              <a:ext uri="{FF2B5EF4-FFF2-40B4-BE49-F238E27FC236}">
                <a16:creationId xmlns:a16="http://schemas.microsoft.com/office/drawing/2014/main" id="{69B4E3DF-16DD-2939-39AF-999151D9F290}"/>
              </a:ext>
            </a:extLst>
          </p:cNvPr>
          <p:cNvSpPr/>
          <p:nvPr/>
        </p:nvSpPr>
        <p:spPr>
          <a:xfrm>
            <a:off x="4358038" y="1366397"/>
            <a:ext cx="3475918" cy="4449298"/>
          </a:xfrm>
          <a:prstGeom prst="rect">
            <a:avLst/>
          </a:prstGeom>
          <a:noFill/>
          <a:ln w="9525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3939" dirty="0">
              <a:solidFill>
                <a:schemeClr val="lt1"/>
              </a:solidFill>
            </a:endParaRPr>
          </a:p>
        </p:txBody>
      </p:sp>
      <p:sp>
        <p:nvSpPr>
          <p:cNvPr id="19" name="Google Shape;635;p20">
            <a:extLst>
              <a:ext uri="{FF2B5EF4-FFF2-40B4-BE49-F238E27FC236}">
                <a16:creationId xmlns:a16="http://schemas.microsoft.com/office/drawing/2014/main" id="{9D4D0FBC-FAEB-8EA6-BA3E-B175667FEDCD}"/>
              </a:ext>
            </a:extLst>
          </p:cNvPr>
          <p:cNvSpPr/>
          <p:nvPr/>
        </p:nvSpPr>
        <p:spPr>
          <a:xfrm>
            <a:off x="4412987" y="1578180"/>
            <a:ext cx="2028024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sz="2400" b="1" dirty="0">
                <a:solidFill>
                  <a:schemeClr val="tx1">
                    <a:lumMod val="100000"/>
                  </a:schemeClr>
                </a:solidFill>
              </a:rPr>
              <a:t>60</a:t>
            </a:r>
            <a:r>
              <a:rPr lang="en-IN" sz="2400" dirty="0">
                <a:solidFill>
                  <a:schemeClr val="tx1">
                    <a:lumMod val="100000"/>
                  </a:schemeClr>
                </a:solidFill>
              </a:rPr>
              <a:t> DAY</a:t>
            </a:r>
            <a:endParaRPr sz="24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20" name="Google Shape;638;p20">
            <a:extLst>
              <a:ext uri="{FF2B5EF4-FFF2-40B4-BE49-F238E27FC236}">
                <a16:creationId xmlns:a16="http://schemas.microsoft.com/office/drawing/2014/main" id="{25971A38-D470-B5FA-F3E9-2E48E8200DE6}"/>
              </a:ext>
            </a:extLst>
          </p:cNvPr>
          <p:cNvSpPr/>
          <p:nvPr/>
        </p:nvSpPr>
        <p:spPr>
          <a:xfrm>
            <a:off x="7048460" y="1366584"/>
            <a:ext cx="785502" cy="79252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3939" dirty="0">
              <a:solidFill>
                <a:schemeClr val="lt1"/>
              </a:solidFill>
            </a:endParaRPr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397758BF-B48C-FD9C-0184-1A48CE5D25FD}"/>
              </a:ext>
            </a:extLst>
          </p:cNvPr>
          <p:cNvSpPr/>
          <p:nvPr/>
        </p:nvSpPr>
        <p:spPr>
          <a:xfrm>
            <a:off x="7504783" y="1494278"/>
            <a:ext cx="120052" cy="120052"/>
          </a:xfrm>
          <a:custGeom>
            <a:avLst/>
            <a:gdLst>
              <a:gd name="connsiteX0" fmla="*/ 36773 w 190500"/>
              <a:gd name="connsiteY0" fmla="*/ 164731 h 190500"/>
              <a:gd name="connsiteX1" fmla="*/ 14239 w 190500"/>
              <a:gd name="connsiteY1" fmla="*/ 62570 h 190500"/>
              <a:gd name="connsiteX2" fmla="*/ 78212 w 190500"/>
              <a:gd name="connsiteY2" fmla="*/ 9318 h 190500"/>
              <a:gd name="connsiteX3" fmla="*/ 158654 w 190500"/>
              <a:gd name="connsiteY3" fmla="*/ 30716 h 190500"/>
              <a:gd name="connsiteX4" fmla="*/ 181192 w 190500"/>
              <a:gd name="connsiteY4" fmla="*/ 132873 h 190500"/>
              <a:gd name="connsiteX5" fmla="*/ 117214 w 190500"/>
              <a:gd name="connsiteY5" fmla="*/ 186130 h 190500"/>
              <a:gd name="connsiteX6" fmla="*/ 97462 w 190500"/>
              <a:gd name="connsiteY6" fmla="*/ 188297 h 190500"/>
              <a:gd name="connsiteX7" fmla="*/ 36773 w 190500"/>
              <a:gd name="connsiteY7" fmla="*/ 164731 h 190500"/>
              <a:gd name="connsiteX8" fmla="*/ 80263 w 190500"/>
              <a:gd name="connsiteY8" fmla="*/ 18619 h 190500"/>
              <a:gd name="connsiteX9" fmla="*/ 22992 w 190500"/>
              <a:gd name="connsiteY9" fmla="*/ 66328 h 190500"/>
              <a:gd name="connsiteX10" fmla="*/ 43135 w 190500"/>
              <a:gd name="connsiteY10" fmla="*/ 157643 h 190500"/>
              <a:gd name="connsiteX11" fmla="*/ 39954 w 190500"/>
              <a:gd name="connsiteY11" fmla="*/ 161187 h 190500"/>
              <a:gd name="connsiteX12" fmla="*/ 43135 w 190500"/>
              <a:gd name="connsiteY12" fmla="*/ 157643 h 190500"/>
              <a:gd name="connsiteX13" fmla="*/ 115163 w 190500"/>
              <a:gd name="connsiteY13" fmla="*/ 176828 h 190500"/>
              <a:gd name="connsiteX14" fmla="*/ 172439 w 190500"/>
              <a:gd name="connsiteY14" fmla="*/ 129115 h 190500"/>
              <a:gd name="connsiteX15" fmla="*/ 152291 w 190500"/>
              <a:gd name="connsiteY15" fmla="*/ 37804 h 190500"/>
              <a:gd name="connsiteX16" fmla="*/ 97922 w 190500"/>
              <a:gd name="connsiteY16" fmla="*/ 16680 h 190500"/>
              <a:gd name="connsiteX17" fmla="*/ 80263 w 190500"/>
              <a:gd name="connsiteY17" fmla="*/ 18619 h 190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90500" h="190500">
                <a:moveTo>
                  <a:pt x="36773" y="164731"/>
                </a:moveTo>
                <a:cubicBezTo>
                  <a:pt x="8542" y="139421"/>
                  <a:pt x="-727" y="97410"/>
                  <a:pt x="14239" y="62570"/>
                </a:cubicBezTo>
                <a:cubicBezTo>
                  <a:pt x="26039" y="35093"/>
                  <a:pt x="49358" y="15680"/>
                  <a:pt x="78212" y="9318"/>
                </a:cubicBezTo>
                <a:cubicBezTo>
                  <a:pt x="107071" y="2941"/>
                  <a:pt x="136385" y="10745"/>
                  <a:pt x="158654" y="30716"/>
                </a:cubicBezTo>
                <a:cubicBezTo>
                  <a:pt x="186885" y="56026"/>
                  <a:pt x="196154" y="98033"/>
                  <a:pt x="181192" y="132873"/>
                </a:cubicBezTo>
                <a:cubicBezTo>
                  <a:pt x="169388" y="160355"/>
                  <a:pt x="146068" y="179763"/>
                  <a:pt x="117214" y="186130"/>
                </a:cubicBezTo>
                <a:cubicBezTo>
                  <a:pt x="110624" y="187581"/>
                  <a:pt x="104010" y="188297"/>
                  <a:pt x="97462" y="188297"/>
                </a:cubicBezTo>
                <a:cubicBezTo>
                  <a:pt x="75338" y="188297"/>
                  <a:pt x="53958" y="180135"/>
                  <a:pt x="36773" y="164731"/>
                </a:cubicBezTo>
                <a:close/>
                <a:moveTo>
                  <a:pt x="80263" y="18619"/>
                </a:moveTo>
                <a:cubicBezTo>
                  <a:pt x="54441" y="24312"/>
                  <a:pt x="33568" y="41706"/>
                  <a:pt x="22992" y="66328"/>
                </a:cubicBezTo>
                <a:cubicBezTo>
                  <a:pt x="9616" y="97470"/>
                  <a:pt x="17899" y="135017"/>
                  <a:pt x="43135" y="157643"/>
                </a:cubicBezTo>
                <a:lnTo>
                  <a:pt x="39954" y="161187"/>
                </a:lnTo>
                <a:lnTo>
                  <a:pt x="43135" y="157643"/>
                </a:lnTo>
                <a:cubicBezTo>
                  <a:pt x="63087" y="175531"/>
                  <a:pt x="89332" y="182521"/>
                  <a:pt x="115163" y="176828"/>
                </a:cubicBezTo>
                <a:cubicBezTo>
                  <a:pt x="140985" y="171131"/>
                  <a:pt x="161863" y="153741"/>
                  <a:pt x="172439" y="129115"/>
                </a:cubicBezTo>
                <a:cubicBezTo>
                  <a:pt x="185810" y="97977"/>
                  <a:pt x="177527" y="60431"/>
                  <a:pt x="152291" y="37804"/>
                </a:cubicBezTo>
                <a:cubicBezTo>
                  <a:pt x="136892" y="23996"/>
                  <a:pt x="117735" y="16680"/>
                  <a:pt x="97922" y="16680"/>
                </a:cubicBezTo>
                <a:cubicBezTo>
                  <a:pt x="92067" y="16680"/>
                  <a:pt x="86151" y="17317"/>
                  <a:pt x="80263" y="18619"/>
                </a:cubicBezTo>
                <a:close/>
              </a:path>
            </a:pathLst>
          </a:custGeom>
          <a:solidFill>
            <a:schemeClr val="bg1"/>
          </a:solidFill>
          <a:ln w="3175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US" sz="3939" dirty="0"/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CCDD07EE-8A74-F2C4-405F-5F0CE978F4D4}"/>
              </a:ext>
            </a:extLst>
          </p:cNvPr>
          <p:cNvSpPr/>
          <p:nvPr/>
        </p:nvSpPr>
        <p:spPr>
          <a:xfrm>
            <a:off x="7231113" y="1575218"/>
            <a:ext cx="420181" cy="456196"/>
          </a:xfrm>
          <a:custGeom>
            <a:avLst/>
            <a:gdLst>
              <a:gd name="connsiteX0" fmla="*/ 347810 w 666750"/>
              <a:gd name="connsiteY0" fmla="*/ 683005 h 723900"/>
              <a:gd name="connsiteX1" fmla="*/ 348866 w 666750"/>
              <a:gd name="connsiteY1" fmla="*/ 523024 h 723900"/>
              <a:gd name="connsiteX2" fmla="*/ 276336 w 666750"/>
              <a:gd name="connsiteY2" fmla="*/ 392641 h 723900"/>
              <a:gd name="connsiteX3" fmla="*/ 273899 w 666750"/>
              <a:gd name="connsiteY3" fmla="*/ 535693 h 723900"/>
              <a:gd name="connsiteX4" fmla="*/ 232375 w 666750"/>
              <a:gd name="connsiteY4" fmla="*/ 576955 h 723900"/>
              <a:gd name="connsiteX5" fmla="*/ 50201 w 666750"/>
              <a:gd name="connsiteY5" fmla="*/ 579141 h 723900"/>
              <a:gd name="connsiteX6" fmla="*/ 49168 w 666750"/>
              <a:gd name="connsiteY6" fmla="*/ 579197 h 723900"/>
              <a:gd name="connsiteX7" fmla="*/ 18779 w 666750"/>
              <a:gd name="connsiteY7" fmla="*/ 566202 h 723900"/>
              <a:gd name="connsiteX8" fmla="*/ 7189 w 666750"/>
              <a:gd name="connsiteY8" fmla="*/ 535209 h 723900"/>
              <a:gd name="connsiteX9" fmla="*/ 50787 w 666750"/>
              <a:gd name="connsiteY9" fmla="*/ 495081 h 723900"/>
              <a:gd name="connsiteX10" fmla="*/ 190545 w 666750"/>
              <a:gd name="connsiteY10" fmla="*/ 493453 h 723900"/>
              <a:gd name="connsiteX11" fmla="*/ 192852 w 666750"/>
              <a:gd name="connsiteY11" fmla="*/ 337844 h 723900"/>
              <a:gd name="connsiteX12" fmla="*/ 216051 w 666750"/>
              <a:gd name="connsiteY12" fmla="*/ 255491 h 723900"/>
              <a:gd name="connsiteX13" fmla="*/ 323644 w 666750"/>
              <a:gd name="connsiteY13" fmla="*/ 91487 h 723900"/>
              <a:gd name="connsiteX14" fmla="*/ 253658 w 666750"/>
              <a:gd name="connsiteY14" fmla="*/ 91752 h 723900"/>
              <a:gd name="connsiteX15" fmla="*/ 186778 w 666750"/>
              <a:gd name="connsiteY15" fmla="*/ 189951 h 723900"/>
              <a:gd name="connsiteX16" fmla="*/ 159868 w 666750"/>
              <a:gd name="connsiteY16" fmla="*/ 207606 h 723900"/>
              <a:gd name="connsiteX17" fmla="*/ 128354 w 666750"/>
              <a:gd name="connsiteY17" fmla="*/ 201039 h 723900"/>
              <a:gd name="connsiteX18" fmla="*/ 110708 w 666750"/>
              <a:gd name="connsiteY18" fmla="*/ 174124 h 723900"/>
              <a:gd name="connsiteX19" fmla="*/ 117276 w 666750"/>
              <a:gd name="connsiteY19" fmla="*/ 142619 h 723900"/>
              <a:gd name="connsiteX20" fmla="*/ 196620 w 666750"/>
              <a:gd name="connsiteY20" fmla="*/ 26128 h 723900"/>
              <a:gd name="connsiteX21" fmla="*/ 231213 w 666750"/>
              <a:gd name="connsiteY21" fmla="*/ 7743 h 723900"/>
              <a:gd name="connsiteX22" fmla="*/ 367079 w 666750"/>
              <a:gd name="connsiteY22" fmla="*/ 7232 h 723900"/>
              <a:gd name="connsiteX23" fmla="*/ 433926 w 666750"/>
              <a:gd name="connsiteY23" fmla="*/ 23110 h 723900"/>
              <a:gd name="connsiteX24" fmla="*/ 499922 w 666750"/>
              <a:gd name="connsiteY24" fmla="*/ 73628 h 723900"/>
              <a:gd name="connsiteX25" fmla="*/ 537450 w 666750"/>
              <a:gd name="connsiteY25" fmla="*/ 146400 h 723900"/>
              <a:gd name="connsiteX26" fmla="*/ 536464 w 666750"/>
              <a:gd name="connsiteY26" fmla="*/ 254212 h 723900"/>
              <a:gd name="connsiteX27" fmla="*/ 616859 w 666750"/>
              <a:gd name="connsiteY27" fmla="*/ 254249 h 723900"/>
              <a:gd name="connsiteX28" fmla="*/ 616854 w 666750"/>
              <a:gd name="connsiteY28" fmla="*/ 254249 h 723900"/>
              <a:gd name="connsiteX29" fmla="*/ 658991 w 666750"/>
              <a:gd name="connsiteY29" fmla="*/ 287587 h 723900"/>
              <a:gd name="connsiteX30" fmla="*/ 650378 w 666750"/>
              <a:gd name="connsiteY30" fmla="*/ 322915 h 723900"/>
              <a:gd name="connsiteX31" fmla="*/ 617798 w 666750"/>
              <a:gd name="connsiteY31" fmla="*/ 338347 h 723900"/>
              <a:gd name="connsiteX32" fmla="*/ 494006 w 666750"/>
              <a:gd name="connsiteY32" fmla="*/ 338291 h 723900"/>
              <a:gd name="connsiteX33" fmla="*/ 464166 w 666750"/>
              <a:gd name="connsiteY33" fmla="*/ 325836 h 723900"/>
              <a:gd name="connsiteX34" fmla="*/ 451981 w 666750"/>
              <a:gd name="connsiteY34" fmla="*/ 295856 h 723900"/>
              <a:gd name="connsiteX35" fmla="*/ 452869 w 666750"/>
              <a:gd name="connsiteY35" fmla="*/ 198318 h 723900"/>
              <a:gd name="connsiteX36" fmla="*/ 352173 w 666750"/>
              <a:gd name="connsiteY36" fmla="*/ 356029 h 723900"/>
              <a:gd name="connsiteX37" fmla="*/ 427731 w 666750"/>
              <a:gd name="connsiteY37" fmla="*/ 491798 h 723900"/>
              <a:gd name="connsiteX38" fmla="*/ 433038 w 666750"/>
              <a:gd name="connsiteY38" fmla="*/ 512522 h 723900"/>
              <a:gd name="connsiteX39" fmla="*/ 431908 w 666750"/>
              <a:gd name="connsiteY39" fmla="*/ 683563 h 723900"/>
              <a:gd name="connsiteX40" fmla="*/ 389580 w 666750"/>
              <a:gd name="connsiteY40" fmla="*/ 725328 h 723900"/>
              <a:gd name="connsiteX41" fmla="*/ 347810 w 666750"/>
              <a:gd name="connsiteY41" fmla="*/ 683005 h 723900"/>
              <a:gd name="connsiteX42" fmla="*/ 455580 w 666750"/>
              <a:gd name="connsiteY42" fmla="*/ 189188 h 723900"/>
              <a:gd name="connsiteX43" fmla="*/ 462394 w 666750"/>
              <a:gd name="connsiteY43" fmla="*/ 198402 h 723900"/>
              <a:gd name="connsiteX44" fmla="*/ 461506 w 666750"/>
              <a:gd name="connsiteY44" fmla="*/ 295940 h 723900"/>
              <a:gd name="connsiteX45" fmla="*/ 470933 w 666750"/>
              <a:gd name="connsiteY45" fmla="*/ 319129 h 723900"/>
              <a:gd name="connsiteX46" fmla="*/ 494011 w 666750"/>
              <a:gd name="connsiteY46" fmla="*/ 328766 h 723900"/>
              <a:gd name="connsiteX47" fmla="*/ 617822 w 666750"/>
              <a:gd name="connsiteY47" fmla="*/ 328822 h 723900"/>
              <a:gd name="connsiteX48" fmla="*/ 643006 w 666750"/>
              <a:gd name="connsiteY48" fmla="*/ 316878 h 723900"/>
              <a:gd name="connsiteX49" fmla="*/ 649652 w 666750"/>
              <a:gd name="connsiteY49" fmla="*/ 289475 h 723900"/>
              <a:gd name="connsiteX50" fmla="*/ 616854 w 666750"/>
              <a:gd name="connsiteY50" fmla="*/ 263774 h 723900"/>
              <a:gd name="connsiteX51" fmla="*/ 526855 w 666750"/>
              <a:gd name="connsiteY51" fmla="*/ 263728 h 723900"/>
              <a:gd name="connsiteX52" fmla="*/ 527934 w 666750"/>
              <a:gd name="connsiteY52" fmla="*/ 146093 h 723900"/>
              <a:gd name="connsiteX53" fmla="*/ 494327 w 666750"/>
              <a:gd name="connsiteY53" fmla="*/ 81330 h 723900"/>
              <a:gd name="connsiteX54" fmla="*/ 428410 w 666750"/>
              <a:gd name="connsiteY54" fmla="*/ 30877 h 723900"/>
              <a:gd name="connsiteX55" fmla="*/ 367251 w 666750"/>
              <a:gd name="connsiteY55" fmla="*/ 16752 h 723900"/>
              <a:gd name="connsiteX56" fmla="*/ 231250 w 666750"/>
              <a:gd name="connsiteY56" fmla="*/ 17268 h 723900"/>
              <a:gd name="connsiteX57" fmla="*/ 204489 w 666750"/>
              <a:gd name="connsiteY57" fmla="*/ 31486 h 723900"/>
              <a:gd name="connsiteX58" fmla="*/ 125145 w 666750"/>
              <a:gd name="connsiteY58" fmla="*/ 147981 h 723900"/>
              <a:gd name="connsiteX59" fmla="*/ 120075 w 666750"/>
              <a:gd name="connsiteY59" fmla="*/ 172352 h 723900"/>
              <a:gd name="connsiteX60" fmla="*/ 133712 w 666750"/>
              <a:gd name="connsiteY60" fmla="*/ 193169 h 723900"/>
              <a:gd name="connsiteX61" fmla="*/ 158092 w 666750"/>
              <a:gd name="connsiteY61" fmla="*/ 198243 h 723900"/>
              <a:gd name="connsiteX62" fmla="*/ 178909 w 666750"/>
              <a:gd name="connsiteY62" fmla="*/ 184593 h 723900"/>
              <a:gd name="connsiteX63" fmla="*/ 245789 w 666750"/>
              <a:gd name="connsiteY63" fmla="*/ 86394 h 723900"/>
              <a:gd name="connsiteX64" fmla="*/ 253621 w 666750"/>
              <a:gd name="connsiteY64" fmla="*/ 82227 h 723900"/>
              <a:gd name="connsiteX65" fmla="*/ 323598 w 666750"/>
              <a:gd name="connsiteY65" fmla="*/ 81962 h 723900"/>
              <a:gd name="connsiteX66" fmla="*/ 332016 w 666750"/>
              <a:gd name="connsiteY66" fmla="*/ 86943 h 723900"/>
              <a:gd name="connsiteX67" fmla="*/ 331607 w 666750"/>
              <a:gd name="connsiteY67" fmla="*/ 96710 h 723900"/>
              <a:gd name="connsiteX68" fmla="*/ 223985 w 666750"/>
              <a:gd name="connsiteY68" fmla="*/ 260761 h 723900"/>
              <a:gd name="connsiteX69" fmla="*/ 202377 w 666750"/>
              <a:gd name="connsiteY69" fmla="*/ 337844 h 723900"/>
              <a:gd name="connsiteX70" fmla="*/ 200070 w 666750"/>
              <a:gd name="connsiteY70" fmla="*/ 493621 h 723900"/>
              <a:gd name="connsiteX71" fmla="*/ 190666 w 666750"/>
              <a:gd name="connsiteY71" fmla="*/ 502904 h 723900"/>
              <a:gd name="connsiteX72" fmla="*/ 50898 w 666750"/>
              <a:gd name="connsiteY72" fmla="*/ 504606 h 723900"/>
              <a:gd name="connsiteX73" fmla="*/ 16696 w 666750"/>
              <a:gd name="connsiteY73" fmla="*/ 535637 h 723900"/>
              <a:gd name="connsiteX74" fmla="*/ 25672 w 666750"/>
              <a:gd name="connsiteY74" fmla="*/ 559617 h 723900"/>
              <a:gd name="connsiteX75" fmla="*/ 49512 w 666750"/>
              <a:gd name="connsiteY75" fmla="*/ 569653 h 723900"/>
              <a:gd name="connsiteX76" fmla="*/ 49587 w 666750"/>
              <a:gd name="connsiteY76" fmla="*/ 569653 h 723900"/>
              <a:gd name="connsiteX77" fmla="*/ 232264 w 666750"/>
              <a:gd name="connsiteY77" fmla="*/ 567430 h 723900"/>
              <a:gd name="connsiteX78" fmla="*/ 264374 w 666750"/>
              <a:gd name="connsiteY78" fmla="*/ 535516 h 723900"/>
              <a:gd name="connsiteX79" fmla="*/ 266811 w 666750"/>
              <a:gd name="connsiteY79" fmla="*/ 392492 h 723900"/>
              <a:gd name="connsiteX80" fmla="*/ 273982 w 666750"/>
              <a:gd name="connsiteY80" fmla="*/ 383432 h 723900"/>
              <a:gd name="connsiteX81" fmla="*/ 284651 w 666750"/>
              <a:gd name="connsiteY81" fmla="*/ 388055 h 723900"/>
              <a:gd name="connsiteX82" fmla="*/ 357186 w 666750"/>
              <a:gd name="connsiteY82" fmla="*/ 518382 h 723900"/>
              <a:gd name="connsiteX83" fmla="*/ 358396 w 666750"/>
              <a:gd name="connsiteY83" fmla="*/ 523089 h 723900"/>
              <a:gd name="connsiteX84" fmla="*/ 357335 w 666750"/>
              <a:gd name="connsiteY84" fmla="*/ 683060 h 723900"/>
              <a:gd name="connsiteX85" fmla="*/ 389868 w 666750"/>
              <a:gd name="connsiteY85" fmla="*/ 715803 h 723900"/>
              <a:gd name="connsiteX86" fmla="*/ 422383 w 666750"/>
              <a:gd name="connsiteY86" fmla="*/ 683507 h 723900"/>
              <a:gd name="connsiteX87" fmla="*/ 423513 w 666750"/>
              <a:gd name="connsiteY87" fmla="*/ 512466 h 723900"/>
              <a:gd name="connsiteX88" fmla="*/ 419406 w 666750"/>
              <a:gd name="connsiteY88" fmla="*/ 496430 h 723900"/>
              <a:gd name="connsiteX89" fmla="*/ 341085 w 666750"/>
              <a:gd name="connsiteY89" fmla="*/ 355694 h 723900"/>
              <a:gd name="connsiteX90" fmla="*/ 444842 w 666750"/>
              <a:gd name="connsiteY90" fmla="*/ 193193 h 723900"/>
              <a:gd name="connsiteX91" fmla="*/ 452823 w 666750"/>
              <a:gd name="connsiteY91" fmla="*/ 188784 h 723900"/>
              <a:gd name="connsiteX92" fmla="*/ 455580 w 666750"/>
              <a:gd name="connsiteY92" fmla="*/ 189188 h 723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</a:cxnLst>
            <a:rect l="l" t="t" r="r" b="b"/>
            <a:pathLst>
              <a:path w="666750" h="723900">
                <a:moveTo>
                  <a:pt x="347810" y="683005"/>
                </a:moveTo>
                <a:lnTo>
                  <a:pt x="348866" y="523024"/>
                </a:lnTo>
                <a:lnTo>
                  <a:pt x="276336" y="392641"/>
                </a:lnTo>
                <a:cubicBezTo>
                  <a:pt x="275471" y="450991"/>
                  <a:pt x="273992" y="530977"/>
                  <a:pt x="273899" y="535693"/>
                </a:cubicBezTo>
                <a:cubicBezTo>
                  <a:pt x="273471" y="558566"/>
                  <a:pt x="255239" y="576695"/>
                  <a:pt x="232375" y="576955"/>
                </a:cubicBezTo>
                <a:lnTo>
                  <a:pt x="50201" y="579141"/>
                </a:lnTo>
                <a:lnTo>
                  <a:pt x="49168" y="579197"/>
                </a:lnTo>
                <a:cubicBezTo>
                  <a:pt x="37587" y="579197"/>
                  <a:pt x="26797" y="574583"/>
                  <a:pt x="18779" y="566202"/>
                </a:cubicBezTo>
                <a:cubicBezTo>
                  <a:pt x="10780" y="557831"/>
                  <a:pt x="6659" y="546818"/>
                  <a:pt x="7189" y="535209"/>
                </a:cubicBezTo>
                <a:cubicBezTo>
                  <a:pt x="8185" y="512987"/>
                  <a:pt x="27337" y="495360"/>
                  <a:pt x="50787" y="495081"/>
                </a:cubicBezTo>
                <a:lnTo>
                  <a:pt x="190545" y="493453"/>
                </a:lnTo>
                <a:cubicBezTo>
                  <a:pt x="191411" y="445010"/>
                  <a:pt x="192852" y="360373"/>
                  <a:pt x="192852" y="337844"/>
                </a:cubicBezTo>
                <a:cubicBezTo>
                  <a:pt x="192852" y="292340"/>
                  <a:pt x="212200" y="261226"/>
                  <a:pt x="216051" y="255491"/>
                </a:cubicBezTo>
                <a:lnTo>
                  <a:pt x="323644" y="91487"/>
                </a:lnTo>
                <a:lnTo>
                  <a:pt x="253658" y="91752"/>
                </a:lnTo>
                <a:lnTo>
                  <a:pt x="186778" y="189951"/>
                </a:lnTo>
                <a:cubicBezTo>
                  <a:pt x="180462" y="199239"/>
                  <a:pt x="170909" y="205513"/>
                  <a:pt x="159868" y="207606"/>
                </a:cubicBezTo>
                <a:cubicBezTo>
                  <a:pt x="148846" y="209675"/>
                  <a:pt x="137646" y="207364"/>
                  <a:pt x="128354" y="201039"/>
                </a:cubicBezTo>
                <a:cubicBezTo>
                  <a:pt x="119071" y="194718"/>
                  <a:pt x="112811" y="185161"/>
                  <a:pt x="110708" y="174124"/>
                </a:cubicBezTo>
                <a:cubicBezTo>
                  <a:pt x="108616" y="163087"/>
                  <a:pt x="110950" y="151897"/>
                  <a:pt x="117276" y="142619"/>
                </a:cubicBezTo>
                <a:lnTo>
                  <a:pt x="196620" y="26128"/>
                </a:lnTo>
                <a:cubicBezTo>
                  <a:pt x="204414" y="14669"/>
                  <a:pt x="217344" y="7795"/>
                  <a:pt x="231213" y="7743"/>
                </a:cubicBezTo>
                <a:lnTo>
                  <a:pt x="367079" y="7232"/>
                </a:lnTo>
                <a:cubicBezTo>
                  <a:pt x="379911" y="6776"/>
                  <a:pt x="412034" y="7543"/>
                  <a:pt x="433926" y="23110"/>
                </a:cubicBezTo>
                <a:cubicBezTo>
                  <a:pt x="444930" y="30928"/>
                  <a:pt x="480160" y="58233"/>
                  <a:pt x="499922" y="73628"/>
                </a:cubicBezTo>
                <a:cubicBezTo>
                  <a:pt x="529478" y="93613"/>
                  <a:pt x="538682" y="124439"/>
                  <a:pt x="537450" y="146400"/>
                </a:cubicBezTo>
                <a:lnTo>
                  <a:pt x="536464" y="254212"/>
                </a:lnTo>
                <a:lnTo>
                  <a:pt x="616859" y="254249"/>
                </a:lnTo>
                <a:lnTo>
                  <a:pt x="616854" y="254249"/>
                </a:lnTo>
                <a:cubicBezTo>
                  <a:pt x="637369" y="254254"/>
                  <a:pt x="655094" y="268276"/>
                  <a:pt x="658991" y="287587"/>
                </a:cubicBezTo>
                <a:cubicBezTo>
                  <a:pt x="661540" y="300233"/>
                  <a:pt x="658401" y="313102"/>
                  <a:pt x="650378" y="322915"/>
                </a:cubicBezTo>
                <a:cubicBezTo>
                  <a:pt x="642350" y="332719"/>
                  <a:pt x="630481" y="338347"/>
                  <a:pt x="617798" y="338347"/>
                </a:cubicBezTo>
                <a:lnTo>
                  <a:pt x="494006" y="338291"/>
                </a:lnTo>
                <a:cubicBezTo>
                  <a:pt x="482872" y="338281"/>
                  <a:pt x="471993" y="333742"/>
                  <a:pt x="464166" y="325836"/>
                </a:cubicBezTo>
                <a:cubicBezTo>
                  <a:pt x="456325" y="317929"/>
                  <a:pt x="451883" y="307000"/>
                  <a:pt x="451981" y="295856"/>
                </a:cubicBezTo>
                <a:lnTo>
                  <a:pt x="452869" y="198318"/>
                </a:lnTo>
                <a:lnTo>
                  <a:pt x="352173" y="356029"/>
                </a:lnTo>
                <a:lnTo>
                  <a:pt x="427731" y="491798"/>
                </a:lnTo>
                <a:cubicBezTo>
                  <a:pt x="431252" y="498123"/>
                  <a:pt x="433084" y="505294"/>
                  <a:pt x="433038" y="512522"/>
                </a:cubicBezTo>
                <a:lnTo>
                  <a:pt x="431908" y="683563"/>
                </a:lnTo>
                <a:cubicBezTo>
                  <a:pt x="431754" y="706594"/>
                  <a:pt x="412899" y="725328"/>
                  <a:pt x="389580" y="725328"/>
                </a:cubicBezTo>
                <a:cubicBezTo>
                  <a:pt x="366400" y="725169"/>
                  <a:pt x="347666" y="706185"/>
                  <a:pt x="347810" y="683005"/>
                </a:cubicBezTo>
                <a:close/>
                <a:moveTo>
                  <a:pt x="455580" y="189188"/>
                </a:moveTo>
                <a:cubicBezTo>
                  <a:pt x="459692" y="190407"/>
                  <a:pt x="462431" y="194113"/>
                  <a:pt x="462394" y="198402"/>
                </a:cubicBezTo>
                <a:lnTo>
                  <a:pt x="461506" y="295940"/>
                </a:lnTo>
                <a:cubicBezTo>
                  <a:pt x="461427" y="304563"/>
                  <a:pt x="464864" y="313009"/>
                  <a:pt x="470933" y="319129"/>
                </a:cubicBezTo>
                <a:cubicBezTo>
                  <a:pt x="476988" y="325240"/>
                  <a:pt x="485402" y="328756"/>
                  <a:pt x="494011" y="328766"/>
                </a:cubicBezTo>
                <a:lnTo>
                  <a:pt x="617822" y="328822"/>
                </a:lnTo>
                <a:cubicBezTo>
                  <a:pt x="627617" y="328822"/>
                  <a:pt x="636793" y="324468"/>
                  <a:pt x="643006" y="316878"/>
                </a:cubicBezTo>
                <a:cubicBezTo>
                  <a:pt x="649215" y="309288"/>
                  <a:pt x="651638" y="299302"/>
                  <a:pt x="649652" y="289475"/>
                </a:cubicBezTo>
                <a:cubicBezTo>
                  <a:pt x="646648" y="274588"/>
                  <a:pt x="632853" y="263779"/>
                  <a:pt x="616854" y="263774"/>
                </a:cubicBezTo>
                <a:lnTo>
                  <a:pt x="526855" y="263728"/>
                </a:lnTo>
                <a:lnTo>
                  <a:pt x="527934" y="146093"/>
                </a:lnTo>
                <a:cubicBezTo>
                  <a:pt x="529027" y="126518"/>
                  <a:pt x="520842" y="99273"/>
                  <a:pt x="494327" y="81330"/>
                </a:cubicBezTo>
                <a:cubicBezTo>
                  <a:pt x="474370" y="65796"/>
                  <a:pt x="439270" y="38588"/>
                  <a:pt x="428410" y="30877"/>
                </a:cubicBezTo>
                <a:cubicBezTo>
                  <a:pt x="408867" y="16985"/>
                  <a:pt x="379204" y="16394"/>
                  <a:pt x="367251" y="16752"/>
                </a:cubicBezTo>
                <a:lnTo>
                  <a:pt x="231250" y="17268"/>
                </a:lnTo>
                <a:cubicBezTo>
                  <a:pt x="220525" y="17310"/>
                  <a:pt x="210526" y="22626"/>
                  <a:pt x="204489" y="31486"/>
                </a:cubicBezTo>
                <a:lnTo>
                  <a:pt x="125145" y="147981"/>
                </a:lnTo>
                <a:cubicBezTo>
                  <a:pt x="120252" y="155158"/>
                  <a:pt x="118448" y="163813"/>
                  <a:pt x="120075" y="172352"/>
                </a:cubicBezTo>
                <a:cubicBezTo>
                  <a:pt x="121694" y="180886"/>
                  <a:pt x="126540" y="188277"/>
                  <a:pt x="133712" y="193169"/>
                </a:cubicBezTo>
                <a:cubicBezTo>
                  <a:pt x="140893" y="198057"/>
                  <a:pt x="149553" y="199885"/>
                  <a:pt x="158092" y="198243"/>
                </a:cubicBezTo>
                <a:cubicBezTo>
                  <a:pt x="166631" y="196625"/>
                  <a:pt x="174026" y="191779"/>
                  <a:pt x="178909" y="184593"/>
                </a:cubicBezTo>
                <a:lnTo>
                  <a:pt x="245789" y="86394"/>
                </a:lnTo>
                <a:cubicBezTo>
                  <a:pt x="247547" y="83804"/>
                  <a:pt x="250477" y="82246"/>
                  <a:pt x="253621" y="82227"/>
                </a:cubicBezTo>
                <a:lnTo>
                  <a:pt x="323598" y="81962"/>
                </a:lnTo>
                <a:cubicBezTo>
                  <a:pt x="327458" y="81874"/>
                  <a:pt x="330337" y="83850"/>
                  <a:pt x="332016" y="86943"/>
                </a:cubicBezTo>
                <a:cubicBezTo>
                  <a:pt x="333690" y="90031"/>
                  <a:pt x="333537" y="93775"/>
                  <a:pt x="331607" y="96710"/>
                </a:cubicBezTo>
                <a:lnTo>
                  <a:pt x="223985" y="260761"/>
                </a:lnTo>
                <a:cubicBezTo>
                  <a:pt x="220376" y="266132"/>
                  <a:pt x="202377" y="295098"/>
                  <a:pt x="202377" y="337844"/>
                </a:cubicBezTo>
                <a:cubicBezTo>
                  <a:pt x="202377" y="360447"/>
                  <a:pt x="200936" y="445149"/>
                  <a:pt x="200070" y="493621"/>
                </a:cubicBezTo>
                <a:cubicBezTo>
                  <a:pt x="199977" y="498755"/>
                  <a:pt x="195857" y="502829"/>
                  <a:pt x="190666" y="502904"/>
                </a:cubicBezTo>
                <a:lnTo>
                  <a:pt x="50898" y="504606"/>
                </a:lnTo>
                <a:cubicBezTo>
                  <a:pt x="32797" y="504820"/>
                  <a:pt x="17458" y="518745"/>
                  <a:pt x="16696" y="535637"/>
                </a:cubicBezTo>
                <a:cubicBezTo>
                  <a:pt x="16296" y="544632"/>
                  <a:pt x="19477" y="553143"/>
                  <a:pt x="25672" y="559617"/>
                </a:cubicBezTo>
                <a:cubicBezTo>
                  <a:pt x="31848" y="566081"/>
                  <a:pt x="40164" y="569653"/>
                  <a:pt x="49512" y="569653"/>
                </a:cubicBezTo>
                <a:cubicBezTo>
                  <a:pt x="49540" y="569653"/>
                  <a:pt x="49559" y="569653"/>
                  <a:pt x="49587" y="569653"/>
                </a:cubicBezTo>
                <a:lnTo>
                  <a:pt x="232264" y="567430"/>
                </a:lnTo>
                <a:cubicBezTo>
                  <a:pt x="249947" y="567226"/>
                  <a:pt x="264048" y="553208"/>
                  <a:pt x="264374" y="535516"/>
                </a:cubicBezTo>
                <a:cubicBezTo>
                  <a:pt x="264467" y="530791"/>
                  <a:pt x="265946" y="450823"/>
                  <a:pt x="266811" y="392492"/>
                </a:cubicBezTo>
                <a:cubicBezTo>
                  <a:pt x="266876" y="388139"/>
                  <a:pt x="269759" y="384493"/>
                  <a:pt x="273982" y="383432"/>
                </a:cubicBezTo>
                <a:cubicBezTo>
                  <a:pt x="278196" y="382353"/>
                  <a:pt x="282521" y="384213"/>
                  <a:pt x="284651" y="388055"/>
                </a:cubicBezTo>
                <a:lnTo>
                  <a:pt x="357186" y="518382"/>
                </a:lnTo>
                <a:cubicBezTo>
                  <a:pt x="357986" y="519815"/>
                  <a:pt x="358405" y="521442"/>
                  <a:pt x="358396" y="523089"/>
                </a:cubicBezTo>
                <a:lnTo>
                  <a:pt x="357335" y="683060"/>
                </a:lnTo>
                <a:cubicBezTo>
                  <a:pt x="357224" y="700994"/>
                  <a:pt x="371716" y="715682"/>
                  <a:pt x="389868" y="715803"/>
                </a:cubicBezTo>
                <a:cubicBezTo>
                  <a:pt x="407681" y="715803"/>
                  <a:pt x="422266" y="701310"/>
                  <a:pt x="422383" y="683507"/>
                </a:cubicBezTo>
                <a:lnTo>
                  <a:pt x="423513" y="512466"/>
                </a:lnTo>
                <a:cubicBezTo>
                  <a:pt x="423550" y="506866"/>
                  <a:pt x="422131" y="501323"/>
                  <a:pt x="419406" y="496430"/>
                </a:cubicBezTo>
                <a:lnTo>
                  <a:pt x="341085" y="355694"/>
                </a:lnTo>
                <a:lnTo>
                  <a:pt x="444842" y="193193"/>
                </a:lnTo>
                <a:cubicBezTo>
                  <a:pt x="446637" y="190379"/>
                  <a:pt x="449641" y="188784"/>
                  <a:pt x="452823" y="188784"/>
                </a:cubicBezTo>
                <a:cubicBezTo>
                  <a:pt x="453739" y="188784"/>
                  <a:pt x="454664" y="188914"/>
                  <a:pt x="455580" y="189188"/>
                </a:cubicBezTo>
                <a:close/>
              </a:path>
            </a:pathLst>
          </a:custGeom>
          <a:solidFill>
            <a:schemeClr val="bg1"/>
          </a:solidFill>
          <a:ln w="3175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US" sz="3939" dirty="0"/>
          </a:p>
        </p:txBody>
      </p:sp>
      <p:sp>
        <p:nvSpPr>
          <p:cNvPr id="27" name="Shape0_20220526_193751">
            <a:extLst>
              <a:ext uri="{FF2B5EF4-FFF2-40B4-BE49-F238E27FC236}">
                <a16:creationId xmlns:a16="http://schemas.microsoft.com/office/drawing/2014/main" id="{B30E2F69-4D05-E0CE-2D67-E611EF5AD35F}"/>
              </a:ext>
            </a:extLst>
          </p:cNvPr>
          <p:cNvSpPr/>
          <p:nvPr/>
        </p:nvSpPr>
        <p:spPr>
          <a:xfrm>
            <a:off x="617227" y="1366397"/>
            <a:ext cx="3475918" cy="4449298"/>
          </a:xfrm>
          <a:prstGeom prst="rect">
            <a:avLst/>
          </a:prstGeom>
          <a:noFill/>
          <a:ln w="9525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3939" dirty="0">
              <a:solidFill>
                <a:schemeClr val="lt1"/>
              </a:solidFill>
            </a:endParaRPr>
          </a:p>
        </p:txBody>
      </p:sp>
      <p:sp>
        <p:nvSpPr>
          <p:cNvPr id="28" name="Google Shape;634;p20">
            <a:extLst>
              <a:ext uri="{FF2B5EF4-FFF2-40B4-BE49-F238E27FC236}">
                <a16:creationId xmlns:a16="http://schemas.microsoft.com/office/drawing/2014/main" id="{93617FEC-F4CD-139C-035D-877D823EDFB5}"/>
              </a:ext>
            </a:extLst>
          </p:cNvPr>
          <p:cNvSpPr/>
          <p:nvPr/>
        </p:nvSpPr>
        <p:spPr>
          <a:xfrm>
            <a:off x="723717" y="1578180"/>
            <a:ext cx="2028024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sz="2400" b="1" dirty="0">
                <a:solidFill>
                  <a:schemeClr val="tx1">
                    <a:lumMod val="100000"/>
                  </a:schemeClr>
                </a:solidFill>
              </a:rPr>
              <a:t>30</a:t>
            </a:r>
            <a:r>
              <a:rPr lang="en-IN" sz="2400" dirty="0">
                <a:solidFill>
                  <a:schemeClr val="tx1">
                    <a:lumMod val="100000"/>
                  </a:schemeClr>
                </a:solidFill>
              </a:rPr>
              <a:t> DAY</a:t>
            </a:r>
            <a:endParaRPr sz="24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29" name="Google Shape;637;p20">
            <a:extLst>
              <a:ext uri="{FF2B5EF4-FFF2-40B4-BE49-F238E27FC236}">
                <a16:creationId xmlns:a16="http://schemas.microsoft.com/office/drawing/2014/main" id="{7454FE62-6049-493C-5AA5-04B7ED774BFF}"/>
              </a:ext>
            </a:extLst>
          </p:cNvPr>
          <p:cNvSpPr/>
          <p:nvPr/>
        </p:nvSpPr>
        <p:spPr>
          <a:xfrm>
            <a:off x="3300248" y="1366397"/>
            <a:ext cx="792899" cy="7928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3939" dirty="0">
              <a:solidFill>
                <a:schemeClr val="lt1"/>
              </a:solidFill>
            </a:endParaRPr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10770CFF-615D-5FC5-20E0-B1963E230EA4}"/>
              </a:ext>
            </a:extLst>
          </p:cNvPr>
          <p:cNvSpPr/>
          <p:nvPr/>
        </p:nvSpPr>
        <p:spPr>
          <a:xfrm>
            <a:off x="3533487" y="1571503"/>
            <a:ext cx="326423" cy="489631"/>
          </a:xfrm>
          <a:custGeom>
            <a:avLst/>
            <a:gdLst>
              <a:gd name="connsiteX0" fmla="*/ 64244 w 476250"/>
              <a:gd name="connsiteY0" fmla="*/ 708403 h 714375"/>
              <a:gd name="connsiteX1" fmla="*/ 50747 w 476250"/>
              <a:gd name="connsiteY1" fmla="*/ 706479 h 714375"/>
              <a:gd name="connsiteX2" fmla="*/ 15142 w 476250"/>
              <a:gd name="connsiteY2" fmla="*/ 676237 h 714375"/>
              <a:gd name="connsiteX3" fmla="*/ 14942 w 476250"/>
              <a:gd name="connsiteY3" fmla="*/ 635908 h 714375"/>
              <a:gd name="connsiteX4" fmla="*/ 15419 w 476250"/>
              <a:gd name="connsiteY4" fmla="*/ 635003 h 714375"/>
              <a:gd name="connsiteX5" fmla="*/ 106316 w 476250"/>
              <a:gd name="connsiteY5" fmla="*/ 484327 h 714375"/>
              <a:gd name="connsiteX6" fmla="*/ 145883 w 476250"/>
              <a:gd name="connsiteY6" fmla="*/ 340043 h 714375"/>
              <a:gd name="connsiteX7" fmla="*/ 140196 w 476250"/>
              <a:gd name="connsiteY7" fmla="*/ 311096 h 714375"/>
              <a:gd name="connsiteX8" fmla="*/ 139863 w 476250"/>
              <a:gd name="connsiteY8" fmla="*/ 310077 h 714375"/>
              <a:gd name="connsiteX9" fmla="*/ 137253 w 476250"/>
              <a:gd name="connsiteY9" fmla="*/ 257842 h 714375"/>
              <a:gd name="connsiteX10" fmla="*/ 156303 w 476250"/>
              <a:gd name="connsiteY10" fmla="*/ 148438 h 714375"/>
              <a:gd name="connsiteX11" fmla="*/ 119908 w 476250"/>
              <a:gd name="connsiteY11" fmla="*/ 180032 h 714375"/>
              <a:gd name="connsiteX12" fmla="*/ 96381 w 476250"/>
              <a:gd name="connsiteY12" fmla="*/ 280407 h 714375"/>
              <a:gd name="connsiteX13" fmla="*/ 51614 w 476250"/>
              <a:gd name="connsiteY13" fmla="*/ 325679 h 714375"/>
              <a:gd name="connsiteX14" fmla="*/ 51604 w 476250"/>
              <a:gd name="connsiteY14" fmla="*/ 325679 h 714375"/>
              <a:gd name="connsiteX15" fmla="*/ 18438 w 476250"/>
              <a:gd name="connsiteY15" fmla="*/ 310953 h 714375"/>
              <a:gd name="connsiteX16" fmla="*/ 7322 w 476250"/>
              <a:gd name="connsiteY16" fmla="*/ 278835 h 714375"/>
              <a:gd name="connsiteX17" fmla="*/ 7551 w 476250"/>
              <a:gd name="connsiteY17" fmla="*/ 277501 h 714375"/>
              <a:gd name="connsiteX18" fmla="*/ 38717 w 476250"/>
              <a:gd name="connsiteY18" fmla="*/ 149095 h 714375"/>
              <a:gd name="connsiteX19" fmla="*/ 61262 w 476250"/>
              <a:gd name="connsiteY19" fmla="*/ 109623 h 714375"/>
              <a:gd name="connsiteX20" fmla="*/ 191660 w 476250"/>
              <a:gd name="connsiteY20" fmla="*/ 16478 h 714375"/>
              <a:gd name="connsiteX21" fmla="*/ 239980 w 476250"/>
              <a:gd name="connsiteY21" fmla="*/ 7144 h 714375"/>
              <a:gd name="connsiteX22" fmla="*/ 325886 w 476250"/>
              <a:gd name="connsiteY22" fmla="*/ 42034 h 714375"/>
              <a:gd name="connsiteX23" fmla="*/ 327467 w 476250"/>
              <a:gd name="connsiteY23" fmla="*/ 44291 h 714375"/>
              <a:gd name="connsiteX24" fmla="*/ 389151 w 476250"/>
              <a:gd name="connsiteY24" fmla="*/ 167554 h 714375"/>
              <a:gd name="connsiteX25" fmla="*/ 459369 w 476250"/>
              <a:gd name="connsiteY25" fmla="*/ 221332 h 714375"/>
              <a:gd name="connsiteX26" fmla="*/ 461151 w 476250"/>
              <a:gd name="connsiteY26" fmla="*/ 287988 h 714375"/>
              <a:gd name="connsiteX27" fmla="*/ 438262 w 476250"/>
              <a:gd name="connsiteY27" fmla="*/ 296418 h 714375"/>
              <a:gd name="connsiteX28" fmla="*/ 398848 w 476250"/>
              <a:gd name="connsiteY28" fmla="*/ 279473 h 714375"/>
              <a:gd name="connsiteX29" fmla="*/ 338211 w 476250"/>
              <a:gd name="connsiteY29" fmla="*/ 233296 h 714375"/>
              <a:gd name="connsiteX30" fmla="*/ 308598 w 476250"/>
              <a:gd name="connsiteY30" fmla="*/ 190910 h 714375"/>
              <a:gd name="connsiteX31" fmla="*/ 294254 w 476250"/>
              <a:gd name="connsiteY31" fmla="*/ 284340 h 714375"/>
              <a:gd name="connsiteX32" fmla="*/ 296835 w 476250"/>
              <a:gd name="connsiteY32" fmla="*/ 301752 h 714375"/>
              <a:gd name="connsiteX33" fmla="*/ 297463 w 476250"/>
              <a:gd name="connsiteY33" fmla="*/ 302638 h 714375"/>
              <a:gd name="connsiteX34" fmla="*/ 395152 w 476250"/>
              <a:gd name="connsiteY34" fmla="*/ 459162 h 714375"/>
              <a:gd name="connsiteX35" fmla="*/ 395438 w 476250"/>
              <a:gd name="connsiteY35" fmla="*/ 461105 h 714375"/>
              <a:gd name="connsiteX36" fmla="*/ 422384 w 476250"/>
              <a:gd name="connsiteY36" fmla="*/ 638766 h 714375"/>
              <a:gd name="connsiteX37" fmla="*/ 386303 w 476250"/>
              <a:gd name="connsiteY37" fmla="*/ 705260 h 714375"/>
              <a:gd name="connsiteX38" fmla="*/ 372930 w 476250"/>
              <a:gd name="connsiteY38" fmla="*/ 706993 h 714375"/>
              <a:gd name="connsiteX39" fmla="*/ 323105 w 476250"/>
              <a:gd name="connsiteY39" fmla="*/ 666969 h 714375"/>
              <a:gd name="connsiteX40" fmla="*/ 299292 w 476250"/>
              <a:gd name="connsiteY40" fmla="*/ 510826 h 714375"/>
              <a:gd name="connsiteX41" fmla="*/ 246267 w 476250"/>
              <a:gd name="connsiteY41" fmla="*/ 422519 h 714375"/>
              <a:gd name="connsiteX42" fmla="*/ 206738 w 476250"/>
              <a:gd name="connsiteY42" fmla="*/ 532267 h 714375"/>
              <a:gd name="connsiteX43" fmla="*/ 117089 w 476250"/>
              <a:gd name="connsiteY43" fmla="*/ 668788 h 714375"/>
              <a:gd name="connsiteX44" fmla="*/ 64244 w 476250"/>
              <a:gd name="connsiteY44" fmla="*/ 708403 h 714375"/>
              <a:gd name="connsiteX45" fmla="*/ 32011 w 476250"/>
              <a:gd name="connsiteY45" fmla="*/ 644376 h 714375"/>
              <a:gd name="connsiteX46" fmla="*/ 32440 w 476250"/>
              <a:gd name="connsiteY46" fmla="*/ 668265 h 714375"/>
              <a:gd name="connsiteX47" fmla="*/ 55852 w 476250"/>
              <a:gd name="connsiteY47" fmla="*/ 688124 h 714375"/>
              <a:gd name="connsiteX48" fmla="*/ 100906 w 476250"/>
              <a:gd name="connsiteY48" fmla="*/ 658740 h 714375"/>
              <a:gd name="connsiteX49" fmla="*/ 190183 w 476250"/>
              <a:gd name="connsiteY49" fmla="*/ 522770 h 714375"/>
              <a:gd name="connsiteX50" fmla="*/ 241876 w 476250"/>
              <a:gd name="connsiteY50" fmla="*/ 378209 h 714375"/>
              <a:gd name="connsiteX51" fmla="*/ 317561 w 476250"/>
              <a:gd name="connsiteY51" fmla="*/ 504234 h 714375"/>
              <a:gd name="connsiteX52" fmla="*/ 341755 w 476250"/>
              <a:gd name="connsiteY52" fmla="*/ 663226 h 714375"/>
              <a:gd name="connsiteX53" fmla="*/ 381531 w 476250"/>
              <a:gd name="connsiteY53" fmla="*/ 686829 h 714375"/>
              <a:gd name="connsiteX54" fmla="*/ 403658 w 476250"/>
              <a:gd name="connsiteY54" fmla="*/ 642223 h 714375"/>
              <a:gd name="connsiteX55" fmla="*/ 376892 w 476250"/>
              <a:gd name="connsiteY55" fmla="*/ 465906 h 714375"/>
              <a:gd name="connsiteX56" fmla="*/ 281500 w 476250"/>
              <a:gd name="connsiteY56" fmla="*/ 313077 h 714375"/>
              <a:gd name="connsiteX57" fmla="*/ 275508 w 476250"/>
              <a:gd name="connsiteY57" fmla="*/ 280959 h 714375"/>
              <a:gd name="connsiteX58" fmla="*/ 298921 w 476250"/>
              <a:gd name="connsiteY58" fmla="*/ 128397 h 714375"/>
              <a:gd name="connsiteX59" fmla="*/ 312246 w 476250"/>
              <a:gd name="connsiteY59" fmla="*/ 156105 h 714375"/>
              <a:gd name="connsiteX60" fmla="*/ 348584 w 476250"/>
              <a:gd name="connsiteY60" fmla="*/ 217341 h 714375"/>
              <a:gd name="connsiteX61" fmla="*/ 349432 w 476250"/>
              <a:gd name="connsiteY61" fmla="*/ 217922 h 714375"/>
              <a:gd name="connsiteX62" fmla="*/ 411973 w 476250"/>
              <a:gd name="connsiteY62" fmla="*/ 265690 h 714375"/>
              <a:gd name="connsiteX63" fmla="*/ 438243 w 476250"/>
              <a:gd name="connsiteY63" fmla="*/ 277378 h 714375"/>
              <a:gd name="connsiteX64" fmla="*/ 448120 w 476250"/>
              <a:gd name="connsiteY64" fmla="*/ 274091 h 714375"/>
              <a:gd name="connsiteX65" fmla="*/ 445920 w 476250"/>
              <a:gd name="connsiteY65" fmla="*/ 234877 h 714375"/>
              <a:gd name="connsiteX66" fmla="*/ 374073 w 476250"/>
              <a:gd name="connsiteY66" fmla="*/ 180032 h 714375"/>
              <a:gd name="connsiteX67" fmla="*/ 311122 w 476250"/>
              <a:gd name="connsiteY67" fmla="*/ 54226 h 714375"/>
              <a:gd name="connsiteX68" fmla="*/ 239980 w 476250"/>
              <a:gd name="connsiteY68" fmla="*/ 26203 h 714375"/>
              <a:gd name="connsiteX69" fmla="*/ 199613 w 476250"/>
              <a:gd name="connsiteY69" fmla="*/ 33842 h 714375"/>
              <a:gd name="connsiteX70" fmla="*/ 71626 w 476250"/>
              <a:gd name="connsiteY70" fmla="*/ 125587 h 714375"/>
              <a:gd name="connsiteX71" fmla="*/ 57376 w 476250"/>
              <a:gd name="connsiteY71" fmla="*/ 152781 h 714375"/>
              <a:gd name="connsiteX72" fmla="*/ 26220 w 476250"/>
              <a:gd name="connsiteY72" fmla="*/ 281273 h 714375"/>
              <a:gd name="connsiteX73" fmla="*/ 32526 w 476250"/>
              <a:gd name="connsiteY73" fmla="*/ 298142 h 714375"/>
              <a:gd name="connsiteX74" fmla="*/ 51242 w 476250"/>
              <a:gd name="connsiteY74" fmla="*/ 306638 h 714375"/>
              <a:gd name="connsiteX75" fmla="*/ 77712 w 476250"/>
              <a:gd name="connsiteY75" fmla="*/ 276606 h 714375"/>
              <a:gd name="connsiteX76" fmla="*/ 102744 w 476250"/>
              <a:gd name="connsiteY76" fmla="*/ 169697 h 714375"/>
              <a:gd name="connsiteX77" fmla="*/ 184230 w 476250"/>
              <a:gd name="connsiteY77" fmla="*/ 98936 h 714375"/>
              <a:gd name="connsiteX78" fmla="*/ 155665 w 476250"/>
              <a:gd name="connsiteY78" fmla="*/ 262633 h 714375"/>
              <a:gd name="connsiteX79" fmla="*/ 158141 w 476250"/>
              <a:gd name="connsiteY79" fmla="*/ 304752 h 714375"/>
              <a:gd name="connsiteX80" fmla="*/ 164418 w 476250"/>
              <a:gd name="connsiteY80" fmla="*/ 344224 h 714375"/>
              <a:gd name="connsiteX81" fmla="*/ 123308 w 476250"/>
              <a:gd name="connsiteY81" fmla="*/ 493043 h 714375"/>
              <a:gd name="connsiteX82" fmla="*/ 32011 w 476250"/>
              <a:gd name="connsiteY82" fmla="*/ 644376 h 714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476250" h="714375">
                <a:moveTo>
                  <a:pt x="64244" y="708403"/>
                </a:moveTo>
                <a:cubicBezTo>
                  <a:pt x="59862" y="708403"/>
                  <a:pt x="55309" y="707765"/>
                  <a:pt x="50747" y="706479"/>
                </a:cubicBezTo>
                <a:cubicBezTo>
                  <a:pt x="35193" y="702164"/>
                  <a:pt x="21877" y="690848"/>
                  <a:pt x="15142" y="676237"/>
                </a:cubicBezTo>
                <a:cubicBezTo>
                  <a:pt x="9056" y="663035"/>
                  <a:pt x="8980" y="648700"/>
                  <a:pt x="14942" y="635908"/>
                </a:cubicBezTo>
                <a:lnTo>
                  <a:pt x="15419" y="635003"/>
                </a:lnTo>
                <a:lnTo>
                  <a:pt x="106316" y="484327"/>
                </a:lnTo>
                <a:lnTo>
                  <a:pt x="145883" y="340043"/>
                </a:lnTo>
                <a:cubicBezTo>
                  <a:pt x="147235" y="332127"/>
                  <a:pt x="142111" y="316030"/>
                  <a:pt x="140196" y="311096"/>
                </a:cubicBezTo>
                <a:lnTo>
                  <a:pt x="139863" y="310077"/>
                </a:lnTo>
                <a:cubicBezTo>
                  <a:pt x="132186" y="280797"/>
                  <a:pt x="136262" y="261690"/>
                  <a:pt x="137253" y="257842"/>
                </a:cubicBezTo>
                <a:lnTo>
                  <a:pt x="156303" y="148438"/>
                </a:lnTo>
                <a:lnTo>
                  <a:pt x="119908" y="180032"/>
                </a:lnTo>
                <a:lnTo>
                  <a:pt x="96381" y="280407"/>
                </a:lnTo>
                <a:cubicBezTo>
                  <a:pt x="91495" y="308372"/>
                  <a:pt x="74721" y="325479"/>
                  <a:pt x="51614" y="325679"/>
                </a:cubicBezTo>
                <a:cubicBezTo>
                  <a:pt x="51614" y="325679"/>
                  <a:pt x="51614" y="325679"/>
                  <a:pt x="51604" y="325679"/>
                </a:cubicBezTo>
                <a:cubicBezTo>
                  <a:pt x="38898" y="325679"/>
                  <a:pt x="26944" y="320316"/>
                  <a:pt x="18438" y="310953"/>
                </a:cubicBezTo>
                <a:cubicBezTo>
                  <a:pt x="10275" y="301971"/>
                  <a:pt x="6218" y="290255"/>
                  <a:pt x="7322" y="278835"/>
                </a:cubicBezTo>
                <a:lnTo>
                  <a:pt x="7551" y="277501"/>
                </a:lnTo>
                <a:lnTo>
                  <a:pt x="38717" y="149095"/>
                </a:lnTo>
                <a:cubicBezTo>
                  <a:pt x="42965" y="121110"/>
                  <a:pt x="59405" y="110719"/>
                  <a:pt x="61262" y="109623"/>
                </a:cubicBezTo>
                <a:lnTo>
                  <a:pt x="191660" y="16478"/>
                </a:lnTo>
                <a:cubicBezTo>
                  <a:pt x="207786" y="10287"/>
                  <a:pt x="224045" y="7144"/>
                  <a:pt x="239980" y="7144"/>
                </a:cubicBezTo>
                <a:cubicBezTo>
                  <a:pt x="292510" y="7144"/>
                  <a:pt x="324553" y="40615"/>
                  <a:pt x="325886" y="42034"/>
                </a:cubicBezTo>
                <a:lnTo>
                  <a:pt x="327467" y="44291"/>
                </a:lnTo>
                <a:lnTo>
                  <a:pt x="389151" y="167554"/>
                </a:lnTo>
                <a:lnTo>
                  <a:pt x="459369" y="221332"/>
                </a:lnTo>
                <a:cubicBezTo>
                  <a:pt x="478705" y="242183"/>
                  <a:pt x="479467" y="270834"/>
                  <a:pt x="461151" y="287988"/>
                </a:cubicBezTo>
                <a:cubicBezTo>
                  <a:pt x="455255" y="293503"/>
                  <a:pt x="447339" y="296418"/>
                  <a:pt x="438262" y="296418"/>
                </a:cubicBezTo>
                <a:cubicBezTo>
                  <a:pt x="424737" y="296418"/>
                  <a:pt x="409011" y="289627"/>
                  <a:pt x="398848" y="279473"/>
                </a:cubicBezTo>
                <a:lnTo>
                  <a:pt x="338211" y="233296"/>
                </a:lnTo>
                <a:cubicBezTo>
                  <a:pt x="329839" y="227743"/>
                  <a:pt x="318190" y="208683"/>
                  <a:pt x="308598" y="190910"/>
                </a:cubicBezTo>
                <a:lnTo>
                  <a:pt x="294254" y="284340"/>
                </a:lnTo>
                <a:cubicBezTo>
                  <a:pt x="292025" y="295113"/>
                  <a:pt x="296787" y="301685"/>
                  <a:pt x="296835" y="301752"/>
                </a:cubicBezTo>
                <a:lnTo>
                  <a:pt x="297463" y="302638"/>
                </a:lnTo>
                <a:lnTo>
                  <a:pt x="395152" y="459162"/>
                </a:lnTo>
                <a:lnTo>
                  <a:pt x="395438" y="461105"/>
                </a:lnTo>
                <a:lnTo>
                  <a:pt x="422384" y="638766"/>
                </a:lnTo>
                <a:cubicBezTo>
                  <a:pt x="429394" y="670903"/>
                  <a:pt x="414935" y="697859"/>
                  <a:pt x="386303" y="705260"/>
                </a:cubicBezTo>
                <a:cubicBezTo>
                  <a:pt x="381874" y="706412"/>
                  <a:pt x="377369" y="706993"/>
                  <a:pt x="372930" y="706993"/>
                </a:cubicBezTo>
                <a:cubicBezTo>
                  <a:pt x="349098" y="706993"/>
                  <a:pt x="329077" y="690915"/>
                  <a:pt x="323105" y="666969"/>
                </a:cubicBezTo>
                <a:lnTo>
                  <a:pt x="299292" y="510826"/>
                </a:lnTo>
                <a:lnTo>
                  <a:pt x="246267" y="422519"/>
                </a:lnTo>
                <a:lnTo>
                  <a:pt x="206738" y="532267"/>
                </a:lnTo>
                <a:lnTo>
                  <a:pt x="117089" y="668788"/>
                </a:lnTo>
                <a:cubicBezTo>
                  <a:pt x="107230" y="685562"/>
                  <a:pt x="90742" y="708403"/>
                  <a:pt x="64244" y="708403"/>
                </a:cubicBezTo>
                <a:close/>
                <a:moveTo>
                  <a:pt x="32011" y="644376"/>
                </a:moveTo>
                <a:cubicBezTo>
                  <a:pt x="28649" y="651910"/>
                  <a:pt x="28801" y="660378"/>
                  <a:pt x="32440" y="668265"/>
                </a:cubicBezTo>
                <a:cubicBezTo>
                  <a:pt x="36859" y="677856"/>
                  <a:pt x="45613" y="685286"/>
                  <a:pt x="55852" y="688124"/>
                </a:cubicBezTo>
                <a:cubicBezTo>
                  <a:pt x="72788" y="692887"/>
                  <a:pt x="86066" y="683971"/>
                  <a:pt x="100906" y="658740"/>
                </a:cubicBezTo>
                <a:lnTo>
                  <a:pt x="190183" y="522770"/>
                </a:lnTo>
                <a:lnTo>
                  <a:pt x="241876" y="378209"/>
                </a:lnTo>
                <a:lnTo>
                  <a:pt x="317561" y="504234"/>
                </a:lnTo>
                <a:lnTo>
                  <a:pt x="341755" y="663226"/>
                </a:lnTo>
                <a:cubicBezTo>
                  <a:pt x="346089" y="680409"/>
                  <a:pt x="363586" y="691477"/>
                  <a:pt x="381531" y="686829"/>
                </a:cubicBezTo>
                <a:cubicBezTo>
                  <a:pt x="400124" y="682019"/>
                  <a:pt x="408601" y="664931"/>
                  <a:pt x="403658" y="642223"/>
                </a:cubicBezTo>
                <a:lnTo>
                  <a:pt x="376892" y="465906"/>
                </a:lnTo>
                <a:lnTo>
                  <a:pt x="281500" y="313077"/>
                </a:lnTo>
                <a:cubicBezTo>
                  <a:pt x="279414" y="310220"/>
                  <a:pt x="271870" y="298361"/>
                  <a:pt x="275508" y="280959"/>
                </a:cubicBezTo>
                <a:lnTo>
                  <a:pt x="298921" y="128397"/>
                </a:lnTo>
                <a:lnTo>
                  <a:pt x="312246" y="156105"/>
                </a:lnTo>
                <a:cubicBezTo>
                  <a:pt x="324991" y="182594"/>
                  <a:pt x="342631" y="213512"/>
                  <a:pt x="348584" y="217341"/>
                </a:cubicBezTo>
                <a:lnTo>
                  <a:pt x="349432" y="217922"/>
                </a:lnTo>
                <a:lnTo>
                  <a:pt x="411973" y="265690"/>
                </a:lnTo>
                <a:cubicBezTo>
                  <a:pt x="418536" y="272463"/>
                  <a:pt x="429585" y="277378"/>
                  <a:pt x="438243" y="277378"/>
                </a:cubicBezTo>
                <a:cubicBezTo>
                  <a:pt x="442453" y="277378"/>
                  <a:pt x="445787" y="276273"/>
                  <a:pt x="448120" y="274091"/>
                </a:cubicBezTo>
                <a:cubicBezTo>
                  <a:pt x="458560" y="264319"/>
                  <a:pt x="457598" y="247926"/>
                  <a:pt x="445920" y="234877"/>
                </a:cubicBezTo>
                <a:lnTo>
                  <a:pt x="374073" y="180032"/>
                </a:lnTo>
                <a:lnTo>
                  <a:pt x="311122" y="54226"/>
                </a:lnTo>
                <a:cubicBezTo>
                  <a:pt x="306093" y="49425"/>
                  <a:pt x="279652" y="26203"/>
                  <a:pt x="239980" y="26203"/>
                </a:cubicBezTo>
                <a:cubicBezTo>
                  <a:pt x="226750" y="26203"/>
                  <a:pt x="213177" y="28775"/>
                  <a:pt x="199613" y="33842"/>
                </a:cubicBezTo>
                <a:lnTo>
                  <a:pt x="71626" y="125587"/>
                </a:lnTo>
                <a:cubicBezTo>
                  <a:pt x="70616" y="126244"/>
                  <a:pt x="60415" y="132979"/>
                  <a:pt x="57376" y="152781"/>
                </a:cubicBezTo>
                <a:lnTo>
                  <a:pt x="26220" y="281273"/>
                </a:lnTo>
                <a:cubicBezTo>
                  <a:pt x="25839" y="287179"/>
                  <a:pt x="28116" y="293294"/>
                  <a:pt x="32526" y="298142"/>
                </a:cubicBezTo>
                <a:cubicBezTo>
                  <a:pt x="37431" y="303533"/>
                  <a:pt x="44251" y="306638"/>
                  <a:pt x="51242" y="306638"/>
                </a:cubicBezTo>
                <a:cubicBezTo>
                  <a:pt x="69749" y="306486"/>
                  <a:pt x="75760" y="287750"/>
                  <a:pt x="77712" y="276606"/>
                </a:cubicBezTo>
                <a:lnTo>
                  <a:pt x="102744" y="169697"/>
                </a:lnTo>
                <a:lnTo>
                  <a:pt x="184230" y="98936"/>
                </a:lnTo>
                <a:lnTo>
                  <a:pt x="155665" y="262633"/>
                </a:lnTo>
                <a:cubicBezTo>
                  <a:pt x="155646" y="262719"/>
                  <a:pt x="151359" y="278492"/>
                  <a:pt x="158141" y="304752"/>
                </a:cubicBezTo>
                <a:cubicBezTo>
                  <a:pt x="159722" y="308934"/>
                  <a:pt x="167019" y="329479"/>
                  <a:pt x="164418" y="344224"/>
                </a:cubicBezTo>
                <a:lnTo>
                  <a:pt x="123308" y="493043"/>
                </a:lnTo>
                <a:lnTo>
                  <a:pt x="32011" y="644376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US" sz="3939" dirty="0"/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3B95C460-F9E5-701F-A63B-9C846DB4C3F7}"/>
              </a:ext>
            </a:extLst>
          </p:cNvPr>
          <p:cNvSpPr/>
          <p:nvPr/>
        </p:nvSpPr>
        <p:spPr>
          <a:xfrm>
            <a:off x="3680330" y="1464555"/>
            <a:ext cx="110984" cy="117512"/>
          </a:xfrm>
          <a:custGeom>
            <a:avLst/>
            <a:gdLst>
              <a:gd name="connsiteX0" fmla="*/ 85231 w 161925"/>
              <a:gd name="connsiteY0" fmla="*/ 166421 h 171450"/>
              <a:gd name="connsiteX1" fmla="*/ 8497 w 161925"/>
              <a:gd name="connsiteY1" fmla="*/ 100679 h 171450"/>
              <a:gd name="connsiteX2" fmla="*/ 70038 w 161925"/>
              <a:gd name="connsiteY2" fmla="*/ 8372 h 171450"/>
              <a:gd name="connsiteX3" fmla="*/ 83573 w 161925"/>
              <a:gd name="connsiteY3" fmla="*/ 7144 h 171450"/>
              <a:gd name="connsiteX4" fmla="*/ 160297 w 161925"/>
              <a:gd name="connsiteY4" fmla="*/ 72885 h 171450"/>
              <a:gd name="connsiteX5" fmla="*/ 98766 w 161925"/>
              <a:gd name="connsiteY5" fmla="*/ 165192 h 171450"/>
              <a:gd name="connsiteX6" fmla="*/ 85231 w 161925"/>
              <a:gd name="connsiteY6" fmla="*/ 166421 h 171450"/>
              <a:gd name="connsiteX7" fmla="*/ 83573 w 161925"/>
              <a:gd name="connsiteY7" fmla="*/ 26184 h 171450"/>
              <a:gd name="connsiteX8" fmla="*/ 73467 w 161925"/>
              <a:gd name="connsiteY8" fmla="*/ 27108 h 171450"/>
              <a:gd name="connsiteX9" fmla="*/ 27233 w 161925"/>
              <a:gd name="connsiteY9" fmla="*/ 97250 h 171450"/>
              <a:gd name="connsiteX10" fmla="*/ 85221 w 161925"/>
              <a:gd name="connsiteY10" fmla="*/ 147380 h 171450"/>
              <a:gd name="connsiteX11" fmla="*/ 95327 w 161925"/>
              <a:gd name="connsiteY11" fmla="*/ 146456 h 171450"/>
              <a:gd name="connsiteX12" fmla="*/ 141562 w 161925"/>
              <a:gd name="connsiteY12" fmla="*/ 76314 h 171450"/>
              <a:gd name="connsiteX13" fmla="*/ 83573 w 161925"/>
              <a:gd name="connsiteY13" fmla="*/ 26184 h 171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61925" h="171450">
                <a:moveTo>
                  <a:pt x="85231" y="166421"/>
                </a:moveTo>
                <a:cubicBezTo>
                  <a:pt x="47740" y="166421"/>
                  <a:pt x="15479" y="138770"/>
                  <a:pt x="8497" y="100679"/>
                </a:cubicBezTo>
                <a:cubicBezTo>
                  <a:pt x="582" y="57445"/>
                  <a:pt x="28195" y="16040"/>
                  <a:pt x="70038" y="8372"/>
                </a:cubicBezTo>
                <a:cubicBezTo>
                  <a:pt x="74515" y="7553"/>
                  <a:pt x="79059" y="7144"/>
                  <a:pt x="83573" y="7144"/>
                </a:cubicBezTo>
                <a:cubicBezTo>
                  <a:pt x="121054" y="7144"/>
                  <a:pt x="153315" y="34795"/>
                  <a:pt x="160297" y="72885"/>
                </a:cubicBezTo>
                <a:cubicBezTo>
                  <a:pt x="168222" y="116119"/>
                  <a:pt x="140619" y="157524"/>
                  <a:pt x="98766" y="165192"/>
                </a:cubicBezTo>
                <a:cubicBezTo>
                  <a:pt x="94289" y="166002"/>
                  <a:pt x="89746" y="166421"/>
                  <a:pt x="85231" y="166421"/>
                </a:cubicBezTo>
                <a:close/>
                <a:moveTo>
                  <a:pt x="83573" y="26184"/>
                </a:moveTo>
                <a:cubicBezTo>
                  <a:pt x="80211" y="26184"/>
                  <a:pt x="76811" y="26489"/>
                  <a:pt x="73467" y="27108"/>
                </a:cubicBezTo>
                <a:cubicBezTo>
                  <a:pt x="41949" y="32880"/>
                  <a:pt x="21213" y="64351"/>
                  <a:pt x="27233" y="97250"/>
                </a:cubicBezTo>
                <a:cubicBezTo>
                  <a:pt x="32557" y="126292"/>
                  <a:pt x="56941" y="147380"/>
                  <a:pt x="85221" y="147380"/>
                </a:cubicBezTo>
                <a:cubicBezTo>
                  <a:pt x="88584" y="147380"/>
                  <a:pt x="91984" y="147076"/>
                  <a:pt x="95327" y="146456"/>
                </a:cubicBezTo>
                <a:cubicBezTo>
                  <a:pt x="126845" y="140684"/>
                  <a:pt x="147581" y="109214"/>
                  <a:pt x="141562" y="76314"/>
                </a:cubicBezTo>
                <a:cubicBezTo>
                  <a:pt x="136247" y="47263"/>
                  <a:pt x="111853" y="26184"/>
                  <a:pt x="83573" y="26184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US" sz="3939" dirty="0"/>
          </a:p>
        </p:txBody>
      </p:sp>
      <p:sp>
        <p:nvSpPr>
          <p:cNvPr id="33" name="Shape2_20220526_193751">
            <a:extLst>
              <a:ext uri="{FF2B5EF4-FFF2-40B4-BE49-F238E27FC236}">
                <a16:creationId xmlns:a16="http://schemas.microsoft.com/office/drawing/2014/main" id="{E55D1589-AACC-CFD8-0CB7-BD720D8762DF}"/>
              </a:ext>
            </a:extLst>
          </p:cNvPr>
          <p:cNvSpPr/>
          <p:nvPr/>
        </p:nvSpPr>
        <p:spPr>
          <a:xfrm>
            <a:off x="8098853" y="1366397"/>
            <a:ext cx="3475918" cy="4449298"/>
          </a:xfrm>
          <a:prstGeom prst="rect">
            <a:avLst/>
          </a:prstGeom>
          <a:noFill/>
          <a:ln w="9525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3939" dirty="0">
              <a:solidFill>
                <a:schemeClr val="lt1"/>
              </a:solidFill>
            </a:endParaRPr>
          </a:p>
        </p:txBody>
      </p:sp>
      <p:sp>
        <p:nvSpPr>
          <p:cNvPr id="34" name="Google Shape;636;p20">
            <a:extLst>
              <a:ext uri="{FF2B5EF4-FFF2-40B4-BE49-F238E27FC236}">
                <a16:creationId xmlns:a16="http://schemas.microsoft.com/office/drawing/2014/main" id="{0F140619-CD8D-5532-C2B8-5C8D406665DE}"/>
              </a:ext>
            </a:extLst>
          </p:cNvPr>
          <p:cNvSpPr/>
          <p:nvPr/>
        </p:nvSpPr>
        <p:spPr>
          <a:xfrm>
            <a:off x="8153799" y="1578180"/>
            <a:ext cx="2028024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sz="2400" b="1" dirty="0">
                <a:solidFill>
                  <a:schemeClr val="tx1">
                    <a:lumMod val="100000"/>
                  </a:schemeClr>
                </a:solidFill>
              </a:rPr>
              <a:t>90</a:t>
            </a:r>
            <a:r>
              <a:rPr lang="en-IN" sz="2400" dirty="0">
                <a:solidFill>
                  <a:schemeClr val="tx1">
                    <a:lumMod val="100000"/>
                  </a:schemeClr>
                </a:solidFill>
              </a:rPr>
              <a:t> DAY</a:t>
            </a:r>
            <a:endParaRPr sz="24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35" name="Google Shape;639;p20">
            <a:extLst>
              <a:ext uri="{FF2B5EF4-FFF2-40B4-BE49-F238E27FC236}">
                <a16:creationId xmlns:a16="http://schemas.microsoft.com/office/drawing/2014/main" id="{A489ECD6-E880-9F0E-1658-3CC9FCB8D025}"/>
              </a:ext>
            </a:extLst>
          </p:cNvPr>
          <p:cNvSpPr/>
          <p:nvPr/>
        </p:nvSpPr>
        <p:spPr>
          <a:xfrm>
            <a:off x="10786834" y="1366520"/>
            <a:ext cx="787939" cy="7926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3939" dirty="0">
              <a:solidFill>
                <a:schemeClr val="lt1"/>
              </a:solidFill>
            </a:endParaRPr>
          </a:p>
        </p:txBody>
      </p:sp>
      <p:sp>
        <p:nvSpPr>
          <p:cNvPr id="36" name="Graphic 20">
            <a:extLst>
              <a:ext uri="{FF2B5EF4-FFF2-40B4-BE49-F238E27FC236}">
                <a16:creationId xmlns:a16="http://schemas.microsoft.com/office/drawing/2014/main" id="{CAE79426-341E-3B09-BE97-FBDAA25C7AA2}"/>
              </a:ext>
            </a:extLst>
          </p:cNvPr>
          <p:cNvSpPr/>
          <p:nvPr/>
        </p:nvSpPr>
        <p:spPr>
          <a:xfrm flipH="1">
            <a:off x="10936976" y="1513885"/>
            <a:ext cx="487652" cy="497922"/>
          </a:xfrm>
          <a:custGeom>
            <a:avLst/>
            <a:gdLst>
              <a:gd name="connsiteX0" fmla="*/ 158401 w 904875"/>
              <a:gd name="connsiteY0" fmla="*/ 921163 h 923925"/>
              <a:gd name="connsiteX1" fmla="*/ 179261 w 904875"/>
              <a:gd name="connsiteY1" fmla="*/ 924401 h 923925"/>
              <a:gd name="connsiteX2" fmla="*/ 243554 w 904875"/>
              <a:gd name="connsiteY2" fmla="*/ 879824 h 923925"/>
              <a:gd name="connsiteX3" fmla="*/ 310229 w 904875"/>
              <a:gd name="connsiteY3" fmla="*/ 702183 h 923925"/>
              <a:gd name="connsiteX4" fmla="*/ 505873 w 904875"/>
              <a:gd name="connsiteY4" fmla="*/ 621030 h 923925"/>
              <a:gd name="connsiteX5" fmla="*/ 567976 w 904875"/>
              <a:gd name="connsiteY5" fmla="*/ 703231 h 923925"/>
              <a:gd name="connsiteX6" fmla="*/ 660940 w 904875"/>
              <a:gd name="connsiteY6" fmla="*/ 741902 h 923925"/>
              <a:gd name="connsiteX7" fmla="*/ 832390 w 904875"/>
              <a:gd name="connsiteY7" fmla="*/ 720376 h 923925"/>
              <a:gd name="connsiteX8" fmla="*/ 891684 w 904875"/>
              <a:gd name="connsiteY8" fmla="*/ 643455 h 923925"/>
              <a:gd name="connsiteX9" fmla="*/ 822865 w 904875"/>
              <a:gd name="connsiteY9" fmla="*/ 583597 h 923925"/>
              <a:gd name="connsiteX10" fmla="*/ 813816 w 904875"/>
              <a:gd name="connsiteY10" fmla="*/ 584168 h 923925"/>
              <a:gd name="connsiteX11" fmla="*/ 664274 w 904875"/>
              <a:gd name="connsiteY11" fmla="*/ 603218 h 923925"/>
              <a:gd name="connsiteX12" fmla="*/ 585121 w 904875"/>
              <a:gd name="connsiteY12" fmla="*/ 498443 h 923925"/>
              <a:gd name="connsiteX13" fmla="*/ 458438 w 904875"/>
              <a:gd name="connsiteY13" fmla="*/ 306610 h 923925"/>
              <a:gd name="connsiteX14" fmla="*/ 625697 w 904875"/>
              <a:gd name="connsiteY14" fmla="*/ 300704 h 923925"/>
              <a:gd name="connsiteX15" fmla="*/ 653701 w 904875"/>
              <a:gd name="connsiteY15" fmla="*/ 295751 h 923925"/>
              <a:gd name="connsiteX16" fmla="*/ 701993 w 904875"/>
              <a:gd name="connsiteY16" fmla="*/ 227362 h 923925"/>
              <a:gd name="connsiteX17" fmla="*/ 633603 w 904875"/>
              <a:gd name="connsiteY17" fmla="*/ 179070 h 923925"/>
              <a:gd name="connsiteX18" fmla="*/ 612648 w 904875"/>
              <a:gd name="connsiteY18" fmla="*/ 182785 h 923925"/>
              <a:gd name="connsiteX19" fmla="*/ 412623 w 904875"/>
              <a:gd name="connsiteY19" fmla="*/ 182785 h 923925"/>
              <a:gd name="connsiteX20" fmla="*/ 330899 w 904875"/>
              <a:gd name="connsiteY20" fmla="*/ 168021 h 923925"/>
              <a:gd name="connsiteX21" fmla="*/ 322612 w 904875"/>
              <a:gd name="connsiteY21" fmla="*/ 166783 h 923925"/>
              <a:gd name="connsiteX22" fmla="*/ 316230 w 904875"/>
              <a:gd name="connsiteY22" fmla="*/ 166116 h 923925"/>
              <a:gd name="connsiteX23" fmla="*/ 232696 w 904875"/>
              <a:gd name="connsiteY23" fmla="*/ 190405 h 923925"/>
              <a:gd name="connsiteX24" fmla="*/ 211931 w 904875"/>
              <a:gd name="connsiteY24" fmla="*/ 341566 h 923925"/>
              <a:gd name="connsiteX25" fmla="*/ 343281 w 904875"/>
              <a:gd name="connsiteY25" fmla="*/ 539687 h 923925"/>
              <a:gd name="connsiteX26" fmla="*/ 242602 w 904875"/>
              <a:gd name="connsiteY26" fmla="*/ 581501 h 923925"/>
              <a:gd name="connsiteX27" fmla="*/ 187166 w 904875"/>
              <a:gd name="connsiteY27" fmla="*/ 638651 h 923925"/>
              <a:gd name="connsiteX28" fmla="*/ 109633 w 904875"/>
              <a:gd name="connsiteY28" fmla="*/ 845915 h 923925"/>
              <a:gd name="connsiteX29" fmla="*/ 114205 w 904875"/>
              <a:gd name="connsiteY29" fmla="*/ 898493 h 923925"/>
              <a:gd name="connsiteX30" fmla="*/ 158401 w 904875"/>
              <a:gd name="connsiteY30" fmla="*/ 921163 h 923925"/>
              <a:gd name="connsiteX31" fmla="*/ 145256 w 904875"/>
              <a:gd name="connsiteY31" fmla="*/ 859250 h 923925"/>
              <a:gd name="connsiteX32" fmla="*/ 222790 w 904875"/>
              <a:gd name="connsiteY32" fmla="*/ 652177 h 923925"/>
              <a:gd name="connsiteX33" fmla="*/ 257080 w 904875"/>
              <a:gd name="connsiteY33" fmla="*/ 616649 h 923925"/>
              <a:gd name="connsiteX34" fmla="*/ 379095 w 904875"/>
              <a:gd name="connsiteY34" fmla="*/ 566071 h 923925"/>
              <a:gd name="connsiteX35" fmla="*/ 389724 w 904875"/>
              <a:gd name="connsiteY35" fmla="*/ 541316 h 923925"/>
              <a:gd name="connsiteX36" fmla="*/ 387668 w 904875"/>
              <a:gd name="connsiteY36" fmla="*/ 537496 h 923925"/>
              <a:gd name="connsiteX37" fmla="*/ 244126 w 904875"/>
              <a:gd name="connsiteY37" fmla="*/ 320231 h 923925"/>
              <a:gd name="connsiteX38" fmla="*/ 257270 w 904875"/>
              <a:gd name="connsiteY38" fmla="*/ 219551 h 923925"/>
              <a:gd name="connsiteX39" fmla="*/ 312515 w 904875"/>
              <a:gd name="connsiteY39" fmla="*/ 203645 h 923925"/>
              <a:gd name="connsiteX40" fmla="*/ 318897 w 904875"/>
              <a:gd name="connsiteY40" fmla="*/ 204311 h 923925"/>
              <a:gd name="connsiteX41" fmla="*/ 324612 w 904875"/>
              <a:gd name="connsiteY41" fmla="*/ 205169 h 923925"/>
              <a:gd name="connsiteX42" fmla="*/ 406051 w 904875"/>
              <a:gd name="connsiteY42" fmla="*/ 220028 h 923925"/>
              <a:gd name="connsiteX43" fmla="*/ 619506 w 904875"/>
              <a:gd name="connsiteY43" fmla="*/ 220028 h 923925"/>
              <a:gd name="connsiteX44" fmla="*/ 640366 w 904875"/>
              <a:gd name="connsiteY44" fmla="*/ 216313 h 923925"/>
              <a:gd name="connsiteX45" fmla="*/ 664655 w 904875"/>
              <a:gd name="connsiteY45" fmla="*/ 233553 h 923925"/>
              <a:gd name="connsiteX46" fmla="*/ 647414 w 904875"/>
              <a:gd name="connsiteY46" fmla="*/ 257842 h 923925"/>
              <a:gd name="connsiteX47" fmla="*/ 618839 w 904875"/>
              <a:gd name="connsiteY47" fmla="*/ 262795 h 923925"/>
              <a:gd name="connsiteX48" fmla="*/ 422243 w 904875"/>
              <a:gd name="connsiteY48" fmla="*/ 262795 h 923925"/>
              <a:gd name="connsiteX49" fmla="*/ 400329 w 904875"/>
              <a:gd name="connsiteY49" fmla="*/ 278466 h 923925"/>
              <a:gd name="connsiteX50" fmla="*/ 403193 w 904875"/>
              <a:gd name="connsiteY50" fmla="*/ 292037 h 923925"/>
              <a:gd name="connsiteX51" fmla="*/ 553688 w 904875"/>
              <a:gd name="connsiteY51" fmla="*/ 519398 h 923925"/>
              <a:gd name="connsiteX52" fmla="*/ 554355 w 904875"/>
              <a:gd name="connsiteY52" fmla="*/ 520351 h 923925"/>
              <a:gd name="connsiteX53" fmla="*/ 640080 w 904875"/>
              <a:gd name="connsiteY53" fmla="*/ 634651 h 923925"/>
              <a:gd name="connsiteX54" fmla="*/ 657701 w 904875"/>
              <a:gd name="connsiteY54" fmla="*/ 642080 h 923925"/>
              <a:gd name="connsiteX55" fmla="*/ 818388 w 904875"/>
              <a:gd name="connsiteY55" fmla="*/ 621887 h 923925"/>
              <a:gd name="connsiteX56" fmla="*/ 852100 w 904875"/>
              <a:gd name="connsiteY56" fmla="*/ 648965 h 923925"/>
              <a:gd name="connsiteX57" fmla="*/ 826580 w 904875"/>
              <a:gd name="connsiteY57" fmla="*/ 682466 h 923925"/>
              <a:gd name="connsiteX58" fmla="*/ 655130 w 904875"/>
              <a:gd name="connsiteY58" fmla="*/ 703993 h 923925"/>
              <a:gd name="connsiteX59" fmla="*/ 597313 w 904875"/>
              <a:gd name="connsiteY59" fmla="*/ 679799 h 923925"/>
              <a:gd name="connsiteX60" fmla="*/ 526447 w 904875"/>
              <a:gd name="connsiteY60" fmla="*/ 585788 h 923925"/>
              <a:gd name="connsiteX61" fmla="*/ 504825 w 904875"/>
              <a:gd name="connsiteY61" fmla="*/ 579977 h 923925"/>
              <a:gd name="connsiteX62" fmla="*/ 287941 w 904875"/>
              <a:gd name="connsiteY62" fmla="*/ 670179 h 923925"/>
              <a:gd name="connsiteX63" fmla="*/ 277368 w 904875"/>
              <a:gd name="connsiteY63" fmla="*/ 681133 h 923925"/>
              <a:gd name="connsiteX64" fmla="*/ 207931 w 904875"/>
              <a:gd name="connsiteY64" fmla="*/ 866489 h 923925"/>
              <a:gd name="connsiteX65" fmla="*/ 168593 w 904875"/>
              <a:gd name="connsiteY65" fmla="*/ 884777 h 923925"/>
              <a:gd name="connsiteX66" fmla="*/ 161925 w 904875"/>
              <a:gd name="connsiteY66" fmla="*/ 883539 h 923925"/>
              <a:gd name="connsiteX67" fmla="*/ 145637 w 904875"/>
              <a:gd name="connsiteY67" fmla="*/ 877157 h 923925"/>
              <a:gd name="connsiteX68" fmla="*/ 145352 w 904875"/>
              <a:gd name="connsiteY68" fmla="*/ 859250 h 923925"/>
              <a:gd name="connsiteX69" fmla="*/ 216694 w 904875"/>
              <a:gd name="connsiteY69" fmla="*/ 111919 h 923925"/>
              <a:gd name="connsiteX70" fmla="*/ 111919 w 904875"/>
              <a:gd name="connsiteY70" fmla="*/ 7144 h 923925"/>
              <a:gd name="connsiteX71" fmla="*/ 7144 w 904875"/>
              <a:gd name="connsiteY71" fmla="*/ 111919 h 923925"/>
              <a:gd name="connsiteX72" fmla="*/ 111919 w 904875"/>
              <a:gd name="connsiteY72" fmla="*/ 216694 h 923925"/>
              <a:gd name="connsiteX73" fmla="*/ 216694 w 904875"/>
              <a:gd name="connsiteY73" fmla="*/ 111919 h 923925"/>
              <a:gd name="connsiteX74" fmla="*/ 44767 w 904875"/>
              <a:gd name="connsiteY74" fmla="*/ 111919 h 923925"/>
              <a:gd name="connsiteX75" fmla="*/ 111442 w 904875"/>
              <a:gd name="connsiteY75" fmla="*/ 45244 h 923925"/>
              <a:gd name="connsiteX76" fmla="*/ 178117 w 904875"/>
              <a:gd name="connsiteY76" fmla="*/ 111919 h 923925"/>
              <a:gd name="connsiteX77" fmla="*/ 111442 w 904875"/>
              <a:gd name="connsiteY77" fmla="*/ 178594 h 923925"/>
              <a:gd name="connsiteX78" fmla="*/ 44767 w 904875"/>
              <a:gd name="connsiteY78" fmla="*/ 111919 h 923925"/>
              <a:gd name="connsiteX79" fmla="*/ 804101 w 904875"/>
              <a:gd name="connsiteY79" fmla="*/ 366903 h 923925"/>
              <a:gd name="connsiteX80" fmla="*/ 823151 w 904875"/>
              <a:gd name="connsiteY80" fmla="*/ 385953 h 923925"/>
              <a:gd name="connsiteX81" fmla="*/ 804101 w 904875"/>
              <a:gd name="connsiteY81" fmla="*/ 405003 h 923925"/>
              <a:gd name="connsiteX82" fmla="*/ 617030 w 904875"/>
              <a:gd name="connsiteY82" fmla="*/ 405003 h 923925"/>
              <a:gd name="connsiteX83" fmla="*/ 597980 w 904875"/>
              <a:gd name="connsiteY83" fmla="*/ 385953 h 923925"/>
              <a:gd name="connsiteX84" fmla="*/ 617030 w 904875"/>
              <a:gd name="connsiteY84" fmla="*/ 366903 h 923925"/>
              <a:gd name="connsiteX85" fmla="*/ 881634 w 904875"/>
              <a:gd name="connsiteY85" fmla="*/ 502158 h 923925"/>
              <a:gd name="connsiteX86" fmla="*/ 694658 w 904875"/>
              <a:gd name="connsiteY86" fmla="*/ 502158 h 923925"/>
              <a:gd name="connsiteX87" fmla="*/ 675608 w 904875"/>
              <a:gd name="connsiteY87" fmla="*/ 483108 h 923925"/>
              <a:gd name="connsiteX88" fmla="*/ 694658 w 904875"/>
              <a:gd name="connsiteY88" fmla="*/ 464058 h 923925"/>
              <a:gd name="connsiteX89" fmla="*/ 881634 w 904875"/>
              <a:gd name="connsiteY89" fmla="*/ 464058 h 923925"/>
              <a:gd name="connsiteX90" fmla="*/ 900684 w 904875"/>
              <a:gd name="connsiteY90" fmla="*/ 483108 h 923925"/>
              <a:gd name="connsiteX91" fmla="*/ 881634 w 904875"/>
              <a:gd name="connsiteY91" fmla="*/ 502158 h 923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</a:cxnLst>
            <a:rect l="l" t="t" r="r" b="b"/>
            <a:pathLst>
              <a:path w="904875" h="923925">
                <a:moveTo>
                  <a:pt x="158401" y="921163"/>
                </a:moveTo>
                <a:cubicBezTo>
                  <a:pt x="165143" y="923321"/>
                  <a:pt x="172181" y="924414"/>
                  <a:pt x="179261" y="924401"/>
                </a:cubicBezTo>
                <a:cubicBezTo>
                  <a:pt x="207862" y="924313"/>
                  <a:pt x="233441" y="906578"/>
                  <a:pt x="243554" y="879824"/>
                </a:cubicBezTo>
                <a:lnTo>
                  <a:pt x="310229" y="702183"/>
                </a:lnTo>
                <a:lnTo>
                  <a:pt x="505873" y="621030"/>
                </a:lnTo>
                <a:lnTo>
                  <a:pt x="567976" y="703231"/>
                </a:lnTo>
                <a:cubicBezTo>
                  <a:pt x="589767" y="731885"/>
                  <a:pt x="625255" y="746647"/>
                  <a:pt x="660940" y="741902"/>
                </a:cubicBezTo>
                <a:lnTo>
                  <a:pt x="832390" y="720376"/>
                </a:lnTo>
                <a:cubicBezTo>
                  <a:pt x="870005" y="715509"/>
                  <a:pt x="896552" y="681070"/>
                  <a:pt x="891684" y="643455"/>
                </a:cubicBezTo>
                <a:cubicBezTo>
                  <a:pt x="887220" y="608950"/>
                  <a:pt x="857656" y="583236"/>
                  <a:pt x="822865" y="583597"/>
                </a:cubicBezTo>
                <a:cubicBezTo>
                  <a:pt x="819839" y="583582"/>
                  <a:pt x="816816" y="583773"/>
                  <a:pt x="813816" y="584168"/>
                </a:cubicBezTo>
                <a:lnTo>
                  <a:pt x="664274" y="603218"/>
                </a:lnTo>
                <a:lnTo>
                  <a:pt x="585121" y="498443"/>
                </a:lnTo>
                <a:lnTo>
                  <a:pt x="458438" y="306610"/>
                </a:lnTo>
                <a:cubicBezTo>
                  <a:pt x="514197" y="312368"/>
                  <a:pt x="570484" y="310381"/>
                  <a:pt x="625697" y="300704"/>
                </a:cubicBezTo>
                <a:lnTo>
                  <a:pt x="653701" y="295751"/>
                </a:lnTo>
                <a:cubicBezTo>
                  <a:pt x="685921" y="290201"/>
                  <a:pt x="707542" y="259582"/>
                  <a:pt x="701993" y="227362"/>
                </a:cubicBezTo>
                <a:cubicBezTo>
                  <a:pt x="696443" y="195141"/>
                  <a:pt x="665824" y="173520"/>
                  <a:pt x="633603" y="179070"/>
                </a:cubicBezTo>
                <a:lnTo>
                  <a:pt x="612648" y="182785"/>
                </a:lnTo>
                <a:cubicBezTo>
                  <a:pt x="546492" y="194544"/>
                  <a:pt x="478780" y="194544"/>
                  <a:pt x="412623" y="182785"/>
                </a:cubicBezTo>
                <a:lnTo>
                  <a:pt x="330899" y="168021"/>
                </a:lnTo>
                <a:lnTo>
                  <a:pt x="322612" y="166783"/>
                </a:lnTo>
                <a:lnTo>
                  <a:pt x="316230" y="166116"/>
                </a:lnTo>
                <a:cubicBezTo>
                  <a:pt x="286211" y="162134"/>
                  <a:pt x="255899" y="170947"/>
                  <a:pt x="232696" y="190405"/>
                </a:cubicBezTo>
                <a:cubicBezTo>
                  <a:pt x="188477" y="228254"/>
                  <a:pt x="179556" y="293196"/>
                  <a:pt x="211931" y="341566"/>
                </a:cubicBezTo>
                <a:lnTo>
                  <a:pt x="343281" y="539687"/>
                </a:lnTo>
                <a:lnTo>
                  <a:pt x="242602" y="581501"/>
                </a:lnTo>
                <a:cubicBezTo>
                  <a:pt x="217043" y="592106"/>
                  <a:pt x="196988" y="612781"/>
                  <a:pt x="187166" y="638651"/>
                </a:cubicBezTo>
                <a:lnTo>
                  <a:pt x="109633" y="845915"/>
                </a:lnTo>
                <a:cubicBezTo>
                  <a:pt x="102355" y="863117"/>
                  <a:pt x="104067" y="882806"/>
                  <a:pt x="114205" y="898493"/>
                </a:cubicBezTo>
                <a:cubicBezTo>
                  <a:pt x="124558" y="912573"/>
                  <a:pt x="140926" y="920968"/>
                  <a:pt x="158401" y="921163"/>
                </a:cubicBezTo>
                <a:close/>
                <a:moveTo>
                  <a:pt x="145256" y="859250"/>
                </a:moveTo>
                <a:lnTo>
                  <a:pt x="222790" y="652177"/>
                </a:lnTo>
                <a:cubicBezTo>
                  <a:pt x="228838" y="636116"/>
                  <a:pt x="241244" y="623262"/>
                  <a:pt x="257080" y="616649"/>
                </a:cubicBezTo>
                <a:lnTo>
                  <a:pt x="379095" y="566071"/>
                </a:lnTo>
                <a:cubicBezTo>
                  <a:pt x="388866" y="562170"/>
                  <a:pt x="393625" y="551087"/>
                  <a:pt x="389724" y="541316"/>
                </a:cubicBezTo>
                <a:cubicBezTo>
                  <a:pt x="389186" y="539968"/>
                  <a:pt x="388496" y="538687"/>
                  <a:pt x="387668" y="537496"/>
                </a:cubicBezTo>
                <a:lnTo>
                  <a:pt x="244126" y="320231"/>
                </a:lnTo>
                <a:cubicBezTo>
                  <a:pt x="222254" y="288214"/>
                  <a:pt x="227912" y="244879"/>
                  <a:pt x="257270" y="219551"/>
                </a:cubicBezTo>
                <a:cubicBezTo>
                  <a:pt x="272553" y="206573"/>
                  <a:pt x="292671" y="200780"/>
                  <a:pt x="312515" y="203645"/>
                </a:cubicBezTo>
                <a:lnTo>
                  <a:pt x="318897" y="204311"/>
                </a:lnTo>
                <a:lnTo>
                  <a:pt x="324612" y="205169"/>
                </a:lnTo>
                <a:lnTo>
                  <a:pt x="406051" y="220028"/>
                </a:lnTo>
                <a:cubicBezTo>
                  <a:pt x="476650" y="232566"/>
                  <a:pt x="548907" y="232566"/>
                  <a:pt x="619506" y="220028"/>
                </a:cubicBezTo>
                <a:lnTo>
                  <a:pt x="640366" y="216313"/>
                </a:lnTo>
                <a:cubicBezTo>
                  <a:pt x="651834" y="214366"/>
                  <a:pt x="662708" y="222085"/>
                  <a:pt x="664655" y="233553"/>
                </a:cubicBezTo>
                <a:cubicBezTo>
                  <a:pt x="666601" y="245021"/>
                  <a:pt x="658882" y="255895"/>
                  <a:pt x="647414" y="257842"/>
                </a:cubicBezTo>
                <a:lnTo>
                  <a:pt x="618839" y="262795"/>
                </a:lnTo>
                <a:cubicBezTo>
                  <a:pt x="553799" y="274151"/>
                  <a:pt x="487283" y="274151"/>
                  <a:pt x="422243" y="262795"/>
                </a:cubicBezTo>
                <a:cubicBezTo>
                  <a:pt x="411864" y="261071"/>
                  <a:pt x="402053" y="268087"/>
                  <a:pt x="400329" y="278466"/>
                </a:cubicBezTo>
                <a:cubicBezTo>
                  <a:pt x="399545" y="283189"/>
                  <a:pt x="400567" y="288034"/>
                  <a:pt x="403193" y="292037"/>
                </a:cubicBezTo>
                <a:lnTo>
                  <a:pt x="553688" y="519398"/>
                </a:lnTo>
                <a:lnTo>
                  <a:pt x="554355" y="520351"/>
                </a:lnTo>
                <a:lnTo>
                  <a:pt x="640080" y="634651"/>
                </a:lnTo>
                <a:cubicBezTo>
                  <a:pt x="644195" y="640110"/>
                  <a:pt x="650920" y="642945"/>
                  <a:pt x="657701" y="642080"/>
                </a:cubicBezTo>
                <a:lnTo>
                  <a:pt x="818388" y="621887"/>
                </a:lnTo>
                <a:cubicBezTo>
                  <a:pt x="835175" y="620055"/>
                  <a:pt x="850268" y="632178"/>
                  <a:pt x="852100" y="648965"/>
                </a:cubicBezTo>
                <a:cubicBezTo>
                  <a:pt x="853866" y="665144"/>
                  <a:pt x="842647" y="679872"/>
                  <a:pt x="826580" y="682466"/>
                </a:cubicBezTo>
                <a:lnTo>
                  <a:pt x="655130" y="703993"/>
                </a:lnTo>
                <a:cubicBezTo>
                  <a:pt x="632903" y="706958"/>
                  <a:pt x="610804" y="697710"/>
                  <a:pt x="597313" y="679799"/>
                </a:cubicBezTo>
                <a:lnTo>
                  <a:pt x="526447" y="585788"/>
                </a:lnTo>
                <a:cubicBezTo>
                  <a:pt x="521258" y="579373"/>
                  <a:pt x="512530" y="577028"/>
                  <a:pt x="504825" y="579977"/>
                </a:cubicBezTo>
                <a:lnTo>
                  <a:pt x="287941" y="670179"/>
                </a:lnTo>
                <a:cubicBezTo>
                  <a:pt x="283047" y="672202"/>
                  <a:pt x="279217" y="676171"/>
                  <a:pt x="277368" y="681133"/>
                </a:cubicBezTo>
                <a:lnTo>
                  <a:pt x="207931" y="866489"/>
                </a:lnTo>
                <a:cubicBezTo>
                  <a:pt x="201917" y="882216"/>
                  <a:pt x="184493" y="890316"/>
                  <a:pt x="168593" y="884777"/>
                </a:cubicBezTo>
                <a:cubicBezTo>
                  <a:pt x="166462" y="883969"/>
                  <a:pt x="164204" y="883550"/>
                  <a:pt x="161925" y="883539"/>
                </a:cubicBezTo>
                <a:cubicBezTo>
                  <a:pt x="155782" y="884178"/>
                  <a:pt x="149711" y="881799"/>
                  <a:pt x="145637" y="877157"/>
                </a:cubicBezTo>
                <a:cubicBezTo>
                  <a:pt x="142567" y="871608"/>
                  <a:pt x="142460" y="864895"/>
                  <a:pt x="145352" y="859250"/>
                </a:cubicBezTo>
                <a:close/>
                <a:moveTo>
                  <a:pt x="216694" y="111919"/>
                </a:moveTo>
                <a:cubicBezTo>
                  <a:pt x="216694" y="54053"/>
                  <a:pt x="169784" y="7144"/>
                  <a:pt x="111919" y="7144"/>
                </a:cubicBezTo>
                <a:cubicBezTo>
                  <a:pt x="54053" y="7144"/>
                  <a:pt x="7144" y="54053"/>
                  <a:pt x="7144" y="111919"/>
                </a:cubicBezTo>
                <a:cubicBezTo>
                  <a:pt x="7144" y="169784"/>
                  <a:pt x="54053" y="216694"/>
                  <a:pt x="111919" y="216694"/>
                </a:cubicBezTo>
                <a:cubicBezTo>
                  <a:pt x="169784" y="216694"/>
                  <a:pt x="216694" y="169784"/>
                  <a:pt x="216694" y="111919"/>
                </a:cubicBezTo>
                <a:close/>
                <a:moveTo>
                  <a:pt x="44767" y="111919"/>
                </a:moveTo>
                <a:cubicBezTo>
                  <a:pt x="44767" y="75095"/>
                  <a:pt x="74619" y="45244"/>
                  <a:pt x="111442" y="45244"/>
                </a:cubicBezTo>
                <a:cubicBezTo>
                  <a:pt x="148266" y="45244"/>
                  <a:pt x="178117" y="75095"/>
                  <a:pt x="178117" y="111919"/>
                </a:cubicBezTo>
                <a:cubicBezTo>
                  <a:pt x="178117" y="148742"/>
                  <a:pt x="148266" y="178594"/>
                  <a:pt x="111442" y="178594"/>
                </a:cubicBezTo>
                <a:cubicBezTo>
                  <a:pt x="74619" y="178594"/>
                  <a:pt x="44767" y="148742"/>
                  <a:pt x="44767" y="111919"/>
                </a:cubicBezTo>
                <a:close/>
                <a:moveTo>
                  <a:pt x="804101" y="366903"/>
                </a:moveTo>
                <a:cubicBezTo>
                  <a:pt x="814622" y="366903"/>
                  <a:pt x="823151" y="375432"/>
                  <a:pt x="823151" y="385953"/>
                </a:cubicBezTo>
                <a:cubicBezTo>
                  <a:pt x="823151" y="396474"/>
                  <a:pt x="814622" y="405003"/>
                  <a:pt x="804101" y="405003"/>
                </a:cubicBezTo>
                <a:lnTo>
                  <a:pt x="617030" y="405003"/>
                </a:lnTo>
                <a:cubicBezTo>
                  <a:pt x="606509" y="405003"/>
                  <a:pt x="597980" y="396474"/>
                  <a:pt x="597980" y="385953"/>
                </a:cubicBezTo>
                <a:cubicBezTo>
                  <a:pt x="597980" y="375432"/>
                  <a:pt x="606509" y="366903"/>
                  <a:pt x="617030" y="366903"/>
                </a:cubicBezTo>
                <a:close/>
                <a:moveTo>
                  <a:pt x="881634" y="502158"/>
                </a:moveTo>
                <a:lnTo>
                  <a:pt x="694658" y="502158"/>
                </a:lnTo>
                <a:cubicBezTo>
                  <a:pt x="684137" y="502158"/>
                  <a:pt x="675608" y="493629"/>
                  <a:pt x="675608" y="483108"/>
                </a:cubicBezTo>
                <a:cubicBezTo>
                  <a:pt x="675608" y="472587"/>
                  <a:pt x="684137" y="464058"/>
                  <a:pt x="694658" y="464058"/>
                </a:cubicBezTo>
                <a:lnTo>
                  <a:pt x="881634" y="464058"/>
                </a:lnTo>
                <a:cubicBezTo>
                  <a:pt x="892155" y="464058"/>
                  <a:pt x="900684" y="472587"/>
                  <a:pt x="900684" y="483108"/>
                </a:cubicBezTo>
                <a:cubicBezTo>
                  <a:pt x="900684" y="493629"/>
                  <a:pt x="892155" y="502158"/>
                  <a:pt x="881634" y="502158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3939" dirty="0"/>
          </a:p>
        </p:txBody>
      </p:sp>
    </p:spTree>
    <p:extLst>
      <p:ext uri="{BB962C8B-B14F-4D97-AF65-F5344CB8AC3E}">
        <p14:creationId xmlns:p14="http://schemas.microsoft.com/office/powerpoint/2010/main" val="1876795887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87D7DF-D131-5C94-579B-4B760AB5AC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D8B44FD2-D627-C9D3-1CAA-FAA3B69EA8A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8B44FD2-D627-C9D3-1CAA-FAA3B69EA8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7FADEAA-4EC1-ECF3-B582-9BD95363F2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30-60-90 Plan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4C0E24D1-FAF0-1579-C167-6B19A3A5DC7F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76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5" name="Shape1_20220526_194238">
            <a:extLst>
              <a:ext uri="{FF2B5EF4-FFF2-40B4-BE49-F238E27FC236}">
                <a16:creationId xmlns:a16="http://schemas.microsoft.com/office/drawing/2014/main" id="{F66CD6BE-4AE8-E554-51FE-3D98777EBF8E}"/>
              </a:ext>
            </a:extLst>
          </p:cNvPr>
          <p:cNvSpPr/>
          <p:nvPr/>
        </p:nvSpPr>
        <p:spPr>
          <a:xfrm>
            <a:off x="1068477" y="1201530"/>
            <a:ext cx="3502099" cy="420092"/>
          </a:xfrm>
          <a:prstGeom prst="rect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b="1" dirty="0">
                <a:solidFill>
                  <a:schemeClr val="bg1"/>
                </a:solidFill>
              </a:rPr>
              <a:t>First 30 DAY</a:t>
            </a:r>
          </a:p>
        </p:txBody>
      </p:sp>
      <p:sp>
        <p:nvSpPr>
          <p:cNvPr id="6" name="Shape2_20220526_194238">
            <a:extLst>
              <a:ext uri="{FF2B5EF4-FFF2-40B4-BE49-F238E27FC236}">
                <a16:creationId xmlns:a16="http://schemas.microsoft.com/office/drawing/2014/main" id="{883EEF13-BE23-5700-2737-BCFA2570CFC7}"/>
              </a:ext>
            </a:extLst>
          </p:cNvPr>
          <p:cNvSpPr/>
          <p:nvPr/>
        </p:nvSpPr>
        <p:spPr>
          <a:xfrm>
            <a:off x="4570576" y="1201530"/>
            <a:ext cx="3502099" cy="420092"/>
          </a:xfrm>
          <a:prstGeom prst="rect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b="1" dirty="0">
                <a:solidFill>
                  <a:schemeClr val="bg1"/>
                </a:solidFill>
              </a:rPr>
              <a:t>First 60 DAY</a:t>
            </a:r>
          </a:p>
        </p:txBody>
      </p:sp>
      <p:sp>
        <p:nvSpPr>
          <p:cNvPr id="7" name="Shape3_20220526_194238">
            <a:extLst>
              <a:ext uri="{FF2B5EF4-FFF2-40B4-BE49-F238E27FC236}">
                <a16:creationId xmlns:a16="http://schemas.microsoft.com/office/drawing/2014/main" id="{C33541EB-31D8-0861-9F01-CA827F4F65EF}"/>
              </a:ext>
            </a:extLst>
          </p:cNvPr>
          <p:cNvSpPr/>
          <p:nvPr/>
        </p:nvSpPr>
        <p:spPr>
          <a:xfrm>
            <a:off x="8072674" y="1201530"/>
            <a:ext cx="3502099" cy="420092"/>
          </a:xfrm>
          <a:prstGeom prst="rect">
            <a:avLst/>
          </a:prstGeom>
          <a:solidFill>
            <a:schemeClr val="accent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b="1" dirty="0">
                <a:solidFill>
                  <a:schemeClr val="bg1"/>
                </a:solidFill>
              </a:rPr>
              <a:t>First 90 DAY</a:t>
            </a:r>
          </a:p>
        </p:txBody>
      </p:sp>
      <p:sp>
        <p:nvSpPr>
          <p:cNvPr id="8" name="Shape1_20220526_194235">
            <a:extLst>
              <a:ext uri="{FF2B5EF4-FFF2-40B4-BE49-F238E27FC236}">
                <a16:creationId xmlns:a16="http://schemas.microsoft.com/office/drawing/2014/main" id="{C9EAE9DD-E473-556E-8F06-46382E8F8C45}"/>
              </a:ext>
            </a:extLst>
          </p:cNvPr>
          <p:cNvSpPr/>
          <p:nvPr/>
        </p:nvSpPr>
        <p:spPr>
          <a:xfrm rot="16200000">
            <a:off x="341898" y="1893365"/>
            <a:ext cx="1014145" cy="451248"/>
          </a:xfrm>
          <a:prstGeom prst="rect">
            <a:avLst/>
          </a:prstGeom>
          <a:solidFill>
            <a:schemeClr val="accent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b="1" dirty="0">
                <a:solidFill>
                  <a:schemeClr val="bg1"/>
                </a:solidFill>
              </a:rPr>
              <a:t>Title</a:t>
            </a:r>
          </a:p>
        </p:txBody>
      </p:sp>
      <p:sp>
        <p:nvSpPr>
          <p:cNvPr id="9" name="Shape0_20220526_194235">
            <a:extLst>
              <a:ext uri="{FF2B5EF4-FFF2-40B4-BE49-F238E27FC236}">
                <a16:creationId xmlns:a16="http://schemas.microsoft.com/office/drawing/2014/main" id="{E48DA5D3-8DD6-E300-BF49-42904AA3A6E2}"/>
              </a:ext>
            </a:extLst>
          </p:cNvPr>
          <p:cNvSpPr/>
          <p:nvPr/>
        </p:nvSpPr>
        <p:spPr>
          <a:xfrm rot="16200000">
            <a:off x="341898" y="2907515"/>
            <a:ext cx="1014145" cy="451248"/>
          </a:xfrm>
          <a:prstGeom prst="rect">
            <a:avLst/>
          </a:prstGeom>
          <a:solidFill>
            <a:schemeClr val="accent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b="1" dirty="0">
                <a:solidFill>
                  <a:schemeClr val="bg1"/>
                </a:solidFill>
              </a:rPr>
              <a:t>Title</a:t>
            </a:r>
          </a:p>
        </p:txBody>
      </p:sp>
      <p:sp>
        <p:nvSpPr>
          <p:cNvPr id="10" name="Shape2_20220526_194235">
            <a:extLst>
              <a:ext uri="{FF2B5EF4-FFF2-40B4-BE49-F238E27FC236}">
                <a16:creationId xmlns:a16="http://schemas.microsoft.com/office/drawing/2014/main" id="{807762D0-4109-740E-ADDA-8663539E67B6}"/>
              </a:ext>
            </a:extLst>
          </p:cNvPr>
          <p:cNvSpPr/>
          <p:nvPr/>
        </p:nvSpPr>
        <p:spPr>
          <a:xfrm rot="16200000">
            <a:off x="341898" y="3917629"/>
            <a:ext cx="1014145" cy="451248"/>
          </a:xfrm>
          <a:prstGeom prst="rect">
            <a:avLst/>
          </a:prstGeom>
          <a:solidFill>
            <a:schemeClr val="accent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b="1" dirty="0">
                <a:solidFill>
                  <a:schemeClr val="bg1"/>
                </a:solidFill>
              </a:rPr>
              <a:t>Title</a:t>
            </a:r>
          </a:p>
        </p:txBody>
      </p:sp>
      <p:sp>
        <p:nvSpPr>
          <p:cNvPr id="11" name="Shape0_20220526_194238">
            <a:extLst>
              <a:ext uri="{FF2B5EF4-FFF2-40B4-BE49-F238E27FC236}">
                <a16:creationId xmlns:a16="http://schemas.microsoft.com/office/drawing/2014/main" id="{BE61AAA5-33BE-1E8E-6C0F-94AC7349ABFF}"/>
              </a:ext>
            </a:extLst>
          </p:cNvPr>
          <p:cNvSpPr/>
          <p:nvPr/>
        </p:nvSpPr>
        <p:spPr>
          <a:xfrm>
            <a:off x="1068477" y="1611913"/>
            <a:ext cx="3502099" cy="1007277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469199" indent="-469199">
              <a:buFont typeface="Arial" panose="020B0604020202020204" pitchFamily="34" charset="0"/>
              <a:buChar char="•"/>
              <a:defRPr/>
            </a:pPr>
            <a:r>
              <a:rPr lang="en-IN" dirty="0">
                <a:solidFill>
                  <a:schemeClr val="tx1"/>
                </a:solidFill>
              </a:rPr>
              <a:t>Insert Text Here</a:t>
            </a:r>
          </a:p>
        </p:txBody>
      </p:sp>
      <p:sp>
        <p:nvSpPr>
          <p:cNvPr id="12" name="Shape4_20220526_194238">
            <a:extLst>
              <a:ext uri="{FF2B5EF4-FFF2-40B4-BE49-F238E27FC236}">
                <a16:creationId xmlns:a16="http://schemas.microsoft.com/office/drawing/2014/main" id="{8E1E1126-3341-10D3-B327-05C77B2BDD83}"/>
              </a:ext>
            </a:extLst>
          </p:cNvPr>
          <p:cNvSpPr/>
          <p:nvPr/>
        </p:nvSpPr>
        <p:spPr>
          <a:xfrm>
            <a:off x="4570576" y="1611914"/>
            <a:ext cx="3502099" cy="1006082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469199" indent="-469199">
              <a:buFont typeface="Arial" panose="020B0604020202020204" pitchFamily="34" charset="0"/>
              <a:buChar char="•"/>
              <a:defRPr/>
            </a:pPr>
            <a:r>
              <a:rPr lang="en-IN" dirty="0">
                <a:solidFill>
                  <a:schemeClr val="tx1"/>
                </a:solidFill>
              </a:rPr>
              <a:t>Insert Text Here</a:t>
            </a:r>
          </a:p>
        </p:txBody>
      </p:sp>
      <p:sp>
        <p:nvSpPr>
          <p:cNvPr id="13" name="Shape5_20220526_194238">
            <a:extLst>
              <a:ext uri="{FF2B5EF4-FFF2-40B4-BE49-F238E27FC236}">
                <a16:creationId xmlns:a16="http://schemas.microsoft.com/office/drawing/2014/main" id="{690E8460-A770-E2DC-E61F-64F9406D60DC}"/>
              </a:ext>
            </a:extLst>
          </p:cNvPr>
          <p:cNvSpPr/>
          <p:nvPr/>
        </p:nvSpPr>
        <p:spPr>
          <a:xfrm>
            <a:off x="8072674" y="1611913"/>
            <a:ext cx="3502099" cy="1007277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469199" indent="-469199">
              <a:buFont typeface="Arial" panose="020B0604020202020204" pitchFamily="34" charset="0"/>
              <a:buChar char="•"/>
              <a:defRPr/>
            </a:pPr>
            <a:r>
              <a:rPr lang="en-IN" dirty="0">
                <a:solidFill>
                  <a:schemeClr val="tx1"/>
                </a:solidFill>
              </a:rPr>
              <a:t>Insert Text Here</a:t>
            </a:r>
          </a:p>
        </p:txBody>
      </p:sp>
      <p:sp>
        <p:nvSpPr>
          <p:cNvPr id="14" name="Shape6_20220526_194238">
            <a:extLst>
              <a:ext uri="{FF2B5EF4-FFF2-40B4-BE49-F238E27FC236}">
                <a16:creationId xmlns:a16="http://schemas.microsoft.com/office/drawing/2014/main" id="{35A0895C-4314-FE46-50DC-B9DE1C06ACBA}"/>
              </a:ext>
            </a:extLst>
          </p:cNvPr>
          <p:cNvSpPr/>
          <p:nvPr/>
        </p:nvSpPr>
        <p:spPr>
          <a:xfrm>
            <a:off x="1068477" y="2626058"/>
            <a:ext cx="3502099" cy="1023954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469199" indent="-469199">
              <a:buFont typeface="Arial" panose="020B0604020202020204" pitchFamily="34" charset="0"/>
              <a:buChar char="•"/>
              <a:defRPr/>
            </a:pPr>
            <a:r>
              <a:rPr lang="en-IN" dirty="0">
                <a:solidFill>
                  <a:schemeClr val="tx1"/>
                </a:solidFill>
              </a:rPr>
              <a:t>Insert Text Here</a:t>
            </a:r>
          </a:p>
        </p:txBody>
      </p:sp>
      <p:sp>
        <p:nvSpPr>
          <p:cNvPr id="15" name="Shape7_20220526_194238">
            <a:extLst>
              <a:ext uri="{FF2B5EF4-FFF2-40B4-BE49-F238E27FC236}">
                <a16:creationId xmlns:a16="http://schemas.microsoft.com/office/drawing/2014/main" id="{D4B118A0-42B5-03E4-D47C-F1CB419205CF}"/>
              </a:ext>
            </a:extLst>
          </p:cNvPr>
          <p:cNvSpPr/>
          <p:nvPr/>
        </p:nvSpPr>
        <p:spPr>
          <a:xfrm>
            <a:off x="4570576" y="2626058"/>
            <a:ext cx="3502099" cy="1023954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469199" indent="-469199">
              <a:buFont typeface="Arial" panose="020B0604020202020204" pitchFamily="34" charset="0"/>
              <a:buChar char="•"/>
              <a:defRPr/>
            </a:pPr>
            <a:r>
              <a:rPr lang="en-IN" dirty="0">
                <a:solidFill>
                  <a:schemeClr val="tx1"/>
                </a:solidFill>
              </a:rPr>
              <a:t>Insert Text Here</a:t>
            </a:r>
          </a:p>
        </p:txBody>
      </p:sp>
      <p:sp>
        <p:nvSpPr>
          <p:cNvPr id="16" name="Shape8_20220526_194238">
            <a:extLst>
              <a:ext uri="{FF2B5EF4-FFF2-40B4-BE49-F238E27FC236}">
                <a16:creationId xmlns:a16="http://schemas.microsoft.com/office/drawing/2014/main" id="{4102E818-FE91-FD83-0E98-D0AA4159291D}"/>
              </a:ext>
            </a:extLst>
          </p:cNvPr>
          <p:cNvSpPr/>
          <p:nvPr/>
        </p:nvSpPr>
        <p:spPr>
          <a:xfrm>
            <a:off x="8072674" y="2626058"/>
            <a:ext cx="3502099" cy="1023954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469199" indent="-469199">
              <a:buFont typeface="Arial" panose="020B0604020202020204" pitchFamily="34" charset="0"/>
              <a:buChar char="•"/>
              <a:defRPr/>
            </a:pPr>
            <a:r>
              <a:rPr lang="en-IN" dirty="0">
                <a:solidFill>
                  <a:schemeClr val="tx1"/>
                </a:solidFill>
              </a:rPr>
              <a:t>Insert Text Here</a:t>
            </a:r>
          </a:p>
        </p:txBody>
      </p:sp>
      <p:sp>
        <p:nvSpPr>
          <p:cNvPr id="17" name="Shape9_20220526_194238">
            <a:extLst>
              <a:ext uri="{FF2B5EF4-FFF2-40B4-BE49-F238E27FC236}">
                <a16:creationId xmlns:a16="http://schemas.microsoft.com/office/drawing/2014/main" id="{7F323FF0-BC1A-E230-B194-528A602D7B2E}"/>
              </a:ext>
            </a:extLst>
          </p:cNvPr>
          <p:cNvSpPr/>
          <p:nvPr/>
        </p:nvSpPr>
        <p:spPr>
          <a:xfrm>
            <a:off x="1068477" y="3640205"/>
            <a:ext cx="3502099" cy="1017283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469199" indent="-469199">
              <a:buFont typeface="Arial" panose="020B0604020202020204" pitchFamily="34" charset="0"/>
              <a:buChar char="•"/>
              <a:defRPr/>
            </a:pPr>
            <a:r>
              <a:rPr lang="en-IN" dirty="0">
                <a:solidFill>
                  <a:schemeClr val="tx1"/>
                </a:solidFill>
              </a:rPr>
              <a:t>Insert Text Here</a:t>
            </a:r>
          </a:p>
        </p:txBody>
      </p:sp>
      <p:sp>
        <p:nvSpPr>
          <p:cNvPr id="18" name="Shape10_20220526_194238">
            <a:extLst>
              <a:ext uri="{FF2B5EF4-FFF2-40B4-BE49-F238E27FC236}">
                <a16:creationId xmlns:a16="http://schemas.microsoft.com/office/drawing/2014/main" id="{F5A88AD2-82DD-E9CF-0E90-BCF7FBAD3F94}"/>
              </a:ext>
            </a:extLst>
          </p:cNvPr>
          <p:cNvSpPr/>
          <p:nvPr/>
        </p:nvSpPr>
        <p:spPr>
          <a:xfrm>
            <a:off x="4570576" y="3640208"/>
            <a:ext cx="3502099" cy="1017283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469199" indent="-469199">
              <a:buFont typeface="Arial" panose="020B0604020202020204" pitchFamily="34" charset="0"/>
              <a:buChar char="•"/>
              <a:defRPr/>
            </a:pPr>
            <a:r>
              <a:rPr lang="en-IN" dirty="0">
                <a:solidFill>
                  <a:schemeClr val="tx1"/>
                </a:solidFill>
              </a:rPr>
              <a:t>Insert Text Here</a:t>
            </a:r>
          </a:p>
        </p:txBody>
      </p:sp>
      <p:sp>
        <p:nvSpPr>
          <p:cNvPr id="21" name="Shape11_20220526_194238">
            <a:extLst>
              <a:ext uri="{FF2B5EF4-FFF2-40B4-BE49-F238E27FC236}">
                <a16:creationId xmlns:a16="http://schemas.microsoft.com/office/drawing/2014/main" id="{1966ECDF-3DF7-2160-DAAE-FC6C7CBFC6AE}"/>
              </a:ext>
            </a:extLst>
          </p:cNvPr>
          <p:cNvSpPr/>
          <p:nvPr/>
        </p:nvSpPr>
        <p:spPr>
          <a:xfrm>
            <a:off x="8072674" y="3640205"/>
            <a:ext cx="3502099" cy="1017283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469199" indent="-469199">
              <a:buFont typeface="Arial" panose="020B0604020202020204" pitchFamily="34" charset="0"/>
              <a:buChar char="•"/>
              <a:defRPr/>
            </a:pPr>
            <a:r>
              <a:rPr lang="en-IN" dirty="0">
                <a:solidFill>
                  <a:schemeClr val="tx1"/>
                </a:solidFill>
              </a:rPr>
              <a:t>Insert Text Here</a:t>
            </a:r>
          </a:p>
        </p:txBody>
      </p:sp>
      <p:sp>
        <p:nvSpPr>
          <p:cNvPr id="23" name="Shape12_20220526_194238">
            <a:extLst>
              <a:ext uri="{FF2B5EF4-FFF2-40B4-BE49-F238E27FC236}">
                <a16:creationId xmlns:a16="http://schemas.microsoft.com/office/drawing/2014/main" id="{C7BD1AE4-7443-0A40-E991-9812A90EC39D}"/>
              </a:ext>
            </a:extLst>
          </p:cNvPr>
          <p:cNvSpPr/>
          <p:nvPr/>
        </p:nvSpPr>
        <p:spPr>
          <a:xfrm>
            <a:off x="1068477" y="4654358"/>
            <a:ext cx="3502099" cy="1006082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469199" indent="-469199">
              <a:buFont typeface="Arial" panose="020B0604020202020204" pitchFamily="34" charset="0"/>
              <a:buChar char="•"/>
              <a:defRPr/>
            </a:pPr>
            <a:r>
              <a:rPr lang="en-IN" dirty="0">
                <a:solidFill>
                  <a:schemeClr val="tx1"/>
                </a:solidFill>
              </a:rPr>
              <a:t>Insert Text Here</a:t>
            </a:r>
          </a:p>
        </p:txBody>
      </p:sp>
      <p:sp>
        <p:nvSpPr>
          <p:cNvPr id="24" name="Shape13_20220526_194238">
            <a:extLst>
              <a:ext uri="{FF2B5EF4-FFF2-40B4-BE49-F238E27FC236}">
                <a16:creationId xmlns:a16="http://schemas.microsoft.com/office/drawing/2014/main" id="{A4FA4507-1AC8-9938-0AE5-A3AA685D3944}"/>
              </a:ext>
            </a:extLst>
          </p:cNvPr>
          <p:cNvSpPr/>
          <p:nvPr/>
        </p:nvSpPr>
        <p:spPr>
          <a:xfrm>
            <a:off x="4570576" y="4654358"/>
            <a:ext cx="3502099" cy="1006082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469199" indent="-469199">
              <a:buFont typeface="Arial" panose="020B0604020202020204" pitchFamily="34" charset="0"/>
              <a:buChar char="•"/>
              <a:defRPr/>
            </a:pPr>
            <a:r>
              <a:rPr lang="en-IN" dirty="0">
                <a:solidFill>
                  <a:schemeClr val="tx1"/>
                </a:solidFill>
              </a:rPr>
              <a:t>Insert Text Here</a:t>
            </a:r>
          </a:p>
        </p:txBody>
      </p:sp>
      <p:sp>
        <p:nvSpPr>
          <p:cNvPr id="25" name="Shape14_20220526_194238">
            <a:extLst>
              <a:ext uri="{FF2B5EF4-FFF2-40B4-BE49-F238E27FC236}">
                <a16:creationId xmlns:a16="http://schemas.microsoft.com/office/drawing/2014/main" id="{D30EC0BE-75C2-A069-44AA-78D1BB338478}"/>
              </a:ext>
            </a:extLst>
          </p:cNvPr>
          <p:cNvSpPr/>
          <p:nvPr/>
        </p:nvSpPr>
        <p:spPr>
          <a:xfrm>
            <a:off x="8072674" y="4654358"/>
            <a:ext cx="3502099" cy="1006082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469199" indent="-469199">
              <a:buFont typeface="Arial" panose="020B0604020202020204" pitchFamily="34" charset="0"/>
              <a:buChar char="•"/>
              <a:defRPr/>
            </a:pPr>
            <a:r>
              <a:rPr lang="en-IN" dirty="0">
                <a:solidFill>
                  <a:schemeClr val="tx1"/>
                </a:solidFill>
              </a:rPr>
              <a:t>Insert Text Here</a:t>
            </a:r>
          </a:p>
        </p:txBody>
      </p:sp>
      <p:sp>
        <p:nvSpPr>
          <p:cNvPr id="30" name="Shape3_20220526_194235">
            <a:extLst>
              <a:ext uri="{FF2B5EF4-FFF2-40B4-BE49-F238E27FC236}">
                <a16:creationId xmlns:a16="http://schemas.microsoft.com/office/drawing/2014/main" id="{DB5AD56F-EBB0-AC5A-4888-EA216821FC7E}"/>
              </a:ext>
            </a:extLst>
          </p:cNvPr>
          <p:cNvSpPr/>
          <p:nvPr/>
        </p:nvSpPr>
        <p:spPr>
          <a:xfrm rot="16200000">
            <a:off x="335779" y="4935805"/>
            <a:ext cx="1014145" cy="451248"/>
          </a:xfrm>
          <a:prstGeom prst="rect">
            <a:avLst/>
          </a:prstGeom>
          <a:solidFill>
            <a:schemeClr val="accent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b="1" dirty="0">
                <a:solidFill>
                  <a:schemeClr val="bg1"/>
                </a:solidFill>
              </a:rPr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92993529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328E470-6BE5-8321-DE24-76D7B9A878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8CF89A3-9ACC-ADFC-7690-1D53EA1BC4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62863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FD563D3-A85C-CD59-97B6-1C8FF1313C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Org. Char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96D1AF4-49CA-B1E9-770E-D98C361D1E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77</a:t>
            </a:fld>
            <a:endParaRPr lang="en-US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AD26E476-AD7E-D2B1-0436-E0B2E8797A3D}"/>
              </a:ext>
            </a:extLst>
          </p:cNvPr>
          <p:cNvGrpSpPr/>
          <p:nvPr/>
        </p:nvGrpSpPr>
        <p:grpSpPr>
          <a:xfrm>
            <a:off x="1469985" y="1376378"/>
            <a:ext cx="9252032" cy="4962708"/>
            <a:chOff x="1946039" y="1631729"/>
            <a:chExt cx="8299924" cy="4452006"/>
          </a:xfrm>
        </p:grpSpPr>
        <p:sp>
          <p:nvSpPr>
            <p:cNvPr id="42" name="Shape1_20180612_153317">
              <a:extLst>
                <a:ext uri="{FF2B5EF4-FFF2-40B4-BE49-F238E27FC236}">
                  <a16:creationId xmlns:a16="http://schemas.microsoft.com/office/drawing/2014/main" id="{AFF19B72-4CD6-4053-8417-F209D7F1E332}"/>
                </a:ext>
              </a:extLst>
            </p:cNvPr>
            <p:cNvSpPr/>
            <p:nvPr/>
          </p:nvSpPr>
          <p:spPr>
            <a:xfrm flipV="1">
              <a:off x="3958456" y="4435902"/>
              <a:ext cx="859119" cy="1304181"/>
            </a:xfrm>
            <a:prstGeom prst="bentArrow">
              <a:avLst>
                <a:gd name="adj1" fmla="val 8070"/>
                <a:gd name="adj2" fmla="val 8090"/>
                <a:gd name="adj3" fmla="val 9114"/>
                <a:gd name="adj4" fmla="val 15727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sp>
          <p:nvSpPr>
            <p:cNvPr id="49" name="Shape0_20180612_153317">
              <a:extLst>
                <a:ext uri="{FF2B5EF4-FFF2-40B4-BE49-F238E27FC236}">
                  <a16:creationId xmlns:a16="http://schemas.microsoft.com/office/drawing/2014/main" id="{1824DC9B-3236-4A70-83A0-EBABFD2F3535}"/>
                </a:ext>
              </a:extLst>
            </p:cNvPr>
            <p:cNvSpPr/>
            <p:nvPr/>
          </p:nvSpPr>
          <p:spPr>
            <a:xfrm>
              <a:off x="4344970" y="3770367"/>
              <a:ext cx="1665535" cy="186025"/>
            </a:xfrm>
            <a:prstGeom prst="rightArrow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solidFill>
                  <a:schemeClr val="tx1"/>
                </a:solidFill>
                <a:cs typeface="Arial" pitchFamily="34" charset="0"/>
              </a:endParaRPr>
            </a:p>
          </p:txBody>
        </p:sp>
        <p:sp>
          <p:nvSpPr>
            <p:cNvPr id="50" name="Shape0_20180612_153317">
              <a:extLst>
                <a:ext uri="{FF2B5EF4-FFF2-40B4-BE49-F238E27FC236}">
                  <a16:creationId xmlns:a16="http://schemas.microsoft.com/office/drawing/2014/main" id="{0CABF23B-F28B-465D-9D82-4C332780555E}"/>
                </a:ext>
              </a:extLst>
            </p:cNvPr>
            <p:cNvSpPr/>
            <p:nvPr/>
          </p:nvSpPr>
          <p:spPr>
            <a:xfrm>
              <a:off x="8432321" y="3768411"/>
              <a:ext cx="915773" cy="186025"/>
            </a:xfrm>
            <a:prstGeom prst="rightArrow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B2ED59C5-5CE1-4FC8-A201-6F9D7609B429}"/>
                </a:ext>
              </a:extLst>
            </p:cNvPr>
            <p:cNvGrpSpPr/>
            <p:nvPr/>
          </p:nvGrpSpPr>
          <p:grpSpPr>
            <a:xfrm>
              <a:off x="1946039" y="3400065"/>
              <a:ext cx="859119" cy="859119"/>
              <a:chOff x="855044" y="3195087"/>
              <a:chExt cx="1181376" cy="1181375"/>
            </a:xfrm>
          </p:grpSpPr>
          <p:sp>
            <p:nvSpPr>
              <p:cNvPr id="71" name="Oval 70">
                <a:extLst>
                  <a:ext uri="{FF2B5EF4-FFF2-40B4-BE49-F238E27FC236}">
                    <a16:creationId xmlns:a16="http://schemas.microsoft.com/office/drawing/2014/main" id="{D40A6843-3014-406E-BA0E-2A891199C4C0}"/>
                  </a:ext>
                </a:extLst>
              </p:cNvPr>
              <p:cNvSpPr/>
              <p:nvPr/>
            </p:nvSpPr>
            <p:spPr>
              <a:xfrm>
                <a:off x="855044" y="3195087"/>
                <a:ext cx="1181376" cy="1181375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400" dirty="0">
                  <a:solidFill>
                    <a:schemeClr val="tx1"/>
                  </a:solidFill>
                  <a:cs typeface="Arial" pitchFamily="34" charset="0"/>
                </a:endParaRPr>
              </a:p>
            </p:txBody>
          </p:sp>
          <p:sp>
            <p:nvSpPr>
              <p:cNvPr id="72" name="Oval 71">
                <a:extLst>
                  <a:ext uri="{FF2B5EF4-FFF2-40B4-BE49-F238E27FC236}">
                    <a16:creationId xmlns:a16="http://schemas.microsoft.com/office/drawing/2014/main" id="{46487DAE-39CA-43C7-8F2E-3209352DD992}"/>
                  </a:ext>
                </a:extLst>
              </p:cNvPr>
              <p:cNvSpPr/>
              <p:nvPr/>
            </p:nvSpPr>
            <p:spPr>
              <a:xfrm>
                <a:off x="919860" y="3259903"/>
                <a:ext cx="1051743" cy="1051742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>
                <a:noAutofit/>
              </a:bodyPr>
              <a:lstStyle/>
              <a:p>
                <a:pPr algn="ctr"/>
                <a:r>
                  <a:rPr lang="en-US" sz="1400" dirty="0">
                    <a:solidFill>
                      <a:schemeClr val="tx1"/>
                    </a:solidFill>
                    <a:cs typeface="Arial" pitchFamily="34" charset="0"/>
                  </a:rPr>
                  <a:t>Text</a:t>
                </a:r>
              </a:p>
            </p:txBody>
          </p:sp>
        </p:grpSp>
        <p:sp>
          <p:nvSpPr>
            <p:cNvPr id="52" name="Shape0_20180612_153317">
              <a:extLst>
                <a:ext uri="{FF2B5EF4-FFF2-40B4-BE49-F238E27FC236}">
                  <a16:creationId xmlns:a16="http://schemas.microsoft.com/office/drawing/2014/main" id="{63F23AF8-3226-40DD-B9FA-7007FEED517F}"/>
                </a:ext>
              </a:extLst>
            </p:cNvPr>
            <p:cNvSpPr/>
            <p:nvPr/>
          </p:nvSpPr>
          <p:spPr>
            <a:xfrm>
              <a:off x="2878888" y="3764818"/>
              <a:ext cx="637513" cy="186025"/>
            </a:xfrm>
            <a:prstGeom prst="leftRightArrow">
              <a:avLst>
                <a:gd name="adj1" fmla="val 50000"/>
                <a:gd name="adj2" fmla="val 60256"/>
              </a:avLst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26790802-8051-49F5-AFBD-5A04196065E8}"/>
                </a:ext>
              </a:extLst>
            </p:cNvPr>
            <p:cNvGrpSpPr/>
            <p:nvPr/>
          </p:nvGrpSpPr>
          <p:grpSpPr>
            <a:xfrm>
              <a:off x="9386844" y="3431864"/>
              <a:ext cx="859119" cy="859119"/>
              <a:chOff x="10456429" y="3345510"/>
              <a:chExt cx="880527" cy="880528"/>
            </a:xfrm>
          </p:grpSpPr>
          <p:sp>
            <p:nvSpPr>
              <p:cNvPr id="69" name="Oval 68">
                <a:extLst>
                  <a:ext uri="{FF2B5EF4-FFF2-40B4-BE49-F238E27FC236}">
                    <a16:creationId xmlns:a16="http://schemas.microsoft.com/office/drawing/2014/main" id="{640405EC-AE01-43AB-A499-764EDE0A63F9}"/>
                  </a:ext>
                </a:extLst>
              </p:cNvPr>
              <p:cNvSpPr/>
              <p:nvPr/>
            </p:nvSpPr>
            <p:spPr>
              <a:xfrm>
                <a:off x="10456429" y="3345510"/>
                <a:ext cx="880527" cy="880528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400" dirty="0">
                  <a:solidFill>
                    <a:schemeClr val="tx1"/>
                  </a:solidFill>
                  <a:cs typeface="Arial" pitchFamily="34" charset="0"/>
                </a:endParaRPr>
              </a:p>
            </p:txBody>
          </p:sp>
          <p:sp>
            <p:nvSpPr>
              <p:cNvPr id="70" name="Oval 69">
                <a:extLst>
                  <a:ext uri="{FF2B5EF4-FFF2-40B4-BE49-F238E27FC236}">
                    <a16:creationId xmlns:a16="http://schemas.microsoft.com/office/drawing/2014/main" id="{30882C79-7A2A-4919-B91F-E48BB8D13326}"/>
                  </a:ext>
                </a:extLst>
              </p:cNvPr>
              <p:cNvSpPr/>
              <p:nvPr/>
            </p:nvSpPr>
            <p:spPr>
              <a:xfrm>
                <a:off x="10504739" y="3393821"/>
                <a:ext cx="783907" cy="783907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>
                <a:noAutofit/>
              </a:bodyPr>
              <a:lstStyle/>
              <a:p>
                <a:pPr algn="ctr"/>
                <a:r>
                  <a:rPr lang="en-US" sz="1400" dirty="0">
                    <a:solidFill>
                      <a:schemeClr val="tx1"/>
                    </a:solidFill>
                    <a:cs typeface="Arial" pitchFamily="34" charset="0"/>
                  </a:rPr>
                  <a:t>Text</a:t>
                </a:r>
              </a:p>
            </p:txBody>
          </p:sp>
        </p:grpSp>
        <p:sp>
          <p:nvSpPr>
            <p:cNvPr id="54" name="Shape0_20180612_153317">
              <a:extLst>
                <a:ext uri="{FF2B5EF4-FFF2-40B4-BE49-F238E27FC236}">
                  <a16:creationId xmlns:a16="http://schemas.microsoft.com/office/drawing/2014/main" id="{B40D9AA1-9DE1-45F4-A8B7-0CD2967386E2}"/>
                </a:ext>
              </a:extLst>
            </p:cNvPr>
            <p:cNvSpPr/>
            <p:nvPr/>
          </p:nvSpPr>
          <p:spPr>
            <a:xfrm>
              <a:off x="6695265" y="3768411"/>
              <a:ext cx="1077917" cy="186025"/>
            </a:xfrm>
            <a:prstGeom prst="rightArrow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sp>
          <p:nvSpPr>
            <p:cNvPr id="55" name="Shape1_20180612_153317">
              <a:extLst>
                <a:ext uri="{FF2B5EF4-FFF2-40B4-BE49-F238E27FC236}">
                  <a16:creationId xmlns:a16="http://schemas.microsoft.com/office/drawing/2014/main" id="{C374E800-F361-4BE1-A90F-1CE091D4D7DB}"/>
                </a:ext>
              </a:extLst>
            </p:cNvPr>
            <p:cNvSpPr/>
            <p:nvPr/>
          </p:nvSpPr>
          <p:spPr>
            <a:xfrm flipV="1">
              <a:off x="3958455" y="4054247"/>
              <a:ext cx="1372506" cy="792626"/>
            </a:xfrm>
            <a:prstGeom prst="bentArrow">
              <a:avLst>
                <a:gd name="adj1" fmla="val 9853"/>
                <a:gd name="adj2" fmla="val 12309"/>
                <a:gd name="adj3" fmla="val 15020"/>
                <a:gd name="adj4" fmla="val 19523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sp>
          <p:nvSpPr>
            <p:cNvPr id="56" name="Shape1_20180612_153317">
              <a:extLst>
                <a:ext uri="{FF2B5EF4-FFF2-40B4-BE49-F238E27FC236}">
                  <a16:creationId xmlns:a16="http://schemas.microsoft.com/office/drawing/2014/main" id="{A52B3E28-ED32-423E-8061-03091DA7D0E8}"/>
                </a:ext>
              </a:extLst>
            </p:cNvPr>
            <p:cNvSpPr/>
            <p:nvPr/>
          </p:nvSpPr>
          <p:spPr>
            <a:xfrm>
              <a:off x="3958455" y="2879884"/>
              <a:ext cx="1372506" cy="792626"/>
            </a:xfrm>
            <a:prstGeom prst="bentArrow">
              <a:avLst>
                <a:gd name="adj1" fmla="val 9232"/>
                <a:gd name="adj2" fmla="val 12309"/>
                <a:gd name="adj3" fmla="val 15020"/>
                <a:gd name="adj4" fmla="val 19523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sp>
          <p:nvSpPr>
            <p:cNvPr id="57" name="Shape1_20180612_153317">
              <a:extLst>
                <a:ext uri="{FF2B5EF4-FFF2-40B4-BE49-F238E27FC236}">
                  <a16:creationId xmlns:a16="http://schemas.microsoft.com/office/drawing/2014/main" id="{DB385E96-4D4B-4B2D-8616-7DA7D86B2A25}"/>
                </a:ext>
              </a:extLst>
            </p:cNvPr>
            <p:cNvSpPr/>
            <p:nvPr/>
          </p:nvSpPr>
          <p:spPr>
            <a:xfrm>
              <a:off x="3958456" y="1986677"/>
              <a:ext cx="859119" cy="1304181"/>
            </a:xfrm>
            <a:prstGeom prst="bentArrow">
              <a:avLst>
                <a:gd name="adj1" fmla="val 8070"/>
                <a:gd name="adj2" fmla="val 8090"/>
                <a:gd name="adj3" fmla="val 9114"/>
                <a:gd name="adj4" fmla="val 15727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C4DD736A-C39E-43BF-8B7C-691D6FF4C127}"/>
                </a:ext>
              </a:extLst>
            </p:cNvPr>
            <p:cNvGrpSpPr/>
            <p:nvPr/>
          </p:nvGrpSpPr>
          <p:grpSpPr>
            <a:xfrm>
              <a:off x="3532987" y="3400065"/>
              <a:ext cx="859119" cy="859119"/>
              <a:chOff x="2902793" y="3195087"/>
              <a:chExt cx="1181376" cy="1181375"/>
            </a:xfrm>
          </p:grpSpPr>
          <p:sp>
            <p:nvSpPr>
              <p:cNvPr id="67" name="Oval 66">
                <a:extLst>
                  <a:ext uri="{FF2B5EF4-FFF2-40B4-BE49-F238E27FC236}">
                    <a16:creationId xmlns:a16="http://schemas.microsoft.com/office/drawing/2014/main" id="{E129299B-6F86-4437-8B38-9C2B2388E749}"/>
                  </a:ext>
                </a:extLst>
              </p:cNvPr>
              <p:cNvSpPr/>
              <p:nvPr/>
            </p:nvSpPr>
            <p:spPr>
              <a:xfrm>
                <a:off x="2902793" y="3195087"/>
                <a:ext cx="1181376" cy="1181375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400" dirty="0">
                  <a:solidFill>
                    <a:schemeClr val="tx1"/>
                  </a:solidFill>
                  <a:cs typeface="Arial" pitchFamily="34" charset="0"/>
                </a:endParaRPr>
              </a:p>
            </p:txBody>
          </p:sp>
          <p:sp>
            <p:nvSpPr>
              <p:cNvPr id="68" name="Oval 67">
                <a:extLst>
                  <a:ext uri="{FF2B5EF4-FFF2-40B4-BE49-F238E27FC236}">
                    <a16:creationId xmlns:a16="http://schemas.microsoft.com/office/drawing/2014/main" id="{23061C40-6461-4487-9A97-EFCDE0AD3FE6}"/>
                  </a:ext>
                </a:extLst>
              </p:cNvPr>
              <p:cNvSpPr/>
              <p:nvPr/>
            </p:nvSpPr>
            <p:spPr>
              <a:xfrm>
                <a:off x="2967609" y="3259903"/>
                <a:ext cx="1051743" cy="1051742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>
                <a:noAutofit/>
              </a:bodyPr>
              <a:lstStyle/>
              <a:p>
                <a:pPr algn="ctr"/>
                <a:r>
                  <a:rPr lang="en-US" sz="1400" dirty="0">
                    <a:solidFill>
                      <a:schemeClr val="tx1"/>
                    </a:solidFill>
                    <a:cs typeface="Arial" pitchFamily="34" charset="0"/>
                  </a:rPr>
                  <a:t>Text</a:t>
                </a:r>
              </a:p>
            </p:txBody>
          </p:sp>
        </p:grpSp>
        <p:sp>
          <p:nvSpPr>
            <p:cNvPr id="59" name="Shape1_20180612_153317">
              <a:extLst>
                <a:ext uri="{FF2B5EF4-FFF2-40B4-BE49-F238E27FC236}">
                  <a16:creationId xmlns:a16="http://schemas.microsoft.com/office/drawing/2014/main" id="{20A3373C-6770-4EFF-AE42-9A125145F48D}"/>
                </a:ext>
              </a:extLst>
            </p:cNvPr>
            <p:cNvSpPr/>
            <p:nvPr/>
          </p:nvSpPr>
          <p:spPr>
            <a:xfrm flipV="1">
              <a:off x="6409004" y="4224805"/>
              <a:ext cx="859119" cy="756446"/>
            </a:xfrm>
            <a:prstGeom prst="bentArrow">
              <a:avLst>
                <a:gd name="adj1" fmla="val 9853"/>
                <a:gd name="adj2" fmla="val 12309"/>
                <a:gd name="adj3" fmla="val 15020"/>
                <a:gd name="adj4" fmla="val 19523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sp>
          <p:nvSpPr>
            <p:cNvPr id="60" name="Shape1_20180612_153317">
              <a:extLst>
                <a:ext uri="{FF2B5EF4-FFF2-40B4-BE49-F238E27FC236}">
                  <a16:creationId xmlns:a16="http://schemas.microsoft.com/office/drawing/2014/main" id="{05B15209-D1E5-4AB4-BB7E-8D7B6D12E5C3}"/>
                </a:ext>
              </a:extLst>
            </p:cNvPr>
            <p:cNvSpPr/>
            <p:nvPr/>
          </p:nvSpPr>
          <p:spPr>
            <a:xfrm>
              <a:off x="6409004" y="2702951"/>
              <a:ext cx="859119" cy="756446"/>
            </a:xfrm>
            <a:prstGeom prst="bentArrow">
              <a:avLst>
                <a:gd name="adj1" fmla="val 9853"/>
                <a:gd name="adj2" fmla="val 12309"/>
                <a:gd name="adj3" fmla="val 15020"/>
                <a:gd name="adj4" fmla="val 19523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380FFC3B-D606-4306-A82F-580AD175A975}"/>
                </a:ext>
              </a:extLst>
            </p:cNvPr>
            <p:cNvGrpSpPr/>
            <p:nvPr/>
          </p:nvGrpSpPr>
          <p:grpSpPr>
            <a:xfrm>
              <a:off x="4856877" y="1631729"/>
              <a:ext cx="2041157" cy="4452006"/>
              <a:chOff x="3332876" y="1631729"/>
              <a:chExt cx="2041157" cy="4452006"/>
            </a:xfrm>
          </p:grpSpPr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3CD39ECD-7B24-4A8E-BAA3-E4A047EF6345}"/>
                  </a:ext>
                </a:extLst>
              </p:cNvPr>
              <p:cNvGrpSpPr/>
              <p:nvPr/>
            </p:nvGrpSpPr>
            <p:grpSpPr>
              <a:xfrm>
                <a:off x="3844051" y="2548406"/>
                <a:ext cx="859119" cy="859119"/>
                <a:chOff x="5473904" y="2234732"/>
                <a:chExt cx="880527" cy="880528"/>
              </a:xfrm>
            </p:grpSpPr>
            <p:sp>
              <p:nvSpPr>
                <p:cNvPr id="84" name="Oval 83">
                  <a:extLst>
                    <a:ext uri="{FF2B5EF4-FFF2-40B4-BE49-F238E27FC236}">
                      <a16:creationId xmlns:a16="http://schemas.microsoft.com/office/drawing/2014/main" id="{8108486C-61C1-4163-B9D5-10A1D8B4EAA7}"/>
                    </a:ext>
                  </a:extLst>
                </p:cNvPr>
                <p:cNvSpPr/>
                <p:nvPr/>
              </p:nvSpPr>
              <p:spPr>
                <a:xfrm>
                  <a:off x="5473904" y="2234732"/>
                  <a:ext cx="880527" cy="880528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400" dirty="0">
                    <a:solidFill>
                      <a:schemeClr val="tx1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86" name="Oval 85">
                  <a:extLst>
                    <a:ext uri="{FF2B5EF4-FFF2-40B4-BE49-F238E27FC236}">
                      <a16:creationId xmlns:a16="http://schemas.microsoft.com/office/drawing/2014/main" id="{B740EFEB-4B0F-4BD6-8366-BE24A3DBE06B}"/>
                    </a:ext>
                  </a:extLst>
                </p:cNvPr>
                <p:cNvSpPr/>
                <p:nvPr/>
              </p:nvSpPr>
              <p:spPr>
                <a:xfrm>
                  <a:off x="5522216" y="2283042"/>
                  <a:ext cx="783907" cy="783907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1400" dirty="0">
                      <a:solidFill>
                        <a:schemeClr val="tx1"/>
                      </a:solidFill>
                      <a:cs typeface="Arial" pitchFamily="34" charset="0"/>
                    </a:rPr>
                    <a:t>Text</a:t>
                  </a:r>
                </a:p>
              </p:txBody>
            </p:sp>
          </p:grpSp>
          <p:grpSp>
            <p:nvGrpSpPr>
              <p:cNvPr id="44" name="Group 43">
                <a:extLst>
                  <a:ext uri="{FF2B5EF4-FFF2-40B4-BE49-F238E27FC236}">
                    <a16:creationId xmlns:a16="http://schemas.microsoft.com/office/drawing/2014/main" id="{8FF45987-AE6A-489E-A36E-1CCED82FCA49}"/>
                  </a:ext>
                </a:extLst>
              </p:cNvPr>
              <p:cNvGrpSpPr/>
              <p:nvPr/>
            </p:nvGrpSpPr>
            <p:grpSpPr>
              <a:xfrm>
                <a:off x="3844051" y="4315320"/>
                <a:ext cx="859119" cy="859119"/>
                <a:chOff x="5473906" y="4428540"/>
                <a:chExt cx="880527" cy="880528"/>
              </a:xfrm>
            </p:grpSpPr>
            <p:sp>
              <p:nvSpPr>
                <p:cNvPr id="82" name="Oval 81">
                  <a:extLst>
                    <a:ext uri="{FF2B5EF4-FFF2-40B4-BE49-F238E27FC236}">
                      <a16:creationId xmlns:a16="http://schemas.microsoft.com/office/drawing/2014/main" id="{DA201846-B76E-46A5-B0DC-EF98F969F9D9}"/>
                    </a:ext>
                  </a:extLst>
                </p:cNvPr>
                <p:cNvSpPr/>
                <p:nvPr/>
              </p:nvSpPr>
              <p:spPr>
                <a:xfrm flipH="1">
                  <a:off x="5473906" y="4428540"/>
                  <a:ext cx="880527" cy="880528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400" dirty="0">
                    <a:solidFill>
                      <a:schemeClr val="tx1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83" name="Oval 82">
                  <a:extLst>
                    <a:ext uri="{FF2B5EF4-FFF2-40B4-BE49-F238E27FC236}">
                      <a16:creationId xmlns:a16="http://schemas.microsoft.com/office/drawing/2014/main" id="{7A74E5D4-3E6C-4C4D-BBB9-2776C811BCDE}"/>
                    </a:ext>
                  </a:extLst>
                </p:cNvPr>
                <p:cNvSpPr/>
                <p:nvPr/>
              </p:nvSpPr>
              <p:spPr>
                <a:xfrm flipH="1">
                  <a:off x="5522215" y="4476853"/>
                  <a:ext cx="783907" cy="783907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1400" dirty="0">
                      <a:solidFill>
                        <a:schemeClr val="tx1"/>
                      </a:solidFill>
                      <a:cs typeface="Arial" pitchFamily="34" charset="0"/>
                    </a:rPr>
                    <a:t>Text</a:t>
                  </a:r>
                </a:p>
              </p:txBody>
            </p:sp>
          </p:grpSp>
          <p:grpSp>
            <p:nvGrpSpPr>
              <p:cNvPr id="47" name="Group 46">
                <a:extLst>
                  <a:ext uri="{FF2B5EF4-FFF2-40B4-BE49-F238E27FC236}">
                    <a16:creationId xmlns:a16="http://schemas.microsoft.com/office/drawing/2014/main" id="{D5795DFE-0C58-418C-8359-AF0CF5F97BAA}"/>
                  </a:ext>
                </a:extLst>
              </p:cNvPr>
              <p:cNvGrpSpPr/>
              <p:nvPr/>
            </p:nvGrpSpPr>
            <p:grpSpPr>
              <a:xfrm>
                <a:off x="3332876" y="1631729"/>
                <a:ext cx="859119" cy="859119"/>
                <a:chOff x="4811445" y="1305168"/>
                <a:chExt cx="880527" cy="880528"/>
              </a:xfrm>
            </p:grpSpPr>
            <p:sp>
              <p:nvSpPr>
                <p:cNvPr id="76" name="Oval 75">
                  <a:extLst>
                    <a:ext uri="{FF2B5EF4-FFF2-40B4-BE49-F238E27FC236}">
                      <a16:creationId xmlns:a16="http://schemas.microsoft.com/office/drawing/2014/main" id="{DE7A1E80-B908-406F-93C7-6AAB61B4BFC0}"/>
                    </a:ext>
                  </a:extLst>
                </p:cNvPr>
                <p:cNvSpPr/>
                <p:nvPr/>
              </p:nvSpPr>
              <p:spPr>
                <a:xfrm>
                  <a:off x="4811445" y="1305168"/>
                  <a:ext cx="880527" cy="880528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400" dirty="0">
                    <a:solidFill>
                      <a:schemeClr val="tx1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77" name="Oval 76">
                  <a:extLst>
                    <a:ext uri="{FF2B5EF4-FFF2-40B4-BE49-F238E27FC236}">
                      <a16:creationId xmlns:a16="http://schemas.microsoft.com/office/drawing/2014/main" id="{029A1D82-0BEF-4355-9D5F-30C1161CF068}"/>
                    </a:ext>
                  </a:extLst>
                </p:cNvPr>
                <p:cNvSpPr/>
                <p:nvPr/>
              </p:nvSpPr>
              <p:spPr>
                <a:xfrm>
                  <a:off x="4859755" y="1353481"/>
                  <a:ext cx="783907" cy="783907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1400" dirty="0">
                      <a:solidFill>
                        <a:schemeClr val="tx1"/>
                      </a:solidFill>
                      <a:cs typeface="Arial" pitchFamily="34" charset="0"/>
                    </a:rPr>
                    <a:t>Text</a:t>
                  </a:r>
                </a:p>
              </p:txBody>
            </p:sp>
          </p:grpSp>
          <p:grpSp>
            <p:nvGrpSpPr>
              <p:cNvPr id="48" name="Group 47">
                <a:extLst>
                  <a:ext uri="{FF2B5EF4-FFF2-40B4-BE49-F238E27FC236}">
                    <a16:creationId xmlns:a16="http://schemas.microsoft.com/office/drawing/2014/main" id="{5627A181-1A7E-4FA2-9EDD-9BA33F686FC5}"/>
                  </a:ext>
                </a:extLst>
              </p:cNvPr>
              <p:cNvGrpSpPr/>
              <p:nvPr/>
            </p:nvGrpSpPr>
            <p:grpSpPr>
              <a:xfrm>
                <a:off x="3332876" y="5224616"/>
                <a:ext cx="859119" cy="859119"/>
                <a:chOff x="4811446" y="5406466"/>
                <a:chExt cx="880527" cy="880528"/>
              </a:xfrm>
            </p:grpSpPr>
            <p:sp>
              <p:nvSpPr>
                <p:cNvPr id="73" name="Oval 72">
                  <a:extLst>
                    <a:ext uri="{FF2B5EF4-FFF2-40B4-BE49-F238E27FC236}">
                      <a16:creationId xmlns:a16="http://schemas.microsoft.com/office/drawing/2014/main" id="{A58FC116-0F7B-4CBA-92F3-596116BE7757}"/>
                    </a:ext>
                  </a:extLst>
                </p:cNvPr>
                <p:cNvSpPr/>
                <p:nvPr/>
              </p:nvSpPr>
              <p:spPr>
                <a:xfrm flipH="1">
                  <a:off x="4811446" y="5406466"/>
                  <a:ext cx="880527" cy="880528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400" dirty="0">
                    <a:solidFill>
                      <a:schemeClr val="tx1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74" name="Oval 73">
                  <a:extLst>
                    <a:ext uri="{FF2B5EF4-FFF2-40B4-BE49-F238E27FC236}">
                      <a16:creationId xmlns:a16="http://schemas.microsoft.com/office/drawing/2014/main" id="{F74A6AF7-9180-47A1-B226-CB807E950A73}"/>
                    </a:ext>
                  </a:extLst>
                </p:cNvPr>
                <p:cNvSpPr/>
                <p:nvPr/>
              </p:nvSpPr>
              <p:spPr>
                <a:xfrm flipH="1">
                  <a:off x="4859754" y="5454776"/>
                  <a:ext cx="783907" cy="783907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1400">
                      <a:solidFill>
                        <a:schemeClr val="tx1"/>
                      </a:solidFill>
                      <a:cs typeface="Arial" pitchFamily="34" charset="0"/>
                    </a:rPr>
                    <a:t>Text</a:t>
                  </a:r>
                  <a:endParaRPr lang="en-US" sz="1400" dirty="0">
                    <a:solidFill>
                      <a:schemeClr val="tx1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75" name="Oval 74">
                  <a:extLst>
                    <a:ext uri="{FF2B5EF4-FFF2-40B4-BE49-F238E27FC236}">
                      <a16:creationId xmlns:a16="http://schemas.microsoft.com/office/drawing/2014/main" id="{96DD02B9-724F-4ACA-BEE1-746215B7FB00}"/>
                    </a:ext>
                  </a:extLst>
                </p:cNvPr>
                <p:cNvSpPr/>
                <p:nvPr/>
              </p:nvSpPr>
              <p:spPr>
                <a:xfrm>
                  <a:off x="4859754" y="5454776"/>
                  <a:ext cx="783907" cy="783907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1400" dirty="0">
                      <a:solidFill>
                        <a:schemeClr val="tx1"/>
                      </a:solidFill>
                      <a:cs typeface="Arial" pitchFamily="34" charset="0"/>
                    </a:rPr>
                    <a:t>Text</a:t>
                  </a:r>
                </a:p>
              </p:txBody>
            </p:sp>
          </p:grpSp>
          <p:grpSp>
            <p:nvGrpSpPr>
              <p:cNvPr id="61" name="Group 60">
                <a:extLst>
                  <a:ext uri="{FF2B5EF4-FFF2-40B4-BE49-F238E27FC236}">
                    <a16:creationId xmlns:a16="http://schemas.microsoft.com/office/drawing/2014/main" id="{86C8FF90-2B8D-499F-9CF3-FEF481AF0C91}"/>
                  </a:ext>
                </a:extLst>
              </p:cNvPr>
              <p:cNvGrpSpPr/>
              <p:nvPr/>
            </p:nvGrpSpPr>
            <p:grpSpPr>
              <a:xfrm>
                <a:off x="4514914" y="3431863"/>
                <a:ext cx="859119" cy="859119"/>
                <a:chOff x="6136365" y="3345510"/>
                <a:chExt cx="880527" cy="880528"/>
              </a:xfrm>
            </p:grpSpPr>
            <p:sp>
              <p:nvSpPr>
                <p:cNvPr id="65" name="Oval 64">
                  <a:extLst>
                    <a:ext uri="{FF2B5EF4-FFF2-40B4-BE49-F238E27FC236}">
                      <a16:creationId xmlns:a16="http://schemas.microsoft.com/office/drawing/2014/main" id="{87B72ADF-A65A-4799-87B5-47AFBB05205A}"/>
                    </a:ext>
                  </a:extLst>
                </p:cNvPr>
                <p:cNvSpPr/>
                <p:nvPr/>
              </p:nvSpPr>
              <p:spPr>
                <a:xfrm>
                  <a:off x="6136365" y="3345510"/>
                  <a:ext cx="880527" cy="880528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400" dirty="0">
                    <a:solidFill>
                      <a:schemeClr val="tx1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66" name="Oval 65">
                  <a:extLst>
                    <a:ext uri="{FF2B5EF4-FFF2-40B4-BE49-F238E27FC236}">
                      <a16:creationId xmlns:a16="http://schemas.microsoft.com/office/drawing/2014/main" id="{441622C2-4D5B-4FAE-B214-0FE626C6EE6E}"/>
                    </a:ext>
                  </a:extLst>
                </p:cNvPr>
                <p:cNvSpPr/>
                <p:nvPr/>
              </p:nvSpPr>
              <p:spPr>
                <a:xfrm>
                  <a:off x="6184676" y="3393821"/>
                  <a:ext cx="783907" cy="783907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1400" dirty="0">
                      <a:solidFill>
                        <a:schemeClr val="tx1"/>
                      </a:solidFill>
                      <a:cs typeface="Arial" pitchFamily="34" charset="0"/>
                    </a:rPr>
                    <a:t>Text</a:t>
                  </a:r>
                </a:p>
              </p:txBody>
            </p:sp>
          </p:grp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A08A0F4A-DE65-4E5F-85F4-7F2A21D0D406}"/>
                </a:ext>
              </a:extLst>
            </p:cNvPr>
            <p:cNvGrpSpPr/>
            <p:nvPr/>
          </p:nvGrpSpPr>
          <p:grpSpPr>
            <a:xfrm>
              <a:off x="7297232" y="2352116"/>
              <a:ext cx="1372507" cy="2964191"/>
              <a:chOff x="5773231" y="2352115"/>
              <a:chExt cx="1372507" cy="2964191"/>
            </a:xfrm>
          </p:grpSpPr>
          <p:grpSp>
            <p:nvGrpSpPr>
              <p:cNvPr id="45" name="Group 44">
                <a:extLst>
                  <a:ext uri="{FF2B5EF4-FFF2-40B4-BE49-F238E27FC236}">
                    <a16:creationId xmlns:a16="http://schemas.microsoft.com/office/drawing/2014/main" id="{D1F61EAB-8EEC-44D0-A1CE-5BEE28EFDCA8}"/>
                  </a:ext>
                </a:extLst>
              </p:cNvPr>
              <p:cNvGrpSpPr/>
              <p:nvPr/>
            </p:nvGrpSpPr>
            <p:grpSpPr>
              <a:xfrm>
                <a:off x="5773231" y="2352115"/>
                <a:ext cx="859119" cy="859119"/>
                <a:chOff x="7760058" y="2234732"/>
                <a:chExt cx="880527" cy="880528"/>
              </a:xfrm>
            </p:grpSpPr>
            <p:sp>
              <p:nvSpPr>
                <p:cNvPr id="80" name="Oval 79">
                  <a:extLst>
                    <a:ext uri="{FF2B5EF4-FFF2-40B4-BE49-F238E27FC236}">
                      <a16:creationId xmlns:a16="http://schemas.microsoft.com/office/drawing/2014/main" id="{883427AA-CCC9-46E1-BAA9-E9FFC40B1D36}"/>
                    </a:ext>
                  </a:extLst>
                </p:cNvPr>
                <p:cNvSpPr/>
                <p:nvPr/>
              </p:nvSpPr>
              <p:spPr>
                <a:xfrm>
                  <a:off x="7760058" y="2234732"/>
                  <a:ext cx="880527" cy="880528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400" dirty="0">
                    <a:solidFill>
                      <a:schemeClr val="tx1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81" name="Oval 80">
                  <a:extLst>
                    <a:ext uri="{FF2B5EF4-FFF2-40B4-BE49-F238E27FC236}">
                      <a16:creationId xmlns:a16="http://schemas.microsoft.com/office/drawing/2014/main" id="{A6E3959C-D7E4-48CB-BFF5-A1234F689C65}"/>
                    </a:ext>
                  </a:extLst>
                </p:cNvPr>
                <p:cNvSpPr/>
                <p:nvPr/>
              </p:nvSpPr>
              <p:spPr>
                <a:xfrm>
                  <a:off x="7808369" y="2283042"/>
                  <a:ext cx="783907" cy="783907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1400" dirty="0">
                      <a:solidFill>
                        <a:schemeClr val="tx1"/>
                      </a:solidFill>
                      <a:cs typeface="Arial" pitchFamily="34" charset="0"/>
                    </a:rPr>
                    <a:t>Text</a:t>
                  </a:r>
                </a:p>
              </p:txBody>
            </p:sp>
          </p:grpSp>
          <p:grpSp>
            <p:nvGrpSpPr>
              <p:cNvPr id="46" name="Group 45">
                <a:extLst>
                  <a:ext uri="{FF2B5EF4-FFF2-40B4-BE49-F238E27FC236}">
                    <a16:creationId xmlns:a16="http://schemas.microsoft.com/office/drawing/2014/main" id="{A5657559-7CE5-47FE-889C-4DBE95ED5C5E}"/>
                  </a:ext>
                </a:extLst>
              </p:cNvPr>
              <p:cNvGrpSpPr/>
              <p:nvPr/>
            </p:nvGrpSpPr>
            <p:grpSpPr>
              <a:xfrm>
                <a:off x="5773231" y="4457187"/>
                <a:ext cx="859119" cy="859119"/>
                <a:chOff x="7760059" y="4428540"/>
                <a:chExt cx="880527" cy="880528"/>
              </a:xfrm>
            </p:grpSpPr>
            <p:sp>
              <p:nvSpPr>
                <p:cNvPr id="78" name="Oval 77">
                  <a:extLst>
                    <a:ext uri="{FF2B5EF4-FFF2-40B4-BE49-F238E27FC236}">
                      <a16:creationId xmlns:a16="http://schemas.microsoft.com/office/drawing/2014/main" id="{588A80CD-9EE0-4004-8EE1-2859D26DE5D7}"/>
                    </a:ext>
                  </a:extLst>
                </p:cNvPr>
                <p:cNvSpPr/>
                <p:nvPr/>
              </p:nvSpPr>
              <p:spPr>
                <a:xfrm flipH="1">
                  <a:off x="7760059" y="4428540"/>
                  <a:ext cx="880527" cy="880528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400" dirty="0">
                    <a:solidFill>
                      <a:schemeClr val="tx1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79" name="Oval 78">
                  <a:extLst>
                    <a:ext uri="{FF2B5EF4-FFF2-40B4-BE49-F238E27FC236}">
                      <a16:creationId xmlns:a16="http://schemas.microsoft.com/office/drawing/2014/main" id="{3C142CD6-829A-4070-9CC7-3B1A5658B413}"/>
                    </a:ext>
                  </a:extLst>
                </p:cNvPr>
                <p:cNvSpPr/>
                <p:nvPr/>
              </p:nvSpPr>
              <p:spPr>
                <a:xfrm flipH="1">
                  <a:off x="7808368" y="4476853"/>
                  <a:ext cx="783907" cy="783907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1400" dirty="0">
                      <a:solidFill>
                        <a:schemeClr val="tx1"/>
                      </a:solidFill>
                      <a:cs typeface="Arial" pitchFamily="34" charset="0"/>
                    </a:rPr>
                    <a:t>Text</a:t>
                  </a:r>
                </a:p>
              </p:txBody>
            </p:sp>
          </p:grpSp>
          <p:grpSp>
            <p:nvGrpSpPr>
              <p:cNvPr id="62" name="Group 61">
                <a:extLst>
                  <a:ext uri="{FF2B5EF4-FFF2-40B4-BE49-F238E27FC236}">
                    <a16:creationId xmlns:a16="http://schemas.microsoft.com/office/drawing/2014/main" id="{45261F16-660D-4269-9B21-5420EAF63793}"/>
                  </a:ext>
                </a:extLst>
              </p:cNvPr>
              <p:cNvGrpSpPr/>
              <p:nvPr/>
            </p:nvGrpSpPr>
            <p:grpSpPr>
              <a:xfrm>
                <a:off x="6286619" y="3431863"/>
                <a:ext cx="859119" cy="859119"/>
                <a:chOff x="8422518" y="3345510"/>
                <a:chExt cx="880527" cy="880528"/>
              </a:xfrm>
            </p:grpSpPr>
            <p:sp>
              <p:nvSpPr>
                <p:cNvPr id="63" name="Oval 62">
                  <a:extLst>
                    <a:ext uri="{FF2B5EF4-FFF2-40B4-BE49-F238E27FC236}">
                      <a16:creationId xmlns:a16="http://schemas.microsoft.com/office/drawing/2014/main" id="{095DA764-6C01-4159-BA3F-9AFCD0BC1A9B}"/>
                    </a:ext>
                  </a:extLst>
                </p:cNvPr>
                <p:cNvSpPr/>
                <p:nvPr/>
              </p:nvSpPr>
              <p:spPr>
                <a:xfrm>
                  <a:off x="8422518" y="3345510"/>
                  <a:ext cx="880527" cy="880528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400" dirty="0">
                    <a:solidFill>
                      <a:schemeClr val="tx1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64" name="Oval 63">
                  <a:extLst>
                    <a:ext uri="{FF2B5EF4-FFF2-40B4-BE49-F238E27FC236}">
                      <a16:creationId xmlns:a16="http://schemas.microsoft.com/office/drawing/2014/main" id="{F8C156CA-43C5-4F46-81D1-CE6D2D7A07AF}"/>
                    </a:ext>
                  </a:extLst>
                </p:cNvPr>
                <p:cNvSpPr/>
                <p:nvPr/>
              </p:nvSpPr>
              <p:spPr>
                <a:xfrm>
                  <a:off x="8470829" y="3393821"/>
                  <a:ext cx="783907" cy="783907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1400" dirty="0">
                      <a:solidFill>
                        <a:schemeClr val="tx1"/>
                      </a:solidFill>
                      <a:cs typeface="Arial" pitchFamily="34" charset="0"/>
                    </a:rPr>
                    <a:t>Text</a:t>
                  </a: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3516374512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7F5BEC-9289-752C-7F59-5FE15DD004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C0599B7-2DCA-2CA2-8ACB-570423FBC8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1697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D7537A5-A09C-36D3-3289-41655C386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Org. char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F5B839D-AF03-B89C-18F1-4AF08D9C71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78</a:t>
            </a:fld>
            <a:endParaRPr lang="en-US" dirty="0"/>
          </a:p>
        </p:txBody>
      </p:sp>
      <p:sp>
        <p:nvSpPr>
          <p:cNvPr id="8" name="Rectangle 15">
            <a:extLst>
              <a:ext uri="{FF2B5EF4-FFF2-40B4-BE49-F238E27FC236}">
                <a16:creationId xmlns:a16="http://schemas.microsoft.com/office/drawing/2014/main" id="{1352EABC-1802-758B-5A8F-8525B669079B}"/>
              </a:ext>
            </a:extLst>
          </p:cNvPr>
          <p:cNvSpPr/>
          <p:nvPr/>
        </p:nvSpPr>
        <p:spPr>
          <a:xfrm rot="5400000">
            <a:off x="7772947" y="1150802"/>
            <a:ext cx="805218" cy="2648361"/>
          </a:xfrm>
          <a:custGeom>
            <a:avLst/>
            <a:gdLst>
              <a:gd name="connsiteX0" fmla="*/ 0 w 1177292"/>
              <a:gd name="connsiteY0" fmla="*/ 0 h 1879432"/>
              <a:gd name="connsiteX1" fmla="*/ 1177292 w 1177292"/>
              <a:gd name="connsiteY1" fmla="*/ 0 h 1879432"/>
              <a:gd name="connsiteX2" fmla="*/ 1177292 w 1177292"/>
              <a:gd name="connsiteY2" fmla="*/ 1879432 h 1879432"/>
              <a:gd name="connsiteX3" fmla="*/ 0 w 1177292"/>
              <a:gd name="connsiteY3" fmla="*/ 1879432 h 1879432"/>
              <a:gd name="connsiteX4" fmla="*/ 0 w 1177292"/>
              <a:gd name="connsiteY4" fmla="*/ 0 h 1879432"/>
              <a:gd name="connsiteX0" fmla="*/ 0 w 1177292"/>
              <a:gd name="connsiteY0" fmla="*/ 0 h 1879432"/>
              <a:gd name="connsiteX1" fmla="*/ 1177292 w 1177292"/>
              <a:gd name="connsiteY1" fmla="*/ 0 h 1879432"/>
              <a:gd name="connsiteX2" fmla="*/ 1171575 w 1177292"/>
              <a:gd name="connsiteY2" fmla="*/ 954208 h 1879432"/>
              <a:gd name="connsiteX3" fmla="*/ 1177292 w 1177292"/>
              <a:gd name="connsiteY3" fmla="*/ 1879432 h 1879432"/>
              <a:gd name="connsiteX4" fmla="*/ 0 w 1177292"/>
              <a:gd name="connsiteY4" fmla="*/ 1879432 h 1879432"/>
              <a:gd name="connsiteX5" fmla="*/ 0 w 1177292"/>
              <a:gd name="connsiteY5" fmla="*/ 0 h 1879432"/>
              <a:gd name="connsiteX0" fmla="*/ 1171575 w 1263015"/>
              <a:gd name="connsiteY0" fmla="*/ 954208 h 1879432"/>
              <a:gd name="connsiteX1" fmla="*/ 1177292 w 1263015"/>
              <a:gd name="connsiteY1" fmla="*/ 1879432 h 1879432"/>
              <a:gd name="connsiteX2" fmla="*/ 0 w 1263015"/>
              <a:gd name="connsiteY2" fmla="*/ 1879432 h 1879432"/>
              <a:gd name="connsiteX3" fmla="*/ 0 w 1263015"/>
              <a:gd name="connsiteY3" fmla="*/ 0 h 1879432"/>
              <a:gd name="connsiteX4" fmla="*/ 1177292 w 1263015"/>
              <a:gd name="connsiteY4" fmla="*/ 0 h 1879432"/>
              <a:gd name="connsiteX5" fmla="*/ 1263015 w 1263015"/>
              <a:gd name="connsiteY5" fmla="*/ 1045648 h 1879432"/>
              <a:gd name="connsiteX0" fmla="*/ 1171575 w 1177292"/>
              <a:gd name="connsiteY0" fmla="*/ 954208 h 1879432"/>
              <a:gd name="connsiteX1" fmla="*/ 1177292 w 1177292"/>
              <a:gd name="connsiteY1" fmla="*/ 1879432 h 1879432"/>
              <a:gd name="connsiteX2" fmla="*/ 0 w 1177292"/>
              <a:gd name="connsiteY2" fmla="*/ 1879432 h 1879432"/>
              <a:gd name="connsiteX3" fmla="*/ 0 w 1177292"/>
              <a:gd name="connsiteY3" fmla="*/ 0 h 1879432"/>
              <a:gd name="connsiteX4" fmla="*/ 1177292 w 1177292"/>
              <a:gd name="connsiteY4" fmla="*/ 0 h 1879432"/>
              <a:gd name="connsiteX0" fmla="*/ 1177292 w 1177292"/>
              <a:gd name="connsiteY0" fmla="*/ 1879432 h 1879432"/>
              <a:gd name="connsiteX1" fmla="*/ 0 w 1177292"/>
              <a:gd name="connsiteY1" fmla="*/ 1879432 h 1879432"/>
              <a:gd name="connsiteX2" fmla="*/ 0 w 1177292"/>
              <a:gd name="connsiteY2" fmla="*/ 0 h 1879432"/>
              <a:gd name="connsiteX3" fmla="*/ 1177292 w 1177292"/>
              <a:gd name="connsiteY3" fmla="*/ 0 h 1879432"/>
              <a:gd name="connsiteX0" fmla="*/ 0 w 1177292"/>
              <a:gd name="connsiteY0" fmla="*/ 1879432 h 1879432"/>
              <a:gd name="connsiteX1" fmla="*/ 0 w 1177292"/>
              <a:gd name="connsiteY1" fmla="*/ 0 h 1879432"/>
              <a:gd name="connsiteX2" fmla="*/ 1177292 w 1177292"/>
              <a:gd name="connsiteY2" fmla="*/ 0 h 1879432"/>
              <a:gd name="connsiteX0" fmla="*/ 663 w 1177955"/>
              <a:gd name="connsiteY0" fmla="*/ 1879432 h 1879432"/>
              <a:gd name="connsiteX1" fmla="*/ 0 w 1177955"/>
              <a:gd name="connsiteY1" fmla="*/ 339432 h 1879432"/>
              <a:gd name="connsiteX2" fmla="*/ 663 w 1177955"/>
              <a:gd name="connsiteY2" fmla="*/ 0 h 1879432"/>
              <a:gd name="connsiteX3" fmla="*/ 1177955 w 1177955"/>
              <a:gd name="connsiteY3" fmla="*/ 0 h 1879432"/>
              <a:gd name="connsiteX0" fmla="*/ 0 w 1177955"/>
              <a:gd name="connsiteY0" fmla="*/ 339432 h 339432"/>
              <a:gd name="connsiteX1" fmla="*/ 663 w 1177955"/>
              <a:gd name="connsiteY1" fmla="*/ 0 h 339432"/>
              <a:gd name="connsiteX2" fmla="*/ 1177955 w 1177955"/>
              <a:gd name="connsiteY2" fmla="*/ 0 h 339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77955" h="339432">
                <a:moveTo>
                  <a:pt x="0" y="339432"/>
                </a:moveTo>
                <a:lnTo>
                  <a:pt x="663" y="0"/>
                </a:lnTo>
                <a:lnTo>
                  <a:pt x="1177955" y="0"/>
                </a:lnTo>
              </a:path>
            </a:pathLst>
          </a:custGeom>
          <a:ln w="28575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9" name="Rectangle 15">
            <a:extLst>
              <a:ext uri="{FF2B5EF4-FFF2-40B4-BE49-F238E27FC236}">
                <a16:creationId xmlns:a16="http://schemas.microsoft.com/office/drawing/2014/main" id="{686498E5-8A30-BA35-C92A-CEF3B46DB8E3}"/>
              </a:ext>
            </a:extLst>
          </p:cNvPr>
          <p:cNvSpPr/>
          <p:nvPr/>
        </p:nvSpPr>
        <p:spPr>
          <a:xfrm rot="5400000" flipV="1">
            <a:off x="3612730" y="1156107"/>
            <a:ext cx="805218" cy="2637750"/>
          </a:xfrm>
          <a:custGeom>
            <a:avLst/>
            <a:gdLst>
              <a:gd name="connsiteX0" fmla="*/ 0 w 1177292"/>
              <a:gd name="connsiteY0" fmla="*/ 0 h 1879432"/>
              <a:gd name="connsiteX1" fmla="*/ 1177292 w 1177292"/>
              <a:gd name="connsiteY1" fmla="*/ 0 h 1879432"/>
              <a:gd name="connsiteX2" fmla="*/ 1177292 w 1177292"/>
              <a:gd name="connsiteY2" fmla="*/ 1879432 h 1879432"/>
              <a:gd name="connsiteX3" fmla="*/ 0 w 1177292"/>
              <a:gd name="connsiteY3" fmla="*/ 1879432 h 1879432"/>
              <a:gd name="connsiteX4" fmla="*/ 0 w 1177292"/>
              <a:gd name="connsiteY4" fmla="*/ 0 h 1879432"/>
              <a:gd name="connsiteX0" fmla="*/ 0 w 1177292"/>
              <a:gd name="connsiteY0" fmla="*/ 0 h 1879432"/>
              <a:gd name="connsiteX1" fmla="*/ 1177292 w 1177292"/>
              <a:gd name="connsiteY1" fmla="*/ 0 h 1879432"/>
              <a:gd name="connsiteX2" fmla="*/ 1171575 w 1177292"/>
              <a:gd name="connsiteY2" fmla="*/ 954208 h 1879432"/>
              <a:gd name="connsiteX3" fmla="*/ 1177292 w 1177292"/>
              <a:gd name="connsiteY3" fmla="*/ 1879432 h 1879432"/>
              <a:gd name="connsiteX4" fmla="*/ 0 w 1177292"/>
              <a:gd name="connsiteY4" fmla="*/ 1879432 h 1879432"/>
              <a:gd name="connsiteX5" fmla="*/ 0 w 1177292"/>
              <a:gd name="connsiteY5" fmla="*/ 0 h 1879432"/>
              <a:gd name="connsiteX0" fmla="*/ 1171575 w 1263015"/>
              <a:gd name="connsiteY0" fmla="*/ 954208 h 1879432"/>
              <a:gd name="connsiteX1" fmla="*/ 1177292 w 1263015"/>
              <a:gd name="connsiteY1" fmla="*/ 1879432 h 1879432"/>
              <a:gd name="connsiteX2" fmla="*/ 0 w 1263015"/>
              <a:gd name="connsiteY2" fmla="*/ 1879432 h 1879432"/>
              <a:gd name="connsiteX3" fmla="*/ 0 w 1263015"/>
              <a:gd name="connsiteY3" fmla="*/ 0 h 1879432"/>
              <a:gd name="connsiteX4" fmla="*/ 1177292 w 1263015"/>
              <a:gd name="connsiteY4" fmla="*/ 0 h 1879432"/>
              <a:gd name="connsiteX5" fmla="*/ 1263015 w 1263015"/>
              <a:gd name="connsiteY5" fmla="*/ 1045648 h 1879432"/>
              <a:gd name="connsiteX0" fmla="*/ 1171575 w 1177292"/>
              <a:gd name="connsiteY0" fmla="*/ 954208 h 1879432"/>
              <a:gd name="connsiteX1" fmla="*/ 1177292 w 1177292"/>
              <a:gd name="connsiteY1" fmla="*/ 1879432 h 1879432"/>
              <a:gd name="connsiteX2" fmla="*/ 0 w 1177292"/>
              <a:gd name="connsiteY2" fmla="*/ 1879432 h 1879432"/>
              <a:gd name="connsiteX3" fmla="*/ 0 w 1177292"/>
              <a:gd name="connsiteY3" fmla="*/ 0 h 1879432"/>
              <a:gd name="connsiteX4" fmla="*/ 1177292 w 1177292"/>
              <a:gd name="connsiteY4" fmla="*/ 0 h 1879432"/>
              <a:gd name="connsiteX0" fmla="*/ 1177292 w 1177292"/>
              <a:gd name="connsiteY0" fmla="*/ 1879432 h 1879432"/>
              <a:gd name="connsiteX1" fmla="*/ 0 w 1177292"/>
              <a:gd name="connsiteY1" fmla="*/ 1879432 h 1879432"/>
              <a:gd name="connsiteX2" fmla="*/ 0 w 1177292"/>
              <a:gd name="connsiteY2" fmla="*/ 0 h 1879432"/>
              <a:gd name="connsiteX3" fmla="*/ 1177292 w 1177292"/>
              <a:gd name="connsiteY3" fmla="*/ 0 h 1879432"/>
              <a:gd name="connsiteX0" fmla="*/ 0 w 1177292"/>
              <a:gd name="connsiteY0" fmla="*/ 1879432 h 1879432"/>
              <a:gd name="connsiteX1" fmla="*/ 0 w 1177292"/>
              <a:gd name="connsiteY1" fmla="*/ 0 h 1879432"/>
              <a:gd name="connsiteX2" fmla="*/ 1177292 w 1177292"/>
              <a:gd name="connsiteY2" fmla="*/ 0 h 1879432"/>
              <a:gd name="connsiteX0" fmla="*/ 663 w 1177955"/>
              <a:gd name="connsiteY0" fmla="*/ 1879432 h 1879432"/>
              <a:gd name="connsiteX1" fmla="*/ 0 w 1177955"/>
              <a:gd name="connsiteY1" fmla="*/ 339432 h 1879432"/>
              <a:gd name="connsiteX2" fmla="*/ 663 w 1177955"/>
              <a:gd name="connsiteY2" fmla="*/ 0 h 1879432"/>
              <a:gd name="connsiteX3" fmla="*/ 1177955 w 1177955"/>
              <a:gd name="connsiteY3" fmla="*/ 0 h 1879432"/>
              <a:gd name="connsiteX0" fmla="*/ 0 w 1177955"/>
              <a:gd name="connsiteY0" fmla="*/ 339432 h 339432"/>
              <a:gd name="connsiteX1" fmla="*/ 663 w 1177955"/>
              <a:gd name="connsiteY1" fmla="*/ 0 h 339432"/>
              <a:gd name="connsiteX2" fmla="*/ 1177955 w 1177955"/>
              <a:gd name="connsiteY2" fmla="*/ 0 h 339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77955" h="339432">
                <a:moveTo>
                  <a:pt x="0" y="339432"/>
                </a:moveTo>
                <a:lnTo>
                  <a:pt x="663" y="0"/>
                </a:lnTo>
                <a:lnTo>
                  <a:pt x="1177955" y="0"/>
                </a:lnTo>
              </a:path>
            </a:pathLst>
          </a:custGeom>
          <a:ln w="28575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75BC9C9C-A504-2905-3EF1-ABBD0BF3BF88}"/>
              </a:ext>
            </a:extLst>
          </p:cNvPr>
          <p:cNvGrpSpPr/>
          <p:nvPr/>
        </p:nvGrpSpPr>
        <p:grpSpPr>
          <a:xfrm>
            <a:off x="5294575" y="1270535"/>
            <a:ext cx="1607050" cy="1607049"/>
            <a:chOff x="294317" y="3334459"/>
            <a:chExt cx="1534484" cy="1534484"/>
          </a:xfrm>
        </p:grpSpPr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FF26447D-071A-89B8-5B35-6AB727888AB3}"/>
                </a:ext>
              </a:extLst>
            </p:cNvPr>
            <p:cNvSpPr/>
            <p:nvPr/>
          </p:nvSpPr>
          <p:spPr>
            <a:xfrm>
              <a:off x="294317" y="3334459"/>
              <a:ext cx="1534484" cy="1534484"/>
            </a:xfrm>
            <a:prstGeom prst="ellipse">
              <a:avLst/>
            </a:prstGeom>
            <a:solidFill>
              <a:schemeClr val="bg1"/>
            </a:solidFill>
            <a:ln w="19050"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0F3CBD68-FF85-9536-6FEC-149C5706F04F}"/>
                </a:ext>
              </a:extLst>
            </p:cNvPr>
            <p:cNvSpPr/>
            <p:nvPr/>
          </p:nvSpPr>
          <p:spPr>
            <a:xfrm>
              <a:off x="395284" y="3435426"/>
              <a:ext cx="1332550" cy="133255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54" name="Donut 82">
              <a:extLst>
                <a:ext uri="{FF2B5EF4-FFF2-40B4-BE49-F238E27FC236}">
                  <a16:creationId xmlns:a16="http://schemas.microsoft.com/office/drawing/2014/main" id="{497B7A3D-A514-E167-19C0-AC591F873BC7}"/>
                </a:ext>
              </a:extLst>
            </p:cNvPr>
            <p:cNvSpPr/>
            <p:nvPr/>
          </p:nvSpPr>
          <p:spPr>
            <a:xfrm>
              <a:off x="587211" y="3627353"/>
              <a:ext cx="948696" cy="948696"/>
            </a:xfrm>
            <a:prstGeom prst="donut">
              <a:avLst>
                <a:gd name="adj" fmla="val 4494"/>
              </a:avLst>
            </a:prstGeom>
            <a:solidFill>
              <a:schemeClr val="bg1">
                <a:alpha val="50000"/>
              </a:schemeClr>
            </a:solidFill>
            <a:ln>
              <a:noFill/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1BE75CA7-7414-D683-927F-E5F3D31E5D6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7658" y="3697800"/>
              <a:ext cx="807803" cy="80780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11" name="Inhaltsplatzhalter 4">
            <a:extLst>
              <a:ext uri="{FF2B5EF4-FFF2-40B4-BE49-F238E27FC236}">
                <a16:creationId xmlns:a16="http://schemas.microsoft.com/office/drawing/2014/main" id="{18E08DDE-1CCA-0925-0998-A295BF26DF0F}"/>
              </a:ext>
            </a:extLst>
          </p:cNvPr>
          <p:cNvSpPr txBox="1">
            <a:spLocks/>
          </p:cNvSpPr>
          <p:nvPr/>
        </p:nvSpPr>
        <p:spPr>
          <a:xfrm flipH="1">
            <a:off x="5432669" y="2997144"/>
            <a:ext cx="1330862" cy="325679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1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1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AME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ASTNAME</a:t>
            </a:r>
            <a:b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8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JOB POSITION</a:t>
            </a:r>
            <a:endParaRPr kumimoji="0" lang="en-US" sz="105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5">
            <a:extLst>
              <a:ext uri="{FF2B5EF4-FFF2-40B4-BE49-F238E27FC236}">
                <a16:creationId xmlns:a16="http://schemas.microsoft.com/office/drawing/2014/main" id="{ACD15AA4-1FDF-C93F-8BF6-367C49C4023B}"/>
              </a:ext>
            </a:extLst>
          </p:cNvPr>
          <p:cNvSpPr/>
          <p:nvPr/>
        </p:nvSpPr>
        <p:spPr>
          <a:xfrm rot="5400000" flipV="1">
            <a:off x="1216630" y="3781653"/>
            <a:ext cx="1184600" cy="599983"/>
          </a:xfrm>
          <a:custGeom>
            <a:avLst/>
            <a:gdLst>
              <a:gd name="connsiteX0" fmla="*/ 0 w 1177292"/>
              <a:gd name="connsiteY0" fmla="*/ 0 h 1879432"/>
              <a:gd name="connsiteX1" fmla="*/ 1177292 w 1177292"/>
              <a:gd name="connsiteY1" fmla="*/ 0 h 1879432"/>
              <a:gd name="connsiteX2" fmla="*/ 1177292 w 1177292"/>
              <a:gd name="connsiteY2" fmla="*/ 1879432 h 1879432"/>
              <a:gd name="connsiteX3" fmla="*/ 0 w 1177292"/>
              <a:gd name="connsiteY3" fmla="*/ 1879432 h 1879432"/>
              <a:gd name="connsiteX4" fmla="*/ 0 w 1177292"/>
              <a:gd name="connsiteY4" fmla="*/ 0 h 1879432"/>
              <a:gd name="connsiteX0" fmla="*/ 0 w 1177292"/>
              <a:gd name="connsiteY0" fmla="*/ 0 h 1879432"/>
              <a:gd name="connsiteX1" fmla="*/ 1177292 w 1177292"/>
              <a:gd name="connsiteY1" fmla="*/ 0 h 1879432"/>
              <a:gd name="connsiteX2" fmla="*/ 1171575 w 1177292"/>
              <a:gd name="connsiteY2" fmla="*/ 954208 h 1879432"/>
              <a:gd name="connsiteX3" fmla="*/ 1177292 w 1177292"/>
              <a:gd name="connsiteY3" fmla="*/ 1879432 h 1879432"/>
              <a:gd name="connsiteX4" fmla="*/ 0 w 1177292"/>
              <a:gd name="connsiteY4" fmla="*/ 1879432 h 1879432"/>
              <a:gd name="connsiteX5" fmla="*/ 0 w 1177292"/>
              <a:gd name="connsiteY5" fmla="*/ 0 h 1879432"/>
              <a:gd name="connsiteX0" fmla="*/ 1171575 w 1263015"/>
              <a:gd name="connsiteY0" fmla="*/ 954208 h 1879432"/>
              <a:gd name="connsiteX1" fmla="*/ 1177292 w 1263015"/>
              <a:gd name="connsiteY1" fmla="*/ 1879432 h 1879432"/>
              <a:gd name="connsiteX2" fmla="*/ 0 w 1263015"/>
              <a:gd name="connsiteY2" fmla="*/ 1879432 h 1879432"/>
              <a:gd name="connsiteX3" fmla="*/ 0 w 1263015"/>
              <a:gd name="connsiteY3" fmla="*/ 0 h 1879432"/>
              <a:gd name="connsiteX4" fmla="*/ 1177292 w 1263015"/>
              <a:gd name="connsiteY4" fmla="*/ 0 h 1879432"/>
              <a:gd name="connsiteX5" fmla="*/ 1263015 w 1263015"/>
              <a:gd name="connsiteY5" fmla="*/ 1045648 h 1879432"/>
              <a:gd name="connsiteX0" fmla="*/ 1171575 w 1177292"/>
              <a:gd name="connsiteY0" fmla="*/ 954208 h 1879432"/>
              <a:gd name="connsiteX1" fmla="*/ 1177292 w 1177292"/>
              <a:gd name="connsiteY1" fmla="*/ 1879432 h 1879432"/>
              <a:gd name="connsiteX2" fmla="*/ 0 w 1177292"/>
              <a:gd name="connsiteY2" fmla="*/ 1879432 h 1879432"/>
              <a:gd name="connsiteX3" fmla="*/ 0 w 1177292"/>
              <a:gd name="connsiteY3" fmla="*/ 0 h 1879432"/>
              <a:gd name="connsiteX4" fmla="*/ 1177292 w 1177292"/>
              <a:gd name="connsiteY4" fmla="*/ 0 h 1879432"/>
              <a:gd name="connsiteX0" fmla="*/ 1177292 w 1177292"/>
              <a:gd name="connsiteY0" fmla="*/ 1879432 h 1879432"/>
              <a:gd name="connsiteX1" fmla="*/ 0 w 1177292"/>
              <a:gd name="connsiteY1" fmla="*/ 1879432 h 1879432"/>
              <a:gd name="connsiteX2" fmla="*/ 0 w 1177292"/>
              <a:gd name="connsiteY2" fmla="*/ 0 h 1879432"/>
              <a:gd name="connsiteX3" fmla="*/ 1177292 w 1177292"/>
              <a:gd name="connsiteY3" fmla="*/ 0 h 1879432"/>
              <a:gd name="connsiteX0" fmla="*/ 0 w 1177292"/>
              <a:gd name="connsiteY0" fmla="*/ 1879432 h 1879432"/>
              <a:gd name="connsiteX1" fmla="*/ 0 w 1177292"/>
              <a:gd name="connsiteY1" fmla="*/ 0 h 1879432"/>
              <a:gd name="connsiteX2" fmla="*/ 1177292 w 1177292"/>
              <a:gd name="connsiteY2" fmla="*/ 0 h 1879432"/>
              <a:gd name="connsiteX0" fmla="*/ 663 w 1177955"/>
              <a:gd name="connsiteY0" fmla="*/ 1879432 h 1879432"/>
              <a:gd name="connsiteX1" fmla="*/ 0 w 1177955"/>
              <a:gd name="connsiteY1" fmla="*/ 339432 h 1879432"/>
              <a:gd name="connsiteX2" fmla="*/ 663 w 1177955"/>
              <a:gd name="connsiteY2" fmla="*/ 0 h 1879432"/>
              <a:gd name="connsiteX3" fmla="*/ 1177955 w 1177955"/>
              <a:gd name="connsiteY3" fmla="*/ 0 h 1879432"/>
              <a:gd name="connsiteX0" fmla="*/ 0 w 1177955"/>
              <a:gd name="connsiteY0" fmla="*/ 339432 h 339432"/>
              <a:gd name="connsiteX1" fmla="*/ 663 w 1177955"/>
              <a:gd name="connsiteY1" fmla="*/ 0 h 339432"/>
              <a:gd name="connsiteX2" fmla="*/ 1177955 w 1177955"/>
              <a:gd name="connsiteY2" fmla="*/ 0 h 339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77955" h="339432">
                <a:moveTo>
                  <a:pt x="0" y="339432"/>
                </a:moveTo>
                <a:lnTo>
                  <a:pt x="663" y="0"/>
                </a:lnTo>
                <a:lnTo>
                  <a:pt x="1177955" y="0"/>
                </a:lnTo>
              </a:path>
            </a:pathLst>
          </a:custGeom>
          <a:ln w="28575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3" name="Rectangle 15">
            <a:extLst>
              <a:ext uri="{FF2B5EF4-FFF2-40B4-BE49-F238E27FC236}">
                <a16:creationId xmlns:a16="http://schemas.microsoft.com/office/drawing/2014/main" id="{7C0FD348-B333-527D-1672-67004907B714}"/>
              </a:ext>
            </a:extLst>
          </p:cNvPr>
          <p:cNvSpPr/>
          <p:nvPr/>
        </p:nvSpPr>
        <p:spPr>
          <a:xfrm rot="5400000">
            <a:off x="2979370" y="3770029"/>
            <a:ext cx="1184599" cy="623234"/>
          </a:xfrm>
          <a:custGeom>
            <a:avLst/>
            <a:gdLst>
              <a:gd name="connsiteX0" fmla="*/ 0 w 1177292"/>
              <a:gd name="connsiteY0" fmla="*/ 0 h 1879432"/>
              <a:gd name="connsiteX1" fmla="*/ 1177292 w 1177292"/>
              <a:gd name="connsiteY1" fmla="*/ 0 h 1879432"/>
              <a:gd name="connsiteX2" fmla="*/ 1177292 w 1177292"/>
              <a:gd name="connsiteY2" fmla="*/ 1879432 h 1879432"/>
              <a:gd name="connsiteX3" fmla="*/ 0 w 1177292"/>
              <a:gd name="connsiteY3" fmla="*/ 1879432 h 1879432"/>
              <a:gd name="connsiteX4" fmla="*/ 0 w 1177292"/>
              <a:gd name="connsiteY4" fmla="*/ 0 h 1879432"/>
              <a:gd name="connsiteX0" fmla="*/ 0 w 1177292"/>
              <a:gd name="connsiteY0" fmla="*/ 0 h 1879432"/>
              <a:gd name="connsiteX1" fmla="*/ 1177292 w 1177292"/>
              <a:gd name="connsiteY1" fmla="*/ 0 h 1879432"/>
              <a:gd name="connsiteX2" fmla="*/ 1171575 w 1177292"/>
              <a:gd name="connsiteY2" fmla="*/ 954208 h 1879432"/>
              <a:gd name="connsiteX3" fmla="*/ 1177292 w 1177292"/>
              <a:gd name="connsiteY3" fmla="*/ 1879432 h 1879432"/>
              <a:gd name="connsiteX4" fmla="*/ 0 w 1177292"/>
              <a:gd name="connsiteY4" fmla="*/ 1879432 h 1879432"/>
              <a:gd name="connsiteX5" fmla="*/ 0 w 1177292"/>
              <a:gd name="connsiteY5" fmla="*/ 0 h 1879432"/>
              <a:gd name="connsiteX0" fmla="*/ 1171575 w 1263015"/>
              <a:gd name="connsiteY0" fmla="*/ 954208 h 1879432"/>
              <a:gd name="connsiteX1" fmla="*/ 1177292 w 1263015"/>
              <a:gd name="connsiteY1" fmla="*/ 1879432 h 1879432"/>
              <a:gd name="connsiteX2" fmla="*/ 0 w 1263015"/>
              <a:gd name="connsiteY2" fmla="*/ 1879432 h 1879432"/>
              <a:gd name="connsiteX3" fmla="*/ 0 w 1263015"/>
              <a:gd name="connsiteY3" fmla="*/ 0 h 1879432"/>
              <a:gd name="connsiteX4" fmla="*/ 1177292 w 1263015"/>
              <a:gd name="connsiteY4" fmla="*/ 0 h 1879432"/>
              <a:gd name="connsiteX5" fmla="*/ 1263015 w 1263015"/>
              <a:gd name="connsiteY5" fmla="*/ 1045648 h 1879432"/>
              <a:gd name="connsiteX0" fmla="*/ 1171575 w 1177292"/>
              <a:gd name="connsiteY0" fmla="*/ 954208 h 1879432"/>
              <a:gd name="connsiteX1" fmla="*/ 1177292 w 1177292"/>
              <a:gd name="connsiteY1" fmla="*/ 1879432 h 1879432"/>
              <a:gd name="connsiteX2" fmla="*/ 0 w 1177292"/>
              <a:gd name="connsiteY2" fmla="*/ 1879432 h 1879432"/>
              <a:gd name="connsiteX3" fmla="*/ 0 w 1177292"/>
              <a:gd name="connsiteY3" fmla="*/ 0 h 1879432"/>
              <a:gd name="connsiteX4" fmla="*/ 1177292 w 1177292"/>
              <a:gd name="connsiteY4" fmla="*/ 0 h 1879432"/>
              <a:gd name="connsiteX0" fmla="*/ 1177292 w 1177292"/>
              <a:gd name="connsiteY0" fmla="*/ 1879432 h 1879432"/>
              <a:gd name="connsiteX1" fmla="*/ 0 w 1177292"/>
              <a:gd name="connsiteY1" fmla="*/ 1879432 h 1879432"/>
              <a:gd name="connsiteX2" fmla="*/ 0 w 1177292"/>
              <a:gd name="connsiteY2" fmla="*/ 0 h 1879432"/>
              <a:gd name="connsiteX3" fmla="*/ 1177292 w 1177292"/>
              <a:gd name="connsiteY3" fmla="*/ 0 h 1879432"/>
              <a:gd name="connsiteX0" fmla="*/ 0 w 1177292"/>
              <a:gd name="connsiteY0" fmla="*/ 1879432 h 1879432"/>
              <a:gd name="connsiteX1" fmla="*/ 0 w 1177292"/>
              <a:gd name="connsiteY1" fmla="*/ 0 h 1879432"/>
              <a:gd name="connsiteX2" fmla="*/ 1177292 w 1177292"/>
              <a:gd name="connsiteY2" fmla="*/ 0 h 1879432"/>
              <a:gd name="connsiteX0" fmla="*/ 663 w 1177955"/>
              <a:gd name="connsiteY0" fmla="*/ 1879432 h 1879432"/>
              <a:gd name="connsiteX1" fmla="*/ 0 w 1177955"/>
              <a:gd name="connsiteY1" fmla="*/ 339432 h 1879432"/>
              <a:gd name="connsiteX2" fmla="*/ 663 w 1177955"/>
              <a:gd name="connsiteY2" fmla="*/ 0 h 1879432"/>
              <a:gd name="connsiteX3" fmla="*/ 1177955 w 1177955"/>
              <a:gd name="connsiteY3" fmla="*/ 0 h 1879432"/>
              <a:gd name="connsiteX0" fmla="*/ 0 w 1177955"/>
              <a:gd name="connsiteY0" fmla="*/ 339432 h 339432"/>
              <a:gd name="connsiteX1" fmla="*/ 663 w 1177955"/>
              <a:gd name="connsiteY1" fmla="*/ 0 h 339432"/>
              <a:gd name="connsiteX2" fmla="*/ 1177955 w 1177955"/>
              <a:gd name="connsiteY2" fmla="*/ 0 h 339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77955" h="339432">
                <a:moveTo>
                  <a:pt x="0" y="339432"/>
                </a:moveTo>
                <a:lnTo>
                  <a:pt x="663" y="0"/>
                </a:lnTo>
                <a:lnTo>
                  <a:pt x="1177955" y="0"/>
                </a:lnTo>
              </a:path>
            </a:pathLst>
          </a:custGeom>
          <a:ln w="28575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9DF3E61-1873-1134-8187-AE879D965235}"/>
              </a:ext>
            </a:extLst>
          </p:cNvPr>
          <p:cNvGrpSpPr>
            <a:grpSpLocks noChangeAspect="1"/>
          </p:cNvGrpSpPr>
          <p:nvPr/>
        </p:nvGrpSpPr>
        <p:grpSpPr>
          <a:xfrm>
            <a:off x="2085862" y="2878388"/>
            <a:ext cx="1221902" cy="1221902"/>
            <a:chOff x="294317" y="3334459"/>
            <a:chExt cx="1534484" cy="1534484"/>
          </a:xfrm>
        </p:grpSpPr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43A9AE1F-0E72-3A49-8064-B70B0CAC2153}"/>
                </a:ext>
              </a:extLst>
            </p:cNvPr>
            <p:cNvSpPr/>
            <p:nvPr/>
          </p:nvSpPr>
          <p:spPr>
            <a:xfrm>
              <a:off x="294317" y="3334459"/>
              <a:ext cx="1534484" cy="1534484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2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D65A9A06-9C18-BE6A-F23D-53C2D77FFDF3}"/>
                </a:ext>
              </a:extLst>
            </p:cNvPr>
            <p:cNvSpPr/>
            <p:nvPr/>
          </p:nvSpPr>
          <p:spPr>
            <a:xfrm>
              <a:off x="395284" y="3435426"/>
              <a:ext cx="1332550" cy="133255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50" name="Donut 75">
              <a:extLst>
                <a:ext uri="{FF2B5EF4-FFF2-40B4-BE49-F238E27FC236}">
                  <a16:creationId xmlns:a16="http://schemas.microsoft.com/office/drawing/2014/main" id="{4F395DB1-1F36-FB29-52AF-C0092BFD8A25}"/>
                </a:ext>
              </a:extLst>
            </p:cNvPr>
            <p:cNvSpPr/>
            <p:nvPr/>
          </p:nvSpPr>
          <p:spPr>
            <a:xfrm>
              <a:off x="587211" y="3627353"/>
              <a:ext cx="948696" cy="948696"/>
            </a:xfrm>
            <a:prstGeom prst="donut">
              <a:avLst>
                <a:gd name="adj" fmla="val 4494"/>
              </a:avLst>
            </a:prstGeom>
            <a:solidFill>
              <a:schemeClr val="bg1">
                <a:alpha val="50000"/>
              </a:schemeClr>
            </a:solidFill>
            <a:ln>
              <a:noFill/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9ADA8DD2-0562-5917-42CB-44DF1193A5E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7658" y="3697800"/>
              <a:ext cx="807803" cy="80780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C8C98937-C8A4-DADA-D635-76E32223D3A4}"/>
              </a:ext>
            </a:extLst>
          </p:cNvPr>
          <p:cNvGrpSpPr>
            <a:grpSpLocks noChangeAspect="1"/>
          </p:cNvGrpSpPr>
          <p:nvPr/>
        </p:nvGrpSpPr>
        <p:grpSpPr>
          <a:xfrm>
            <a:off x="3403243" y="4620895"/>
            <a:ext cx="955309" cy="955309"/>
            <a:chOff x="294317" y="3334459"/>
            <a:chExt cx="1534484" cy="1534484"/>
          </a:xfrm>
        </p:grpSpPr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0E5EFA65-9A5E-DE03-54D1-BA72B9D10B18}"/>
                </a:ext>
              </a:extLst>
            </p:cNvPr>
            <p:cNvSpPr/>
            <p:nvPr/>
          </p:nvSpPr>
          <p:spPr>
            <a:xfrm>
              <a:off x="294317" y="3334459"/>
              <a:ext cx="1534484" cy="1534484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3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F5A72028-72D1-862C-56FE-962F26BC40FD}"/>
                </a:ext>
              </a:extLst>
            </p:cNvPr>
            <p:cNvSpPr/>
            <p:nvPr/>
          </p:nvSpPr>
          <p:spPr>
            <a:xfrm>
              <a:off x="395284" y="3435426"/>
              <a:ext cx="1332550" cy="133255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46" name="Donut 71">
              <a:extLst>
                <a:ext uri="{FF2B5EF4-FFF2-40B4-BE49-F238E27FC236}">
                  <a16:creationId xmlns:a16="http://schemas.microsoft.com/office/drawing/2014/main" id="{01E95B4F-5F6D-AB9D-D540-71CC71DE6244}"/>
                </a:ext>
              </a:extLst>
            </p:cNvPr>
            <p:cNvSpPr/>
            <p:nvPr/>
          </p:nvSpPr>
          <p:spPr>
            <a:xfrm>
              <a:off x="587211" y="3627353"/>
              <a:ext cx="948696" cy="948696"/>
            </a:xfrm>
            <a:prstGeom prst="donut">
              <a:avLst>
                <a:gd name="adj" fmla="val 4494"/>
              </a:avLst>
            </a:prstGeom>
            <a:solidFill>
              <a:schemeClr val="bg1">
                <a:alpha val="50000"/>
              </a:schemeClr>
            </a:solidFill>
            <a:ln>
              <a:noFill/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EEB3CB9E-E670-ED04-3D66-7BCC05F6C22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7658" y="3697800"/>
              <a:ext cx="807803" cy="80780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977ED71-8805-92AC-F799-5B1624A371E3}"/>
              </a:ext>
            </a:extLst>
          </p:cNvPr>
          <p:cNvGrpSpPr>
            <a:grpSpLocks noChangeAspect="1"/>
          </p:cNvGrpSpPr>
          <p:nvPr/>
        </p:nvGrpSpPr>
        <p:grpSpPr>
          <a:xfrm>
            <a:off x="1025976" y="4620895"/>
            <a:ext cx="955309" cy="955309"/>
            <a:chOff x="294317" y="3334459"/>
            <a:chExt cx="1534484" cy="1534484"/>
          </a:xfrm>
        </p:grpSpPr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11536646-1947-B0F1-6917-50C8BEADDCB2}"/>
                </a:ext>
              </a:extLst>
            </p:cNvPr>
            <p:cNvSpPr/>
            <p:nvPr/>
          </p:nvSpPr>
          <p:spPr>
            <a:xfrm>
              <a:off x="294317" y="3334459"/>
              <a:ext cx="1534484" cy="1534484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3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72A8F196-D452-7F0A-E8A4-6F0CF6689154}"/>
                </a:ext>
              </a:extLst>
            </p:cNvPr>
            <p:cNvSpPr/>
            <p:nvPr/>
          </p:nvSpPr>
          <p:spPr>
            <a:xfrm>
              <a:off x="395284" y="3435426"/>
              <a:ext cx="1332550" cy="133255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42" name="Donut 67">
              <a:extLst>
                <a:ext uri="{FF2B5EF4-FFF2-40B4-BE49-F238E27FC236}">
                  <a16:creationId xmlns:a16="http://schemas.microsoft.com/office/drawing/2014/main" id="{8E3B626F-C334-EE0F-9D81-A1134708154E}"/>
                </a:ext>
              </a:extLst>
            </p:cNvPr>
            <p:cNvSpPr/>
            <p:nvPr/>
          </p:nvSpPr>
          <p:spPr>
            <a:xfrm>
              <a:off x="587211" y="3627353"/>
              <a:ext cx="948696" cy="948696"/>
            </a:xfrm>
            <a:prstGeom prst="donut">
              <a:avLst>
                <a:gd name="adj" fmla="val 4494"/>
              </a:avLst>
            </a:prstGeom>
            <a:solidFill>
              <a:schemeClr val="bg1">
                <a:alpha val="50000"/>
              </a:schemeClr>
            </a:solidFill>
            <a:ln>
              <a:noFill/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A7D1BBF7-3C46-E2EF-C571-3E8BF33E3F8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7658" y="3697800"/>
              <a:ext cx="807803" cy="80780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17" name="Inhaltsplatzhalter 4">
            <a:extLst>
              <a:ext uri="{FF2B5EF4-FFF2-40B4-BE49-F238E27FC236}">
                <a16:creationId xmlns:a16="http://schemas.microsoft.com/office/drawing/2014/main" id="{FEF248B5-6749-AB5C-F0C1-084A4DE2FD6C}"/>
              </a:ext>
            </a:extLst>
          </p:cNvPr>
          <p:cNvSpPr txBox="1">
            <a:spLocks/>
          </p:cNvSpPr>
          <p:nvPr/>
        </p:nvSpPr>
        <p:spPr>
          <a:xfrm flipH="1">
            <a:off x="2031382" y="4201710"/>
            <a:ext cx="1330862" cy="32568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1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1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AME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ASTNAME</a:t>
            </a:r>
            <a:b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8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JOB POSITION</a:t>
            </a:r>
            <a:endParaRPr kumimoji="0" lang="en-US" sz="105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8" name="Inhaltsplatzhalter 4">
            <a:extLst>
              <a:ext uri="{FF2B5EF4-FFF2-40B4-BE49-F238E27FC236}">
                <a16:creationId xmlns:a16="http://schemas.microsoft.com/office/drawing/2014/main" id="{019F8C51-2074-FDC3-19B5-FB21C18C62F8}"/>
              </a:ext>
            </a:extLst>
          </p:cNvPr>
          <p:cNvSpPr txBox="1">
            <a:spLocks/>
          </p:cNvSpPr>
          <p:nvPr/>
        </p:nvSpPr>
        <p:spPr>
          <a:xfrm flipH="1">
            <a:off x="838200" y="5688332"/>
            <a:ext cx="1330862" cy="32568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1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1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AME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ASTNAME</a:t>
            </a:r>
            <a:b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8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JOB POSITION</a:t>
            </a:r>
            <a:endParaRPr kumimoji="0" lang="en-US" sz="105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9" name="Inhaltsplatzhalter 4">
            <a:extLst>
              <a:ext uri="{FF2B5EF4-FFF2-40B4-BE49-F238E27FC236}">
                <a16:creationId xmlns:a16="http://schemas.microsoft.com/office/drawing/2014/main" id="{E08C3B56-1B52-0993-3AFC-3C1C3C4896BC}"/>
              </a:ext>
            </a:extLst>
          </p:cNvPr>
          <p:cNvSpPr txBox="1">
            <a:spLocks/>
          </p:cNvSpPr>
          <p:nvPr/>
        </p:nvSpPr>
        <p:spPr>
          <a:xfrm flipH="1">
            <a:off x="3215467" y="5688332"/>
            <a:ext cx="1330862" cy="32568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1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1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AME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ASTNAME</a:t>
            </a:r>
            <a:b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8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JOB POSITION</a:t>
            </a:r>
            <a:endParaRPr kumimoji="0" lang="en-US" sz="105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0" name="Rectangle 15">
            <a:extLst>
              <a:ext uri="{FF2B5EF4-FFF2-40B4-BE49-F238E27FC236}">
                <a16:creationId xmlns:a16="http://schemas.microsoft.com/office/drawing/2014/main" id="{13B273F0-C555-D56D-E226-07179D2A3E4F}"/>
              </a:ext>
            </a:extLst>
          </p:cNvPr>
          <p:cNvSpPr/>
          <p:nvPr/>
        </p:nvSpPr>
        <p:spPr>
          <a:xfrm rot="5400000" flipV="1">
            <a:off x="8024101" y="3781653"/>
            <a:ext cx="1184600" cy="599983"/>
          </a:xfrm>
          <a:custGeom>
            <a:avLst/>
            <a:gdLst>
              <a:gd name="connsiteX0" fmla="*/ 0 w 1177292"/>
              <a:gd name="connsiteY0" fmla="*/ 0 h 1879432"/>
              <a:gd name="connsiteX1" fmla="*/ 1177292 w 1177292"/>
              <a:gd name="connsiteY1" fmla="*/ 0 h 1879432"/>
              <a:gd name="connsiteX2" fmla="*/ 1177292 w 1177292"/>
              <a:gd name="connsiteY2" fmla="*/ 1879432 h 1879432"/>
              <a:gd name="connsiteX3" fmla="*/ 0 w 1177292"/>
              <a:gd name="connsiteY3" fmla="*/ 1879432 h 1879432"/>
              <a:gd name="connsiteX4" fmla="*/ 0 w 1177292"/>
              <a:gd name="connsiteY4" fmla="*/ 0 h 1879432"/>
              <a:gd name="connsiteX0" fmla="*/ 0 w 1177292"/>
              <a:gd name="connsiteY0" fmla="*/ 0 h 1879432"/>
              <a:gd name="connsiteX1" fmla="*/ 1177292 w 1177292"/>
              <a:gd name="connsiteY1" fmla="*/ 0 h 1879432"/>
              <a:gd name="connsiteX2" fmla="*/ 1171575 w 1177292"/>
              <a:gd name="connsiteY2" fmla="*/ 954208 h 1879432"/>
              <a:gd name="connsiteX3" fmla="*/ 1177292 w 1177292"/>
              <a:gd name="connsiteY3" fmla="*/ 1879432 h 1879432"/>
              <a:gd name="connsiteX4" fmla="*/ 0 w 1177292"/>
              <a:gd name="connsiteY4" fmla="*/ 1879432 h 1879432"/>
              <a:gd name="connsiteX5" fmla="*/ 0 w 1177292"/>
              <a:gd name="connsiteY5" fmla="*/ 0 h 1879432"/>
              <a:gd name="connsiteX0" fmla="*/ 1171575 w 1263015"/>
              <a:gd name="connsiteY0" fmla="*/ 954208 h 1879432"/>
              <a:gd name="connsiteX1" fmla="*/ 1177292 w 1263015"/>
              <a:gd name="connsiteY1" fmla="*/ 1879432 h 1879432"/>
              <a:gd name="connsiteX2" fmla="*/ 0 w 1263015"/>
              <a:gd name="connsiteY2" fmla="*/ 1879432 h 1879432"/>
              <a:gd name="connsiteX3" fmla="*/ 0 w 1263015"/>
              <a:gd name="connsiteY3" fmla="*/ 0 h 1879432"/>
              <a:gd name="connsiteX4" fmla="*/ 1177292 w 1263015"/>
              <a:gd name="connsiteY4" fmla="*/ 0 h 1879432"/>
              <a:gd name="connsiteX5" fmla="*/ 1263015 w 1263015"/>
              <a:gd name="connsiteY5" fmla="*/ 1045648 h 1879432"/>
              <a:gd name="connsiteX0" fmla="*/ 1171575 w 1177292"/>
              <a:gd name="connsiteY0" fmla="*/ 954208 h 1879432"/>
              <a:gd name="connsiteX1" fmla="*/ 1177292 w 1177292"/>
              <a:gd name="connsiteY1" fmla="*/ 1879432 h 1879432"/>
              <a:gd name="connsiteX2" fmla="*/ 0 w 1177292"/>
              <a:gd name="connsiteY2" fmla="*/ 1879432 h 1879432"/>
              <a:gd name="connsiteX3" fmla="*/ 0 w 1177292"/>
              <a:gd name="connsiteY3" fmla="*/ 0 h 1879432"/>
              <a:gd name="connsiteX4" fmla="*/ 1177292 w 1177292"/>
              <a:gd name="connsiteY4" fmla="*/ 0 h 1879432"/>
              <a:gd name="connsiteX0" fmla="*/ 1177292 w 1177292"/>
              <a:gd name="connsiteY0" fmla="*/ 1879432 h 1879432"/>
              <a:gd name="connsiteX1" fmla="*/ 0 w 1177292"/>
              <a:gd name="connsiteY1" fmla="*/ 1879432 h 1879432"/>
              <a:gd name="connsiteX2" fmla="*/ 0 w 1177292"/>
              <a:gd name="connsiteY2" fmla="*/ 0 h 1879432"/>
              <a:gd name="connsiteX3" fmla="*/ 1177292 w 1177292"/>
              <a:gd name="connsiteY3" fmla="*/ 0 h 1879432"/>
              <a:gd name="connsiteX0" fmla="*/ 0 w 1177292"/>
              <a:gd name="connsiteY0" fmla="*/ 1879432 h 1879432"/>
              <a:gd name="connsiteX1" fmla="*/ 0 w 1177292"/>
              <a:gd name="connsiteY1" fmla="*/ 0 h 1879432"/>
              <a:gd name="connsiteX2" fmla="*/ 1177292 w 1177292"/>
              <a:gd name="connsiteY2" fmla="*/ 0 h 1879432"/>
              <a:gd name="connsiteX0" fmla="*/ 663 w 1177955"/>
              <a:gd name="connsiteY0" fmla="*/ 1879432 h 1879432"/>
              <a:gd name="connsiteX1" fmla="*/ 0 w 1177955"/>
              <a:gd name="connsiteY1" fmla="*/ 339432 h 1879432"/>
              <a:gd name="connsiteX2" fmla="*/ 663 w 1177955"/>
              <a:gd name="connsiteY2" fmla="*/ 0 h 1879432"/>
              <a:gd name="connsiteX3" fmla="*/ 1177955 w 1177955"/>
              <a:gd name="connsiteY3" fmla="*/ 0 h 1879432"/>
              <a:gd name="connsiteX0" fmla="*/ 0 w 1177955"/>
              <a:gd name="connsiteY0" fmla="*/ 339432 h 339432"/>
              <a:gd name="connsiteX1" fmla="*/ 663 w 1177955"/>
              <a:gd name="connsiteY1" fmla="*/ 0 h 339432"/>
              <a:gd name="connsiteX2" fmla="*/ 1177955 w 1177955"/>
              <a:gd name="connsiteY2" fmla="*/ 0 h 339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77955" h="339432">
                <a:moveTo>
                  <a:pt x="0" y="339432"/>
                </a:moveTo>
                <a:lnTo>
                  <a:pt x="663" y="0"/>
                </a:lnTo>
                <a:lnTo>
                  <a:pt x="1177955" y="0"/>
                </a:lnTo>
              </a:path>
            </a:pathLst>
          </a:custGeom>
          <a:ln w="28575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1" name="Rectangle 15">
            <a:extLst>
              <a:ext uri="{FF2B5EF4-FFF2-40B4-BE49-F238E27FC236}">
                <a16:creationId xmlns:a16="http://schemas.microsoft.com/office/drawing/2014/main" id="{765A1902-2FA7-D10E-02BF-2ECEB07EC833}"/>
              </a:ext>
            </a:extLst>
          </p:cNvPr>
          <p:cNvSpPr/>
          <p:nvPr/>
        </p:nvSpPr>
        <p:spPr>
          <a:xfrm rot="5400000">
            <a:off x="9786841" y="3770029"/>
            <a:ext cx="1184599" cy="623234"/>
          </a:xfrm>
          <a:custGeom>
            <a:avLst/>
            <a:gdLst>
              <a:gd name="connsiteX0" fmla="*/ 0 w 1177292"/>
              <a:gd name="connsiteY0" fmla="*/ 0 h 1879432"/>
              <a:gd name="connsiteX1" fmla="*/ 1177292 w 1177292"/>
              <a:gd name="connsiteY1" fmla="*/ 0 h 1879432"/>
              <a:gd name="connsiteX2" fmla="*/ 1177292 w 1177292"/>
              <a:gd name="connsiteY2" fmla="*/ 1879432 h 1879432"/>
              <a:gd name="connsiteX3" fmla="*/ 0 w 1177292"/>
              <a:gd name="connsiteY3" fmla="*/ 1879432 h 1879432"/>
              <a:gd name="connsiteX4" fmla="*/ 0 w 1177292"/>
              <a:gd name="connsiteY4" fmla="*/ 0 h 1879432"/>
              <a:gd name="connsiteX0" fmla="*/ 0 w 1177292"/>
              <a:gd name="connsiteY0" fmla="*/ 0 h 1879432"/>
              <a:gd name="connsiteX1" fmla="*/ 1177292 w 1177292"/>
              <a:gd name="connsiteY1" fmla="*/ 0 h 1879432"/>
              <a:gd name="connsiteX2" fmla="*/ 1171575 w 1177292"/>
              <a:gd name="connsiteY2" fmla="*/ 954208 h 1879432"/>
              <a:gd name="connsiteX3" fmla="*/ 1177292 w 1177292"/>
              <a:gd name="connsiteY3" fmla="*/ 1879432 h 1879432"/>
              <a:gd name="connsiteX4" fmla="*/ 0 w 1177292"/>
              <a:gd name="connsiteY4" fmla="*/ 1879432 h 1879432"/>
              <a:gd name="connsiteX5" fmla="*/ 0 w 1177292"/>
              <a:gd name="connsiteY5" fmla="*/ 0 h 1879432"/>
              <a:gd name="connsiteX0" fmla="*/ 1171575 w 1263015"/>
              <a:gd name="connsiteY0" fmla="*/ 954208 h 1879432"/>
              <a:gd name="connsiteX1" fmla="*/ 1177292 w 1263015"/>
              <a:gd name="connsiteY1" fmla="*/ 1879432 h 1879432"/>
              <a:gd name="connsiteX2" fmla="*/ 0 w 1263015"/>
              <a:gd name="connsiteY2" fmla="*/ 1879432 h 1879432"/>
              <a:gd name="connsiteX3" fmla="*/ 0 w 1263015"/>
              <a:gd name="connsiteY3" fmla="*/ 0 h 1879432"/>
              <a:gd name="connsiteX4" fmla="*/ 1177292 w 1263015"/>
              <a:gd name="connsiteY4" fmla="*/ 0 h 1879432"/>
              <a:gd name="connsiteX5" fmla="*/ 1263015 w 1263015"/>
              <a:gd name="connsiteY5" fmla="*/ 1045648 h 1879432"/>
              <a:gd name="connsiteX0" fmla="*/ 1171575 w 1177292"/>
              <a:gd name="connsiteY0" fmla="*/ 954208 h 1879432"/>
              <a:gd name="connsiteX1" fmla="*/ 1177292 w 1177292"/>
              <a:gd name="connsiteY1" fmla="*/ 1879432 h 1879432"/>
              <a:gd name="connsiteX2" fmla="*/ 0 w 1177292"/>
              <a:gd name="connsiteY2" fmla="*/ 1879432 h 1879432"/>
              <a:gd name="connsiteX3" fmla="*/ 0 w 1177292"/>
              <a:gd name="connsiteY3" fmla="*/ 0 h 1879432"/>
              <a:gd name="connsiteX4" fmla="*/ 1177292 w 1177292"/>
              <a:gd name="connsiteY4" fmla="*/ 0 h 1879432"/>
              <a:gd name="connsiteX0" fmla="*/ 1177292 w 1177292"/>
              <a:gd name="connsiteY0" fmla="*/ 1879432 h 1879432"/>
              <a:gd name="connsiteX1" fmla="*/ 0 w 1177292"/>
              <a:gd name="connsiteY1" fmla="*/ 1879432 h 1879432"/>
              <a:gd name="connsiteX2" fmla="*/ 0 w 1177292"/>
              <a:gd name="connsiteY2" fmla="*/ 0 h 1879432"/>
              <a:gd name="connsiteX3" fmla="*/ 1177292 w 1177292"/>
              <a:gd name="connsiteY3" fmla="*/ 0 h 1879432"/>
              <a:gd name="connsiteX0" fmla="*/ 0 w 1177292"/>
              <a:gd name="connsiteY0" fmla="*/ 1879432 h 1879432"/>
              <a:gd name="connsiteX1" fmla="*/ 0 w 1177292"/>
              <a:gd name="connsiteY1" fmla="*/ 0 h 1879432"/>
              <a:gd name="connsiteX2" fmla="*/ 1177292 w 1177292"/>
              <a:gd name="connsiteY2" fmla="*/ 0 h 1879432"/>
              <a:gd name="connsiteX0" fmla="*/ 663 w 1177955"/>
              <a:gd name="connsiteY0" fmla="*/ 1879432 h 1879432"/>
              <a:gd name="connsiteX1" fmla="*/ 0 w 1177955"/>
              <a:gd name="connsiteY1" fmla="*/ 339432 h 1879432"/>
              <a:gd name="connsiteX2" fmla="*/ 663 w 1177955"/>
              <a:gd name="connsiteY2" fmla="*/ 0 h 1879432"/>
              <a:gd name="connsiteX3" fmla="*/ 1177955 w 1177955"/>
              <a:gd name="connsiteY3" fmla="*/ 0 h 1879432"/>
              <a:gd name="connsiteX0" fmla="*/ 0 w 1177955"/>
              <a:gd name="connsiteY0" fmla="*/ 339432 h 339432"/>
              <a:gd name="connsiteX1" fmla="*/ 663 w 1177955"/>
              <a:gd name="connsiteY1" fmla="*/ 0 h 339432"/>
              <a:gd name="connsiteX2" fmla="*/ 1177955 w 1177955"/>
              <a:gd name="connsiteY2" fmla="*/ 0 h 339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77955" h="339432">
                <a:moveTo>
                  <a:pt x="0" y="339432"/>
                </a:moveTo>
                <a:lnTo>
                  <a:pt x="663" y="0"/>
                </a:lnTo>
                <a:lnTo>
                  <a:pt x="1177955" y="0"/>
                </a:lnTo>
              </a:path>
            </a:pathLst>
          </a:custGeom>
          <a:ln w="28575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2B419F04-5D57-857E-5AFA-79634656C0A6}"/>
              </a:ext>
            </a:extLst>
          </p:cNvPr>
          <p:cNvGrpSpPr>
            <a:grpSpLocks noChangeAspect="1"/>
          </p:cNvGrpSpPr>
          <p:nvPr/>
        </p:nvGrpSpPr>
        <p:grpSpPr>
          <a:xfrm>
            <a:off x="8893333" y="2878388"/>
            <a:ext cx="1221902" cy="1221902"/>
            <a:chOff x="294317" y="3334459"/>
            <a:chExt cx="1534484" cy="1534484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8B8A3B2D-DDB0-E4BD-8703-2ECE2FE4DDB7}"/>
                </a:ext>
              </a:extLst>
            </p:cNvPr>
            <p:cNvSpPr/>
            <p:nvPr/>
          </p:nvSpPr>
          <p:spPr>
            <a:xfrm>
              <a:off x="294317" y="3334459"/>
              <a:ext cx="1534484" cy="1534484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2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EADE57F2-E9D4-A834-1F65-90CD0D2FA74E}"/>
                </a:ext>
              </a:extLst>
            </p:cNvPr>
            <p:cNvSpPr/>
            <p:nvPr/>
          </p:nvSpPr>
          <p:spPr>
            <a:xfrm>
              <a:off x="395284" y="3435426"/>
              <a:ext cx="1332550" cy="133255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38" name="Donut 160">
              <a:extLst>
                <a:ext uri="{FF2B5EF4-FFF2-40B4-BE49-F238E27FC236}">
                  <a16:creationId xmlns:a16="http://schemas.microsoft.com/office/drawing/2014/main" id="{429A13F6-3A8F-6496-B5CE-FBD25282323A}"/>
                </a:ext>
              </a:extLst>
            </p:cNvPr>
            <p:cNvSpPr/>
            <p:nvPr/>
          </p:nvSpPr>
          <p:spPr>
            <a:xfrm>
              <a:off x="587211" y="3627353"/>
              <a:ext cx="948696" cy="948696"/>
            </a:xfrm>
            <a:prstGeom prst="donut">
              <a:avLst>
                <a:gd name="adj" fmla="val 4494"/>
              </a:avLst>
            </a:prstGeom>
            <a:solidFill>
              <a:schemeClr val="bg1">
                <a:alpha val="50000"/>
              </a:schemeClr>
            </a:solidFill>
            <a:ln>
              <a:noFill/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97C41608-057D-402E-D0EF-ACF290F1B42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7658" y="3697800"/>
              <a:ext cx="807803" cy="80780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0E6B8772-1929-877B-3C9C-0F8BF847538B}"/>
              </a:ext>
            </a:extLst>
          </p:cNvPr>
          <p:cNvGrpSpPr>
            <a:grpSpLocks noChangeAspect="1"/>
          </p:cNvGrpSpPr>
          <p:nvPr/>
        </p:nvGrpSpPr>
        <p:grpSpPr>
          <a:xfrm>
            <a:off x="10210714" y="4620895"/>
            <a:ext cx="955309" cy="955309"/>
            <a:chOff x="294317" y="3334459"/>
            <a:chExt cx="1534484" cy="1534484"/>
          </a:xfrm>
        </p:grpSpPr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41AE115C-8A2D-DF8B-4BBF-685420999981}"/>
                </a:ext>
              </a:extLst>
            </p:cNvPr>
            <p:cNvSpPr/>
            <p:nvPr/>
          </p:nvSpPr>
          <p:spPr>
            <a:xfrm>
              <a:off x="294317" y="3334459"/>
              <a:ext cx="1534484" cy="1534484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3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362FDA06-ED5F-975D-8DC5-2F3890A86BEB}"/>
                </a:ext>
              </a:extLst>
            </p:cNvPr>
            <p:cNvSpPr/>
            <p:nvPr/>
          </p:nvSpPr>
          <p:spPr>
            <a:xfrm>
              <a:off x="395284" y="3435426"/>
              <a:ext cx="1332550" cy="133255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34" name="Donut 156">
              <a:extLst>
                <a:ext uri="{FF2B5EF4-FFF2-40B4-BE49-F238E27FC236}">
                  <a16:creationId xmlns:a16="http://schemas.microsoft.com/office/drawing/2014/main" id="{97A98DA3-5998-228A-8409-F63A2A508E4F}"/>
                </a:ext>
              </a:extLst>
            </p:cNvPr>
            <p:cNvSpPr/>
            <p:nvPr/>
          </p:nvSpPr>
          <p:spPr>
            <a:xfrm>
              <a:off x="587211" y="3627353"/>
              <a:ext cx="948696" cy="948696"/>
            </a:xfrm>
            <a:prstGeom prst="donut">
              <a:avLst>
                <a:gd name="adj" fmla="val 4494"/>
              </a:avLst>
            </a:prstGeom>
            <a:solidFill>
              <a:schemeClr val="bg1">
                <a:alpha val="50000"/>
              </a:schemeClr>
            </a:solidFill>
            <a:ln>
              <a:noFill/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892A35C5-14C7-A08B-FB2F-10865EC9D87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7658" y="3697800"/>
              <a:ext cx="807803" cy="80780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834FF701-430E-6229-47D3-B655A41F42E8}"/>
              </a:ext>
            </a:extLst>
          </p:cNvPr>
          <p:cNvGrpSpPr>
            <a:grpSpLocks noChangeAspect="1"/>
          </p:cNvGrpSpPr>
          <p:nvPr/>
        </p:nvGrpSpPr>
        <p:grpSpPr>
          <a:xfrm>
            <a:off x="7833447" y="4620895"/>
            <a:ext cx="955309" cy="955309"/>
            <a:chOff x="294317" y="3334459"/>
            <a:chExt cx="1534484" cy="1534484"/>
          </a:xfrm>
        </p:grpSpPr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A2A20B47-E849-CDCF-2588-332EEAA6CAE7}"/>
                </a:ext>
              </a:extLst>
            </p:cNvPr>
            <p:cNvSpPr/>
            <p:nvPr/>
          </p:nvSpPr>
          <p:spPr>
            <a:xfrm>
              <a:off x="294317" y="3334459"/>
              <a:ext cx="1534484" cy="1534484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3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00CCDF09-3CE7-F3B0-B0DD-A35149CD1676}"/>
                </a:ext>
              </a:extLst>
            </p:cNvPr>
            <p:cNvSpPr/>
            <p:nvPr/>
          </p:nvSpPr>
          <p:spPr>
            <a:xfrm>
              <a:off x="395284" y="3435426"/>
              <a:ext cx="1332550" cy="133255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30" name="Donut 152">
              <a:extLst>
                <a:ext uri="{FF2B5EF4-FFF2-40B4-BE49-F238E27FC236}">
                  <a16:creationId xmlns:a16="http://schemas.microsoft.com/office/drawing/2014/main" id="{2AD8092F-C7C9-5FA9-BC75-236147798F41}"/>
                </a:ext>
              </a:extLst>
            </p:cNvPr>
            <p:cNvSpPr/>
            <p:nvPr/>
          </p:nvSpPr>
          <p:spPr>
            <a:xfrm>
              <a:off x="587211" y="3627353"/>
              <a:ext cx="948696" cy="948696"/>
            </a:xfrm>
            <a:prstGeom prst="donut">
              <a:avLst>
                <a:gd name="adj" fmla="val 4494"/>
              </a:avLst>
            </a:prstGeom>
            <a:solidFill>
              <a:schemeClr val="bg1">
                <a:alpha val="50000"/>
              </a:schemeClr>
            </a:solidFill>
            <a:ln>
              <a:noFill/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1ABEC442-78DE-9537-F630-6F9F4A3AEB3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7658" y="3697800"/>
              <a:ext cx="807803" cy="80780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25" name="Inhaltsplatzhalter 4">
            <a:extLst>
              <a:ext uri="{FF2B5EF4-FFF2-40B4-BE49-F238E27FC236}">
                <a16:creationId xmlns:a16="http://schemas.microsoft.com/office/drawing/2014/main" id="{44847B56-4201-1ED8-5E5E-28AAB114C389}"/>
              </a:ext>
            </a:extLst>
          </p:cNvPr>
          <p:cNvSpPr txBox="1">
            <a:spLocks/>
          </p:cNvSpPr>
          <p:nvPr/>
        </p:nvSpPr>
        <p:spPr>
          <a:xfrm flipH="1">
            <a:off x="8838853" y="4201710"/>
            <a:ext cx="1330862" cy="32568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1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1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AME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ASTNAME</a:t>
            </a:r>
            <a:b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8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JOB POSITION</a:t>
            </a:r>
            <a:endParaRPr kumimoji="0" lang="en-US" sz="105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6" name="Inhaltsplatzhalter 4">
            <a:extLst>
              <a:ext uri="{FF2B5EF4-FFF2-40B4-BE49-F238E27FC236}">
                <a16:creationId xmlns:a16="http://schemas.microsoft.com/office/drawing/2014/main" id="{539923D2-4A32-408A-95B5-73D735438317}"/>
              </a:ext>
            </a:extLst>
          </p:cNvPr>
          <p:cNvSpPr txBox="1">
            <a:spLocks/>
          </p:cNvSpPr>
          <p:nvPr/>
        </p:nvSpPr>
        <p:spPr>
          <a:xfrm flipH="1">
            <a:off x="7645671" y="5688332"/>
            <a:ext cx="1330862" cy="32568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1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1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AME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ASTNAME</a:t>
            </a:r>
            <a:b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8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JOB POSITION</a:t>
            </a:r>
            <a:endParaRPr kumimoji="0" lang="en-US" sz="105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7" name="Inhaltsplatzhalter 4">
            <a:extLst>
              <a:ext uri="{FF2B5EF4-FFF2-40B4-BE49-F238E27FC236}">
                <a16:creationId xmlns:a16="http://schemas.microsoft.com/office/drawing/2014/main" id="{767FA99F-BCBA-68D4-0795-4B9FDFBC9719}"/>
              </a:ext>
            </a:extLst>
          </p:cNvPr>
          <p:cNvSpPr txBox="1">
            <a:spLocks/>
          </p:cNvSpPr>
          <p:nvPr/>
        </p:nvSpPr>
        <p:spPr>
          <a:xfrm flipH="1">
            <a:off x="10022938" y="5688332"/>
            <a:ext cx="1330862" cy="32568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1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1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AME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ASTNAME</a:t>
            </a:r>
            <a:b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8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JOB POSITION</a:t>
            </a:r>
            <a:endParaRPr kumimoji="0" lang="en-US" sz="105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67447516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D42A5E-F4EB-0115-C805-DC2A4E4694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1415C62-A9F5-C791-19FD-05257BDBE22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5789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421FF05-0F62-C487-F719-F42DBE853D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Org. char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9329ECF-8096-ED60-B114-751E406DAA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79</a:t>
            </a:fld>
            <a:endParaRPr lang="en-US" dirty="0"/>
          </a:p>
        </p:txBody>
      </p:sp>
      <p:cxnSp>
        <p:nvCxnSpPr>
          <p:cNvPr id="8" name="Shape1_20180410_101726">
            <a:extLst>
              <a:ext uri="{FF2B5EF4-FFF2-40B4-BE49-F238E27FC236}">
                <a16:creationId xmlns:a16="http://schemas.microsoft.com/office/drawing/2014/main" id="{1CCD037E-E4F0-3972-6F34-CABA5F442555}"/>
              </a:ext>
            </a:extLst>
          </p:cNvPr>
          <p:cNvCxnSpPr>
            <a:cxnSpLocks/>
            <a:stCxn id="11" idx="2"/>
            <a:endCxn id="28" idx="1"/>
          </p:cNvCxnSpPr>
          <p:nvPr/>
        </p:nvCxnSpPr>
        <p:spPr>
          <a:xfrm rot="16200000" flipH="1">
            <a:off x="6119977" y="1895897"/>
            <a:ext cx="477244" cy="525195"/>
          </a:xfrm>
          <a:prstGeom prst="bentConnector2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hape2_20180410_100415">
            <a:extLst>
              <a:ext uri="{FF2B5EF4-FFF2-40B4-BE49-F238E27FC236}">
                <a16:creationId xmlns:a16="http://schemas.microsoft.com/office/drawing/2014/main" id="{EEB6F3E8-A1DD-59DF-3685-3DE5DE9CCCB0}"/>
              </a:ext>
            </a:extLst>
          </p:cNvPr>
          <p:cNvSpPr/>
          <p:nvPr/>
        </p:nvSpPr>
        <p:spPr>
          <a:xfrm rot="16200000">
            <a:off x="5681909" y="-6027"/>
            <a:ext cx="828185" cy="3023614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33" dirty="0">
              <a:solidFill>
                <a:schemeClr val="bg1"/>
              </a:solidFill>
            </a:endParaRPr>
          </a:p>
        </p:txBody>
      </p:sp>
      <p:sp>
        <p:nvSpPr>
          <p:cNvPr id="10" name="Shape1_20180504_125433">
            <a:extLst>
              <a:ext uri="{FF2B5EF4-FFF2-40B4-BE49-F238E27FC236}">
                <a16:creationId xmlns:a16="http://schemas.microsoft.com/office/drawing/2014/main" id="{82DEC31B-D41F-56D8-C2A3-D151C2679F8C}"/>
              </a:ext>
            </a:extLst>
          </p:cNvPr>
          <p:cNvSpPr txBox="1"/>
          <p:nvPr/>
        </p:nvSpPr>
        <p:spPr>
          <a:xfrm>
            <a:off x="5491516" y="1259560"/>
            <a:ext cx="1976057" cy="49244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685766"/>
            <a:r>
              <a:rPr lang="en-US" sz="1600" b="1" dirty="0">
                <a:solidFill>
                  <a:schemeClr val="bg1"/>
                </a:solidFill>
              </a:rPr>
              <a:t>Insert name</a:t>
            </a:r>
          </a:p>
          <a:p>
            <a:pPr defTabSz="685766"/>
            <a:r>
              <a:rPr lang="en-US" sz="1600" b="1" i="1" dirty="0">
                <a:solidFill>
                  <a:schemeClr val="bg1"/>
                </a:solidFill>
              </a:rPr>
              <a:t>Insert designation</a:t>
            </a:r>
            <a:endParaRPr lang="en-US" sz="1600" i="1" dirty="0">
              <a:solidFill>
                <a:schemeClr val="bg1"/>
              </a:solidFill>
            </a:endParaRPr>
          </a:p>
        </p:txBody>
      </p:sp>
      <p:sp>
        <p:nvSpPr>
          <p:cNvPr id="11" name="Shape2_20180504_125433">
            <a:extLst>
              <a:ext uri="{FF2B5EF4-FFF2-40B4-BE49-F238E27FC236}">
                <a16:creationId xmlns:a16="http://schemas.microsoft.com/office/drawing/2014/main" id="{5EB352D0-60DC-8723-9E39-A6B49894B37A}"/>
              </a:ext>
            </a:extLst>
          </p:cNvPr>
          <p:cNvSpPr/>
          <p:nvPr/>
        </p:nvSpPr>
        <p:spPr>
          <a:xfrm>
            <a:off x="6023192" y="1731779"/>
            <a:ext cx="145616" cy="1880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050">
              <a:solidFill>
                <a:schemeClr val="bg1"/>
              </a:solidFill>
            </a:endParaRPr>
          </a:p>
        </p:txBody>
      </p:sp>
      <p:sp>
        <p:nvSpPr>
          <p:cNvPr id="12" name="Shape3_20180504_125433">
            <a:extLst>
              <a:ext uri="{FF2B5EF4-FFF2-40B4-BE49-F238E27FC236}">
                <a16:creationId xmlns:a16="http://schemas.microsoft.com/office/drawing/2014/main" id="{ECB7BCF2-9219-0A7E-023A-C238F5BD09A2}"/>
              </a:ext>
            </a:extLst>
          </p:cNvPr>
          <p:cNvSpPr/>
          <p:nvPr/>
        </p:nvSpPr>
        <p:spPr>
          <a:xfrm>
            <a:off x="6023192" y="2467137"/>
            <a:ext cx="145616" cy="1880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050">
              <a:solidFill>
                <a:schemeClr val="bg1"/>
              </a:solidFill>
            </a:endParaRPr>
          </a:p>
        </p:txBody>
      </p:sp>
      <p:cxnSp>
        <p:nvCxnSpPr>
          <p:cNvPr id="13" name="Shape3_20180410_101726">
            <a:extLst>
              <a:ext uri="{FF2B5EF4-FFF2-40B4-BE49-F238E27FC236}">
                <a16:creationId xmlns:a16="http://schemas.microsoft.com/office/drawing/2014/main" id="{796D22D2-D936-08ED-EB96-275DD0A86035}"/>
              </a:ext>
            </a:extLst>
          </p:cNvPr>
          <p:cNvCxnSpPr>
            <a:cxnSpLocks/>
            <a:stCxn id="12" idx="2"/>
            <a:endCxn id="38" idx="0"/>
          </p:cNvCxnSpPr>
          <p:nvPr/>
        </p:nvCxnSpPr>
        <p:spPr>
          <a:xfrm rot="5400000">
            <a:off x="3490861" y="689247"/>
            <a:ext cx="639154" cy="4571124"/>
          </a:xfrm>
          <a:prstGeom prst="bentConnector3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hape4_20180410_101726">
            <a:extLst>
              <a:ext uri="{FF2B5EF4-FFF2-40B4-BE49-F238E27FC236}">
                <a16:creationId xmlns:a16="http://schemas.microsoft.com/office/drawing/2014/main" id="{72181681-F230-93C8-2860-3238D234A000}"/>
              </a:ext>
            </a:extLst>
          </p:cNvPr>
          <p:cNvCxnSpPr>
            <a:cxnSpLocks/>
            <a:stCxn id="12" idx="2"/>
            <a:endCxn id="50" idx="0"/>
          </p:cNvCxnSpPr>
          <p:nvPr/>
        </p:nvCxnSpPr>
        <p:spPr>
          <a:xfrm rot="5400000">
            <a:off x="4633642" y="1832028"/>
            <a:ext cx="639154" cy="2285562"/>
          </a:xfrm>
          <a:prstGeom prst="bentConnector3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hape5_20180410_101726">
            <a:extLst>
              <a:ext uri="{FF2B5EF4-FFF2-40B4-BE49-F238E27FC236}">
                <a16:creationId xmlns:a16="http://schemas.microsoft.com/office/drawing/2014/main" id="{D3855BE6-2B9E-7971-0E6E-E08961580FB4}"/>
              </a:ext>
            </a:extLst>
          </p:cNvPr>
          <p:cNvCxnSpPr>
            <a:cxnSpLocks/>
            <a:stCxn id="12" idx="2"/>
            <a:endCxn id="41" idx="0"/>
          </p:cNvCxnSpPr>
          <p:nvPr/>
        </p:nvCxnSpPr>
        <p:spPr>
          <a:xfrm>
            <a:off x="6096000" y="2655232"/>
            <a:ext cx="0" cy="639154"/>
          </a:xfrm>
          <a:prstGeom prst="straightConnector1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hape6_20180410_101726">
            <a:extLst>
              <a:ext uri="{FF2B5EF4-FFF2-40B4-BE49-F238E27FC236}">
                <a16:creationId xmlns:a16="http://schemas.microsoft.com/office/drawing/2014/main" id="{5F324262-C7B6-F92A-8B86-F5249AA3CF81}"/>
              </a:ext>
            </a:extLst>
          </p:cNvPr>
          <p:cNvCxnSpPr>
            <a:cxnSpLocks/>
            <a:stCxn id="12" idx="2"/>
            <a:endCxn id="44" idx="0"/>
          </p:cNvCxnSpPr>
          <p:nvPr/>
        </p:nvCxnSpPr>
        <p:spPr>
          <a:xfrm rot="16200000" flipH="1">
            <a:off x="6919204" y="1832028"/>
            <a:ext cx="639154" cy="2285562"/>
          </a:xfrm>
          <a:prstGeom prst="bentConnector3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hape0_20180410_101726">
            <a:extLst>
              <a:ext uri="{FF2B5EF4-FFF2-40B4-BE49-F238E27FC236}">
                <a16:creationId xmlns:a16="http://schemas.microsoft.com/office/drawing/2014/main" id="{76DCC78B-5496-AEE7-8586-3B95A6254DA6}"/>
              </a:ext>
            </a:extLst>
          </p:cNvPr>
          <p:cNvCxnSpPr>
            <a:cxnSpLocks/>
            <a:stCxn id="12" idx="2"/>
            <a:endCxn id="47" idx="0"/>
          </p:cNvCxnSpPr>
          <p:nvPr/>
        </p:nvCxnSpPr>
        <p:spPr>
          <a:xfrm rot="16200000" flipH="1">
            <a:off x="8061985" y="689247"/>
            <a:ext cx="639154" cy="4571124"/>
          </a:xfrm>
          <a:prstGeom prst="bentConnector3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hape7_20180410_101726">
            <a:extLst>
              <a:ext uri="{FF2B5EF4-FFF2-40B4-BE49-F238E27FC236}">
                <a16:creationId xmlns:a16="http://schemas.microsoft.com/office/drawing/2014/main" id="{71D55394-AC6A-57E9-E534-9815244257DB}"/>
              </a:ext>
            </a:extLst>
          </p:cNvPr>
          <p:cNvCxnSpPr>
            <a:stCxn id="51" idx="2"/>
            <a:endCxn id="35" idx="3"/>
          </p:cNvCxnSpPr>
          <p:nvPr/>
        </p:nvCxnSpPr>
        <p:spPr>
          <a:xfrm rot="5400000">
            <a:off x="3366553" y="4314382"/>
            <a:ext cx="675895" cy="211880"/>
          </a:xfrm>
          <a:prstGeom prst="bentConnector2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hape8_20180410_101726">
            <a:extLst>
              <a:ext uri="{FF2B5EF4-FFF2-40B4-BE49-F238E27FC236}">
                <a16:creationId xmlns:a16="http://schemas.microsoft.com/office/drawing/2014/main" id="{F02BABB8-0D6B-ED17-51C1-24A0CDDF72FC}"/>
              </a:ext>
            </a:extLst>
          </p:cNvPr>
          <p:cNvCxnSpPr>
            <a:cxnSpLocks/>
            <a:stCxn id="51" idx="2"/>
            <a:endCxn id="30" idx="1"/>
          </p:cNvCxnSpPr>
          <p:nvPr/>
        </p:nvCxnSpPr>
        <p:spPr>
          <a:xfrm rot="16200000" flipH="1">
            <a:off x="3571769" y="4321046"/>
            <a:ext cx="675895" cy="198552"/>
          </a:xfrm>
          <a:prstGeom prst="bentConnector2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hape9_20180410_101726">
            <a:extLst>
              <a:ext uri="{FF2B5EF4-FFF2-40B4-BE49-F238E27FC236}">
                <a16:creationId xmlns:a16="http://schemas.microsoft.com/office/drawing/2014/main" id="{188CEB75-65EF-FDED-7C20-7E79D724BFCE}"/>
              </a:ext>
            </a:extLst>
          </p:cNvPr>
          <p:cNvCxnSpPr>
            <a:cxnSpLocks/>
            <a:stCxn id="22" idx="3"/>
            <a:endCxn id="29" idx="1"/>
          </p:cNvCxnSpPr>
          <p:nvPr/>
        </p:nvCxnSpPr>
        <p:spPr>
          <a:xfrm flipV="1">
            <a:off x="5092490" y="5152264"/>
            <a:ext cx="0" cy="281899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hape10_20180410_101726">
            <a:extLst>
              <a:ext uri="{FF2B5EF4-FFF2-40B4-BE49-F238E27FC236}">
                <a16:creationId xmlns:a16="http://schemas.microsoft.com/office/drawing/2014/main" id="{7D7F7886-DD19-724F-8C0A-4F4C713DF1BC}"/>
              </a:ext>
            </a:extLst>
          </p:cNvPr>
          <p:cNvCxnSpPr>
            <a:cxnSpLocks/>
            <a:stCxn id="12" idx="2"/>
            <a:endCxn id="11" idx="2"/>
          </p:cNvCxnSpPr>
          <p:nvPr/>
        </p:nvCxnSpPr>
        <p:spPr>
          <a:xfrm flipV="1">
            <a:off x="6096000" y="1919874"/>
            <a:ext cx="0" cy="735357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Shape2_20180410_114600">
            <a:extLst>
              <a:ext uri="{FF2B5EF4-FFF2-40B4-BE49-F238E27FC236}">
                <a16:creationId xmlns:a16="http://schemas.microsoft.com/office/drawing/2014/main" id="{321787B3-895D-4556-5B74-E4459409F1D5}"/>
              </a:ext>
            </a:extLst>
          </p:cNvPr>
          <p:cNvSpPr/>
          <p:nvPr/>
        </p:nvSpPr>
        <p:spPr>
          <a:xfrm rot="16200000">
            <a:off x="4698494" y="4744661"/>
            <a:ext cx="787989" cy="216699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23" name="Shape4_20180504_125433">
            <a:extLst>
              <a:ext uri="{FF2B5EF4-FFF2-40B4-BE49-F238E27FC236}">
                <a16:creationId xmlns:a16="http://schemas.microsoft.com/office/drawing/2014/main" id="{8B0C2E72-6F41-3CDA-4A77-9956167FBA3C}"/>
              </a:ext>
            </a:extLst>
          </p:cNvPr>
          <p:cNvSpPr txBox="1"/>
          <p:nvPr/>
        </p:nvSpPr>
        <p:spPr>
          <a:xfrm>
            <a:off x="4769634" y="5666576"/>
            <a:ext cx="1295397" cy="32316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685766"/>
            <a:r>
              <a:rPr lang="en-US" sz="1050" b="1" dirty="0">
                <a:solidFill>
                  <a:schemeClr val="bg1"/>
                </a:solidFill>
              </a:rPr>
              <a:t>Insert name</a:t>
            </a:r>
          </a:p>
          <a:p>
            <a:pPr defTabSz="685766"/>
            <a:r>
              <a:rPr lang="en-US" sz="1050" b="1" i="1" dirty="0">
                <a:solidFill>
                  <a:schemeClr val="bg1"/>
                </a:solidFill>
              </a:rPr>
              <a:t>Insert designation</a:t>
            </a:r>
            <a:endParaRPr lang="en-US" sz="1050" i="1" dirty="0">
              <a:solidFill>
                <a:schemeClr val="bg1"/>
              </a:solidFill>
            </a:endParaRPr>
          </a:p>
        </p:txBody>
      </p:sp>
      <p:sp>
        <p:nvSpPr>
          <p:cNvPr id="24" name="Shape5_20180504_125433">
            <a:extLst>
              <a:ext uri="{FF2B5EF4-FFF2-40B4-BE49-F238E27FC236}">
                <a16:creationId xmlns:a16="http://schemas.microsoft.com/office/drawing/2014/main" id="{46C9B7DF-2F26-ACBD-D972-2C3B61B3489F}"/>
              </a:ext>
            </a:extLst>
          </p:cNvPr>
          <p:cNvSpPr/>
          <p:nvPr/>
        </p:nvSpPr>
        <p:spPr>
          <a:xfrm>
            <a:off x="5019679" y="5434162"/>
            <a:ext cx="145616" cy="1880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050">
              <a:solidFill>
                <a:schemeClr val="bg1"/>
              </a:solidFill>
            </a:endParaRPr>
          </a:p>
        </p:txBody>
      </p:sp>
      <p:cxnSp>
        <p:nvCxnSpPr>
          <p:cNvPr id="25" name="Shape2_20180410_101726">
            <a:extLst>
              <a:ext uri="{FF2B5EF4-FFF2-40B4-BE49-F238E27FC236}">
                <a16:creationId xmlns:a16="http://schemas.microsoft.com/office/drawing/2014/main" id="{2855E4D3-DBEA-EF3C-104F-5A8C1CCBA63C}"/>
              </a:ext>
            </a:extLst>
          </p:cNvPr>
          <p:cNvCxnSpPr/>
          <p:nvPr/>
        </p:nvCxnSpPr>
        <p:spPr>
          <a:xfrm>
            <a:off x="6326251" y="2378499"/>
            <a:ext cx="0" cy="0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Shape4_20180410_114600">
            <a:extLst>
              <a:ext uri="{FF2B5EF4-FFF2-40B4-BE49-F238E27FC236}">
                <a16:creationId xmlns:a16="http://schemas.microsoft.com/office/drawing/2014/main" id="{641FFA77-3551-8E98-DF90-1FD7DE68DEDF}"/>
              </a:ext>
            </a:extLst>
          </p:cNvPr>
          <p:cNvSpPr/>
          <p:nvPr/>
        </p:nvSpPr>
        <p:spPr>
          <a:xfrm rot="16200000">
            <a:off x="7310698" y="1313621"/>
            <a:ext cx="787989" cy="216699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050" dirty="0">
              <a:solidFill>
                <a:schemeClr val="bg1"/>
              </a:solidFill>
            </a:endParaRPr>
          </a:p>
        </p:txBody>
      </p:sp>
      <p:sp>
        <p:nvSpPr>
          <p:cNvPr id="27" name="Shape6_20180504_125433">
            <a:extLst>
              <a:ext uri="{FF2B5EF4-FFF2-40B4-BE49-F238E27FC236}">
                <a16:creationId xmlns:a16="http://schemas.microsoft.com/office/drawing/2014/main" id="{7EC44014-6754-6099-C54E-6A58ABC62F8C}"/>
              </a:ext>
            </a:extLst>
          </p:cNvPr>
          <p:cNvSpPr txBox="1"/>
          <p:nvPr/>
        </p:nvSpPr>
        <p:spPr>
          <a:xfrm>
            <a:off x="7381841" y="2235535"/>
            <a:ext cx="1295397" cy="32316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685766"/>
            <a:r>
              <a:rPr lang="en-US" sz="1050" b="1" dirty="0">
                <a:solidFill>
                  <a:schemeClr val="bg1"/>
                </a:solidFill>
              </a:rPr>
              <a:t>Insert name</a:t>
            </a:r>
          </a:p>
          <a:p>
            <a:pPr defTabSz="685766"/>
            <a:r>
              <a:rPr lang="en-US" sz="1050" b="1" i="1" dirty="0">
                <a:solidFill>
                  <a:schemeClr val="bg1"/>
                </a:solidFill>
              </a:rPr>
              <a:t>Insert designation</a:t>
            </a:r>
            <a:endParaRPr lang="en-US" sz="1050" i="1" dirty="0">
              <a:solidFill>
                <a:schemeClr val="bg1"/>
              </a:solidFill>
            </a:endParaRPr>
          </a:p>
        </p:txBody>
      </p:sp>
      <p:sp>
        <p:nvSpPr>
          <p:cNvPr id="28" name="Shape7_20180504_125433">
            <a:extLst>
              <a:ext uri="{FF2B5EF4-FFF2-40B4-BE49-F238E27FC236}">
                <a16:creationId xmlns:a16="http://schemas.microsoft.com/office/drawing/2014/main" id="{D3C31017-B636-5BE4-BE2D-7DC7300573A8}"/>
              </a:ext>
            </a:extLst>
          </p:cNvPr>
          <p:cNvSpPr/>
          <p:nvPr/>
        </p:nvSpPr>
        <p:spPr>
          <a:xfrm>
            <a:off x="6621195" y="2303070"/>
            <a:ext cx="145616" cy="1880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050">
              <a:solidFill>
                <a:schemeClr val="bg1"/>
              </a:solidFill>
            </a:endParaRPr>
          </a:p>
        </p:txBody>
      </p:sp>
      <p:sp>
        <p:nvSpPr>
          <p:cNvPr id="29" name="Shape6_20180410_114600">
            <a:extLst>
              <a:ext uri="{FF2B5EF4-FFF2-40B4-BE49-F238E27FC236}">
                <a16:creationId xmlns:a16="http://schemas.microsoft.com/office/drawing/2014/main" id="{B587839D-489B-9C67-9A17-4F9E3077DE1E}"/>
              </a:ext>
            </a:extLst>
          </p:cNvPr>
          <p:cNvSpPr/>
          <p:nvPr/>
        </p:nvSpPr>
        <p:spPr>
          <a:xfrm rot="16200000">
            <a:off x="4698494" y="3674773"/>
            <a:ext cx="787989" cy="216699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050">
              <a:solidFill>
                <a:schemeClr val="bg1"/>
              </a:solidFill>
            </a:endParaRPr>
          </a:p>
        </p:txBody>
      </p:sp>
      <p:sp>
        <p:nvSpPr>
          <p:cNvPr id="30" name="Shape8_20180504_125433">
            <a:extLst>
              <a:ext uri="{FF2B5EF4-FFF2-40B4-BE49-F238E27FC236}">
                <a16:creationId xmlns:a16="http://schemas.microsoft.com/office/drawing/2014/main" id="{B25D7CA4-AC78-0919-5760-8BBB60398EF5}"/>
              </a:ext>
            </a:extLst>
          </p:cNvPr>
          <p:cNvSpPr/>
          <p:nvPr/>
        </p:nvSpPr>
        <p:spPr>
          <a:xfrm>
            <a:off x="4008991" y="4664222"/>
            <a:ext cx="145616" cy="1880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050">
              <a:solidFill>
                <a:schemeClr val="bg1"/>
              </a:solidFill>
            </a:endParaRPr>
          </a:p>
        </p:txBody>
      </p:sp>
      <p:sp>
        <p:nvSpPr>
          <p:cNvPr id="31" name="Shape9_20180504_125433">
            <a:extLst>
              <a:ext uri="{FF2B5EF4-FFF2-40B4-BE49-F238E27FC236}">
                <a16:creationId xmlns:a16="http://schemas.microsoft.com/office/drawing/2014/main" id="{A4511660-CC25-E8AD-3956-3A68D1122DE7}"/>
              </a:ext>
            </a:extLst>
          </p:cNvPr>
          <p:cNvSpPr/>
          <p:nvPr/>
        </p:nvSpPr>
        <p:spPr>
          <a:xfrm>
            <a:off x="5019680" y="4964170"/>
            <a:ext cx="145616" cy="1880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050">
              <a:solidFill>
                <a:schemeClr val="bg1"/>
              </a:solidFill>
            </a:endParaRPr>
          </a:p>
        </p:txBody>
      </p:sp>
      <p:sp>
        <p:nvSpPr>
          <p:cNvPr id="32" name="Shape10_20180504_125433">
            <a:extLst>
              <a:ext uri="{FF2B5EF4-FFF2-40B4-BE49-F238E27FC236}">
                <a16:creationId xmlns:a16="http://schemas.microsoft.com/office/drawing/2014/main" id="{5D5F81FA-BA21-0637-3C09-A0406C56483E}"/>
              </a:ext>
            </a:extLst>
          </p:cNvPr>
          <p:cNvSpPr txBox="1"/>
          <p:nvPr/>
        </p:nvSpPr>
        <p:spPr>
          <a:xfrm>
            <a:off x="4769634" y="4596688"/>
            <a:ext cx="1295397" cy="32316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685766"/>
            <a:r>
              <a:rPr lang="en-US" sz="1050" b="1" dirty="0">
                <a:solidFill>
                  <a:schemeClr val="bg1"/>
                </a:solidFill>
              </a:rPr>
              <a:t>Insert name</a:t>
            </a:r>
          </a:p>
          <a:p>
            <a:pPr defTabSz="685766"/>
            <a:r>
              <a:rPr lang="en-US" sz="1050" b="1" i="1" dirty="0">
                <a:solidFill>
                  <a:schemeClr val="bg1"/>
                </a:solidFill>
              </a:rPr>
              <a:t>Insert designation</a:t>
            </a:r>
            <a:endParaRPr lang="en-US" sz="1050" i="1" dirty="0">
              <a:solidFill>
                <a:schemeClr val="bg1"/>
              </a:solidFill>
            </a:endParaRPr>
          </a:p>
        </p:txBody>
      </p:sp>
      <p:sp>
        <p:nvSpPr>
          <p:cNvPr id="33" name="Shape9_20180410_114600">
            <a:extLst>
              <a:ext uri="{FF2B5EF4-FFF2-40B4-BE49-F238E27FC236}">
                <a16:creationId xmlns:a16="http://schemas.microsoft.com/office/drawing/2014/main" id="{1C0BFC03-0F9B-F0D1-25BB-70D2B168A758}"/>
              </a:ext>
            </a:extLst>
          </p:cNvPr>
          <p:cNvSpPr/>
          <p:nvPr/>
        </p:nvSpPr>
        <p:spPr>
          <a:xfrm rot="16200000">
            <a:off x="2121067" y="3674773"/>
            <a:ext cx="787989" cy="216699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050">
              <a:solidFill>
                <a:schemeClr val="bg1"/>
              </a:solidFill>
            </a:endParaRPr>
          </a:p>
        </p:txBody>
      </p:sp>
      <p:sp>
        <p:nvSpPr>
          <p:cNvPr id="34" name="Shape11_20180504_125433">
            <a:extLst>
              <a:ext uri="{FF2B5EF4-FFF2-40B4-BE49-F238E27FC236}">
                <a16:creationId xmlns:a16="http://schemas.microsoft.com/office/drawing/2014/main" id="{15580AB5-544F-8369-CF74-119B3E4427BD}"/>
              </a:ext>
            </a:extLst>
          </p:cNvPr>
          <p:cNvSpPr txBox="1"/>
          <p:nvPr/>
        </p:nvSpPr>
        <p:spPr>
          <a:xfrm>
            <a:off x="2192209" y="4596685"/>
            <a:ext cx="1295397" cy="32316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685766"/>
            <a:r>
              <a:rPr lang="en-US" sz="1050" b="1" dirty="0">
                <a:solidFill>
                  <a:schemeClr val="bg1"/>
                </a:solidFill>
              </a:rPr>
              <a:t>Insert name</a:t>
            </a:r>
          </a:p>
          <a:p>
            <a:pPr defTabSz="685766"/>
            <a:r>
              <a:rPr lang="en-US" sz="1050" b="1" i="1" dirty="0">
                <a:solidFill>
                  <a:schemeClr val="bg1"/>
                </a:solidFill>
              </a:rPr>
              <a:t>Insert designation</a:t>
            </a:r>
            <a:endParaRPr lang="en-US" sz="1050" i="1" dirty="0">
              <a:solidFill>
                <a:schemeClr val="bg1"/>
              </a:solidFill>
            </a:endParaRPr>
          </a:p>
        </p:txBody>
      </p:sp>
      <p:sp>
        <p:nvSpPr>
          <p:cNvPr id="35" name="Shape12_20180504_125433">
            <a:extLst>
              <a:ext uri="{FF2B5EF4-FFF2-40B4-BE49-F238E27FC236}">
                <a16:creationId xmlns:a16="http://schemas.microsoft.com/office/drawing/2014/main" id="{373F7E78-EC72-9DA5-5503-0850E37AF4C8}"/>
              </a:ext>
            </a:extLst>
          </p:cNvPr>
          <p:cNvSpPr/>
          <p:nvPr/>
        </p:nvSpPr>
        <p:spPr>
          <a:xfrm>
            <a:off x="3452943" y="4664222"/>
            <a:ext cx="145616" cy="1880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050">
              <a:solidFill>
                <a:schemeClr val="bg1"/>
              </a:solidFill>
            </a:endParaRPr>
          </a:p>
        </p:txBody>
      </p:sp>
      <p:sp>
        <p:nvSpPr>
          <p:cNvPr id="36" name="Shape11_20180410_114600">
            <a:extLst>
              <a:ext uri="{FF2B5EF4-FFF2-40B4-BE49-F238E27FC236}">
                <a16:creationId xmlns:a16="http://schemas.microsoft.com/office/drawing/2014/main" id="{5D693CEE-163F-6E68-8CF9-956A9E6619AB}"/>
              </a:ext>
            </a:extLst>
          </p:cNvPr>
          <p:cNvSpPr/>
          <p:nvPr/>
        </p:nvSpPr>
        <p:spPr>
          <a:xfrm rot="16200000">
            <a:off x="1130882" y="2585835"/>
            <a:ext cx="787989" cy="216699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050">
              <a:solidFill>
                <a:schemeClr val="bg1"/>
              </a:solidFill>
            </a:endParaRPr>
          </a:p>
        </p:txBody>
      </p:sp>
      <p:sp>
        <p:nvSpPr>
          <p:cNvPr id="37" name="Shape13_20180504_125433">
            <a:extLst>
              <a:ext uri="{FF2B5EF4-FFF2-40B4-BE49-F238E27FC236}">
                <a16:creationId xmlns:a16="http://schemas.microsoft.com/office/drawing/2014/main" id="{DD33E04E-E8F5-5B1B-5664-2555ABBC7A01}"/>
              </a:ext>
            </a:extLst>
          </p:cNvPr>
          <p:cNvSpPr txBox="1"/>
          <p:nvPr/>
        </p:nvSpPr>
        <p:spPr>
          <a:xfrm>
            <a:off x="1202023" y="3526798"/>
            <a:ext cx="1295397" cy="32316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685766"/>
            <a:r>
              <a:rPr lang="en-US" sz="1050" b="1" dirty="0">
                <a:solidFill>
                  <a:schemeClr val="bg1"/>
                </a:solidFill>
              </a:rPr>
              <a:t>Insert name</a:t>
            </a:r>
          </a:p>
          <a:p>
            <a:pPr defTabSz="685766"/>
            <a:r>
              <a:rPr lang="en-US" sz="1050" b="1" i="1" dirty="0">
                <a:solidFill>
                  <a:schemeClr val="bg1"/>
                </a:solidFill>
              </a:rPr>
              <a:t>Insert designation</a:t>
            </a:r>
            <a:endParaRPr lang="en-US" sz="1050" i="1" dirty="0">
              <a:solidFill>
                <a:schemeClr val="bg1"/>
              </a:solidFill>
            </a:endParaRPr>
          </a:p>
        </p:txBody>
      </p:sp>
      <p:sp>
        <p:nvSpPr>
          <p:cNvPr id="38" name="Shape14_20180504_125433">
            <a:extLst>
              <a:ext uri="{FF2B5EF4-FFF2-40B4-BE49-F238E27FC236}">
                <a16:creationId xmlns:a16="http://schemas.microsoft.com/office/drawing/2014/main" id="{ADA0FBC1-4465-8999-EC6F-CC1807D69DF4}"/>
              </a:ext>
            </a:extLst>
          </p:cNvPr>
          <p:cNvSpPr/>
          <p:nvPr/>
        </p:nvSpPr>
        <p:spPr>
          <a:xfrm>
            <a:off x="1452068" y="3294386"/>
            <a:ext cx="145616" cy="1880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050">
              <a:solidFill>
                <a:schemeClr val="bg1"/>
              </a:solidFill>
            </a:endParaRPr>
          </a:p>
        </p:txBody>
      </p:sp>
      <p:sp>
        <p:nvSpPr>
          <p:cNvPr id="39" name="Shape13_20180410_114600">
            <a:extLst>
              <a:ext uri="{FF2B5EF4-FFF2-40B4-BE49-F238E27FC236}">
                <a16:creationId xmlns:a16="http://schemas.microsoft.com/office/drawing/2014/main" id="{4E6EFC13-78DE-E2B7-F057-1C0BB64F1F1D}"/>
              </a:ext>
            </a:extLst>
          </p:cNvPr>
          <p:cNvSpPr/>
          <p:nvPr/>
        </p:nvSpPr>
        <p:spPr>
          <a:xfrm rot="16200000">
            <a:off x="5702006" y="2604885"/>
            <a:ext cx="787989" cy="216699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050">
              <a:solidFill>
                <a:schemeClr val="bg1"/>
              </a:solidFill>
            </a:endParaRPr>
          </a:p>
        </p:txBody>
      </p:sp>
      <p:sp>
        <p:nvSpPr>
          <p:cNvPr id="40" name="Shape15_20180504_125433">
            <a:extLst>
              <a:ext uri="{FF2B5EF4-FFF2-40B4-BE49-F238E27FC236}">
                <a16:creationId xmlns:a16="http://schemas.microsoft.com/office/drawing/2014/main" id="{DF827329-3D4A-72B3-EBFB-C2E94F117F2C}"/>
              </a:ext>
            </a:extLst>
          </p:cNvPr>
          <p:cNvSpPr txBox="1"/>
          <p:nvPr/>
        </p:nvSpPr>
        <p:spPr>
          <a:xfrm>
            <a:off x="5773147" y="3526799"/>
            <a:ext cx="1295397" cy="32316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685766"/>
            <a:r>
              <a:rPr lang="en-US" sz="1050" b="1" dirty="0">
                <a:solidFill>
                  <a:schemeClr val="bg1"/>
                </a:solidFill>
              </a:rPr>
              <a:t>Insert name</a:t>
            </a:r>
          </a:p>
          <a:p>
            <a:pPr defTabSz="685766"/>
            <a:r>
              <a:rPr lang="en-US" sz="1050" b="1" i="1" dirty="0">
                <a:solidFill>
                  <a:schemeClr val="bg1"/>
                </a:solidFill>
              </a:rPr>
              <a:t>Insert designation</a:t>
            </a:r>
            <a:endParaRPr lang="en-US" sz="1050" i="1" dirty="0">
              <a:solidFill>
                <a:schemeClr val="bg1"/>
              </a:solidFill>
            </a:endParaRPr>
          </a:p>
        </p:txBody>
      </p:sp>
      <p:sp>
        <p:nvSpPr>
          <p:cNvPr id="41" name="Shape16_20180504_125433">
            <a:extLst>
              <a:ext uri="{FF2B5EF4-FFF2-40B4-BE49-F238E27FC236}">
                <a16:creationId xmlns:a16="http://schemas.microsoft.com/office/drawing/2014/main" id="{A4E98589-1B88-867B-5F1C-66F0E9F2F6D0}"/>
              </a:ext>
            </a:extLst>
          </p:cNvPr>
          <p:cNvSpPr/>
          <p:nvPr/>
        </p:nvSpPr>
        <p:spPr>
          <a:xfrm>
            <a:off x="6023192" y="3294386"/>
            <a:ext cx="145616" cy="1880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050">
              <a:solidFill>
                <a:schemeClr val="bg1"/>
              </a:solidFill>
            </a:endParaRPr>
          </a:p>
        </p:txBody>
      </p:sp>
      <p:sp>
        <p:nvSpPr>
          <p:cNvPr id="42" name="Shape15_20180410_114600">
            <a:extLst>
              <a:ext uri="{FF2B5EF4-FFF2-40B4-BE49-F238E27FC236}">
                <a16:creationId xmlns:a16="http://schemas.microsoft.com/office/drawing/2014/main" id="{DFF3C7AA-436E-C896-8BE8-69C2F2498DE0}"/>
              </a:ext>
            </a:extLst>
          </p:cNvPr>
          <p:cNvSpPr/>
          <p:nvPr/>
        </p:nvSpPr>
        <p:spPr>
          <a:xfrm rot="16200000">
            <a:off x="7987567" y="2604885"/>
            <a:ext cx="787989" cy="216699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050">
              <a:solidFill>
                <a:schemeClr val="bg1"/>
              </a:solidFill>
            </a:endParaRPr>
          </a:p>
        </p:txBody>
      </p:sp>
      <p:sp>
        <p:nvSpPr>
          <p:cNvPr id="43" name="Shape17_20180504_125433">
            <a:extLst>
              <a:ext uri="{FF2B5EF4-FFF2-40B4-BE49-F238E27FC236}">
                <a16:creationId xmlns:a16="http://schemas.microsoft.com/office/drawing/2014/main" id="{0E4F3DEC-714F-F436-CFAE-5B2EAAB01CB4}"/>
              </a:ext>
            </a:extLst>
          </p:cNvPr>
          <p:cNvSpPr txBox="1"/>
          <p:nvPr/>
        </p:nvSpPr>
        <p:spPr>
          <a:xfrm>
            <a:off x="8058709" y="3526797"/>
            <a:ext cx="1295397" cy="32316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685766"/>
            <a:r>
              <a:rPr lang="en-US" sz="1050" b="1" dirty="0">
                <a:solidFill>
                  <a:schemeClr val="bg1"/>
                </a:solidFill>
              </a:rPr>
              <a:t>Insert name</a:t>
            </a:r>
          </a:p>
          <a:p>
            <a:pPr defTabSz="685766"/>
            <a:r>
              <a:rPr lang="en-US" sz="1050" b="1" i="1" dirty="0">
                <a:solidFill>
                  <a:schemeClr val="bg1"/>
                </a:solidFill>
              </a:rPr>
              <a:t>Insert designation</a:t>
            </a:r>
            <a:endParaRPr lang="en-US" sz="1050" i="1" dirty="0">
              <a:solidFill>
                <a:schemeClr val="bg1"/>
              </a:solidFill>
            </a:endParaRPr>
          </a:p>
        </p:txBody>
      </p:sp>
      <p:sp>
        <p:nvSpPr>
          <p:cNvPr id="44" name="Shape18_20180504_125433">
            <a:extLst>
              <a:ext uri="{FF2B5EF4-FFF2-40B4-BE49-F238E27FC236}">
                <a16:creationId xmlns:a16="http://schemas.microsoft.com/office/drawing/2014/main" id="{77545895-2CCC-FAFA-9650-1F024BEA2451}"/>
              </a:ext>
            </a:extLst>
          </p:cNvPr>
          <p:cNvSpPr/>
          <p:nvPr/>
        </p:nvSpPr>
        <p:spPr>
          <a:xfrm>
            <a:off x="8308754" y="3294386"/>
            <a:ext cx="145616" cy="1880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050">
              <a:solidFill>
                <a:schemeClr val="bg1"/>
              </a:solidFill>
            </a:endParaRPr>
          </a:p>
        </p:txBody>
      </p:sp>
      <p:sp>
        <p:nvSpPr>
          <p:cNvPr id="45" name="Shape17_20180410_114600">
            <a:extLst>
              <a:ext uri="{FF2B5EF4-FFF2-40B4-BE49-F238E27FC236}">
                <a16:creationId xmlns:a16="http://schemas.microsoft.com/office/drawing/2014/main" id="{3A36DC39-3FD0-68DB-C44B-8D9EBD2970D6}"/>
              </a:ext>
            </a:extLst>
          </p:cNvPr>
          <p:cNvSpPr/>
          <p:nvPr/>
        </p:nvSpPr>
        <p:spPr>
          <a:xfrm rot="16200000">
            <a:off x="10273130" y="2604885"/>
            <a:ext cx="787989" cy="216699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050">
              <a:solidFill>
                <a:schemeClr val="bg1"/>
              </a:solidFill>
            </a:endParaRPr>
          </a:p>
        </p:txBody>
      </p:sp>
      <p:sp>
        <p:nvSpPr>
          <p:cNvPr id="46" name="Shape19_20180504_125433">
            <a:extLst>
              <a:ext uri="{FF2B5EF4-FFF2-40B4-BE49-F238E27FC236}">
                <a16:creationId xmlns:a16="http://schemas.microsoft.com/office/drawing/2014/main" id="{C4B7B0AE-857A-ADE5-65D9-67F9D75A1907}"/>
              </a:ext>
            </a:extLst>
          </p:cNvPr>
          <p:cNvSpPr txBox="1"/>
          <p:nvPr/>
        </p:nvSpPr>
        <p:spPr>
          <a:xfrm>
            <a:off x="10344271" y="3526797"/>
            <a:ext cx="1295397" cy="32316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685766"/>
            <a:r>
              <a:rPr lang="en-US" sz="1050" b="1" dirty="0">
                <a:solidFill>
                  <a:schemeClr val="bg1"/>
                </a:solidFill>
              </a:rPr>
              <a:t>Insert name</a:t>
            </a:r>
          </a:p>
          <a:p>
            <a:pPr defTabSz="685766"/>
            <a:r>
              <a:rPr lang="en-US" sz="1050" b="1" i="1" dirty="0">
                <a:solidFill>
                  <a:schemeClr val="bg1"/>
                </a:solidFill>
              </a:rPr>
              <a:t>Insert designation</a:t>
            </a:r>
            <a:endParaRPr lang="en-US" sz="1050" i="1" dirty="0">
              <a:solidFill>
                <a:schemeClr val="bg1"/>
              </a:solidFill>
            </a:endParaRPr>
          </a:p>
        </p:txBody>
      </p:sp>
      <p:sp>
        <p:nvSpPr>
          <p:cNvPr id="47" name="Shape20_20180504_125433">
            <a:extLst>
              <a:ext uri="{FF2B5EF4-FFF2-40B4-BE49-F238E27FC236}">
                <a16:creationId xmlns:a16="http://schemas.microsoft.com/office/drawing/2014/main" id="{827A30A2-3351-D5DD-221B-2C0C5C6A3199}"/>
              </a:ext>
            </a:extLst>
          </p:cNvPr>
          <p:cNvSpPr/>
          <p:nvPr/>
        </p:nvSpPr>
        <p:spPr>
          <a:xfrm>
            <a:off x="10594316" y="3294386"/>
            <a:ext cx="145616" cy="1880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050">
              <a:solidFill>
                <a:schemeClr val="bg1"/>
              </a:solidFill>
            </a:endParaRPr>
          </a:p>
        </p:txBody>
      </p:sp>
      <p:sp>
        <p:nvSpPr>
          <p:cNvPr id="48" name="Shape19_20180410_114600">
            <a:extLst>
              <a:ext uri="{FF2B5EF4-FFF2-40B4-BE49-F238E27FC236}">
                <a16:creationId xmlns:a16="http://schemas.microsoft.com/office/drawing/2014/main" id="{59206026-B626-91C1-ED92-9AD9F2972B90}"/>
              </a:ext>
            </a:extLst>
          </p:cNvPr>
          <p:cNvSpPr/>
          <p:nvPr/>
        </p:nvSpPr>
        <p:spPr>
          <a:xfrm rot="16200000">
            <a:off x="3416443" y="2604885"/>
            <a:ext cx="787989" cy="216699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050">
              <a:solidFill>
                <a:schemeClr val="bg1"/>
              </a:solidFill>
            </a:endParaRPr>
          </a:p>
        </p:txBody>
      </p:sp>
      <p:sp>
        <p:nvSpPr>
          <p:cNvPr id="49" name="Shape21_20180504_125433">
            <a:extLst>
              <a:ext uri="{FF2B5EF4-FFF2-40B4-BE49-F238E27FC236}">
                <a16:creationId xmlns:a16="http://schemas.microsoft.com/office/drawing/2014/main" id="{7375C13A-D97A-C135-4613-4B8729B205F1}"/>
              </a:ext>
            </a:extLst>
          </p:cNvPr>
          <p:cNvSpPr txBox="1"/>
          <p:nvPr/>
        </p:nvSpPr>
        <p:spPr>
          <a:xfrm>
            <a:off x="3487585" y="3526799"/>
            <a:ext cx="1295397" cy="32316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685766"/>
            <a:r>
              <a:rPr lang="en-US" sz="1050" b="1" dirty="0">
                <a:solidFill>
                  <a:schemeClr val="bg1"/>
                </a:solidFill>
              </a:rPr>
              <a:t>Insert name</a:t>
            </a:r>
          </a:p>
          <a:p>
            <a:pPr defTabSz="685766"/>
            <a:r>
              <a:rPr lang="en-US" sz="1050" b="1" i="1" dirty="0">
                <a:solidFill>
                  <a:schemeClr val="bg1"/>
                </a:solidFill>
              </a:rPr>
              <a:t>Insert designation</a:t>
            </a:r>
            <a:endParaRPr lang="en-US" sz="1050" i="1" dirty="0">
              <a:solidFill>
                <a:schemeClr val="bg1"/>
              </a:solidFill>
            </a:endParaRPr>
          </a:p>
        </p:txBody>
      </p:sp>
      <p:sp>
        <p:nvSpPr>
          <p:cNvPr id="50" name="Shape22_20180504_125433">
            <a:extLst>
              <a:ext uri="{FF2B5EF4-FFF2-40B4-BE49-F238E27FC236}">
                <a16:creationId xmlns:a16="http://schemas.microsoft.com/office/drawing/2014/main" id="{43F3553A-C9BB-A344-3E93-98F9B5FF4414}"/>
              </a:ext>
            </a:extLst>
          </p:cNvPr>
          <p:cNvSpPr/>
          <p:nvPr/>
        </p:nvSpPr>
        <p:spPr>
          <a:xfrm>
            <a:off x="3737630" y="3294386"/>
            <a:ext cx="145616" cy="1880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050">
              <a:solidFill>
                <a:schemeClr val="bg1"/>
              </a:solidFill>
            </a:endParaRPr>
          </a:p>
        </p:txBody>
      </p:sp>
      <p:sp>
        <p:nvSpPr>
          <p:cNvPr id="51" name="Shape23_20180504_125433">
            <a:extLst>
              <a:ext uri="{FF2B5EF4-FFF2-40B4-BE49-F238E27FC236}">
                <a16:creationId xmlns:a16="http://schemas.microsoft.com/office/drawing/2014/main" id="{F24F92BD-6855-EAF3-D1BD-2538A56265D3}"/>
              </a:ext>
            </a:extLst>
          </p:cNvPr>
          <p:cNvSpPr/>
          <p:nvPr/>
        </p:nvSpPr>
        <p:spPr>
          <a:xfrm>
            <a:off x="3737631" y="3894281"/>
            <a:ext cx="145616" cy="1880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050">
              <a:solidFill>
                <a:schemeClr val="bg1"/>
              </a:solidFill>
            </a:endParaRPr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3A43B75E-5A44-432A-A230-4FAA98E92D9B}"/>
              </a:ext>
            </a:extLst>
          </p:cNvPr>
          <p:cNvSpPr/>
          <p:nvPr/>
        </p:nvSpPr>
        <p:spPr>
          <a:xfrm>
            <a:off x="541254" y="3378908"/>
            <a:ext cx="618942" cy="618942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60129CD3-4220-6473-23C8-3176B291DABA}"/>
              </a:ext>
            </a:extLst>
          </p:cNvPr>
          <p:cNvSpPr/>
          <p:nvPr/>
        </p:nvSpPr>
        <p:spPr>
          <a:xfrm>
            <a:off x="2816119" y="3378908"/>
            <a:ext cx="618942" cy="618942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Oval 65">
            <a:extLst>
              <a:ext uri="{FF2B5EF4-FFF2-40B4-BE49-F238E27FC236}">
                <a16:creationId xmlns:a16="http://schemas.microsoft.com/office/drawing/2014/main" id="{FFD977C1-9201-0578-FE76-291ECB544EBD}"/>
              </a:ext>
            </a:extLst>
          </p:cNvPr>
          <p:cNvSpPr/>
          <p:nvPr/>
        </p:nvSpPr>
        <p:spPr>
          <a:xfrm>
            <a:off x="1524876" y="4448796"/>
            <a:ext cx="618942" cy="618942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C1EE3362-4333-5CDF-31CC-1C86B1366A25}"/>
              </a:ext>
            </a:extLst>
          </p:cNvPr>
          <p:cNvSpPr/>
          <p:nvPr/>
        </p:nvSpPr>
        <p:spPr>
          <a:xfrm>
            <a:off x="4112238" y="4448796"/>
            <a:ext cx="618942" cy="618942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Oval 69">
            <a:extLst>
              <a:ext uri="{FF2B5EF4-FFF2-40B4-BE49-F238E27FC236}">
                <a16:creationId xmlns:a16="http://schemas.microsoft.com/office/drawing/2014/main" id="{275D2824-F1FF-C83F-1DBE-9EB9B8B10255}"/>
              </a:ext>
            </a:extLst>
          </p:cNvPr>
          <p:cNvSpPr/>
          <p:nvPr/>
        </p:nvSpPr>
        <p:spPr>
          <a:xfrm>
            <a:off x="4112238" y="5536597"/>
            <a:ext cx="618942" cy="618942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2" name="Oval 71">
            <a:extLst>
              <a:ext uri="{FF2B5EF4-FFF2-40B4-BE49-F238E27FC236}">
                <a16:creationId xmlns:a16="http://schemas.microsoft.com/office/drawing/2014/main" id="{224EE55B-DF60-3FBA-13AF-CF9B3F4FF149}"/>
              </a:ext>
            </a:extLst>
          </p:cNvPr>
          <p:cNvSpPr/>
          <p:nvPr/>
        </p:nvSpPr>
        <p:spPr>
          <a:xfrm>
            <a:off x="5107973" y="3378908"/>
            <a:ext cx="618942" cy="618942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Oval 73">
            <a:extLst>
              <a:ext uri="{FF2B5EF4-FFF2-40B4-BE49-F238E27FC236}">
                <a16:creationId xmlns:a16="http://schemas.microsoft.com/office/drawing/2014/main" id="{B6562589-2CE2-3BA7-218A-6810172AAA79}"/>
              </a:ext>
            </a:extLst>
          </p:cNvPr>
          <p:cNvSpPr/>
          <p:nvPr/>
        </p:nvSpPr>
        <p:spPr>
          <a:xfrm>
            <a:off x="7368172" y="3378908"/>
            <a:ext cx="618942" cy="618942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F608F387-1B1A-0072-B0D2-33CC833504B5}"/>
              </a:ext>
            </a:extLst>
          </p:cNvPr>
          <p:cNvSpPr/>
          <p:nvPr/>
        </p:nvSpPr>
        <p:spPr>
          <a:xfrm>
            <a:off x="6723028" y="2094123"/>
            <a:ext cx="618942" cy="618942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72EC232E-9CD5-79DC-7364-13B40B258F4A}"/>
              </a:ext>
            </a:extLst>
          </p:cNvPr>
          <p:cNvSpPr/>
          <p:nvPr/>
        </p:nvSpPr>
        <p:spPr>
          <a:xfrm>
            <a:off x="4729656" y="1202190"/>
            <a:ext cx="618942" cy="618942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74ECCD4B-18EA-86C2-7848-61EEE04445CE}"/>
              </a:ext>
            </a:extLst>
          </p:cNvPr>
          <p:cNvSpPr/>
          <p:nvPr/>
        </p:nvSpPr>
        <p:spPr>
          <a:xfrm>
            <a:off x="9675746" y="3378908"/>
            <a:ext cx="618942" cy="618942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931101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0C647379-4F94-2F49-522E-16D1576DD5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99184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6725633-A30F-D9E7-93A5-08DBA1239F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x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31D05F-4E64-198D-05D8-3BA615EA67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F057421-036F-C449-8FDB-470D9F6AD4E2}"/>
              </a:ext>
            </a:extLst>
          </p:cNvPr>
          <p:cNvSpPr/>
          <p:nvPr/>
        </p:nvSpPr>
        <p:spPr>
          <a:xfrm>
            <a:off x="1106805" y="1358138"/>
            <a:ext cx="4704080" cy="11064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000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E7D685F-73EE-5D7A-A372-4CFC3CCB4A56}"/>
              </a:ext>
            </a:extLst>
          </p:cNvPr>
          <p:cNvSpPr/>
          <p:nvPr/>
        </p:nvSpPr>
        <p:spPr>
          <a:xfrm>
            <a:off x="812219" y="1598962"/>
            <a:ext cx="588645" cy="62477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dirty="0">
                <a:cs typeface="Arial" panose="020B0604020202020204" pitchFamily="34" charset="0"/>
              </a:rPr>
              <a:t>01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1AC6AB7-2727-DC96-1054-568811F45934}"/>
              </a:ext>
            </a:extLst>
          </p:cNvPr>
          <p:cNvSpPr/>
          <p:nvPr/>
        </p:nvSpPr>
        <p:spPr>
          <a:xfrm>
            <a:off x="6670040" y="1358138"/>
            <a:ext cx="4704080" cy="11064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000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0D73565-B784-C006-DCEF-1B85BE4D4A22}"/>
              </a:ext>
            </a:extLst>
          </p:cNvPr>
          <p:cNvSpPr/>
          <p:nvPr/>
        </p:nvSpPr>
        <p:spPr>
          <a:xfrm>
            <a:off x="6375454" y="1598962"/>
            <a:ext cx="588645" cy="62477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dirty="0">
                <a:cs typeface="Arial" panose="020B0604020202020204" pitchFamily="34" charset="0"/>
              </a:rPr>
              <a:t>04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E3DA5C0-27AB-E82A-9749-38C35D241F36}"/>
              </a:ext>
            </a:extLst>
          </p:cNvPr>
          <p:cNvSpPr/>
          <p:nvPr/>
        </p:nvSpPr>
        <p:spPr>
          <a:xfrm>
            <a:off x="1106805" y="3137490"/>
            <a:ext cx="4704080" cy="11064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000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32A8559-CC5A-4493-205E-3516C209893B}"/>
              </a:ext>
            </a:extLst>
          </p:cNvPr>
          <p:cNvSpPr/>
          <p:nvPr/>
        </p:nvSpPr>
        <p:spPr>
          <a:xfrm>
            <a:off x="812219" y="3378314"/>
            <a:ext cx="588645" cy="62477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dirty="0">
                <a:cs typeface="Arial" panose="020B0604020202020204" pitchFamily="34" charset="0"/>
              </a:rPr>
              <a:t>02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A536CD5-69E7-7B06-86F0-CD892C71DC9B}"/>
              </a:ext>
            </a:extLst>
          </p:cNvPr>
          <p:cNvSpPr/>
          <p:nvPr/>
        </p:nvSpPr>
        <p:spPr>
          <a:xfrm>
            <a:off x="6670040" y="3137490"/>
            <a:ext cx="4704080" cy="11064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000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E9C52A-1FFC-40A1-0968-88349544BD06}"/>
              </a:ext>
            </a:extLst>
          </p:cNvPr>
          <p:cNvSpPr/>
          <p:nvPr/>
        </p:nvSpPr>
        <p:spPr>
          <a:xfrm>
            <a:off x="6375454" y="3378314"/>
            <a:ext cx="588645" cy="62477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dirty="0">
                <a:cs typeface="Arial" panose="020B0604020202020204" pitchFamily="34" charset="0"/>
              </a:rPr>
              <a:t>05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4BB2874-248C-6AAD-BF4B-09301E2D78E1}"/>
              </a:ext>
            </a:extLst>
          </p:cNvPr>
          <p:cNvSpPr/>
          <p:nvPr/>
        </p:nvSpPr>
        <p:spPr>
          <a:xfrm>
            <a:off x="1106805" y="4916842"/>
            <a:ext cx="4704080" cy="11064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000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4BD4AB9-08CB-B010-0ADB-86FB453D4007}"/>
              </a:ext>
            </a:extLst>
          </p:cNvPr>
          <p:cNvSpPr/>
          <p:nvPr/>
        </p:nvSpPr>
        <p:spPr>
          <a:xfrm>
            <a:off x="812219" y="5157666"/>
            <a:ext cx="588645" cy="62477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dirty="0">
                <a:cs typeface="Arial" panose="020B0604020202020204" pitchFamily="34" charset="0"/>
              </a:rPr>
              <a:t>0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DF839F3-04AF-E292-5150-528B75C17981}"/>
              </a:ext>
            </a:extLst>
          </p:cNvPr>
          <p:cNvSpPr/>
          <p:nvPr/>
        </p:nvSpPr>
        <p:spPr>
          <a:xfrm>
            <a:off x="6670040" y="4916842"/>
            <a:ext cx="4704080" cy="11064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000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9C85DCD-F29F-7FFF-43B0-F1AA7E2AB65D}"/>
              </a:ext>
            </a:extLst>
          </p:cNvPr>
          <p:cNvSpPr/>
          <p:nvPr/>
        </p:nvSpPr>
        <p:spPr>
          <a:xfrm>
            <a:off x="6375454" y="5157666"/>
            <a:ext cx="588645" cy="62477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dirty="0">
                <a:cs typeface="Arial" panose="020B0604020202020204" pitchFamily="34" charset="0"/>
              </a:rPr>
              <a:t>06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1264EA9C-DBA6-3E76-C711-82C75DC3B1A6}"/>
              </a:ext>
            </a:extLst>
          </p:cNvPr>
          <p:cNvSpPr txBox="1">
            <a:spLocks/>
          </p:cNvSpPr>
          <p:nvPr/>
        </p:nvSpPr>
        <p:spPr>
          <a:xfrm>
            <a:off x="1524000" y="1684999"/>
            <a:ext cx="3352800" cy="452703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2000" b="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C048A12E-4A4B-2FBA-2023-3165927DCF4F}"/>
              </a:ext>
            </a:extLst>
          </p:cNvPr>
          <p:cNvSpPr txBox="1">
            <a:spLocks/>
          </p:cNvSpPr>
          <p:nvPr/>
        </p:nvSpPr>
        <p:spPr>
          <a:xfrm>
            <a:off x="1524000" y="3464351"/>
            <a:ext cx="3352800" cy="452703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2000" b="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D4071074-E539-D54A-A5BC-CB70BCE3B5D2}"/>
              </a:ext>
            </a:extLst>
          </p:cNvPr>
          <p:cNvSpPr txBox="1">
            <a:spLocks/>
          </p:cNvSpPr>
          <p:nvPr/>
        </p:nvSpPr>
        <p:spPr>
          <a:xfrm>
            <a:off x="1524000" y="5243703"/>
            <a:ext cx="3352800" cy="452703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2000" b="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590C30C5-8CCD-E4A2-5E30-5B5A02E09E14}"/>
              </a:ext>
            </a:extLst>
          </p:cNvPr>
          <p:cNvSpPr txBox="1">
            <a:spLocks/>
          </p:cNvSpPr>
          <p:nvPr/>
        </p:nvSpPr>
        <p:spPr>
          <a:xfrm>
            <a:off x="7086600" y="1684999"/>
            <a:ext cx="3352800" cy="452703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2000" b="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DA352BF3-1327-C736-00DA-4529438D5D5C}"/>
              </a:ext>
            </a:extLst>
          </p:cNvPr>
          <p:cNvSpPr txBox="1">
            <a:spLocks/>
          </p:cNvSpPr>
          <p:nvPr/>
        </p:nvSpPr>
        <p:spPr>
          <a:xfrm>
            <a:off x="7086600" y="3464351"/>
            <a:ext cx="3352800" cy="452703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2000" b="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8BD58570-1EF6-D2F0-C4E0-68AAC8FA8C2C}"/>
              </a:ext>
            </a:extLst>
          </p:cNvPr>
          <p:cNvSpPr txBox="1">
            <a:spLocks/>
          </p:cNvSpPr>
          <p:nvPr/>
        </p:nvSpPr>
        <p:spPr>
          <a:xfrm>
            <a:off x="7086600" y="5243703"/>
            <a:ext cx="3352800" cy="452703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2000" b="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</p:spTree>
    <p:extLst>
      <p:ext uri="{BB962C8B-B14F-4D97-AF65-F5344CB8AC3E}">
        <p14:creationId xmlns:p14="http://schemas.microsoft.com/office/powerpoint/2010/main" val="1174527471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D866B4-4B96-233E-FDAE-EDE6CD0F6A6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think-cell data - do not delete" hidden="1">
            <a:extLst>
              <a:ext uri="{FF2B5EF4-FFF2-40B4-BE49-F238E27FC236}">
                <a16:creationId xmlns:a16="http://schemas.microsoft.com/office/drawing/2014/main" id="{3F416153-E68A-0259-97CC-B370C1B9C4A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12073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A355F30-EF19-E1ED-78E2-5643422754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Org. char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F87FC89-365C-C30F-2EB6-B9F0C22548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80</a:t>
            </a:fld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EB1D05B-63B1-636F-DE7D-3840DBB83850}"/>
              </a:ext>
            </a:extLst>
          </p:cNvPr>
          <p:cNvGrpSpPr/>
          <p:nvPr/>
        </p:nvGrpSpPr>
        <p:grpSpPr>
          <a:xfrm>
            <a:off x="989393" y="1586516"/>
            <a:ext cx="9593574" cy="3904225"/>
            <a:chOff x="630578" y="1228725"/>
            <a:chExt cx="7700282" cy="3133726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674D22C0-AE84-3072-905C-41A7A9DEFDA0}"/>
                </a:ext>
              </a:extLst>
            </p:cNvPr>
            <p:cNvSpPr/>
            <p:nvPr/>
          </p:nvSpPr>
          <p:spPr>
            <a:xfrm>
              <a:off x="3523456" y="1228725"/>
              <a:ext cx="1914525" cy="828675"/>
            </a:xfrm>
            <a:prstGeom prst="rect">
              <a:avLst/>
            </a:prstGeom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ＭＳ Ｐゴシック"/>
                  <a:cs typeface="+mn-cs"/>
                </a:rPr>
                <a:t>Text</a:t>
              </a:r>
            </a:p>
          </p:txBody>
        </p:sp>
        <p:cxnSp>
          <p:nvCxnSpPr>
            <p:cNvPr id="7" name="Straight Connector 8">
              <a:extLst>
                <a:ext uri="{FF2B5EF4-FFF2-40B4-BE49-F238E27FC236}">
                  <a16:creationId xmlns:a16="http://schemas.microsoft.com/office/drawing/2014/main" id="{50247513-9AC0-864F-55EA-3244E729C41F}"/>
                </a:ext>
              </a:extLst>
            </p:cNvPr>
            <p:cNvCxnSpPr>
              <a:stCxn id="6" idx="2"/>
              <a:endCxn id="10" idx="0"/>
            </p:cNvCxnSpPr>
            <p:nvPr/>
          </p:nvCxnSpPr>
          <p:spPr>
            <a:xfrm rot="5400000">
              <a:off x="2933701" y="886618"/>
              <a:ext cx="376236" cy="2717800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61BE1F41-619E-3284-8A66-910B59596B3C}"/>
                </a:ext>
              </a:extLst>
            </p:cNvPr>
            <p:cNvCxnSpPr>
              <a:stCxn id="17" idx="0"/>
              <a:endCxn id="6" idx="2"/>
            </p:cNvCxnSpPr>
            <p:nvPr/>
          </p:nvCxnSpPr>
          <p:spPr>
            <a:xfrm rot="5400000" flipH="1" flipV="1">
              <a:off x="4292601" y="2245518"/>
              <a:ext cx="376236" cy="1588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43259821-1E98-8CD6-879F-773D9D906C19}"/>
                </a:ext>
              </a:extLst>
            </p:cNvPr>
            <p:cNvCxnSpPr>
              <a:stCxn id="24" idx="0"/>
              <a:endCxn id="6" idx="2"/>
            </p:cNvCxnSpPr>
            <p:nvPr/>
          </p:nvCxnSpPr>
          <p:spPr>
            <a:xfrm rot="16200000" flipV="1">
              <a:off x="5651501" y="886618"/>
              <a:ext cx="376236" cy="2717800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F09D50A8-3385-F811-79EC-A6F78ACABD5C}"/>
                </a:ext>
              </a:extLst>
            </p:cNvPr>
            <p:cNvSpPr/>
            <p:nvPr/>
          </p:nvSpPr>
          <p:spPr>
            <a:xfrm>
              <a:off x="805656" y="2433636"/>
              <a:ext cx="1914525" cy="828675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0" lang="en-IN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ＭＳ Ｐゴシック"/>
                  <a:cs typeface="+mn-cs"/>
                </a:rPr>
                <a:t>Text</a:t>
              </a:r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E171CBC9-B4FF-F2E4-21CB-839F56376087}"/>
                </a:ext>
              </a:extLst>
            </p:cNvPr>
            <p:cNvSpPr/>
            <p:nvPr/>
          </p:nvSpPr>
          <p:spPr>
            <a:xfrm>
              <a:off x="1414005" y="3638547"/>
              <a:ext cx="697828" cy="723904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/>
                <a:cs typeface="+mn-cs"/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84DFA82D-0933-3197-BBCC-C6704118F1E3}"/>
                </a:ext>
              </a:extLst>
            </p:cNvPr>
            <p:cNvSpPr/>
            <p:nvPr/>
          </p:nvSpPr>
          <p:spPr>
            <a:xfrm>
              <a:off x="630578" y="3638547"/>
              <a:ext cx="697828" cy="723904"/>
            </a:xfrm>
            <a:prstGeom prst="ellipse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/>
                <a:cs typeface="+mn-cs"/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37398214-6219-A8CE-CA71-7DC78E842972}"/>
                </a:ext>
              </a:extLst>
            </p:cNvPr>
            <p:cNvSpPr/>
            <p:nvPr/>
          </p:nvSpPr>
          <p:spPr>
            <a:xfrm>
              <a:off x="2197432" y="3638547"/>
              <a:ext cx="697828" cy="723904"/>
            </a:xfrm>
            <a:prstGeom prst="ellipse">
              <a:avLst/>
            </a:prstGeom>
            <a:solidFill>
              <a:schemeClr val="accent5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/>
                <a:cs typeface="+mn-cs"/>
              </a:endParaRPr>
            </a:p>
          </p:txBody>
        </p:sp>
        <p:cxnSp>
          <p:nvCxnSpPr>
            <p:cNvPr id="14" name="Elbow Connector 36">
              <a:extLst>
                <a:ext uri="{FF2B5EF4-FFF2-40B4-BE49-F238E27FC236}">
                  <a16:creationId xmlns:a16="http://schemas.microsoft.com/office/drawing/2014/main" id="{458AE609-C61F-DDFC-107C-7E77B726388B}"/>
                </a:ext>
              </a:extLst>
            </p:cNvPr>
            <p:cNvCxnSpPr>
              <a:stCxn id="10" idx="2"/>
              <a:endCxn id="13" idx="0"/>
            </p:cNvCxnSpPr>
            <p:nvPr/>
          </p:nvCxnSpPr>
          <p:spPr>
            <a:xfrm rot="16200000" flipH="1">
              <a:off x="1966514" y="3058715"/>
              <a:ext cx="376236" cy="783427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Elbow Connector 40">
              <a:extLst>
                <a:ext uri="{FF2B5EF4-FFF2-40B4-BE49-F238E27FC236}">
                  <a16:creationId xmlns:a16="http://schemas.microsoft.com/office/drawing/2014/main" id="{B6B3803D-4111-5E70-BD9B-8468B82FA4A2}"/>
                </a:ext>
              </a:extLst>
            </p:cNvPr>
            <p:cNvCxnSpPr>
              <a:stCxn id="10" idx="2"/>
              <a:endCxn id="12" idx="0"/>
            </p:cNvCxnSpPr>
            <p:nvPr/>
          </p:nvCxnSpPr>
          <p:spPr>
            <a:xfrm rot="5400000">
              <a:off x="1183088" y="3058716"/>
              <a:ext cx="376236" cy="783427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ACF8310E-D9CB-45C7-87BC-6CA28FC5AF03}"/>
                </a:ext>
              </a:extLst>
            </p:cNvPr>
            <p:cNvCxnSpPr>
              <a:stCxn id="11" idx="0"/>
              <a:endCxn id="10" idx="2"/>
            </p:cNvCxnSpPr>
            <p:nvPr/>
          </p:nvCxnSpPr>
          <p:spPr>
            <a:xfrm rot="5400000" flipH="1" flipV="1">
              <a:off x="1574801" y="3450429"/>
              <a:ext cx="376236" cy="1588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7CF35EA1-5D59-C771-1D33-7960FD0E39D2}"/>
                </a:ext>
              </a:extLst>
            </p:cNvPr>
            <p:cNvSpPr/>
            <p:nvPr/>
          </p:nvSpPr>
          <p:spPr>
            <a:xfrm>
              <a:off x="3523456" y="2433636"/>
              <a:ext cx="1914525" cy="828675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ＭＳ Ｐゴシック"/>
                  <a:cs typeface="+mn-cs"/>
                </a:rPr>
                <a:t>Text</a:t>
              </a:r>
              <a:endParaRPr kumimoji="0" lang="en-IN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/>
                <a:cs typeface="+mn-cs"/>
              </a:endParaRP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50F2572E-3D30-A0BE-5B4E-01834A7BE741}"/>
                </a:ext>
              </a:extLst>
            </p:cNvPr>
            <p:cNvSpPr/>
            <p:nvPr/>
          </p:nvSpPr>
          <p:spPr>
            <a:xfrm>
              <a:off x="4131805" y="3638547"/>
              <a:ext cx="697828" cy="723904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/>
                <a:cs typeface="+mn-cs"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CCBEAE07-55CB-3E08-7DE0-5EB3CC9E914D}"/>
                </a:ext>
              </a:extLst>
            </p:cNvPr>
            <p:cNvSpPr/>
            <p:nvPr/>
          </p:nvSpPr>
          <p:spPr>
            <a:xfrm>
              <a:off x="3348378" y="3638547"/>
              <a:ext cx="697828" cy="723904"/>
            </a:xfrm>
            <a:prstGeom prst="ellipse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/>
                <a:cs typeface="+mn-cs"/>
              </a:endParaRP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6FEB9AD8-22CF-E831-AAD3-5D3AF57FFA3B}"/>
                </a:ext>
              </a:extLst>
            </p:cNvPr>
            <p:cNvSpPr/>
            <p:nvPr/>
          </p:nvSpPr>
          <p:spPr>
            <a:xfrm>
              <a:off x="4915232" y="3638547"/>
              <a:ext cx="697828" cy="723904"/>
            </a:xfrm>
            <a:prstGeom prst="ellipse">
              <a:avLst/>
            </a:prstGeom>
            <a:solidFill>
              <a:schemeClr val="accent5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/>
                <a:cs typeface="+mn-cs"/>
              </a:endParaRPr>
            </a:p>
          </p:txBody>
        </p:sp>
        <p:cxnSp>
          <p:nvCxnSpPr>
            <p:cNvPr id="21" name="Elbow Connector 52">
              <a:extLst>
                <a:ext uri="{FF2B5EF4-FFF2-40B4-BE49-F238E27FC236}">
                  <a16:creationId xmlns:a16="http://schemas.microsoft.com/office/drawing/2014/main" id="{964667B1-DE62-9181-280B-F07586944C67}"/>
                </a:ext>
              </a:extLst>
            </p:cNvPr>
            <p:cNvCxnSpPr>
              <a:stCxn id="17" idx="2"/>
              <a:endCxn id="20" idx="0"/>
            </p:cNvCxnSpPr>
            <p:nvPr/>
          </p:nvCxnSpPr>
          <p:spPr>
            <a:xfrm rot="16200000" flipH="1">
              <a:off x="4684314" y="3058715"/>
              <a:ext cx="376236" cy="783427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Elbow Connector 53">
              <a:extLst>
                <a:ext uri="{FF2B5EF4-FFF2-40B4-BE49-F238E27FC236}">
                  <a16:creationId xmlns:a16="http://schemas.microsoft.com/office/drawing/2014/main" id="{5B9B6FA8-5347-2F30-D158-1EDE5BAFD83A}"/>
                </a:ext>
              </a:extLst>
            </p:cNvPr>
            <p:cNvCxnSpPr>
              <a:stCxn id="17" idx="2"/>
              <a:endCxn id="19" idx="0"/>
            </p:cNvCxnSpPr>
            <p:nvPr/>
          </p:nvCxnSpPr>
          <p:spPr>
            <a:xfrm rot="5400000">
              <a:off x="3900888" y="3058716"/>
              <a:ext cx="376236" cy="783427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6D7B5F7B-54EB-8FEA-A6F0-BF0AC8177C4A}"/>
                </a:ext>
              </a:extLst>
            </p:cNvPr>
            <p:cNvCxnSpPr>
              <a:stCxn id="18" idx="0"/>
              <a:endCxn id="17" idx="2"/>
            </p:cNvCxnSpPr>
            <p:nvPr/>
          </p:nvCxnSpPr>
          <p:spPr>
            <a:xfrm rot="5400000" flipH="1" flipV="1">
              <a:off x="4292601" y="3450429"/>
              <a:ext cx="376236" cy="1588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F7745C47-40A0-E423-16F0-C74B6F5C1C23}"/>
                </a:ext>
              </a:extLst>
            </p:cNvPr>
            <p:cNvSpPr/>
            <p:nvPr/>
          </p:nvSpPr>
          <p:spPr>
            <a:xfrm>
              <a:off x="6241256" y="2433636"/>
              <a:ext cx="1914525" cy="828675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ＭＳ Ｐゴシック"/>
                  <a:cs typeface="+mn-cs"/>
                </a:rPr>
                <a:t>Text</a:t>
              </a:r>
              <a:endParaRPr kumimoji="0" lang="en-IN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/>
                <a:cs typeface="+mn-cs"/>
              </a:endParaRPr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8147D834-468B-FA52-60F8-D3052E20C2DC}"/>
                </a:ext>
              </a:extLst>
            </p:cNvPr>
            <p:cNvSpPr/>
            <p:nvPr/>
          </p:nvSpPr>
          <p:spPr>
            <a:xfrm>
              <a:off x="6849605" y="3638547"/>
              <a:ext cx="697828" cy="723904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/>
                <a:cs typeface="+mn-cs"/>
              </a:endParaRP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0E64A202-7132-C014-1D0E-BCAC5BD8A101}"/>
                </a:ext>
              </a:extLst>
            </p:cNvPr>
            <p:cNvSpPr/>
            <p:nvPr/>
          </p:nvSpPr>
          <p:spPr>
            <a:xfrm>
              <a:off x="6066178" y="3638547"/>
              <a:ext cx="697828" cy="723904"/>
            </a:xfrm>
            <a:prstGeom prst="ellipse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/>
                <a:cs typeface="+mn-cs"/>
              </a:endParaRP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FBF6BFEF-406C-FF24-62DE-E7F27BEE3124}"/>
                </a:ext>
              </a:extLst>
            </p:cNvPr>
            <p:cNvSpPr/>
            <p:nvPr/>
          </p:nvSpPr>
          <p:spPr>
            <a:xfrm>
              <a:off x="7633032" y="3638547"/>
              <a:ext cx="697828" cy="723904"/>
            </a:xfrm>
            <a:prstGeom prst="ellipse">
              <a:avLst/>
            </a:prstGeom>
            <a:solidFill>
              <a:schemeClr val="accent5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/>
                <a:cs typeface="+mn-cs"/>
              </a:endParaRPr>
            </a:p>
          </p:txBody>
        </p:sp>
        <p:cxnSp>
          <p:nvCxnSpPr>
            <p:cNvPr id="28" name="Elbow Connector 60">
              <a:extLst>
                <a:ext uri="{FF2B5EF4-FFF2-40B4-BE49-F238E27FC236}">
                  <a16:creationId xmlns:a16="http://schemas.microsoft.com/office/drawing/2014/main" id="{C26E6B1B-B0F1-4E91-EB57-7BDE85F075B2}"/>
                </a:ext>
              </a:extLst>
            </p:cNvPr>
            <p:cNvCxnSpPr>
              <a:stCxn id="24" idx="2"/>
              <a:endCxn id="27" idx="0"/>
            </p:cNvCxnSpPr>
            <p:nvPr/>
          </p:nvCxnSpPr>
          <p:spPr>
            <a:xfrm rot="16200000" flipH="1">
              <a:off x="7402114" y="3058715"/>
              <a:ext cx="376236" cy="783427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Elbow Connector 61">
              <a:extLst>
                <a:ext uri="{FF2B5EF4-FFF2-40B4-BE49-F238E27FC236}">
                  <a16:creationId xmlns:a16="http://schemas.microsoft.com/office/drawing/2014/main" id="{1BD83096-D404-2661-8344-08C40D9AF3CB}"/>
                </a:ext>
              </a:extLst>
            </p:cNvPr>
            <p:cNvCxnSpPr>
              <a:stCxn id="24" idx="2"/>
              <a:endCxn id="26" idx="0"/>
            </p:cNvCxnSpPr>
            <p:nvPr/>
          </p:nvCxnSpPr>
          <p:spPr>
            <a:xfrm rot="5400000">
              <a:off x="6618688" y="3058716"/>
              <a:ext cx="376236" cy="783427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E8A24F5F-C6D1-FC75-0FC4-74E7DCE6ED98}"/>
                </a:ext>
              </a:extLst>
            </p:cNvPr>
            <p:cNvCxnSpPr>
              <a:stCxn id="25" idx="0"/>
              <a:endCxn id="24" idx="2"/>
            </p:cNvCxnSpPr>
            <p:nvPr/>
          </p:nvCxnSpPr>
          <p:spPr>
            <a:xfrm rot="5400000" flipH="1" flipV="1">
              <a:off x="7010401" y="3450429"/>
              <a:ext cx="376236" cy="1588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99491913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9CF434-D270-0F92-6014-54952105A9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8" name="think-cell data - do not delete" hidden="1">
            <a:extLst>
              <a:ext uri="{FF2B5EF4-FFF2-40B4-BE49-F238E27FC236}">
                <a16:creationId xmlns:a16="http://schemas.microsoft.com/office/drawing/2014/main" id="{CC390B1C-F326-FC8B-C591-8046C7E51F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2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F7A1CD1-52C7-71C2-584B-D06751F841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CB23CDB-E24D-B860-A660-F02A238E83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roces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6C5665-01D4-248C-10DD-FDBFD50A5E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81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86016F61-C4B9-9A0D-7FD7-717B86F64875}"/>
              </a:ext>
            </a:extLst>
          </p:cNvPr>
          <p:cNvSpPr/>
          <p:nvPr/>
        </p:nvSpPr>
        <p:spPr>
          <a:xfrm rot="10800000">
            <a:off x="1498501" y="2860772"/>
            <a:ext cx="2228807" cy="291988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>
              <a:alpha val="24000"/>
            </a:schemeClr>
          </a:solidFill>
          <a:ln w="28575">
            <a:gradFill flip="none" rotWithShape="1">
              <a:gsLst>
                <a:gs pos="59000">
                  <a:schemeClr val="accent1"/>
                </a:gs>
                <a:gs pos="40000">
                  <a:schemeClr val="accent3"/>
                </a:gs>
                <a:gs pos="0">
                  <a:schemeClr val="accent3">
                    <a:alpha val="0"/>
                  </a:schemeClr>
                </a:gs>
                <a:gs pos="100000">
                  <a:schemeClr val="accent1">
                    <a:alpha val="0"/>
                  </a:schemeClr>
                </a:gs>
              </a:gsLst>
              <a:lin ang="0" scaled="1"/>
              <a:tileRect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2933" dirty="0">
              <a:cs typeface="Calibri" panose="020F050202020403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3D0AC33-0EB1-CF7C-D3D0-E8EA3A819B00}"/>
              </a:ext>
            </a:extLst>
          </p:cNvPr>
          <p:cNvSpPr txBox="1">
            <a:spLocks/>
          </p:cNvSpPr>
          <p:nvPr/>
        </p:nvSpPr>
        <p:spPr>
          <a:xfrm>
            <a:off x="1563047" y="3001251"/>
            <a:ext cx="2099714" cy="338554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>
            <a:defPPr>
              <a:defRPr lang="en-US"/>
            </a:defPPr>
            <a:lvl1pPr>
              <a:defRPr sz="2800"/>
            </a:lvl1pPr>
          </a:lstStyle>
          <a:p>
            <a:r>
              <a:rPr lang="en-IN" sz="1600" b="1" dirty="0">
                <a:cs typeface="Calibri" panose="020F0502020204030204" pitchFamily="34" charset="0"/>
              </a:rPr>
              <a:t>Title</a:t>
            </a:r>
          </a:p>
        </p:txBody>
      </p:sp>
      <p:sp>
        <p:nvSpPr>
          <p:cNvPr id="8" name="Teardrop 7">
            <a:extLst>
              <a:ext uri="{FF2B5EF4-FFF2-40B4-BE49-F238E27FC236}">
                <a16:creationId xmlns:a16="http://schemas.microsoft.com/office/drawing/2014/main" id="{E831DD5A-D671-D5AB-4C8D-F2F58B4FE0AC}"/>
              </a:ext>
            </a:extLst>
          </p:cNvPr>
          <p:cNvSpPr/>
          <p:nvPr/>
        </p:nvSpPr>
        <p:spPr>
          <a:xfrm rot="2700000">
            <a:off x="2033318" y="1550420"/>
            <a:ext cx="1431287" cy="1431286"/>
          </a:xfrm>
          <a:prstGeom prst="teardrop">
            <a:avLst/>
          </a:prstGeom>
          <a:solidFill>
            <a:schemeClr val="bg1">
              <a:alpha val="24000"/>
            </a:schemeClr>
          </a:solidFill>
          <a:ln w="28575">
            <a:gradFill flip="none" rotWithShape="1">
              <a:gsLst>
                <a:gs pos="26000">
                  <a:schemeClr val="accent1">
                    <a:alpha val="0"/>
                  </a:schemeClr>
                </a:gs>
                <a:gs pos="58000">
                  <a:schemeClr val="accent3"/>
                </a:gs>
                <a:gs pos="0">
                  <a:schemeClr val="accent3">
                    <a:alpha val="0"/>
                  </a:schemeClr>
                </a:gs>
                <a:gs pos="80000">
                  <a:schemeClr val="accent1">
                    <a:alpha val="0"/>
                  </a:schemeClr>
                </a:gs>
              </a:gsLst>
              <a:lin ang="13500000" scaled="1"/>
              <a:tileRect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133" dirty="0" err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Teardrop 8">
            <a:extLst>
              <a:ext uri="{FF2B5EF4-FFF2-40B4-BE49-F238E27FC236}">
                <a16:creationId xmlns:a16="http://schemas.microsoft.com/office/drawing/2014/main" id="{3E3D3765-FA2C-0396-E739-EBC448A4D36C}"/>
              </a:ext>
            </a:extLst>
          </p:cNvPr>
          <p:cNvSpPr/>
          <p:nvPr/>
        </p:nvSpPr>
        <p:spPr>
          <a:xfrm rot="2700000">
            <a:off x="1761202" y="1532113"/>
            <a:ext cx="1431287" cy="1431286"/>
          </a:xfrm>
          <a:prstGeom prst="teardrop">
            <a:avLst/>
          </a:prstGeom>
          <a:solidFill>
            <a:schemeClr val="accent1"/>
          </a:solidFill>
          <a:ln w="1905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5" tIns="44807" rIns="89615" bIns="448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68" dirty="0" err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9511BE18-D566-E460-45AA-8814448CE5A2}"/>
              </a:ext>
            </a:extLst>
          </p:cNvPr>
          <p:cNvSpPr/>
          <p:nvPr/>
        </p:nvSpPr>
        <p:spPr>
          <a:xfrm rot="2700000">
            <a:off x="1839414" y="1549727"/>
            <a:ext cx="1431289" cy="1227437"/>
          </a:xfrm>
          <a:custGeom>
            <a:avLst/>
            <a:gdLst>
              <a:gd name="connsiteX0" fmla="*/ 258577 w 1765666"/>
              <a:gd name="connsiteY0" fmla="*/ 258575 h 1514187"/>
              <a:gd name="connsiteX1" fmla="*/ 882834 w 1765666"/>
              <a:gd name="connsiteY1" fmla="*/ 0 h 1514187"/>
              <a:gd name="connsiteX2" fmla="*/ 1765666 w 1765666"/>
              <a:gd name="connsiteY2" fmla="*/ 0 h 1514187"/>
              <a:gd name="connsiteX3" fmla="*/ 1765666 w 1765666"/>
              <a:gd name="connsiteY3" fmla="*/ 15700 h 1514187"/>
              <a:gd name="connsiteX4" fmla="*/ 267179 w 1765666"/>
              <a:gd name="connsiteY4" fmla="*/ 1514187 h 1514187"/>
              <a:gd name="connsiteX5" fmla="*/ 258576 w 1765666"/>
              <a:gd name="connsiteY5" fmla="*/ 1507089 h 1514187"/>
              <a:gd name="connsiteX6" fmla="*/ 0 w 1765666"/>
              <a:gd name="connsiteY6" fmla="*/ 882832 h 1514187"/>
              <a:gd name="connsiteX7" fmla="*/ 1 w 1765666"/>
              <a:gd name="connsiteY7" fmla="*/ 882832 h 1514187"/>
              <a:gd name="connsiteX8" fmla="*/ 258577 w 1765666"/>
              <a:gd name="connsiteY8" fmla="*/ 258575 h 1514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65666" h="1514187">
                <a:moveTo>
                  <a:pt x="258577" y="258575"/>
                </a:moveTo>
                <a:cubicBezTo>
                  <a:pt x="418338" y="98814"/>
                  <a:pt x="639047" y="0"/>
                  <a:pt x="882834" y="0"/>
                </a:cubicBezTo>
                <a:lnTo>
                  <a:pt x="1765666" y="0"/>
                </a:lnTo>
                <a:lnTo>
                  <a:pt x="1765666" y="15700"/>
                </a:lnTo>
                <a:lnTo>
                  <a:pt x="267179" y="1514187"/>
                </a:lnTo>
                <a:lnTo>
                  <a:pt x="258576" y="1507089"/>
                </a:lnTo>
                <a:cubicBezTo>
                  <a:pt x="98815" y="1347327"/>
                  <a:pt x="0" y="1126619"/>
                  <a:pt x="0" y="882832"/>
                </a:cubicBezTo>
                <a:lnTo>
                  <a:pt x="1" y="882832"/>
                </a:lnTo>
                <a:cubicBezTo>
                  <a:pt x="1" y="639044"/>
                  <a:pt x="98816" y="418337"/>
                  <a:pt x="258577" y="258575"/>
                </a:cubicBezTo>
                <a:close/>
              </a:path>
            </a:pathLst>
          </a:custGeom>
          <a:solidFill>
            <a:schemeClr val="accent4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5" tIns="44807" rIns="89615" bIns="448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68" b="1" dirty="0" err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B5232B3-BAEA-9F85-847B-A6A423B21A1F}"/>
              </a:ext>
            </a:extLst>
          </p:cNvPr>
          <p:cNvSpPr txBox="1"/>
          <p:nvPr/>
        </p:nvSpPr>
        <p:spPr>
          <a:xfrm>
            <a:off x="2230646" y="1600641"/>
            <a:ext cx="582170" cy="6667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2800"/>
            </a:lvl1pPr>
          </a:lstStyle>
          <a:p>
            <a:pPr algn="ctr"/>
            <a:r>
              <a:rPr lang="en-IN" sz="3733" b="1" dirty="0">
                <a:solidFill>
                  <a:schemeClr val="bg1"/>
                </a:solidFill>
                <a:cs typeface="Calibri" panose="020F0502020204030204" pitchFamily="34" charset="0"/>
              </a:rPr>
              <a:t>1</a:t>
            </a:r>
          </a:p>
        </p:txBody>
      </p:sp>
      <p:sp>
        <p:nvSpPr>
          <p:cNvPr id="12" name="Rectangle: Top Corners Rounded 11">
            <a:extLst>
              <a:ext uri="{FF2B5EF4-FFF2-40B4-BE49-F238E27FC236}">
                <a16:creationId xmlns:a16="http://schemas.microsoft.com/office/drawing/2014/main" id="{8B247B00-23E5-B141-D034-8B1BCA73A5D6}"/>
              </a:ext>
            </a:extLst>
          </p:cNvPr>
          <p:cNvSpPr/>
          <p:nvPr/>
        </p:nvSpPr>
        <p:spPr>
          <a:xfrm rot="10800000">
            <a:off x="3820566" y="2860772"/>
            <a:ext cx="2228807" cy="291988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>
              <a:alpha val="24000"/>
            </a:schemeClr>
          </a:solidFill>
          <a:ln w="28575">
            <a:gradFill flip="none" rotWithShape="1">
              <a:gsLst>
                <a:gs pos="59000">
                  <a:schemeClr val="accent1"/>
                </a:gs>
                <a:gs pos="40000">
                  <a:schemeClr val="accent3"/>
                </a:gs>
                <a:gs pos="0">
                  <a:schemeClr val="accent3">
                    <a:alpha val="0"/>
                  </a:schemeClr>
                </a:gs>
                <a:gs pos="100000">
                  <a:schemeClr val="accent1">
                    <a:alpha val="0"/>
                  </a:schemeClr>
                </a:gs>
              </a:gsLst>
              <a:lin ang="0" scaled="1"/>
              <a:tileRect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2933" dirty="0">
              <a:cs typeface="Calibri" panose="020F050202020403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BFFF4D4-7A89-CC02-74B8-8612FF6BF484}"/>
              </a:ext>
            </a:extLst>
          </p:cNvPr>
          <p:cNvSpPr txBox="1">
            <a:spLocks/>
          </p:cNvSpPr>
          <p:nvPr/>
        </p:nvSpPr>
        <p:spPr>
          <a:xfrm>
            <a:off x="3885112" y="3001251"/>
            <a:ext cx="2099714" cy="338554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>
            <a:defPPr>
              <a:defRPr lang="en-US"/>
            </a:defPPr>
            <a:lvl1pPr>
              <a:defRPr sz="2800"/>
            </a:lvl1pPr>
          </a:lstStyle>
          <a:p>
            <a:r>
              <a:rPr lang="en-US" sz="1600" b="1" dirty="0">
                <a:cs typeface="Calibri" panose="020F0502020204030204" pitchFamily="34" charset="0"/>
              </a:rPr>
              <a:t>Title</a:t>
            </a:r>
          </a:p>
        </p:txBody>
      </p:sp>
      <p:sp>
        <p:nvSpPr>
          <p:cNvPr id="14" name="Teardrop 13">
            <a:extLst>
              <a:ext uri="{FF2B5EF4-FFF2-40B4-BE49-F238E27FC236}">
                <a16:creationId xmlns:a16="http://schemas.microsoft.com/office/drawing/2014/main" id="{CFA6B615-7EE2-6DCB-DB5E-59995D8020F8}"/>
              </a:ext>
            </a:extLst>
          </p:cNvPr>
          <p:cNvSpPr/>
          <p:nvPr/>
        </p:nvSpPr>
        <p:spPr>
          <a:xfrm rot="2700000">
            <a:off x="4355382" y="1550420"/>
            <a:ext cx="1431287" cy="1431286"/>
          </a:xfrm>
          <a:prstGeom prst="teardrop">
            <a:avLst/>
          </a:prstGeom>
          <a:solidFill>
            <a:schemeClr val="bg1">
              <a:alpha val="24000"/>
            </a:schemeClr>
          </a:solidFill>
          <a:ln w="28575">
            <a:gradFill flip="none" rotWithShape="1">
              <a:gsLst>
                <a:gs pos="26000">
                  <a:schemeClr val="accent1">
                    <a:alpha val="0"/>
                  </a:schemeClr>
                </a:gs>
                <a:gs pos="58000">
                  <a:schemeClr val="accent3"/>
                </a:gs>
                <a:gs pos="0">
                  <a:schemeClr val="accent3">
                    <a:alpha val="0"/>
                  </a:schemeClr>
                </a:gs>
                <a:gs pos="80000">
                  <a:schemeClr val="accent1">
                    <a:alpha val="0"/>
                  </a:schemeClr>
                </a:gs>
              </a:gsLst>
              <a:lin ang="13500000" scaled="1"/>
              <a:tileRect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133" dirty="0" err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" name="Teardrop 14">
            <a:extLst>
              <a:ext uri="{FF2B5EF4-FFF2-40B4-BE49-F238E27FC236}">
                <a16:creationId xmlns:a16="http://schemas.microsoft.com/office/drawing/2014/main" id="{747B18C7-40AC-E78E-EE91-12D89618207D}"/>
              </a:ext>
            </a:extLst>
          </p:cNvPr>
          <p:cNvSpPr/>
          <p:nvPr/>
        </p:nvSpPr>
        <p:spPr>
          <a:xfrm rot="2700000">
            <a:off x="4083267" y="1532113"/>
            <a:ext cx="1431287" cy="1431286"/>
          </a:xfrm>
          <a:prstGeom prst="teardrop">
            <a:avLst/>
          </a:prstGeom>
          <a:solidFill>
            <a:schemeClr val="accent1"/>
          </a:solidFill>
          <a:ln w="1905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5" tIns="44807" rIns="89615" bIns="448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68" dirty="0" err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A4F2E24D-8843-4474-5044-C1F1A240E8C8}"/>
              </a:ext>
            </a:extLst>
          </p:cNvPr>
          <p:cNvSpPr/>
          <p:nvPr/>
        </p:nvSpPr>
        <p:spPr>
          <a:xfrm rot="2700000">
            <a:off x="4161479" y="1549727"/>
            <a:ext cx="1431289" cy="1227437"/>
          </a:xfrm>
          <a:custGeom>
            <a:avLst/>
            <a:gdLst>
              <a:gd name="connsiteX0" fmla="*/ 258577 w 1765666"/>
              <a:gd name="connsiteY0" fmla="*/ 258575 h 1514187"/>
              <a:gd name="connsiteX1" fmla="*/ 882834 w 1765666"/>
              <a:gd name="connsiteY1" fmla="*/ 0 h 1514187"/>
              <a:gd name="connsiteX2" fmla="*/ 1765666 w 1765666"/>
              <a:gd name="connsiteY2" fmla="*/ 0 h 1514187"/>
              <a:gd name="connsiteX3" fmla="*/ 1765666 w 1765666"/>
              <a:gd name="connsiteY3" fmla="*/ 15700 h 1514187"/>
              <a:gd name="connsiteX4" fmla="*/ 267179 w 1765666"/>
              <a:gd name="connsiteY4" fmla="*/ 1514187 h 1514187"/>
              <a:gd name="connsiteX5" fmla="*/ 258576 w 1765666"/>
              <a:gd name="connsiteY5" fmla="*/ 1507089 h 1514187"/>
              <a:gd name="connsiteX6" fmla="*/ 0 w 1765666"/>
              <a:gd name="connsiteY6" fmla="*/ 882832 h 1514187"/>
              <a:gd name="connsiteX7" fmla="*/ 1 w 1765666"/>
              <a:gd name="connsiteY7" fmla="*/ 882832 h 1514187"/>
              <a:gd name="connsiteX8" fmla="*/ 258577 w 1765666"/>
              <a:gd name="connsiteY8" fmla="*/ 258575 h 1514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65666" h="1514187">
                <a:moveTo>
                  <a:pt x="258577" y="258575"/>
                </a:moveTo>
                <a:cubicBezTo>
                  <a:pt x="418338" y="98814"/>
                  <a:pt x="639047" y="0"/>
                  <a:pt x="882834" y="0"/>
                </a:cubicBezTo>
                <a:lnTo>
                  <a:pt x="1765666" y="0"/>
                </a:lnTo>
                <a:lnTo>
                  <a:pt x="1765666" y="15700"/>
                </a:lnTo>
                <a:lnTo>
                  <a:pt x="267179" y="1514187"/>
                </a:lnTo>
                <a:lnTo>
                  <a:pt x="258576" y="1507089"/>
                </a:lnTo>
                <a:cubicBezTo>
                  <a:pt x="98815" y="1347327"/>
                  <a:pt x="0" y="1126619"/>
                  <a:pt x="0" y="882832"/>
                </a:cubicBezTo>
                <a:lnTo>
                  <a:pt x="1" y="882832"/>
                </a:lnTo>
                <a:cubicBezTo>
                  <a:pt x="1" y="639044"/>
                  <a:pt x="98816" y="418337"/>
                  <a:pt x="258577" y="258575"/>
                </a:cubicBezTo>
                <a:close/>
              </a:path>
            </a:pathLst>
          </a:custGeom>
          <a:solidFill>
            <a:schemeClr val="accent4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5" tIns="44807" rIns="89615" bIns="448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68" b="1" dirty="0" err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58D2FE9-B5C1-816A-4C8B-D8361EA9093B}"/>
              </a:ext>
            </a:extLst>
          </p:cNvPr>
          <p:cNvSpPr txBox="1"/>
          <p:nvPr/>
        </p:nvSpPr>
        <p:spPr>
          <a:xfrm>
            <a:off x="4552711" y="1600641"/>
            <a:ext cx="582170" cy="6667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2800"/>
            </a:lvl1pPr>
          </a:lstStyle>
          <a:p>
            <a:pPr algn="ctr"/>
            <a:r>
              <a:rPr lang="en-IN" sz="3733" b="1" dirty="0">
                <a:solidFill>
                  <a:schemeClr val="bg1"/>
                </a:solidFill>
                <a:cs typeface="Calibri" panose="020F0502020204030204" pitchFamily="34" charset="0"/>
              </a:rPr>
              <a:t>2</a:t>
            </a:r>
          </a:p>
        </p:txBody>
      </p: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2AD02E0D-89E0-257D-6D73-C91979FB0F8E}"/>
              </a:ext>
            </a:extLst>
          </p:cNvPr>
          <p:cNvSpPr/>
          <p:nvPr/>
        </p:nvSpPr>
        <p:spPr>
          <a:xfrm rot="10800000">
            <a:off x="6142629" y="2860772"/>
            <a:ext cx="2228807" cy="291988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>
              <a:alpha val="24000"/>
            </a:schemeClr>
          </a:solidFill>
          <a:ln w="28575">
            <a:gradFill flip="none" rotWithShape="1">
              <a:gsLst>
                <a:gs pos="59000">
                  <a:schemeClr val="accent1"/>
                </a:gs>
                <a:gs pos="40000">
                  <a:schemeClr val="accent3"/>
                </a:gs>
                <a:gs pos="0">
                  <a:schemeClr val="accent3">
                    <a:alpha val="0"/>
                  </a:schemeClr>
                </a:gs>
                <a:gs pos="100000">
                  <a:schemeClr val="accent1">
                    <a:alpha val="0"/>
                  </a:schemeClr>
                </a:gs>
              </a:gsLst>
              <a:lin ang="0" scaled="1"/>
              <a:tileRect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2933" dirty="0">
              <a:cs typeface="Calibri" panose="020F050202020403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3C7A84F-1025-9064-575F-CC14979D289A}"/>
              </a:ext>
            </a:extLst>
          </p:cNvPr>
          <p:cNvSpPr txBox="1">
            <a:spLocks/>
          </p:cNvSpPr>
          <p:nvPr/>
        </p:nvSpPr>
        <p:spPr>
          <a:xfrm>
            <a:off x="6207175" y="3001251"/>
            <a:ext cx="2099714" cy="338554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>
            <a:defPPr>
              <a:defRPr lang="en-US"/>
            </a:defPPr>
            <a:lvl1pPr>
              <a:defRPr sz="2800"/>
            </a:lvl1pPr>
          </a:lstStyle>
          <a:p>
            <a:r>
              <a:rPr lang="en-US" sz="1600" b="1" dirty="0">
                <a:cs typeface="Calibri" panose="020F0502020204030204" pitchFamily="34" charset="0"/>
              </a:rPr>
              <a:t>Title</a:t>
            </a:r>
          </a:p>
        </p:txBody>
      </p:sp>
      <p:sp>
        <p:nvSpPr>
          <p:cNvPr id="20" name="Teardrop 19">
            <a:extLst>
              <a:ext uri="{FF2B5EF4-FFF2-40B4-BE49-F238E27FC236}">
                <a16:creationId xmlns:a16="http://schemas.microsoft.com/office/drawing/2014/main" id="{9B6DAC3D-419A-560F-15FB-5B3ACAAAA2E8}"/>
              </a:ext>
            </a:extLst>
          </p:cNvPr>
          <p:cNvSpPr/>
          <p:nvPr/>
        </p:nvSpPr>
        <p:spPr>
          <a:xfrm rot="2700000">
            <a:off x="6677446" y="1550420"/>
            <a:ext cx="1431287" cy="1431286"/>
          </a:xfrm>
          <a:prstGeom prst="teardrop">
            <a:avLst/>
          </a:prstGeom>
          <a:solidFill>
            <a:schemeClr val="bg1">
              <a:alpha val="24000"/>
            </a:schemeClr>
          </a:solidFill>
          <a:ln w="28575">
            <a:gradFill flip="none" rotWithShape="1">
              <a:gsLst>
                <a:gs pos="26000">
                  <a:schemeClr val="accent1">
                    <a:alpha val="0"/>
                  </a:schemeClr>
                </a:gs>
                <a:gs pos="58000">
                  <a:schemeClr val="accent3"/>
                </a:gs>
                <a:gs pos="0">
                  <a:schemeClr val="accent3">
                    <a:alpha val="0"/>
                  </a:schemeClr>
                </a:gs>
                <a:gs pos="80000">
                  <a:schemeClr val="accent1">
                    <a:alpha val="0"/>
                  </a:schemeClr>
                </a:gs>
              </a:gsLst>
              <a:lin ang="13500000" scaled="1"/>
              <a:tileRect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133" dirty="0" err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Teardrop 20">
            <a:extLst>
              <a:ext uri="{FF2B5EF4-FFF2-40B4-BE49-F238E27FC236}">
                <a16:creationId xmlns:a16="http://schemas.microsoft.com/office/drawing/2014/main" id="{A2D3AEE4-FBEF-C9F2-5D66-2EA6A4CF4740}"/>
              </a:ext>
            </a:extLst>
          </p:cNvPr>
          <p:cNvSpPr/>
          <p:nvPr/>
        </p:nvSpPr>
        <p:spPr>
          <a:xfrm rot="2700000">
            <a:off x="6405330" y="1532113"/>
            <a:ext cx="1431287" cy="1431286"/>
          </a:xfrm>
          <a:prstGeom prst="teardrop">
            <a:avLst/>
          </a:prstGeom>
          <a:solidFill>
            <a:schemeClr val="accent1"/>
          </a:solidFill>
          <a:ln w="1905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5" tIns="44807" rIns="89615" bIns="448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68" dirty="0" err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7C46771D-CEA3-C8E6-0DB3-4723A55DA452}"/>
              </a:ext>
            </a:extLst>
          </p:cNvPr>
          <p:cNvSpPr/>
          <p:nvPr/>
        </p:nvSpPr>
        <p:spPr>
          <a:xfrm rot="2700000">
            <a:off x="6483542" y="1549727"/>
            <a:ext cx="1431289" cy="1227437"/>
          </a:xfrm>
          <a:custGeom>
            <a:avLst/>
            <a:gdLst>
              <a:gd name="connsiteX0" fmla="*/ 258577 w 1765666"/>
              <a:gd name="connsiteY0" fmla="*/ 258575 h 1514187"/>
              <a:gd name="connsiteX1" fmla="*/ 882834 w 1765666"/>
              <a:gd name="connsiteY1" fmla="*/ 0 h 1514187"/>
              <a:gd name="connsiteX2" fmla="*/ 1765666 w 1765666"/>
              <a:gd name="connsiteY2" fmla="*/ 0 h 1514187"/>
              <a:gd name="connsiteX3" fmla="*/ 1765666 w 1765666"/>
              <a:gd name="connsiteY3" fmla="*/ 15700 h 1514187"/>
              <a:gd name="connsiteX4" fmla="*/ 267179 w 1765666"/>
              <a:gd name="connsiteY4" fmla="*/ 1514187 h 1514187"/>
              <a:gd name="connsiteX5" fmla="*/ 258576 w 1765666"/>
              <a:gd name="connsiteY5" fmla="*/ 1507089 h 1514187"/>
              <a:gd name="connsiteX6" fmla="*/ 0 w 1765666"/>
              <a:gd name="connsiteY6" fmla="*/ 882832 h 1514187"/>
              <a:gd name="connsiteX7" fmla="*/ 1 w 1765666"/>
              <a:gd name="connsiteY7" fmla="*/ 882832 h 1514187"/>
              <a:gd name="connsiteX8" fmla="*/ 258577 w 1765666"/>
              <a:gd name="connsiteY8" fmla="*/ 258575 h 1514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65666" h="1514187">
                <a:moveTo>
                  <a:pt x="258577" y="258575"/>
                </a:moveTo>
                <a:cubicBezTo>
                  <a:pt x="418338" y="98814"/>
                  <a:pt x="639047" y="0"/>
                  <a:pt x="882834" y="0"/>
                </a:cubicBezTo>
                <a:lnTo>
                  <a:pt x="1765666" y="0"/>
                </a:lnTo>
                <a:lnTo>
                  <a:pt x="1765666" y="15700"/>
                </a:lnTo>
                <a:lnTo>
                  <a:pt x="267179" y="1514187"/>
                </a:lnTo>
                <a:lnTo>
                  <a:pt x="258576" y="1507089"/>
                </a:lnTo>
                <a:cubicBezTo>
                  <a:pt x="98815" y="1347327"/>
                  <a:pt x="0" y="1126619"/>
                  <a:pt x="0" y="882832"/>
                </a:cubicBezTo>
                <a:lnTo>
                  <a:pt x="1" y="882832"/>
                </a:lnTo>
                <a:cubicBezTo>
                  <a:pt x="1" y="639044"/>
                  <a:pt x="98816" y="418337"/>
                  <a:pt x="258577" y="258575"/>
                </a:cubicBezTo>
                <a:close/>
              </a:path>
            </a:pathLst>
          </a:custGeom>
          <a:solidFill>
            <a:schemeClr val="accent4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5" tIns="44807" rIns="89615" bIns="448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68" b="1" dirty="0" err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0620488-171C-A2C4-ACF9-0C5C837D2CB5}"/>
              </a:ext>
            </a:extLst>
          </p:cNvPr>
          <p:cNvSpPr txBox="1"/>
          <p:nvPr/>
        </p:nvSpPr>
        <p:spPr>
          <a:xfrm>
            <a:off x="6874775" y="1600641"/>
            <a:ext cx="582170" cy="6667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2800"/>
            </a:lvl1pPr>
          </a:lstStyle>
          <a:p>
            <a:pPr algn="ctr"/>
            <a:r>
              <a:rPr lang="en-IN" sz="3733" b="1" dirty="0">
                <a:solidFill>
                  <a:schemeClr val="bg1"/>
                </a:solidFill>
                <a:cs typeface="Calibri" panose="020F0502020204030204" pitchFamily="34" charset="0"/>
              </a:rPr>
              <a:t>3</a:t>
            </a:r>
          </a:p>
        </p:txBody>
      </p:sp>
      <p:sp>
        <p:nvSpPr>
          <p:cNvPr id="24" name="Rectangle: Top Corners Rounded 23">
            <a:extLst>
              <a:ext uri="{FF2B5EF4-FFF2-40B4-BE49-F238E27FC236}">
                <a16:creationId xmlns:a16="http://schemas.microsoft.com/office/drawing/2014/main" id="{A655C443-9BFC-0E3B-FC30-183FE9E7AB1A}"/>
              </a:ext>
            </a:extLst>
          </p:cNvPr>
          <p:cNvSpPr/>
          <p:nvPr/>
        </p:nvSpPr>
        <p:spPr>
          <a:xfrm rot="10800000">
            <a:off x="8464693" y="2860772"/>
            <a:ext cx="2228807" cy="291988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>
              <a:alpha val="24000"/>
            </a:schemeClr>
          </a:solidFill>
          <a:ln w="28575">
            <a:gradFill flip="none" rotWithShape="1">
              <a:gsLst>
                <a:gs pos="59000">
                  <a:schemeClr val="accent1"/>
                </a:gs>
                <a:gs pos="40000">
                  <a:schemeClr val="accent3"/>
                </a:gs>
                <a:gs pos="0">
                  <a:schemeClr val="accent3">
                    <a:alpha val="0"/>
                  </a:schemeClr>
                </a:gs>
                <a:gs pos="100000">
                  <a:schemeClr val="accent1">
                    <a:alpha val="0"/>
                  </a:schemeClr>
                </a:gs>
              </a:gsLst>
              <a:lin ang="0" scaled="1"/>
              <a:tileRect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2933" dirty="0">
              <a:cs typeface="Calibri" panose="020F0502020204030204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D31EA927-61F6-9027-FFF9-A74193AE9661}"/>
              </a:ext>
            </a:extLst>
          </p:cNvPr>
          <p:cNvSpPr txBox="1">
            <a:spLocks/>
          </p:cNvSpPr>
          <p:nvPr/>
        </p:nvSpPr>
        <p:spPr>
          <a:xfrm>
            <a:off x="8529239" y="3001251"/>
            <a:ext cx="2099714" cy="338554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>
            <a:defPPr>
              <a:defRPr lang="en-US"/>
            </a:defPPr>
            <a:lvl1pPr>
              <a:defRPr sz="2800"/>
            </a:lvl1pPr>
          </a:lstStyle>
          <a:p>
            <a:r>
              <a:rPr lang="en-IN" sz="1600" b="1" dirty="0">
                <a:cs typeface="Calibri" panose="020F0502020204030204" pitchFamily="34" charset="0"/>
              </a:rPr>
              <a:t>Title</a:t>
            </a:r>
          </a:p>
        </p:txBody>
      </p:sp>
      <p:sp>
        <p:nvSpPr>
          <p:cNvPr id="26" name="Teardrop 25">
            <a:extLst>
              <a:ext uri="{FF2B5EF4-FFF2-40B4-BE49-F238E27FC236}">
                <a16:creationId xmlns:a16="http://schemas.microsoft.com/office/drawing/2014/main" id="{9128A545-ABCD-8674-8593-D56781B3C5EB}"/>
              </a:ext>
            </a:extLst>
          </p:cNvPr>
          <p:cNvSpPr/>
          <p:nvPr/>
        </p:nvSpPr>
        <p:spPr>
          <a:xfrm rot="2700000">
            <a:off x="8999509" y="1550420"/>
            <a:ext cx="1431287" cy="1431286"/>
          </a:xfrm>
          <a:prstGeom prst="teardrop">
            <a:avLst/>
          </a:prstGeom>
          <a:solidFill>
            <a:schemeClr val="bg1">
              <a:alpha val="24000"/>
            </a:schemeClr>
          </a:solidFill>
          <a:ln w="28575">
            <a:gradFill flip="none" rotWithShape="1">
              <a:gsLst>
                <a:gs pos="26000">
                  <a:schemeClr val="accent1">
                    <a:alpha val="0"/>
                  </a:schemeClr>
                </a:gs>
                <a:gs pos="58000">
                  <a:schemeClr val="accent3"/>
                </a:gs>
                <a:gs pos="0">
                  <a:schemeClr val="accent3">
                    <a:alpha val="0"/>
                  </a:schemeClr>
                </a:gs>
                <a:gs pos="80000">
                  <a:schemeClr val="accent1">
                    <a:alpha val="0"/>
                  </a:schemeClr>
                </a:gs>
              </a:gsLst>
              <a:lin ang="13500000" scaled="1"/>
              <a:tileRect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133" dirty="0" err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7" name="Teardrop 26">
            <a:extLst>
              <a:ext uri="{FF2B5EF4-FFF2-40B4-BE49-F238E27FC236}">
                <a16:creationId xmlns:a16="http://schemas.microsoft.com/office/drawing/2014/main" id="{4B958630-A7E8-F23D-3503-1CD2DF50F1BC}"/>
              </a:ext>
            </a:extLst>
          </p:cNvPr>
          <p:cNvSpPr/>
          <p:nvPr/>
        </p:nvSpPr>
        <p:spPr>
          <a:xfrm rot="2700000">
            <a:off x="8727394" y="1532113"/>
            <a:ext cx="1431287" cy="1431286"/>
          </a:xfrm>
          <a:prstGeom prst="teardrop">
            <a:avLst/>
          </a:prstGeom>
          <a:solidFill>
            <a:schemeClr val="accent1"/>
          </a:solidFill>
          <a:ln w="1905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5" tIns="44807" rIns="89615" bIns="448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68" dirty="0" err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442594DE-A52B-4096-1365-0D7C7F4F32A2}"/>
              </a:ext>
            </a:extLst>
          </p:cNvPr>
          <p:cNvSpPr/>
          <p:nvPr/>
        </p:nvSpPr>
        <p:spPr>
          <a:xfrm rot="2700000">
            <a:off x="8805606" y="1549727"/>
            <a:ext cx="1431289" cy="1227437"/>
          </a:xfrm>
          <a:custGeom>
            <a:avLst/>
            <a:gdLst>
              <a:gd name="connsiteX0" fmla="*/ 258577 w 1765666"/>
              <a:gd name="connsiteY0" fmla="*/ 258575 h 1514187"/>
              <a:gd name="connsiteX1" fmla="*/ 882834 w 1765666"/>
              <a:gd name="connsiteY1" fmla="*/ 0 h 1514187"/>
              <a:gd name="connsiteX2" fmla="*/ 1765666 w 1765666"/>
              <a:gd name="connsiteY2" fmla="*/ 0 h 1514187"/>
              <a:gd name="connsiteX3" fmla="*/ 1765666 w 1765666"/>
              <a:gd name="connsiteY3" fmla="*/ 15700 h 1514187"/>
              <a:gd name="connsiteX4" fmla="*/ 267179 w 1765666"/>
              <a:gd name="connsiteY4" fmla="*/ 1514187 h 1514187"/>
              <a:gd name="connsiteX5" fmla="*/ 258576 w 1765666"/>
              <a:gd name="connsiteY5" fmla="*/ 1507089 h 1514187"/>
              <a:gd name="connsiteX6" fmla="*/ 0 w 1765666"/>
              <a:gd name="connsiteY6" fmla="*/ 882832 h 1514187"/>
              <a:gd name="connsiteX7" fmla="*/ 1 w 1765666"/>
              <a:gd name="connsiteY7" fmla="*/ 882832 h 1514187"/>
              <a:gd name="connsiteX8" fmla="*/ 258577 w 1765666"/>
              <a:gd name="connsiteY8" fmla="*/ 258575 h 1514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65666" h="1514187">
                <a:moveTo>
                  <a:pt x="258577" y="258575"/>
                </a:moveTo>
                <a:cubicBezTo>
                  <a:pt x="418338" y="98814"/>
                  <a:pt x="639047" y="0"/>
                  <a:pt x="882834" y="0"/>
                </a:cubicBezTo>
                <a:lnTo>
                  <a:pt x="1765666" y="0"/>
                </a:lnTo>
                <a:lnTo>
                  <a:pt x="1765666" y="15700"/>
                </a:lnTo>
                <a:lnTo>
                  <a:pt x="267179" y="1514187"/>
                </a:lnTo>
                <a:lnTo>
                  <a:pt x="258576" y="1507089"/>
                </a:lnTo>
                <a:cubicBezTo>
                  <a:pt x="98815" y="1347327"/>
                  <a:pt x="0" y="1126619"/>
                  <a:pt x="0" y="882832"/>
                </a:cubicBezTo>
                <a:lnTo>
                  <a:pt x="1" y="882832"/>
                </a:lnTo>
                <a:cubicBezTo>
                  <a:pt x="1" y="639044"/>
                  <a:pt x="98816" y="418337"/>
                  <a:pt x="258577" y="258575"/>
                </a:cubicBezTo>
                <a:close/>
              </a:path>
            </a:pathLst>
          </a:custGeom>
          <a:solidFill>
            <a:schemeClr val="accent4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5" tIns="44807" rIns="89615" bIns="448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68" b="1" dirty="0" err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DAF6C6FC-1812-2A36-974E-3E964A04A2F2}"/>
              </a:ext>
            </a:extLst>
          </p:cNvPr>
          <p:cNvSpPr txBox="1"/>
          <p:nvPr/>
        </p:nvSpPr>
        <p:spPr>
          <a:xfrm>
            <a:off x="9196838" y="1600641"/>
            <a:ext cx="582170" cy="6667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2800"/>
            </a:lvl1pPr>
          </a:lstStyle>
          <a:p>
            <a:pPr algn="ctr"/>
            <a:r>
              <a:rPr lang="en-IN" sz="3733" b="1" dirty="0">
                <a:solidFill>
                  <a:schemeClr val="bg1"/>
                </a:solidFill>
                <a:cs typeface="Calibri" panose="020F0502020204030204" pitchFamily="34" charset="0"/>
              </a:rPr>
              <a:t>4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EF654F9-A4D7-17A8-8A58-1DBE712E1B61}"/>
              </a:ext>
            </a:extLst>
          </p:cNvPr>
          <p:cNvSpPr txBox="1">
            <a:spLocks/>
          </p:cNvSpPr>
          <p:nvPr/>
        </p:nvSpPr>
        <p:spPr>
          <a:xfrm>
            <a:off x="1563047" y="3761156"/>
            <a:ext cx="2099715" cy="31810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>
            <a:defPPr>
              <a:defRPr lang="en-US"/>
            </a:defPPr>
            <a:lvl1pPr>
              <a:defRPr sz="2800"/>
            </a:lvl1pPr>
          </a:lstStyle>
          <a:p>
            <a:pPr algn="ctr">
              <a:spcBef>
                <a:spcPts val="133"/>
              </a:spcBef>
              <a:buClr>
                <a:schemeClr val="tx1"/>
              </a:buClr>
              <a:buSzPct val="100000"/>
            </a:pPr>
            <a:r>
              <a:rPr lang="en-US" sz="1467" dirty="0">
                <a:cs typeface="Calibri" panose="020F0502020204030204" pitchFamily="34" charset="0"/>
              </a:rPr>
              <a:t>Insert Text Here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D926B4C7-FB43-F6DC-07DF-E0C62BD15644}"/>
              </a:ext>
            </a:extLst>
          </p:cNvPr>
          <p:cNvSpPr txBox="1">
            <a:spLocks/>
          </p:cNvSpPr>
          <p:nvPr/>
        </p:nvSpPr>
        <p:spPr>
          <a:xfrm>
            <a:off x="3885112" y="3761156"/>
            <a:ext cx="2099715" cy="31810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>
            <a:defPPr>
              <a:defRPr lang="en-US"/>
            </a:defPPr>
            <a:lvl1pPr>
              <a:defRPr sz="2800"/>
            </a:lvl1pPr>
          </a:lstStyle>
          <a:p>
            <a:pPr algn="ctr">
              <a:spcBef>
                <a:spcPts val="133"/>
              </a:spcBef>
              <a:buClr>
                <a:schemeClr val="tx1"/>
              </a:buClr>
              <a:buSzPct val="100000"/>
            </a:pPr>
            <a:r>
              <a:rPr lang="en-US" sz="1467" dirty="0">
                <a:cs typeface="Calibri" panose="020F0502020204030204" pitchFamily="34" charset="0"/>
              </a:rPr>
              <a:t>Insert Text Here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62C6F679-E7F7-4BBD-4165-ABE3003FF322}"/>
              </a:ext>
            </a:extLst>
          </p:cNvPr>
          <p:cNvSpPr txBox="1">
            <a:spLocks/>
          </p:cNvSpPr>
          <p:nvPr/>
        </p:nvSpPr>
        <p:spPr>
          <a:xfrm>
            <a:off x="6207175" y="3761156"/>
            <a:ext cx="2099715" cy="31810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>
            <a:defPPr>
              <a:defRPr lang="en-US"/>
            </a:defPPr>
            <a:lvl1pPr>
              <a:defRPr sz="2800"/>
            </a:lvl1pPr>
          </a:lstStyle>
          <a:p>
            <a:pPr algn="ctr">
              <a:spcBef>
                <a:spcPts val="133"/>
              </a:spcBef>
              <a:buClr>
                <a:schemeClr val="tx1"/>
              </a:buClr>
              <a:buSzPct val="100000"/>
            </a:pPr>
            <a:r>
              <a:rPr lang="en-US" sz="1467" dirty="0">
                <a:cs typeface="Calibri" panose="020F0502020204030204" pitchFamily="34" charset="0"/>
              </a:rPr>
              <a:t>Insert Text Here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86AE0F6F-A2C4-8685-09B7-F879ACFF4C9B}"/>
              </a:ext>
            </a:extLst>
          </p:cNvPr>
          <p:cNvSpPr txBox="1">
            <a:spLocks/>
          </p:cNvSpPr>
          <p:nvPr/>
        </p:nvSpPr>
        <p:spPr>
          <a:xfrm>
            <a:off x="8529239" y="3761156"/>
            <a:ext cx="2099715" cy="31810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>
            <a:defPPr>
              <a:defRPr lang="en-US"/>
            </a:defPPr>
            <a:lvl1pPr>
              <a:defRPr sz="2800"/>
            </a:lvl1pPr>
          </a:lstStyle>
          <a:p>
            <a:pPr algn="ctr">
              <a:spcBef>
                <a:spcPts val="133"/>
              </a:spcBef>
              <a:buClr>
                <a:schemeClr val="tx1"/>
              </a:buClr>
              <a:buSzPct val="100000"/>
            </a:pPr>
            <a:r>
              <a:rPr lang="en-US" sz="1467" dirty="0">
                <a:cs typeface="Calibri" panose="020F0502020204030204" pitchFamily="34" charset="0"/>
              </a:rPr>
              <a:t>Insert Text Here</a:t>
            </a:r>
          </a:p>
        </p:txBody>
      </p:sp>
    </p:spTree>
    <p:extLst>
      <p:ext uri="{BB962C8B-B14F-4D97-AF65-F5344CB8AC3E}">
        <p14:creationId xmlns:p14="http://schemas.microsoft.com/office/powerpoint/2010/main" val="3192047788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7A55342-1BD5-87D5-78C4-EC8EE96AE5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think-cell data - do not delete" hidden="1">
            <a:extLst>
              <a:ext uri="{FF2B5EF4-FFF2-40B4-BE49-F238E27FC236}">
                <a16:creationId xmlns:a16="http://schemas.microsoft.com/office/drawing/2014/main" id="{6FF9232A-9FF8-D1B7-CFB5-AEED0E01018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FF9232A-9FF8-D1B7-CFB5-AEED0E0101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F410F5B-5778-457E-0F47-3015FB217E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roces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E6DBF28-373B-0FCC-A0F3-769FE927EC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82</a:t>
            </a:fld>
            <a:endParaRPr lang="en-US" dirty="0"/>
          </a:p>
        </p:txBody>
      </p:sp>
      <p:sp>
        <p:nvSpPr>
          <p:cNvPr id="5" name="Rectangle 2">
            <a:extLst>
              <a:ext uri="{FF2B5EF4-FFF2-40B4-BE49-F238E27FC236}">
                <a16:creationId xmlns:a16="http://schemas.microsoft.com/office/drawing/2014/main" id="{BA259646-3E35-D2CD-8F6A-B711FF581B4E}"/>
              </a:ext>
            </a:extLst>
          </p:cNvPr>
          <p:cNvSpPr/>
          <p:nvPr/>
        </p:nvSpPr>
        <p:spPr>
          <a:xfrm>
            <a:off x="7714514" y="2180123"/>
            <a:ext cx="662380" cy="3415813"/>
          </a:xfrm>
          <a:custGeom>
            <a:avLst/>
            <a:gdLst>
              <a:gd name="connsiteX0" fmla="*/ 0 w 868101"/>
              <a:gd name="connsiteY0" fmla="*/ 0 h 3194612"/>
              <a:gd name="connsiteX1" fmla="*/ 868101 w 868101"/>
              <a:gd name="connsiteY1" fmla="*/ 0 h 3194612"/>
              <a:gd name="connsiteX2" fmla="*/ 868101 w 868101"/>
              <a:gd name="connsiteY2" fmla="*/ 3194612 h 3194612"/>
              <a:gd name="connsiteX3" fmla="*/ 0 w 868101"/>
              <a:gd name="connsiteY3" fmla="*/ 3194612 h 3194612"/>
              <a:gd name="connsiteX4" fmla="*/ 0 w 868101"/>
              <a:gd name="connsiteY4" fmla="*/ 0 h 3194612"/>
              <a:gd name="connsiteX0" fmla="*/ 0 w 868101"/>
              <a:gd name="connsiteY0" fmla="*/ 0 h 3194612"/>
              <a:gd name="connsiteX1" fmla="*/ 856526 w 868101"/>
              <a:gd name="connsiteY1" fmla="*/ 717631 h 3194612"/>
              <a:gd name="connsiteX2" fmla="*/ 868101 w 868101"/>
              <a:gd name="connsiteY2" fmla="*/ 3194612 h 3194612"/>
              <a:gd name="connsiteX3" fmla="*/ 0 w 868101"/>
              <a:gd name="connsiteY3" fmla="*/ 3194612 h 3194612"/>
              <a:gd name="connsiteX4" fmla="*/ 0 w 868101"/>
              <a:gd name="connsiteY4" fmla="*/ 0 h 3194612"/>
              <a:gd name="connsiteX0" fmla="*/ 0 w 868101"/>
              <a:gd name="connsiteY0" fmla="*/ 0 h 3194612"/>
              <a:gd name="connsiteX1" fmla="*/ 856526 w 868101"/>
              <a:gd name="connsiteY1" fmla="*/ 717631 h 3194612"/>
              <a:gd name="connsiteX2" fmla="*/ 868101 w 868101"/>
              <a:gd name="connsiteY2" fmla="*/ 3194612 h 3194612"/>
              <a:gd name="connsiteX3" fmla="*/ 0 w 868101"/>
              <a:gd name="connsiteY3" fmla="*/ 2303361 h 3194612"/>
              <a:gd name="connsiteX4" fmla="*/ 0 w 868101"/>
              <a:gd name="connsiteY4" fmla="*/ 0 h 3194612"/>
              <a:gd name="connsiteX0" fmla="*/ 0 w 869214"/>
              <a:gd name="connsiteY0" fmla="*/ 0 h 3194612"/>
              <a:gd name="connsiteX1" fmla="*/ 868101 w 869214"/>
              <a:gd name="connsiteY1" fmla="*/ 1284790 h 3194612"/>
              <a:gd name="connsiteX2" fmla="*/ 868101 w 869214"/>
              <a:gd name="connsiteY2" fmla="*/ 3194612 h 3194612"/>
              <a:gd name="connsiteX3" fmla="*/ 0 w 869214"/>
              <a:gd name="connsiteY3" fmla="*/ 2303361 h 3194612"/>
              <a:gd name="connsiteX4" fmla="*/ 0 w 869214"/>
              <a:gd name="connsiteY4" fmla="*/ 0 h 3194612"/>
              <a:gd name="connsiteX0" fmla="*/ 11575 w 880789"/>
              <a:gd name="connsiteY0" fmla="*/ 0 h 3194612"/>
              <a:gd name="connsiteX1" fmla="*/ 879676 w 880789"/>
              <a:gd name="connsiteY1" fmla="*/ 1284790 h 3194612"/>
              <a:gd name="connsiteX2" fmla="*/ 879676 w 880789"/>
              <a:gd name="connsiteY2" fmla="*/ 3194612 h 3194612"/>
              <a:gd name="connsiteX3" fmla="*/ 0 w 880789"/>
              <a:gd name="connsiteY3" fmla="*/ 1851948 h 3194612"/>
              <a:gd name="connsiteX4" fmla="*/ 11575 w 880789"/>
              <a:gd name="connsiteY4" fmla="*/ 0 h 3194612"/>
              <a:gd name="connsiteX0" fmla="*/ 219919 w 880789"/>
              <a:gd name="connsiteY0" fmla="*/ 0 h 2835797"/>
              <a:gd name="connsiteX1" fmla="*/ 879676 w 880789"/>
              <a:gd name="connsiteY1" fmla="*/ 925975 h 2835797"/>
              <a:gd name="connsiteX2" fmla="*/ 879676 w 880789"/>
              <a:gd name="connsiteY2" fmla="*/ 2835797 h 2835797"/>
              <a:gd name="connsiteX3" fmla="*/ 0 w 880789"/>
              <a:gd name="connsiteY3" fmla="*/ 1493133 h 2835797"/>
              <a:gd name="connsiteX4" fmla="*/ 219919 w 880789"/>
              <a:gd name="connsiteY4" fmla="*/ 0 h 2835797"/>
              <a:gd name="connsiteX0" fmla="*/ 266218 w 880789"/>
              <a:gd name="connsiteY0" fmla="*/ 0 h 2801073"/>
              <a:gd name="connsiteX1" fmla="*/ 879676 w 880789"/>
              <a:gd name="connsiteY1" fmla="*/ 891251 h 2801073"/>
              <a:gd name="connsiteX2" fmla="*/ 879676 w 880789"/>
              <a:gd name="connsiteY2" fmla="*/ 2801073 h 2801073"/>
              <a:gd name="connsiteX3" fmla="*/ 0 w 880789"/>
              <a:gd name="connsiteY3" fmla="*/ 1458409 h 2801073"/>
              <a:gd name="connsiteX4" fmla="*/ 266218 w 880789"/>
              <a:gd name="connsiteY4" fmla="*/ 0 h 2801073"/>
              <a:gd name="connsiteX0" fmla="*/ 219919 w 880789"/>
              <a:gd name="connsiteY0" fmla="*/ 0 h 2801073"/>
              <a:gd name="connsiteX1" fmla="*/ 879676 w 880789"/>
              <a:gd name="connsiteY1" fmla="*/ 891251 h 2801073"/>
              <a:gd name="connsiteX2" fmla="*/ 879676 w 880789"/>
              <a:gd name="connsiteY2" fmla="*/ 2801073 h 2801073"/>
              <a:gd name="connsiteX3" fmla="*/ 0 w 880789"/>
              <a:gd name="connsiteY3" fmla="*/ 1458409 h 2801073"/>
              <a:gd name="connsiteX4" fmla="*/ 219919 w 880789"/>
              <a:gd name="connsiteY4" fmla="*/ 0 h 2801073"/>
              <a:gd name="connsiteX0" fmla="*/ 243069 w 880789"/>
              <a:gd name="connsiteY0" fmla="*/ 0 h 3044142"/>
              <a:gd name="connsiteX1" fmla="*/ 879676 w 880789"/>
              <a:gd name="connsiteY1" fmla="*/ 1134320 h 3044142"/>
              <a:gd name="connsiteX2" fmla="*/ 879676 w 880789"/>
              <a:gd name="connsiteY2" fmla="*/ 3044142 h 3044142"/>
              <a:gd name="connsiteX3" fmla="*/ 0 w 880789"/>
              <a:gd name="connsiteY3" fmla="*/ 1701478 h 3044142"/>
              <a:gd name="connsiteX4" fmla="*/ 243069 w 880789"/>
              <a:gd name="connsiteY4" fmla="*/ 0 h 3044142"/>
              <a:gd name="connsiteX0" fmla="*/ 104173 w 741893"/>
              <a:gd name="connsiteY0" fmla="*/ 0 h 3044142"/>
              <a:gd name="connsiteX1" fmla="*/ 740780 w 741893"/>
              <a:gd name="connsiteY1" fmla="*/ 1134320 h 3044142"/>
              <a:gd name="connsiteX2" fmla="*/ 740780 w 741893"/>
              <a:gd name="connsiteY2" fmla="*/ 3044142 h 3044142"/>
              <a:gd name="connsiteX3" fmla="*/ 0 w 741893"/>
              <a:gd name="connsiteY3" fmla="*/ 1678328 h 3044142"/>
              <a:gd name="connsiteX4" fmla="*/ 104173 w 741893"/>
              <a:gd name="connsiteY4" fmla="*/ 0 h 3044142"/>
              <a:gd name="connsiteX0" fmla="*/ 104173 w 740828"/>
              <a:gd name="connsiteY0" fmla="*/ 0 h 2639028"/>
              <a:gd name="connsiteX1" fmla="*/ 740780 w 740828"/>
              <a:gd name="connsiteY1" fmla="*/ 1134320 h 2639028"/>
              <a:gd name="connsiteX2" fmla="*/ 520861 w 740828"/>
              <a:gd name="connsiteY2" fmla="*/ 2639028 h 2639028"/>
              <a:gd name="connsiteX3" fmla="*/ 0 w 740828"/>
              <a:gd name="connsiteY3" fmla="*/ 1678328 h 2639028"/>
              <a:gd name="connsiteX4" fmla="*/ 104173 w 740828"/>
              <a:gd name="connsiteY4" fmla="*/ 0 h 2639028"/>
              <a:gd name="connsiteX0" fmla="*/ 104173 w 567357"/>
              <a:gd name="connsiteY0" fmla="*/ 0 h 2639028"/>
              <a:gd name="connsiteX1" fmla="*/ 567160 w 567357"/>
              <a:gd name="connsiteY1" fmla="*/ 833378 h 2639028"/>
              <a:gd name="connsiteX2" fmla="*/ 520861 w 567357"/>
              <a:gd name="connsiteY2" fmla="*/ 2639028 h 2639028"/>
              <a:gd name="connsiteX3" fmla="*/ 0 w 567357"/>
              <a:gd name="connsiteY3" fmla="*/ 1678328 h 2639028"/>
              <a:gd name="connsiteX4" fmla="*/ 104173 w 567357"/>
              <a:gd name="connsiteY4" fmla="*/ 0 h 2639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7357" h="2639028">
                <a:moveTo>
                  <a:pt x="104173" y="0"/>
                </a:moveTo>
                <a:lnTo>
                  <a:pt x="567160" y="833378"/>
                </a:lnTo>
                <a:cubicBezTo>
                  <a:pt x="571018" y="1659038"/>
                  <a:pt x="517003" y="1813368"/>
                  <a:pt x="520861" y="2639028"/>
                </a:cubicBezTo>
                <a:lnTo>
                  <a:pt x="0" y="1678328"/>
                </a:lnTo>
                <a:cubicBezTo>
                  <a:pt x="3858" y="1061012"/>
                  <a:pt x="100315" y="617316"/>
                  <a:pt x="104173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 dirty="0">
              <a:solidFill>
                <a:prstClr val="white"/>
              </a:solidFill>
            </a:endParaRPr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C980D7AD-CFE6-A7DA-3CAA-55027BB43303}"/>
              </a:ext>
            </a:extLst>
          </p:cNvPr>
          <p:cNvSpPr/>
          <p:nvPr/>
        </p:nvSpPr>
        <p:spPr>
          <a:xfrm>
            <a:off x="3160947" y="2180125"/>
            <a:ext cx="662380" cy="3485131"/>
          </a:xfrm>
          <a:custGeom>
            <a:avLst/>
            <a:gdLst>
              <a:gd name="connsiteX0" fmla="*/ 0 w 868101"/>
              <a:gd name="connsiteY0" fmla="*/ 0 h 3194612"/>
              <a:gd name="connsiteX1" fmla="*/ 868101 w 868101"/>
              <a:gd name="connsiteY1" fmla="*/ 0 h 3194612"/>
              <a:gd name="connsiteX2" fmla="*/ 868101 w 868101"/>
              <a:gd name="connsiteY2" fmla="*/ 3194612 h 3194612"/>
              <a:gd name="connsiteX3" fmla="*/ 0 w 868101"/>
              <a:gd name="connsiteY3" fmla="*/ 3194612 h 3194612"/>
              <a:gd name="connsiteX4" fmla="*/ 0 w 868101"/>
              <a:gd name="connsiteY4" fmla="*/ 0 h 3194612"/>
              <a:gd name="connsiteX0" fmla="*/ 0 w 868101"/>
              <a:gd name="connsiteY0" fmla="*/ 0 h 3194612"/>
              <a:gd name="connsiteX1" fmla="*/ 856526 w 868101"/>
              <a:gd name="connsiteY1" fmla="*/ 717631 h 3194612"/>
              <a:gd name="connsiteX2" fmla="*/ 868101 w 868101"/>
              <a:gd name="connsiteY2" fmla="*/ 3194612 h 3194612"/>
              <a:gd name="connsiteX3" fmla="*/ 0 w 868101"/>
              <a:gd name="connsiteY3" fmla="*/ 3194612 h 3194612"/>
              <a:gd name="connsiteX4" fmla="*/ 0 w 868101"/>
              <a:gd name="connsiteY4" fmla="*/ 0 h 3194612"/>
              <a:gd name="connsiteX0" fmla="*/ 0 w 868101"/>
              <a:gd name="connsiteY0" fmla="*/ 0 h 3194612"/>
              <a:gd name="connsiteX1" fmla="*/ 856526 w 868101"/>
              <a:gd name="connsiteY1" fmla="*/ 717631 h 3194612"/>
              <a:gd name="connsiteX2" fmla="*/ 868101 w 868101"/>
              <a:gd name="connsiteY2" fmla="*/ 3194612 h 3194612"/>
              <a:gd name="connsiteX3" fmla="*/ 0 w 868101"/>
              <a:gd name="connsiteY3" fmla="*/ 2303361 h 3194612"/>
              <a:gd name="connsiteX4" fmla="*/ 0 w 868101"/>
              <a:gd name="connsiteY4" fmla="*/ 0 h 3194612"/>
              <a:gd name="connsiteX0" fmla="*/ 0 w 869214"/>
              <a:gd name="connsiteY0" fmla="*/ 0 h 3194612"/>
              <a:gd name="connsiteX1" fmla="*/ 868101 w 869214"/>
              <a:gd name="connsiteY1" fmla="*/ 1284790 h 3194612"/>
              <a:gd name="connsiteX2" fmla="*/ 868101 w 869214"/>
              <a:gd name="connsiteY2" fmla="*/ 3194612 h 3194612"/>
              <a:gd name="connsiteX3" fmla="*/ 0 w 869214"/>
              <a:gd name="connsiteY3" fmla="*/ 2303361 h 3194612"/>
              <a:gd name="connsiteX4" fmla="*/ 0 w 869214"/>
              <a:gd name="connsiteY4" fmla="*/ 0 h 3194612"/>
              <a:gd name="connsiteX0" fmla="*/ 11575 w 880789"/>
              <a:gd name="connsiteY0" fmla="*/ 0 h 3194612"/>
              <a:gd name="connsiteX1" fmla="*/ 879676 w 880789"/>
              <a:gd name="connsiteY1" fmla="*/ 1284790 h 3194612"/>
              <a:gd name="connsiteX2" fmla="*/ 879676 w 880789"/>
              <a:gd name="connsiteY2" fmla="*/ 3194612 h 3194612"/>
              <a:gd name="connsiteX3" fmla="*/ 0 w 880789"/>
              <a:gd name="connsiteY3" fmla="*/ 1851948 h 3194612"/>
              <a:gd name="connsiteX4" fmla="*/ 11575 w 880789"/>
              <a:gd name="connsiteY4" fmla="*/ 0 h 3194612"/>
              <a:gd name="connsiteX0" fmla="*/ 219919 w 880789"/>
              <a:gd name="connsiteY0" fmla="*/ 0 h 2835797"/>
              <a:gd name="connsiteX1" fmla="*/ 879676 w 880789"/>
              <a:gd name="connsiteY1" fmla="*/ 925975 h 2835797"/>
              <a:gd name="connsiteX2" fmla="*/ 879676 w 880789"/>
              <a:gd name="connsiteY2" fmla="*/ 2835797 h 2835797"/>
              <a:gd name="connsiteX3" fmla="*/ 0 w 880789"/>
              <a:gd name="connsiteY3" fmla="*/ 1493133 h 2835797"/>
              <a:gd name="connsiteX4" fmla="*/ 219919 w 880789"/>
              <a:gd name="connsiteY4" fmla="*/ 0 h 2835797"/>
              <a:gd name="connsiteX0" fmla="*/ 266218 w 880789"/>
              <a:gd name="connsiteY0" fmla="*/ 0 h 2801073"/>
              <a:gd name="connsiteX1" fmla="*/ 879676 w 880789"/>
              <a:gd name="connsiteY1" fmla="*/ 891251 h 2801073"/>
              <a:gd name="connsiteX2" fmla="*/ 879676 w 880789"/>
              <a:gd name="connsiteY2" fmla="*/ 2801073 h 2801073"/>
              <a:gd name="connsiteX3" fmla="*/ 0 w 880789"/>
              <a:gd name="connsiteY3" fmla="*/ 1458409 h 2801073"/>
              <a:gd name="connsiteX4" fmla="*/ 266218 w 880789"/>
              <a:gd name="connsiteY4" fmla="*/ 0 h 2801073"/>
              <a:gd name="connsiteX0" fmla="*/ 219919 w 880789"/>
              <a:gd name="connsiteY0" fmla="*/ 0 h 2801073"/>
              <a:gd name="connsiteX1" fmla="*/ 879676 w 880789"/>
              <a:gd name="connsiteY1" fmla="*/ 891251 h 2801073"/>
              <a:gd name="connsiteX2" fmla="*/ 879676 w 880789"/>
              <a:gd name="connsiteY2" fmla="*/ 2801073 h 2801073"/>
              <a:gd name="connsiteX3" fmla="*/ 0 w 880789"/>
              <a:gd name="connsiteY3" fmla="*/ 1458409 h 2801073"/>
              <a:gd name="connsiteX4" fmla="*/ 219919 w 880789"/>
              <a:gd name="connsiteY4" fmla="*/ 0 h 2801073"/>
              <a:gd name="connsiteX0" fmla="*/ 243069 w 880789"/>
              <a:gd name="connsiteY0" fmla="*/ 0 h 3044142"/>
              <a:gd name="connsiteX1" fmla="*/ 879676 w 880789"/>
              <a:gd name="connsiteY1" fmla="*/ 1134320 h 3044142"/>
              <a:gd name="connsiteX2" fmla="*/ 879676 w 880789"/>
              <a:gd name="connsiteY2" fmla="*/ 3044142 h 3044142"/>
              <a:gd name="connsiteX3" fmla="*/ 0 w 880789"/>
              <a:gd name="connsiteY3" fmla="*/ 1701478 h 3044142"/>
              <a:gd name="connsiteX4" fmla="*/ 243069 w 880789"/>
              <a:gd name="connsiteY4" fmla="*/ 0 h 3044142"/>
              <a:gd name="connsiteX0" fmla="*/ 104173 w 741893"/>
              <a:gd name="connsiteY0" fmla="*/ 0 h 3044142"/>
              <a:gd name="connsiteX1" fmla="*/ 740780 w 741893"/>
              <a:gd name="connsiteY1" fmla="*/ 1134320 h 3044142"/>
              <a:gd name="connsiteX2" fmla="*/ 740780 w 741893"/>
              <a:gd name="connsiteY2" fmla="*/ 3044142 h 3044142"/>
              <a:gd name="connsiteX3" fmla="*/ 0 w 741893"/>
              <a:gd name="connsiteY3" fmla="*/ 1678328 h 3044142"/>
              <a:gd name="connsiteX4" fmla="*/ 104173 w 741893"/>
              <a:gd name="connsiteY4" fmla="*/ 0 h 3044142"/>
              <a:gd name="connsiteX0" fmla="*/ 104173 w 740828"/>
              <a:gd name="connsiteY0" fmla="*/ 0 h 2639028"/>
              <a:gd name="connsiteX1" fmla="*/ 740780 w 740828"/>
              <a:gd name="connsiteY1" fmla="*/ 1134320 h 2639028"/>
              <a:gd name="connsiteX2" fmla="*/ 520861 w 740828"/>
              <a:gd name="connsiteY2" fmla="*/ 2639028 h 2639028"/>
              <a:gd name="connsiteX3" fmla="*/ 0 w 740828"/>
              <a:gd name="connsiteY3" fmla="*/ 1678328 h 2639028"/>
              <a:gd name="connsiteX4" fmla="*/ 104173 w 740828"/>
              <a:gd name="connsiteY4" fmla="*/ 0 h 2639028"/>
              <a:gd name="connsiteX0" fmla="*/ 104173 w 567357"/>
              <a:gd name="connsiteY0" fmla="*/ 0 h 2639028"/>
              <a:gd name="connsiteX1" fmla="*/ 567160 w 567357"/>
              <a:gd name="connsiteY1" fmla="*/ 833378 h 2639028"/>
              <a:gd name="connsiteX2" fmla="*/ 520861 w 567357"/>
              <a:gd name="connsiteY2" fmla="*/ 2639028 h 2639028"/>
              <a:gd name="connsiteX3" fmla="*/ 0 w 567357"/>
              <a:gd name="connsiteY3" fmla="*/ 1678328 h 2639028"/>
              <a:gd name="connsiteX4" fmla="*/ 104173 w 567357"/>
              <a:gd name="connsiteY4" fmla="*/ 0 h 2639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7357" h="2639028">
                <a:moveTo>
                  <a:pt x="104173" y="0"/>
                </a:moveTo>
                <a:lnTo>
                  <a:pt x="567160" y="833378"/>
                </a:lnTo>
                <a:cubicBezTo>
                  <a:pt x="571018" y="1659038"/>
                  <a:pt x="517003" y="1813368"/>
                  <a:pt x="520861" y="2639028"/>
                </a:cubicBezTo>
                <a:lnTo>
                  <a:pt x="0" y="1678328"/>
                </a:lnTo>
                <a:cubicBezTo>
                  <a:pt x="3858" y="1061012"/>
                  <a:pt x="100315" y="617316"/>
                  <a:pt x="104173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 dirty="0">
              <a:solidFill>
                <a:prstClr val="white"/>
              </a:solidFill>
            </a:endParaRPr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7143B118-B73F-FEDA-9699-6FE1868335F1}"/>
              </a:ext>
            </a:extLst>
          </p:cNvPr>
          <p:cNvSpPr/>
          <p:nvPr/>
        </p:nvSpPr>
        <p:spPr>
          <a:xfrm>
            <a:off x="5415615" y="2212186"/>
            <a:ext cx="662380" cy="3383751"/>
          </a:xfrm>
          <a:custGeom>
            <a:avLst/>
            <a:gdLst>
              <a:gd name="connsiteX0" fmla="*/ 0 w 868101"/>
              <a:gd name="connsiteY0" fmla="*/ 0 h 3194612"/>
              <a:gd name="connsiteX1" fmla="*/ 868101 w 868101"/>
              <a:gd name="connsiteY1" fmla="*/ 0 h 3194612"/>
              <a:gd name="connsiteX2" fmla="*/ 868101 w 868101"/>
              <a:gd name="connsiteY2" fmla="*/ 3194612 h 3194612"/>
              <a:gd name="connsiteX3" fmla="*/ 0 w 868101"/>
              <a:gd name="connsiteY3" fmla="*/ 3194612 h 3194612"/>
              <a:gd name="connsiteX4" fmla="*/ 0 w 868101"/>
              <a:gd name="connsiteY4" fmla="*/ 0 h 3194612"/>
              <a:gd name="connsiteX0" fmla="*/ 0 w 868101"/>
              <a:gd name="connsiteY0" fmla="*/ 0 h 3194612"/>
              <a:gd name="connsiteX1" fmla="*/ 856526 w 868101"/>
              <a:gd name="connsiteY1" fmla="*/ 717631 h 3194612"/>
              <a:gd name="connsiteX2" fmla="*/ 868101 w 868101"/>
              <a:gd name="connsiteY2" fmla="*/ 3194612 h 3194612"/>
              <a:gd name="connsiteX3" fmla="*/ 0 w 868101"/>
              <a:gd name="connsiteY3" fmla="*/ 3194612 h 3194612"/>
              <a:gd name="connsiteX4" fmla="*/ 0 w 868101"/>
              <a:gd name="connsiteY4" fmla="*/ 0 h 3194612"/>
              <a:gd name="connsiteX0" fmla="*/ 0 w 868101"/>
              <a:gd name="connsiteY0" fmla="*/ 0 h 3194612"/>
              <a:gd name="connsiteX1" fmla="*/ 856526 w 868101"/>
              <a:gd name="connsiteY1" fmla="*/ 717631 h 3194612"/>
              <a:gd name="connsiteX2" fmla="*/ 868101 w 868101"/>
              <a:gd name="connsiteY2" fmla="*/ 3194612 h 3194612"/>
              <a:gd name="connsiteX3" fmla="*/ 0 w 868101"/>
              <a:gd name="connsiteY3" fmla="*/ 2303361 h 3194612"/>
              <a:gd name="connsiteX4" fmla="*/ 0 w 868101"/>
              <a:gd name="connsiteY4" fmla="*/ 0 h 3194612"/>
              <a:gd name="connsiteX0" fmla="*/ 0 w 869214"/>
              <a:gd name="connsiteY0" fmla="*/ 0 h 3194612"/>
              <a:gd name="connsiteX1" fmla="*/ 868101 w 869214"/>
              <a:gd name="connsiteY1" fmla="*/ 1284790 h 3194612"/>
              <a:gd name="connsiteX2" fmla="*/ 868101 w 869214"/>
              <a:gd name="connsiteY2" fmla="*/ 3194612 h 3194612"/>
              <a:gd name="connsiteX3" fmla="*/ 0 w 869214"/>
              <a:gd name="connsiteY3" fmla="*/ 2303361 h 3194612"/>
              <a:gd name="connsiteX4" fmla="*/ 0 w 869214"/>
              <a:gd name="connsiteY4" fmla="*/ 0 h 3194612"/>
              <a:gd name="connsiteX0" fmla="*/ 11575 w 880789"/>
              <a:gd name="connsiteY0" fmla="*/ 0 h 3194612"/>
              <a:gd name="connsiteX1" fmla="*/ 879676 w 880789"/>
              <a:gd name="connsiteY1" fmla="*/ 1284790 h 3194612"/>
              <a:gd name="connsiteX2" fmla="*/ 879676 w 880789"/>
              <a:gd name="connsiteY2" fmla="*/ 3194612 h 3194612"/>
              <a:gd name="connsiteX3" fmla="*/ 0 w 880789"/>
              <a:gd name="connsiteY3" fmla="*/ 1851948 h 3194612"/>
              <a:gd name="connsiteX4" fmla="*/ 11575 w 880789"/>
              <a:gd name="connsiteY4" fmla="*/ 0 h 3194612"/>
              <a:gd name="connsiteX0" fmla="*/ 219919 w 880789"/>
              <a:gd name="connsiteY0" fmla="*/ 0 h 2835797"/>
              <a:gd name="connsiteX1" fmla="*/ 879676 w 880789"/>
              <a:gd name="connsiteY1" fmla="*/ 925975 h 2835797"/>
              <a:gd name="connsiteX2" fmla="*/ 879676 w 880789"/>
              <a:gd name="connsiteY2" fmla="*/ 2835797 h 2835797"/>
              <a:gd name="connsiteX3" fmla="*/ 0 w 880789"/>
              <a:gd name="connsiteY3" fmla="*/ 1493133 h 2835797"/>
              <a:gd name="connsiteX4" fmla="*/ 219919 w 880789"/>
              <a:gd name="connsiteY4" fmla="*/ 0 h 2835797"/>
              <a:gd name="connsiteX0" fmla="*/ 266218 w 880789"/>
              <a:gd name="connsiteY0" fmla="*/ 0 h 2801073"/>
              <a:gd name="connsiteX1" fmla="*/ 879676 w 880789"/>
              <a:gd name="connsiteY1" fmla="*/ 891251 h 2801073"/>
              <a:gd name="connsiteX2" fmla="*/ 879676 w 880789"/>
              <a:gd name="connsiteY2" fmla="*/ 2801073 h 2801073"/>
              <a:gd name="connsiteX3" fmla="*/ 0 w 880789"/>
              <a:gd name="connsiteY3" fmla="*/ 1458409 h 2801073"/>
              <a:gd name="connsiteX4" fmla="*/ 266218 w 880789"/>
              <a:gd name="connsiteY4" fmla="*/ 0 h 2801073"/>
              <a:gd name="connsiteX0" fmla="*/ 219919 w 880789"/>
              <a:gd name="connsiteY0" fmla="*/ 0 h 2801073"/>
              <a:gd name="connsiteX1" fmla="*/ 879676 w 880789"/>
              <a:gd name="connsiteY1" fmla="*/ 891251 h 2801073"/>
              <a:gd name="connsiteX2" fmla="*/ 879676 w 880789"/>
              <a:gd name="connsiteY2" fmla="*/ 2801073 h 2801073"/>
              <a:gd name="connsiteX3" fmla="*/ 0 w 880789"/>
              <a:gd name="connsiteY3" fmla="*/ 1458409 h 2801073"/>
              <a:gd name="connsiteX4" fmla="*/ 219919 w 880789"/>
              <a:gd name="connsiteY4" fmla="*/ 0 h 2801073"/>
              <a:gd name="connsiteX0" fmla="*/ 243069 w 880789"/>
              <a:gd name="connsiteY0" fmla="*/ 0 h 3044142"/>
              <a:gd name="connsiteX1" fmla="*/ 879676 w 880789"/>
              <a:gd name="connsiteY1" fmla="*/ 1134320 h 3044142"/>
              <a:gd name="connsiteX2" fmla="*/ 879676 w 880789"/>
              <a:gd name="connsiteY2" fmla="*/ 3044142 h 3044142"/>
              <a:gd name="connsiteX3" fmla="*/ 0 w 880789"/>
              <a:gd name="connsiteY3" fmla="*/ 1701478 h 3044142"/>
              <a:gd name="connsiteX4" fmla="*/ 243069 w 880789"/>
              <a:gd name="connsiteY4" fmla="*/ 0 h 3044142"/>
              <a:gd name="connsiteX0" fmla="*/ 104173 w 741893"/>
              <a:gd name="connsiteY0" fmla="*/ 0 h 3044142"/>
              <a:gd name="connsiteX1" fmla="*/ 740780 w 741893"/>
              <a:gd name="connsiteY1" fmla="*/ 1134320 h 3044142"/>
              <a:gd name="connsiteX2" fmla="*/ 740780 w 741893"/>
              <a:gd name="connsiteY2" fmla="*/ 3044142 h 3044142"/>
              <a:gd name="connsiteX3" fmla="*/ 0 w 741893"/>
              <a:gd name="connsiteY3" fmla="*/ 1678328 h 3044142"/>
              <a:gd name="connsiteX4" fmla="*/ 104173 w 741893"/>
              <a:gd name="connsiteY4" fmla="*/ 0 h 3044142"/>
              <a:gd name="connsiteX0" fmla="*/ 104173 w 740828"/>
              <a:gd name="connsiteY0" fmla="*/ 0 h 2639028"/>
              <a:gd name="connsiteX1" fmla="*/ 740780 w 740828"/>
              <a:gd name="connsiteY1" fmla="*/ 1134320 h 2639028"/>
              <a:gd name="connsiteX2" fmla="*/ 520861 w 740828"/>
              <a:gd name="connsiteY2" fmla="*/ 2639028 h 2639028"/>
              <a:gd name="connsiteX3" fmla="*/ 0 w 740828"/>
              <a:gd name="connsiteY3" fmla="*/ 1678328 h 2639028"/>
              <a:gd name="connsiteX4" fmla="*/ 104173 w 740828"/>
              <a:gd name="connsiteY4" fmla="*/ 0 h 2639028"/>
              <a:gd name="connsiteX0" fmla="*/ 104173 w 567357"/>
              <a:gd name="connsiteY0" fmla="*/ 0 h 2639028"/>
              <a:gd name="connsiteX1" fmla="*/ 567160 w 567357"/>
              <a:gd name="connsiteY1" fmla="*/ 833378 h 2639028"/>
              <a:gd name="connsiteX2" fmla="*/ 520861 w 567357"/>
              <a:gd name="connsiteY2" fmla="*/ 2639028 h 2639028"/>
              <a:gd name="connsiteX3" fmla="*/ 0 w 567357"/>
              <a:gd name="connsiteY3" fmla="*/ 1678328 h 2639028"/>
              <a:gd name="connsiteX4" fmla="*/ 104173 w 567357"/>
              <a:gd name="connsiteY4" fmla="*/ 0 h 2639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7357" h="2639028">
                <a:moveTo>
                  <a:pt x="104173" y="0"/>
                </a:moveTo>
                <a:lnTo>
                  <a:pt x="567160" y="833378"/>
                </a:lnTo>
                <a:cubicBezTo>
                  <a:pt x="571018" y="1659038"/>
                  <a:pt x="517003" y="1813368"/>
                  <a:pt x="520861" y="2639028"/>
                </a:cubicBezTo>
                <a:lnTo>
                  <a:pt x="0" y="1678328"/>
                </a:lnTo>
                <a:cubicBezTo>
                  <a:pt x="3858" y="1061012"/>
                  <a:pt x="100315" y="617316"/>
                  <a:pt x="104173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 dirty="0">
              <a:solidFill>
                <a:prstClr val="white"/>
              </a:solidFill>
            </a:endParaRPr>
          </a:p>
        </p:txBody>
      </p:sp>
      <p:sp>
        <p:nvSpPr>
          <p:cNvPr id="8" name="Right Arrow 12">
            <a:extLst>
              <a:ext uri="{FF2B5EF4-FFF2-40B4-BE49-F238E27FC236}">
                <a16:creationId xmlns:a16="http://schemas.microsoft.com/office/drawing/2014/main" id="{7CC25982-2DE8-68AE-A8BD-6A607034EE52}"/>
              </a:ext>
            </a:extLst>
          </p:cNvPr>
          <p:cNvSpPr/>
          <p:nvPr/>
        </p:nvSpPr>
        <p:spPr>
          <a:xfrm>
            <a:off x="594167" y="2385919"/>
            <a:ext cx="11003666" cy="3018601"/>
          </a:xfrm>
          <a:custGeom>
            <a:avLst/>
            <a:gdLst>
              <a:gd name="connsiteX0" fmla="*/ 0 w 8633949"/>
              <a:gd name="connsiteY0" fmla="*/ 275615 h 2913481"/>
              <a:gd name="connsiteX1" fmla="*/ 7873618 w 8633949"/>
              <a:gd name="connsiteY1" fmla="*/ 275615 h 2913481"/>
              <a:gd name="connsiteX2" fmla="*/ 7873618 w 8633949"/>
              <a:gd name="connsiteY2" fmla="*/ 0 h 2913481"/>
              <a:gd name="connsiteX3" fmla="*/ 8633949 w 8633949"/>
              <a:gd name="connsiteY3" fmla="*/ 1456741 h 2913481"/>
              <a:gd name="connsiteX4" fmla="*/ 7873618 w 8633949"/>
              <a:gd name="connsiteY4" fmla="*/ 2913481 h 2913481"/>
              <a:gd name="connsiteX5" fmla="*/ 7873618 w 8633949"/>
              <a:gd name="connsiteY5" fmla="*/ 2637866 h 2913481"/>
              <a:gd name="connsiteX6" fmla="*/ 0 w 8633949"/>
              <a:gd name="connsiteY6" fmla="*/ 2637866 h 2913481"/>
              <a:gd name="connsiteX7" fmla="*/ 0 w 8633949"/>
              <a:gd name="connsiteY7" fmla="*/ 275615 h 2913481"/>
              <a:gd name="connsiteX0" fmla="*/ 8397 w 8642346"/>
              <a:gd name="connsiteY0" fmla="*/ 275615 h 2913481"/>
              <a:gd name="connsiteX1" fmla="*/ 7882015 w 8642346"/>
              <a:gd name="connsiteY1" fmla="*/ 275615 h 2913481"/>
              <a:gd name="connsiteX2" fmla="*/ 7882015 w 8642346"/>
              <a:gd name="connsiteY2" fmla="*/ 0 h 2913481"/>
              <a:gd name="connsiteX3" fmla="*/ 8642346 w 8642346"/>
              <a:gd name="connsiteY3" fmla="*/ 1456741 h 2913481"/>
              <a:gd name="connsiteX4" fmla="*/ 7882015 w 8642346"/>
              <a:gd name="connsiteY4" fmla="*/ 2913481 h 2913481"/>
              <a:gd name="connsiteX5" fmla="*/ 7882015 w 8642346"/>
              <a:gd name="connsiteY5" fmla="*/ 2637866 h 2913481"/>
              <a:gd name="connsiteX6" fmla="*/ 8397 w 8642346"/>
              <a:gd name="connsiteY6" fmla="*/ 2637866 h 2913481"/>
              <a:gd name="connsiteX7" fmla="*/ 0 w 8642346"/>
              <a:gd name="connsiteY7" fmla="*/ 1369689 h 2913481"/>
              <a:gd name="connsiteX8" fmla="*/ 8397 w 8642346"/>
              <a:gd name="connsiteY8" fmla="*/ 275615 h 2913481"/>
              <a:gd name="connsiteX0" fmla="*/ 0 w 8633949"/>
              <a:gd name="connsiteY0" fmla="*/ 275615 h 2913481"/>
              <a:gd name="connsiteX1" fmla="*/ 7873618 w 8633949"/>
              <a:gd name="connsiteY1" fmla="*/ 275615 h 2913481"/>
              <a:gd name="connsiteX2" fmla="*/ 7873618 w 8633949"/>
              <a:gd name="connsiteY2" fmla="*/ 0 h 2913481"/>
              <a:gd name="connsiteX3" fmla="*/ 8633949 w 8633949"/>
              <a:gd name="connsiteY3" fmla="*/ 1456741 h 2913481"/>
              <a:gd name="connsiteX4" fmla="*/ 7873618 w 8633949"/>
              <a:gd name="connsiteY4" fmla="*/ 2913481 h 2913481"/>
              <a:gd name="connsiteX5" fmla="*/ 7873618 w 8633949"/>
              <a:gd name="connsiteY5" fmla="*/ 2637866 h 2913481"/>
              <a:gd name="connsiteX6" fmla="*/ 0 w 8633949"/>
              <a:gd name="connsiteY6" fmla="*/ 2637866 h 2913481"/>
              <a:gd name="connsiteX7" fmla="*/ 288486 w 8633949"/>
              <a:gd name="connsiteY7" fmla="*/ 1393439 h 2913481"/>
              <a:gd name="connsiteX8" fmla="*/ 0 w 8633949"/>
              <a:gd name="connsiteY8" fmla="*/ 275615 h 29134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633949" h="2913481">
                <a:moveTo>
                  <a:pt x="0" y="275615"/>
                </a:moveTo>
                <a:lnTo>
                  <a:pt x="7873618" y="275615"/>
                </a:lnTo>
                <a:lnTo>
                  <a:pt x="7873618" y="0"/>
                </a:lnTo>
                <a:lnTo>
                  <a:pt x="8633949" y="1456741"/>
                </a:lnTo>
                <a:lnTo>
                  <a:pt x="7873618" y="2913481"/>
                </a:lnTo>
                <a:lnTo>
                  <a:pt x="7873618" y="2637866"/>
                </a:lnTo>
                <a:lnTo>
                  <a:pt x="0" y="2637866"/>
                </a:lnTo>
                <a:lnTo>
                  <a:pt x="288486" y="1393439"/>
                </a:lnTo>
                <a:lnTo>
                  <a:pt x="0" y="27561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 dirty="0">
              <a:solidFill>
                <a:prstClr val="white"/>
              </a:solidFill>
            </a:endParaRPr>
          </a:p>
        </p:txBody>
      </p:sp>
      <p:sp>
        <p:nvSpPr>
          <p:cNvPr id="9" name="Rounded Rectangle 32">
            <a:extLst>
              <a:ext uri="{FF2B5EF4-FFF2-40B4-BE49-F238E27FC236}">
                <a16:creationId xmlns:a16="http://schemas.microsoft.com/office/drawing/2014/main" id="{D6012495-72B3-01DA-D157-C97E4885D302}"/>
              </a:ext>
            </a:extLst>
          </p:cNvPr>
          <p:cNvSpPr/>
          <p:nvPr/>
        </p:nvSpPr>
        <p:spPr>
          <a:xfrm>
            <a:off x="1469378" y="2036515"/>
            <a:ext cx="1839296" cy="3729651"/>
          </a:xfrm>
          <a:prstGeom prst="roundRect">
            <a:avLst>
              <a:gd name="adj" fmla="val 13599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 dirty="0">
              <a:solidFill>
                <a:prstClr val="white"/>
              </a:solidFill>
            </a:endParaRPr>
          </a:p>
        </p:txBody>
      </p:sp>
      <p:sp>
        <p:nvSpPr>
          <p:cNvPr id="10" name="Rounded Rectangle 33">
            <a:extLst>
              <a:ext uri="{FF2B5EF4-FFF2-40B4-BE49-F238E27FC236}">
                <a16:creationId xmlns:a16="http://schemas.microsoft.com/office/drawing/2014/main" id="{F6AD6F69-C3C2-FD4D-599D-269E31A679B7}"/>
              </a:ext>
            </a:extLst>
          </p:cNvPr>
          <p:cNvSpPr/>
          <p:nvPr/>
        </p:nvSpPr>
        <p:spPr>
          <a:xfrm>
            <a:off x="3712581" y="2036515"/>
            <a:ext cx="1839296" cy="3729651"/>
          </a:xfrm>
          <a:prstGeom prst="roundRect">
            <a:avLst>
              <a:gd name="adj" fmla="val 13599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 dirty="0">
              <a:solidFill>
                <a:prstClr val="white"/>
              </a:solidFill>
            </a:endParaRPr>
          </a:p>
        </p:txBody>
      </p:sp>
      <p:sp>
        <p:nvSpPr>
          <p:cNvPr id="11" name="Rounded Rectangle 34">
            <a:extLst>
              <a:ext uri="{FF2B5EF4-FFF2-40B4-BE49-F238E27FC236}">
                <a16:creationId xmlns:a16="http://schemas.microsoft.com/office/drawing/2014/main" id="{85F54144-3BC4-0056-85AD-448A7482A9E5}"/>
              </a:ext>
            </a:extLst>
          </p:cNvPr>
          <p:cNvSpPr/>
          <p:nvPr/>
        </p:nvSpPr>
        <p:spPr>
          <a:xfrm>
            <a:off x="6025590" y="2036515"/>
            <a:ext cx="1839296" cy="3729651"/>
          </a:xfrm>
          <a:prstGeom prst="roundRect">
            <a:avLst>
              <a:gd name="adj" fmla="val 13599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 dirty="0">
              <a:solidFill>
                <a:prstClr val="white"/>
              </a:solidFill>
            </a:endParaRPr>
          </a:p>
        </p:txBody>
      </p:sp>
      <p:sp>
        <p:nvSpPr>
          <p:cNvPr id="12" name="Rounded Rectangle 35">
            <a:extLst>
              <a:ext uri="{FF2B5EF4-FFF2-40B4-BE49-F238E27FC236}">
                <a16:creationId xmlns:a16="http://schemas.microsoft.com/office/drawing/2014/main" id="{8BF92D12-5D5E-E88C-2034-E78BEC7F3A34}"/>
              </a:ext>
            </a:extLst>
          </p:cNvPr>
          <p:cNvSpPr/>
          <p:nvPr/>
        </p:nvSpPr>
        <p:spPr>
          <a:xfrm>
            <a:off x="8309327" y="2036515"/>
            <a:ext cx="1839296" cy="3729651"/>
          </a:xfrm>
          <a:prstGeom prst="roundRect">
            <a:avLst>
              <a:gd name="adj" fmla="val 135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 dirty="0">
              <a:solidFill>
                <a:prstClr val="white"/>
              </a:solidFill>
            </a:endParaRPr>
          </a:p>
        </p:txBody>
      </p:sp>
      <p:sp>
        <p:nvSpPr>
          <p:cNvPr id="13" name="9 Rectángulo">
            <a:extLst>
              <a:ext uri="{FF2B5EF4-FFF2-40B4-BE49-F238E27FC236}">
                <a16:creationId xmlns:a16="http://schemas.microsoft.com/office/drawing/2014/main" id="{15FA540B-C370-D704-EC3E-EA9680180A89}"/>
              </a:ext>
            </a:extLst>
          </p:cNvPr>
          <p:cNvSpPr/>
          <p:nvPr/>
        </p:nvSpPr>
        <p:spPr>
          <a:xfrm>
            <a:off x="1585210" y="2405276"/>
            <a:ext cx="1621086" cy="315770"/>
          </a:xfrm>
          <a:prstGeom prst="rect">
            <a:avLst/>
          </a:prstGeom>
        </p:spPr>
        <p:txBody>
          <a:bodyPr wrap="square" lIns="38396" tIns="19198" rIns="38396" bIns="19198">
            <a:spAutoFit/>
          </a:bodyPr>
          <a:lstStyle/>
          <a:p>
            <a:r>
              <a:rPr lang="en-US" b="1" kern="0" dirty="0">
                <a:solidFill>
                  <a:schemeClr val="bg1"/>
                </a:solidFill>
                <a:ea typeface="Verdana" pitchFamily="34" charset="0"/>
                <a:cs typeface="Verdana" pitchFamily="34" charset="0"/>
              </a:rPr>
              <a:t>Header</a:t>
            </a:r>
            <a:endParaRPr lang="en-US" b="1" dirty="0">
              <a:solidFill>
                <a:schemeClr val="bg1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14" name="9 Rectángulo">
            <a:extLst>
              <a:ext uri="{FF2B5EF4-FFF2-40B4-BE49-F238E27FC236}">
                <a16:creationId xmlns:a16="http://schemas.microsoft.com/office/drawing/2014/main" id="{93761E3A-C116-A1A4-3352-75B12EB64059}"/>
              </a:ext>
            </a:extLst>
          </p:cNvPr>
          <p:cNvSpPr/>
          <p:nvPr/>
        </p:nvSpPr>
        <p:spPr>
          <a:xfrm>
            <a:off x="3866091" y="2405276"/>
            <a:ext cx="1484082" cy="315770"/>
          </a:xfrm>
          <a:prstGeom prst="rect">
            <a:avLst/>
          </a:prstGeom>
        </p:spPr>
        <p:txBody>
          <a:bodyPr wrap="square" lIns="38396" tIns="19198" rIns="38396" bIns="19198">
            <a:spAutoFit/>
          </a:bodyPr>
          <a:lstStyle/>
          <a:p>
            <a:r>
              <a:rPr lang="en-US" b="1" kern="0" dirty="0">
                <a:solidFill>
                  <a:schemeClr val="bg1"/>
                </a:solidFill>
                <a:ea typeface="Verdana" pitchFamily="34" charset="0"/>
                <a:cs typeface="Verdana" pitchFamily="34" charset="0"/>
              </a:rPr>
              <a:t>Header</a:t>
            </a:r>
            <a:endParaRPr lang="en-US" b="1" dirty="0">
              <a:solidFill>
                <a:schemeClr val="bg1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15" name="9 Rectángulo">
            <a:extLst>
              <a:ext uri="{FF2B5EF4-FFF2-40B4-BE49-F238E27FC236}">
                <a16:creationId xmlns:a16="http://schemas.microsoft.com/office/drawing/2014/main" id="{94EFE1EC-97CB-5BB0-96A7-9295DF6A0EDA}"/>
              </a:ext>
            </a:extLst>
          </p:cNvPr>
          <p:cNvSpPr/>
          <p:nvPr/>
        </p:nvSpPr>
        <p:spPr>
          <a:xfrm>
            <a:off x="6171430" y="2405276"/>
            <a:ext cx="1623728" cy="315770"/>
          </a:xfrm>
          <a:prstGeom prst="rect">
            <a:avLst/>
          </a:prstGeom>
        </p:spPr>
        <p:txBody>
          <a:bodyPr wrap="square" lIns="38396" tIns="19198" rIns="38396" bIns="19198">
            <a:spAutoFit/>
          </a:bodyPr>
          <a:lstStyle/>
          <a:p>
            <a:r>
              <a:rPr lang="en-US" b="1" kern="0" dirty="0">
                <a:solidFill>
                  <a:schemeClr val="bg1"/>
                </a:solidFill>
                <a:ea typeface="Verdana" pitchFamily="34" charset="0"/>
                <a:cs typeface="Verdana" pitchFamily="34" charset="0"/>
              </a:rPr>
              <a:t>Header</a:t>
            </a:r>
            <a:endParaRPr lang="en-US" b="1" dirty="0">
              <a:solidFill>
                <a:schemeClr val="bg1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16" name="9 Rectángulo">
            <a:extLst>
              <a:ext uri="{FF2B5EF4-FFF2-40B4-BE49-F238E27FC236}">
                <a16:creationId xmlns:a16="http://schemas.microsoft.com/office/drawing/2014/main" id="{8DED9551-77A9-6793-9A39-B6C5420479BF}"/>
              </a:ext>
            </a:extLst>
          </p:cNvPr>
          <p:cNvSpPr/>
          <p:nvPr/>
        </p:nvSpPr>
        <p:spPr>
          <a:xfrm>
            <a:off x="8458400" y="2403643"/>
            <a:ext cx="1527082" cy="315770"/>
          </a:xfrm>
          <a:prstGeom prst="rect">
            <a:avLst/>
          </a:prstGeom>
        </p:spPr>
        <p:txBody>
          <a:bodyPr wrap="square" lIns="38396" tIns="19198" rIns="38396" bIns="19198">
            <a:spAutoFit/>
          </a:bodyPr>
          <a:lstStyle/>
          <a:p>
            <a:r>
              <a:rPr lang="en-US" b="1" kern="0" dirty="0">
                <a:solidFill>
                  <a:schemeClr val="bg1"/>
                </a:solidFill>
                <a:ea typeface="Verdana" pitchFamily="34" charset="0"/>
                <a:cs typeface="Verdana" pitchFamily="34" charset="0"/>
              </a:rPr>
              <a:t>Header</a:t>
            </a:r>
            <a:endParaRPr lang="en-US" b="1" dirty="0">
              <a:solidFill>
                <a:schemeClr val="bg1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35D9405-8EBB-6D78-728F-94729E4D0FD7}"/>
              </a:ext>
            </a:extLst>
          </p:cNvPr>
          <p:cNvSpPr txBox="1"/>
          <p:nvPr/>
        </p:nvSpPr>
        <p:spPr>
          <a:xfrm>
            <a:off x="1544312" y="2808239"/>
            <a:ext cx="1596099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  <a:cs typeface="Calibri" pitchFamily="34" charset="0"/>
              </a:rPr>
              <a:t>This is a sample text. You simply add your own text </a:t>
            </a:r>
          </a:p>
          <a:p>
            <a:br>
              <a:rPr lang="en-US" sz="1200" dirty="0">
                <a:solidFill>
                  <a:schemeClr val="bg1"/>
                </a:solidFill>
                <a:cs typeface="Calibri" pitchFamily="34" charset="0"/>
              </a:rPr>
            </a:br>
            <a:r>
              <a:rPr lang="en-US" sz="1200" kern="0" dirty="0">
                <a:solidFill>
                  <a:schemeClr val="bg1"/>
                </a:solidFill>
                <a:cs typeface="Arial"/>
              </a:rPr>
              <a:t>This is a sample text. You simply add your own text </a:t>
            </a:r>
            <a:endParaRPr lang="en-US" sz="1200" kern="0" dirty="0">
              <a:solidFill>
                <a:schemeClr val="bg1"/>
              </a:solidFill>
            </a:endParaRPr>
          </a:p>
          <a:p>
            <a:endParaRPr lang="en-US" sz="1200" dirty="0">
              <a:solidFill>
                <a:schemeClr val="bg1"/>
              </a:solidFill>
              <a:cs typeface="Calibri" pitchFamily="34" charset="0"/>
            </a:endParaRPr>
          </a:p>
          <a:p>
            <a:r>
              <a:rPr lang="en-US" sz="1200" kern="0" dirty="0">
                <a:solidFill>
                  <a:schemeClr val="bg1"/>
                </a:solidFill>
                <a:cs typeface="Arial"/>
              </a:rPr>
              <a:t>This is a sample text. You simply add your own text </a:t>
            </a:r>
            <a:endParaRPr lang="en-US" sz="1200" kern="0" dirty="0">
              <a:solidFill>
                <a:schemeClr val="bg1"/>
              </a:solidFill>
            </a:endParaRPr>
          </a:p>
          <a:p>
            <a:endParaRPr lang="en-US" sz="1200" dirty="0">
              <a:solidFill>
                <a:schemeClr val="bg1"/>
              </a:solidFill>
              <a:cs typeface="Calibri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32760BB-B0A8-B442-E1EE-DE1B7F322E46}"/>
              </a:ext>
            </a:extLst>
          </p:cNvPr>
          <p:cNvSpPr txBox="1"/>
          <p:nvPr/>
        </p:nvSpPr>
        <p:spPr>
          <a:xfrm>
            <a:off x="3800909" y="2830481"/>
            <a:ext cx="1619162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  <a:cs typeface="Calibri" pitchFamily="34" charset="0"/>
              </a:rPr>
              <a:t>This is a sample text. You simply add your own text </a:t>
            </a:r>
          </a:p>
          <a:p>
            <a:br>
              <a:rPr lang="en-US" sz="1200" dirty="0">
                <a:solidFill>
                  <a:schemeClr val="bg1"/>
                </a:solidFill>
                <a:cs typeface="Calibri" pitchFamily="34" charset="0"/>
              </a:rPr>
            </a:br>
            <a:r>
              <a:rPr lang="en-US" sz="1200" kern="0" dirty="0">
                <a:solidFill>
                  <a:schemeClr val="bg1"/>
                </a:solidFill>
                <a:cs typeface="Arial"/>
              </a:rPr>
              <a:t>This is a sample text. You simply add your own text </a:t>
            </a:r>
            <a:endParaRPr lang="en-US" sz="1200" kern="0" dirty="0">
              <a:solidFill>
                <a:schemeClr val="bg1"/>
              </a:solidFill>
            </a:endParaRPr>
          </a:p>
          <a:p>
            <a:endParaRPr lang="en-US" sz="1200" dirty="0">
              <a:solidFill>
                <a:schemeClr val="bg1"/>
              </a:solidFill>
              <a:cs typeface="Calibri" pitchFamily="34" charset="0"/>
            </a:endParaRPr>
          </a:p>
          <a:p>
            <a:r>
              <a:rPr lang="en-US" sz="1200" kern="0" dirty="0">
                <a:solidFill>
                  <a:schemeClr val="bg1"/>
                </a:solidFill>
                <a:cs typeface="Arial"/>
              </a:rPr>
              <a:t>This is a sample text. You simply add your own text </a:t>
            </a:r>
            <a:endParaRPr lang="en-US" sz="1200" kern="0" dirty="0">
              <a:solidFill>
                <a:schemeClr val="bg1"/>
              </a:solidFill>
            </a:endParaRPr>
          </a:p>
          <a:p>
            <a:endParaRPr lang="en-US" sz="1200" dirty="0">
              <a:solidFill>
                <a:schemeClr val="bg1"/>
              </a:solidFill>
              <a:cs typeface="Calibri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691E323-4FDB-5773-8A67-DCA814BCE789}"/>
              </a:ext>
            </a:extLst>
          </p:cNvPr>
          <p:cNvSpPr txBox="1"/>
          <p:nvPr/>
        </p:nvSpPr>
        <p:spPr>
          <a:xfrm>
            <a:off x="6127154" y="2819359"/>
            <a:ext cx="1505854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  <a:cs typeface="Calibri" pitchFamily="34" charset="0"/>
              </a:rPr>
              <a:t>This is a sample text. You simply add your own text </a:t>
            </a:r>
          </a:p>
          <a:p>
            <a:br>
              <a:rPr lang="en-US" sz="1200" dirty="0">
                <a:solidFill>
                  <a:schemeClr val="bg1"/>
                </a:solidFill>
                <a:cs typeface="Calibri" pitchFamily="34" charset="0"/>
              </a:rPr>
            </a:br>
            <a:r>
              <a:rPr lang="en-US" sz="1200" kern="0" dirty="0">
                <a:solidFill>
                  <a:schemeClr val="bg1"/>
                </a:solidFill>
                <a:cs typeface="Arial"/>
              </a:rPr>
              <a:t>This is a sample text. You simply add your own text </a:t>
            </a:r>
            <a:endParaRPr lang="en-US" sz="1200" kern="0" dirty="0">
              <a:solidFill>
                <a:schemeClr val="bg1"/>
              </a:solidFill>
            </a:endParaRPr>
          </a:p>
          <a:p>
            <a:endParaRPr lang="en-US" sz="1200" dirty="0">
              <a:solidFill>
                <a:schemeClr val="bg1"/>
              </a:solidFill>
              <a:cs typeface="Calibri" pitchFamily="34" charset="0"/>
            </a:endParaRPr>
          </a:p>
          <a:p>
            <a:r>
              <a:rPr lang="en-US" sz="1200" kern="0" dirty="0">
                <a:solidFill>
                  <a:schemeClr val="bg1"/>
                </a:solidFill>
                <a:cs typeface="Arial"/>
              </a:rPr>
              <a:t>This is a sample text. You simply add your own text </a:t>
            </a:r>
            <a:endParaRPr lang="en-US" sz="1200" kern="0" dirty="0">
              <a:solidFill>
                <a:schemeClr val="bg1"/>
              </a:solidFill>
            </a:endParaRPr>
          </a:p>
          <a:p>
            <a:endParaRPr lang="en-US" sz="1200" dirty="0">
              <a:solidFill>
                <a:schemeClr val="bg1"/>
              </a:solidFill>
              <a:cs typeface="Calibri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1818CA2-B5B4-3C04-92C0-615D2E70278E}"/>
              </a:ext>
            </a:extLst>
          </p:cNvPr>
          <p:cNvSpPr txBox="1"/>
          <p:nvPr/>
        </p:nvSpPr>
        <p:spPr>
          <a:xfrm>
            <a:off x="8408624" y="2808239"/>
            <a:ext cx="1593004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  <a:cs typeface="Calibri" pitchFamily="34" charset="0"/>
              </a:rPr>
              <a:t>This is a sample text. You simply add your own text </a:t>
            </a:r>
          </a:p>
          <a:p>
            <a:br>
              <a:rPr lang="en-US" sz="1200" dirty="0">
                <a:solidFill>
                  <a:schemeClr val="bg1"/>
                </a:solidFill>
                <a:cs typeface="Calibri" pitchFamily="34" charset="0"/>
              </a:rPr>
            </a:br>
            <a:r>
              <a:rPr lang="en-US" sz="1200" kern="0" dirty="0">
                <a:solidFill>
                  <a:schemeClr val="bg1"/>
                </a:solidFill>
                <a:cs typeface="Arial"/>
              </a:rPr>
              <a:t>This is a sample text. You simply add your own text </a:t>
            </a:r>
            <a:endParaRPr lang="en-US" sz="1200" kern="0" dirty="0">
              <a:solidFill>
                <a:schemeClr val="bg1"/>
              </a:solidFill>
            </a:endParaRPr>
          </a:p>
          <a:p>
            <a:endParaRPr lang="en-US" sz="1200" dirty="0">
              <a:solidFill>
                <a:schemeClr val="bg1"/>
              </a:solidFill>
              <a:cs typeface="Calibri" pitchFamily="34" charset="0"/>
            </a:endParaRPr>
          </a:p>
          <a:p>
            <a:r>
              <a:rPr lang="en-US" sz="1200" kern="0" dirty="0">
                <a:solidFill>
                  <a:schemeClr val="bg1"/>
                </a:solidFill>
                <a:cs typeface="Arial"/>
              </a:rPr>
              <a:t>This is a sample text. You simply add your own text </a:t>
            </a:r>
            <a:endParaRPr lang="en-US" sz="1200" kern="0" dirty="0">
              <a:solidFill>
                <a:schemeClr val="bg1"/>
              </a:solidFill>
            </a:endParaRPr>
          </a:p>
          <a:p>
            <a:endParaRPr lang="en-US" sz="1200" dirty="0">
              <a:solidFill>
                <a:schemeClr val="bg1"/>
              </a:solidFill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64813853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2E30CC-F49F-EA2C-37DD-B3AE00D6BD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think-cell data - do not delete" hidden="1">
            <a:extLst>
              <a:ext uri="{FF2B5EF4-FFF2-40B4-BE49-F238E27FC236}">
                <a16:creationId xmlns:a16="http://schemas.microsoft.com/office/drawing/2014/main" id="{039ECD2D-5085-DB9B-4A5C-C46961E029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39ECD2D-5085-DB9B-4A5C-C46961E029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4951975-DA26-C839-AD78-74A0456E73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roces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85ED5D-E096-9FBA-34EC-91A314A76F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83</a:t>
            </a:fld>
            <a:endParaRPr lang="en-US" dirty="0"/>
          </a:p>
        </p:txBody>
      </p:sp>
      <p:sp>
        <p:nvSpPr>
          <p:cNvPr id="21" name="Freeform 26">
            <a:extLst>
              <a:ext uri="{FF2B5EF4-FFF2-40B4-BE49-F238E27FC236}">
                <a16:creationId xmlns:a16="http://schemas.microsoft.com/office/drawing/2014/main" id="{5586131D-3D80-8943-41DE-434B0C612B7C}"/>
              </a:ext>
            </a:extLst>
          </p:cNvPr>
          <p:cNvSpPr/>
          <p:nvPr/>
        </p:nvSpPr>
        <p:spPr>
          <a:xfrm rot="21060606">
            <a:off x="3834761" y="955352"/>
            <a:ext cx="2623202" cy="1837241"/>
          </a:xfrm>
          <a:custGeom>
            <a:avLst/>
            <a:gdLst>
              <a:gd name="connsiteX0" fmla="*/ 0 w 801914"/>
              <a:gd name="connsiteY0" fmla="*/ 268514 h 602343"/>
              <a:gd name="connsiteX1" fmla="*/ 674914 w 801914"/>
              <a:gd name="connsiteY1" fmla="*/ 0 h 602343"/>
              <a:gd name="connsiteX2" fmla="*/ 801914 w 801914"/>
              <a:gd name="connsiteY2" fmla="*/ 250372 h 602343"/>
              <a:gd name="connsiteX3" fmla="*/ 664029 w 801914"/>
              <a:gd name="connsiteY3" fmla="*/ 475343 h 602343"/>
              <a:gd name="connsiteX4" fmla="*/ 337457 w 801914"/>
              <a:gd name="connsiteY4" fmla="*/ 602343 h 602343"/>
              <a:gd name="connsiteX5" fmla="*/ 283029 w 801914"/>
              <a:gd name="connsiteY5" fmla="*/ 351972 h 602343"/>
              <a:gd name="connsiteX6" fmla="*/ 0 w 801914"/>
              <a:gd name="connsiteY6" fmla="*/ 268514 h 602343"/>
              <a:gd name="connsiteX0" fmla="*/ 0 w 801914"/>
              <a:gd name="connsiteY0" fmla="*/ 268514 h 602343"/>
              <a:gd name="connsiteX1" fmla="*/ 674914 w 801914"/>
              <a:gd name="connsiteY1" fmla="*/ 0 h 602343"/>
              <a:gd name="connsiteX2" fmla="*/ 801914 w 801914"/>
              <a:gd name="connsiteY2" fmla="*/ 250372 h 602343"/>
              <a:gd name="connsiteX3" fmla="*/ 664029 w 801914"/>
              <a:gd name="connsiteY3" fmla="*/ 475343 h 602343"/>
              <a:gd name="connsiteX4" fmla="*/ 337457 w 801914"/>
              <a:gd name="connsiteY4" fmla="*/ 602343 h 602343"/>
              <a:gd name="connsiteX5" fmla="*/ 283029 w 801914"/>
              <a:gd name="connsiteY5" fmla="*/ 351972 h 602343"/>
              <a:gd name="connsiteX6" fmla="*/ 0 w 801914"/>
              <a:gd name="connsiteY6" fmla="*/ 268514 h 602343"/>
              <a:gd name="connsiteX0" fmla="*/ 0 w 801914"/>
              <a:gd name="connsiteY0" fmla="*/ 277792 h 611621"/>
              <a:gd name="connsiteX1" fmla="*/ 674914 w 801914"/>
              <a:gd name="connsiteY1" fmla="*/ 9278 h 611621"/>
              <a:gd name="connsiteX2" fmla="*/ 801914 w 801914"/>
              <a:gd name="connsiteY2" fmla="*/ 259650 h 611621"/>
              <a:gd name="connsiteX3" fmla="*/ 664029 w 801914"/>
              <a:gd name="connsiteY3" fmla="*/ 484621 h 611621"/>
              <a:gd name="connsiteX4" fmla="*/ 337457 w 801914"/>
              <a:gd name="connsiteY4" fmla="*/ 611621 h 611621"/>
              <a:gd name="connsiteX5" fmla="*/ 283029 w 801914"/>
              <a:gd name="connsiteY5" fmla="*/ 361250 h 611621"/>
              <a:gd name="connsiteX6" fmla="*/ 0 w 801914"/>
              <a:gd name="connsiteY6" fmla="*/ 277792 h 611621"/>
              <a:gd name="connsiteX0" fmla="*/ 0 w 801914"/>
              <a:gd name="connsiteY0" fmla="*/ 277792 h 611621"/>
              <a:gd name="connsiteX1" fmla="*/ 674914 w 801914"/>
              <a:gd name="connsiteY1" fmla="*/ 9278 h 611621"/>
              <a:gd name="connsiteX2" fmla="*/ 801914 w 801914"/>
              <a:gd name="connsiteY2" fmla="*/ 259650 h 611621"/>
              <a:gd name="connsiteX3" fmla="*/ 664029 w 801914"/>
              <a:gd name="connsiteY3" fmla="*/ 484621 h 611621"/>
              <a:gd name="connsiteX4" fmla="*/ 337457 w 801914"/>
              <a:gd name="connsiteY4" fmla="*/ 611621 h 611621"/>
              <a:gd name="connsiteX5" fmla="*/ 283029 w 801914"/>
              <a:gd name="connsiteY5" fmla="*/ 361250 h 611621"/>
              <a:gd name="connsiteX6" fmla="*/ 0 w 801914"/>
              <a:gd name="connsiteY6" fmla="*/ 277792 h 611621"/>
              <a:gd name="connsiteX0" fmla="*/ 0 w 801914"/>
              <a:gd name="connsiteY0" fmla="*/ 277792 h 611621"/>
              <a:gd name="connsiteX1" fmla="*/ 674914 w 801914"/>
              <a:gd name="connsiteY1" fmla="*/ 9278 h 611621"/>
              <a:gd name="connsiteX2" fmla="*/ 801914 w 801914"/>
              <a:gd name="connsiteY2" fmla="*/ 259650 h 611621"/>
              <a:gd name="connsiteX3" fmla="*/ 664029 w 801914"/>
              <a:gd name="connsiteY3" fmla="*/ 484621 h 611621"/>
              <a:gd name="connsiteX4" fmla="*/ 337457 w 801914"/>
              <a:gd name="connsiteY4" fmla="*/ 611621 h 611621"/>
              <a:gd name="connsiteX5" fmla="*/ 283029 w 801914"/>
              <a:gd name="connsiteY5" fmla="*/ 361250 h 611621"/>
              <a:gd name="connsiteX6" fmla="*/ 0 w 801914"/>
              <a:gd name="connsiteY6" fmla="*/ 277792 h 611621"/>
              <a:gd name="connsiteX0" fmla="*/ 0 w 801914"/>
              <a:gd name="connsiteY0" fmla="*/ 277792 h 611621"/>
              <a:gd name="connsiteX1" fmla="*/ 674914 w 801914"/>
              <a:gd name="connsiteY1" fmla="*/ 9278 h 611621"/>
              <a:gd name="connsiteX2" fmla="*/ 801914 w 801914"/>
              <a:gd name="connsiteY2" fmla="*/ 259650 h 611621"/>
              <a:gd name="connsiteX3" fmla="*/ 664029 w 801914"/>
              <a:gd name="connsiteY3" fmla="*/ 484621 h 611621"/>
              <a:gd name="connsiteX4" fmla="*/ 337457 w 801914"/>
              <a:gd name="connsiteY4" fmla="*/ 611621 h 611621"/>
              <a:gd name="connsiteX5" fmla="*/ 283029 w 801914"/>
              <a:gd name="connsiteY5" fmla="*/ 361250 h 611621"/>
              <a:gd name="connsiteX6" fmla="*/ 0 w 801914"/>
              <a:gd name="connsiteY6" fmla="*/ 277792 h 611621"/>
              <a:gd name="connsiteX0" fmla="*/ 0 w 801914"/>
              <a:gd name="connsiteY0" fmla="*/ 277792 h 622795"/>
              <a:gd name="connsiteX1" fmla="*/ 674914 w 801914"/>
              <a:gd name="connsiteY1" fmla="*/ 9278 h 622795"/>
              <a:gd name="connsiteX2" fmla="*/ 801914 w 801914"/>
              <a:gd name="connsiteY2" fmla="*/ 259650 h 622795"/>
              <a:gd name="connsiteX3" fmla="*/ 664029 w 801914"/>
              <a:gd name="connsiteY3" fmla="*/ 484621 h 622795"/>
              <a:gd name="connsiteX4" fmla="*/ 340069 w 801914"/>
              <a:gd name="connsiteY4" fmla="*/ 622795 h 622795"/>
              <a:gd name="connsiteX5" fmla="*/ 283029 w 801914"/>
              <a:gd name="connsiteY5" fmla="*/ 361250 h 622795"/>
              <a:gd name="connsiteX6" fmla="*/ 0 w 801914"/>
              <a:gd name="connsiteY6" fmla="*/ 277792 h 622795"/>
              <a:gd name="connsiteX0" fmla="*/ 0 w 893579"/>
              <a:gd name="connsiteY0" fmla="*/ 277792 h 622795"/>
              <a:gd name="connsiteX1" fmla="*/ 674914 w 893579"/>
              <a:gd name="connsiteY1" fmla="*/ 9278 h 622795"/>
              <a:gd name="connsiteX2" fmla="*/ 893579 w 893579"/>
              <a:gd name="connsiteY2" fmla="*/ 253537 h 622795"/>
              <a:gd name="connsiteX3" fmla="*/ 664029 w 893579"/>
              <a:gd name="connsiteY3" fmla="*/ 484621 h 622795"/>
              <a:gd name="connsiteX4" fmla="*/ 340069 w 893579"/>
              <a:gd name="connsiteY4" fmla="*/ 622795 h 622795"/>
              <a:gd name="connsiteX5" fmla="*/ 283029 w 893579"/>
              <a:gd name="connsiteY5" fmla="*/ 361250 h 622795"/>
              <a:gd name="connsiteX6" fmla="*/ 0 w 893579"/>
              <a:gd name="connsiteY6" fmla="*/ 277792 h 622795"/>
              <a:gd name="connsiteX0" fmla="*/ 0 w 893579"/>
              <a:gd name="connsiteY0" fmla="*/ 277792 h 622795"/>
              <a:gd name="connsiteX1" fmla="*/ 674914 w 893579"/>
              <a:gd name="connsiteY1" fmla="*/ 9278 h 622795"/>
              <a:gd name="connsiteX2" fmla="*/ 893579 w 893579"/>
              <a:gd name="connsiteY2" fmla="*/ 253537 h 622795"/>
              <a:gd name="connsiteX3" fmla="*/ 734014 w 893579"/>
              <a:gd name="connsiteY3" fmla="*/ 476508 h 622795"/>
              <a:gd name="connsiteX4" fmla="*/ 340069 w 893579"/>
              <a:gd name="connsiteY4" fmla="*/ 622795 h 622795"/>
              <a:gd name="connsiteX5" fmla="*/ 283029 w 893579"/>
              <a:gd name="connsiteY5" fmla="*/ 361250 h 622795"/>
              <a:gd name="connsiteX6" fmla="*/ 0 w 893579"/>
              <a:gd name="connsiteY6" fmla="*/ 277792 h 622795"/>
              <a:gd name="connsiteX0" fmla="*/ 0 w 893579"/>
              <a:gd name="connsiteY0" fmla="*/ 279290 h 624293"/>
              <a:gd name="connsiteX1" fmla="*/ 777085 w 893579"/>
              <a:gd name="connsiteY1" fmla="*/ 9278 h 624293"/>
              <a:gd name="connsiteX2" fmla="*/ 893579 w 893579"/>
              <a:gd name="connsiteY2" fmla="*/ 255035 h 624293"/>
              <a:gd name="connsiteX3" fmla="*/ 734014 w 893579"/>
              <a:gd name="connsiteY3" fmla="*/ 478006 h 624293"/>
              <a:gd name="connsiteX4" fmla="*/ 340069 w 893579"/>
              <a:gd name="connsiteY4" fmla="*/ 624293 h 624293"/>
              <a:gd name="connsiteX5" fmla="*/ 283029 w 893579"/>
              <a:gd name="connsiteY5" fmla="*/ 362748 h 624293"/>
              <a:gd name="connsiteX6" fmla="*/ 0 w 893579"/>
              <a:gd name="connsiteY6" fmla="*/ 279290 h 624293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1003388"/>
              <a:gd name="connsiteY0" fmla="*/ 379321 h 657202"/>
              <a:gd name="connsiteX1" fmla="*/ 886894 w 1003388"/>
              <a:gd name="connsiteY1" fmla="*/ 42187 h 657202"/>
              <a:gd name="connsiteX2" fmla="*/ 1003388 w 1003388"/>
              <a:gd name="connsiteY2" fmla="*/ 287944 h 657202"/>
              <a:gd name="connsiteX3" fmla="*/ 843823 w 1003388"/>
              <a:gd name="connsiteY3" fmla="*/ 510915 h 657202"/>
              <a:gd name="connsiteX4" fmla="*/ 449878 w 1003388"/>
              <a:gd name="connsiteY4" fmla="*/ 657202 h 657202"/>
              <a:gd name="connsiteX5" fmla="*/ 392838 w 1003388"/>
              <a:gd name="connsiteY5" fmla="*/ 395657 h 657202"/>
              <a:gd name="connsiteX6" fmla="*/ 0 w 1003388"/>
              <a:gd name="connsiteY6" fmla="*/ 379321 h 657202"/>
              <a:gd name="connsiteX0" fmla="*/ 0 w 1003388"/>
              <a:gd name="connsiteY0" fmla="*/ 379321 h 657202"/>
              <a:gd name="connsiteX1" fmla="*/ 886894 w 1003388"/>
              <a:gd name="connsiteY1" fmla="*/ 42187 h 657202"/>
              <a:gd name="connsiteX2" fmla="*/ 1003388 w 1003388"/>
              <a:gd name="connsiteY2" fmla="*/ 287944 h 657202"/>
              <a:gd name="connsiteX3" fmla="*/ 843823 w 1003388"/>
              <a:gd name="connsiteY3" fmla="*/ 510915 h 657202"/>
              <a:gd name="connsiteX4" fmla="*/ 449878 w 1003388"/>
              <a:gd name="connsiteY4" fmla="*/ 657202 h 657202"/>
              <a:gd name="connsiteX5" fmla="*/ 290399 w 1003388"/>
              <a:gd name="connsiteY5" fmla="*/ 416188 h 657202"/>
              <a:gd name="connsiteX6" fmla="*/ 0 w 1003388"/>
              <a:gd name="connsiteY6" fmla="*/ 379321 h 657202"/>
              <a:gd name="connsiteX0" fmla="*/ 0 w 1003388"/>
              <a:gd name="connsiteY0" fmla="*/ 379321 h 673967"/>
              <a:gd name="connsiteX1" fmla="*/ 886894 w 1003388"/>
              <a:gd name="connsiteY1" fmla="*/ 42187 h 673967"/>
              <a:gd name="connsiteX2" fmla="*/ 1003388 w 1003388"/>
              <a:gd name="connsiteY2" fmla="*/ 287944 h 673967"/>
              <a:gd name="connsiteX3" fmla="*/ 843823 w 1003388"/>
              <a:gd name="connsiteY3" fmla="*/ 510915 h 673967"/>
              <a:gd name="connsiteX4" fmla="*/ 370078 w 1003388"/>
              <a:gd name="connsiteY4" fmla="*/ 673967 h 673967"/>
              <a:gd name="connsiteX5" fmla="*/ 290399 w 1003388"/>
              <a:gd name="connsiteY5" fmla="*/ 416188 h 673967"/>
              <a:gd name="connsiteX6" fmla="*/ 0 w 1003388"/>
              <a:gd name="connsiteY6" fmla="*/ 379321 h 673967"/>
              <a:gd name="connsiteX0" fmla="*/ 0 w 1003388"/>
              <a:gd name="connsiteY0" fmla="*/ 420798 h 715444"/>
              <a:gd name="connsiteX1" fmla="*/ 886894 w 1003388"/>
              <a:gd name="connsiteY1" fmla="*/ 83664 h 715444"/>
              <a:gd name="connsiteX2" fmla="*/ 1003388 w 1003388"/>
              <a:gd name="connsiteY2" fmla="*/ 329421 h 715444"/>
              <a:gd name="connsiteX3" fmla="*/ 843823 w 1003388"/>
              <a:gd name="connsiteY3" fmla="*/ 552392 h 715444"/>
              <a:gd name="connsiteX4" fmla="*/ 370078 w 1003388"/>
              <a:gd name="connsiteY4" fmla="*/ 715444 h 715444"/>
              <a:gd name="connsiteX5" fmla="*/ 290399 w 1003388"/>
              <a:gd name="connsiteY5" fmla="*/ 457665 h 715444"/>
              <a:gd name="connsiteX6" fmla="*/ 0 w 1003388"/>
              <a:gd name="connsiteY6" fmla="*/ 420798 h 715444"/>
              <a:gd name="connsiteX0" fmla="*/ 0 w 1003388"/>
              <a:gd name="connsiteY0" fmla="*/ 420798 h 715444"/>
              <a:gd name="connsiteX1" fmla="*/ 886894 w 1003388"/>
              <a:gd name="connsiteY1" fmla="*/ 83664 h 715444"/>
              <a:gd name="connsiteX2" fmla="*/ 1003388 w 1003388"/>
              <a:gd name="connsiteY2" fmla="*/ 329421 h 715444"/>
              <a:gd name="connsiteX3" fmla="*/ 843823 w 1003388"/>
              <a:gd name="connsiteY3" fmla="*/ 552392 h 715444"/>
              <a:gd name="connsiteX4" fmla="*/ 370078 w 1003388"/>
              <a:gd name="connsiteY4" fmla="*/ 715444 h 715444"/>
              <a:gd name="connsiteX5" fmla="*/ 290399 w 1003388"/>
              <a:gd name="connsiteY5" fmla="*/ 457665 h 715444"/>
              <a:gd name="connsiteX6" fmla="*/ 0 w 1003388"/>
              <a:gd name="connsiteY6" fmla="*/ 420798 h 715444"/>
              <a:gd name="connsiteX0" fmla="*/ 0 w 1003388"/>
              <a:gd name="connsiteY0" fmla="*/ 420798 h 715444"/>
              <a:gd name="connsiteX1" fmla="*/ 886894 w 1003388"/>
              <a:gd name="connsiteY1" fmla="*/ 83664 h 715444"/>
              <a:gd name="connsiteX2" fmla="*/ 1003388 w 1003388"/>
              <a:gd name="connsiteY2" fmla="*/ 329421 h 715444"/>
              <a:gd name="connsiteX3" fmla="*/ 843823 w 1003388"/>
              <a:gd name="connsiteY3" fmla="*/ 552392 h 715444"/>
              <a:gd name="connsiteX4" fmla="*/ 370078 w 1003388"/>
              <a:gd name="connsiteY4" fmla="*/ 715444 h 715444"/>
              <a:gd name="connsiteX5" fmla="*/ 290399 w 1003388"/>
              <a:gd name="connsiteY5" fmla="*/ 457665 h 715444"/>
              <a:gd name="connsiteX6" fmla="*/ 0 w 1003388"/>
              <a:gd name="connsiteY6" fmla="*/ 420798 h 715444"/>
              <a:gd name="connsiteX0" fmla="*/ 0 w 1003388"/>
              <a:gd name="connsiteY0" fmla="*/ 392717 h 687363"/>
              <a:gd name="connsiteX1" fmla="*/ 886894 w 1003388"/>
              <a:gd name="connsiteY1" fmla="*/ 55583 h 687363"/>
              <a:gd name="connsiteX2" fmla="*/ 1003388 w 1003388"/>
              <a:gd name="connsiteY2" fmla="*/ 301340 h 687363"/>
              <a:gd name="connsiteX3" fmla="*/ 843823 w 1003388"/>
              <a:gd name="connsiteY3" fmla="*/ 524311 h 687363"/>
              <a:gd name="connsiteX4" fmla="*/ 370078 w 1003388"/>
              <a:gd name="connsiteY4" fmla="*/ 687363 h 687363"/>
              <a:gd name="connsiteX5" fmla="*/ 290399 w 1003388"/>
              <a:gd name="connsiteY5" fmla="*/ 429584 h 687363"/>
              <a:gd name="connsiteX6" fmla="*/ 0 w 1003388"/>
              <a:gd name="connsiteY6" fmla="*/ 392717 h 687363"/>
              <a:gd name="connsiteX0" fmla="*/ 0 w 1003388"/>
              <a:gd name="connsiteY0" fmla="*/ 392252 h 686898"/>
              <a:gd name="connsiteX1" fmla="*/ 886894 w 1003388"/>
              <a:gd name="connsiteY1" fmla="*/ 55118 h 686898"/>
              <a:gd name="connsiteX2" fmla="*/ 1003388 w 1003388"/>
              <a:gd name="connsiteY2" fmla="*/ 300875 h 686898"/>
              <a:gd name="connsiteX3" fmla="*/ 843823 w 1003388"/>
              <a:gd name="connsiteY3" fmla="*/ 523846 h 686898"/>
              <a:gd name="connsiteX4" fmla="*/ 370078 w 1003388"/>
              <a:gd name="connsiteY4" fmla="*/ 686898 h 686898"/>
              <a:gd name="connsiteX5" fmla="*/ 290399 w 1003388"/>
              <a:gd name="connsiteY5" fmla="*/ 429119 h 686898"/>
              <a:gd name="connsiteX6" fmla="*/ 0 w 1003388"/>
              <a:gd name="connsiteY6" fmla="*/ 392252 h 686898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3388" h="702754">
                <a:moveTo>
                  <a:pt x="0" y="408108"/>
                </a:moveTo>
                <a:cubicBezTo>
                  <a:pt x="152314" y="175885"/>
                  <a:pt x="579788" y="0"/>
                  <a:pt x="886894" y="70974"/>
                </a:cubicBezTo>
                <a:lnTo>
                  <a:pt x="1003388" y="316731"/>
                </a:lnTo>
                <a:lnTo>
                  <a:pt x="843823" y="539702"/>
                </a:lnTo>
                <a:cubicBezTo>
                  <a:pt x="688621" y="504763"/>
                  <a:pt x="473878" y="571458"/>
                  <a:pt x="370078" y="702754"/>
                </a:cubicBezTo>
                <a:lnTo>
                  <a:pt x="290399" y="444975"/>
                </a:lnTo>
                <a:lnTo>
                  <a:pt x="0" y="40810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2" name="Freeform 27">
            <a:extLst>
              <a:ext uri="{FF2B5EF4-FFF2-40B4-BE49-F238E27FC236}">
                <a16:creationId xmlns:a16="http://schemas.microsoft.com/office/drawing/2014/main" id="{B37961AD-0EC9-E846-7C34-6679D2D47A22}"/>
              </a:ext>
            </a:extLst>
          </p:cNvPr>
          <p:cNvSpPr/>
          <p:nvPr/>
        </p:nvSpPr>
        <p:spPr>
          <a:xfrm rot="3040685">
            <a:off x="5777526" y="990924"/>
            <a:ext cx="2623202" cy="1837242"/>
          </a:xfrm>
          <a:custGeom>
            <a:avLst/>
            <a:gdLst>
              <a:gd name="connsiteX0" fmla="*/ 0 w 801914"/>
              <a:gd name="connsiteY0" fmla="*/ 268514 h 602343"/>
              <a:gd name="connsiteX1" fmla="*/ 674914 w 801914"/>
              <a:gd name="connsiteY1" fmla="*/ 0 h 602343"/>
              <a:gd name="connsiteX2" fmla="*/ 801914 w 801914"/>
              <a:gd name="connsiteY2" fmla="*/ 250372 h 602343"/>
              <a:gd name="connsiteX3" fmla="*/ 664029 w 801914"/>
              <a:gd name="connsiteY3" fmla="*/ 475343 h 602343"/>
              <a:gd name="connsiteX4" fmla="*/ 337457 w 801914"/>
              <a:gd name="connsiteY4" fmla="*/ 602343 h 602343"/>
              <a:gd name="connsiteX5" fmla="*/ 283029 w 801914"/>
              <a:gd name="connsiteY5" fmla="*/ 351972 h 602343"/>
              <a:gd name="connsiteX6" fmla="*/ 0 w 801914"/>
              <a:gd name="connsiteY6" fmla="*/ 268514 h 602343"/>
              <a:gd name="connsiteX0" fmla="*/ 0 w 801914"/>
              <a:gd name="connsiteY0" fmla="*/ 268514 h 602343"/>
              <a:gd name="connsiteX1" fmla="*/ 674914 w 801914"/>
              <a:gd name="connsiteY1" fmla="*/ 0 h 602343"/>
              <a:gd name="connsiteX2" fmla="*/ 801914 w 801914"/>
              <a:gd name="connsiteY2" fmla="*/ 250372 h 602343"/>
              <a:gd name="connsiteX3" fmla="*/ 664029 w 801914"/>
              <a:gd name="connsiteY3" fmla="*/ 475343 h 602343"/>
              <a:gd name="connsiteX4" fmla="*/ 337457 w 801914"/>
              <a:gd name="connsiteY4" fmla="*/ 602343 h 602343"/>
              <a:gd name="connsiteX5" fmla="*/ 283029 w 801914"/>
              <a:gd name="connsiteY5" fmla="*/ 351972 h 602343"/>
              <a:gd name="connsiteX6" fmla="*/ 0 w 801914"/>
              <a:gd name="connsiteY6" fmla="*/ 268514 h 602343"/>
              <a:gd name="connsiteX0" fmla="*/ 0 w 801914"/>
              <a:gd name="connsiteY0" fmla="*/ 277792 h 611621"/>
              <a:gd name="connsiteX1" fmla="*/ 674914 w 801914"/>
              <a:gd name="connsiteY1" fmla="*/ 9278 h 611621"/>
              <a:gd name="connsiteX2" fmla="*/ 801914 w 801914"/>
              <a:gd name="connsiteY2" fmla="*/ 259650 h 611621"/>
              <a:gd name="connsiteX3" fmla="*/ 664029 w 801914"/>
              <a:gd name="connsiteY3" fmla="*/ 484621 h 611621"/>
              <a:gd name="connsiteX4" fmla="*/ 337457 w 801914"/>
              <a:gd name="connsiteY4" fmla="*/ 611621 h 611621"/>
              <a:gd name="connsiteX5" fmla="*/ 283029 w 801914"/>
              <a:gd name="connsiteY5" fmla="*/ 361250 h 611621"/>
              <a:gd name="connsiteX6" fmla="*/ 0 w 801914"/>
              <a:gd name="connsiteY6" fmla="*/ 277792 h 611621"/>
              <a:gd name="connsiteX0" fmla="*/ 0 w 801914"/>
              <a:gd name="connsiteY0" fmla="*/ 277792 h 611621"/>
              <a:gd name="connsiteX1" fmla="*/ 674914 w 801914"/>
              <a:gd name="connsiteY1" fmla="*/ 9278 h 611621"/>
              <a:gd name="connsiteX2" fmla="*/ 801914 w 801914"/>
              <a:gd name="connsiteY2" fmla="*/ 259650 h 611621"/>
              <a:gd name="connsiteX3" fmla="*/ 664029 w 801914"/>
              <a:gd name="connsiteY3" fmla="*/ 484621 h 611621"/>
              <a:gd name="connsiteX4" fmla="*/ 337457 w 801914"/>
              <a:gd name="connsiteY4" fmla="*/ 611621 h 611621"/>
              <a:gd name="connsiteX5" fmla="*/ 283029 w 801914"/>
              <a:gd name="connsiteY5" fmla="*/ 361250 h 611621"/>
              <a:gd name="connsiteX6" fmla="*/ 0 w 801914"/>
              <a:gd name="connsiteY6" fmla="*/ 277792 h 611621"/>
              <a:gd name="connsiteX0" fmla="*/ 0 w 801914"/>
              <a:gd name="connsiteY0" fmla="*/ 277792 h 611621"/>
              <a:gd name="connsiteX1" fmla="*/ 674914 w 801914"/>
              <a:gd name="connsiteY1" fmla="*/ 9278 h 611621"/>
              <a:gd name="connsiteX2" fmla="*/ 801914 w 801914"/>
              <a:gd name="connsiteY2" fmla="*/ 259650 h 611621"/>
              <a:gd name="connsiteX3" fmla="*/ 664029 w 801914"/>
              <a:gd name="connsiteY3" fmla="*/ 484621 h 611621"/>
              <a:gd name="connsiteX4" fmla="*/ 337457 w 801914"/>
              <a:gd name="connsiteY4" fmla="*/ 611621 h 611621"/>
              <a:gd name="connsiteX5" fmla="*/ 283029 w 801914"/>
              <a:gd name="connsiteY5" fmla="*/ 361250 h 611621"/>
              <a:gd name="connsiteX6" fmla="*/ 0 w 801914"/>
              <a:gd name="connsiteY6" fmla="*/ 277792 h 611621"/>
              <a:gd name="connsiteX0" fmla="*/ 0 w 801914"/>
              <a:gd name="connsiteY0" fmla="*/ 277792 h 611621"/>
              <a:gd name="connsiteX1" fmla="*/ 674914 w 801914"/>
              <a:gd name="connsiteY1" fmla="*/ 9278 h 611621"/>
              <a:gd name="connsiteX2" fmla="*/ 801914 w 801914"/>
              <a:gd name="connsiteY2" fmla="*/ 259650 h 611621"/>
              <a:gd name="connsiteX3" fmla="*/ 664029 w 801914"/>
              <a:gd name="connsiteY3" fmla="*/ 484621 h 611621"/>
              <a:gd name="connsiteX4" fmla="*/ 337457 w 801914"/>
              <a:gd name="connsiteY4" fmla="*/ 611621 h 611621"/>
              <a:gd name="connsiteX5" fmla="*/ 283029 w 801914"/>
              <a:gd name="connsiteY5" fmla="*/ 361250 h 611621"/>
              <a:gd name="connsiteX6" fmla="*/ 0 w 801914"/>
              <a:gd name="connsiteY6" fmla="*/ 277792 h 611621"/>
              <a:gd name="connsiteX0" fmla="*/ 0 w 801914"/>
              <a:gd name="connsiteY0" fmla="*/ 277792 h 622795"/>
              <a:gd name="connsiteX1" fmla="*/ 674914 w 801914"/>
              <a:gd name="connsiteY1" fmla="*/ 9278 h 622795"/>
              <a:gd name="connsiteX2" fmla="*/ 801914 w 801914"/>
              <a:gd name="connsiteY2" fmla="*/ 259650 h 622795"/>
              <a:gd name="connsiteX3" fmla="*/ 664029 w 801914"/>
              <a:gd name="connsiteY3" fmla="*/ 484621 h 622795"/>
              <a:gd name="connsiteX4" fmla="*/ 340069 w 801914"/>
              <a:gd name="connsiteY4" fmla="*/ 622795 h 622795"/>
              <a:gd name="connsiteX5" fmla="*/ 283029 w 801914"/>
              <a:gd name="connsiteY5" fmla="*/ 361250 h 622795"/>
              <a:gd name="connsiteX6" fmla="*/ 0 w 801914"/>
              <a:gd name="connsiteY6" fmla="*/ 277792 h 622795"/>
              <a:gd name="connsiteX0" fmla="*/ 0 w 893579"/>
              <a:gd name="connsiteY0" fmla="*/ 277792 h 622795"/>
              <a:gd name="connsiteX1" fmla="*/ 674914 w 893579"/>
              <a:gd name="connsiteY1" fmla="*/ 9278 h 622795"/>
              <a:gd name="connsiteX2" fmla="*/ 893579 w 893579"/>
              <a:gd name="connsiteY2" fmla="*/ 253537 h 622795"/>
              <a:gd name="connsiteX3" fmla="*/ 664029 w 893579"/>
              <a:gd name="connsiteY3" fmla="*/ 484621 h 622795"/>
              <a:gd name="connsiteX4" fmla="*/ 340069 w 893579"/>
              <a:gd name="connsiteY4" fmla="*/ 622795 h 622795"/>
              <a:gd name="connsiteX5" fmla="*/ 283029 w 893579"/>
              <a:gd name="connsiteY5" fmla="*/ 361250 h 622795"/>
              <a:gd name="connsiteX6" fmla="*/ 0 w 893579"/>
              <a:gd name="connsiteY6" fmla="*/ 277792 h 622795"/>
              <a:gd name="connsiteX0" fmla="*/ 0 w 893579"/>
              <a:gd name="connsiteY0" fmla="*/ 277792 h 622795"/>
              <a:gd name="connsiteX1" fmla="*/ 674914 w 893579"/>
              <a:gd name="connsiteY1" fmla="*/ 9278 h 622795"/>
              <a:gd name="connsiteX2" fmla="*/ 893579 w 893579"/>
              <a:gd name="connsiteY2" fmla="*/ 253537 h 622795"/>
              <a:gd name="connsiteX3" fmla="*/ 734014 w 893579"/>
              <a:gd name="connsiteY3" fmla="*/ 476508 h 622795"/>
              <a:gd name="connsiteX4" fmla="*/ 340069 w 893579"/>
              <a:gd name="connsiteY4" fmla="*/ 622795 h 622795"/>
              <a:gd name="connsiteX5" fmla="*/ 283029 w 893579"/>
              <a:gd name="connsiteY5" fmla="*/ 361250 h 622795"/>
              <a:gd name="connsiteX6" fmla="*/ 0 w 893579"/>
              <a:gd name="connsiteY6" fmla="*/ 277792 h 622795"/>
              <a:gd name="connsiteX0" fmla="*/ 0 w 893579"/>
              <a:gd name="connsiteY0" fmla="*/ 279290 h 624293"/>
              <a:gd name="connsiteX1" fmla="*/ 777085 w 893579"/>
              <a:gd name="connsiteY1" fmla="*/ 9278 h 624293"/>
              <a:gd name="connsiteX2" fmla="*/ 893579 w 893579"/>
              <a:gd name="connsiteY2" fmla="*/ 255035 h 624293"/>
              <a:gd name="connsiteX3" fmla="*/ 734014 w 893579"/>
              <a:gd name="connsiteY3" fmla="*/ 478006 h 624293"/>
              <a:gd name="connsiteX4" fmla="*/ 340069 w 893579"/>
              <a:gd name="connsiteY4" fmla="*/ 624293 h 624293"/>
              <a:gd name="connsiteX5" fmla="*/ 283029 w 893579"/>
              <a:gd name="connsiteY5" fmla="*/ 362748 h 624293"/>
              <a:gd name="connsiteX6" fmla="*/ 0 w 893579"/>
              <a:gd name="connsiteY6" fmla="*/ 279290 h 624293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1003388"/>
              <a:gd name="connsiteY0" fmla="*/ 379321 h 657202"/>
              <a:gd name="connsiteX1" fmla="*/ 886894 w 1003388"/>
              <a:gd name="connsiteY1" fmla="*/ 42187 h 657202"/>
              <a:gd name="connsiteX2" fmla="*/ 1003388 w 1003388"/>
              <a:gd name="connsiteY2" fmla="*/ 287944 h 657202"/>
              <a:gd name="connsiteX3" fmla="*/ 843823 w 1003388"/>
              <a:gd name="connsiteY3" fmla="*/ 510915 h 657202"/>
              <a:gd name="connsiteX4" fmla="*/ 449878 w 1003388"/>
              <a:gd name="connsiteY4" fmla="*/ 657202 h 657202"/>
              <a:gd name="connsiteX5" fmla="*/ 392838 w 1003388"/>
              <a:gd name="connsiteY5" fmla="*/ 395657 h 657202"/>
              <a:gd name="connsiteX6" fmla="*/ 0 w 1003388"/>
              <a:gd name="connsiteY6" fmla="*/ 379321 h 657202"/>
              <a:gd name="connsiteX0" fmla="*/ 0 w 1003388"/>
              <a:gd name="connsiteY0" fmla="*/ 379321 h 657202"/>
              <a:gd name="connsiteX1" fmla="*/ 886894 w 1003388"/>
              <a:gd name="connsiteY1" fmla="*/ 42187 h 657202"/>
              <a:gd name="connsiteX2" fmla="*/ 1003388 w 1003388"/>
              <a:gd name="connsiteY2" fmla="*/ 287944 h 657202"/>
              <a:gd name="connsiteX3" fmla="*/ 843823 w 1003388"/>
              <a:gd name="connsiteY3" fmla="*/ 510915 h 657202"/>
              <a:gd name="connsiteX4" fmla="*/ 449878 w 1003388"/>
              <a:gd name="connsiteY4" fmla="*/ 657202 h 657202"/>
              <a:gd name="connsiteX5" fmla="*/ 290399 w 1003388"/>
              <a:gd name="connsiteY5" fmla="*/ 416188 h 657202"/>
              <a:gd name="connsiteX6" fmla="*/ 0 w 1003388"/>
              <a:gd name="connsiteY6" fmla="*/ 379321 h 657202"/>
              <a:gd name="connsiteX0" fmla="*/ 0 w 1003388"/>
              <a:gd name="connsiteY0" fmla="*/ 379321 h 673967"/>
              <a:gd name="connsiteX1" fmla="*/ 886894 w 1003388"/>
              <a:gd name="connsiteY1" fmla="*/ 42187 h 673967"/>
              <a:gd name="connsiteX2" fmla="*/ 1003388 w 1003388"/>
              <a:gd name="connsiteY2" fmla="*/ 287944 h 673967"/>
              <a:gd name="connsiteX3" fmla="*/ 843823 w 1003388"/>
              <a:gd name="connsiteY3" fmla="*/ 510915 h 673967"/>
              <a:gd name="connsiteX4" fmla="*/ 370078 w 1003388"/>
              <a:gd name="connsiteY4" fmla="*/ 673967 h 673967"/>
              <a:gd name="connsiteX5" fmla="*/ 290399 w 1003388"/>
              <a:gd name="connsiteY5" fmla="*/ 416188 h 673967"/>
              <a:gd name="connsiteX6" fmla="*/ 0 w 1003388"/>
              <a:gd name="connsiteY6" fmla="*/ 379321 h 673967"/>
              <a:gd name="connsiteX0" fmla="*/ 0 w 1003388"/>
              <a:gd name="connsiteY0" fmla="*/ 420798 h 715444"/>
              <a:gd name="connsiteX1" fmla="*/ 886894 w 1003388"/>
              <a:gd name="connsiteY1" fmla="*/ 83664 h 715444"/>
              <a:gd name="connsiteX2" fmla="*/ 1003388 w 1003388"/>
              <a:gd name="connsiteY2" fmla="*/ 329421 h 715444"/>
              <a:gd name="connsiteX3" fmla="*/ 843823 w 1003388"/>
              <a:gd name="connsiteY3" fmla="*/ 552392 h 715444"/>
              <a:gd name="connsiteX4" fmla="*/ 370078 w 1003388"/>
              <a:gd name="connsiteY4" fmla="*/ 715444 h 715444"/>
              <a:gd name="connsiteX5" fmla="*/ 290399 w 1003388"/>
              <a:gd name="connsiteY5" fmla="*/ 457665 h 715444"/>
              <a:gd name="connsiteX6" fmla="*/ 0 w 1003388"/>
              <a:gd name="connsiteY6" fmla="*/ 420798 h 715444"/>
              <a:gd name="connsiteX0" fmla="*/ 0 w 1003388"/>
              <a:gd name="connsiteY0" fmla="*/ 420798 h 715444"/>
              <a:gd name="connsiteX1" fmla="*/ 886894 w 1003388"/>
              <a:gd name="connsiteY1" fmla="*/ 83664 h 715444"/>
              <a:gd name="connsiteX2" fmla="*/ 1003388 w 1003388"/>
              <a:gd name="connsiteY2" fmla="*/ 329421 h 715444"/>
              <a:gd name="connsiteX3" fmla="*/ 843823 w 1003388"/>
              <a:gd name="connsiteY3" fmla="*/ 552392 h 715444"/>
              <a:gd name="connsiteX4" fmla="*/ 370078 w 1003388"/>
              <a:gd name="connsiteY4" fmla="*/ 715444 h 715444"/>
              <a:gd name="connsiteX5" fmla="*/ 290399 w 1003388"/>
              <a:gd name="connsiteY5" fmla="*/ 457665 h 715444"/>
              <a:gd name="connsiteX6" fmla="*/ 0 w 1003388"/>
              <a:gd name="connsiteY6" fmla="*/ 420798 h 715444"/>
              <a:gd name="connsiteX0" fmla="*/ 0 w 1003388"/>
              <a:gd name="connsiteY0" fmla="*/ 420798 h 715444"/>
              <a:gd name="connsiteX1" fmla="*/ 886894 w 1003388"/>
              <a:gd name="connsiteY1" fmla="*/ 83664 h 715444"/>
              <a:gd name="connsiteX2" fmla="*/ 1003388 w 1003388"/>
              <a:gd name="connsiteY2" fmla="*/ 329421 h 715444"/>
              <a:gd name="connsiteX3" fmla="*/ 843823 w 1003388"/>
              <a:gd name="connsiteY3" fmla="*/ 552392 h 715444"/>
              <a:gd name="connsiteX4" fmla="*/ 370078 w 1003388"/>
              <a:gd name="connsiteY4" fmla="*/ 715444 h 715444"/>
              <a:gd name="connsiteX5" fmla="*/ 290399 w 1003388"/>
              <a:gd name="connsiteY5" fmla="*/ 457665 h 715444"/>
              <a:gd name="connsiteX6" fmla="*/ 0 w 1003388"/>
              <a:gd name="connsiteY6" fmla="*/ 420798 h 715444"/>
              <a:gd name="connsiteX0" fmla="*/ 0 w 1003388"/>
              <a:gd name="connsiteY0" fmla="*/ 392717 h 687363"/>
              <a:gd name="connsiteX1" fmla="*/ 886894 w 1003388"/>
              <a:gd name="connsiteY1" fmla="*/ 55583 h 687363"/>
              <a:gd name="connsiteX2" fmla="*/ 1003388 w 1003388"/>
              <a:gd name="connsiteY2" fmla="*/ 301340 h 687363"/>
              <a:gd name="connsiteX3" fmla="*/ 843823 w 1003388"/>
              <a:gd name="connsiteY3" fmla="*/ 524311 h 687363"/>
              <a:gd name="connsiteX4" fmla="*/ 370078 w 1003388"/>
              <a:gd name="connsiteY4" fmla="*/ 687363 h 687363"/>
              <a:gd name="connsiteX5" fmla="*/ 290399 w 1003388"/>
              <a:gd name="connsiteY5" fmla="*/ 429584 h 687363"/>
              <a:gd name="connsiteX6" fmla="*/ 0 w 1003388"/>
              <a:gd name="connsiteY6" fmla="*/ 392717 h 687363"/>
              <a:gd name="connsiteX0" fmla="*/ 0 w 1003388"/>
              <a:gd name="connsiteY0" fmla="*/ 392252 h 686898"/>
              <a:gd name="connsiteX1" fmla="*/ 886894 w 1003388"/>
              <a:gd name="connsiteY1" fmla="*/ 55118 h 686898"/>
              <a:gd name="connsiteX2" fmla="*/ 1003388 w 1003388"/>
              <a:gd name="connsiteY2" fmla="*/ 300875 h 686898"/>
              <a:gd name="connsiteX3" fmla="*/ 843823 w 1003388"/>
              <a:gd name="connsiteY3" fmla="*/ 523846 h 686898"/>
              <a:gd name="connsiteX4" fmla="*/ 370078 w 1003388"/>
              <a:gd name="connsiteY4" fmla="*/ 686898 h 686898"/>
              <a:gd name="connsiteX5" fmla="*/ 290399 w 1003388"/>
              <a:gd name="connsiteY5" fmla="*/ 429119 h 686898"/>
              <a:gd name="connsiteX6" fmla="*/ 0 w 1003388"/>
              <a:gd name="connsiteY6" fmla="*/ 392252 h 686898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3388" h="702754">
                <a:moveTo>
                  <a:pt x="0" y="408108"/>
                </a:moveTo>
                <a:cubicBezTo>
                  <a:pt x="152314" y="175885"/>
                  <a:pt x="579788" y="0"/>
                  <a:pt x="886894" y="70974"/>
                </a:cubicBezTo>
                <a:lnTo>
                  <a:pt x="1003388" y="316731"/>
                </a:lnTo>
                <a:lnTo>
                  <a:pt x="843823" y="539702"/>
                </a:lnTo>
                <a:cubicBezTo>
                  <a:pt x="688621" y="504763"/>
                  <a:pt x="473878" y="571458"/>
                  <a:pt x="370078" y="702754"/>
                </a:cubicBezTo>
                <a:lnTo>
                  <a:pt x="290399" y="444975"/>
                </a:lnTo>
                <a:lnTo>
                  <a:pt x="0" y="408108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3" name="Freeform 24">
            <a:extLst>
              <a:ext uri="{FF2B5EF4-FFF2-40B4-BE49-F238E27FC236}">
                <a16:creationId xmlns:a16="http://schemas.microsoft.com/office/drawing/2014/main" id="{0C861994-073E-7A41-5AA5-8257EAD6E9CF}"/>
              </a:ext>
            </a:extLst>
          </p:cNvPr>
          <p:cNvSpPr/>
          <p:nvPr/>
        </p:nvSpPr>
        <p:spPr>
          <a:xfrm rot="6624934">
            <a:off x="6745779" y="2706363"/>
            <a:ext cx="2623202" cy="1837241"/>
          </a:xfrm>
          <a:custGeom>
            <a:avLst/>
            <a:gdLst>
              <a:gd name="connsiteX0" fmla="*/ 0 w 801914"/>
              <a:gd name="connsiteY0" fmla="*/ 268514 h 602343"/>
              <a:gd name="connsiteX1" fmla="*/ 674914 w 801914"/>
              <a:gd name="connsiteY1" fmla="*/ 0 h 602343"/>
              <a:gd name="connsiteX2" fmla="*/ 801914 w 801914"/>
              <a:gd name="connsiteY2" fmla="*/ 250372 h 602343"/>
              <a:gd name="connsiteX3" fmla="*/ 664029 w 801914"/>
              <a:gd name="connsiteY3" fmla="*/ 475343 h 602343"/>
              <a:gd name="connsiteX4" fmla="*/ 337457 w 801914"/>
              <a:gd name="connsiteY4" fmla="*/ 602343 h 602343"/>
              <a:gd name="connsiteX5" fmla="*/ 283029 w 801914"/>
              <a:gd name="connsiteY5" fmla="*/ 351972 h 602343"/>
              <a:gd name="connsiteX6" fmla="*/ 0 w 801914"/>
              <a:gd name="connsiteY6" fmla="*/ 268514 h 602343"/>
              <a:gd name="connsiteX0" fmla="*/ 0 w 801914"/>
              <a:gd name="connsiteY0" fmla="*/ 268514 h 602343"/>
              <a:gd name="connsiteX1" fmla="*/ 674914 w 801914"/>
              <a:gd name="connsiteY1" fmla="*/ 0 h 602343"/>
              <a:gd name="connsiteX2" fmla="*/ 801914 w 801914"/>
              <a:gd name="connsiteY2" fmla="*/ 250372 h 602343"/>
              <a:gd name="connsiteX3" fmla="*/ 664029 w 801914"/>
              <a:gd name="connsiteY3" fmla="*/ 475343 h 602343"/>
              <a:gd name="connsiteX4" fmla="*/ 337457 w 801914"/>
              <a:gd name="connsiteY4" fmla="*/ 602343 h 602343"/>
              <a:gd name="connsiteX5" fmla="*/ 283029 w 801914"/>
              <a:gd name="connsiteY5" fmla="*/ 351972 h 602343"/>
              <a:gd name="connsiteX6" fmla="*/ 0 w 801914"/>
              <a:gd name="connsiteY6" fmla="*/ 268514 h 602343"/>
              <a:gd name="connsiteX0" fmla="*/ 0 w 801914"/>
              <a:gd name="connsiteY0" fmla="*/ 277792 h 611621"/>
              <a:gd name="connsiteX1" fmla="*/ 674914 w 801914"/>
              <a:gd name="connsiteY1" fmla="*/ 9278 h 611621"/>
              <a:gd name="connsiteX2" fmla="*/ 801914 w 801914"/>
              <a:gd name="connsiteY2" fmla="*/ 259650 h 611621"/>
              <a:gd name="connsiteX3" fmla="*/ 664029 w 801914"/>
              <a:gd name="connsiteY3" fmla="*/ 484621 h 611621"/>
              <a:gd name="connsiteX4" fmla="*/ 337457 w 801914"/>
              <a:gd name="connsiteY4" fmla="*/ 611621 h 611621"/>
              <a:gd name="connsiteX5" fmla="*/ 283029 w 801914"/>
              <a:gd name="connsiteY5" fmla="*/ 361250 h 611621"/>
              <a:gd name="connsiteX6" fmla="*/ 0 w 801914"/>
              <a:gd name="connsiteY6" fmla="*/ 277792 h 611621"/>
              <a:gd name="connsiteX0" fmla="*/ 0 w 801914"/>
              <a:gd name="connsiteY0" fmla="*/ 277792 h 611621"/>
              <a:gd name="connsiteX1" fmla="*/ 674914 w 801914"/>
              <a:gd name="connsiteY1" fmla="*/ 9278 h 611621"/>
              <a:gd name="connsiteX2" fmla="*/ 801914 w 801914"/>
              <a:gd name="connsiteY2" fmla="*/ 259650 h 611621"/>
              <a:gd name="connsiteX3" fmla="*/ 664029 w 801914"/>
              <a:gd name="connsiteY3" fmla="*/ 484621 h 611621"/>
              <a:gd name="connsiteX4" fmla="*/ 337457 w 801914"/>
              <a:gd name="connsiteY4" fmla="*/ 611621 h 611621"/>
              <a:gd name="connsiteX5" fmla="*/ 283029 w 801914"/>
              <a:gd name="connsiteY5" fmla="*/ 361250 h 611621"/>
              <a:gd name="connsiteX6" fmla="*/ 0 w 801914"/>
              <a:gd name="connsiteY6" fmla="*/ 277792 h 611621"/>
              <a:gd name="connsiteX0" fmla="*/ 0 w 801914"/>
              <a:gd name="connsiteY0" fmla="*/ 277792 h 611621"/>
              <a:gd name="connsiteX1" fmla="*/ 674914 w 801914"/>
              <a:gd name="connsiteY1" fmla="*/ 9278 h 611621"/>
              <a:gd name="connsiteX2" fmla="*/ 801914 w 801914"/>
              <a:gd name="connsiteY2" fmla="*/ 259650 h 611621"/>
              <a:gd name="connsiteX3" fmla="*/ 664029 w 801914"/>
              <a:gd name="connsiteY3" fmla="*/ 484621 h 611621"/>
              <a:gd name="connsiteX4" fmla="*/ 337457 w 801914"/>
              <a:gd name="connsiteY4" fmla="*/ 611621 h 611621"/>
              <a:gd name="connsiteX5" fmla="*/ 283029 w 801914"/>
              <a:gd name="connsiteY5" fmla="*/ 361250 h 611621"/>
              <a:gd name="connsiteX6" fmla="*/ 0 w 801914"/>
              <a:gd name="connsiteY6" fmla="*/ 277792 h 611621"/>
              <a:gd name="connsiteX0" fmla="*/ 0 w 801914"/>
              <a:gd name="connsiteY0" fmla="*/ 277792 h 611621"/>
              <a:gd name="connsiteX1" fmla="*/ 674914 w 801914"/>
              <a:gd name="connsiteY1" fmla="*/ 9278 h 611621"/>
              <a:gd name="connsiteX2" fmla="*/ 801914 w 801914"/>
              <a:gd name="connsiteY2" fmla="*/ 259650 h 611621"/>
              <a:gd name="connsiteX3" fmla="*/ 664029 w 801914"/>
              <a:gd name="connsiteY3" fmla="*/ 484621 h 611621"/>
              <a:gd name="connsiteX4" fmla="*/ 337457 w 801914"/>
              <a:gd name="connsiteY4" fmla="*/ 611621 h 611621"/>
              <a:gd name="connsiteX5" fmla="*/ 283029 w 801914"/>
              <a:gd name="connsiteY5" fmla="*/ 361250 h 611621"/>
              <a:gd name="connsiteX6" fmla="*/ 0 w 801914"/>
              <a:gd name="connsiteY6" fmla="*/ 277792 h 611621"/>
              <a:gd name="connsiteX0" fmla="*/ 0 w 801914"/>
              <a:gd name="connsiteY0" fmla="*/ 277792 h 622795"/>
              <a:gd name="connsiteX1" fmla="*/ 674914 w 801914"/>
              <a:gd name="connsiteY1" fmla="*/ 9278 h 622795"/>
              <a:gd name="connsiteX2" fmla="*/ 801914 w 801914"/>
              <a:gd name="connsiteY2" fmla="*/ 259650 h 622795"/>
              <a:gd name="connsiteX3" fmla="*/ 664029 w 801914"/>
              <a:gd name="connsiteY3" fmla="*/ 484621 h 622795"/>
              <a:gd name="connsiteX4" fmla="*/ 340069 w 801914"/>
              <a:gd name="connsiteY4" fmla="*/ 622795 h 622795"/>
              <a:gd name="connsiteX5" fmla="*/ 283029 w 801914"/>
              <a:gd name="connsiteY5" fmla="*/ 361250 h 622795"/>
              <a:gd name="connsiteX6" fmla="*/ 0 w 801914"/>
              <a:gd name="connsiteY6" fmla="*/ 277792 h 622795"/>
              <a:gd name="connsiteX0" fmla="*/ 0 w 893579"/>
              <a:gd name="connsiteY0" fmla="*/ 277792 h 622795"/>
              <a:gd name="connsiteX1" fmla="*/ 674914 w 893579"/>
              <a:gd name="connsiteY1" fmla="*/ 9278 h 622795"/>
              <a:gd name="connsiteX2" fmla="*/ 893579 w 893579"/>
              <a:gd name="connsiteY2" fmla="*/ 253537 h 622795"/>
              <a:gd name="connsiteX3" fmla="*/ 664029 w 893579"/>
              <a:gd name="connsiteY3" fmla="*/ 484621 h 622795"/>
              <a:gd name="connsiteX4" fmla="*/ 340069 w 893579"/>
              <a:gd name="connsiteY4" fmla="*/ 622795 h 622795"/>
              <a:gd name="connsiteX5" fmla="*/ 283029 w 893579"/>
              <a:gd name="connsiteY5" fmla="*/ 361250 h 622795"/>
              <a:gd name="connsiteX6" fmla="*/ 0 w 893579"/>
              <a:gd name="connsiteY6" fmla="*/ 277792 h 622795"/>
              <a:gd name="connsiteX0" fmla="*/ 0 w 893579"/>
              <a:gd name="connsiteY0" fmla="*/ 277792 h 622795"/>
              <a:gd name="connsiteX1" fmla="*/ 674914 w 893579"/>
              <a:gd name="connsiteY1" fmla="*/ 9278 h 622795"/>
              <a:gd name="connsiteX2" fmla="*/ 893579 w 893579"/>
              <a:gd name="connsiteY2" fmla="*/ 253537 h 622795"/>
              <a:gd name="connsiteX3" fmla="*/ 734014 w 893579"/>
              <a:gd name="connsiteY3" fmla="*/ 476508 h 622795"/>
              <a:gd name="connsiteX4" fmla="*/ 340069 w 893579"/>
              <a:gd name="connsiteY4" fmla="*/ 622795 h 622795"/>
              <a:gd name="connsiteX5" fmla="*/ 283029 w 893579"/>
              <a:gd name="connsiteY5" fmla="*/ 361250 h 622795"/>
              <a:gd name="connsiteX6" fmla="*/ 0 w 893579"/>
              <a:gd name="connsiteY6" fmla="*/ 277792 h 622795"/>
              <a:gd name="connsiteX0" fmla="*/ 0 w 893579"/>
              <a:gd name="connsiteY0" fmla="*/ 279290 h 624293"/>
              <a:gd name="connsiteX1" fmla="*/ 777085 w 893579"/>
              <a:gd name="connsiteY1" fmla="*/ 9278 h 624293"/>
              <a:gd name="connsiteX2" fmla="*/ 893579 w 893579"/>
              <a:gd name="connsiteY2" fmla="*/ 255035 h 624293"/>
              <a:gd name="connsiteX3" fmla="*/ 734014 w 893579"/>
              <a:gd name="connsiteY3" fmla="*/ 478006 h 624293"/>
              <a:gd name="connsiteX4" fmla="*/ 340069 w 893579"/>
              <a:gd name="connsiteY4" fmla="*/ 624293 h 624293"/>
              <a:gd name="connsiteX5" fmla="*/ 283029 w 893579"/>
              <a:gd name="connsiteY5" fmla="*/ 362748 h 624293"/>
              <a:gd name="connsiteX6" fmla="*/ 0 w 893579"/>
              <a:gd name="connsiteY6" fmla="*/ 279290 h 624293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1003388"/>
              <a:gd name="connsiteY0" fmla="*/ 379321 h 657202"/>
              <a:gd name="connsiteX1" fmla="*/ 886894 w 1003388"/>
              <a:gd name="connsiteY1" fmla="*/ 42187 h 657202"/>
              <a:gd name="connsiteX2" fmla="*/ 1003388 w 1003388"/>
              <a:gd name="connsiteY2" fmla="*/ 287944 h 657202"/>
              <a:gd name="connsiteX3" fmla="*/ 843823 w 1003388"/>
              <a:gd name="connsiteY3" fmla="*/ 510915 h 657202"/>
              <a:gd name="connsiteX4" fmla="*/ 449878 w 1003388"/>
              <a:gd name="connsiteY4" fmla="*/ 657202 h 657202"/>
              <a:gd name="connsiteX5" fmla="*/ 392838 w 1003388"/>
              <a:gd name="connsiteY5" fmla="*/ 395657 h 657202"/>
              <a:gd name="connsiteX6" fmla="*/ 0 w 1003388"/>
              <a:gd name="connsiteY6" fmla="*/ 379321 h 657202"/>
              <a:gd name="connsiteX0" fmla="*/ 0 w 1003388"/>
              <a:gd name="connsiteY0" fmla="*/ 379321 h 657202"/>
              <a:gd name="connsiteX1" fmla="*/ 886894 w 1003388"/>
              <a:gd name="connsiteY1" fmla="*/ 42187 h 657202"/>
              <a:gd name="connsiteX2" fmla="*/ 1003388 w 1003388"/>
              <a:gd name="connsiteY2" fmla="*/ 287944 h 657202"/>
              <a:gd name="connsiteX3" fmla="*/ 843823 w 1003388"/>
              <a:gd name="connsiteY3" fmla="*/ 510915 h 657202"/>
              <a:gd name="connsiteX4" fmla="*/ 449878 w 1003388"/>
              <a:gd name="connsiteY4" fmla="*/ 657202 h 657202"/>
              <a:gd name="connsiteX5" fmla="*/ 290399 w 1003388"/>
              <a:gd name="connsiteY5" fmla="*/ 416188 h 657202"/>
              <a:gd name="connsiteX6" fmla="*/ 0 w 1003388"/>
              <a:gd name="connsiteY6" fmla="*/ 379321 h 657202"/>
              <a:gd name="connsiteX0" fmla="*/ 0 w 1003388"/>
              <a:gd name="connsiteY0" fmla="*/ 379321 h 673967"/>
              <a:gd name="connsiteX1" fmla="*/ 886894 w 1003388"/>
              <a:gd name="connsiteY1" fmla="*/ 42187 h 673967"/>
              <a:gd name="connsiteX2" fmla="*/ 1003388 w 1003388"/>
              <a:gd name="connsiteY2" fmla="*/ 287944 h 673967"/>
              <a:gd name="connsiteX3" fmla="*/ 843823 w 1003388"/>
              <a:gd name="connsiteY3" fmla="*/ 510915 h 673967"/>
              <a:gd name="connsiteX4" fmla="*/ 370078 w 1003388"/>
              <a:gd name="connsiteY4" fmla="*/ 673967 h 673967"/>
              <a:gd name="connsiteX5" fmla="*/ 290399 w 1003388"/>
              <a:gd name="connsiteY5" fmla="*/ 416188 h 673967"/>
              <a:gd name="connsiteX6" fmla="*/ 0 w 1003388"/>
              <a:gd name="connsiteY6" fmla="*/ 379321 h 673967"/>
              <a:gd name="connsiteX0" fmla="*/ 0 w 1003388"/>
              <a:gd name="connsiteY0" fmla="*/ 420798 h 715444"/>
              <a:gd name="connsiteX1" fmla="*/ 886894 w 1003388"/>
              <a:gd name="connsiteY1" fmla="*/ 83664 h 715444"/>
              <a:gd name="connsiteX2" fmla="*/ 1003388 w 1003388"/>
              <a:gd name="connsiteY2" fmla="*/ 329421 h 715444"/>
              <a:gd name="connsiteX3" fmla="*/ 843823 w 1003388"/>
              <a:gd name="connsiteY3" fmla="*/ 552392 h 715444"/>
              <a:gd name="connsiteX4" fmla="*/ 370078 w 1003388"/>
              <a:gd name="connsiteY4" fmla="*/ 715444 h 715444"/>
              <a:gd name="connsiteX5" fmla="*/ 290399 w 1003388"/>
              <a:gd name="connsiteY5" fmla="*/ 457665 h 715444"/>
              <a:gd name="connsiteX6" fmla="*/ 0 w 1003388"/>
              <a:gd name="connsiteY6" fmla="*/ 420798 h 715444"/>
              <a:gd name="connsiteX0" fmla="*/ 0 w 1003388"/>
              <a:gd name="connsiteY0" fmla="*/ 420798 h 715444"/>
              <a:gd name="connsiteX1" fmla="*/ 886894 w 1003388"/>
              <a:gd name="connsiteY1" fmla="*/ 83664 h 715444"/>
              <a:gd name="connsiteX2" fmla="*/ 1003388 w 1003388"/>
              <a:gd name="connsiteY2" fmla="*/ 329421 h 715444"/>
              <a:gd name="connsiteX3" fmla="*/ 843823 w 1003388"/>
              <a:gd name="connsiteY3" fmla="*/ 552392 h 715444"/>
              <a:gd name="connsiteX4" fmla="*/ 370078 w 1003388"/>
              <a:gd name="connsiteY4" fmla="*/ 715444 h 715444"/>
              <a:gd name="connsiteX5" fmla="*/ 290399 w 1003388"/>
              <a:gd name="connsiteY5" fmla="*/ 457665 h 715444"/>
              <a:gd name="connsiteX6" fmla="*/ 0 w 1003388"/>
              <a:gd name="connsiteY6" fmla="*/ 420798 h 715444"/>
              <a:gd name="connsiteX0" fmla="*/ 0 w 1003388"/>
              <a:gd name="connsiteY0" fmla="*/ 420798 h 715444"/>
              <a:gd name="connsiteX1" fmla="*/ 886894 w 1003388"/>
              <a:gd name="connsiteY1" fmla="*/ 83664 h 715444"/>
              <a:gd name="connsiteX2" fmla="*/ 1003388 w 1003388"/>
              <a:gd name="connsiteY2" fmla="*/ 329421 h 715444"/>
              <a:gd name="connsiteX3" fmla="*/ 843823 w 1003388"/>
              <a:gd name="connsiteY3" fmla="*/ 552392 h 715444"/>
              <a:gd name="connsiteX4" fmla="*/ 370078 w 1003388"/>
              <a:gd name="connsiteY4" fmla="*/ 715444 h 715444"/>
              <a:gd name="connsiteX5" fmla="*/ 290399 w 1003388"/>
              <a:gd name="connsiteY5" fmla="*/ 457665 h 715444"/>
              <a:gd name="connsiteX6" fmla="*/ 0 w 1003388"/>
              <a:gd name="connsiteY6" fmla="*/ 420798 h 715444"/>
              <a:gd name="connsiteX0" fmla="*/ 0 w 1003388"/>
              <a:gd name="connsiteY0" fmla="*/ 392717 h 687363"/>
              <a:gd name="connsiteX1" fmla="*/ 886894 w 1003388"/>
              <a:gd name="connsiteY1" fmla="*/ 55583 h 687363"/>
              <a:gd name="connsiteX2" fmla="*/ 1003388 w 1003388"/>
              <a:gd name="connsiteY2" fmla="*/ 301340 h 687363"/>
              <a:gd name="connsiteX3" fmla="*/ 843823 w 1003388"/>
              <a:gd name="connsiteY3" fmla="*/ 524311 h 687363"/>
              <a:gd name="connsiteX4" fmla="*/ 370078 w 1003388"/>
              <a:gd name="connsiteY4" fmla="*/ 687363 h 687363"/>
              <a:gd name="connsiteX5" fmla="*/ 290399 w 1003388"/>
              <a:gd name="connsiteY5" fmla="*/ 429584 h 687363"/>
              <a:gd name="connsiteX6" fmla="*/ 0 w 1003388"/>
              <a:gd name="connsiteY6" fmla="*/ 392717 h 687363"/>
              <a:gd name="connsiteX0" fmla="*/ 0 w 1003388"/>
              <a:gd name="connsiteY0" fmla="*/ 392252 h 686898"/>
              <a:gd name="connsiteX1" fmla="*/ 886894 w 1003388"/>
              <a:gd name="connsiteY1" fmla="*/ 55118 h 686898"/>
              <a:gd name="connsiteX2" fmla="*/ 1003388 w 1003388"/>
              <a:gd name="connsiteY2" fmla="*/ 300875 h 686898"/>
              <a:gd name="connsiteX3" fmla="*/ 843823 w 1003388"/>
              <a:gd name="connsiteY3" fmla="*/ 523846 h 686898"/>
              <a:gd name="connsiteX4" fmla="*/ 370078 w 1003388"/>
              <a:gd name="connsiteY4" fmla="*/ 686898 h 686898"/>
              <a:gd name="connsiteX5" fmla="*/ 290399 w 1003388"/>
              <a:gd name="connsiteY5" fmla="*/ 429119 h 686898"/>
              <a:gd name="connsiteX6" fmla="*/ 0 w 1003388"/>
              <a:gd name="connsiteY6" fmla="*/ 392252 h 686898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3388" h="702754">
                <a:moveTo>
                  <a:pt x="0" y="408108"/>
                </a:moveTo>
                <a:cubicBezTo>
                  <a:pt x="152314" y="175885"/>
                  <a:pt x="579788" y="0"/>
                  <a:pt x="886894" y="70974"/>
                </a:cubicBezTo>
                <a:lnTo>
                  <a:pt x="1003388" y="316731"/>
                </a:lnTo>
                <a:lnTo>
                  <a:pt x="843823" y="539702"/>
                </a:lnTo>
                <a:cubicBezTo>
                  <a:pt x="688621" y="504763"/>
                  <a:pt x="473878" y="571458"/>
                  <a:pt x="370078" y="702754"/>
                </a:cubicBezTo>
                <a:lnTo>
                  <a:pt x="290399" y="444975"/>
                </a:lnTo>
                <a:lnTo>
                  <a:pt x="0" y="408108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4" name="Freeform 25">
            <a:extLst>
              <a:ext uri="{FF2B5EF4-FFF2-40B4-BE49-F238E27FC236}">
                <a16:creationId xmlns:a16="http://schemas.microsoft.com/office/drawing/2014/main" id="{B4F7D022-3F15-A27A-1DB4-CC77E1366E67}"/>
              </a:ext>
            </a:extLst>
          </p:cNvPr>
          <p:cNvSpPr/>
          <p:nvPr/>
        </p:nvSpPr>
        <p:spPr>
          <a:xfrm rot="10341217">
            <a:off x="5725140" y="4404927"/>
            <a:ext cx="2623202" cy="1837242"/>
          </a:xfrm>
          <a:custGeom>
            <a:avLst/>
            <a:gdLst>
              <a:gd name="connsiteX0" fmla="*/ 0 w 801914"/>
              <a:gd name="connsiteY0" fmla="*/ 268514 h 602343"/>
              <a:gd name="connsiteX1" fmla="*/ 674914 w 801914"/>
              <a:gd name="connsiteY1" fmla="*/ 0 h 602343"/>
              <a:gd name="connsiteX2" fmla="*/ 801914 w 801914"/>
              <a:gd name="connsiteY2" fmla="*/ 250372 h 602343"/>
              <a:gd name="connsiteX3" fmla="*/ 664029 w 801914"/>
              <a:gd name="connsiteY3" fmla="*/ 475343 h 602343"/>
              <a:gd name="connsiteX4" fmla="*/ 337457 w 801914"/>
              <a:gd name="connsiteY4" fmla="*/ 602343 h 602343"/>
              <a:gd name="connsiteX5" fmla="*/ 283029 w 801914"/>
              <a:gd name="connsiteY5" fmla="*/ 351972 h 602343"/>
              <a:gd name="connsiteX6" fmla="*/ 0 w 801914"/>
              <a:gd name="connsiteY6" fmla="*/ 268514 h 602343"/>
              <a:gd name="connsiteX0" fmla="*/ 0 w 801914"/>
              <a:gd name="connsiteY0" fmla="*/ 268514 h 602343"/>
              <a:gd name="connsiteX1" fmla="*/ 674914 w 801914"/>
              <a:gd name="connsiteY1" fmla="*/ 0 h 602343"/>
              <a:gd name="connsiteX2" fmla="*/ 801914 w 801914"/>
              <a:gd name="connsiteY2" fmla="*/ 250372 h 602343"/>
              <a:gd name="connsiteX3" fmla="*/ 664029 w 801914"/>
              <a:gd name="connsiteY3" fmla="*/ 475343 h 602343"/>
              <a:gd name="connsiteX4" fmla="*/ 337457 w 801914"/>
              <a:gd name="connsiteY4" fmla="*/ 602343 h 602343"/>
              <a:gd name="connsiteX5" fmla="*/ 283029 w 801914"/>
              <a:gd name="connsiteY5" fmla="*/ 351972 h 602343"/>
              <a:gd name="connsiteX6" fmla="*/ 0 w 801914"/>
              <a:gd name="connsiteY6" fmla="*/ 268514 h 602343"/>
              <a:gd name="connsiteX0" fmla="*/ 0 w 801914"/>
              <a:gd name="connsiteY0" fmla="*/ 277792 h 611621"/>
              <a:gd name="connsiteX1" fmla="*/ 674914 w 801914"/>
              <a:gd name="connsiteY1" fmla="*/ 9278 h 611621"/>
              <a:gd name="connsiteX2" fmla="*/ 801914 w 801914"/>
              <a:gd name="connsiteY2" fmla="*/ 259650 h 611621"/>
              <a:gd name="connsiteX3" fmla="*/ 664029 w 801914"/>
              <a:gd name="connsiteY3" fmla="*/ 484621 h 611621"/>
              <a:gd name="connsiteX4" fmla="*/ 337457 w 801914"/>
              <a:gd name="connsiteY4" fmla="*/ 611621 h 611621"/>
              <a:gd name="connsiteX5" fmla="*/ 283029 w 801914"/>
              <a:gd name="connsiteY5" fmla="*/ 361250 h 611621"/>
              <a:gd name="connsiteX6" fmla="*/ 0 w 801914"/>
              <a:gd name="connsiteY6" fmla="*/ 277792 h 611621"/>
              <a:gd name="connsiteX0" fmla="*/ 0 w 801914"/>
              <a:gd name="connsiteY0" fmla="*/ 277792 h 611621"/>
              <a:gd name="connsiteX1" fmla="*/ 674914 w 801914"/>
              <a:gd name="connsiteY1" fmla="*/ 9278 h 611621"/>
              <a:gd name="connsiteX2" fmla="*/ 801914 w 801914"/>
              <a:gd name="connsiteY2" fmla="*/ 259650 h 611621"/>
              <a:gd name="connsiteX3" fmla="*/ 664029 w 801914"/>
              <a:gd name="connsiteY3" fmla="*/ 484621 h 611621"/>
              <a:gd name="connsiteX4" fmla="*/ 337457 w 801914"/>
              <a:gd name="connsiteY4" fmla="*/ 611621 h 611621"/>
              <a:gd name="connsiteX5" fmla="*/ 283029 w 801914"/>
              <a:gd name="connsiteY5" fmla="*/ 361250 h 611621"/>
              <a:gd name="connsiteX6" fmla="*/ 0 w 801914"/>
              <a:gd name="connsiteY6" fmla="*/ 277792 h 611621"/>
              <a:gd name="connsiteX0" fmla="*/ 0 w 801914"/>
              <a:gd name="connsiteY0" fmla="*/ 277792 h 611621"/>
              <a:gd name="connsiteX1" fmla="*/ 674914 w 801914"/>
              <a:gd name="connsiteY1" fmla="*/ 9278 h 611621"/>
              <a:gd name="connsiteX2" fmla="*/ 801914 w 801914"/>
              <a:gd name="connsiteY2" fmla="*/ 259650 h 611621"/>
              <a:gd name="connsiteX3" fmla="*/ 664029 w 801914"/>
              <a:gd name="connsiteY3" fmla="*/ 484621 h 611621"/>
              <a:gd name="connsiteX4" fmla="*/ 337457 w 801914"/>
              <a:gd name="connsiteY4" fmla="*/ 611621 h 611621"/>
              <a:gd name="connsiteX5" fmla="*/ 283029 w 801914"/>
              <a:gd name="connsiteY5" fmla="*/ 361250 h 611621"/>
              <a:gd name="connsiteX6" fmla="*/ 0 w 801914"/>
              <a:gd name="connsiteY6" fmla="*/ 277792 h 611621"/>
              <a:gd name="connsiteX0" fmla="*/ 0 w 801914"/>
              <a:gd name="connsiteY0" fmla="*/ 277792 h 611621"/>
              <a:gd name="connsiteX1" fmla="*/ 674914 w 801914"/>
              <a:gd name="connsiteY1" fmla="*/ 9278 h 611621"/>
              <a:gd name="connsiteX2" fmla="*/ 801914 w 801914"/>
              <a:gd name="connsiteY2" fmla="*/ 259650 h 611621"/>
              <a:gd name="connsiteX3" fmla="*/ 664029 w 801914"/>
              <a:gd name="connsiteY3" fmla="*/ 484621 h 611621"/>
              <a:gd name="connsiteX4" fmla="*/ 337457 w 801914"/>
              <a:gd name="connsiteY4" fmla="*/ 611621 h 611621"/>
              <a:gd name="connsiteX5" fmla="*/ 283029 w 801914"/>
              <a:gd name="connsiteY5" fmla="*/ 361250 h 611621"/>
              <a:gd name="connsiteX6" fmla="*/ 0 w 801914"/>
              <a:gd name="connsiteY6" fmla="*/ 277792 h 611621"/>
              <a:gd name="connsiteX0" fmla="*/ 0 w 801914"/>
              <a:gd name="connsiteY0" fmla="*/ 277792 h 622795"/>
              <a:gd name="connsiteX1" fmla="*/ 674914 w 801914"/>
              <a:gd name="connsiteY1" fmla="*/ 9278 h 622795"/>
              <a:gd name="connsiteX2" fmla="*/ 801914 w 801914"/>
              <a:gd name="connsiteY2" fmla="*/ 259650 h 622795"/>
              <a:gd name="connsiteX3" fmla="*/ 664029 w 801914"/>
              <a:gd name="connsiteY3" fmla="*/ 484621 h 622795"/>
              <a:gd name="connsiteX4" fmla="*/ 340069 w 801914"/>
              <a:gd name="connsiteY4" fmla="*/ 622795 h 622795"/>
              <a:gd name="connsiteX5" fmla="*/ 283029 w 801914"/>
              <a:gd name="connsiteY5" fmla="*/ 361250 h 622795"/>
              <a:gd name="connsiteX6" fmla="*/ 0 w 801914"/>
              <a:gd name="connsiteY6" fmla="*/ 277792 h 622795"/>
              <a:gd name="connsiteX0" fmla="*/ 0 w 893579"/>
              <a:gd name="connsiteY0" fmla="*/ 277792 h 622795"/>
              <a:gd name="connsiteX1" fmla="*/ 674914 w 893579"/>
              <a:gd name="connsiteY1" fmla="*/ 9278 h 622795"/>
              <a:gd name="connsiteX2" fmla="*/ 893579 w 893579"/>
              <a:gd name="connsiteY2" fmla="*/ 253537 h 622795"/>
              <a:gd name="connsiteX3" fmla="*/ 664029 w 893579"/>
              <a:gd name="connsiteY3" fmla="*/ 484621 h 622795"/>
              <a:gd name="connsiteX4" fmla="*/ 340069 w 893579"/>
              <a:gd name="connsiteY4" fmla="*/ 622795 h 622795"/>
              <a:gd name="connsiteX5" fmla="*/ 283029 w 893579"/>
              <a:gd name="connsiteY5" fmla="*/ 361250 h 622795"/>
              <a:gd name="connsiteX6" fmla="*/ 0 w 893579"/>
              <a:gd name="connsiteY6" fmla="*/ 277792 h 622795"/>
              <a:gd name="connsiteX0" fmla="*/ 0 w 893579"/>
              <a:gd name="connsiteY0" fmla="*/ 277792 h 622795"/>
              <a:gd name="connsiteX1" fmla="*/ 674914 w 893579"/>
              <a:gd name="connsiteY1" fmla="*/ 9278 h 622795"/>
              <a:gd name="connsiteX2" fmla="*/ 893579 w 893579"/>
              <a:gd name="connsiteY2" fmla="*/ 253537 h 622795"/>
              <a:gd name="connsiteX3" fmla="*/ 734014 w 893579"/>
              <a:gd name="connsiteY3" fmla="*/ 476508 h 622795"/>
              <a:gd name="connsiteX4" fmla="*/ 340069 w 893579"/>
              <a:gd name="connsiteY4" fmla="*/ 622795 h 622795"/>
              <a:gd name="connsiteX5" fmla="*/ 283029 w 893579"/>
              <a:gd name="connsiteY5" fmla="*/ 361250 h 622795"/>
              <a:gd name="connsiteX6" fmla="*/ 0 w 893579"/>
              <a:gd name="connsiteY6" fmla="*/ 277792 h 622795"/>
              <a:gd name="connsiteX0" fmla="*/ 0 w 893579"/>
              <a:gd name="connsiteY0" fmla="*/ 279290 h 624293"/>
              <a:gd name="connsiteX1" fmla="*/ 777085 w 893579"/>
              <a:gd name="connsiteY1" fmla="*/ 9278 h 624293"/>
              <a:gd name="connsiteX2" fmla="*/ 893579 w 893579"/>
              <a:gd name="connsiteY2" fmla="*/ 255035 h 624293"/>
              <a:gd name="connsiteX3" fmla="*/ 734014 w 893579"/>
              <a:gd name="connsiteY3" fmla="*/ 478006 h 624293"/>
              <a:gd name="connsiteX4" fmla="*/ 340069 w 893579"/>
              <a:gd name="connsiteY4" fmla="*/ 624293 h 624293"/>
              <a:gd name="connsiteX5" fmla="*/ 283029 w 893579"/>
              <a:gd name="connsiteY5" fmla="*/ 362748 h 624293"/>
              <a:gd name="connsiteX6" fmla="*/ 0 w 893579"/>
              <a:gd name="connsiteY6" fmla="*/ 279290 h 624293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1003388"/>
              <a:gd name="connsiteY0" fmla="*/ 379321 h 657202"/>
              <a:gd name="connsiteX1" fmla="*/ 886894 w 1003388"/>
              <a:gd name="connsiteY1" fmla="*/ 42187 h 657202"/>
              <a:gd name="connsiteX2" fmla="*/ 1003388 w 1003388"/>
              <a:gd name="connsiteY2" fmla="*/ 287944 h 657202"/>
              <a:gd name="connsiteX3" fmla="*/ 843823 w 1003388"/>
              <a:gd name="connsiteY3" fmla="*/ 510915 h 657202"/>
              <a:gd name="connsiteX4" fmla="*/ 449878 w 1003388"/>
              <a:gd name="connsiteY4" fmla="*/ 657202 h 657202"/>
              <a:gd name="connsiteX5" fmla="*/ 392838 w 1003388"/>
              <a:gd name="connsiteY5" fmla="*/ 395657 h 657202"/>
              <a:gd name="connsiteX6" fmla="*/ 0 w 1003388"/>
              <a:gd name="connsiteY6" fmla="*/ 379321 h 657202"/>
              <a:gd name="connsiteX0" fmla="*/ 0 w 1003388"/>
              <a:gd name="connsiteY0" fmla="*/ 379321 h 657202"/>
              <a:gd name="connsiteX1" fmla="*/ 886894 w 1003388"/>
              <a:gd name="connsiteY1" fmla="*/ 42187 h 657202"/>
              <a:gd name="connsiteX2" fmla="*/ 1003388 w 1003388"/>
              <a:gd name="connsiteY2" fmla="*/ 287944 h 657202"/>
              <a:gd name="connsiteX3" fmla="*/ 843823 w 1003388"/>
              <a:gd name="connsiteY3" fmla="*/ 510915 h 657202"/>
              <a:gd name="connsiteX4" fmla="*/ 449878 w 1003388"/>
              <a:gd name="connsiteY4" fmla="*/ 657202 h 657202"/>
              <a:gd name="connsiteX5" fmla="*/ 290399 w 1003388"/>
              <a:gd name="connsiteY5" fmla="*/ 416188 h 657202"/>
              <a:gd name="connsiteX6" fmla="*/ 0 w 1003388"/>
              <a:gd name="connsiteY6" fmla="*/ 379321 h 657202"/>
              <a:gd name="connsiteX0" fmla="*/ 0 w 1003388"/>
              <a:gd name="connsiteY0" fmla="*/ 379321 h 673967"/>
              <a:gd name="connsiteX1" fmla="*/ 886894 w 1003388"/>
              <a:gd name="connsiteY1" fmla="*/ 42187 h 673967"/>
              <a:gd name="connsiteX2" fmla="*/ 1003388 w 1003388"/>
              <a:gd name="connsiteY2" fmla="*/ 287944 h 673967"/>
              <a:gd name="connsiteX3" fmla="*/ 843823 w 1003388"/>
              <a:gd name="connsiteY3" fmla="*/ 510915 h 673967"/>
              <a:gd name="connsiteX4" fmla="*/ 370078 w 1003388"/>
              <a:gd name="connsiteY4" fmla="*/ 673967 h 673967"/>
              <a:gd name="connsiteX5" fmla="*/ 290399 w 1003388"/>
              <a:gd name="connsiteY5" fmla="*/ 416188 h 673967"/>
              <a:gd name="connsiteX6" fmla="*/ 0 w 1003388"/>
              <a:gd name="connsiteY6" fmla="*/ 379321 h 673967"/>
              <a:gd name="connsiteX0" fmla="*/ 0 w 1003388"/>
              <a:gd name="connsiteY0" fmla="*/ 420798 h 715444"/>
              <a:gd name="connsiteX1" fmla="*/ 886894 w 1003388"/>
              <a:gd name="connsiteY1" fmla="*/ 83664 h 715444"/>
              <a:gd name="connsiteX2" fmla="*/ 1003388 w 1003388"/>
              <a:gd name="connsiteY2" fmla="*/ 329421 h 715444"/>
              <a:gd name="connsiteX3" fmla="*/ 843823 w 1003388"/>
              <a:gd name="connsiteY3" fmla="*/ 552392 h 715444"/>
              <a:gd name="connsiteX4" fmla="*/ 370078 w 1003388"/>
              <a:gd name="connsiteY4" fmla="*/ 715444 h 715444"/>
              <a:gd name="connsiteX5" fmla="*/ 290399 w 1003388"/>
              <a:gd name="connsiteY5" fmla="*/ 457665 h 715444"/>
              <a:gd name="connsiteX6" fmla="*/ 0 w 1003388"/>
              <a:gd name="connsiteY6" fmla="*/ 420798 h 715444"/>
              <a:gd name="connsiteX0" fmla="*/ 0 w 1003388"/>
              <a:gd name="connsiteY0" fmla="*/ 420798 h 715444"/>
              <a:gd name="connsiteX1" fmla="*/ 886894 w 1003388"/>
              <a:gd name="connsiteY1" fmla="*/ 83664 h 715444"/>
              <a:gd name="connsiteX2" fmla="*/ 1003388 w 1003388"/>
              <a:gd name="connsiteY2" fmla="*/ 329421 h 715444"/>
              <a:gd name="connsiteX3" fmla="*/ 843823 w 1003388"/>
              <a:gd name="connsiteY3" fmla="*/ 552392 h 715444"/>
              <a:gd name="connsiteX4" fmla="*/ 370078 w 1003388"/>
              <a:gd name="connsiteY4" fmla="*/ 715444 h 715444"/>
              <a:gd name="connsiteX5" fmla="*/ 290399 w 1003388"/>
              <a:gd name="connsiteY5" fmla="*/ 457665 h 715444"/>
              <a:gd name="connsiteX6" fmla="*/ 0 w 1003388"/>
              <a:gd name="connsiteY6" fmla="*/ 420798 h 715444"/>
              <a:gd name="connsiteX0" fmla="*/ 0 w 1003388"/>
              <a:gd name="connsiteY0" fmla="*/ 420798 h 715444"/>
              <a:gd name="connsiteX1" fmla="*/ 886894 w 1003388"/>
              <a:gd name="connsiteY1" fmla="*/ 83664 h 715444"/>
              <a:gd name="connsiteX2" fmla="*/ 1003388 w 1003388"/>
              <a:gd name="connsiteY2" fmla="*/ 329421 h 715444"/>
              <a:gd name="connsiteX3" fmla="*/ 843823 w 1003388"/>
              <a:gd name="connsiteY3" fmla="*/ 552392 h 715444"/>
              <a:gd name="connsiteX4" fmla="*/ 370078 w 1003388"/>
              <a:gd name="connsiteY4" fmla="*/ 715444 h 715444"/>
              <a:gd name="connsiteX5" fmla="*/ 290399 w 1003388"/>
              <a:gd name="connsiteY5" fmla="*/ 457665 h 715444"/>
              <a:gd name="connsiteX6" fmla="*/ 0 w 1003388"/>
              <a:gd name="connsiteY6" fmla="*/ 420798 h 715444"/>
              <a:gd name="connsiteX0" fmla="*/ 0 w 1003388"/>
              <a:gd name="connsiteY0" fmla="*/ 392717 h 687363"/>
              <a:gd name="connsiteX1" fmla="*/ 886894 w 1003388"/>
              <a:gd name="connsiteY1" fmla="*/ 55583 h 687363"/>
              <a:gd name="connsiteX2" fmla="*/ 1003388 w 1003388"/>
              <a:gd name="connsiteY2" fmla="*/ 301340 h 687363"/>
              <a:gd name="connsiteX3" fmla="*/ 843823 w 1003388"/>
              <a:gd name="connsiteY3" fmla="*/ 524311 h 687363"/>
              <a:gd name="connsiteX4" fmla="*/ 370078 w 1003388"/>
              <a:gd name="connsiteY4" fmla="*/ 687363 h 687363"/>
              <a:gd name="connsiteX5" fmla="*/ 290399 w 1003388"/>
              <a:gd name="connsiteY5" fmla="*/ 429584 h 687363"/>
              <a:gd name="connsiteX6" fmla="*/ 0 w 1003388"/>
              <a:gd name="connsiteY6" fmla="*/ 392717 h 687363"/>
              <a:gd name="connsiteX0" fmla="*/ 0 w 1003388"/>
              <a:gd name="connsiteY0" fmla="*/ 392252 h 686898"/>
              <a:gd name="connsiteX1" fmla="*/ 886894 w 1003388"/>
              <a:gd name="connsiteY1" fmla="*/ 55118 h 686898"/>
              <a:gd name="connsiteX2" fmla="*/ 1003388 w 1003388"/>
              <a:gd name="connsiteY2" fmla="*/ 300875 h 686898"/>
              <a:gd name="connsiteX3" fmla="*/ 843823 w 1003388"/>
              <a:gd name="connsiteY3" fmla="*/ 523846 h 686898"/>
              <a:gd name="connsiteX4" fmla="*/ 370078 w 1003388"/>
              <a:gd name="connsiteY4" fmla="*/ 686898 h 686898"/>
              <a:gd name="connsiteX5" fmla="*/ 290399 w 1003388"/>
              <a:gd name="connsiteY5" fmla="*/ 429119 h 686898"/>
              <a:gd name="connsiteX6" fmla="*/ 0 w 1003388"/>
              <a:gd name="connsiteY6" fmla="*/ 392252 h 686898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3388" h="702754">
                <a:moveTo>
                  <a:pt x="0" y="408108"/>
                </a:moveTo>
                <a:cubicBezTo>
                  <a:pt x="152314" y="175885"/>
                  <a:pt x="579788" y="0"/>
                  <a:pt x="886894" y="70974"/>
                </a:cubicBezTo>
                <a:lnTo>
                  <a:pt x="1003388" y="316731"/>
                </a:lnTo>
                <a:lnTo>
                  <a:pt x="843823" y="539702"/>
                </a:lnTo>
                <a:cubicBezTo>
                  <a:pt x="688621" y="504763"/>
                  <a:pt x="473878" y="571458"/>
                  <a:pt x="370078" y="702754"/>
                </a:cubicBezTo>
                <a:lnTo>
                  <a:pt x="290399" y="444975"/>
                </a:lnTo>
                <a:lnTo>
                  <a:pt x="0" y="408108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5" name="Freeform 22">
            <a:extLst>
              <a:ext uri="{FF2B5EF4-FFF2-40B4-BE49-F238E27FC236}">
                <a16:creationId xmlns:a16="http://schemas.microsoft.com/office/drawing/2014/main" id="{4383F976-FFF3-FB2E-02D7-691B31B3149F}"/>
              </a:ext>
            </a:extLst>
          </p:cNvPr>
          <p:cNvSpPr/>
          <p:nvPr/>
        </p:nvSpPr>
        <p:spPr>
          <a:xfrm rot="13883841">
            <a:off x="3770201" y="4329640"/>
            <a:ext cx="2623202" cy="1837241"/>
          </a:xfrm>
          <a:custGeom>
            <a:avLst/>
            <a:gdLst>
              <a:gd name="connsiteX0" fmla="*/ 0 w 801914"/>
              <a:gd name="connsiteY0" fmla="*/ 268514 h 602343"/>
              <a:gd name="connsiteX1" fmla="*/ 674914 w 801914"/>
              <a:gd name="connsiteY1" fmla="*/ 0 h 602343"/>
              <a:gd name="connsiteX2" fmla="*/ 801914 w 801914"/>
              <a:gd name="connsiteY2" fmla="*/ 250372 h 602343"/>
              <a:gd name="connsiteX3" fmla="*/ 664029 w 801914"/>
              <a:gd name="connsiteY3" fmla="*/ 475343 h 602343"/>
              <a:gd name="connsiteX4" fmla="*/ 337457 w 801914"/>
              <a:gd name="connsiteY4" fmla="*/ 602343 h 602343"/>
              <a:gd name="connsiteX5" fmla="*/ 283029 w 801914"/>
              <a:gd name="connsiteY5" fmla="*/ 351972 h 602343"/>
              <a:gd name="connsiteX6" fmla="*/ 0 w 801914"/>
              <a:gd name="connsiteY6" fmla="*/ 268514 h 602343"/>
              <a:gd name="connsiteX0" fmla="*/ 0 w 801914"/>
              <a:gd name="connsiteY0" fmla="*/ 268514 h 602343"/>
              <a:gd name="connsiteX1" fmla="*/ 674914 w 801914"/>
              <a:gd name="connsiteY1" fmla="*/ 0 h 602343"/>
              <a:gd name="connsiteX2" fmla="*/ 801914 w 801914"/>
              <a:gd name="connsiteY2" fmla="*/ 250372 h 602343"/>
              <a:gd name="connsiteX3" fmla="*/ 664029 w 801914"/>
              <a:gd name="connsiteY3" fmla="*/ 475343 h 602343"/>
              <a:gd name="connsiteX4" fmla="*/ 337457 w 801914"/>
              <a:gd name="connsiteY4" fmla="*/ 602343 h 602343"/>
              <a:gd name="connsiteX5" fmla="*/ 283029 w 801914"/>
              <a:gd name="connsiteY5" fmla="*/ 351972 h 602343"/>
              <a:gd name="connsiteX6" fmla="*/ 0 w 801914"/>
              <a:gd name="connsiteY6" fmla="*/ 268514 h 602343"/>
              <a:gd name="connsiteX0" fmla="*/ 0 w 801914"/>
              <a:gd name="connsiteY0" fmla="*/ 277792 h 611621"/>
              <a:gd name="connsiteX1" fmla="*/ 674914 w 801914"/>
              <a:gd name="connsiteY1" fmla="*/ 9278 h 611621"/>
              <a:gd name="connsiteX2" fmla="*/ 801914 w 801914"/>
              <a:gd name="connsiteY2" fmla="*/ 259650 h 611621"/>
              <a:gd name="connsiteX3" fmla="*/ 664029 w 801914"/>
              <a:gd name="connsiteY3" fmla="*/ 484621 h 611621"/>
              <a:gd name="connsiteX4" fmla="*/ 337457 w 801914"/>
              <a:gd name="connsiteY4" fmla="*/ 611621 h 611621"/>
              <a:gd name="connsiteX5" fmla="*/ 283029 w 801914"/>
              <a:gd name="connsiteY5" fmla="*/ 361250 h 611621"/>
              <a:gd name="connsiteX6" fmla="*/ 0 w 801914"/>
              <a:gd name="connsiteY6" fmla="*/ 277792 h 611621"/>
              <a:gd name="connsiteX0" fmla="*/ 0 w 801914"/>
              <a:gd name="connsiteY0" fmla="*/ 277792 h 611621"/>
              <a:gd name="connsiteX1" fmla="*/ 674914 w 801914"/>
              <a:gd name="connsiteY1" fmla="*/ 9278 h 611621"/>
              <a:gd name="connsiteX2" fmla="*/ 801914 w 801914"/>
              <a:gd name="connsiteY2" fmla="*/ 259650 h 611621"/>
              <a:gd name="connsiteX3" fmla="*/ 664029 w 801914"/>
              <a:gd name="connsiteY3" fmla="*/ 484621 h 611621"/>
              <a:gd name="connsiteX4" fmla="*/ 337457 w 801914"/>
              <a:gd name="connsiteY4" fmla="*/ 611621 h 611621"/>
              <a:gd name="connsiteX5" fmla="*/ 283029 w 801914"/>
              <a:gd name="connsiteY5" fmla="*/ 361250 h 611621"/>
              <a:gd name="connsiteX6" fmla="*/ 0 w 801914"/>
              <a:gd name="connsiteY6" fmla="*/ 277792 h 611621"/>
              <a:gd name="connsiteX0" fmla="*/ 0 w 801914"/>
              <a:gd name="connsiteY0" fmla="*/ 277792 h 611621"/>
              <a:gd name="connsiteX1" fmla="*/ 674914 w 801914"/>
              <a:gd name="connsiteY1" fmla="*/ 9278 h 611621"/>
              <a:gd name="connsiteX2" fmla="*/ 801914 w 801914"/>
              <a:gd name="connsiteY2" fmla="*/ 259650 h 611621"/>
              <a:gd name="connsiteX3" fmla="*/ 664029 w 801914"/>
              <a:gd name="connsiteY3" fmla="*/ 484621 h 611621"/>
              <a:gd name="connsiteX4" fmla="*/ 337457 w 801914"/>
              <a:gd name="connsiteY4" fmla="*/ 611621 h 611621"/>
              <a:gd name="connsiteX5" fmla="*/ 283029 w 801914"/>
              <a:gd name="connsiteY5" fmla="*/ 361250 h 611621"/>
              <a:gd name="connsiteX6" fmla="*/ 0 w 801914"/>
              <a:gd name="connsiteY6" fmla="*/ 277792 h 611621"/>
              <a:gd name="connsiteX0" fmla="*/ 0 w 801914"/>
              <a:gd name="connsiteY0" fmla="*/ 277792 h 611621"/>
              <a:gd name="connsiteX1" fmla="*/ 674914 w 801914"/>
              <a:gd name="connsiteY1" fmla="*/ 9278 h 611621"/>
              <a:gd name="connsiteX2" fmla="*/ 801914 w 801914"/>
              <a:gd name="connsiteY2" fmla="*/ 259650 h 611621"/>
              <a:gd name="connsiteX3" fmla="*/ 664029 w 801914"/>
              <a:gd name="connsiteY3" fmla="*/ 484621 h 611621"/>
              <a:gd name="connsiteX4" fmla="*/ 337457 w 801914"/>
              <a:gd name="connsiteY4" fmla="*/ 611621 h 611621"/>
              <a:gd name="connsiteX5" fmla="*/ 283029 w 801914"/>
              <a:gd name="connsiteY5" fmla="*/ 361250 h 611621"/>
              <a:gd name="connsiteX6" fmla="*/ 0 w 801914"/>
              <a:gd name="connsiteY6" fmla="*/ 277792 h 611621"/>
              <a:gd name="connsiteX0" fmla="*/ 0 w 801914"/>
              <a:gd name="connsiteY0" fmla="*/ 277792 h 622795"/>
              <a:gd name="connsiteX1" fmla="*/ 674914 w 801914"/>
              <a:gd name="connsiteY1" fmla="*/ 9278 h 622795"/>
              <a:gd name="connsiteX2" fmla="*/ 801914 w 801914"/>
              <a:gd name="connsiteY2" fmla="*/ 259650 h 622795"/>
              <a:gd name="connsiteX3" fmla="*/ 664029 w 801914"/>
              <a:gd name="connsiteY3" fmla="*/ 484621 h 622795"/>
              <a:gd name="connsiteX4" fmla="*/ 340069 w 801914"/>
              <a:gd name="connsiteY4" fmla="*/ 622795 h 622795"/>
              <a:gd name="connsiteX5" fmla="*/ 283029 w 801914"/>
              <a:gd name="connsiteY5" fmla="*/ 361250 h 622795"/>
              <a:gd name="connsiteX6" fmla="*/ 0 w 801914"/>
              <a:gd name="connsiteY6" fmla="*/ 277792 h 622795"/>
              <a:gd name="connsiteX0" fmla="*/ 0 w 893579"/>
              <a:gd name="connsiteY0" fmla="*/ 277792 h 622795"/>
              <a:gd name="connsiteX1" fmla="*/ 674914 w 893579"/>
              <a:gd name="connsiteY1" fmla="*/ 9278 h 622795"/>
              <a:gd name="connsiteX2" fmla="*/ 893579 w 893579"/>
              <a:gd name="connsiteY2" fmla="*/ 253537 h 622795"/>
              <a:gd name="connsiteX3" fmla="*/ 664029 w 893579"/>
              <a:gd name="connsiteY3" fmla="*/ 484621 h 622795"/>
              <a:gd name="connsiteX4" fmla="*/ 340069 w 893579"/>
              <a:gd name="connsiteY4" fmla="*/ 622795 h 622795"/>
              <a:gd name="connsiteX5" fmla="*/ 283029 w 893579"/>
              <a:gd name="connsiteY5" fmla="*/ 361250 h 622795"/>
              <a:gd name="connsiteX6" fmla="*/ 0 w 893579"/>
              <a:gd name="connsiteY6" fmla="*/ 277792 h 622795"/>
              <a:gd name="connsiteX0" fmla="*/ 0 w 893579"/>
              <a:gd name="connsiteY0" fmla="*/ 277792 h 622795"/>
              <a:gd name="connsiteX1" fmla="*/ 674914 w 893579"/>
              <a:gd name="connsiteY1" fmla="*/ 9278 h 622795"/>
              <a:gd name="connsiteX2" fmla="*/ 893579 w 893579"/>
              <a:gd name="connsiteY2" fmla="*/ 253537 h 622795"/>
              <a:gd name="connsiteX3" fmla="*/ 734014 w 893579"/>
              <a:gd name="connsiteY3" fmla="*/ 476508 h 622795"/>
              <a:gd name="connsiteX4" fmla="*/ 340069 w 893579"/>
              <a:gd name="connsiteY4" fmla="*/ 622795 h 622795"/>
              <a:gd name="connsiteX5" fmla="*/ 283029 w 893579"/>
              <a:gd name="connsiteY5" fmla="*/ 361250 h 622795"/>
              <a:gd name="connsiteX6" fmla="*/ 0 w 893579"/>
              <a:gd name="connsiteY6" fmla="*/ 277792 h 622795"/>
              <a:gd name="connsiteX0" fmla="*/ 0 w 893579"/>
              <a:gd name="connsiteY0" fmla="*/ 279290 h 624293"/>
              <a:gd name="connsiteX1" fmla="*/ 777085 w 893579"/>
              <a:gd name="connsiteY1" fmla="*/ 9278 h 624293"/>
              <a:gd name="connsiteX2" fmla="*/ 893579 w 893579"/>
              <a:gd name="connsiteY2" fmla="*/ 255035 h 624293"/>
              <a:gd name="connsiteX3" fmla="*/ 734014 w 893579"/>
              <a:gd name="connsiteY3" fmla="*/ 478006 h 624293"/>
              <a:gd name="connsiteX4" fmla="*/ 340069 w 893579"/>
              <a:gd name="connsiteY4" fmla="*/ 624293 h 624293"/>
              <a:gd name="connsiteX5" fmla="*/ 283029 w 893579"/>
              <a:gd name="connsiteY5" fmla="*/ 362748 h 624293"/>
              <a:gd name="connsiteX6" fmla="*/ 0 w 893579"/>
              <a:gd name="connsiteY6" fmla="*/ 279290 h 624293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1003388"/>
              <a:gd name="connsiteY0" fmla="*/ 379321 h 657202"/>
              <a:gd name="connsiteX1" fmla="*/ 886894 w 1003388"/>
              <a:gd name="connsiteY1" fmla="*/ 42187 h 657202"/>
              <a:gd name="connsiteX2" fmla="*/ 1003388 w 1003388"/>
              <a:gd name="connsiteY2" fmla="*/ 287944 h 657202"/>
              <a:gd name="connsiteX3" fmla="*/ 843823 w 1003388"/>
              <a:gd name="connsiteY3" fmla="*/ 510915 h 657202"/>
              <a:gd name="connsiteX4" fmla="*/ 449878 w 1003388"/>
              <a:gd name="connsiteY4" fmla="*/ 657202 h 657202"/>
              <a:gd name="connsiteX5" fmla="*/ 392838 w 1003388"/>
              <a:gd name="connsiteY5" fmla="*/ 395657 h 657202"/>
              <a:gd name="connsiteX6" fmla="*/ 0 w 1003388"/>
              <a:gd name="connsiteY6" fmla="*/ 379321 h 657202"/>
              <a:gd name="connsiteX0" fmla="*/ 0 w 1003388"/>
              <a:gd name="connsiteY0" fmla="*/ 379321 h 657202"/>
              <a:gd name="connsiteX1" fmla="*/ 886894 w 1003388"/>
              <a:gd name="connsiteY1" fmla="*/ 42187 h 657202"/>
              <a:gd name="connsiteX2" fmla="*/ 1003388 w 1003388"/>
              <a:gd name="connsiteY2" fmla="*/ 287944 h 657202"/>
              <a:gd name="connsiteX3" fmla="*/ 843823 w 1003388"/>
              <a:gd name="connsiteY3" fmla="*/ 510915 h 657202"/>
              <a:gd name="connsiteX4" fmla="*/ 449878 w 1003388"/>
              <a:gd name="connsiteY4" fmla="*/ 657202 h 657202"/>
              <a:gd name="connsiteX5" fmla="*/ 290399 w 1003388"/>
              <a:gd name="connsiteY5" fmla="*/ 416188 h 657202"/>
              <a:gd name="connsiteX6" fmla="*/ 0 w 1003388"/>
              <a:gd name="connsiteY6" fmla="*/ 379321 h 657202"/>
              <a:gd name="connsiteX0" fmla="*/ 0 w 1003388"/>
              <a:gd name="connsiteY0" fmla="*/ 379321 h 673967"/>
              <a:gd name="connsiteX1" fmla="*/ 886894 w 1003388"/>
              <a:gd name="connsiteY1" fmla="*/ 42187 h 673967"/>
              <a:gd name="connsiteX2" fmla="*/ 1003388 w 1003388"/>
              <a:gd name="connsiteY2" fmla="*/ 287944 h 673967"/>
              <a:gd name="connsiteX3" fmla="*/ 843823 w 1003388"/>
              <a:gd name="connsiteY3" fmla="*/ 510915 h 673967"/>
              <a:gd name="connsiteX4" fmla="*/ 370078 w 1003388"/>
              <a:gd name="connsiteY4" fmla="*/ 673967 h 673967"/>
              <a:gd name="connsiteX5" fmla="*/ 290399 w 1003388"/>
              <a:gd name="connsiteY5" fmla="*/ 416188 h 673967"/>
              <a:gd name="connsiteX6" fmla="*/ 0 w 1003388"/>
              <a:gd name="connsiteY6" fmla="*/ 379321 h 673967"/>
              <a:gd name="connsiteX0" fmla="*/ 0 w 1003388"/>
              <a:gd name="connsiteY0" fmla="*/ 420798 h 715444"/>
              <a:gd name="connsiteX1" fmla="*/ 886894 w 1003388"/>
              <a:gd name="connsiteY1" fmla="*/ 83664 h 715444"/>
              <a:gd name="connsiteX2" fmla="*/ 1003388 w 1003388"/>
              <a:gd name="connsiteY2" fmla="*/ 329421 h 715444"/>
              <a:gd name="connsiteX3" fmla="*/ 843823 w 1003388"/>
              <a:gd name="connsiteY3" fmla="*/ 552392 h 715444"/>
              <a:gd name="connsiteX4" fmla="*/ 370078 w 1003388"/>
              <a:gd name="connsiteY4" fmla="*/ 715444 h 715444"/>
              <a:gd name="connsiteX5" fmla="*/ 290399 w 1003388"/>
              <a:gd name="connsiteY5" fmla="*/ 457665 h 715444"/>
              <a:gd name="connsiteX6" fmla="*/ 0 w 1003388"/>
              <a:gd name="connsiteY6" fmla="*/ 420798 h 715444"/>
              <a:gd name="connsiteX0" fmla="*/ 0 w 1003388"/>
              <a:gd name="connsiteY0" fmla="*/ 420798 h 715444"/>
              <a:gd name="connsiteX1" fmla="*/ 886894 w 1003388"/>
              <a:gd name="connsiteY1" fmla="*/ 83664 h 715444"/>
              <a:gd name="connsiteX2" fmla="*/ 1003388 w 1003388"/>
              <a:gd name="connsiteY2" fmla="*/ 329421 h 715444"/>
              <a:gd name="connsiteX3" fmla="*/ 843823 w 1003388"/>
              <a:gd name="connsiteY3" fmla="*/ 552392 h 715444"/>
              <a:gd name="connsiteX4" fmla="*/ 370078 w 1003388"/>
              <a:gd name="connsiteY4" fmla="*/ 715444 h 715444"/>
              <a:gd name="connsiteX5" fmla="*/ 290399 w 1003388"/>
              <a:gd name="connsiteY5" fmla="*/ 457665 h 715444"/>
              <a:gd name="connsiteX6" fmla="*/ 0 w 1003388"/>
              <a:gd name="connsiteY6" fmla="*/ 420798 h 715444"/>
              <a:gd name="connsiteX0" fmla="*/ 0 w 1003388"/>
              <a:gd name="connsiteY0" fmla="*/ 420798 h 715444"/>
              <a:gd name="connsiteX1" fmla="*/ 886894 w 1003388"/>
              <a:gd name="connsiteY1" fmla="*/ 83664 h 715444"/>
              <a:gd name="connsiteX2" fmla="*/ 1003388 w 1003388"/>
              <a:gd name="connsiteY2" fmla="*/ 329421 h 715444"/>
              <a:gd name="connsiteX3" fmla="*/ 843823 w 1003388"/>
              <a:gd name="connsiteY3" fmla="*/ 552392 h 715444"/>
              <a:gd name="connsiteX4" fmla="*/ 370078 w 1003388"/>
              <a:gd name="connsiteY4" fmla="*/ 715444 h 715444"/>
              <a:gd name="connsiteX5" fmla="*/ 290399 w 1003388"/>
              <a:gd name="connsiteY5" fmla="*/ 457665 h 715444"/>
              <a:gd name="connsiteX6" fmla="*/ 0 w 1003388"/>
              <a:gd name="connsiteY6" fmla="*/ 420798 h 715444"/>
              <a:gd name="connsiteX0" fmla="*/ 0 w 1003388"/>
              <a:gd name="connsiteY0" fmla="*/ 392717 h 687363"/>
              <a:gd name="connsiteX1" fmla="*/ 886894 w 1003388"/>
              <a:gd name="connsiteY1" fmla="*/ 55583 h 687363"/>
              <a:gd name="connsiteX2" fmla="*/ 1003388 w 1003388"/>
              <a:gd name="connsiteY2" fmla="*/ 301340 h 687363"/>
              <a:gd name="connsiteX3" fmla="*/ 843823 w 1003388"/>
              <a:gd name="connsiteY3" fmla="*/ 524311 h 687363"/>
              <a:gd name="connsiteX4" fmla="*/ 370078 w 1003388"/>
              <a:gd name="connsiteY4" fmla="*/ 687363 h 687363"/>
              <a:gd name="connsiteX5" fmla="*/ 290399 w 1003388"/>
              <a:gd name="connsiteY5" fmla="*/ 429584 h 687363"/>
              <a:gd name="connsiteX6" fmla="*/ 0 w 1003388"/>
              <a:gd name="connsiteY6" fmla="*/ 392717 h 687363"/>
              <a:gd name="connsiteX0" fmla="*/ 0 w 1003388"/>
              <a:gd name="connsiteY0" fmla="*/ 392252 h 686898"/>
              <a:gd name="connsiteX1" fmla="*/ 886894 w 1003388"/>
              <a:gd name="connsiteY1" fmla="*/ 55118 h 686898"/>
              <a:gd name="connsiteX2" fmla="*/ 1003388 w 1003388"/>
              <a:gd name="connsiteY2" fmla="*/ 300875 h 686898"/>
              <a:gd name="connsiteX3" fmla="*/ 843823 w 1003388"/>
              <a:gd name="connsiteY3" fmla="*/ 523846 h 686898"/>
              <a:gd name="connsiteX4" fmla="*/ 370078 w 1003388"/>
              <a:gd name="connsiteY4" fmla="*/ 686898 h 686898"/>
              <a:gd name="connsiteX5" fmla="*/ 290399 w 1003388"/>
              <a:gd name="connsiteY5" fmla="*/ 429119 h 686898"/>
              <a:gd name="connsiteX6" fmla="*/ 0 w 1003388"/>
              <a:gd name="connsiteY6" fmla="*/ 392252 h 686898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3388" h="702754">
                <a:moveTo>
                  <a:pt x="0" y="408108"/>
                </a:moveTo>
                <a:cubicBezTo>
                  <a:pt x="152314" y="175885"/>
                  <a:pt x="579788" y="0"/>
                  <a:pt x="886894" y="70974"/>
                </a:cubicBezTo>
                <a:lnTo>
                  <a:pt x="1003388" y="316731"/>
                </a:lnTo>
                <a:lnTo>
                  <a:pt x="843823" y="539702"/>
                </a:lnTo>
                <a:cubicBezTo>
                  <a:pt x="688621" y="504763"/>
                  <a:pt x="473878" y="571458"/>
                  <a:pt x="370078" y="702754"/>
                </a:cubicBezTo>
                <a:lnTo>
                  <a:pt x="290399" y="444975"/>
                </a:lnTo>
                <a:lnTo>
                  <a:pt x="0" y="408108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26" name="Freeform 23">
            <a:extLst>
              <a:ext uri="{FF2B5EF4-FFF2-40B4-BE49-F238E27FC236}">
                <a16:creationId xmlns:a16="http://schemas.microsoft.com/office/drawing/2014/main" id="{FE89DCD5-B2B3-A0FC-7DB0-2BC5599685A0}"/>
              </a:ext>
            </a:extLst>
          </p:cNvPr>
          <p:cNvSpPr/>
          <p:nvPr/>
        </p:nvSpPr>
        <p:spPr>
          <a:xfrm rot="17448745">
            <a:off x="2823020" y="2634879"/>
            <a:ext cx="2623202" cy="1837241"/>
          </a:xfrm>
          <a:custGeom>
            <a:avLst/>
            <a:gdLst>
              <a:gd name="connsiteX0" fmla="*/ 0 w 801914"/>
              <a:gd name="connsiteY0" fmla="*/ 268514 h 602343"/>
              <a:gd name="connsiteX1" fmla="*/ 674914 w 801914"/>
              <a:gd name="connsiteY1" fmla="*/ 0 h 602343"/>
              <a:gd name="connsiteX2" fmla="*/ 801914 w 801914"/>
              <a:gd name="connsiteY2" fmla="*/ 250372 h 602343"/>
              <a:gd name="connsiteX3" fmla="*/ 664029 w 801914"/>
              <a:gd name="connsiteY3" fmla="*/ 475343 h 602343"/>
              <a:gd name="connsiteX4" fmla="*/ 337457 w 801914"/>
              <a:gd name="connsiteY4" fmla="*/ 602343 h 602343"/>
              <a:gd name="connsiteX5" fmla="*/ 283029 w 801914"/>
              <a:gd name="connsiteY5" fmla="*/ 351972 h 602343"/>
              <a:gd name="connsiteX6" fmla="*/ 0 w 801914"/>
              <a:gd name="connsiteY6" fmla="*/ 268514 h 602343"/>
              <a:gd name="connsiteX0" fmla="*/ 0 w 801914"/>
              <a:gd name="connsiteY0" fmla="*/ 268514 h 602343"/>
              <a:gd name="connsiteX1" fmla="*/ 674914 w 801914"/>
              <a:gd name="connsiteY1" fmla="*/ 0 h 602343"/>
              <a:gd name="connsiteX2" fmla="*/ 801914 w 801914"/>
              <a:gd name="connsiteY2" fmla="*/ 250372 h 602343"/>
              <a:gd name="connsiteX3" fmla="*/ 664029 w 801914"/>
              <a:gd name="connsiteY3" fmla="*/ 475343 h 602343"/>
              <a:gd name="connsiteX4" fmla="*/ 337457 w 801914"/>
              <a:gd name="connsiteY4" fmla="*/ 602343 h 602343"/>
              <a:gd name="connsiteX5" fmla="*/ 283029 w 801914"/>
              <a:gd name="connsiteY5" fmla="*/ 351972 h 602343"/>
              <a:gd name="connsiteX6" fmla="*/ 0 w 801914"/>
              <a:gd name="connsiteY6" fmla="*/ 268514 h 602343"/>
              <a:gd name="connsiteX0" fmla="*/ 0 w 801914"/>
              <a:gd name="connsiteY0" fmla="*/ 277792 h 611621"/>
              <a:gd name="connsiteX1" fmla="*/ 674914 w 801914"/>
              <a:gd name="connsiteY1" fmla="*/ 9278 h 611621"/>
              <a:gd name="connsiteX2" fmla="*/ 801914 w 801914"/>
              <a:gd name="connsiteY2" fmla="*/ 259650 h 611621"/>
              <a:gd name="connsiteX3" fmla="*/ 664029 w 801914"/>
              <a:gd name="connsiteY3" fmla="*/ 484621 h 611621"/>
              <a:gd name="connsiteX4" fmla="*/ 337457 w 801914"/>
              <a:gd name="connsiteY4" fmla="*/ 611621 h 611621"/>
              <a:gd name="connsiteX5" fmla="*/ 283029 w 801914"/>
              <a:gd name="connsiteY5" fmla="*/ 361250 h 611621"/>
              <a:gd name="connsiteX6" fmla="*/ 0 w 801914"/>
              <a:gd name="connsiteY6" fmla="*/ 277792 h 611621"/>
              <a:gd name="connsiteX0" fmla="*/ 0 w 801914"/>
              <a:gd name="connsiteY0" fmla="*/ 277792 h 611621"/>
              <a:gd name="connsiteX1" fmla="*/ 674914 w 801914"/>
              <a:gd name="connsiteY1" fmla="*/ 9278 h 611621"/>
              <a:gd name="connsiteX2" fmla="*/ 801914 w 801914"/>
              <a:gd name="connsiteY2" fmla="*/ 259650 h 611621"/>
              <a:gd name="connsiteX3" fmla="*/ 664029 w 801914"/>
              <a:gd name="connsiteY3" fmla="*/ 484621 h 611621"/>
              <a:gd name="connsiteX4" fmla="*/ 337457 w 801914"/>
              <a:gd name="connsiteY4" fmla="*/ 611621 h 611621"/>
              <a:gd name="connsiteX5" fmla="*/ 283029 w 801914"/>
              <a:gd name="connsiteY5" fmla="*/ 361250 h 611621"/>
              <a:gd name="connsiteX6" fmla="*/ 0 w 801914"/>
              <a:gd name="connsiteY6" fmla="*/ 277792 h 611621"/>
              <a:gd name="connsiteX0" fmla="*/ 0 w 801914"/>
              <a:gd name="connsiteY0" fmla="*/ 277792 h 611621"/>
              <a:gd name="connsiteX1" fmla="*/ 674914 w 801914"/>
              <a:gd name="connsiteY1" fmla="*/ 9278 h 611621"/>
              <a:gd name="connsiteX2" fmla="*/ 801914 w 801914"/>
              <a:gd name="connsiteY2" fmla="*/ 259650 h 611621"/>
              <a:gd name="connsiteX3" fmla="*/ 664029 w 801914"/>
              <a:gd name="connsiteY3" fmla="*/ 484621 h 611621"/>
              <a:gd name="connsiteX4" fmla="*/ 337457 w 801914"/>
              <a:gd name="connsiteY4" fmla="*/ 611621 h 611621"/>
              <a:gd name="connsiteX5" fmla="*/ 283029 w 801914"/>
              <a:gd name="connsiteY5" fmla="*/ 361250 h 611621"/>
              <a:gd name="connsiteX6" fmla="*/ 0 w 801914"/>
              <a:gd name="connsiteY6" fmla="*/ 277792 h 611621"/>
              <a:gd name="connsiteX0" fmla="*/ 0 w 801914"/>
              <a:gd name="connsiteY0" fmla="*/ 277792 h 611621"/>
              <a:gd name="connsiteX1" fmla="*/ 674914 w 801914"/>
              <a:gd name="connsiteY1" fmla="*/ 9278 h 611621"/>
              <a:gd name="connsiteX2" fmla="*/ 801914 w 801914"/>
              <a:gd name="connsiteY2" fmla="*/ 259650 h 611621"/>
              <a:gd name="connsiteX3" fmla="*/ 664029 w 801914"/>
              <a:gd name="connsiteY3" fmla="*/ 484621 h 611621"/>
              <a:gd name="connsiteX4" fmla="*/ 337457 w 801914"/>
              <a:gd name="connsiteY4" fmla="*/ 611621 h 611621"/>
              <a:gd name="connsiteX5" fmla="*/ 283029 w 801914"/>
              <a:gd name="connsiteY5" fmla="*/ 361250 h 611621"/>
              <a:gd name="connsiteX6" fmla="*/ 0 w 801914"/>
              <a:gd name="connsiteY6" fmla="*/ 277792 h 611621"/>
              <a:gd name="connsiteX0" fmla="*/ 0 w 801914"/>
              <a:gd name="connsiteY0" fmla="*/ 277792 h 622795"/>
              <a:gd name="connsiteX1" fmla="*/ 674914 w 801914"/>
              <a:gd name="connsiteY1" fmla="*/ 9278 h 622795"/>
              <a:gd name="connsiteX2" fmla="*/ 801914 w 801914"/>
              <a:gd name="connsiteY2" fmla="*/ 259650 h 622795"/>
              <a:gd name="connsiteX3" fmla="*/ 664029 w 801914"/>
              <a:gd name="connsiteY3" fmla="*/ 484621 h 622795"/>
              <a:gd name="connsiteX4" fmla="*/ 340069 w 801914"/>
              <a:gd name="connsiteY4" fmla="*/ 622795 h 622795"/>
              <a:gd name="connsiteX5" fmla="*/ 283029 w 801914"/>
              <a:gd name="connsiteY5" fmla="*/ 361250 h 622795"/>
              <a:gd name="connsiteX6" fmla="*/ 0 w 801914"/>
              <a:gd name="connsiteY6" fmla="*/ 277792 h 622795"/>
              <a:gd name="connsiteX0" fmla="*/ 0 w 893579"/>
              <a:gd name="connsiteY0" fmla="*/ 277792 h 622795"/>
              <a:gd name="connsiteX1" fmla="*/ 674914 w 893579"/>
              <a:gd name="connsiteY1" fmla="*/ 9278 h 622795"/>
              <a:gd name="connsiteX2" fmla="*/ 893579 w 893579"/>
              <a:gd name="connsiteY2" fmla="*/ 253537 h 622795"/>
              <a:gd name="connsiteX3" fmla="*/ 664029 w 893579"/>
              <a:gd name="connsiteY3" fmla="*/ 484621 h 622795"/>
              <a:gd name="connsiteX4" fmla="*/ 340069 w 893579"/>
              <a:gd name="connsiteY4" fmla="*/ 622795 h 622795"/>
              <a:gd name="connsiteX5" fmla="*/ 283029 w 893579"/>
              <a:gd name="connsiteY5" fmla="*/ 361250 h 622795"/>
              <a:gd name="connsiteX6" fmla="*/ 0 w 893579"/>
              <a:gd name="connsiteY6" fmla="*/ 277792 h 622795"/>
              <a:gd name="connsiteX0" fmla="*/ 0 w 893579"/>
              <a:gd name="connsiteY0" fmla="*/ 277792 h 622795"/>
              <a:gd name="connsiteX1" fmla="*/ 674914 w 893579"/>
              <a:gd name="connsiteY1" fmla="*/ 9278 h 622795"/>
              <a:gd name="connsiteX2" fmla="*/ 893579 w 893579"/>
              <a:gd name="connsiteY2" fmla="*/ 253537 h 622795"/>
              <a:gd name="connsiteX3" fmla="*/ 734014 w 893579"/>
              <a:gd name="connsiteY3" fmla="*/ 476508 h 622795"/>
              <a:gd name="connsiteX4" fmla="*/ 340069 w 893579"/>
              <a:gd name="connsiteY4" fmla="*/ 622795 h 622795"/>
              <a:gd name="connsiteX5" fmla="*/ 283029 w 893579"/>
              <a:gd name="connsiteY5" fmla="*/ 361250 h 622795"/>
              <a:gd name="connsiteX6" fmla="*/ 0 w 893579"/>
              <a:gd name="connsiteY6" fmla="*/ 277792 h 622795"/>
              <a:gd name="connsiteX0" fmla="*/ 0 w 893579"/>
              <a:gd name="connsiteY0" fmla="*/ 279290 h 624293"/>
              <a:gd name="connsiteX1" fmla="*/ 777085 w 893579"/>
              <a:gd name="connsiteY1" fmla="*/ 9278 h 624293"/>
              <a:gd name="connsiteX2" fmla="*/ 893579 w 893579"/>
              <a:gd name="connsiteY2" fmla="*/ 255035 h 624293"/>
              <a:gd name="connsiteX3" fmla="*/ 734014 w 893579"/>
              <a:gd name="connsiteY3" fmla="*/ 478006 h 624293"/>
              <a:gd name="connsiteX4" fmla="*/ 340069 w 893579"/>
              <a:gd name="connsiteY4" fmla="*/ 624293 h 624293"/>
              <a:gd name="connsiteX5" fmla="*/ 283029 w 893579"/>
              <a:gd name="connsiteY5" fmla="*/ 362748 h 624293"/>
              <a:gd name="connsiteX6" fmla="*/ 0 w 893579"/>
              <a:gd name="connsiteY6" fmla="*/ 279290 h 624293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1003388"/>
              <a:gd name="connsiteY0" fmla="*/ 379321 h 657202"/>
              <a:gd name="connsiteX1" fmla="*/ 886894 w 1003388"/>
              <a:gd name="connsiteY1" fmla="*/ 42187 h 657202"/>
              <a:gd name="connsiteX2" fmla="*/ 1003388 w 1003388"/>
              <a:gd name="connsiteY2" fmla="*/ 287944 h 657202"/>
              <a:gd name="connsiteX3" fmla="*/ 843823 w 1003388"/>
              <a:gd name="connsiteY3" fmla="*/ 510915 h 657202"/>
              <a:gd name="connsiteX4" fmla="*/ 449878 w 1003388"/>
              <a:gd name="connsiteY4" fmla="*/ 657202 h 657202"/>
              <a:gd name="connsiteX5" fmla="*/ 392838 w 1003388"/>
              <a:gd name="connsiteY5" fmla="*/ 395657 h 657202"/>
              <a:gd name="connsiteX6" fmla="*/ 0 w 1003388"/>
              <a:gd name="connsiteY6" fmla="*/ 379321 h 657202"/>
              <a:gd name="connsiteX0" fmla="*/ 0 w 1003388"/>
              <a:gd name="connsiteY0" fmla="*/ 379321 h 657202"/>
              <a:gd name="connsiteX1" fmla="*/ 886894 w 1003388"/>
              <a:gd name="connsiteY1" fmla="*/ 42187 h 657202"/>
              <a:gd name="connsiteX2" fmla="*/ 1003388 w 1003388"/>
              <a:gd name="connsiteY2" fmla="*/ 287944 h 657202"/>
              <a:gd name="connsiteX3" fmla="*/ 843823 w 1003388"/>
              <a:gd name="connsiteY3" fmla="*/ 510915 h 657202"/>
              <a:gd name="connsiteX4" fmla="*/ 449878 w 1003388"/>
              <a:gd name="connsiteY4" fmla="*/ 657202 h 657202"/>
              <a:gd name="connsiteX5" fmla="*/ 290399 w 1003388"/>
              <a:gd name="connsiteY5" fmla="*/ 416188 h 657202"/>
              <a:gd name="connsiteX6" fmla="*/ 0 w 1003388"/>
              <a:gd name="connsiteY6" fmla="*/ 379321 h 657202"/>
              <a:gd name="connsiteX0" fmla="*/ 0 w 1003388"/>
              <a:gd name="connsiteY0" fmla="*/ 379321 h 673967"/>
              <a:gd name="connsiteX1" fmla="*/ 886894 w 1003388"/>
              <a:gd name="connsiteY1" fmla="*/ 42187 h 673967"/>
              <a:gd name="connsiteX2" fmla="*/ 1003388 w 1003388"/>
              <a:gd name="connsiteY2" fmla="*/ 287944 h 673967"/>
              <a:gd name="connsiteX3" fmla="*/ 843823 w 1003388"/>
              <a:gd name="connsiteY3" fmla="*/ 510915 h 673967"/>
              <a:gd name="connsiteX4" fmla="*/ 370078 w 1003388"/>
              <a:gd name="connsiteY4" fmla="*/ 673967 h 673967"/>
              <a:gd name="connsiteX5" fmla="*/ 290399 w 1003388"/>
              <a:gd name="connsiteY5" fmla="*/ 416188 h 673967"/>
              <a:gd name="connsiteX6" fmla="*/ 0 w 1003388"/>
              <a:gd name="connsiteY6" fmla="*/ 379321 h 673967"/>
              <a:gd name="connsiteX0" fmla="*/ 0 w 1003388"/>
              <a:gd name="connsiteY0" fmla="*/ 420798 h 715444"/>
              <a:gd name="connsiteX1" fmla="*/ 886894 w 1003388"/>
              <a:gd name="connsiteY1" fmla="*/ 83664 h 715444"/>
              <a:gd name="connsiteX2" fmla="*/ 1003388 w 1003388"/>
              <a:gd name="connsiteY2" fmla="*/ 329421 h 715444"/>
              <a:gd name="connsiteX3" fmla="*/ 843823 w 1003388"/>
              <a:gd name="connsiteY3" fmla="*/ 552392 h 715444"/>
              <a:gd name="connsiteX4" fmla="*/ 370078 w 1003388"/>
              <a:gd name="connsiteY4" fmla="*/ 715444 h 715444"/>
              <a:gd name="connsiteX5" fmla="*/ 290399 w 1003388"/>
              <a:gd name="connsiteY5" fmla="*/ 457665 h 715444"/>
              <a:gd name="connsiteX6" fmla="*/ 0 w 1003388"/>
              <a:gd name="connsiteY6" fmla="*/ 420798 h 715444"/>
              <a:gd name="connsiteX0" fmla="*/ 0 w 1003388"/>
              <a:gd name="connsiteY0" fmla="*/ 420798 h 715444"/>
              <a:gd name="connsiteX1" fmla="*/ 886894 w 1003388"/>
              <a:gd name="connsiteY1" fmla="*/ 83664 h 715444"/>
              <a:gd name="connsiteX2" fmla="*/ 1003388 w 1003388"/>
              <a:gd name="connsiteY2" fmla="*/ 329421 h 715444"/>
              <a:gd name="connsiteX3" fmla="*/ 843823 w 1003388"/>
              <a:gd name="connsiteY3" fmla="*/ 552392 h 715444"/>
              <a:gd name="connsiteX4" fmla="*/ 370078 w 1003388"/>
              <a:gd name="connsiteY4" fmla="*/ 715444 h 715444"/>
              <a:gd name="connsiteX5" fmla="*/ 290399 w 1003388"/>
              <a:gd name="connsiteY5" fmla="*/ 457665 h 715444"/>
              <a:gd name="connsiteX6" fmla="*/ 0 w 1003388"/>
              <a:gd name="connsiteY6" fmla="*/ 420798 h 715444"/>
              <a:gd name="connsiteX0" fmla="*/ 0 w 1003388"/>
              <a:gd name="connsiteY0" fmla="*/ 420798 h 715444"/>
              <a:gd name="connsiteX1" fmla="*/ 886894 w 1003388"/>
              <a:gd name="connsiteY1" fmla="*/ 83664 h 715444"/>
              <a:gd name="connsiteX2" fmla="*/ 1003388 w 1003388"/>
              <a:gd name="connsiteY2" fmla="*/ 329421 h 715444"/>
              <a:gd name="connsiteX3" fmla="*/ 843823 w 1003388"/>
              <a:gd name="connsiteY3" fmla="*/ 552392 h 715444"/>
              <a:gd name="connsiteX4" fmla="*/ 370078 w 1003388"/>
              <a:gd name="connsiteY4" fmla="*/ 715444 h 715444"/>
              <a:gd name="connsiteX5" fmla="*/ 290399 w 1003388"/>
              <a:gd name="connsiteY5" fmla="*/ 457665 h 715444"/>
              <a:gd name="connsiteX6" fmla="*/ 0 w 1003388"/>
              <a:gd name="connsiteY6" fmla="*/ 420798 h 715444"/>
              <a:gd name="connsiteX0" fmla="*/ 0 w 1003388"/>
              <a:gd name="connsiteY0" fmla="*/ 392717 h 687363"/>
              <a:gd name="connsiteX1" fmla="*/ 886894 w 1003388"/>
              <a:gd name="connsiteY1" fmla="*/ 55583 h 687363"/>
              <a:gd name="connsiteX2" fmla="*/ 1003388 w 1003388"/>
              <a:gd name="connsiteY2" fmla="*/ 301340 h 687363"/>
              <a:gd name="connsiteX3" fmla="*/ 843823 w 1003388"/>
              <a:gd name="connsiteY3" fmla="*/ 524311 h 687363"/>
              <a:gd name="connsiteX4" fmla="*/ 370078 w 1003388"/>
              <a:gd name="connsiteY4" fmla="*/ 687363 h 687363"/>
              <a:gd name="connsiteX5" fmla="*/ 290399 w 1003388"/>
              <a:gd name="connsiteY5" fmla="*/ 429584 h 687363"/>
              <a:gd name="connsiteX6" fmla="*/ 0 w 1003388"/>
              <a:gd name="connsiteY6" fmla="*/ 392717 h 687363"/>
              <a:gd name="connsiteX0" fmla="*/ 0 w 1003388"/>
              <a:gd name="connsiteY0" fmla="*/ 392252 h 686898"/>
              <a:gd name="connsiteX1" fmla="*/ 886894 w 1003388"/>
              <a:gd name="connsiteY1" fmla="*/ 55118 h 686898"/>
              <a:gd name="connsiteX2" fmla="*/ 1003388 w 1003388"/>
              <a:gd name="connsiteY2" fmla="*/ 300875 h 686898"/>
              <a:gd name="connsiteX3" fmla="*/ 843823 w 1003388"/>
              <a:gd name="connsiteY3" fmla="*/ 523846 h 686898"/>
              <a:gd name="connsiteX4" fmla="*/ 370078 w 1003388"/>
              <a:gd name="connsiteY4" fmla="*/ 686898 h 686898"/>
              <a:gd name="connsiteX5" fmla="*/ 290399 w 1003388"/>
              <a:gd name="connsiteY5" fmla="*/ 429119 h 686898"/>
              <a:gd name="connsiteX6" fmla="*/ 0 w 1003388"/>
              <a:gd name="connsiteY6" fmla="*/ 392252 h 686898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3388" h="702754">
                <a:moveTo>
                  <a:pt x="0" y="408108"/>
                </a:moveTo>
                <a:cubicBezTo>
                  <a:pt x="152314" y="175885"/>
                  <a:pt x="579788" y="0"/>
                  <a:pt x="886894" y="70974"/>
                </a:cubicBezTo>
                <a:lnTo>
                  <a:pt x="1003388" y="316731"/>
                </a:lnTo>
                <a:lnTo>
                  <a:pt x="843823" y="539702"/>
                </a:lnTo>
                <a:cubicBezTo>
                  <a:pt x="688621" y="504763"/>
                  <a:pt x="473878" y="571458"/>
                  <a:pt x="370078" y="702754"/>
                </a:cubicBezTo>
                <a:lnTo>
                  <a:pt x="290399" y="444975"/>
                </a:lnTo>
                <a:lnTo>
                  <a:pt x="0" y="408108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A763EBB-116E-605A-1C0E-99DCB2846AAF}"/>
              </a:ext>
            </a:extLst>
          </p:cNvPr>
          <p:cNvSpPr txBox="1"/>
          <p:nvPr/>
        </p:nvSpPr>
        <p:spPr>
          <a:xfrm>
            <a:off x="4843763" y="1302109"/>
            <a:ext cx="922215" cy="912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200" dirty="0">
                <a:solidFill>
                  <a:schemeClr val="bg1"/>
                </a:solidFill>
              </a:rPr>
              <a:t>This is an example text. You can edit it.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9F72F7CC-B437-88F5-C088-E7D714254D29}"/>
              </a:ext>
            </a:extLst>
          </p:cNvPr>
          <p:cNvSpPr txBox="1"/>
          <p:nvPr/>
        </p:nvSpPr>
        <p:spPr>
          <a:xfrm>
            <a:off x="5612559" y="1160614"/>
            <a:ext cx="603997" cy="5744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800" b="1" dirty="0">
                <a:solidFill>
                  <a:schemeClr val="bg1"/>
                </a:solidFill>
              </a:rPr>
              <a:t>01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E263DA6-91A8-DD04-6264-62D7CCD8E9DD}"/>
              </a:ext>
            </a:extLst>
          </p:cNvPr>
          <p:cNvSpPr txBox="1"/>
          <p:nvPr/>
        </p:nvSpPr>
        <p:spPr>
          <a:xfrm>
            <a:off x="6517163" y="1193368"/>
            <a:ext cx="603997" cy="5744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800" b="1" dirty="0">
                <a:solidFill>
                  <a:schemeClr val="bg1"/>
                </a:solidFill>
              </a:rPr>
              <a:t>02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F7B464FF-A5DB-BF8F-475C-19575BE74281}"/>
              </a:ext>
            </a:extLst>
          </p:cNvPr>
          <p:cNvSpPr txBox="1"/>
          <p:nvPr/>
        </p:nvSpPr>
        <p:spPr>
          <a:xfrm>
            <a:off x="6711418" y="1575421"/>
            <a:ext cx="1291347" cy="7095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200" dirty="0">
                <a:solidFill>
                  <a:schemeClr val="bg1"/>
                </a:solidFill>
              </a:rPr>
              <a:t>This is an example text. You can edit it.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DBF97AFF-E1DC-FD62-F994-0541885220CB}"/>
              </a:ext>
            </a:extLst>
          </p:cNvPr>
          <p:cNvSpPr txBox="1"/>
          <p:nvPr/>
        </p:nvSpPr>
        <p:spPr>
          <a:xfrm>
            <a:off x="7778826" y="2962280"/>
            <a:ext cx="603997" cy="5744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800" b="1" dirty="0">
                <a:solidFill>
                  <a:schemeClr val="bg1"/>
                </a:solidFill>
              </a:rPr>
              <a:t>03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B815990F-67F5-492D-5D0E-78440AD9E903}"/>
              </a:ext>
            </a:extLst>
          </p:cNvPr>
          <p:cNvSpPr txBox="1"/>
          <p:nvPr/>
        </p:nvSpPr>
        <p:spPr>
          <a:xfrm>
            <a:off x="7452605" y="3439846"/>
            <a:ext cx="1291347" cy="7095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200" dirty="0">
                <a:solidFill>
                  <a:schemeClr val="bg1"/>
                </a:solidFill>
              </a:rPr>
              <a:t>This is an example text. You can edit it.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6C759D2D-647C-F14B-78B3-4A7D18B625F6}"/>
              </a:ext>
            </a:extLst>
          </p:cNvPr>
          <p:cNvSpPr txBox="1"/>
          <p:nvPr/>
        </p:nvSpPr>
        <p:spPr>
          <a:xfrm>
            <a:off x="7021182" y="4905761"/>
            <a:ext cx="603997" cy="5744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800" b="1" dirty="0">
                <a:solidFill>
                  <a:schemeClr val="bg1"/>
                </a:solidFill>
              </a:rPr>
              <a:t>04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264D8B8-D3B7-6D02-0E47-4873832D9B1A}"/>
              </a:ext>
            </a:extLst>
          </p:cNvPr>
          <p:cNvSpPr txBox="1"/>
          <p:nvPr/>
        </p:nvSpPr>
        <p:spPr>
          <a:xfrm>
            <a:off x="6260307" y="5024192"/>
            <a:ext cx="922215" cy="912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200" dirty="0">
                <a:solidFill>
                  <a:schemeClr val="bg1"/>
                </a:solidFill>
              </a:rPr>
              <a:t>This is an example text. You can edit it.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2FCCFA9F-1DA4-F2FE-952A-7503913C787F}"/>
              </a:ext>
            </a:extLst>
          </p:cNvPr>
          <p:cNvSpPr txBox="1"/>
          <p:nvPr/>
        </p:nvSpPr>
        <p:spPr>
          <a:xfrm>
            <a:off x="5076466" y="5365516"/>
            <a:ext cx="603997" cy="5744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800" b="1" dirty="0">
                <a:solidFill>
                  <a:schemeClr val="bg1"/>
                </a:solidFill>
              </a:rPr>
              <a:t>05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CD490E2C-B61F-9D69-2C8A-AC618380C782}"/>
              </a:ext>
            </a:extLst>
          </p:cNvPr>
          <p:cNvSpPr txBox="1"/>
          <p:nvPr/>
        </p:nvSpPr>
        <p:spPr>
          <a:xfrm>
            <a:off x="3831568" y="3626288"/>
            <a:ext cx="603997" cy="5744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800" b="1" dirty="0">
                <a:solidFill>
                  <a:schemeClr val="bg1"/>
                </a:solidFill>
              </a:rPr>
              <a:t>06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F974BA6C-C425-7C50-CE7D-B992030A783A}"/>
              </a:ext>
            </a:extLst>
          </p:cNvPr>
          <p:cNvSpPr txBox="1"/>
          <p:nvPr/>
        </p:nvSpPr>
        <p:spPr>
          <a:xfrm>
            <a:off x="3473052" y="3014883"/>
            <a:ext cx="1291347" cy="7095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200" dirty="0">
                <a:solidFill>
                  <a:schemeClr val="bg1"/>
                </a:solidFill>
              </a:rPr>
              <a:t>This is an example text. You can edit it.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70D17453-F1B9-DB49-86A2-93F90A612AC6}"/>
              </a:ext>
            </a:extLst>
          </p:cNvPr>
          <p:cNvSpPr txBox="1"/>
          <p:nvPr/>
        </p:nvSpPr>
        <p:spPr>
          <a:xfrm>
            <a:off x="5306117" y="3136543"/>
            <a:ext cx="1763770" cy="10474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IN" sz="2800" b="1" dirty="0"/>
              <a:t>EXAMPLE</a:t>
            </a:r>
          </a:p>
          <a:p>
            <a:pPr algn="ctr"/>
            <a:r>
              <a:rPr lang="en-IN" sz="2800" b="1" dirty="0"/>
              <a:t>TEX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6F4BD96-7744-048D-9768-AAFFEB25AF66}"/>
              </a:ext>
            </a:extLst>
          </p:cNvPr>
          <p:cNvSpPr txBox="1"/>
          <p:nvPr/>
        </p:nvSpPr>
        <p:spPr>
          <a:xfrm>
            <a:off x="4254723" y="4661400"/>
            <a:ext cx="922215" cy="7539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200" dirty="0">
                <a:solidFill>
                  <a:schemeClr val="bg1"/>
                </a:solidFill>
              </a:rPr>
              <a:t>This is an example text. You can edit it.</a:t>
            </a:r>
          </a:p>
        </p:txBody>
      </p:sp>
    </p:spTree>
    <p:extLst>
      <p:ext uri="{BB962C8B-B14F-4D97-AF65-F5344CB8AC3E}">
        <p14:creationId xmlns:p14="http://schemas.microsoft.com/office/powerpoint/2010/main" val="3806366899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E3068D-4BC0-74D7-DA6A-43BC8914DD4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AF82335E-8B86-BCE3-325C-1A2CD10FC78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F82335E-8B86-BCE3-325C-1A2CD10FC7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1EBA9F6-91B8-F178-EFFE-7F91226901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rocess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714A3D0D-65E8-160C-3ACB-03297E24748A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84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91" name="Google Shape;2173;p36">
            <a:extLst>
              <a:ext uri="{FF2B5EF4-FFF2-40B4-BE49-F238E27FC236}">
                <a16:creationId xmlns:a16="http://schemas.microsoft.com/office/drawing/2014/main" id="{60405AAF-F478-3F13-9272-052BB12D4B5C}"/>
              </a:ext>
            </a:extLst>
          </p:cNvPr>
          <p:cNvSpPr/>
          <p:nvPr/>
        </p:nvSpPr>
        <p:spPr>
          <a:xfrm>
            <a:off x="6206482" y="2148420"/>
            <a:ext cx="2932173" cy="2124692"/>
          </a:xfrm>
          <a:custGeom>
            <a:avLst/>
            <a:gdLst>
              <a:gd name="connsiteX0" fmla="*/ 0 w 4292311"/>
              <a:gd name="connsiteY0" fmla="*/ 1227334 h 2013439"/>
              <a:gd name="connsiteX1" fmla="*/ 494034 w 4292311"/>
              <a:gd name="connsiteY1" fmla="*/ 2013439 h 2013439"/>
              <a:gd name="connsiteX2" fmla="*/ 1540319 w 4292311"/>
              <a:gd name="connsiteY2" fmla="*/ 1995854 h 2013439"/>
              <a:gd name="connsiteX3" fmla="*/ 2692111 w 4292311"/>
              <a:gd name="connsiteY3" fmla="*/ 0 h 2013439"/>
              <a:gd name="connsiteX4" fmla="*/ 3808734 w 4292311"/>
              <a:gd name="connsiteY4" fmla="*/ 8792 h 2013439"/>
              <a:gd name="connsiteX5" fmla="*/ 4292311 w 4292311"/>
              <a:gd name="connsiteY5" fmla="*/ 800100 h 2013439"/>
              <a:gd name="connsiteX0" fmla="*/ 0 w 4292311"/>
              <a:gd name="connsiteY0" fmla="*/ 1227334 h 2013439"/>
              <a:gd name="connsiteX1" fmla="*/ 494034 w 4292311"/>
              <a:gd name="connsiteY1" fmla="*/ 2013439 h 2013439"/>
              <a:gd name="connsiteX2" fmla="*/ 1625849 w 4292311"/>
              <a:gd name="connsiteY2" fmla="*/ 2002982 h 2013439"/>
              <a:gd name="connsiteX3" fmla="*/ 2692111 w 4292311"/>
              <a:gd name="connsiteY3" fmla="*/ 0 h 2013439"/>
              <a:gd name="connsiteX4" fmla="*/ 3808734 w 4292311"/>
              <a:gd name="connsiteY4" fmla="*/ 8792 h 2013439"/>
              <a:gd name="connsiteX5" fmla="*/ 4292311 w 4292311"/>
              <a:gd name="connsiteY5" fmla="*/ 800100 h 2013439"/>
              <a:gd name="connsiteX0" fmla="*/ 0 w 4292311"/>
              <a:gd name="connsiteY0" fmla="*/ 1218542 h 2004647"/>
              <a:gd name="connsiteX1" fmla="*/ 494034 w 4292311"/>
              <a:gd name="connsiteY1" fmla="*/ 2004647 h 2004647"/>
              <a:gd name="connsiteX2" fmla="*/ 1625849 w 4292311"/>
              <a:gd name="connsiteY2" fmla="*/ 1994190 h 2004647"/>
              <a:gd name="connsiteX3" fmla="*/ 2749131 w 4292311"/>
              <a:gd name="connsiteY3" fmla="*/ 12590 h 2004647"/>
              <a:gd name="connsiteX4" fmla="*/ 3808734 w 4292311"/>
              <a:gd name="connsiteY4" fmla="*/ 0 h 2004647"/>
              <a:gd name="connsiteX5" fmla="*/ 4292311 w 4292311"/>
              <a:gd name="connsiteY5" fmla="*/ 791308 h 2004647"/>
              <a:gd name="connsiteX0" fmla="*/ 0 w 4263801"/>
              <a:gd name="connsiteY0" fmla="*/ 1218542 h 2004647"/>
              <a:gd name="connsiteX1" fmla="*/ 494034 w 4263801"/>
              <a:gd name="connsiteY1" fmla="*/ 2004647 h 2004647"/>
              <a:gd name="connsiteX2" fmla="*/ 1625849 w 4263801"/>
              <a:gd name="connsiteY2" fmla="*/ 1994190 h 2004647"/>
              <a:gd name="connsiteX3" fmla="*/ 2749131 w 4263801"/>
              <a:gd name="connsiteY3" fmla="*/ 12590 h 2004647"/>
              <a:gd name="connsiteX4" fmla="*/ 3808734 w 4263801"/>
              <a:gd name="connsiteY4" fmla="*/ 0 h 2004647"/>
              <a:gd name="connsiteX5" fmla="*/ 4263801 w 4263801"/>
              <a:gd name="connsiteY5" fmla="*/ 791308 h 2004647"/>
              <a:gd name="connsiteX0" fmla="*/ 0 w 4221036"/>
              <a:gd name="connsiteY0" fmla="*/ 1218542 h 2004647"/>
              <a:gd name="connsiteX1" fmla="*/ 494034 w 4221036"/>
              <a:gd name="connsiteY1" fmla="*/ 2004647 h 2004647"/>
              <a:gd name="connsiteX2" fmla="*/ 1625849 w 4221036"/>
              <a:gd name="connsiteY2" fmla="*/ 1994190 h 2004647"/>
              <a:gd name="connsiteX3" fmla="*/ 2749131 w 4221036"/>
              <a:gd name="connsiteY3" fmla="*/ 12590 h 2004647"/>
              <a:gd name="connsiteX4" fmla="*/ 3808734 w 4221036"/>
              <a:gd name="connsiteY4" fmla="*/ 0 h 2004647"/>
              <a:gd name="connsiteX5" fmla="*/ 4221036 w 4221036"/>
              <a:gd name="connsiteY5" fmla="*/ 798435 h 2004647"/>
              <a:gd name="connsiteX0" fmla="*/ 0 w 4249546"/>
              <a:gd name="connsiteY0" fmla="*/ 1218542 h 2004647"/>
              <a:gd name="connsiteX1" fmla="*/ 494034 w 4249546"/>
              <a:gd name="connsiteY1" fmla="*/ 2004647 h 2004647"/>
              <a:gd name="connsiteX2" fmla="*/ 1625849 w 4249546"/>
              <a:gd name="connsiteY2" fmla="*/ 1994190 h 2004647"/>
              <a:gd name="connsiteX3" fmla="*/ 2749131 w 4249546"/>
              <a:gd name="connsiteY3" fmla="*/ 12590 h 2004647"/>
              <a:gd name="connsiteX4" fmla="*/ 3808734 w 4249546"/>
              <a:gd name="connsiteY4" fmla="*/ 0 h 2004647"/>
              <a:gd name="connsiteX5" fmla="*/ 4249546 w 4249546"/>
              <a:gd name="connsiteY5" fmla="*/ 798435 h 2004647"/>
              <a:gd name="connsiteX0" fmla="*/ 0 w 3808734"/>
              <a:gd name="connsiteY0" fmla="*/ 1218542 h 2004647"/>
              <a:gd name="connsiteX1" fmla="*/ 494034 w 3808734"/>
              <a:gd name="connsiteY1" fmla="*/ 2004647 h 2004647"/>
              <a:gd name="connsiteX2" fmla="*/ 1625849 w 3808734"/>
              <a:gd name="connsiteY2" fmla="*/ 1994190 h 2004647"/>
              <a:gd name="connsiteX3" fmla="*/ 2749131 w 3808734"/>
              <a:gd name="connsiteY3" fmla="*/ 12590 h 2004647"/>
              <a:gd name="connsiteX4" fmla="*/ 3808734 w 3808734"/>
              <a:gd name="connsiteY4" fmla="*/ 0 h 2004647"/>
              <a:gd name="connsiteX0" fmla="*/ 0 w 2749131"/>
              <a:gd name="connsiteY0" fmla="*/ 1205952 h 1992057"/>
              <a:gd name="connsiteX1" fmla="*/ 494034 w 2749131"/>
              <a:gd name="connsiteY1" fmla="*/ 1992057 h 1992057"/>
              <a:gd name="connsiteX2" fmla="*/ 1625849 w 2749131"/>
              <a:gd name="connsiteY2" fmla="*/ 1981600 h 1992057"/>
              <a:gd name="connsiteX3" fmla="*/ 2749131 w 2749131"/>
              <a:gd name="connsiteY3" fmla="*/ 0 h 19920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49131" h="1992057" extrusionOk="0">
                <a:moveTo>
                  <a:pt x="0" y="1205952"/>
                </a:moveTo>
                <a:lnTo>
                  <a:pt x="494034" y="1992057"/>
                </a:lnTo>
                <a:lnTo>
                  <a:pt x="1625849" y="1981600"/>
                </a:lnTo>
                <a:lnTo>
                  <a:pt x="2749131" y="0"/>
                </a:lnTo>
              </a:path>
            </a:pathLst>
          </a:custGeom>
          <a:noFill/>
          <a:ln w="165100" cap="flat" cmpd="sng">
            <a:solidFill>
              <a:schemeClr val="accent1">
                <a:lumMod val="100000"/>
              </a:schemeClr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2000" dirty="0">
              <a:solidFill>
                <a:schemeClr val="lt1"/>
              </a:solidFill>
              <a:cs typeface="Arial" panose="020B0604020202020204" pitchFamily="34" charset="0"/>
            </a:endParaRPr>
          </a:p>
        </p:txBody>
      </p:sp>
      <p:sp>
        <p:nvSpPr>
          <p:cNvPr id="92" name="Google Shape;2174;p36">
            <a:extLst>
              <a:ext uri="{FF2B5EF4-FFF2-40B4-BE49-F238E27FC236}">
                <a16:creationId xmlns:a16="http://schemas.microsoft.com/office/drawing/2014/main" id="{F81AFE11-4C56-004C-8D63-D3E71B338BEB}"/>
              </a:ext>
            </a:extLst>
          </p:cNvPr>
          <p:cNvSpPr/>
          <p:nvPr/>
        </p:nvSpPr>
        <p:spPr>
          <a:xfrm rot="10800000">
            <a:off x="6217754" y="2125619"/>
            <a:ext cx="4646168" cy="2147498"/>
          </a:xfrm>
          <a:custGeom>
            <a:avLst/>
            <a:gdLst/>
            <a:ahLst/>
            <a:cxnLst/>
            <a:rect l="l" t="t" r="r" b="b"/>
            <a:pathLst>
              <a:path w="4356129" h="2013439" extrusionOk="0">
                <a:moveTo>
                  <a:pt x="2068988" y="754584"/>
                </a:moveTo>
                <a:lnTo>
                  <a:pt x="1679987" y="13518"/>
                </a:lnTo>
                <a:lnTo>
                  <a:pt x="567695" y="10105"/>
                </a:lnTo>
                <a:lnTo>
                  <a:pt x="0" y="964661"/>
                </a:lnTo>
                <a:lnTo>
                  <a:pt x="557852" y="2013439"/>
                </a:lnTo>
                <a:lnTo>
                  <a:pt x="1604137" y="1995854"/>
                </a:lnTo>
                <a:lnTo>
                  <a:pt x="2755929" y="0"/>
                </a:lnTo>
                <a:lnTo>
                  <a:pt x="3872552" y="8792"/>
                </a:lnTo>
                <a:lnTo>
                  <a:pt x="4356129" y="800100"/>
                </a:lnTo>
              </a:path>
            </a:pathLst>
          </a:custGeom>
          <a:noFill/>
          <a:ln w="16510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2000" dirty="0">
              <a:solidFill>
                <a:schemeClr val="lt1"/>
              </a:solidFill>
              <a:cs typeface="Arial" panose="020B0604020202020204" pitchFamily="34" charset="0"/>
            </a:endParaRPr>
          </a:p>
        </p:txBody>
      </p:sp>
      <p:sp>
        <p:nvSpPr>
          <p:cNvPr id="93" name="Google Shape;2171;p36">
            <a:extLst>
              <a:ext uri="{FF2B5EF4-FFF2-40B4-BE49-F238E27FC236}">
                <a16:creationId xmlns:a16="http://schemas.microsoft.com/office/drawing/2014/main" id="{A7691384-FF0B-5993-F981-D014702703CE}"/>
              </a:ext>
            </a:extLst>
          </p:cNvPr>
          <p:cNvSpPr/>
          <p:nvPr/>
        </p:nvSpPr>
        <p:spPr>
          <a:xfrm>
            <a:off x="1361553" y="2125619"/>
            <a:ext cx="4646168" cy="2147498"/>
          </a:xfrm>
          <a:custGeom>
            <a:avLst/>
            <a:gdLst/>
            <a:ahLst/>
            <a:cxnLst/>
            <a:rect l="l" t="t" r="r" b="b"/>
            <a:pathLst>
              <a:path w="4356129" h="2013439" extrusionOk="0">
                <a:moveTo>
                  <a:pt x="2119229" y="714391"/>
                </a:moveTo>
                <a:lnTo>
                  <a:pt x="1679987" y="13518"/>
                </a:lnTo>
                <a:lnTo>
                  <a:pt x="567695" y="10105"/>
                </a:lnTo>
                <a:lnTo>
                  <a:pt x="0" y="964661"/>
                </a:lnTo>
                <a:lnTo>
                  <a:pt x="557852" y="2013439"/>
                </a:lnTo>
                <a:lnTo>
                  <a:pt x="1604137" y="1995854"/>
                </a:lnTo>
                <a:lnTo>
                  <a:pt x="2755929" y="0"/>
                </a:lnTo>
                <a:lnTo>
                  <a:pt x="3872552" y="8792"/>
                </a:lnTo>
                <a:lnTo>
                  <a:pt x="4356129" y="800100"/>
                </a:lnTo>
              </a:path>
            </a:pathLst>
          </a:custGeom>
          <a:noFill/>
          <a:ln w="1651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2000" dirty="0">
              <a:solidFill>
                <a:schemeClr val="lt1"/>
              </a:solidFill>
              <a:cs typeface="Arial" panose="020B0604020202020204" pitchFamily="34" charset="0"/>
            </a:endParaRPr>
          </a:p>
        </p:txBody>
      </p:sp>
      <p:sp>
        <p:nvSpPr>
          <p:cNvPr id="94" name="Google Shape;2172;p36">
            <a:extLst>
              <a:ext uri="{FF2B5EF4-FFF2-40B4-BE49-F238E27FC236}">
                <a16:creationId xmlns:a16="http://schemas.microsoft.com/office/drawing/2014/main" id="{B45B86A5-A3E2-C77A-2430-EF7063A82ED5}"/>
              </a:ext>
            </a:extLst>
          </p:cNvPr>
          <p:cNvSpPr/>
          <p:nvPr/>
        </p:nvSpPr>
        <p:spPr>
          <a:xfrm>
            <a:off x="3810450" y="2125619"/>
            <a:ext cx="4585706" cy="2147498"/>
          </a:xfrm>
          <a:custGeom>
            <a:avLst/>
            <a:gdLst/>
            <a:ahLst/>
            <a:cxnLst/>
            <a:rect l="l" t="t" r="r" b="b"/>
            <a:pathLst>
              <a:path w="4299438" h="2013439" extrusionOk="0">
                <a:moveTo>
                  <a:pt x="0" y="1099040"/>
                </a:moveTo>
                <a:lnTo>
                  <a:pt x="501161" y="2013439"/>
                </a:lnTo>
                <a:lnTo>
                  <a:pt x="1547446" y="1995854"/>
                </a:lnTo>
                <a:lnTo>
                  <a:pt x="2699238" y="0"/>
                </a:lnTo>
                <a:lnTo>
                  <a:pt x="3815861" y="8792"/>
                </a:lnTo>
                <a:lnTo>
                  <a:pt x="4299438" y="800100"/>
                </a:lnTo>
              </a:path>
            </a:pathLst>
          </a:custGeom>
          <a:noFill/>
          <a:ln w="165100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2000" dirty="0">
              <a:solidFill>
                <a:schemeClr val="lt1"/>
              </a:solidFill>
              <a:cs typeface="Arial" panose="020B0604020202020204" pitchFamily="34" charset="0"/>
            </a:endParaRPr>
          </a:p>
        </p:txBody>
      </p:sp>
      <p:sp>
        <p:nvSpPr>
          <p:cNvPr id="95" name="Google Shape;2176;p36">
            <a:extLst>
              <a:ext uri="{FF2B5EF4-FFF2-40B4-BE49-F238E27FC236}">
                <a16:creationId xmlns:a16="http://schemas.microsoft.com/office/drawing/2014/main" id="{ABD07743-25D1-67F9-B16C-233D2A446C13}"/>
              </a:ext>
            </a:extLst>
          </p:cNvPr>
          <p:cNvSpPr txBox="1"/>
          <p:nvPr/>
        </p:nvSpPr>
        <p:spPr>
          <a:xfrm>
            <a:off x="1265942" y="4635359"/>
            <a:ext cx="2467979" cy="39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b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cs typeface="Arial" panose="020B0604020202020204" pitchFamily="34" charset="0"/>
              </a:rPr>
              <a:t>Title</a:t>
            </a:r>
            <a:endParaRPr sz="1600" b="1" dirty="0">
              <a:cs typeface="Arial" panose="020B0604020202020204" pitchFamily="34" charset="0"/>
            </a:endParaRPr>
          </a:p>
        </p:txBody>
      </p:sp>
      <p:sp>
        <p:nvSpPr>
          <p:cNvPr id="96" name="Google Shape;2177;p36">
            <a:extLst>
              <a:ext uri="{FF2B5EF4-FFF2-40B4-BE49-F238E27FC236}">
                <a16:creationId xmlns:a16="http://schemas.microsoft.com/office/drawing/2014/main" id="{735ED56B-4614-5779-B259-6DA046F26F39}"/>
              </a:ext>
            </a:extLst>
          </p:cNvPr>
          <p:cNvSpPr txBox="1"/>
          <p:nvPr/>
        </p:nvSpPr>
        <p:spPr>
          <a:xfrm>
            <a:off x="1265942" y="5000572"/>
            <a:ext cx="2467979" cy="39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t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cs typeface="Arial" panose="020B0604020202020204" pitchFamily="34" charset="0"/>
              </a:rPr>
              <a:t>Insert Text Here</a:t>
            </a:r>
            <a:endParaRPr sz="1600" dirty="0">
              <a:cs typeface="Arial" panose="020B0604020202020204" pitchFamily="34" charset="0"/>
            </a:endParaRPr>
          </a:p>
        </p:txBody>
      </p:sp>
      <p:sp>
        <p:nvSpPr>
          <p:cNvPr id="97" name="Google Shape;2178;p36">
            <a:extLst>
              <a:ext uri="{FF2B5EF4-FFF2-40B4-BE49-F238E27FC236}">
                <a16:creationId xmlns:a16="http://schemas.microsoft.com/office/drawing/2014/main" id="{42E17E80-447F-7E41-26C4-EE33DDE8A122}"/>
              </a:ext>
            </a:extLst>
          </p:cNvPr>
          <p:cNvSpPr txBox="1"/>
          <p:nvPr/>
        </p:nvSpPr>
        <p:spPr>
          <a:xfrm>
            <a:off x="8458080" y="961778"/>
            <a:ext cx="2467979" cy="39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b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cs typeface="Arial" panose="020B0604020202020204" pitchFamily="34" charset="0"/>
              </a:rPr>
              <a:t>Title</a:t>
            </a:r>
            <a:endParaRPr sz="1600" b="1" dirty="0">
              <a:cs typeface="Arial" panose="020B0604020202020204" pitchFamily="34" charset="0"/>
            </a:endParaRPr>
          </a:p>
        </p:txBody>
      </p:sp>
      <p:sp>
        <p:nvSpPr>
          <p:cNvPr id="98" name="Google Shape;2179;p36">
            <a:extLst>
              <a:ext uri="{FF2B5EF4-FFF2-40B4-BE49-F238E27FC236}">
                <a16:creationId xmlns:a16="http://schemas.microsoft.com/office/drawing/2014/main" id="{BFC6DD8A-03A6-C503-B351-C7066B50C490}"/>
              </a:ext>
            </a:extLst>
          </p:cNvPr>
          <p:cNvSpPr txBox="1"/>
          <p:nvPr/>
        </p:nvSpPr>
        <p:spPr>
          <a:xfrm>
            <a:off x="8458080" y="1272506"/>
            <a:ext cx="2467979" cy="39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t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cs typeface="Arial" panose="020B0604020202020204" pitchFamily="34" charset="0"/>
              </a:rPr>
              <a:t>Insert Text Here</a:t>
            </a:r>
            <a:endParaRPr sz="1600" dirty="0">
              <a:cs typeface="Arial" panose="020B0604020202020204" pitchFamily="34" charset="0"/>
            </a:endParaRPr>
          </a:p>
        </p:txBody>
      </p:sp>
      <p:sp>
        <p:nvSpPr>
          <p:cNvPr id="99" name="Google Shape;2180;p36">
            <a:extLst>
              <a:ext uri="{FF2B5EF4-FFF2-40B4-BE49-F238E27FC236}">
                <a16:creationId xmlns:a16="http://schemas.microsoft.com/office/drawing/2014/main" id="{4337E4A7-2B2D-1E0E-EC84-4F46448A1726}"/>
              </a:ext>
            </a:extLst>
          </p:cNvPr>
          <p:cNvSpPr txBox="1"/>
          <p:nvPr/>
        </p:nvSpPr>
        <p:spPr>
          <a:xfrm>
            <a:off x="3663322" y="961778"/>
            <a:ext cx="2467979" cy="39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b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cs typeface="Arial" panose="020B0604020202020204" pitchFamily="34" charset="0"/>
              </a:rPr>
              <a:t>Title</a:t>
            </a:r>
            <a:endParaRPr sz="1600" dirty="0">
              <a:cs typeface="Arial" panose="020B0604020202020204" pitchFamily="34" charset="0"/>
            </a:endParaRPr>
          </a:p>
        </p:txBody>
      </p:sp>
      <p:sp>
        <p:nvSpPr>
          <p:cNvPr id="100" name="Google Shape;2181;p36">
            <a:extLst>
              <a:ext uri="{FF2B5EF4-FFF2-40B4-BE49-F238E27FC236}">
                <a16:creationId xmlns:a16="http://schemas.microsoft.com/office/drawing/2014/main" id="{7EC11705-868D-F0D2-293E-17D7DC6AAEA5}"/>
              </a:ext>
            </a:extLst>
          </p:cNvPr>
          <p:cNvSpPr txBox="1"/>
          <p:nvPr/>
        </p:nvSpPr>
        <p:spPr>
          <a:xfrm>
            <a:off x="3663322" y="1272506"/>
            <a:ext cx="2467979" cy="39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t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cs typeface="Arial" panose="020B0604020202020204" pitchFamily="34" charset="0"/>
              </a:rPr>
              <a:t>Insert Text Here</a:t>
            </a:r>
            <a:endParaRPr sz="1600" dirty="0">
              <a:cs typeface="Arial" panose="020B0604020202020204" pitchFamily="34" charset="0"/>
            </a:endParaRPr>
          </a:p>
        </p:txBody>
      </p:sp>
      <p:sp>
        <p:nvSpPr>
          <p:cNvPr id="101" name="Google Shape;2182;p36">
            <a:extLst>
              <a:ext uri="{FF2B5EF4-FFF2-40B4-BE49-F238E27FC236}">
                <a16:creationId xmlns:a16="http://schemas.microsoft.com/office/drawing/2014/main" id="{B284F0EA-59C7-1ED2-55B8-B15F18EB3123}"/>
              </a:ext>
            </a:extLst>
          </p:cNvPr>
          <p:cNvSpPr txBox="1"/>
          <p:nvPr/>
        </p:nvSpPr>
        <p:spPr>
          <a:xfrm>
            <a:off x="6060700" y="4635359"/>
            <a:ext cx="2467979" cy="39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b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cs typeface="Arial" panose="020B0604020202020204" pitchFamily="34" charset="0"/>
              </a:rPr>
              <a:t>Title</a:t>
            </a:r>
            <a:endParaRPr sz="1600" b="1" dirty="0">
              <a:cs typeface="Arial" panose="020B0604020202020204" pitchFamily="34" charset="0"/>
            </a:endParaRPr>
          </a:p>
        </p:txBody>
      </p:sp>
      <p:sp>
        <p:nvSpPr>
          <p:cNvPr id="102" name="Google Shape;2183;p36">
            <a:extLst>
              <a:ext uri="{FF2B5EF4-FFF2-40B4-BE49-F238E27FC236}">
                <a16:creationId xmlns:a16="http://schemas.microsoft.com/office/drawing/2014/main" id="{151D6506-C462-F3D3-BDDA-4FE38CC0344F}"/>
              </a:ext>
            </a:extLst>
          </p:cNvPr>
          <p:cNvSpPr txBox="1"/>
          <p:nvPr/>
        </p:nvSpPr>
        <p:spPr>
          <a:xfrm>
            <a:off x="6060700" y="5000572"/>
            <a:ext cx="2467979" cy="39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t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cs typeface="Arial" panose="020B0604020202020204" pitchFamily="34" charset="0"/>
              </a:rPr>
              <a:t>Insert Text Here</a:t>
            </a:r>
            <a:endParaRPr sz="1600" dirty="0">
              <a:cs typeface="Arial" panose="020B0604020202020204" pitchFamily="34" charset="0"/>
            </a:endParaRPr>
          </a:p>
        </p:txBody>
      </p:sp>
      <p:sp>
        <p:nvSpPr>
          <p:cNvPr id="103" name="Freeform 1532">
            <a:extLst>
              <a:ext uri="{FF2B5EF4-FFF2-40B4-BE49-F238E27FC236}">
                <a16:creationId xmlns:a16="http://schemas.microsoft.com/office/drawing/2014/main" id="{BB278CEE-3EC0-57E4-F08B-C9DF8FC0C594}"/>
              </a:ext>
            </a:extLst>
          </p:cNvPr>
          <p:cNvSpPr>
            <a:spLocks noEditPoints="1"/>
          </p:cNvSpPr>
          <p:nvPr/>
        </p:nvSpPr>
        <p:spPr bwMode="auto">
          <a:xfrm>
            <a:off x="7450077" y="3407515"/>
            <a:ext cx="204829" cy="201420"/>
          </a:xfrm>
          <a:custGeom>
            <a:avLst/>
            <a:gdLst>
              <a:gd name="T0" fmla="*/ 16 w 41"/>
              <a:gd name="T1" fmla="*/ 41 h 41"/>
              <a:gd name="T2" fmla="*/ 13 w 41"/>
              <a:gd name="T3" fmla="*/ 40 h 41"/>
              <a:gd name="T4" fmla="*/ 1 w 41"/>
              <a:gd name="T5" fmla="*/ 28 h 41"/>
              <a:gd name="T6" fmla="*/ 0 w 41"/>
              <a:gd name="T7" fmla="*/ 24 h 41"/>
              <a:gd name="T8" fmla="*/ 5 w 41"/>
              <a:gd name="T9" fmla="*/ 7 h 41"/>
              <a:gd name="T10" fmla="*/ 7 w 41"/>
              <a:gd name="T11" fmla="*/ 5 h 41"/>
              <a:gd name="T12" fmla="*/ 24 w 41"/>
              <a:gd name="T13" fmla="*/ 0 h 41"/>
              <a:gd name="T14" fmla="*/ 28 w 41"/>
              <a:gd name="T15" fmla="*/ 1 h 41"/>
              <a:gd name="T16" fmla="*/ 40 w 41"/>
              <a:gd name="T17" fmla="*/ 14 h 41"/>
              <a:gd name="T18" fmla="*/ 40 w 41"/>
              <a:gd name="T19" fmla="*/ 14 h 41"/>
              <a:gd name="T20" fmla="*/ 41 w 41"/>
              <a:gd name="T21" fmla="*/ 17 h 41"/>
              <a:gd name="T22" fmla="*/ 36 w 41"/>
              <a:gd name="T23" fmla="*/ 34 h 41"/>
              <a:gd name="T24" fmla="*/ 34 w 41"/>
              <a:gd name="T25" fmla="*/ 37 h 41"/>
              <a:gd name="T26" fmla="*/ 17 w 41"/>
              <a:gd name="T27" fmla="*/ 41 h 41"/>
              <a:gd name="T28" fmla="*/ 16 w 41"/>
              <a:gd name="T29" fmla="*/ 41 h 41"/>
              <a:gd name="T30" fmla="*/ 5 w 41"/>
              <a:gd name="T31" fmla="*/ 25 h 41"/>
              <a:gd name="T32" fmla="*/ 16 w 41"/>
              <a:gd name="T33" fmla="*/ 36 h 41"/>
              <a:gd name="T34" fmla="*/ 32 w 41"/>
              <a:gd name="T35" fmla="*/ 32 h 41"/>
              <a:gd name="T36" fmla="*/ 36 w 41"/>
              <a:gd name="T37" fmla="*/ 17 h 41"/>
              <a:gd name="T38" fmla="*/ 25 w 41"/>
              <a:gd name="T39" fmla="*/ 5 h 41"/>
              <a:gd name="T40" fmla="*/ 9 w 41"/>
              <a:gd name="T41" fmla="*/ 9 h 41"/>
              <a:gd name="T42" fmla="*/ 5 w 41"/>
              <a:gd name="T43" fmla="*/ 25 h 41"/>
              <a:gd name="T44" fmla="*/ 32 w 41"/>
              <a:gd name="T45" fmla="*/ 33 h 41"/>
              <a:gd name="T46" fmla="*/ 32 w 41"/>
              <a:gd name="T47" fmla="*/ 33 h 41"/>
              <a:gd name="T48" fmla="*/ 5 w 41"/>
              <a:gd name="T49" fmla="*/ 26 h 41"/>
              <a:gd name="T50" fmla="*/ 5 w 41"/>
              <a:gd name="T51" fmla="*/ 26 h 41"/>
              <a:gd name="T52" fmla="*/ 5 w 41"/>
              <a:gd name="T53" fmla="*/ 26 h 41"/>
              <a:gd name="T54" fmla="*/ 36 w 41"/>
              <a:gd name="T55" fmla="*/ 16 h 41"/>
              <a:gd name="T56" fmla="*/ 36 w 41"/>
              <a:gd name="T57" fmla="*/ 16 h 41"/>
              <a:gd name="T58" fmla="*/ 9 w 41"/>
              <a:gd name="T59" fmla="*/ 9 h 41"/>
              <a:gd name="T60" fmla="*/ 9 w 41"/>
              <a:gd name="T61" fmla="*/ 9 h 41"/>
              <a:gd name="T62" fmla="*/ 9 w 41"/>
              <a:gd name="T63" fmla="*/ 9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41" h="41">
                <a:moveTo>
                  <a:pt x="16" y="41"/>
                </a:moveTo>
                <a:cubicBezTo>
                  <a:pt x="15" y="41"/>
                  <a:pt x="14" y="41"/>
                  <a:pt x="13" y="40"/>
                </a:cubicBezTo>
                <a:cubicBezTo>
                  <a:pt x="1" y="28"/>
                  <a:pt x="1" y="28"/>
                  <a:pt x="1" y="28"/>
                </a:cubicBezTo>
                <a:cubicBezTo>
                  <a:pt x="0" y="27"/>
                  <a:pt x="0" y="26"/>
                  <a:pt x="0" y="24"/>
                </a:cubicBezTo>
                <a:cubicBezTo>
                  <a:pt x="5" y="7"/>
                  <a:pt x="5" y="7"/>
                  <a:pt x="5" y="7"/>
                </a:cubicBezTo>
                <a:cubicBezTo>
                  <a:pt x="5" y="6"/>
                  <a:pt x="6" y="5"/>
                  <a:pt x="7" y="5"/>
                </a:cubicBezTo>
                <a:cubicBezTo>
                  <a:pt x="24" y="0"/>
                  <a:pt x="24" y="0"/>
                  <a:pt x="24" y="0"/>
                </a:cubicBezTo>
                <a:cubicBezTo>
                  <a:pt x="25" y="0"/>
                  <a:pt x="27" y="0"/>
                  <a:pt x="28" y="1"/>
                </a:cubicBezTo>
                <a:cubicBezTo>
                  <a:pt x="40" y="14"/>
                  <a:pt x="40" y="14"/>
                  <a:pt x="40" y="14"/>
                </a:cubicBezTo>
                <a:cubicBezTo>
                  <a:pt x="40" y="14"/>
                  <a:pt x="40" y="14"/>
                  <a:pt x="40" y="14"/>
                </a:cubicBezTo>
                <a:cubicBezTo>
                  <a:pt x="41" y="15"/>
                  <a:pt x="41" y="16"/>
                  <a:pt x="41" y="17"/>
                </a:cubicBezTo>
                <a:cubicBezTo>
                  <a:pt x="36" y="34"/>
                  <a:pt x="36" y="34"/>
                  <a:pt x="36" y="34"/>
                </a:cubicBezTo>
                <a:cubicBezTo>
                  <a:pt x="36" y="35"/>
                  <a:pt x="35" y="36"/>
                  <a:pt x="34" y="37"/>
                </a:cubicBezTo>
                <a:cubicBezTo>
                  <a:pt x="17" y="41"/>
                  <a:pt x="17" y="41"/>
                  <a:pt x="17" y="41"/>
                </a:cubicBezTo>
                <a:cubicBezTo>
                  <a:pt x="17" y="41"/>
                  <a:pt x="16" y="41"/>
                  <a:pt x="16" y="41"/>
                </a:cubicBezTo>
                <a:close/>
                <a:moveTo>
                  <a:pt x="5" y="25"/>
                </a:moveTo>
                <a:cubicBezTo>
                  <a:pt x="16" y="36"/>
                  <a:pt x="16" y="36"/>
                  <a:pt x="16" y="36"/>
                </a:cubicBezTo>
                <a:cubicBezTo>
                  <a:pt x="32" y="32"/>
                  <a:pt x="32" y="32"/>
                  <a:pt x="32" y="32"/>
                </a:cubicBezTo>
                <a:cubicBezTo>
                  <a:pt x="36" y="17"/>
                  <a:pt x="36" y="17"/>
                  <a:pt x="36" y="17"/>
                </a:cubicBezTo>
                <a:cubicBezTo>
                  <a:pt x="25" y="5"/>
                  <a:pt x="25" y="5"/>
                  <a:pt x="25" y="5"/>
                </a:cubicBezTo>
                <a:cubicBezTo>
                  <a:pt x="9" y="9"/>
                  <a:pt x="9" y="9"/>
                  <a:pt x="9" y="9"/>
                </a:cubicBezTo>
                <a:lnTo>
                  <a:pt x="5" y="25"/>
                </a:lnTo>
                <a:close/>
                <a:moveTo>
                  <a:pt x="32" y="33"/>
                </a:moveTo>
                <a:cubicBezTo>
                  <a:pt x="32" y="33"/>
                  <a:pt x="32" y="33"/>
                  <a:pt x="32" y="33"/>
                </a:cubicBezTo>
                <a:close/>
                <a:moveTo>
                  <a:pt x="5" y="26"/>
                </a:moveTo>
                <a:cubicBezTo>
                  <a:pt x="5" y="26"/>
                  <a:pt x="5" y="26"/>
                  <a:pt x="5" y="26"/>
                </a:cubicBezTo>
                <a:cubicBezTo>
                  <a:pt x="5" y="26"/>
                  <a:pt x="5" y="26"/>
                  <a:pt x="5" y="26"/>
                </a:cubicBezTo>
                <a:close/>
                <a:moveTo>
                  <a:pt x="36" y="16"/>
                </a:moveTo>
                <a:cubicBezTo>
                  <a:pt x="36" y="16"/>
                  <a:pt x="36" y="16"/>
                  <a:pt x="36" y="16"/>
                </a:cubicBezTo>
                <a:close/>
                <a:moveTo>
                  <a:pt x="9" y="9"/>
                </a:moveTo>
                <a:cubicBezTo>
                  <a:pt x="9" y="9"/>
                  <a:pt x="9" y="9"/>
                  <a:pt x="9" y="9"/>
                </a:cubicBezTo>
                <a:cubicBezTo>
                  <a:pt x="9" y="9"/>
                  <a:pt x="9" y="9"/>
                  <a:pt x="9" y="9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104" name="Freeform 1533">
            <a:extLst>
              <a:ext uri="{FF2B5EF4-FFF2-40B4-BE49-F238E27FC236}">
                <a16:creationId xmlns:a16="http://schemas.microsoft.com/office/drawing/2014/main" id="{7F6A5C27-624D-4E40-10B7-7352228B4A7C}"/>
              </a:ext>
            </a:extLst>
          </p:cNvPr>
          <p:cNvSpPr>
            <a:spLocks/>
          </p:cNvSpPr>
          <p:nvPr/>
        </p:nvSpPr>
        <p:spPr bwMode="auto">
          <a:xfrm>
            <a:off x="6885035" y="2848411"/>
            <a:ext cx="229551" cy="225726"/>
          </a:xfrm>
          <a:custGeom>
            <a:avLst/>
            <a:gdLst>
              <a:gd name="T0" fmla="*/ 18 w 46"/>
              <a:gd name="T1" fmla="*/ 46 h 46"/>
              <a:gd name="T2" fmla="*/ 16 w 46"/>
              <a:gd name="T3" fmla="*/ 45 h 46"/>
              <a:gd name="T4" fmla="*/ 1 w 46"/>
              <a:gd name="T5" fmla="*/ 30 h 46"/>
              <a:gd name="T6" fmla="*/ 1 w 46"/>
              <a:gd name="T7" fmla="*/ 26 h 46"/>
              <a:gd name="T8" fmla="*/ 5 w 46"/>
              <a:gd name="T9" fmla="*/ 26 h 46"/>
              <a:gd name="T10" fmla="*/ 19 w 46"/>
              <a:gd name="T11" fmla="*/ 41 h 46"/>
              <a:gd name="T12" fmla="*/ 36 w 46"/>
              <a:gd name="T13" fmla="*/ 36 h 46"/>
              <a:gd name="T14" fmla="*/ 40 w 46"/>
              <a:gd name="T15" fmla="*/ 19 h 46"/>
              <a:gd name="T16" fmla="*/ 26 w 46"/>
              <a:gd name="T17" fmla="*/ 5 h 46"/>
              <a:gd name="T18" fmla="*/ 26 w 46"/>
              <a:gd name="T19" fmla="*/ 1 h 46"/>
              <a:gd name="T20" fmla="*/ 30 w 46"/>
              <a:gd name="T21" fmla="*/ 1 h 46"/>
              <a:gd name="T22" fmla="*/ 45 w 46"/>
              <a:gd name="T23" fmla="*/ 17 h 46"/>
              <a:gd name="T24" fmla="*/ 45 w 46"/>
              <a:gd name="T25" fmla="*/ 19 h 46"/>
              <a:gd name="T26" fmla="*/ 40 w 46"/>
              <a:gd name="T27" fmla="*/ 39 h 46"/>
              <a:gd name="T28" fmla="*/ 38 w 46"/>
              <a:gd name="T29" fmla="*/ 40 h 46"/>
              <a:gd name="T30" fmla="*/ 19 w 46"/>
              <a:gd name="T31" fmla="*/ 46 h 46"/>
              <a:gd name="T32" fmla="*/ 18 w 46"/>
              <a:gd name="T33" fmla="*/ 46 h 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46" h="46">
                <a:moveTo>
                  <a:pt x="18" y="46"/>
                </a:moveTo>
                <a:cubicBezTo>
                  <a:pt x="18" y="46"/>
                  <a:pt x="17" y="46"/>
                  <a:pt x="16" y="45"/>
                </a:cubicBezTo>
                <a:cubicBezTo>
                  <a:pt x="1" y="30"/>
                  <a:pt x="1" y="30"/>
                  <a:pt x="1" y="30"/>
                </a:cubicBezTo>
                <a:cubicBezTo>
                  <a:pt x="0" y="29"/>
                  <a:pt x="0" y="27"/>
                  <a:pt x="1" y="26"/>
                </a:cubicBezTo>
                <a:cubicBezTo>
                  <a:pt x="2" y="25"/>
                  <a:pt x="4" y="25"/>
                  <a:pt x="5" y="26"/>
                </a:cubicBezTo>
                <a:cubicBezTo>
                  <a:pt x="19" y="41"/>
                  <a:pt x="19" y="41"/>
                  <a:pt x="19" y="41"/>
                </a:cubicBezTo>
                <a:cubicBezTo>
                  <a:pt x="36" y="36"/>
                  <a:pt x="36" y="36"/>
                  <a:pt x="36" y="36"/>
                </a:cubicBezTo>
                <a:cubicBezTo>
                  <a:pt x="40" y="19"/>
                  <a:pt x="40" y="19"/>
                  <a:pt x="40" y="19"/>
                </a:cubicBezTo>
                <a:cubicBezTo>
                  <a:pt x="26" y="5"/>
                  <a:pt x="26" y="5"/>
                  <a:pt x="26" y="5"/>
                </a:cubicBezTo>
                <a:cubicBezTo>
                  <a:pt x="25" y="4"/>
                  <a:pt x="25" y="2"/>
                  <a:pt x="26" y="1"/>
                </a:cubicBezTo>
                <a:cubicBezTo>
                  <a:pt x="27" y="0"/>
                  <a:pt x="29" y="0"/>
                  <a:pt x="30" y="1"/>
                </a:cubicBezTo>
                <a:cubicBezTo>
                  <a:pt x="45" y="17"/>
                  <a:pt x="45" y="17"/>
                  <a:pt x="45" y="17"/>
                </a:cubicBezTo>
                <a:cubicBezTo>
                  <a:pt x="45" y="17"/>
                  <a:pt x="46" y="18"/>
                  <a:pt x="45" y="19"/>
                </a:cubicBezTo>
                <a:cubicBezTo>
                  <a:pt x="40" y="39"/>
                  <a:pt x="40" y="39"/>
                  <a:pt x="40" y="39"/>
                </a:cubicBezTo>
                <a:cubicBezTo>
                  <a:pt x="40" y="40"/>
                  <a:pt x="39" y="40"/>
                  <a:pt x="38" y="40"/>
                </a:cubicBezTo>
                <a:cubicBezTo>
                  <a:pt x="19" y="46"/>
                  <a:pt x="19" y="46"/>
                  <a:pt x="19" y="46"/>
                </a:cubicBezTo>
                <a:cubicBezTo>
                  <a:pt x="19" y="46"/>
                  <a:pt x="18" y="46"/>
                  <a:pt x="18" y="46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105" name="Freeform 1534">
            <a:extLst>
              <a:ext uri="{FF2B5EF4-FFF2-40B4-BE49-F238E27FC236}">
                <a16:creationId xmlns:a16="http://schemas.microsoft.com/office/drawing/2014/main" id="{129E40AD-45D7-1EB4-BF46-7C83AF3F7582}"/>
              </a:ext>
            </a:extLst>
          </p:cNvPr>
          <p:cNvSpPr>
            <a:spLocks/>
          </p:cNvSpPr>
          <p:nvPr/>
        </p:nvSpPr>
        <p:spPr bwMode="auto">
          <a:xfrm>
            <a:off x="6877969" y="2969957"/>
            <a:ext cx="257801" cy="197944"/>
          </a:xfrm>
          <a:custGeom>
            <a:avLst/>
            <a:gdLst>
              <a:gd name="T0" fmla="*/ 33 w 51"/>
              <a:gd name="T1" fmla="*/ 40 h 40"/>
              <a:gd name="T2" fmla="*/ 11 w 51"/>
              <a:gd name="T3" fmla="*/ 30 h 40"/>
              <a:gd name="T4" fmla="*/ 1 w 51"/>
              <a:gd name="T5" fmla="*/ 3 h 40"/>
              <a:gd name="T6" fmla="*/ 4 w 51"/>
              <a:gd name="T7" fmla="*/ 1 h 40"/>
              <a:gd name="T8" fmla="*/ 6 w 51"/>
              <a:gd name="T9" fmla="*/ 3 h 40"/>
              <a:gd name="T10" fmla="*/ 14 w 51"/>
              <a:gd name="T11" fmla="*/ 27 h 40"/>
              <a:gd name="T12" fmla="*/ 47 w 51"/>
              <a:gd name="T13" fmla="*/ 31 h 40"/>
              <a:gd name="T14" fmla="*/ 50 w 51"/>
              <a:gd name="T15" fmla="*/ 32 h 40"/>
              <a:gd name="T16" fmla="*/ 50 w 51"/>
              <a:gd name="T17" fmla="*/ 35 h 40"/>
              <a:gd name="T18" fmla="*/ 33 w 51"/>
              <a:gd name="T19" fmla="*/ 40 h 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51" h="40">
                <a:moveTo>
                  <a:pt x="33" y="40"/>
                </a:moveTo>
                <a:cubicBezTo>
                  <a:pt x="25" y="40"/>
                  <a:pt x="17" y="36"/>
                  <a:pt x="11" y="30"/>
                </a:cubicBezTo>
                <a:cubicBezTo>
                  <a:pt x="3" y="23"/>
                  <a:pt x="0" y="13"/>
                  <a:pt x="1" y="3"/>
                </a:cubicBezTo>
                <a:cubicBezTo>
                  <a:pt x="2" y="1"/>
                  <a:pt x="3" y="0"/>
                  <a:pt x="4" y="1"/>
                </a:cubicBezTo>
                <a:cubicBezTo>
                  <a:pt x="6" y="1"/>
                  <a:pt x="7" y="2"/>
                  <a:pt x="6" y="3"/>
                </a:cubicBezTo>
                <a:cubicBezTo>
                  <a:pt x="5" y="12"/>
                  <a:pt x="8" y="21"/>
                  <a:pt x="14" y="27"/>
                </a:cubicBezTo>
                <a:cubicBezTo>
                  <a:pt x="23" y="36"/>
                  <a:pt x="36" y="37"/>
                  <a:pt x="47" y="31"/>
                </a:cubicBezTo>
                <a:cubicBezTo>
                  <a:pt x="48" y="30"/>
                  <a:pt x="50" y="31"/>
                  <a:pt x="50" y="32"/>
                </a:cubicBezTo>
                <a:cubicBezTo>
                  <a:pt x="51" y="33"/>
                  <a:pt x="51" y="34"/>
                  <a:pt x="50" y="35"/>
                </a:cubicBezTo>
                <a:cubicBezTo>
                  <a:pt x="45" y="38"/>
                  <a:pt x="39" y="40"/>
                  <a:pt x="33" y="4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106" name="Freeform 1535">
            <a:extLst>
              <a:ext uri="{FF2B5EF4-FFF2-40B4-BE49-F238E27FC236}">
                <a16:creationId xmlns:a16="http://schemas.microsoft.com/office/drawing/2014/main" id="{B5705748-FAB6-9682-6D9B-4E80CB87798B}"/>
              </a:ext>
            </a:extLst>
          </p:cNvPr>
          <p:cNvSpPr>
            <a:spLocks/>
          </p:cNvSpPr>
          <p:nvPr/>
        </p:nvSpPr>
        <p:spPr bwMode="auto">
          <a:xfrm>
            <a:off x="7008637" y="2841463"/>
            <a:ext cx="211890" cy="253511"/>
          </a:xfrm>
          <a:custGeom>
            <a:avLst/>
            <a:gdLst>
              <a:gd name="T0" fmla="*/ 33 w 42"/>
              <a:gd name="T1" fmla="*/ 51 h 51"/>
              <a:gd name="T2" fmla="*/ 31 w 42"/>
              <a:gd name="T3" fmla="*/ 51 h 51"/>
              <a:gd name="T4" fmla="*/ 31 w 42"/>
              <a:gd name="T5" fmla="*/ 47 h 51"/>
              <a:gd name="T6" fmla="*/ 26 w 42"/>
              <a:gd name="T7" fmla="*/ 14 h 51"/>
              <a:gd name="T8" fmla="*/ 3 w 42"/>
              <a:gd name="T9" fmla="*/ 7 h 51"/>
              <a:gd name="T10" fmla="*/ 0 w 42"/>
              <a:gd name="T11" fmla="*/ 5 h 51"/>
              <a:gd name="T12" fmla="*/ 2 w 42"/>
              <a:gd name="T13" fmla="*/ 2 h 51"/>
              <a:gd name="T14" fmla="*/ 30 w 42"/>
              <a:gd name="T15" fmla="*/ 11 h 51"/>
              <a:gd name="T16" fmla="*/ 35 w 42"/>
              <a:gd name="T17" fmla="*/ 50 h 51"/>
              <a:gd name="T18" fmla="*/ 33 w 42"/>
              <a:gd name="T19" fmla="*/ 51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2" h="51">
                <a:moveTo>
                  <a:pt x="33" y="51"/>
                </a:moveTo>
                <a:cubicBezTo>
                  <a:pt x="32" y="51"/>
                  <a:pt x="32" y="51"/>
                  <a:pt x="31" y="51"/>
                </a:cubicBezTo>
                <a:cubicBezTo>
                  <a:pt x="30" y="50"/>
                  <a:pt x="30" y="49"/>
                  <a:pt x="31" y="47"/>
                </a:cubicBezTo>
                <a:cubicBezTo>
                  <a:pt x="37" y="37"/>
                  <a:pt x="35" y="23"/>
                  <a:pt x="26" y="14"/>
                </a:cubicBezTo>
                <a:cubicBezTo>
                  <a:pt x="20" y="8"/>
                  <a:pt x="12" y="5"/>
                  <a:pt x="3" y="7"/>
                </a:cubicBezTo>
                <a:cubicBezTo>
                  <a:pt x="2" y="7"/>
                  <a:pt x="1" y="6"/>
                  <a:pt x="0" y="5"/>
                </a:cubicBezTo>
                <a:cubicBezTo>
                  <a:pt x="0" y="3"/>
                  <a:pt x="1" y="2"/>
                  <a:pt x="2" y="2"/>
                </a:cubicBezTo>
                <a:cubicBezTo>
                  <a:pt x="12" y="0"/>
                  <a:pt x="23" y="4"/>
                  <a:pt x="30" y="11"/>
                </a:cubicBezTo>
                <a:cubicBezTo>
                  <a:pt x="40" y="21"/>
                  <a:pt x="42" y="37"/>
                  <a:pt x="35" y="50"/>
                </a:cubicBezTo>
                <a:cubicBezTo>
                  <a:pt x="34" y="51"/>
                  <a:pt x="34" y="51"/>
                  <a:pt x="33" y="51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107" name="Freeform 1536">
            <a:extLst>
              <a:ext uri="{FF2B5EF4-FFF2-40B4-BE49-F238E27FC236}">
                <a16:creationId xmlns:a16="http://schemas.microsoft.com/office/drawing/2014/main" id="{5EBF384F-55C7-CDE6-14F4-E04D5634DE6F}"/>
              </a:ext>
            </a:extLst>
          </p:cNvPr>
          <p:cNvSpPr>
            <a:spLocks/>
          </p:cNvSpPr>
          <p:nvPr/>
        </p:nvSpPr>
        <p:spPr bwMode="auto">
          <a:xfrm>
            <a:off x="7111048" y="3126227"/>
            <a:ext cx="130668" cy="121544"/>
          </a:xfrm>
          <a:custGeom>
            <a:avLst/>
            <a:gdLst>
              <a:gd name="T0" fmla="*/ 23 w 26"/>
              <a:gd name="T1" fmla="*/ 25 h 25"/>
              <a:gd name="T2" fmla="*/ 21 w 26"/>
              <a:gd name="T3" fmla="*/ 25 h 25"/>
              <a:gd name="T4" fmla="*/ 1 w 26"/>
              <a:gd name="T5" fmla="*/ 4 h 25"/>
              <a:gd name="T6" fmla="*/ 1 w 26"/>
              <a:gd name="T7" fmla="*/ 1 h 25"/>
              <a:gd name="T8" fmla="*/ 5 w 26"/>
              <a:gd name="T9" fmla="*/ 1 h 25"/>
              <a:gd name="T10" fmla="*/ 25 w 26"/>
              <a:gd name="T11" fmla="*/ 21 h 25"/>
              <a:gd name="T12" fmla="*/ 25 w 26"/>
              <a:gd name="T13" fmla="*/ 25 h 25"/>
              <a:gd name="T14" fmla="*/ 23 w 26"/>
              <a:gd name="T15" fmla="*/ 25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6" h="25">
                <a:moveTo>
                  <a:pt x="23" y="25"/>
                </a:moveTo>
                <a:cubicBezTo>
                  <a:pt x="23" y="25"/>
                  <a:pt x="22" y="25"/>
                  <a:pt x="21" y="25"/>
                </a:cubicBezTo>
                <a:cubicBezTo>
                  <a:pt x="1" y="4"/>
                  <a:pt x="1" y="4"/>
                  <a:pt x="1" y="4"/>
                </a:cubicBezTo>
                <a:cubicBezTo>
                  <a:pt x="0" y="3"/>
                  <a:pt x="0" y="2"/>
                  <a:pt x="1" y="1"/>
                </a:cubicBezTo>
                <a:cubicBezTo>
                  <a:pt x="2" y="0"/>
                  <a:pt x="4" y="0"/>
                  <a:pt x="5" y="1"/>
                </a:cubicBezTo>
                <a:cubicBezTo>
                  <a:pt x="25" y="21"/>
                  <a:pt x="25" y="21"/>
                  <a:pt x="25" y="21"/>
                </a:cubicBezTo>
                <a:cubicBezTo>
                  <a:pt x="26" y="22"/>
                  <a:pt x="26" y="24"/>
                  <a:pt x="25" y="25"/>
                </a:cubicBezTo>
                <a:cubicBezTo>
                  <a:pt x="24" y="25"/>
                  <a:pt x="24" y="25"/>
                  <a:pt x="23" y="25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108" name="Freeform 1537">
            <a:extLst>
              <a:ext uri="{FF2B5EF4-FFF2-40B4-BE49-F238E27FC236}">
                <a16:creationId xmlns:a16="http://schemas.microsoft.com/office/drawing/2014/main" id="{15BB4FC5-F904-FB91-78DB-22A5D3A13BD0}"/>
              </a:ext>
            </a:extLst>
          </p:cNvPr>
          <p:cNvSpPr>
            <a:spLocks/>
          </p:cNvSpPr>
          <p:nvPr/>
        </p:nvSpPr>
        <p:spPr bwMode="auto">
          <a:xfrm>
            <a:off x="7305285" y="3317222"/>
            <a:ext cx="134198" cy="128494"/>
          </a:xfrm>
          <a:custGeom>
            <a:avLst/>
            <a:gdLst>
              <a:gd name="T0" fmla="*/ 24 w 27"/>
              <a:gd name="T1" fmla="*/ 26 h 26"/>
              <a:gd name="T2" fmla="*/ 22 w 27"/>
              <a:gd name="T3" fmla="*/ 26 h 26"/>
              <a:gd name="T4" fmla="*/ 1 w 27"/>
              <a:gd name="T5" fmla="*/ 4 h 26"/>
              <a:gd name="T6" fmla="*/ 1 w 27"/>
              <a:gd name="T7" fmla="*/ 1 h 26"/>
              <a:gd name="T8" fmla="*/ 5 w 27"/>
              <a:gd name="T9" fmla="*/ 1 h 26"/>
              <a:gd name="T10" fmla="*/ 26 w 27"/>
              <a:gd name="T11" fmla="*/ 22 h 26"/>
              <a:gd name="T12" fmla="*/ 26 w 27"/>
              <a:gd name="T13" fmla="*/ 26 h 26"/>
              <a:gd name="T14" fmla="*/ 24 w 27"/>
              <a:gd name="T15" fmla="*/ 26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7" h="26">
                <a:moveTo>
                  <a:pt x="24" y="26"/>
                </a:moveTo>
                <a:cubicBezTo>
                  <a:pt x="24" y="26"/>
                  <a:pt x="23" y="26"/>
                  <a:pt x="22" y="26"/>
                </a:cubicBezTo>
                <a:cubicBezTo>
                  <a:pt x="1" y="4"/>
                  <a:pt x="1" y="4"/>
                  <a:pt x="1" y="4"/>
                </a:cubicBezTo>
                <a:cubicBezTo>
                  <a:pt x="0" y="3"/>
                  <a:pt x="0" y="2"/>
                  <a:pt x="1" y="1"/>
                </a:cubicBezTo>
                <a:cubicBezTo>
                  <a:pt x="2" y="0"/>
                  <a:pt x="4" y="0"/>
                  <a:pt x="5" y="1"/>
                </a:cubicBezTo>
                <a:cubicBezTo>
                  <a:pt x="26" y="22"/>
                  <a:pt x="26" y="22"/>
                  <a:pt x="26" y="22"/>
                </a:cubicBezTo>
                <a:cubicBezTo>
                  <a:pt x="27" y="23"/>
                  <a:pt x="27" y="25"/>
                  <a:pt x="26" y="26"/>
                </a:cubicBezTo>
                <a:cubicBezTo>
                  <a:pt x="25" y="26"/>
                  <a:pt x="25" y="26"/>
                  <a:pt x="24" y="26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109" name="Freeform 1538">
            <a:extLst>
              <a:ext uri="{FF2B5EF4-FFF2-40B4-BE49-F238E27FC236}">
                <a16:creationId xmlns:a16="http://schemas.microsoft.com/office/drawing/2014/main" id="{FEB9170B-34F9-9CF2-6131-876D5A6B9C44}"/>
              </a:ext>
            </a:extLst>
          </p:cNvPr>
          <p:cNvSpPr>
            <a:spLocks/>
          </p:cNvSpPr>
          <p:nvPr/>
        </p:nvSpPr>
        <p:spPr bwMode="auto">
          <a:xfrm>
            <a:off x="7164023" y="3074135"/>
            <a:ext cx="328434" cy="322962"/>
          </a:xfrm>
          <a:custGeom>
            <a:avLst/>
            <a:gdLst>
              <a:gd name="T0" fmla="*/ 63 w 65"/>
              <a:gd name="T1" fmla="*/ 65 h 65"/>
              <a:gd name="T2" fmla="*/ 61 w 65"/>
              <a:gd name="T3" fmla="*/ 64 h 65"/>
              <a:gd name="T4" fmla="*/ 1 w 65"/>
              <a:gd name="T5" fmla="*/ 4 h 65"/>
              <a:gd name="T6" fmla="*/ 1 w 65"/>
              <a:gd name="T7" fmla="*/ 1 h 65"/>
              <a:gd name="T8" fmla="*/ 4 w 65"/>
              <a:gd name="T9" fmla="*/ 1 h 65"/>
              <a:gd name="T10" fmla="*/ 64 w 65"/>
              <a:gd name="T11" fmla="*/ 61 h 65"/>
              <a:gd name="T12" fmla="*/ 64 w 65"/>
              <a:gd name="T13" fmla="*/ 64 h 65"/>
              <a:gd name="T14" fmla="*/ 63 w 65"/>
              <a:gd name="T15" fmla="*/ 65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65" h="65">
                <a:moveTo>
                  <a:pt x="63" y="65"/>
                </a:moveTo>
                <a:cubicBezTo>
                  <a:pt x="62" y="65"/>
                  <a:pt x="61" y="65"/>
                  <a:pt x="61" y="64"/>
                </a:cubicBezTo>
                <a:cubicBezTo>
                  <a:pt x="1" y="4"/>
                  <a:pt x="1" y="4"/>
                  <a:pt x="1" y="4"/>
                </a:cubicBezTo>
                <a:cubicBezTo>
                  <a:pt x="0" y="3"/>
                  <a:pt x="0" y="2"/>
                  <a:pt x="1" y="1"/>
                </a:cubicBezTo>
                <a:cubicBezTo>
                  <a:pt x="2" y="0"/>
                  <a:pt x="3" y="0"/>
                  <a:pt x="4" y="1"/>
                </a:cubicBezTo>
                <a:cubicBezTo>
                  <a:pt x="64" y="61"/>
                  <a:pt x="64" y="61"/>
                  <a:pt x="64" y="61"/>
                </a:cubicBezTo>
                <a:cubicBezTo>
                  <a:pt x="65" y="62"/>
                  <a:pt x="65" y="63"/>
                  <a:pt x="64" y="64"/>
                </a:cubicBezTo>
                <a:cubicBezTo>
                  <a:pt x="64" y="65"/>
                  <a:pt x="63" y="65"/>
                  <a:pt x="63" y="65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110" name="Freeform 1539">
            <a:extLst>
              <a:ext uri="{FF2B5EF4-FFF2-40B4-BE49-F238E27FC236}">
                <a16:creationId xmlns:a16="http://schemas.microsoft.com/office/drawing/2014/main" id="{2BC3E056-300C-B998-F466-715A99895260}"/>
              </a:ext>
            </a:extLst>
          </p:cNvPr>
          <p:cNvSpPr>
            <a:spLocks/>
          </p:cNvSpPr>
          <p:nvPr/>
        </p:nvSpPr>
        <p:spPr bwMode="auto">
          <a:xfrm>
            <a:off x="7379446" y="3338063"/>
            <a:ext cx="331963" cy="329904"/>
          </a:xfrm>
          <a:custGeom>
            <a:avLst/>
            <a:gdLst>
              <a:gd name="T0" fmla="*/ 34 w 66"/>
              <a:gd name="T1" fmla="*/ 67 h 67"/>
              <a:gd name="T2" fmla="*/ 12 w 66"/>
              <a:gd name="T3" fmla="*/ 57 h 67"/>
              <a:gd name="T4" fmla="*/ 7 w 66"/>
              <a:gd name="T5" fmla="*/ 19 h 67"/>
              <a:gd name="T6" fmla="*/ 10 w 66"/>
              <a:gd name="T7" fmla="*/ 18 h 67"/>
              <a:gd name="T8" fmla="*/ 11 w 66"/>
              <a:gd name="T9" fmla="*/ 21 h 67"/>
              <a:gd name="T10" fmla="*/ 16 w 66"/>
              <a:gd name="T11" fmla="*/ 54 h 67"/>
              <a:gd name="T12" fmla="*/ 34 w 66"/>
              <a:gd name="T13" fmla="*/ 62 h 67"/>
              <a:gd name="T14" fmla="*/ 53 w 66"/>
              <a:gd name="T15" fmla="*/ 54 h 67"/>
              <a:gd name="T16" fmla="*/ 61 w 66"/>
              <a:gd name="T17" fmla="*/ 35 h 67"/>
              <a:gd name="T18" fmla="*/ 53 w 66"/>
              <a:gd name="T19" fmla="*/ 16 h 67"/>
              <a:gd name="T20" fmla="*/ 21 w 66"/>
              <a:gd name="T21" fmla="*/ 12 h 67"/>
              <a:gd name="T22" fmla="*/ 18 w 66"/>
              <a:gd name="T23" fmla="*/ 11 h 67"/>
              <a:gd name="T24" fmla="*/ 18 w 66"/>
              <a:gd name="T25" fmla="*/ 7 h 67"/>
              <a:gd name="T26" fmla="*/ 57 w 66"/>
              <a:gd name="T27" fmla="*/ 12 h 67"/>
              <a:gd name="T28" fmla="*/ 66 w 66"/>
              <a:gd name="T29" fmla="*/ 35 h 67"/>
              <a:gd name="T30" fmla="*/ 57 w 66"/>
              <a:gd name="T31" fmla="*/ 57 h 67"/>
              <a:gd name="T32" fmla="*/ 34 w 66"/>
              <a:gd name="T33" fmla="*/ 67 h 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66" h="67">
                <a:moveTo>
                  <a:pt x="34" y="67"/>
                </a:moveTo>
                <a:cubicBezTo>
                  <a:pt x="26" y="67"/>
                  <a:pt x="18" y="63"/>
                  <a:pt x="12" y="57"/>
                </a:cubicBezTo>
                <a:cubicBezTo>
                  <a:pt x="2" y="47"/>
                  <a:pt x="0" y="31"/>
                  <a:pt x="7" y="19"/>
                </a:cubicBezTo>
                <a:cubicBezTo>
                  <a:pt x="8" y="18"/>
                  <a:pt x="9" y="17"/>
                  <a:pt x="10" y="18"/>
                </a:cubicBezTo>
                <a:cubicBezTo>
                  <a:pt x="12" y="19"/>
                  <a:pt x="12" y="20"/>
                  <a:pt x="11" y="21"/>
                </a:cubicBezTo>
                <a:cubicBezTo>
                  <a:pt x="5" y="32"/>
                  <a:pt x="7" y="45"/>
                  <a:pt x="16" y="54"/>
                </a:cubicBezTo>
                <a:cubicBezTo>
                  <a:pt x="21" y="59"/>
                  <a:pt x="27" y="62"/>
                  <a:pt x="34" y="62"/>
                </a:cubicBezTo>
                <a:cubicBezTo>
                  <a:pt x="42" y="62"/>
                  <a:pt x="48" y="59"/>
                  <a:pt x="53" y="54"/>
                </a:cubicBezTo>
                <a:cubicBezTo>
                  <a:pt x="59" y="49"/>
                  <a:pt x="61" y="42"/>
                  <a:pt x="61" y="35"/>
                </a:cubicBezTo>
                <a:cubicBezTo>
                  <a:pt x="61" y="28"/>
                  <a:pt x="59" y="21"/>
                  <a:pt x="53" y="16"/>
                </a:cubicBezTo>
                <a:cubicBezTo>
                  <a:pt x="45" y="7"/>
                  <a:pt x="31" y="5"/>
                  <a:pt x="21" y="12"/>
                </a:cubicBezTo>
                <a:cubicBezTo>
                  <a:pt x="20" y="12"/>
                  <a:pt x="18" y="12"/>
                  <a:pt x="18" y="11"/>
                </a:cubicBezTo>
                <a:cubicBezTo>
                  <a:pt x="17" y="10"/>
                  <a:pt x="17" y="8"/>
                  <a:pt x="18" y="7"/>
                </a:cubicBezTo>
                <a:cubicBezTo>
                  <a:pt x="31" y="0"/>
                  <a:pt x="47" y="2"/>
                  <a:pt x="57" y="12"/>
                </a:cubicBezTo>
                <a:cubicBezTo>
                  <a:pt x="63" y="18"/>
                  <a:pt x="66" y="26"/>
                  <a:pt x="66" y="35"/>
                </a:cubicBezTo>
                <a:cubicBezTo>
                  <a:pt x="66" y="43"/>
                  <a:pt x="63" y="51"/>
                  <a:pt x="57" y="57"/>
                </a:cubicBezTo>
                <a:cubicBezTo>
                  <a:pt x="51" y="63"/>
                  <a:pt x="43" y="67"/>
                  <a:pt x="34" y="67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111" name="Freeform 1540">
            <a:extLst>
              <a:ext uri="{FF2B5EF4-FFF2-40B4-BE49-F238E27FC236}">
                <a16:creationId xmlns:a16="http://schemas.microsoft.com/office/drawing/2014/main" id="{61DC3C82-B94F-14BD-45AD-9822C410FD70}"/>
              </a:ext>
            </a:extLst>
          </p:cNvPr>
          <p:cNvSpPr>
            <a:spLocks/>
          </p:cNvSpPr>
          <p:nvPr/>
        </p:nvSpPr>
        <p:spPr bwMode="auto">
          <a:xfrm>
            <a:off x="7269968" y="2876193"/>
            <a:ext cx="413190" cy="413251"/>
          </a:xfrm>
          <a:custGeom>
            <a:avLst/>
            <a:gdLst>
              <a:gd name="T0" fmla="*/ 2 w 82"/>
              <a:gd name="T1" fmla="*/ 83 h 83"/>
              <a:gd name="T2" fmla="*/ 1 w 82"/>
              <a:gd name="T3" fmla="*/ 82 h 83"/>
              <a:gd name="T4" fmla="*/ 1 w 82"/>
              <a:gd name="T5" fmla="*/ 78 h 83"/>
              <a:gd name="T6" fmla="*/ 78 w 82"/>
              <a:gd name="T7" fmla="*/ 1 h 83"/>
              <a:gd name="T8" fmla="*/ 81 w 82"/>
              <a:gd name="T9" fmla="*/ 1 h 83"/>
              <a:gd name="T10" fmla="*/ 81 w 82"/>
              <a:gd name="T11" fmla="*/ 5 h 83"/>
              <a:gd name="T12" fmla="*/ 4 w 82"/>
              <a:gd name="T13" fmla="*/ 82 h 83"/>
              <a:gd name="T14" fmla="*/ 2 w 82"/>
              <a:gd name="T15" fmla="*/ 83 h 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82" h="83">
                <a:moveTo>
                  <a:pt x="2" y="83"/>
                </a:moveTo>
                <a:cubicBezTo>
                  <a:pt x="2" y="83"/>
                  <a:pt x="1" y="82"/>
                  <a:pt x="1" y="82"/>
                </a:cubicBezTo>
                <a:cubicBezTo>
                  <a:pt x="0" y="81"/>
                  <a:pt x="0" y="79"/>
                  <a:pt x="1" y="78"/>
                </a:cubicBezTo>
                <a:cubicBezTo>
                  <a:pt x="78" y="1"/>
                  <a:pt x="78" y="1"/>
                  <a:pt x="78" y="1"/>
                </a:cubicBezTo>
                <a:cubicBezTo>
                  <a:pt x="79" y="0"/>
                  <a:pt x="80" y="0"/>
                  <a:pt x="81" y="1"/>
                </a:cubicBezTo>
                <a:cubicBezTo>
                  <a:pt x="82" y="2"/>
                  <a:pt x="82" y="4"/>
                  <a:pt x="81" y="5"/>
                </a:cubicBezTo>
                <a:cubicBezTo>
                  <a:pt x="4" y="82"/>
                  <a:pt x="4" y="82"/>
                  <a:pt x="4" y="82"/>
                </a:cubicBezTo>
                <a:cubicBezTo>
                  <a:pt x="4" y="82"/>
                  <a:pt x="3" y="83"/>
                  <a:pt x="2" y="83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112" name="Freeform 1541">
            <a:extLst>
              <a:ext uri="{FF2B5EF4-FFF2-40B4-BE49-F238E27FC236}">
                <a16:creationId xmlns:a16="http://schemas.microsoft.com/office/drawing/2014/main" id="{D8E2BBE1-7FA6-E15E-EECA-E9C1D16FE37D}"/>
              </a:ext>
            </a:extLst>
          </p:cNvPr>
          <p:cNvSpPr>
            <a:spLocks noEditPoints="1"/>
          </p:cNvSpPr>
          <p:nvPr/>
        </p:nvSpPr>
        <p:spPr bwMode="auto">
          <a:xfrm>
            <a:off x="6888564" y="3268608"/>
            <a:ext cx="402594" cy="385471"/>
          </a:xfrm>
          <a:custGeom>
            <a:avLst/>
            <a:gdLst>
              <a:gd name="T0" fmla="*/ 26 w 80"/>
              <a:gd name="T1" fmla="*/ 78 h 78"/>
              <a:gd name="T2" fmla="*/ 20 w 80"/>
              <a:gd name="T3" fmla="*/ 76 h 78"/>
              <a:gd name="T4" fmla="*/ 4 w 80"/>
              <a:gd name="T5" fmla="*/ 60 h 78"/>
              <a:gd name="T6" fmla="*/ 4 w 80"/>
              <a:gd name="T7" fmla="*/ 48 h 78"/>
              <a:gd name="T8" fmla="*/ 49 w 80"/>
              <a:gd name="T9" fmla="*/ 3 h 78"/>
              <a:gd name="T10" fmla="*/ 55 w 80"/>
              <a:gd name="T11" fmla="*/ 0 h 78"/>
              <a:gd name="T12" fmla="*/ 61 w 80"/>
              <a:gd name="T13" fmla="*/ 3 h 78"/>
              <a:gd name="T14" fmla="*/ 77 w 80"/>
              <a:gd name="T15" fmla="*/ 19 h 78"/>
              <a:gd name="T16" fmla="*/ 77 w 80"/>
              <a:gd name="T17" fmla="*/ 31 h 78"/>
              <a:gd name="T18" fmla="*/ 32 w 80"/>
              <a:gd name="T19" fmla="*/ 76 h 78"/>
              <a:gd name="T20" fmla="*/ 26 w 80"/>
              <a:gd name="T21" fmla="*/ 78 h 78"/>
              <a:gd name="T22" fmla="*/ 55 w 80"/>
              <a:gd name="T23" fmla="*/ 5 h 78"/>
              <a:gd name="T24" fmla="*/ 52 w 80"/>
              <a:gd name="T25" fmla="*/ 7 h 78"/>
              <a:gd name="T26" fmla="*/ 7 w 80"/>
              <a:gd name="T27" fmla="*/ 51 h 78"/>
              <a:gd name="T28" fmla="*/ 7 w 80"/>
              <a:gd name="T29" fmla="*/ 57 h 78"/>
              <a:gd name="T30" fmla="*/ 23 w 80"/>
              <a:gd name="T31" fmla="*/ 72 h 78"/>
              <a:gd name="T32" fmla="*/ 28 w 80"/>
              <a:gd name="T33" fmla="*/ 72 h 78"/>
              <a:gd name="T34" fmla="*/ 73 w 80"/>
              <a:gd name="T35" fmla="*/ 28 h 78"/>
              <a:gd name="T36" fmla="*/ 73 w 80"/>
              <a:gd name="T37" fmla="*/ 22 h 78"/>
              <a:gd name="T38" fmla="*/ 58 w 80"/>
              <a:gd name="T39" fmla="*/ 7 h 78"/>
              <a:gd name="T40" fmla="*/ 55 w 80"/>
              <a:gd name="T41" fmla="*/ 5 h 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80" h="78">
                <a:moveTo>
                  <a:pt x="26" y="78"/>
                </a:moveTo>
                <a:cubicBezTo>
                  <a:pt x="23" y="78"/>
                  <a:pt x="21" y="77"/>
                  <a:pt x="20" y="76"/>
                </a:cubicBezTo>
                <a:cubicBezTo>
                  <a:pt x="4" y="60"/>
                  <a:pt x="4" y="60"/>
                  <a:pt x="4" y="60"/>
                </a:cubicBezTo>
                <a:cubicBezTo>
                  <a:pt x="0" y="57"/>
                  <a:pt x="0" y="51"/>
                  <a:pt x="4" y="48"/>
                </a:cubicBezTo>
                <a:cubicBezTo>
                  <a:pt x="49" y="3"/>
                  <a:pt x="49" y="3"/>
                  <a:pt x="49" y="3"/>
                </a:cubicBezTo>
                <a:cubicBezTo>
                  <a:pt x="50" y="1"/>
                  <a:pt x="52" y="0"/>
                  <a:pt x="55" y="0"/>
                </a:cubicBezTo>
                <a:cubicBezTo>
                  <a:pt x="57" y="0"/>
                  <a:pt x="59" y="1"/>
                  <a:pt x="61" y="3"/>
                </a:cubicBezTo>
                <a:cubicBezTo>
                  <a:pt x="77" y="19"/>
                  <a:pt x="77" y="19"/>
                  <a:pt x="77" y="19"/>
                </a:cubicBezTo>
                <a:cubicBezTo>
                  <a:pt x="80" y="22"/>
                  <a:pt x="80" y="28"/>
                  <a:pt x="77" y="31"/>
                </a:cubicBezTo>
                <a:cubicBezTo>
                  <a:pt x="32" y="76"/>
                  <a:pt x="32" y="76"/>
                  <a:pt x="32" y="76"/>
                </a:cubicBezTo>
                <a:cubicBezTo>
                  <a:pt x="30" y="77"/>
                  <a:pt x="28" y="78"/>
                  <a:pt x="26" y="78"/>
                </a:cubicBezTo>
                <a:close/>
                <a:moveTo>
                  <a:pt x="55" y="5"/>
                </a:moveTo>
                <a:cubicBezTo>
                  <a:pt x="54" y="5"/>
                  <a:pt x="53" y="6"/>
                  <a:pt x="52" y="7"/>
                </a:cubicBezTo>
                <a:cubicBezTo>
                  <a:pt x="7" y="51"/>
                  <a:pt x="7" y="51"/>
                  <a:pt x="7" y="51"/>
                </a:cubicBezTo>
                <a:cubicBezTo>
                  <a:pt x="6" y="53"/>
                  <a:pt x="6" y="55"/>
                  <a:pt x="7" y="57"/>
                </a:cubicBezTo>
                <a:cubicBezTo>
                  <a:pt x="23" y="72"/>
                  <a:pt x="23" y="72"/>
                  <a:pt x="23" y="72"/>
                </a:cubicBezTo>
                <a:cubicBezTo>
                  <a:pt x="24" y="74"/>
                  <a:pt x="27" y="74"/>
                  <a:pt x="28" y="72"/>
                </a:cubicBezTo>
                <a:cubicBezTo>
                  <a:pt x="73" y="28"/>
                  <a:pt x="73" y="28"/>
                  <a:pt x="73" y="28"/>
                </a:cubicBezTo>
                <a:cubicBezTo>
                  <a:pt x="75" y="26"/>
                  <a:pt x="75" y="24"/>
                  <a:pt x="73" y="22"/>
                </a:cubicBezTo>
                <a:cubicBezTo>
                  <a:pt x="58" y="7"/>
                  <a:pt x="58" y="7"/>
                  <a:pt x="58" y="7"/>
                </a:cubicBezTo>
                <a:cubicBezTo>
                  <a:pt x="57" y="6"/>
                  <a:pt x="56" y="5"/>
                  <a:pt x="55" y="5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113" name="Freeform 1542">
            <a:extLst>
              <a:ext uri="{FF2B5EF4-FFF2-40B4-BE49-F238E27FC236}">
                <a16:creationId xmlns:a16="http://schemas.microsoft.com/office/drawing/2014/main" id="{ED135977-6C34-BB8B-3292-A6B147ECB085}"/>
              </a:ext>
            </a:extLst>
          </p:cNvPr>
          <p:cNvSpPr>
            <a:spLocks noEditPoints="1"/>
          </p:cNvSpPr>
          <p:nvPr/>
        </p:nvSpPr>
        <p:spPr bwMode="auto">
          <a:xfrm>
            <a:off x="7174618" y="3223463"/>
            <a:ext cx="162451" cy="152800"/>
          </a:xfrm>
          <a:custGeom>
            <a:avLst/>
            <a:gdLst>
              <a:gd name="T0" fmla="*/ 19 w 32"/>
              <a:gd name="T1" fmla="*/ 31 h 31"/>
              <a:gd name="T2" fmla="*/ 14 w 32"/>
              <a:gd name="T3" fmla="*/ 29 h 31"/>
              <a:gd name="T4" fmla="*/ 2 w 32"/>
              <a:gd name="T5" fmla="*/ 17 h 31"/>
              <a:gd name="T6" fmla="*/ 0 w 32"/>
              <a:gd name="T7" fmla="*/ 12 h 31"/>
              <a:gd name="T8" fmla="*/ 2 w 32"/>
              <a:gd name="T9" fmla="*/ 7 h 31"/>
              <a:gd name="T10" fmla="*/ 7 w 32"/>
              <a:gd name="T11" fmla="*/ 3 h 31"/>
              <a:gd name="T12" fmla="*/ 12 w 32"/>
              <a:gd name="T13" fmla="*/ 0 h 31"/>
              <a:gd name="T14" fmla="*/ 17 w 32"/>
              <a:gd name="T15" fmla="*/ 3 h 31"/>
              <a:gd name="T16" fmla="*/ 29 w 32"/>
              <a:gd name="T17" fmla="*/ 14 h 31"/>
              <a:gd name="T18" fmla="*/ 29 w 32"/>
              <a:gd name="T19" fmla="*/ 24 h 31"/>
              <a:gd name="T20" fmla="*/ 24 w 32"/>
              <a:gd name="T21" fmla="*/ 29 h 31"/>
              <a:gd name="T22" fmla="*/ 19 w 32"/>
              <a:gd name="T23" fmla="*/ 31 h 31"/>
              <a:gd name="T24" fmla="*/ 12 w 32"/>
              <a:gd name="T25" fmla="*/ 5 h 31"/>
              <a:gd name="T26" fmla="*/ 11 w 32"/>
              <a:gd name="T27" fmla="*/ 6 h 31"/>
              <a:gd name="T28" fmla="*/ 6 w 32"/>
              <a:gd name="T29" fmla="*/ 11 h 31"/>
              <a:gd name="T30" fmla="*/ 5 w 32"/>
              <a:gd name="T31" fmla="*/ 12 h 31"/>
              <a:gd name="T32" fmla="*/ 6 w 32"/>
              <a:gd name="T33" fmla="*/ 14 h 31"/>
              <a:gd name="T34" fmla="*/ 18 w 32"/>
              <a:gd name="T35" fmla="*/ 26 h 31"/>
              <a:gd name="T36" fmla="*/ 21 w 32"/>
              <a:gd name="T37" fmla="*/ 26 h 31"/>
              <a:gd name="T38" fmla="*/ 24 w 32"/>
              <a:gd name="T39" fmla="*/ 23 h 31"/>
              <a:gd name="T40" fmla="*/ 24 w 32"/>
              <a:gd name="T41" fmla="*/ 23 h 31"/>
              <a:gd name="T42" fmla="*/ 26 w 32"/>
              <a:gd name="T43" fmla="*/ 21 h 31"/>
              <a:gd name="T44" fmla="*/ 26 w 32"/>
              <a:gd name="T45" fmla="*/ 18 h 31"/>
              <a:gd name="T46" fmla="*/ 14 w 32"/>
              <a:gd name="T47" fmla="*/ 6 h 31"/>
              <a:gd name="T48" fmla="*/ 12 w 32"/>
              <a:gd name="T49" fmla="*/ 5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32" h="31">
                <a:moveTo>
                  <a:pt x="19" y="31"/>
                </a:moveTo>
                <a:cubicBezTo>
                  <a:pt x="17" y="31"/>
                  <a:pt x="16" y="31"/>
                  <a:pt x="14" y="29"/>
                </a:cubicBezTo>
                <a:cubicBezTo>
                  <a:pt x="2" y="17"/>
                  <a:pt x="2" y="17"/>
                  <a:pt x="2" y="17"/>
                </a:cubicBezTo>
                <a:cubicBezTo>
                  <a:pt x="1" y="16"/>
                  <a:pt x="0" y="14"/>
                  <a:pt x="0" y="12"/>
                </a:cubicBezTo>
                <a:cubicBezTo>
                  <a:pt x="0" y="10"/>
                  <a:pt x="1" y="9"/>
                  <a:pt x="2" y="7"/>
                </a:cubicBezTo>
                <a:cubicBezTo>
                  <a:pt x="7" y="3"/>
                  <a:pt x="7" y="3"/>
                  <a:pt x="7" y="3"/>
                </a:cubicBezTo>
                <a:cubicBezTo>
                  <a:pt x="8" y="1"/>
                  <a:pt x="10" y="0"/>
                  <a:pt x="12" y="0"/>
                </a:cubicBezTo>
                <a:cubicBezTo>
                  <a:pt x="14" y="0"/>
                  <a:pt x="16" y="1"/>
                  <a:pt x="17" y="3"/>
                </a:cubicBezTo>
                <a:cubicBezTo>
                  <a:pt x="29" y="14"/>
                  <a:pt x="29" y="14"/>
                  <a:pt x="29" y="14"/>
                </a:cubicBezTo>
                <a:cubicBezTo>
                  <a:pt x="32" y="17"/>
                  <a:pt x="32" y="22"/>
                  <a:pt x="29" y="24"/>
                </a:cubicBezTo>
                <a:cubicBezTo>
                  <a:pt x="24" y="29"/>
                  <a:pt x="24" y="29"/>
                  <a:pt x="24" y="29"/>
                </a:cubicBezTo>
                <a:cubicBezTo>
                  <a:pt x="23" y="31"/>
                  <a:pt x="21" y="31"/>
                  <a:pt x="19" y="31"/>
                </a:cubicBezTo>
                <a:close/>
                <a:moveTo>
                  <a:pt x="12" y="5"/>
                </a:moveTo>
                <a:cubicBezTo>
                  <a:pt x="12" y="5"/>
                  <a:pt x="11" y="6"/>
                  <a:pt x="11" y="6"/>
                </a:cubicBezTo>
                <a:cubicBezTo>
                  <a:pt x="6" y="11"/>
                  <a:pt x="6" y="11"/>
                  <a:pt x="6" y="11"/>
                </a:cubicBezTo>
                <a:cubicBezTo>
                  <a:pt x="5" y="11"/>
                  <a:pt x="5" y="12"/>
                  <a:pt x="5" y="12"/>
                </a:cubicBezTo>
                <a:cubicBezTo>
                  <a:pt x="5" y="13"/>
                  <a:pt x="5" y="13"/>
                  <a:pt x="6" y="14"/>
                </a:cubicBezTo>
                <a:cubicBezTo>
                  <a:pt x="18" y="26"/>
                  <a:pt x="18" y="26"/>
                  <a:pt x="18" y="26"/>
                </a:cubicBezTo>
                <a:cubicBezTo>
                  <a:pt x="19" y="27"/>
                  <a:pt x="20" y="27"/>
                  <a:pt x="21" y="26"/>
                </a:cubicBezTo>
                <a:cubicBezTo>
                  <a:pt x="24" y="23"/>
                  <a:pt x="24" y="23"/>
                  <a:pt x="24" y="23"/>
                </a:cubicBezTo>
                <a:cubicBezTo>
                  <a:pt x="24" y="23"/>
                  <a:pt x="24" y="23"/>
                  <a:pt x="24" y="23"/>
                </a:cubicBezTo>
                <a:cubicBezTo>
                  <a:pt x="26" y="21"/>
                  <a:pt x="26" y="21"/>
                  <a:pt x="26" y="21"/>
                </a:cubicBezTo>
                <a:cubicBezTo>
                  <a:pt x="27" y="20"/>
                  <a:pt x="27" y="19"/>
                  <a:pt x="26" y="18"/>
                </a:cubicBezTo>
                <a:cubicBezTo>
                  <a:pt x="14" y="6"/>
                  <a:pt x="14" y="6"/>
                  <a:pt x="14" y="6"/>
                </a:cubicBezTo>
                <a:cubicBezTo>
                  <a:pt x="13" y="6"/>
                  <a:pt x="13" y="5"/>
                  <a:pt x="12" y="5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114" name="Freeform 1543">
            <a:extLst>
              <a:ext uri="{FF2B5EF4-FFF2-40B4-BE49-F238E27FC236}">
                <a16:creationId xmlns:a16="http://schemas.microsoft.com/office/drawing/2014/main" id="{70EDC37F-89EE-FB12-E219-A88C2F7AE3DF}"/>
              </a:ext>
            </a:extLst>
          </p:cNvPr>
          <p:cNvSpPr>
            <a:spLocks/>
          </p:cNvSpPr>
          <p:nvPr/>
        </p:nvSpPr>
        <p:spPr bwMode="auto">
          <a:xfrm>
            <a:off x="7616057" y="2876193"/>
            <a:ext cx="70630" cy="69454"/>
          </a:xfrm>
          <a:custGeom>
            <a:avLst/>
            <a:gdLst>
              <a:gd name="T0" fmla="*/ 4 w 14"/>
              <a:gd name="T1" fmla="*/ 14 h 14"/>
              <a:gd name="T2" fmla="*/ 1 w 14"/>
              <a:gd name="T3" fmla="*/ 13 h 14"/>
              <a:gd name="T4" fmla="*/ 1 w 14"/>
              <a:gd name="T5" fmla="*/ 13 h 14"/>
              <a:gd name="T6" fmla="*/ 1 w 14"/>
              <a:gd name="T7" fmla="*/ 8 h 14"/>
              <a:gd name="T8" fmla="*/ 8 w 14"/>
              <a:gd name="T9" fmla="*/ 1 h 14"/>
              <a:gd name="T10" fmla="*/ 13 w 14"/>
              <a:gd name="T11" fmla="*/ 1 h 14"/>
              <a:gd name="T12" fmla="*/ 14 w 14"/>
              <a:gd name="T13" fmla="*/ 3 h 14"/>
              <a:gd name="T14" fmla="*/ 13 w 14"/>
              <a:gd name="T15" fmla="*/ 6 h 14"/>
              <a:gd name="T16" fmla="*/ 6 w 14"/>
              <a:gd name="T17" fmla="*/ 13 h 14"/>
              <a:gd name="T18" fmla="*/ 4 w 14"/>
              <a:gd name="T19" fmla="*/ 14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4" h="14">
                <a:moveTo>
                  <a:pt x="4" y="14"/>
                </a:moveTo>
                <a:cubicBezTo>
                  <a:pt x="3" y="14"/>
                  <a:pt x="2" y="13"/>
                  <a:pt x="1" y="13"/>
                </a:cubicBezTo>
                <a:cubicBezTo>
                  <a:pt x="1" y="13"/>
                  <a:pt x="1" y="13"/>
                  <a:pt x="1" y="13"/>
                </a:cubicBezTo>
                <a:cubicBezTo>
                  <a:pt x="0" y="11"/>
                  <a:pt x="0" y="9"/>
                  <a:pt x="1" y="8"/>
                </a:cubicBezTo>
                <a:cubicBezTo>
                  <a:pt x="8" y="1"/>
                  <a:pt x="8" y="1"/>
                  <a:pt x="8" y="1"/>
                </a:cubicBezTo>
                <a:cubicBezTo>
                  <a:pt x="9" y="0"/>
                  <a:pt x="11" y="0"/>
                  <a:pt x="13" y="1"/>
                </a:cubicBezTo>
                <a:cubicBezTo>
                  <a:pt x="13" y="2"/>
                  <a:pt x="14" y="3"/>
                  <a:pt x="14" y="3"/>
                </a:cubicBezTo>
                <a:cubicBezTo>
                  <a:pt x="14" y="4"/>
                  <a:pt x="13" y="5"/>
                  <a:pt x="13" y="6"/>
                </a:cubicBezTo>
                <a:cubicBezTo>
                  <a:pt x="6" y="13"/>
                  <a:pt x="6" y="13"/>
                  <a:pt x="6" y="13"/>
                </a:cubicBezTo>
                <a:cubicBezTo>
                  <a:pt x="5" y="13"/>
                  <a:pt x="4" y="14"/>
                  <a:pt x="4" y="14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115" name="Freeform 380">
            <a:extLst>
              <a:ext uri="{FF2B5EF4-FFF2-40B4-BE49-F238E27FC236}">
                <a16:creationId xmlns:a16="http://schemas.microsoft.com/office/drawing/2014/main" id="{C2E77735-D8C9-B483-FB2E-A6A2E34FE686}"/>
              </a:ext>
            </a:extLst>
          </p:cNvPr>
          <p:cNvSpPr>
            <a:spLocks noEditPoints="1"/>
          </p:cNvSpPr>
          <p:nvPr/>
        </p:nvSpPr>
        <p:spPr bwMode="auto">
          <a:xfrm>
            <a:off x="9326827" y="2766311"/>
            <a:ext cx="677272" cy="685957"/>
          </a:xfrm>
          <a:custGeom>
            <a:avLst/>
            <a:gdLst>
              <a:gd name="T0" fmla="*/ 142 w 285"/>
              <a:gd name="T1" fmla="*/ 285 h 285"/>
              <a:gd name="T2" fmla="*/ 0 w 285"/>
              <a:gd name="T3" fmla="*/ 143 h 285"/>
              <a:gd name="T4" fmla="*/ 142 w 285"/>
              <a:gd name="T5" fmla="*/ 0 h 285"/>
              <a:gd name="T6" fmla="*/ 285 w 285"/>
              <a:gd name="T7" fmla="*/ 143 h 285"/>
              <a:gd name="T8" fmla="*/ 142 w 285"/>
              <a:gd name="T9" fmla="*/ 285 h 285"/>
              <a:gd name="T10" fmla="*/ 142 w 285"/>
              <a:gd name="T11" fmla="*/ 12 h 285"/>
              <a:gd name="T12" fmla="*/ 12 w 285"/>
              <a:gd name="T13" fmla="*/ 143 h 285"/>
              <a:gd name="T14" fmla="*/ 142 w 285"/>
              <a:gd name="T15" fmla="*/ 273 h 285"/>
              <a:gd name="T16" fmla="*/ 273 w 285"/>
              <a:gd name="T17" fmla="*/ 143 h 285"/>
              <a:gd name="T18" fmla="*/ 142 w 285"/>
              <a:gd name="T19" fmla="*/ 12 h 2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85" h="285">
                <a:moveTo>
                  <a:pt x="142" y="285"/>
                </a:moveTo>
                <a:cubicBezTo>
                  <a:pt x="64" y="285"/>
                  <a:pt x="0" y="221"/>
                  <a:pt x="0" y="143"/>
                </a:cubicBezTo>
                <a:cubicBezTo>
                  <a:pt x="0" y="64"/>
                  <a:pt x="64" y="0"/>
                  <a:pt x="142" y="0"/>
                </a:cubicBezTo>
                <a:cubicBezTo>
                  <a:pt x="221" y="0"/>
                  <a:pt x="285" y="64"/>
                  <a:pt x="285" y="143"/>
                </a:cubicBezTo>
                <a:cubicBezTo>
                  <a:pt x="285" y="221"/>
                  <a:pt x="221" y="285"/>
                  <a:pt x="142" y="285"/>
                </a:cubicBezTo>
                <a:close/>
                <a:moveTo>
                  <a:pt x="142" y="12"/>
                </a:moveTo>
                <a:cubicBezTo>
                  <a:pt x="70" y="12"/>
                  <a:pt x="12" y="71"/>
                  <a:pt x="12" y="143"/>
                </a:cubicBezTo>
                <a:cubicBezTo>
                  <a:pt x="12" y="214"/>
                  <a:pt x="70" y="273"/>
                  <a:pt x="142" y="273"/>
                </a:cubicBezTo>
                <a:cubicBezTo>
                  <a:pt x="214" y="273"/>
                  <a:pt x="273" y="214"/>
                  <a:pt x="273" y="143"/>
                </a:cubicBezTo>
                <a:cubicBezTo>
                  <a:pt x="273" y="71"/>
                  <a:pt x="214" y="12"/>
                  <a:pt x="142" y="12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116" name="Freeform 381">
            <a:extLst>
              <a:ext uri="{FF2B5EF4-FFF2-40B4-BE49-F238E27FC236}">
                <a16:creationId xmlns:a16="http://schemas.microsoft.com/office/drawing/2014/main" id="{6F938333-07BA-C538-D0CD-BC61399058A5}"/>
              </a:ext>
            </a:extLst>
          </p:cNvPr>
          <p:cNvSpPr>
            <a:spLocks noEditPoints="1"/>
          </p:cNvSpPr>
          <p:nvPr/>
        </p:nvSpPr>
        <p:spPr bwMode="auto">
          <a:xfrm>
            <a:off x="9847798" y="3287288"/>
            <a:ext cx="347320" cy="356005"/>
          </a:xfrm>
          <a:custGeom>
            <a:avLst/>
            <a:gdLst>
              <a:gd name="T0" fmla="*/ 119 w 145"/>
              <a:gd name="T1" fmla="*/ 146 h 146"/>
              <a:gd name="T2" fmla="*/ 100 w 145"/>
              <a:gd name="T3" fmla="*/ 138 h 146"/>
              <a:gd name="T4" fmla="*/ 2 w 145"/>
              <a:gd name="T5" fmla="*/ 40 h 146"/>
              <a:gd name="T6" fmla="*/ 2 w 145"/>
              <a:gd name="T7" fmla="*/ 32 h 146"/>
              <a:gd name="T8" fmla="*/ 31 w 145"/>
              <a:gd name="T9" fmla="*/ 3 h 146"/>
              <a:gd name="T10" fmla="*/ 40 w 145"/>
              <a:gd name="T11" fmla="*/ 3 h 146"/>
              <a:gd name="T12" fmla="*/ 138 w 145"/>
              <a:gd name="T13" fmla="*/ 100 h 146"/>
              <a:gd name="T14" fmla="*/ 145 w 145"/>
              <a:gd name="T15" fmla="*/ 119 h 146"/>
              <a:gd name="T16" fmla="*/ 138 w 145"/>
              <a:gd name="T17" fmla="*/ 138 h 146"/>
              <a:gd name="T18" fmla="*/ 119 w 145"/>
              <a:gd name="T19" fmla="*/ 146 h 146"/>
              <a:gd name="T20" fmla="*/ 15 w 145"/>
              <a:gd name="T21" fmla="*/ 36 h 146"/>
              <a:gd name="T22" fmla="*/ 109 w 145"/>
              <a:gd name="T23" fmla="*/ 129 h 146"/>
              <a:gd name="T24" fmla="*/ 109 w 145"/>
              <a:gd name="T25" fmla="*/ 129 h 146"/>
              <a:gd name="T26" fmla="*/ 129 w 145"/>
              <a:gd name="T27" fmla="*/ 129 h 146"/>
              <a:gd name="T28" fmla="*/ 133 w 145"/>
              <a:gd name="T29" fmla="*/ 119 h 146"/>
              <a:gd name="T30" fmla="*/ 129 w 145"/>
              <a:gd name="T31" fmla="*/ 109 h 146"/>
              <a:gd name="T32" fmla="*/ 36 w 145"/>
              <a:gd name="T33" fmla="*/ 16 h 146"/>
              <a:gd name="T34" fmla="*/ 15 w 145"/>
              <a:gd name="T35" fmla="*/ 36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45" h="146">
                <a:moveTo>
                  <a:pt x="119" y="146"/>
                </a:moveTo>
                <a:cubicBezTo>
                  <a:pt x="112" y="146"/>
                  <a:pt x="105" y="143"/>
                  <a:pt x="100" y="138"/>
                </a:cubicBezTo>
                <a:cubicBezTo>
                  <a:pt x="2" y="40"/>
                  <a:pt x="2" y="40"/>
                  <a:pt x="2" y="40"/>
                </a:cubicBezTo>
                <a:cubicBezTo>
                  <a:pt x="0" y="38"/>
                  <a:pt x="0" y="34"/>
                  <a:pt x="2" y="32"/>
                </a:cubicBezTo>
                <a:cubicBezTo>
                  <a:pt x="31" y="3"/>
                  <a:pt x="31" y="3"/>
                  <a:pt x="31" y="3"/>
                </a:cubicBezTo>
                <a:cubicBezTo>
                  <a:pt x="34" y="0"/>
                  <a:pt x="38" y="0"/>
                  <a:pt x="40" y="3"/>
                </a:cubicBezTo>
                <a:cubicBezTo>
                  <a:pt x="138" y="100"/>
                  <a:pt x="138" y="100"/>
                  <a:pt x="138" y="100"/>
                </a:cubicBezTo>
                <a:cubicBezTo>
                  <a:pt x="143" y="105"/>
                  <a:pt x="145" y="112"/>
                  <a:pt x="145" y="119"/>
                </a:cubicBezTo>
                <a:cubicBezTo>
                  <a:pt x="145" y="126"/>
                  <a:pt x="143" y="133"/>
                  <a:pt x="138" y="138"/>
                </a:cubicBezTo>
                <a:cubicBezTo>
                  <a:pt x="132" y="143"/>
                  <a:pt x="126" y="146"/>
                  <a:pt x="119" y="146"/>
                </a:cubicBezTo>
                <a:close/>
                <a:moveTo>
                  <a:pt x="15" y="36"/>
                </a:moveTo>
                <a:cubicBezTo>
                  <a:pt x="109" y="129"/>
                  <a:pt x="109" y="129"/>
                  <a:pt x="109" y="129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14" y="135"/>
                  <a:pt x="123" y="135"/>
                  <a:pt x="129" y="129"/>
                </a:cubicBezTo>
                <a:cubicBezTo>
                  <a:pt x="132" y="126"/>
                  <a:pt x="133" y="123"/>
                  <a:pt x="133" y="119"/>
                </a:cubicBezTo>
                <a:cubicBezTo>
                  <a:pt x="133" y="115"/>
                  <a:pt x="132" y="112"/>
                  <a:pt x="129" y="109"/>
                </a:cubicBezTo>
                <a:cubicBezTo>
                  <a:pt x="36" y="16"/>
                  <a:pt x="36" y="16"/>
                  <a:pt x="36" y="16"/>
                </a:cubicBezTo>
                <a:lnTo>
                  <a:pt x="15" y="3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117" name="Freeform 382">
            <a:extLst>
              <a:ext uri="{FF2B5EF4-FFF2-40B4-BE49-F238E27FC236}">
                <a16:creationId xmlns:a16="http://schemas.microsoft.com/office/drawing/2014/main" id="{DD646737-57EF-B544-35B5-9665FBEF2DD4}"/>
              </a:ext>
            </a:extLst>
          </p:cNvPr>
          <p:cNvSpPr>
            <a:spLocks/>
          </p:cNvSpPr>
          <p:nvPr/>
        </p:nvSpPr>
        <p:spPr bwMode="auto">
          <a:xfrm>
            <a:off x="9439698" y="2879185"/>
            <a:ext cx="243122" cy="243122"/>
          </a:xfrm>
          <a:custGeom>
            <a:avLst/>
            <a:gdLst>
              <a:gd name="T0" fmla="*/ 6 w 99"/>
              <a:gd name="T1" fmla="*/ 100 h 100"/>
              <a:gd name="T2" fmla="*/ 0 w 99"/>
              <a:gd name="T3" fmla="*/ 94 h 100"/>
              <a:gd name="T4" fmla="*/ 93 w 99"/>
              <a:gd name="T5" fmla="*/ 0 h 100"/>
              <a:gd name="T6" fmla="*/ 99 w 99"/>
              <a:gd name="T7" fmla="*/ 6 h 100"/>
              <a:gd name="T8" fmla="*/ 93 w 99"/>
              <a:gd name="T9" fmla="*/ 12 h 100"/>
              <a:gd name="T10" fmla="*/ 12 w 99"/>
              <a:gd name="T11" fmla="*/ 94 h 100"/>
              <a:gd name="T12" fmla="*/ 6 w 99"/>
              <a:gd name="T13" fmla="*/ 100 h 1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99" h="100">
                <a:moveTo>
                  <a:pt x="6" y="100"/>
                </a:moveTo>
                <a:cubicBezTo>
                  <a:pt x="3" y="100"/>
                  <a:pt x="0" y="97"/>
                  <a:pt x="0" y="94"/>
                </a:cubicBezTo>
                <a:cubicBezTo>
                  <a:pt x="0" y="42"/>
                  <a:pt x="42" y="0"/>
                  <a:pt x="93" y="0"/>
                </a:cubicBezTo>
                <a:cubicBezTo>
                  <a:pt x="97" y="0"/>
                  <a:pt x="99" y="3"/>
                  <a:pt x="99" y="6"/>
                </a:cubicBezTo>
                <a:cubicBezTo>
                  <a:pt x="99" y="10"/>
                  <a:pt x="97" y="12"/>
                  <a:pt x="93" y="12"/>
                </a:cubicBezTo>
                <a:cubicBezTo>
                  <a:pt x="48" y="12"/>
                  <a:pt x="12" y="49"/>
                  <a:pt x="12" y="94"/>
                </a:cubicBezTo>
                <a:cubicBezTo>
                  <a:pt x="12" y="97"/>
                  <a:pt x="9" y="100"/>
                  <a:pt x="6" y="10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118" name="Freeform 44">
            <a:extLst>
              <a:ext uri="{FF2B5EF4-FFF2-40B4-BE49-F238E27FC236}">
                <a16:creationId xmlns:a16="http://schemas.microsoft.com/office/drawing/2014/main" id="{C0148219-A1D4-1A70-E5BB-E34B27DD1BBF}"/>
              </a:ext>
            </a:extLst>
          </p:cNvPr>
          <p:cNvSpPr>
            <a:spLocks noEditPoints="1"/>
          </p:cNvSpPr>
          <p:nvPr/>
        </p:nvSpPr>
        <p:spPr bwMode="auto">
          <a:xfrm>
            <a:off x="4668607" y="2968624"/>
            <a:ext cx="461480" cy="461485"/>
          </a:xfrm>
          <a:custGeom>
            <a:avLst/>
            <a:gdLst>
              <a:gd name="T0" fmla="*/ 114 w 228"/>
              <a:gd name="T1" fmla="*/ 228 h 228"/>
              <a:gd name="T2" fmla="*/ 0 w 228"/>
              <a:gd name="T3" fmla="*/ 114 h 228"/>
              <a:gd name="T4" fmla="*/ 114 w 228"/>
              <a:gd name="T5" fmla="*/ 0 h 228"/>
              <a:gd name="T6" fmla="*/ 228 w 228"/>
              <a:gd name="T7" fmla="*/ 114 h 228"/>
              <a:gd name="T8" fmla="*/ 114 w 228"/>
              <a:gd name="T9" fmla="*/ 228 h 228"/>
              <a:gd name="T10" fmla="*/ 114 w 228"/>
              <a:gd name="T11" fmla="*/ 12 h 228"/>
              <a:gd name="T12" fmla="*/ 12 w 228"/>
              <a:gd name="T13" fmla="*/ 114 h 228"/>
              <a:gd name="T14" fmla="*/ 114 w 228"/>
              <a:gd name="T15" fmla="*/ 216 h 228"/>
              <a:gd name="T16" fmla="*/ 216 w 228"/>
              <a:gd name="T17" fmla="*/ 114 h 228"/>
              <a:gd name="T18" fmla="*/ 114 w 228"/>
              <a:gd name="T19" fmla="*/ 12 h 2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28" h="228">
                <a:moveTo>
                  <a:pt x="114" y="228"/>
                </a:moveTo>
                <a:cubicBezTo>
                  <a:pt x="51" y="228"/>
                  <a:pt x="0" y="177"/>
                  <a:pt x="0" y="114"/>
                </a:cubicBezTo>
                <a:cubicBezTo>
                  <a:pt x="0" y="51"/>
                  <a:pt x="51" y="0"/>
                  <a:pt x="114" y="0"/>
                </a:cubicBezTo>
                <a:cubicBezTo>
                  <a:pt x="177" y="0"/>
                  <a:pt x="228" y="51"/>
                  <a:pt x="228" y="114"/>
                </a:cubicBezTo>
                <a:cubicBezTo>
                  <a:pt x="228" y="177"/>
                  <a:pt x="177" y="228"/>
                  <a:pt x="114" y="228"/>
                </a:cubicBezTo>
                <a:close/>
                <a:moveTo>
                  <a:pt x="114" y="12"/>
                </a:moveTo>
                <a:cubicBezTo>
                  <a:pt x="58" y="12"/>
                  <a:pt x="12" y="58"/>
                  <a:pt x="12" y="114"/>
                </a:cubicBezTo>
                <a:cubicBezTo>
                  <a:pt x="12" y="170"/>
                  <a:pt x="58" y="216"/>
                  <a:pt x="114" y="216"/>
                </a:cubicBezTo>
                <a:cubicBezTo>
                  <a:pt x="170" y="216"/>
                  <a:pt x="216" y="170"/>
                  <a:pt x="216" y="114"/>
                </a:cubicBezTo>
                <a:cubicBezTo>
                  <a:pt x="216" y="58"/>
                  <a:pt x="170" y="12"/>
                  <a:pt x="114" y="12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119" name="Freeform 45">
            <a:extLst>
              <a:ext uri="{FF2B5EF4-FFF2-40B4-BE49-F238E27FC236}">
                <a16:creationId xmlns:a16="http://schemas.microsoft.com/office/drawing/2014/main" id="{C7CAFA5C-815A-779C-4854-3D8AEBBA30DD}"/>
              </a:ext>
            </a:extLst>
          </p:cNvPr>
          <p:cNvSpPr>
            <a:spLocks noEditPoints="1"/>
          </p:cNvSpPr>
          <p:nvPr/>
        </p:nvSpPr>
        <p:spPr bwMode="auto">
          <a:xfrm>
            <a:off x="4463503" y="2763522"/>
            <a:ext cx="879008" cy="871691"/>
          </a:xfrm>
          <a:custGeom>
            <a:avLst/>
            <a:gdLst>
              <a:gd name="T0" fmla="*/ 204 w 432"/>
              <a:gd name="T1" fmla="*/ 432 h 432"/>
              <a:gd name="T2" fmla="*/ 172 w 432"/>
              <a:gd name="T3" fmla="*/ 379 h 432"/>
              <a:gd name="T4" fmla="*/ 116 w 432"/>
              <a:gd name="T5" fmla="*/ 378 h 432"/>
              <a:gd name="T6" fmla="*/ 54 w 432"/>
              <a:gd name="T7" fmla="*/ 360 h 432"/>
              <a:gd name="T8" fmla="*/ 54 w 432"/>
              <a:gd name="T9" fmla="*/ 316 h 432"/>
              <a:gd name="T10" fmla="*/ 53 w 432"/>
              <a:gd name="T11" fmla="*/ 260 h 432"/>
              <a:gd name="T12" fmla="*/ 0 w 432"/>
              <a:gd name="T13" fmla="*/ 228 h 432"/>
              <a:gd name="T14" fmla="*/ 31 w 432"/>
              <a:gd name="T15" fmla="*/ 172 h 432"/>
              <a:gd name="T16" fmla="*/ 70 w 432"/>
              <a:gd name="T17" fmla="*/ 132 h 432"/>
              <a:gd name="T18" fmla="*/ 45 w 432"/>
              <a:gd name="T19" fmla="*/ 94 h 432"/>
              <a:gd name="T20" fmla="*/ 72 w 432"/>
              <a:gd name="T21" fmla="*/ 54 h 432"/>
              <a:gd name="T22" fmla="*/ 132 w 432"/>
              <a:gd name="T23" fmla="*/ 70 h 432"/>
              <a:gd name="T24" fmla="*/ 172 w 432"/>
              <a:gd name="T25" fmla="*/ 31 h 432"/>
              <a:gd name="T26" fmla="*/ 229 w 432"/>
              <a:gd name="T27" fmla="*/ 0 h 432"/>
              <a:gd name="T28" fmla="*/ 260 w 432"/>
              <a:gd name="T29" fmla="*/ 53 h 432"/>
              <a:gd name="T30" fmla="*/ 316 w 432"/>
              <a:gd name="T31" fmla="*/ 54 h 432"/>
              <a:gd name="T32" fmla="*/ 378 w 432"/>
              <a:gd name="T33" fmla="*/ 72 h 432"/>
              <a:gd name="T34" fmla="*/ 378 w 432"/>
              <a:gd name="T35" fmla="*/ 116 h 432"/>
              <a:gd name="T36" fmla="*/ 379 w 432"/>
              <a:gd name="T37" fmla="*/ 172 h 432"/>
              <a:gd name="T38" fmla="*/ 432 w 432"/>
              <a:gd name="T39" fmla="*/ 203 h 432"/>
              <a:gd name="T40" fmla="*/ 401 w 432"/>
              <a:gd name="T41" fmla="*/ 260 h 432"/>
              <a:gd name="T42" fmla="*/ 362 w 432"/>
              <a:gd name="T43" fmla="*/ 300 h 432"/>
              <a:gd name="T44" fmla="*/ 387 w 432"/>
              <a:gd name="T45" fmla="*/ 338 h 432"/>
              <a:gd name="T46" fmla="*/ 360 w 432"/>
              <a:gd name="T47" fmla="*/ 378 h 432"/>
              <a:gd name="T48" fmla="*/ 300 w 432"/>
              <a:gd name="T49" fmla="*/ 362 h 432"/>
              <a:gd name="T50" fmla="*/ 260 w 432"/>
              <a:gd name="T51" fmla="*/ 401 h 432"/>
              <a:gd name="T52" fmla="*/ 131 w 432"/>
              <a:gd name="T53" fmla="*/ 348 h 432"/>
              <a:gd name="T54" fmla="*/ 180 w 432"/>
              <a:gd name="T55" fmla="*/ 368 h 432"/>
              <a:gd name="T56" fmla="*/ 185 w 432"/>
              <a:gd name="T57" fmla="*/ 401 h 432"/>
              <a:gd name="T58" fmla="*/ 229 w 432"/>
              <a:gd name="T59" fmla="*/ 420 h 432"/>
              <a:gd name="T60" fmla="*/ 248 w 432"/>
              <a:gd name="T61" fmla="*/ 374 h 432"/>
              <a:gd name="T62" fmla="*/ 298 w 432"/>
              <a:gd name="T63" fmla="*/ 349 h 432"/>
              <a:gd name="T64" fmla="*/ 325 w 432"/>
              <a:gd name="T65" fmla="*/ 369 h 432"/>
              <a:gd name="T66" fmla="*/ 369 w 432"/>
              <a:gd name="T67" fmla="*/ 351 h 432"/>
              <a:gd name="T68" fmla="*/ 351 w 432"/>
              <a:gd name="T69" fmla="*/ 306 h 432"/>
              <a:gd name="T70" fmla="*/ 349 w 432"/>
              <a:gd name="T71" fmla="*/ 298 h 432"/>
              <a:gd name="T72" fmla="*/ 374 w 432"/>
              <a:gd name="T73" fmla="*/ 247 h 432"/>
              <a:gd name="T74" fmla="*/ 420 w 432"/>
              <a:gd name="T75" fmla="*/ 228 h 432"/>
              <a:gd name="T76" fmla="*/ 401 w 432"/>
              <a:gd name="T77" fmla="*/ 184 h 432"/>
              <a:gd name="T78" fmla="*/ 368 w 432"/>
              <a:gd name="T79" fmla="*/ 180 h 432"/>
              <a:gd name="T80" fmla="*/ 350 w 432"/>
              <a:gd name="T81" fmla="*/ 126 h 432"/>
              <a:gd name="T82" fmla="*/ 369 w 432"/>
              <a:gd name="T83" fmla="*/ 80 h 432"/>
              <a:gd name="T84" fmla="*/ 325 w 432"/>
              <a:gd name="T85" fmla="*/ 63 h 432"/>
              <a:gd name="T86" fmla="*/ 298 w 432"/>
              <a:gd name="T87" fmla="*/ 83 h 432"/>
              <a:gd name="T88" fmla="*/ 248 w 432"/>
              <a:gd name="T89" fmla="*/ 58 h 432"/>
              <a:gd name="T90" fmla="*/ 229 w 432"/>
              <a:gd name="T91" fmla="*/ 12 h 432"/>
              <a:gd name="T92" fmla="*/ 185 w 432"/>
              <a:gd name="T93" fmla="*/ 31 h 432"/>
              <a:gd name="T94" fmla="*/ 180 w 432"/>
              <a:gd name="T95" fmla="*/ 64 h 432"/>
              <a:gd name="T96" fmla="*/ 127 w 432"/>
              <a:gd name="T97" fmla="*/ 82 h 432"/>
              <a:gd name="T98" fmla="*/ 81 w 432"/>
              <a:gd name="T99" fmla="*/ 63 h 432"/>
              <a:gd name="T100" fmla="*/ 57 w 432"/>
              <a:gd name="T101" fmla="*/ 94 h 432"/>
              <a:gd name="T102" fmla="*/ 82 w 432"/>
              <a:gd name="T103" fmla="*/ 126 h 432"/>
              <a:gd name="T104" fmla="*/ 64 w 432"/>
              <a:gd name="T105" fmla="*/ 180 h 432"/>
              <a:gd name="T106" fmla="*/ 31 w 432"/>
              <a:gd name="T107" fmla="*/ 184 h 432"/>
              <a:gd name="T108" fmla="*/ 12 w 432"/>
              <a:gd name="T109" fmla="*/ 228 h 432"/>
              <a:gd name="T110" fmla="*/ 58 w 432"/>
              <a:gd name="T111" fmla="*/ 247 h 432"/>
              <a:gd name="T112" fmla="*/ 83 w 432"/>
              <a:gd name="T113" fmla="*/ 298 h 432"/>
              <a:gd name="T114" fmla="*/ 82 w 432"/>
              <a:gd name="T115" fmla="*/ 306 h 432"/>
              <a:gd name="T116" fmla="*/ 57 w 432"/>
              <a:gd name="T117" fmla="*/ 338 h 432"/>
              <a:gd name="T118" fmla="*/ 81 w 432"/>
              <a:gd name="T119" fmla="*/ 369 h 432"/>
              <a:gd name="T120" fmla="*/ 126 w 432"/>
              <a:gd name="T121" fmla="*/ 350 h 4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432" h="432">
                <a:moveTo>
                  <a:pt x="229" y="432"/>
                </a:moveTo>
                <a:cubicBezTo>
                  <a:pt x="204" y="432"/>
                  <a:pt x="204" y="432"/>
                  <a:pt x="204" y="432"/>
                </a:cubicBezTo>
                <a:cubicBezTo>
                  <a:pt x="186" y="432"/>
                  <a:pt x="172" y="418"/>
                  <a:pt x="172" y="401"/>
                </a:cubicBezTo>
                <a:cubicBezTo>
                  <a:pt x="172" y="379"/>
                  <a:pt x="172" y="379"/>
                  <a:pt x="172" y="379"/>
                </a:cubicBezTo>
                <a:cubicBezTo>
                  <a:pt x="158" y="375"/>
                  <a:pt x="145" y="369"/>
                  <a:pt x="132" y="362"/>
                </a:cubicBezTo>
                <a:cubicBezTo>
                  <a:pt x="116" y="378"/>
                  <a:pt x="116" y="378"/>
                  <a:pt x="116" y="378"/>
                </a:cubicBezTo>
                <a:cubicBezTo>
                  <a:pt x="104" y="390"/>
                  <a:pt x="84" y="390"/>
                  <a:pt x="72" y="378"/>
                </a:cubicBezTo>
                <a:cubicBezTo>
                  <a:pt x="54" y="360"/>
                  <a:pt x="54" y="360"/>
                  <a:pt x="54" y="360"/>
                </a:cubicBezTo>
                <a:cubicBezTo>
                  <a:pt x="48" y="354"/>
                  <a:pt x="45" y="346"/>
                  <a:pt x="45" y="338"/>
                </a:cubicBezTo>
                <a:cubicBezTo>
                  <a:pt x="45" y="329"/>
                  <a:pt x="48" y="322"/>
                  <a:pt x="54" y="316"/>
                </a:cubicBezTo>
                <a:cubicBezTo>
                  <a:pt x="70" y="300"/>
                  <a:pt x="70" y="300"/>
                  <a:pt x="70" y="300"/>
                </a:cubicBezTo>
                <a:cubicBezTo>
                  <a:pt x="63" y="287"/>
                  <a:pt x="57" y="274"/>
                  <a:pt x="53" y="260"/>
                </a:cubicBezTo>
                <a:cubicBezTo>
                  <a:pt x="31" y="260"/>
                  <a:pt x="31" y="260"/>
                  <a:pt x="31" y="260"/>
                </a:cubicBezTo>
                <a:cubicBezTo>
                  <a:pt x="14" y="260"/>
                  <a:pt x="0" y="246"/>
                  <a:pt x="0" y="228"/>
                </a:cubicBezTo>
                <a:cubicBezTo>
                  <a:pt x="0" y="203"/>
                  <a:pt x="0" y="203"/>
                  <a:pt x="0" y="203"/>
                </a:cubicBezTo>
                <a:cubicBezTo>
                  <a:pt x="0" y="186"/>
                  <a:pt x="14" y="172"/>
                  <a:pt x="31" y="172"/>
                </a:cubicBezTo>
                <a:cubicBezTo>
                  <a:pt x="53" y="172"/>
                  <a:pt x="53" y="172"/>
                  <a:pt x="53" y="172"/>
                </a:cubicBezTo>
                <a:cubicBezTo>
                  <a:pt x="57" y="158"/>
                  <a:pt x="63" y="144"/>
                  <a:pt x="70" y="132"/>
                </a:cubicBezTo>
                <a:cubicBezTo>
                  <a:pt x="54" y="116"/>
                  <a:pt x="54" y="116"/>
                  <a:pt x="54" y="116"/>
                </a:cubicBezTo>
                <a:cubicBezTo>
                  <a:pt x="48" y="110"/>
                  <a:pt x="45" y="102"/>
                  <a:pt x="45" y="94"/>
                </a:cubicBezTo>
                <a:cubicBezTo>
                  <a:pt x="45" y="85"/>
                  <a:pt x="48" y="78"/>
                  <a:pt x="54" y="72"/>
                </a:cubicBezTo>
                <a:cubicBezTo>
                  <a:pt x="72" y="54"/>
                  <a:pt x="72" y="54"/>
                  <a:pt x="72" y="54"/>
                </a:cubicBezTo>
                <a:cubicBezTo>
                  <a:pt x="84" y="42"/>
                  <a:pt x="104" y="42"/>
                  <a:pt x="116" y="54"/>
                </a:cubicBezTo>
                <a:cubicBezTo>
                  <a:pt x="132" y="70"/>
                  <a:pt x="132" y="70"/>
                  <a:pt x="132" y="70"/>
                </a:cubicBezTo>
                <a:cubicBezTo>
                  <a:pt x="145" y="62"/>
                  <a:pt x="158" y="57"/>
                  <a:pt x="172" y="53"/>
                </a:cubicBezTo>
                <a:cubicBezTo>
                  <a:pt x="172" y="31"/>
                  <a:pt x="172" y="31"/>
                  <a:pt x="172" y="31"/>
                </a:cubicBezTo>
                <a:cubicBezTo>
                  <a:pt x="172" y="14"/>
                  <a:pt x="186" y="0"/>
                  <a:pt x="204" y="0"/>
                </a:cubicBezTo>
                <a:cubicBezTo>
                  <a:pt x="229" y="0"/>
                  <a:pt x="229" y="0"/>
                  <a:pt x="229" y="0"/>
                </a:cubicBezTo>
                <a:cubicBezTo>
                  <a:pt x="246" y="0"/>
                  <a:pt x="260" y="14"/>
                  <a:pt x="260" y="31"/>
                </a:cubicBezTo>
                <a:cubicBezTo>
                  <a:pt x="260" y="53"/>
                  <a:pt x="260" y="53"/>
                  <a:pt x="260" y="53"/>
                </a:cubicBezTo>
                <a:cubicBezTo>
                  <a:pt x="274" y="57"/>
                  <a:pt x="288" y="62"/>
                  <a:pt x="300" y="70"/>
                </a:cubicBezTo>
                <a:cubicBezTo>
                  <a:pt x="316" y="54"/>
                  <a:pt x="316" y="54"/>
                  <a:pt x="316" y="54"/>
                </a:cubicBezTo>
                <a:cubicBezTo>
                  <a:pt x="328" y="42"/>
                  <a:pt x="348" y="42"/>
                  <a:pt x="360" y="54"/>
                </a:cubicBezTo>
                <a:cubicBezTo>
                  <a:pt x="378" y="72"/>
                  <a:pt x="378" y="72"/>
                  <a:pt x="378" y="72"/>
                </a:cubicBezTo>
                <a:cubicBezTo>
                  <a:pt x="384" y="78"/>
                  <a:pt x="387" y="85"/>
                  <a:pt x="387" y="94"/>
                </a:cubicBezTo>
                <a:cubicBezTo>
                  <a:pt x="387" y="102"/>
                  <a:pt x="384" y="110"/>
                  <a:pt x="378" y="116"/>
                </a:cubicBezTo>
                <a:cubicBezTo>
                  <a:pt x="362" y="132"/>
                  <a:pt x="362" y="132"/>
                  <a:pt x="362" y="132"/>
                </a:cubicBezTo>
                <a:cubicBezTo>
                  <a:pt x="370" y="144"/>
                  <a:pt x="375" y="158"/>
                  <a:pt x="379" y="172"/>
                </a:cubicBezTo>
                <a:cubicBezTo>
                  <a:pt x="401" y="172"/>
                  <a:pt x="401" y="172"/>
                  <a:pt x="401" y="172"/>
                </a:cubicBezTo>
                <a:cubicBezTo>
                  <a:pt x="418" y="172"/>
                  <a:pt x="432" y="186"/>
                  <a:pt x="432" y="203"/>
                </a:cubicBezTo>
                <a:cubicBezTo>
                  <a:pt x="432" y="228"/>
                  <a:pt x="432" y="228"/>
                  <a:pt x="432" y="228"/>
                </a:cubicBezTo>
                <a:cubicBezTo>
                  <a:pt x="432" y="246"/>
                  <a:pt x="418" y="260"/>
                  <a:pt x="401" y="260"/>
                </a:cubicBezTo>
                <a:cubicBezTo>
                  <a:pt x="379" y="260"/>
                  <a:pt x="379" y="260"/>
                  <a:pt x="379" y="260"/>
                </a:cubicBezTo>
                <a:cubicBezTo>
                  <a:pt x="375" y="274"/>
                  <a:pt x="370" y="287"/>
                  <a:pt x="362" y="300"/>
                </a:cubicBezTo>
                <a:cubicBezTo>
                  <a:pt x="378" y="316"/>
                  <a:pt x="378" y="316"/>
                  <a:pt x="378" y="316"/>
                </a:cubicBezTo>
                <a:cubicBezTo>
                  <a:pt x="384" y="322"/>
                  <a:pt x="387" y="329"/>
                  <a:pt x="387" y="338"/>
                </a:cubicBezTo>
                <a:cubicBezTo>
                  <a:pt x="387" y="346"/>
                  <a:pt x="384" y="354"/>
                  <a:pt x="378" y="360"/>
                </a:cubicBezTo>
                <a:cubicBezTo>
                  <a:pt x="360" y="378"/>
                  <a:pt x="360" y="378"/>
                  <a:pt x="360" y="378"/>
                </a:cubicBezTo>
                <a:cubicBezTo>
                  <a:pt x="348" y="390"/>
                  <a:pt x="328" y="390"/>
                  <a:pt x="316" y="378"/>
                </a:cubicBezTo>
                <a:cubicBezTo>
                  <a:pt x="300" y="362"/>
                  <a:pt x="300" y="362"/>
                  <a:pt x="300" y="362"/>
                </a:cubicBezTo>
                <a:cubicBezTo>
                  <a:pt x="288" y="369"/>
                  <a:pt x="274" y="375"/>
                  <a:pt x="260" y="379"/>
                </a:cubicBezTo>
                <a:cubicBezTo>
                  <a:pt x="260" y="401"/>
                  <a:pt x="260" y="401"/>
                  <a:pt x="260" y="401"/>
                </a:cubicBezTo>
                <a:cubicBezTo>
                  <a:pt x="260" y="418"/>
                  <a:pt x="246" y="432"/>
                  <a:pt x="229" y="432"/>
                </a:cubicBezTo>
                <a:close/>
                <a:moveTo>
                  <a:pt x="131" y="348"/>
                </a:moveTo>
                <a:cubicBezTo>
                  <a:pt x="132" y="348"/>
                  <a:pt x="133" y="349"/>
                  <a:pt x="134" y="349"/>
                </a:cubicBezTo>
                <a:cubicBezTo>
                  <a:pt x="148" y="358"/>
                  <a:pt x="164" y="364"/>
                  <a:pt x="180" y="368"/>
                </a:cubicBezTo>
                <a:cubicBezTo>
                  <a:pt x="183" y="369"/>
                  <a:pt x="185" y="371"/>
                  <a:pt x="185" y="374"/>
                </a:cubicBezTo>
                <a:cubicBezTo>
                  <a:pt x="185" y="401"/>
                  <a:pt x="185" y="401"/>
                  <a:pt x="185" y="401"/>
                </a:cubicBezTo>
                <a:cubicBezTo>
                  <a:pt x="185" y="411"/>
                  <a:pt x="193" y="420"/>
                  <a:pt x="204" y="420"/>
                </a:cubicBezTo>
                <a:cubicBezTo>
                  <a:pt x="229" y="420"/>
                  <a:pt x="229" y="420"/>
                  <a:pt x="229" y="420"/>
                </a:cubicBezTo>
                <a:cubicBezTo>
                  <a:pt x="239" y="420"/>
                  <a:pt x="248" y="411"/>
                  <a:pt x="248" y="401"/>
                </a:cubicBezTo>
                <a:cubicBezTo>
                  <a:pt x="248" y="374"/>
                  <a:pt x="248" y="374"/>
                  <a:pt x="248" y="374"/>
                </a:cubicBezTo>
                <a:cubicBezTo>
                  <a:pt x="248" y="371"/>
                  <a:pt x="250" y="369"/>
                  <a:pt x="252" y="368"/>
                </a:cubicBezTo>
                <a:cubicBezTo>
                  <a:pt x="269" y="364"/>
                  <a:pt x="284" y="358"/>
                  <a:pt x="298" y="349"/>
                </a:cubicBezTo>
                <a:cubicBezTo>
                  <a:pt x="301" y="348"/>
                  <a:pt x="304" y="348"/>
                  <a:pt x="306" y="350"/>
                </a:cubicBezTo>
                <a:cubicBezTo>
                  <a:pt x="325" y="369"/>
                  <a:pt x="325" y="369"/>
                  <a:pt x="325" y="369"/>
                </a:cubicBezTo>
                <a:cubicBezTo>
                  <a:pt x="332" y="376"/>
                  <a:pt x="344" y="376"/>
                  <a:pt x="352" y="369"/>
                </a:cubicBezTo>
                <a:cubicBezTo>
                  <a:pt x="369" y="351"/>
                  <a:pt x="369" y="351"/>
                  <a:pt x="369" y="351"/>
                </a:cubicBezTo>
                <a:cubicBezTo>
                  <a:pt x="377" y="344"/>
                  <a:pt x="377" y="332"/>
                  <a:pt x="369" y="324"/>
                </a:cubicBezTo>
                <a:cubicBezTo>
                  <a:pt x="351" y="306"/>
                  <a:pt x="351" y="306"/>
                  <a:pt x="351" y="306"/>
                </a:cubicBezTo>
                <a:cubicBezTo>
                  <a:pt x="349" y="304"/>
                  <a:pt x="348" y="302"/>
                  <a:pt x="349" y="299"/>
                </a:cubicBezTo>
                <a:cubicBezTo>
                  <a:pt x="349" y="299"/>
                  <a:pt x="349" y="298"/>
                  <a:pt x="349" y="298"/>
                </a:cubicBezTo>
                <a:cubicBezTo>
                  <a:pt x="358" y="284"/>
                  <a:pt x="364" y="268"/>
                  <a:pt x="368" y="252"/>
                </a:cubicBezTo>
                <a:cubicBezTo>
                  <a:pt x="369" y="249"/>
                  <a:pt x="371" y="247"/>
                  <a:pt x="374" y="247"/>
                </a:cubicBezTo>
                <a:cubicBezTo>
                  <a:pt x="401" y="247"/>
                  <a:pt x="401" y="247"/>
                  <a:pt x="401" y="247"/>
                </a:cubicBezTo>
                <a:cubicBezTo>
                  <a:pt x="412" y="247"/>
                  <a:pt x="420" y="239"/>
                  <a:pt x="420" y="228"/>
                </a:cubicBezTo>
                <a:cubicBezTo>
                  <a:pt x="420" y="203"/>
                  <a:pt x="420" y="203"/>
                  <a:pt x="420" y="203"/>
                </a:cubicBezTo>
                <a:cubicBezTo>
                  <a:pt x="420" y="193"/>
                  <a:pt x="412" y="184"/>
                  <a:pt x="401" y="184"/>
                </a:cubicBezTo>
                <a:cubicBezTo>
                  <a:pt x="374" y="184"/>
                  <a:pt x="374" y="184"/>
                  <a:pt x="374" y="184"/>
                </a:cubicBezTo>
                <a:cubicBezTo>
                  <a:pt x="371" y="184"/>
                  <a:pt x="369" y="182"/>
                  <a:pt x="368" y="180"/>
                </a:cubicBezTo>
                <a:cubicBezTo>
                  <a:pt x="364" y="163"/>
                  <a:pt x="358" y="148"/>
                  <a:pt x="349" y="134"/>
                </a:cubicBezTo>
                <a:cubicBezTo>
                  <a:pt x="348" y="131"/>
                  <a:pt x="348" y="128"/>
                  <a:pt x="350" y="126"/>
                </a:cubicBezTo>
                <a:cubicBezTo>
                  <a:pt x="369" y="107"/>
                  <a:pt x="369" y="107"/>
                  <a:pt x="369" y="107"/>
                </a:cubicBezTo>
                <a:cubicBezTo>
                  <a:pt x="377" y="100"/>
                  <a:pt x="377" y="88"/>
                  <a:pt x="369" y="80"/>
                </a:cubicBezTo>
                <a:cubicBezTo>
                  <a:pt x="352" y="63"/>
                  <a:pt x="352" y="63"/>
                  <a:pt x="352" y="63"/>
                </a:cubicBezTo>
                <a:cubicBezTo>
                  <a:pt x="344" y="55"/>
                  <a:pt x="332" y="55"/>
                  <a:pt x="325" y="63"/>
                </a:cubicBezTo>
                <a:cubicBezTo>
                  <a:pt x="306" y="82"/>
                  <a:pt x="306" y="82"/>
                  <a:pt x="306" y="82"/>
                </a:cubicBezTo>
                <a:cubicBezTo>
                  <a:pt x="304" y="84"/>
                  <a:pt x="300" y="84"/>
                  <a:pt x="298" y="83"/>
                </a:cubicBezTo>
                <a:cubicBezTo>
                  <a:pt x="284" y="74"/>
                  <a:pt x="269" y="68"/>
                  <a:pt x="252" y="64"/>
                </a:cubicBezTo>
                <a:cubicBezTo>
                  <a:pt x="250" y="63"/>
                  <a:pt x="248" y="61"/>
                  <a:pt x="248" y="58"/>
                </a:cubicBezTo>
                <a:cubicBezTo>
                  <a:pt x="248" y="31"/>
                  <a:pt x="248" y="31"/>
                  <a:pt x="248" y="31"/>
                </a:cubicBezTo>
                <a:cubicBezTo>
                  <a:pt x="248" y="20"/>
                  <a:pt x="239" y="12"/>
                  <a:pt x="229" y="12"/>
                </a:cubicBezTo>
                <a:cubicBezTo>
                  <a:pt x="204" y="12"/>
                  <a:pt x="204" y="12"/>
                  <a:pt x="204" y="12"/>
                </a:cubicBezTo>
                <a:cubicBezTo>
                  <a:pt x="193" y="12"/>
                  <a:pt x="185" y="20"/>
                  <a:pt x="185" y="31"/>
                </a:cubicBezTo>
                <a:cubicBezTo>
                  <a:pt x="185" y="58"/>
                  <a:pt x="185" y="58"/>
                  <a:pt x="185" y="58"/>
                </a:cubicBezTo>
                <a:cubicBezTo>
                  <a:pt x="185" y="61"/>
                  <a:pt x="183" y="63"/>
                  <a:pt x="180" y="64"/>
                </a:cubicBezTo>
                <a:cubicBezTo>
                  <a:pt x="164" y="68"/>
                  <a:pt x="148" y="74"/>
                  <a:pt x="134" y="83"/>
                </a:cubicBezTo>
                <a:cubicBezTo>
                  <a:pt x="132" y="84"/>
                  <a:pt x="129" y="84"/>
                  <a:pt x="127" y="82"/>
                </a:cubicBezTo>
                <a:cubicBezTo>
                  <a:pt x="108" y="63"/>
                  <a:pt x="108" y="63"/>
                  <a:pt x="108" y="63"/>
                </a:cubicBezTo>
                <a:cubicBezTo>
                  <a:pt x="100" y="55"/>
                  <a:pt x="88" y="55"/>
                  <a:pt x="81" y="63"/>
                </a:cubicBezTo>
                <a:cubicBezTo>
                  <a:pt x="63" y="80"/>
                  <a:pt x="63" y="80"/>
                  <a:pt x="63" y="80"/>
                </a:cubicBezTo>
                <a:cubicBezTo>
                  <a:pt x="59" y="84"/>
                  <a:pt x="57" y="89"/>
                  <a:pt x="57" y="94"/>
                </a:cubicBezTo>
                <a:cubicBezTo>
                  <a:pt x="57" y="99"/>
                  <a:pt x="59" y="104"/>
                  <a:pt x="63" y="107"/>
                </a:cubicBezTo>
                <a:cubicBezTo>
                  <a:pt x="82" y="126"/>
                  <a:pt x="82" y="126"/>
                  <a:pt x="82" y="126"/>
                </a:cubicBezTo>
                <a:cubicBezTo>
                  <a:pt x="84" y="128"/>
                  <a:pt x="84" y="131"/>
                  <a:pt x="83" y="134"/>
                </a:cubicBezTo>
                <a:cubicBezTo>
                  <a:pt x="74" y="148"/>
                  <a:pt x="68" y="163"/>
                  <a:pt x="64" y="180"/>
                </a:cubicBezTo>
                <a:cubicBezTo>
                  <a:pt x="63" y="182"/>
                  <a:pt x="61" y="184"/>
                  <a:pt x="58" y="184"/>
                </a:cubicBezTo>
                <a:cubicBezTo>
                  <a:pt x="31" y="184"/>
                  <a:pt x="31" y="184"/>
                  <a:pt x="31" y="184"/>
                </a:cubicBezTo>
                <a:cubicBezTo>
                  <a:pt x="21" y="184"/>
                  <a:pt x="12" y="193"/>
                  <a:pt x="12" y="203"/>
                </a:cubicBezTo>
                <a:cubicBezTo>
                  <a:pt x="12" y="228"/>
                  <a:pt x="12" y="228"/>
                  <a:pt x="12" y="228"/>
                </a:cubicBezTo>
                <a:cubicBezTo>
                  <a:pt x="12" y="239"/>
                  <a:pt x="21" y="247"/>
                  <a:pt x="31" y="247"/>
                </a:cubicBezTo>
                <a:cubicBezTo>
                  <a:pt x="58" y="247"/>
                  <a:pt x="58" y="247"/>
                  <a:pt x="58" y="247"/>
                </a:cubicBezTo>
                <a:cubicBezTo>
                  <a:pt x="61" y="247"/>
                  <a:pt x="63" y="249"/>
                  <a:pt x="64" y="252"/>
                </a:cubicBezTo>
                <a:cubicBezTo>
                  <a:pt x="68" y="268"/>
                  <a:pt x="74" y="284"/>
                  <a:pt x="83" y="298"/>
                </a:cubicBezTo>
                <a:cubicBezTo>
                  <a:pt x="83" y="298"/>
                  <a:pt x="83" y="299"/>
                  <a:pt x="83" y="299"/>
                </a:cubicBezTo>
                <a:cubicBezTo>
                  <a:pt x="84" y="302"/>
                  <a:pt x="83" y="304"/>
                  <a:pt x="82" y="306"/>
                </a:cubicBezTo>
                <a:cubicBezTo>
                  <a:pt x="63" y="324"/>
                  <a:pt x="63" y="324"/>
                  <a:pt x="63" y="324"/>
                </a:cubicBezTo>
                <a:cubicBezTo>
                  <a:pt x="59" y="328"/>
                  <a:pt x="57" y="333"/>
                  <a:pt x="57" y="338"/>
                </a:cubicBezTo>
                <a:cubicBezTo>
                  <a:pt x="57" y="343"/>
                  <a:pt x="59" y="348"/>
                  <a:pt x="63" y="351"/>
                </a:cubicBezTo>
                <a:cubicBezTo>
                  <a:pt x="81" y="369"/>
                  <a:pt x="81" y="369"/>
                  <a:pt x="81" y="369"/>
                </a:cubicBezTo>
                <a:cubicBezTo>
                  <a:pt x="88" y="376"/>
                  <a:pt x="100" y="376"/>
                  <a:pt x="108" y="369"/>
                </a:cubicBezTo>
                <a:cubicBezTo>
                  <a:pt x="126" y="350"/>
                  <a:pt x="126" y="350"/>
                  <a:pt x="126" y="350"/>
                </a:cubicBezTo>
                <a:cubicBezTo>
                  <a:pt x="127" y="349"/>
                  <a:pt x="129" y="348"/>
                  <a:pt x="131" y="348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120" name="Freeform 156">
            <a:extLst>
              <a:ext uri="{FF2B5EF4-FFF2-40B4-BE49-F238E27FC236}">
                <a16:creationId xmlns:a16="http://schemas.microsoft.com/office/drawing/2014/main" id="{365D2701-A0E9-8136-276F-26CFFFCC9316}"/>
              </a:ext>
            </a:extLst>
          </p:cNvPr>
          <p:cNvSpPr>
            <a:spLocks noEditPoints="1"/>
          </p:cNvSpPr>
          <p:nvPr/>
        </p:nvSpPr>
        <p:spPr bwMode="auto">
          <a:xfrm>
            <a:off x="2303087" y="3065950"/>
            <a:ext cx="393687" cy="292812"/>
          </a:xfrm>
          <a:custGeom>
            <a:avLst/>
            <a:gdLst>
              <a:gd name="T0" fmla="*/ 90 w 218"/>
              <a:gd name="T1" fmla="*/ 163 h 163"/>
              <a:gd name="T2" fmla="*/ 86 w 218"/>
              <a:gd name="T3" fmla="*/ 161 h 163"/>
              <a:gd name="T4" fmla="*/ 2 w 218"/>
              <a:gd name="T5" fmla="*/ 77 h 163"/>
              <a:gd name="T6" fmla="*/ 2 w 218"/>
              <a:gd name="T7" fmla="*/ 68 h 163"/>
              <a:gd name="T8" fmla="*/ 31 w 218"/>
              <a:gd name="T9" fmla="*/ 39 h 163"/>
              <a:gd name="T10" fmla="*/ 40 w 218"/>
              <a:gd name="T11" fmla="*/ 39 h 163"/>
              <a:gd name="T12" fmla="*/ 90 w 218"/>
              <a:gd name="T13" fmla="*/ 90 h 163"/>
              <a:gd name="T14" fmla="*/ 177 w 218"/>
              <a:gd name="T15" fmla="*/ 2 h 163"/>
              <a:gd name="T16" fmla="*/ 186 w 218"/>
              <a:gd name="T17" fmla="*/ 2 h 163"/>
              <a:gd name="T18" fmla="*/ 215 w 218"/>
              <a:gd name="T19" fmla="*/ 32 h 163"/>
              <a:gd name="T20" fmla="*/ 215 w 218"/>
              <a:gd name="T21" fmla="*/ 40 h 163"/>
              <a:gd name="T22" fmla="*/ 95 w 218"/>
              <a:gd name="T23" fmla="*/ 161 h 163"/>
              <a:gd name="T24" fmla="*/ 90 w 218"/>
              <a:gd name="T25" fmla="*/ 163 h 163"/>
              <a:gd name="T26" fmla="*/ 15 w 218"/>
              <a:gd name="T27" fmla="*/ 73 h 163"/>
              <a:gd name="T28" fmla="*/ 90 w 218"/>
              <a:gd name="T29" fmla="*/ 148 h 163"/>
              <a:gd name="T30" fmla="*/ 202 w 218"/>
              <a:gd name="T31" fmla="*/ 36 h 163"/>
              <a:gd name="T32" fmla="*/ 182 w 218"/>
              <a:gd name="T33" fmla="*/ 15 h 163"/>
              <a:gd name="T34" fmla="*/ 95 w 218"/>
              <a:gd name="T35" fmla="*/ 103 h 163"/>
              <a:gd name="T36" fmla="*/ 86 w 218"/>
              <a:gd name="T37" fmla="*/ 103 h 163"/>
              <a:gd name="T38" fmla="*/ 35 w 218"/>
              <a:gd name="T39" fmla="*/ 52 h 163"/>
              <a:gd name="T40" fmla="*/ 15 w 218"/>
              <a:gd name="T41" fmla="*/ 73 h 1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18" h="163">
                <a:moveTo>
                  <a:pt x="90" y="163"/>
                </a:moveTo>
                <a:cubicBezTo>
                  <a:pt x="89" y="163"/>
                  <a:pt x="87" y="162"/>
                  <a:pt x="86" y="161"/>
                </a:cubicBezTo>
                <a:cubicBezTo>
                  <a:pt x="2" y="77"/>
                  <a:pt x="2" y="77"/>
                  <a:pt x="2" y="77"/>
                </a:cubicBezTo>
                <a:cubicBezTo>
                  <a:pt x="0" y="75"/>
                  <a:pt x="0" y="71"/>
                  <a:pt x="2" y="68"/>
                </a:cubicBezTo>
                <a:cubicBezTo>
                  <a:pt x="31" y="39"/>
                  <a:pt x="31" y="39"/>
                  <a:pt x="31" y="39"/>
                </a:cubicBezTo>
                <a:cubicBezTo>
                  <a:pt x="33" y="37"/>
                  <a:pt x="38" y="37"/>
                  <a:pt x="40" y="39"/>
                </a:cubicBezTo>
                <a:cubicBezTo>
                  <a:pt x="90" y="90"/>
                  <a:pt x="90" y="90"/>
                  <a:pt x="90" y="90"/>
                </a:cubicBezTo>
                <a:cubicBezTo>
                  <a:pt x="177" y="2"/>
                  <a:pt x="177" y="2"/>
                  <a:pt x="177" y="2"/>
                </a:cubicBezTo>
                <a:cubicBezTo>
                  <a:pt x="180" y="0"/>
                  <a:pt x="184" y="0"/>
                  <a:pt x="186" y="2"/>
                </a:cubicBezTo>
                <a:cubicBezTo>
                  <a:pt x="215" y="32"/>
                  <a:pt x="215" y="32"/>
                  <a:pt x="215" y="32"/>
                </a:cubicBezTo>
                <a:cubicBezTo>
                  <a:pt x="218" y="34"/>
                  <a:pt x="218" y="38"/>
                  <a:pt x="215" y="40"/>
                </a:cubicBezTo>
                <a:cubicBezTo>
                  <a:pt x="95" y="161"/>
                  <a:pt x="95" y="161"/>
                  <a:pt x="95" y="161"/>
                </a:cubicBezTo>
                <a:cubicBezTo>
                  <a:pt x="93" y="162"/>
                  <a:pt x="92" y="163"/>
                  <a:pt x="90" y="163"/>
                </a:cubicBezTo>
                <a:close/>
                <a:moveTo>
                  <a:pt x="15" y="73"/>
                </a:moveTo>
                <a:cubicBezTo>
                  <a:pt x="90" y="148"/>
                  <a:pt x="90" y="148"/>
                  <a:pt x="90" y="148"/>
                </a:cubicBezTo>
                <a:cubicBezTo>
                  <a:pt x="202" y="36"/>
                  <a:pt x="202" y="36"/>
                  <a:pt x="202" y="36"/>
                </a:cubicBezTo>
                <a:cubicBezTo>
                  <a:pt x="182" y="15"/>
                  <a:pt x="182" y="15"/>
                  <a:pt x="182" y="15"/>
                </a:cubicBezTo>
                <a:cubicBezTo>
                  <a:pt x="95" y="103"/>
                  <a:pt x="95" y="103"/>
                  <a:pt x="95" y="103"/>
                </a:cubicBezTo>
                <a:cubicBezTo>
                  <a:pt x="92" y="105"/>
                  <a:pt x="88" y="105"/>
                  <a:pt x="86" y="103"/>
                </a:cubicBezTo>
                <a:cubicBezTo>
                  <a:pt x="35" y="52"/>
                  <a:pt x="35" y="52"/>
                  <a:pt x="35" y="52"/>
                </a:cubicBezTo>
                <a:lnTo>
                  <a:pt x="15" y="73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121" name="Freeform 157">
            <a:extLst>
              <a:ext uri="{FF2B5EF4-FFF2-40B4-BE49-F238E27FC236}">
                <a16:creationId xmlns:a16="http://schemas.microsoft.com/office/drawing/2014/main" id="{207601B3-ACF5-6CFE-4EAE-6D4DD87E59CF}"/>
              </a:ext>
            </a:extLst>
          </p:cNvPr>
          <p:cNvSpPr>
            <a:spLocks noEditPoints="1"/>
          </p:cNvSpPr>
          <p:nvPr/>
        </p:nvSpPr>
        <p:spPr bwMode="auto">
          <a:xfrm>
            <a:off x="2106243" y="2805680"/>
            <a:ext cx="787372" cy="780821"/>
          </a:xfrm>
          <a:custGeom>
            <a:avLst/>
            <a:gdLst>
              <a:gd name="T0" fmla="*/ 191 w 436"/>
              <a:gd name="T1" fmla="*/ 422 h 433"/>
              <a:gd name="T2" fmla="*/ 116 w 436"/>
              <a:gd name="T3" fmla="*/ 397 h 433"/>
              <a:gd name="T4" fmla="*/ 93 w 436"/>
              <a:gd name="T5" fmla="*/ 381 h 433"/>
              <a:gd name="T6" fmla="*/ 55 w 436"/>
              <a:gd name="T7" fmla="*/ 344 h 433"/>
              <a:gd name="T8" fmla="*/ 20 w 436"/>
              <a:gd name="T9" fmla="*/ 301 h 433"/>
              <a:gd name="T10" fmla="*/ 20 w 436"/>
              <a:gd name="T11" fmla="*/ 272 h 433"/>
              <a:gd name="T12" fmla="*/ 14 w 436"/>
              <a:gd name="T13" fmla="*/ 244 h 433"/>
              <a:gd name="T14" fmla="*/ 19 w 436"/>
              <a:gd name="T15" fmla="*/ 165 h 433"/>
              <a:gd name="T16" fmla="*/ 40 w 436"/>
              <a:gd name="T17" fmla="*/ 116 h 433"/>
              <a:gd name="T18" fmla="*/ 55 w 436"/>
              <a:gd name="T19" fmla="*/ 93 h 433"/>
              <a:gd name="T20" fmla="*/ 115 w 436"/>
              <a:gd name="T21" fmla="*/ 40 h 433"/>
              <a:gd name="T22" fmla="*/ 164 w 436"/>
              <a:gd name="T23" fmla="*/ 21 h 433"/>
              <a:gd name="T24" fmla="*/ 191 w 436"/>
              <a:gd name="T25" fmla="*/ 15 h 433"/>
              <a:gd name="T26" fmla="*/ 271 w 436"/>
              <a:gd name="T27" fmla="*/ 20 h 433"/>
              <a:gd name="T28" fmla="*/ 319 w 436"/>
              <a:gd name="T29" fmla="*/ 41 h 433"/>
              <a:gd name="T30" fmla="*/ 343 w 436"/>
              <a:gd name="T31" fmla="*/ 56 h 433"/>
              <a:gd name="T32" fmla="*/ 395 w 436"/>
              <a:gd name="T33" fmla="*/ 116 h 433"/>
              <a:gd name="T34" fmla="*/ 415 w 436"/>
              <a:gd name="T35" fmla="*/ 164 h 433"/>
              <a:gd name="T36" fmla="*/ 420 w 436"/>
              <a:gd name="T37" fmla="*/ 191 h 433"/>
              <a:gd name="T38" fmla="*/ 421 w 436"/>
              <a:gd name="T39" fmla="*/ 244 h 433"/>
              <a:gd name="T40" fmla="*/ 416 w 436"/>
              <a:gd name="T41" fmla="*/ 271 h 433"/>
              <a:gd name="T42" fmla="*/ 395 w 436"/>
              <a:gd name="T43" fmla="*/ 320 h 433"/>
              <a:gd name="T44" fmla="*/ 380 w 436"/>
              <a:gd name="T45" fmla="*/ 344 h 433"/>
              <a:gd name="T46" fmla="*/ 320 w 436"/>
              <a:gd name="T47" fmla="*/ 396 h 433"/>
              <a:gd name="T48" fmla="*/ 272 w 436"/>
              <a:gd name="T49" fmla="*/ 416 h 433"/>
              <a:gd name="T50" fmla="*/ 244 w 436"/>
              <a:gd name="T51" fmla="*/ 421 h 433"/>
              <a:gd name="T52" fmla="*/ 218 w 436"/>
              <a:gd name="T53" fmla="*/ 433 h 433"/>
              <a:gd name="T54" fmla="*/ 200 w 436"/>
              <a:gd name="T55" fmla="*/ 413 h 433"/>
              <a:gd name="T56" fmla="*/ 236 w 436"/>
              <a:gd name="T57" fmla="*/ 412 h 433"/>
              <a:gd name="T58" fmla="*/ 277 w 436"/>
              <a:gd name="T59" fmla="*/ 405 h 433"/>
              <a:gd name="T60" fmla="*/ 309 w 436"/>
              <a:gd name="T61" fmla="*/ 391 h 433"/>
              <a:gd name="T62" fmla="*/ 368 w 436"/>
              <a:gd name="T63" fmla="*/ 344 h 433"/>
              <a:gd name="T64" fmla="*/ 390 w 436"/>
              <a:gd name="T65" fmla="*/ 309 h 433"/>
              <a:gd name="T66" fmla="*/ 404 w 436"/>
              <a:gd name="T67" fmla="*/ 276 h 433"/>
              <a:gd name="T68" fmla="*/ 412 w 436"/>
              <a:gd name="T69" fmla="*/ 201 h 433"/>
              <a:gd name="T70" fmla="*/ 404 w 436"/>
              <a:gd name="T71" fmla="*/ 160 h 433"/>
              <a:gd name="T72" fmla="*/ 404 w 436"/>
              <a:gd name="T73" fmla="*/ 140 h 433"/>
              <a:gd name="T74" fmla="*/ 368 w 436"/>
              <a:gd name="T75" fmla="*/ 93 h 433"/>
              <a:gd name="T76" fmla="*/ 342 w 436"/>
              <a:gd name="T77" fmla="*/ 68 h 433"/>
              <a:gd name="T78" fmla="*/ 308 w 436"/>
              <a:gd name="T79" fmla="*/ 45 h 433"/>
              <a:gd name="T80" fmla="*/ 235 w 436"/>
              <a:gd name="T81" fmla="*/ 23 h 433"/>
              <a:gd name="T82" fmla="*/ 199 w 436"/>
              <a:gd name="T83" fmla="*/ 24 h 433"/>
              <a:gd name="T84" fmla="*/ 159 w 436"/>
              <a:gd name="T85" fmla="*/ 32 h 433"/>
              <a:gd name="T86" fmla="*/ 92 w 436"/>
              <a:gd name="T87" fmla="*/ 68 h 433"/>
              <a:gd name="T88" fmla="*/ 67 w 436"/>
              <a:gd name="T89" fmla="*/ 94 h 433"/>
              <a:gd name="T90" fmla="*/ 44 w 436"/>
              <a:gd name="T91" fmla="*/ 128 h 433"/>
              <a:gd name="T92" fmla="*/ 23 w 436"/>
              <a:gd name="T93" fmla="*/ 201 h 433"/>
              <a:gd name="T94" fmla="*/ 23 w 436"/>
              <a:gd name="T95" fmla="*/ 236 h 433"/>
              <a:gd name="T96" fmla="*/ 31 w 436"/>
              <a:gd name="T97" fmla="*/ 277 h 433"/>
              <a:gd name="T98" fmla="*/ 44 w 436"/>
              <a:gd name="T99" fmla="*/ 309 h 433"/>
              <a:gd name="T100" fmla="*/ 92 w 436"/>
              <a:gd name="T101" fmla="*/ 368 h 433"/>
              <a:gd name="T102" fmla="*/ 127 w 436"/>
              <a:gd name="T103" fmla="*/ 391 h 433"/>
              <a:gd name="T104" fmla="*/ 160 w 436"/>
              <a:gd name="T105" fmla="*/ 405 h 433"/>
              <a:gd name="T106" fmla="*/ 417 w 436"/>
              <a:gd name="T107" fmla="*/ 240 h 4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436" h="433">
                <a:moveTo>
                  <a:pt x="218" y="433"/>
                </a:moveTo>
                <a:cubicBezTo>
                  <a:pt x="208" y="433"/>
                  <a:pt x="199" y="429"/>
                  <a:pt x="191" y="422"/>
                </a:cubicBezTo>
                <a:cubicBezTo>
                  <a:pt x="184" y="415"/>
                  <a:pt x="174" y="413"/>
                  <a:pt x="164" y="416"/>
                </a:cubicBezTo>
                <a:cubicBezTo>
                  <a:pt x="146" y="424"/>
                  <a:pt x="124" y="415"/>
                  <a:pt x="116" y="397"/>
                </a:cubicBezTo>
                <a:cubicBezTo>
                  <a:pt x="116" y="396"/>
                  <a:pt x="116" y="396"/>
                  <a:pt x="116" y="396"/>
                </a:cubicBezTo>
                <a:cubicBezTo>
                  <a:pt x="112" y="387"/>
                  <a:pt x="103" y="381"/>
                  <a:pt x="93" y="381"/>
                </a:cubicBezTo>
                <a:cubicBezTo>
                  <a:pt x="92" y="381"/>
                  <a:pt x="92" y="381"/>
                  <a:pt x="92" y="381"/>
                </a:cubicBezTo>
                <a:cubicBezTo>
                  <a:pt x="72" y="381"/>
                  <a:pt x="55" y="364"/>
                  <a:pt x="55" y="344"/>
                </a:cubicBezTo>
                <a:cubicBezTo>
                  <a:pt x="55" y="334"/>
                  <a:pt x="49" y="325"/>
                  <a:pt x="40" y="321"/>
                </a:cubicBezTo>
                <a:cubicBezTo>
                  <a:pt x="31" y="317"/>
                  <a:pt x="24" y="310"/>
                  <a:pt x="20" y="301"/>
                </a:cubicBezTo>
                <a:cubicBezTo>
                  <a:pt x="16" y="292"/>
                  <a:pt x="16" y="282"/>
                  <a:pt x="20" y="273"/>
                </a:cubicBezTo>
                <a:cubicBezTo>
                  <a:pt x="20" y="272"/>
                  <a:pt x="20" y="272"/>
                  <a:pt x="20" y="272"/>
                </a:cubicBezTo>
                <a:cubicBezTo>
                  <a:pt x="24" y="263"/>
                  <a:pt x="22" y="252"/>
                  <a:pt x="15" y="245"/>
                </a:cubicBezTo>
                <a:cubicBezTo>
                  <a:pt x="14" y="244"/>
                  <a:pt x="14" y="244"/>
                  <a:pt x="14" y="244"/>
                </a:cubicBezTo>
                <a:cubicBezTo>
                  <a:pt x="0" y="230"/>
                  <a:pt x="0" y="206"/>
                  <a:pt x="14" y="192"/>
                </a:cubicBezTo>
                <a:cubicBezTo>
                  <a:pt x="21" y="185"/>
                  <a:pt x="23" y="174"/>
                  <a:pt x="19" y="165"/>
                </a:cubicBezTo>
                <a:cubicBezTo>
                  <a:pt x="11" y="146"/>
                  <a:pt x="20" y="125"/>
                  <a:pt x="39" y="117"/>
                </a:cubicBezTo>
                <a:cubicBezTo>
                  <a:pt x="40" y="116"/>
                  <a:pt x="40" y="116"/>
                  <a:pt x="40" y="116"/>
                </a:cubicBezTo>
                <a:cubicBezTo>
                  <a:pt x="49" y="113"/>
                  <a:pt x="55" y="104"/>
                  <a:pt x="55" y="94"/>
                </a:cubicBezTo>
                <a:cubicBezTo>
                  <a:pt x="55" y="93"/>
                  <a:pt x="55" y="93"/>
                  <a:pt x="55" y="93"/>
                </a:cubicBezTo>
                <a:cubicBezTo>
                  <a:pt x="55" y="72"/>
                  <a:pt x="72" y="56"/>
                  <a:pt x="92" y="56"/>
                </a:cubicBezTo>
                <a:cubicBezTo>
                  <a:pt x="102" y="56"/>
                  <a:pt x="111" y="50"/>
                  <a:pt x="115" y="40"/>
                </a:cubicBezTo>
                <a:cubicBezTo>
                  <a:pt x="123" y="22"/>
                  <a:pt x="144" y="13"/>
                  <a:pt x="163" y="20"/>
                </a:cubicBezTo>
                <a:cubicBezTo>
                  <a:pt x="164" y="21"/>
                  <a:pt x="164" y="21"/>
                  <a:pt x="164" y="21"/>
                </a:cubicBezTo>
                <a:cubicBezTo>
                  <a:pt x="173" y="24"/>
                  <a:pt x="184" y="22"/>
                  <a:pt x="191" y="15"/>
                </a:cubicBezTo>
                <a:cubicBezTo>
                  <a:pt x="191" y="15"/>
                  <a:pt x="191" y="15"/>
                  <a:pt x="191" y="15"/>
                </a:cubicBezTo>
                <a:cubicBezTo>
                  <a:pt x="206" y="0"/>
                  <a:pt x="229" y="0"/>
                  <a:pt x="244" y="15"/>
                </a:cubicBezTo>
                <a:cubicBezTo>
                  <a:pt x="251" y="22"/>
                  <a:pt x="261" y="24"/>
                  <a:pt x="271" y="20"/>
                </a:cubicBezTo>
                <a:cubicBezTo>
                  <a:pt x="289" y="12"/>
                  <a:pt x="311" y="21"/>
                  <a:pt x="319" y="40"/>
                </a:cubicBezTo>
                <a:cubicBezTo>
                  <a:pt x="319" y="41"/>
                  <a:pt x="319" y="41"/>
                  <a:pt x="319" y="41"/>
                </a:cubicBezTo>
                <a:cubicBezTo>
                  <a:pt x="323" y="50"/>
                  <a:pt x="332" y="56"/>
                  <a:pt x="342" y="56"/>
                </a:cubicBezTo>
                <a:cubicBezTo>
                  <a:pt x="343" y="56"/>
                  <a:pt x="343" y="56"/>
                  <a:pt x="343" y="56"/>
                </a:cubicBezTo>
                <a:cubicBezTo>
                  <a:pt x="363" y="56"/>
                  <a:pt x="380" y="72"/>
                  <a:pt x="380" y="93"/>
                </a:cubicBezTo>
                <a:cubicBezTo>
                  <a:pt x="380" y="103"/>
                  <a:pt x="386" y="112"/>
                  <a:pt x="395" y="116"/>
                </a:cubicBezTo>
                <a:cubicBezTo>
                  <a:pt x="404" y="119"/>
                  <a:pt x="412" y="126"/>
                  <a:pt x="415" y="136"/>
                </a:cubicBezTo>
                <a:cubicBezTo>
                  <a:pt x="419" y="145"/>
                  <a:pt x="419" y="155"/>
                  <a:pt x="415" y="164"/>
                </a:cubicBezTo>
                <a:cubicBezTo>
                  <a:pt x="415" y="165"/>
                  <a:pt x="415" y="165"/>
                  <a:pt x="415" y="165"/>
                </a:cubicBezTo>
                <a:cubicBezTo>
                  <a:pt x="411" y="174"/>
                  <a:pt x="413" y="184"/>
                  <a:pt x="420" y="191"/>
                </a:cubicBezTo>
                <a:cubicBezTo>
                  <a:pt x="421" y="192"/>
                  <a:pt x="421" y="192"/>
                  <a:pt x="421" y="192"/>
                </a:cubicBezTo>
                <a:cubicBezTo>
                  <a:pt x="436" y="206"/>
                  <a:pt x="436" y="230"/>
                  <a:pt x="421" y="244"/>
                </a:cubicBezTo>
                <a:cubicBezTo>
                  <a:pt x="421" y="244"/>
                  <a:pt x="421" y="244"/>
                  <a:pt x="421" y="244"/>
                </a:cubicBezTo>
                <a:cubicBezTo>
                  <a:pt x="414" y="251"/>
                  <a:pt x="412" y="262"/>
                  <a:pt x="416" y="271"/>
                </a:cubicBezTo>
                <a:cubicBezTo>
                  <a:pt x="424" y="290"/>
                  <a:pt x="415" y="312"/>
                  <a:pt x="396" y="320"/>
                </a:cubicBezTo>
                <a:cubicBezTo>
                  <a:pt x="395" y="320"/>
                  <a:pt x="395" y="320"/>
                  <a:pt x="395" y="320"/>
                </a:cubicBezTo>
                <a:cubicBezTo>
                  <a:pt x="386" y="324"/>
                  <a:pt x="380" y="333"/>
                  <a:pt x="380" y="343"/>
                </a:cubicBezTo>
                <a:cubicBezTo>
                  <a:pt x="380" y="344"/>
                  <a:pt x="380" y="344"/>
                  <a:pt x="380" y="344"/>
                </a:cubicBezTo>
                <a:cubicBezTo>
                  <a:pt x="380" y="364"/>
                  <a:pt x="363" y="381"/>
                  <a:pt x="343" y="381"/>
                </a:cubicBezTo>
                <a:cubicBezTo>
                  <a:pt x="333" y="381"/>
                  <a:pt x="324" y="387"/>
                  <a:pt x="320" y="396"/>
                </a:cubicBezTo>
                <a:cubicBezTo>
                  <a:pt x="316" y="405"/>
                  <a:pt x="309" y="412"/>
                  <a:pt x="300" y="416"/>
                </a:cubicBezTo>
                <a:cubicBezTo>
                  <a:pt x="291" y="420"/>
                  <a:pt x="281" y="420"/>
                  <a:pt x="272" y="416"/>
                </a:cubicBezTo>
                <a:cubicBezTo>
                  <a:pt x="271" y="416"/>
                  <a:pt x="271" y="416"/>
                  <a:pt x="271" y="416"/>
                </a:cubicBezTo>
                <a:cubicBezTo>
                  <a:pt x="262" y="412"/>
                  <a:pt x="251" y="414"/>
                  <a:pt x="244" y="421"/>
                </a:cubicBezTo>
                <a:cubicBezTo>
                  <a:pt x="244" y="422"/>
                  <a:pt x="244" y="422"/>
                  <a:pt x="244" y="422"/>
                </a:cubicBezTo>
                <a:cubicBezTo>
                  <a:pt x="236" y="429"/>
                  <a:pt x="227" y="433"/>
                  <a:pt x="218" y="433"/>
                </a:cubicBezTo>
                <a:close/>
                <a:moveTo>
                  <a:pt x="174" y="402"/>
                </a:moveTo>
                <a:cubicBezTo>
                  <a:pt x="184" y="402"/>
                  <a:pt x="193" y="406"/>
                  <a:pt x="200" y="413"/>
                </a:cubicBezTo>
                <a:cubicBezTo>
                  <a:pt x="210" y="423"/>
                  <a:pt x="225" y="423"/>
                  <a:pt x="235" y="413"/>
                </a:cubicBezTo>
                <a:cubicBezTo>
                  <a:pt x="236" y="412"/>
                  <a:pt x="236" y="412"/>
                  <a:pt x="236" y="412"/>
                </a:cubicBezTo>
                <a:cubicBezTo>
                  <a:pt x="246" y="402"/>
                  <a:pt x="262" y="399"/>
                  <a:pt x="276" y="404"/>
                </a:cubicBezTo>
                <a:cubicBezTo>
                  <a:pt x="277" y="405"/>
                  <a:pt x="277" y="405"/>
                  <a:pt x="277" y="405"/>
                </a:cubicBezTo>
                <a:cubicBezTo>
                  <a:pt x="283" y="407"/>
                  <a:pt x="289" y="407"/>
                  <a:pt x="295" y="405"/>
                </a:cubicBezTo>
                <a:cubicBezTo>
                  <a:pt x="302" y="402"/>
                  <a:pt x="306" y="397"/>
                  <a:pt x="309" y="391"/>
                </a:cubicBezTo>
                <a:cubicBezTo>
                  <a:pt x="315" y="377"/>
                  <a:pt x="328" y="368"/>
                  <a:pt x="343" y="368"/>
                </a:cubicBezTo>
                <a:cubicBezTo>
                  <a:pt x="357" y="368"/>
                  <a:pt x="368" y="357"/>
                  <a:pt x="368" y="344"/>
                </a:cubicBezTo>
                <a:cubicBezTo>
                  <a:pt x="368" y="343"/>
                  <a:pt x="368" y="343"/>
                  <a:pt x="368" y="343"/>
                </a:cubicBezTo>
                <a:cubicBezTo>
                  <a:pt x="368" y="328"/>
                  <a:pt x="377" y="314"/>
                  <a:pt x="390" y="309"/>
                </a:cubicBezTo>
                <a:cubicBezTo>
                  <a:pt x="391" y="308"/>
                  <a:pt x="391" y="308"/>
                  <a:pt x="391" y="308"/>
                </a:cubicBezTo>
                <a:cubicBezTo>
                  <a:pt x="404" y="303"/>
                  <a:pt x="410" y="289"/>
                  <a:pt x="404" y="276"/>
                </a:cubicBezTo>
                <a:cubicBezTo>
                  <a:pt x="399" y="262"/>
                  <a:pt x="402" y="246"/>
                  <a:pt x="412" y="236"/>
                </a:cubicBezTo>
                <a:cubicBezTo>
                  <a:pt x="422" y="226"/>
                  <a:pt x="422" y="210"/>
                  <a:pt x="412" y="201"/>
                </a:cubicBezTo>
                <a:cubicBezTo>
                  <a:pt x="412" y="200"/>
                  <a:pt x="412" y="200"/>
                  <a:pt x="412" y="200"/>
                </a:cubicBezTo>
                <a:cubicBezTo>
                  <a:pt x="401" y="190"/>
                  <a:pt x="398" y="174"/>
                  <a:pt x="404" y="160"/>
                </a:cubicBezTo>
                <a:cubicBezTo>
                  <a:pt x="404" y="159"/>
                  <a:pt x="404" y="159"/>
                  <a:pt x="404" y="159"/>
                </a:cubicBezTo>
                <a:cubicBezTo>
                  <a:pt x="407" y="153"/>
                  <a:pt x="407" y="146"/>
                  <a:pt x="404" y="140"/>
                </a:cubicBezTo>
                <a:cubicBezTo>
                  <a:pt x="401" y="134"/>
                  <a:pt x="397" y="129"/>
                  <a:pt x="391" y="127"/>
                </a:cubicBezTo>
                <a:cubicBezTo>
                  <a:pt x="377" y="121"/>
                  <a:pt x="368" y="108"/>
                  <a:pt x="368" y="93"/>
                </a:cubicBezTo>
                <a:cubicBezTo>
                  <a:pt x="368" y="79"/>
                  <a:pt x="357" y="68"/>
                  <a:pt x="343" y="68"/>
                </a:cubicBezTo>
                <a:cubicBezTo>
                  <a:pt x="342" y="68"/>
                  <a:pt x="342" y="68"/>
                  <a:pt x="342" y="68"/>
                </a:cubicBezTo>
                <a:cubicBezTo>
                  <a:pt x="327" y="68"/>
                  <a:pt x="314" y="59"/>
                  <a:pt x="308" y="45"/>
                </a:cubicBezTo>
                <a:cubicBezTo>
                  <a:pt x="308" y="45"/>
                  <a:pt x="308" y="45"/>
                  <a:pt x="308" y="45"/>
                </a:cubicBezTo>
                <a:cubicBezTo>
                  <a:pt x="302" y="32"/>
                  <a:pt x="288" y="26"/>
                  <a:pt x="275" y="31"/>
                </a:cubicBezTo>
                <a:cubicBezTo>
                  <a:pt x="262" y="37"/>
                  <a:pt x="246" y="34"/>
                  <a:pt x="235" y="23"/>
                </a:cubicBezTo>
                <a:cubicBezTo>
                  <a:pt x="225" y="14"/>
                  <a:pt x="210" y="14"/>
                  <a:pt x="200" y="23"/>
                </a:cubicBezTo>
                <a:cubicBezTo>
                  <a:pt x="199" y="24"/>
                  <a:pt x="199" y="24"/>
                  <a:pt x="199" y="24"/>
                </a:cubicBezTo>
                <a:cubicBezTo>
                  <a:pt x="189" y="35"/>
                  <a:pt x="173" y="38"/>
                  <a:pt x="159" y="32"/>
                </a:cubicBezTo>
                <a:cubicBezTo>
                  <a:pt x="159" y="32"/>
                  <a:pt x="159" y="32"/>
                  <a:pt x="159" y="32"/>
                </a:cubicBezTo>
                <a:cubicBezTo>
                  <a:pt x="146" y="27"/>
                  <a:pt x="131" y="33"/>
                  <a:pt x="126" y="45"/>
                </a:cubicBezTo>
                <a:cubicBezTo>
                  <a:pt x="121" y="59"/>
                  <a:pt x="107" y="68"/>
                  <a:pt x="92" y="68"/>
                </a:cubicBezTo>
                <a:cubicBezTo>
                  <a:pt x="78" y="68"/>
                  <a:pt x="67" y="79"/>
                  <a:pt x="67" y="93"/>
                </a:cubicBezTo>
                <a:cubicBezTo>
                  <a:pt x="67" y="94"/>
                  <a:pt x="67" y="94"/>
                  <a:pt x="67" y="94"/>
                </a:cubicBezTo>
                <a:cubicBezTo>
                  <a:pt x="67" y="109"/>
                  <a:pt x="58" y="122"/>
                  <a:pt x="45" y="128"/>
                </a:cubicBezTo>
                <a:cubicBezTo>
                  <a:pt x="44" y="128"/>
                  <a:pt x="44" y="128"/>
                  <a:pt x="44" y="128"/>
                </a:cubicBezTo>
                <a:cubicBezTo>
                  <a:pt x="31" y="133"/>
                  <a:pt x="25" y="148"/>
                  <a:pt x="31" y="160"/>
                </a:cubicBezTo>
                <a:cubicBezTo>
                  <a:pt x="36" y="174"/>
                  <a:pt x="33" y="190"/>
                  <a:pt x="23" y="201"/>
                </a:cubicBezTo>
                <a:cubicBezTo>
                  <a:pt x="13" y="210"/>
                  <a:pt x="13" y="226"/>
                  <a:pt x="23" y="236"/>
                </a:cubicBezTo>
                <a:cubicBezTo>
                  <a:pt x="23" y="236"/>
                  <a:pt x="23" y="236"/>
                  <a:pt x="23" y="236"/>
                </a:cubicBezTo>
                <a:cubicBezTo>
                  <a:pt x="34" y="247"/>
                  <a:pt x="37" y="263"/>
                  <a:pt x="31" y="276"/>
                </a:cubicBezTo>
                <a:cubicBezTo>
                  <a:pt x="31" y="277"/>
                  <a:pt x="31" y="277"/>
                  <a:pt x="31" y="277"/>
                </a:cubicBezTo>
                <a:cubicBezTo>
                  <a:pt x="28" y="283"/>
                  <a:pt x="29" y="290"/>
                  <a:pt x="31" y="296"/>
                </a:cubicBezTo>
                <a:cubicBezTo>
                  <a:pt x="34" y="302"/>
                  <a:pt x="38" y="307"/>
                  <a:pt x="44" y="309"/>
                </a:cubicBezTo>
                <a:cubicBezTo>
                  <a:pt x="58" y="315"/>
                  <a:pt x="67" y="329"/>
                  <a:pt x="67" y="344"/>
                </a:cubicBezTo>
                <a:cubicBezTo>
                  <a:pt x="67" y="357"/>
                  <a:pt x="78" y="368"/>
                  <a:pt x="92" y="368"/>
                </a:cubicBezTo>
                <a:cubicBezTo>
                  <a:pt x="93" y="368"/>
                  <a:pt x="93" y="368"/>
                  <a:pt x="93" y="368"/>
                </a:cubicBezTo>
                <a:cubicBezTo>
                  <a:pt x="108" y="368"/>
                  <a:pt x="121" y="377"/>
                  <a:pt x="127" y="391"/>
                </a:cubicBezTo>
                <a:cubicBezTo>
                  <a:pt x="127" y="392"/>
                  <a:pt x="127" y="392"/>
                  <a:pt x="127" y="392"/>
                </a:cubicBezTo>
                <a:cubicBezTo>
                  <a:pt x="133" y="404"/>
                  <a:pt x="147" y="410"/>
                  <a:pt x="160" y="405"/>
                </a:cubicBezTo>
                <a:cubicBezTo>
                  <a:pt x="164" y="403"/>
                  <a:pt x="169" y="402"/>
                  <a:pt x="174" y="402"/>
                </a:cubicBezTo>
                <a:close/>
                <a:moveTo>
                  <a:pt x="417" y="240"/>
                </a:moveTo>
                <a:cubicBezTo>
                  <a:pt x="417" y="240"/>
                  <a:pt x="417" y="240"/>
                  <a:pt x="417" y="24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4524464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321B2B-A85D-92F8-6732-DE0CD5BA38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B53FBA40-7984-A03D-3CC7-64A8420360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25" imgH="426" progId="TCLayout.ActiveDocument.1">
                  <p:embed/>
                </p:oleObj>
              </mc:Choice>
              <mc:Fallback>
                <p:oleObj name="think-cell Slide" r:id="rId7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53FBA40-7984-A03D-3CC7-64A8420360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D444476-8BDC-DF1B-84F4-814FD90FFD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rocess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D9A6B7A5-AF07-7070-1343-B91280F927F8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85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8" name="Notched Right Arrow 3">
            <a:extLst>
              <a:ext uri="{FF2B5EF4-FFF2-40B4-BE49-F238E27FC236}">
                <a16:creationId xmlns:a16="http://schemas.microsoft.com/office/drawing/2014/main" id="{AB96D867-0B13-66EC-21A3-14A88579C60B}"/>
              </a:ext>
            </a:extLst>
          </p:cNvPr>
          <p:cNvSpPr/>
          <p:nvPr/>
        </p:nvSpPr>
        <p:spPr>
          <a:xfrm>
            <a:off x="838200" y="1421949"/>
            <a:ext cx="10515600" cy="2412703"/>
          </a:xfrm>
          <a:prstGeom prst="notchedRightArrow">
            <a:avLst/>
          </a:prstGeom>
          <a:solidFill>
            <a:schemeClr val="accent6">
              <a:alpha val="50000"/>
            </a:schemeClr>
          </a:solidFill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 dirty="0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C4D6046A-05E4-88B2-E950-14BFE9943B6F}"/>
              </a:ext>
            </a:extLst>
          </p:cNvPr>
          <p:cNvSpPr/>
          <p:nvPr/>
        </p:nvSpPr>
        <p:spPr>
          <a:xfrm>
            <a:off x="1589051" y="2027203"/>
            <a:ext cx="1202196" cy="1202196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rgbClr r="0" g="0" b="0"/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US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4A6F0C6-4495-7635-C332-3794D883AD94}"/>
              </a:ext>
            </a:extLst>
          </p:cNvPr>
          <p:cNvSpPr txBox="1"/>
          <p:nvPr/>
        </p:nvSpPr>
        <p:spPr>
          <a:xfrm>
            <a:off x="1238719" y="3628602"/>
            <a:ext cx="1874983" cy="1417358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b="1" dirty="0">
                <a:solidFill>
                  <a:schemeClr val="accent1"/>
                </a:solidFill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4896098-47F3-B061-31A9-8A759006E9CA}"/>
              </a:ext>
            </a:extLst>
          </p:cNvPr>
          <p:cNvSpPr txBox="1"/>
          <p:nvPr/>
        </p:nvSpPr>
        <p:spPr>
          <a:xfrm>
            <a:off x="5476981" y="3628602"/>
            <a:ext cx="1874983" cy="1417358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b="1" dirty="0">
                <a:solidFill>
                  <a:schemeClr val="accent3"/>
                </a:solidFill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83B6455-AD55-1475-6838-3AB556E901EB}"/>
              </a:ext>
            </a:extLst>
          </p:cNvPr>
          <p:cNvSpPr txBox="1"/>
          <p:nvPr/>
        </p:nvSpPr>
        <p:spPr>
          <a:xfrm>
            <a:off x="7596113" y="3628602"/>
            <a:ext cx="1874983" cy="1417358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b="1" dirty="0">
                <a:solidFill>
                  <a:schemeClr val="accent4"/>
                </a:solidFill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1361651-6256-8DED-40DA-C206F70FF3D2}"/>
              </a:ext>
            </a:extLst>
          </p:cNvPr>
          <p:cNvSpPr txBox="1"/>
          <p:nvPr/>
        </p:nvSpPr>
        <p:spPr>
          <a:xfrm>
            <a:off x="3357850" y="3628602"/>
            <a:ext cx="1874983" cy="1417358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b="1" dirty="0">
                <a:solidFill>
                  <a:schemeClr val="accent2"/>
                </a:solidFill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0B1CC8E6-7D72-6ECA-F08B-45E80137ECAE}"/>
              </a:ext>
            </a:extLst>
          </p:cNvPr>
          <p:cNvSpPr/>
          <p:nvPr/>
        </p:nvSpPr>
        <p:spPr>
          <a:xfrm>
            <a:off x="7932506" y="2027203"/>
            <a:ext cx="1202196" cy="1202196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US" dirty="0"/>
          </a:p>
        </p:txBody>
      </p:sp>
      <p:grpSp>
        <p:nvGrpSpPr>
          <p:cNvPr id="28" name="ZenIcon1">
            <a:extLst>
              <a:ext uri="{FF2B5EF4-FFF2-40B4-BE49-F238E27FC236}">
                <a16:creationId xmlns:a16="http://schemas.microsoft.com/office/drawing/2014/main" id="{B06EF1E4-535B-1A68-F0F7-8525C7323DC4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8235637" y="2381130"/>
            <a:ext cx="595944" cy="595944"/>
            <a:chOff x="5712412" y="975681"/>
            <a:chExt cx="671730" cy="639392"/>
          </a:xfrm>
        </p:grpSpPr>
        <p:sp>
          <p:nvSpPr>
            <p:cNvPr id="45" name="Freeform 26">
              <a:extLst>
                <a:ext uri="{FF2B5EF4-FFF2-40B4-BE49-F238E27FC236}">
                  <a16:creationId xmlns:a16="http://schemas.microsoft.com/office/drawing/2014/main" id="{7F279EA2-1CDF-AA02-CEFB-9B951A8C12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12412" y="975681"/>
              <a:ext cx="671730" cy="639392"/>
            </a:xfrm>
            <a:custGeom>
              <a:avLst/>
              <a:gdLst>
                <a:gd name="T0" fmla="*/ 117 w 128"/>
                <a:gd name="T1" fmla="*/ 0 h 122"/>
                <a:gd name="T2" fmla="*/ 11 w 128"/>
                <a:gd name="T3" fmla="*/ 0 h 122"/>
                <a:gd name="T4" fmla="*/ 0 w 128"/>
                <a:gd name="T5" fmla="*/ 11 h 122"/>
                <a:gd name="T6" fmla="*/ 0 w 128"/>
                <a:gd name="T7" fmla="*/ 93 h 122"/>
                <a:gd name="T8" fmla="*/ 11 w 128"/>
                <a:gd name="T9" fmla="*/ 104 h 122"/>
                <a:gd name="T10" fmla="*/ 43 w 128"/>
                <a:gd name="T11" fmla="*/ 104 h 122"/>
                <a:gd name="T12" fmla="*/ 38 w 128"/>
                <a:gd name="T13" fmla="*/ 110 h 122"/>
                <a:gd name="T14" fmla="*/ 35 w 128"/>
                <a:gd name="T15" fmla="*/ 113 h 122"/>
                <a:gd name="T16" fmla="*/ 34 w 128"/>
                <a:gd name="T17" fmla="*/ 118 h 122"/>
                <a:gd name="T18" fmla="*/ 42 w 128"/>
                <a:gd name="T19" fmla="*/ 122 h 122"/>
                <a:gd name="T20" fmla="*/ 86 w 128"/>
                <a:gd name="T21" fmla="*/ 122 h 122"/>
                <a:gd name="T22" fmla="*/ 94 w 128"/>
                <a:gd name="T23" fmla="*/ 118 h 122"/>
                <a:gd name="T24" fmla="*/ 94 w 128"/>
                <a:gd name="T25" fmla="*/ 113 h 122"/>
                <a:gd name="T26" fmla="*/ 91 w 128"/>
                <a:gd name="T27" fmla="*/ 110 h 122"/>
                <a:gd name="T28" fmla="*/ 85 w 128"/>
                <a:gd name="T29" fmla="*/ 104 h 122"/>
                <a:gd name="T30" fmla="*/ 117 w 128"/>
                <a:gd name="T31" fmla="*/ 104 h 122"/>
                <a:gd name="T32" fmla="*/ 128 w 128"/>
                <a:gd name="T33" fmla="*/ 93 h 122"/>
                <a:gd name="T34" fmla="*/ 128 w 128"/>
                <a:gd name="T35" fmla="*/ 11 h 122"/>
                <a:gd name="T36" fmla="*/ 117 w 128"/>
                <a:gd name="T37" fmla="*/ 0 h 122"/>
                <a:gd name="T38" fmla="*/ 88 w 128"/>
                <a:gd name="T39" fmla="*/ 113 h 122"/>
                <a:gd name="T40" fmla="*/ 90 w 128"/>
                <a:gd name="T41" fmla="*/ 116 h 122"/>
                <a:gd name="T42" fmla="*/ 90 w 128"/>
                <a:gd name="T43" fmla="*/ 116 h 122"/>
                <a:gd name="T44" fmla="*/ 86 w 128"/>
                <a:gd name="T45" fmla="*/ 118 h 122"/>
                <a:gd name="T46" fmla="*/ 42 w 128"/>
                <a:gd name="T47" fmla="*/ 118 h 122"/>
                <a:gd name="T48" fmla="*/ 38 w 128"/>
                <a:gd name="T49" fmla="*/ 116 h 122"/>
                <a:gd name="T50" fmla="*/ 38 w 128"/>
                <a:gd name="T51" fmla="*/ 116 h 122"/>
                <a:gd name="T52" fmla="*/ 38 w 128"/>
                <a:gd name="T53" fmla="*/ 116 h 122"/>
                <a:gd name="T54" fmla="*/ 40 w 128"/>
                <a:gd name="T55" fmla="*/ 113 h 122"/>
                <a:gd name="T56" fmla="*/ 48 w 128"/>
                <a:gd name="T57" fmla="*/ 104 h 122"/>
                <a:gd name="T58" fmla="*/ 80 w 128"/>
                <a:gd name="T59" fmla="*/ 104 h 122"/>
                <a:gd name="T60" fmla="*/ 88 w 128"/>
                <a:gd name="T61" fmla="*/ 113 h 122"/>
                <a:gd name="T62" fmla="*/ 120 w 128"/>
                <a:gd name="T63" fmla="*/ 93 h 122"/>
                <a:gd name="T64" fmla="*/ 117 w 128"/>
                <a:gd name="T65" fmla="*/ 96 h 122"/>
                <a:gd name="T66" fmla="*/ 11 w 128"/>
                <a:gd name="T67" fmla="*/ 96 h 122"/>
                <a:gd name="T68" fmla="*/ 8 w 128"/>
                <a:gd name="T69" fmla="*/ 93 h 122"/>
                <a:gd name="T70" fmla="*/ 8 w 128"/>
                <a:gd name="T71" fmla="*/ 11 h 122"/>
                <a:gd name="T72" fmla="*/ 11 w 128"/>
                <a:gd name="T73" fmla="*/ 8 h 122"/>
                <a:gd name="T74" fmla="*/ 117 w 128"/>
                <a:gd name="T75" fmla="*/ 8 h 122"/>
                <a:gd name="T76" fmla="*/ 120 w 128"/>
                <a:gd name="T77" fmla="*/ 11 h 122"/>
                <a:gd name="T78" fmla="*/ 120 w 128"/>
                <a:gd name="T79" fmla="*/ 93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8" h="122">
                  <a:moveTo>
                    <a:pt x="117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99"/>
                    <a:pt x="5" y="104"/>
                    <a:pt x="11" y="104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42" y="106"/>
                    <a:pt x="39" y="109"/>
                    <a:pt x="38" y="110"/>
                  </a:cubicBezTo>
                  <a:cubicBezTo>
                    <a:pt x="36" y="111"/>
                    <a:pt x="35" y="112"/>
                    <a:pt x="35" y="113"/>
                  </a:cubicBezTo>
                  <a:cubicBezTo>
                    <a:pt x="34" y="114"/>
                    <a:pt x="33" y="116"/>
                    <a:pt x="34" y="118"/>
                  </a:cubicBezTo>
                  <a:cubicBezTo>
                    <a:pt x="35" y="120"/>
                    <a:pt x="37" y="122"/>
                    <a:pt x="42" y="122"/>
                  </a:cubicBezTo>
                  <a:cubicBezTo>
                    <a:pt x="86" y="122"/>
                    <a:pt x="86" y="122"/>
                    <a:pt x="86" y="122"/>
                  </a:cubicBezTo>
                  <a:cubicBezTo>
                    <a:pt x="91" y="122"/>
                    <a:pt x="93" y="120"/>
                    <a:pt x="94" y="118"/>
                  </a:cubicBezTo>
                  <a:cubicBezTo>
                    <a:pt x="95" y="116"/>
                    <a:pt x="95" y="114"/>
                    <a:pt x="94" y="113"/>
                  </a:cubicBezTo>
                  <a:cubicBezTo>
                    <a:pt x="93" y="112"/>
                    <a:pt x="92" y="111"/>
                    <a:pt x="91" y="110"/>
                  </a:cubicBezTo>
                  <a:cubicBezTo>
                    <a:pt x="89" y="109"/>
                    <a:pt x="87" y="106"/>
                    <a:pt x="85" y="104"/>
                  </a:cubicBezTo>
                  <a:cubicBezTo>
                    <a:pt x="117" y="104"/>
                    <a:pt x="117" y="104"/>
                    <a:pt x="117" y="104"/>
                  </a:cubicBezTo>
                  <a:cubicBezTo>
                    <a:pt x="123" y="104"/>
                    <a:pt x="128" y="99"/>
                    <a:pt x="128" y="93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28" y="5"/>
                    <a:pt x="123" y="0"/>
                    <a:pt x="117" y="0"/>
                  </a:cubicBezTo>
                  <a:close/>
                  <a:moveTo>
                    <a:pt x="88" y="113"/>
                  </a:moveTo>
                  <a:cubicBezTo>
                    <a:pt x="89" y="114"/>
                    <a:pt x="90" y="115"/>
                    <a:pt x="90" y="116"/>
                  </a:cubicBezTo>
                  <a:cubicBezTo>
                    <a:pt x="90" y="116"/>
                    <a:pt x="91" y="116"/>
                    <a:pt x="90" y="116"/>
                  </a:cubicBezTo>
                  <a:cubicBezTo>
                    <a:pt x="90" y="117"/>
                    <a:pt x="88" y="118"/>
                    <a:pt x="86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0" y="118"/>
                    <a:pt x="38" y="117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5"/>
                    <a:pt x="39" y="114"/>
                    <a:pt x="40" y="113"/>
                  </a:cubicBezTo>
                  <a:cubicBezTo>
                    <a:pt x="44" y="109"/>
                    <a:pt x="47" y="106"/>
                    <a:pt x="48" y="104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82" y="106"/>
                    <a:pt x="84" y="109"/>
                    <a:pt x="88" y="113"/>
                  </a:cubicBezTo>
                  <a:close/>
                  <a:moveTo>
                    <a:pt x="120" y="93"/>
                  </a:moveTo>
                  <a:cubicBezTo>
                    <a:pt x="120" y="95"/>
                    <a:pt x="119" y="96"/>
                    <a:pt x="117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9" y="96"/>
                    <a:pt x="8" y="95"/>
                    <a:pt x="8" y="93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9"/>
                    <a:pt x="9" y="8"/>
                    <a:pt x="11" y="8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9" y="8"/>
                    <a:pt x="120" y="9"/>
                    <a:pt x="120" y="11"/>
                  </a:cubicBezTo>
                  <a:lnTo>
                    <a:pt x="120" y="9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  <p:sp>
          <p:nvSpPr>
            <p:cNvPr id="46" name="Freeform 27">
              <a:extLst>
                <a:ext uri="{FF2B5EF4-FFF2-40B4-BE49-F238E27FC236}">
                  <a16:creationId xmlns:a16="http://schemas.microsoft.com/office/drawing/2014/main" id="{E5B12851-84F1-2B6B-B30F-960C0F6DDD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96917" y="1058042"/>
              <a:ext cx="502713" cy="338119"/>
            </a:xfrm>
            <a:custGeom>
              <a:avLst/>
              <a:gdLst>
                <a:gd name="T0" fmla="*/ 89 w 96"/>
                <a:gd name="T1" fmla="*/ 0 h 64"/>
                <a:gd name="T2" fmla="*/ 7 w 96"/>
                <a:gd name="T3" fmla="*/ 0 h 64"/>
                <a:gd name="T4" fmla="*/ 0 w 96"/>
                <a:gd name="T5" fmla="*/ 7 h 64"/>
                <a:gd name="T6" fmla="*/ 0 w 96"/>
                <a:gd name="T7" fmla="*/ 57 h 64"/>
                <a:gd name="T8" fmla="*/ 7 w 96"/>
                <a:gd name="T9" fmla="*/ 64 h 64"/>
                <a:gd name="T10" fmla="*/ 89 w 96"/>
                <a:gd name="T11" fmla="*/ 64 h 64"/>
                <a:gd name="T12" fmla="*/ 96 w 96"/>
                <a:gd name="T13" fmla="*/ 57 h 64"/>
                <a:gd name="T14" fmla="*/ 96 w 96"/>
                <a:gd name="T15" fmla="*/ 7 h 64"/>
                <a:gd name="T16" fmla="*/ 89 w 96"/>
                <a:gd name="T17" fmla="*/ 0 h 64"/>
                <a:gd name="T18" fmla="*/ 92 w 96"/>
                <a:gd name="T19" fmla="*/ 57 h 64"/>
                <a:gd name="T20" fmla="*/ 89 w 96"/>
                <a:gd name="T21" fmla="*/ 60 h 64"/>
                <a:gd name="T22" fmla="*/ 7 w 96"/>
                <a:gd name="T23" fmla="*/ 60 h 64"/>
                <a:gd name="T24" fmla="*/ 4 w 96"/>
                <a:gd name="T25" fmla="*/ 57 h 64"/>
                <a:gd name="T26" fmla="*/ 4 w 96"/>
                <a:gd name="T27" fmla="*/ 7 h 64"/>
                <a:gd name="T28" fmla="*/ 7 w 96"/>
                <a:gd name="T29" fmla="*/ 4 h 64"/>
                <a:gd name="T30" fmla="*/ 89 w 96"/>
                <a:gd name="T31" fmla="*/ 4 h 64"/>
                <a:gd name="T32" fmla="*/ 92 w 96"/>
                <a:gd name="T33" fmla="*/ 7 h 64"/>
                <a:gd name="T34" fmla="*/ 92 w 96"/>
                <a:gd name="T35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6" h="64">
                  <a:moveTo>
                    <a:pt x="89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1"/>
                    <a:pt x="3" y="64"/>
                    <a:pt x="7" y="64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93" y="64"/>
                    <a:pt x="96" y="61"/>
                    <a:pt x="96" y="5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3"/>
                    <a:pt x="93" y="0"/>
                    <a:pt x="89" y="0"/>
                  </a:cubicBezTo>
                  <a:close/>
                  <a:moveTo>
                    <a:pt x="92" y="57"/>
                  </a:moveTo>
                  <a:cubicBezTo>
                    <a:pt x="92" y="59"/>
                    <a:pt x="91" y="60"/>
                    <a:pt x="89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5" y="60"/>
                    <a:pt x="4" y="59"/>
                    <a:pt x="4" y="5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5" y="4"/>
                    <a:pt x="7" y="4"/>
                  </a:cubicBezTo>
                  <a:cubicBezTo>
                    <a:pt x="89" y="4"/>
                    <a:pt x="89" y="4"/>
                    <a:pt x="89" y="4"/>
                  </a:cubicBezTo>
                  <a:cubicBezTo>
                    <a:pt x="91" y="4"/>
                    <a:pt x="92" y="5"/>
                    <a:pt x="92" y="7"/>
                  </a:cubicBezTo>
                  <a:lnTo>
                    <a:pt x="92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  <p:sp>
          <p:nvSpPr>
            <p:cNvPr id="47" name="Freeform 28">
              <a:extLst>
                <a:ext uri="{FF2B5EF4-FFF2-40B4-BE49-F238E27FC236}">
                  <a16:creationId xmlns:a16="http://schemas.microsoft.com/office/drawing/2014/main" id="{0BBB2A93-EE94-88F6-1C36-36C2DC8F99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17937" y="1404831"/>
              <a:ext cx="62840" cy="65023"/>
            </a:xfrm>
            <a:custGeom>
              <a:avLst/>
              <a:gdLst>
                <a:gd name="T0" fmla="*/ 6 w 12"/>
                <a:gd name="T1" fmla="*/ 0 h 12"/>
                <a:gd name="T2" fmla="*/ 0 w 12"/>
                <a:gd name="T3" fmla="*/ 6 h 12"/>
                <a:gd name="T4" fmla="*/ 6 w 12"/>
                <a:gd name="T5" fmla="*/ 12 h 12"/>
                <a:gd name="T6" fmla="*/ 12 w 12"/>
                <a:gd name="T7" fmla="*/ 6 h 12"/>
                <a:gd name="T8" fmla="*/ 6 w 12"/>
                <a:gd name="T9" fmla="*/ 0 h 12"/>
                <a:gd name="T10" fmla="*/ 6 w 12"/>
                <a:gd name="T11" fmla="*/ 8 h 12"/>
                <a:gd name="T12" fmla="*/ 4 w 12"/>
                <a:gd name="T13" fmla="*/ 6 h 12"/>
                <a:gd name="T14" fmla="*/ 6 w 12"/>
                <a:gd name="T15" fmla="*/ 4 h 12"/>
                <a:gd name="T16" fmla="*/ 8 w 12"/>
                <a:gd name="T17" fmla="*/ 6 h 12"/>
                <a:gd name="T18" fmla="*/ 6 w 12"/>
                <a:gd name="T1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9" y="12"/>
                    <a:pt x="12" y="9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lose/>
                  <a:moveTo>
                    <a:pt x="6" y="8"/>
                  </a:moveTo>
                  <a:cubicBezTo>
                    <a:pt x="5" y="8"/>
                    <a:pt x="4" y="7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7" y="4"/>
                    <a:pt x="8" y="5"/>
                    <a:pt x="8" y="6"/>
                  </a:cubicBezTo>
                  <a:cubicBezTo>
                    <a:pt x="8" y="7"/>
                    <a:pt x="7" y="8"/>
                    <a:pt x="6" y="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  <p:sp>
          <p:nvSpPr>
            <p:cNvPr id="48" name="Freeform 29">
              <a:extLst>
                <a:ext uri="{FF2B5EF4-FFF2-40B4-BE49-F238E27FC236}">
                  <a16:creationId xmlns:a16="http://schemas.microsoft.com/office/drawing/2014/main" id="{41CEE297-E15D-09FC-6328-EAF8475C1AF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3429" y="1190255"/>
              <a:ext cx="84509" cy="88864"/>
            </a:xfrm>
            <a:custGeom>
              <a:avLst/>
              <a:gdLst>
                <a:gd name="T0" fmla="*/ 0 w 39"/>
                <a:gd name="T1" fmla="*/ 24 h 41"/>
                <a:gd name="T2" fmla="*/ 39 w 39"/>
                <a:gd name="T3" fmla="*/ 41 h 41"/>
                <a:gd name="T4" fmla="*/ 39 w 39"/>
                <a:gd name="T5" fmla="*/ 32 h 41"/>
                <a:gd name="T6" fmla="*/ 12 w 39"/>
                <a:gd name="T7" fmla="*/ 19 h 41"/>
                <a:gd name="T8" fmla="*/ 39 w 39"/>
                <a:gd name="T9" fmla="*/ 10 h 41"/>
                <a:gd name="T10" fmla="*/ 39 w 39"/>
                <a:gd name="T11" fmla="*/ 0 h 41"/>
                <a:gd name="T12" fmla="*/ 0 w 39"/>
                <a:gd name="T13" fmla="*/ 17 h 41"/>
                <a:gd name="T14" fmla="*/ 0 w 39"/>
                <a:gd name="T15" fmla="*/ 2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41">
                  <a:moveTo>
                    <a:pt x="0" y="24"/>
                  </a:moveTo>
                  <a:lnTo>
                    <a:pt x="39" y="41"/>
                  </a:lnTo>
                  <a:lnTo>
                    <a:pt x="39" y="32"/>
                  </a:lnTo>
                  <a:lnTo>
                    <a:pt x="12" y="19"/>
                  </a:lnTo>
                  <a:lnTo>
                    <a:pt x="39" y="10"/>
                  </a:lnTo>
                  <a:lnTo>
                    <a:pt x="39" y="0"/>
                  </a:lnTo>
                  <a:lnTo>
                    <a:pt x="0" y="17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  <p:sp>
          <p:nvSpPr>
            <p:cNvPr id="49" name="Freeform 30">
              <a:extLst>
                <a:ext uri="{FF2B5EF4-FFF2-40B4-BE49-F238E27FC236}">
                  <a16:creationId xmlns:a16="http://schemas.microsoft.com/office/drawing/2014/main" id="{01FF1D13-A655-54E6-9353-11446B863A26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6605" y="1175084"/>
              <a:ext cx="43337" cy="119208"/>
            </a:xfrm>
            <a:custGeom>
              <a:avLst/>
              <a:gdLst>
                <a:gd name="T0" fmla="*/ 7 w 8"/>
                <a:gd name="T1" fmla="*/ 0 h 23"/>
                <a:gd name="T2" fmla="*/ 5 w 8"/>
                <a:gd name="T3" fmla="*/ 0 h 23"/>
                <a:gd name="T4" fmla="*/ 5 w 8"/>
                <a:gd name="T5" fmla="*/ 2 h 23"/>
                <a:gd name="T6" fmla="*/ 0 w 8"/>
                <a:gd name="T7" fmla="*/ 20 h 23"/>
                <a:gd name="T8" fmla="*/ 0 w 8"/>
                <a:gd name="T9" fmla="*/ 22 h 23"/>
                <a:gd name="T10" fmla="*/ 2 w 8"/>
                <a:gd name="T11" fmla="*/ 23 h 23"/>
                <a:gd name="T12" fmla="*/ 3 w 8"/>
                <a:gd name="T13" fmla="*/ 23 h 23"/>
                <a:gd name="T14" fmla="*/ 3 w 8"/>
                <a:gd name="T15" fmla="*/ 22 h 23"/>
                <a:gd name="T16" fmla="*/ 4 w 8"/>
                <a:gd name="T17" fmla="*/ 21 h 23"/>
                <a:gd name="T18" fmla="*/ 8 w 8"/>
                <a:gd name="T19" fmla="*/ 3 h 23"/>
                <a:gd name="T20" fmla="*/ 8 w 8"/>
                <a:gd name="T21" fmla="*/ 1 h 23"/>
                <a:gd name="T22" fmla="*/ 8 w 8"/>
                <a:gd name="T23" fmla="*/ 0 h 23"/>
                <a:gd name="T24" fmla="*/ 7 w 8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3">
                  <a:moveTo>
                    <a:pt x="7" y="0"/>
                  </a:move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1"/>
                    <a:pt x="5" y="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0" y="23"/>
                    <a:pt x="1" y="23"/>
                    <a:pt x="2" y="23"/>
                  </a:cubicBezTo>
                  <a:cubicBezTo>
                    <a:pt x="2" y="23"/>
                    <a:pt x="2" y="23"/>
                    <a:pt x="3" y="23"/>
                  </a:cubicBezTo>
                  <a:cubicBezTo>
                    <a:pt x="3" y="23"/>
                    <a:pt x="3" y="22"/>
                    <a:pt x="3" y="22"/>
                  </a:cubicBezTo>
                  <a:cubicBezTo>
                    <a:pt x="3" y="22"/>
                    <a:pt x="3" y="21"/>
                    <a:pt x="4" y="2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  <p:sp>
          <p:nvSpPr>
            <p:cNvPr id="50" name="Freeform 31">
              <a:extLst>
                <a:ext uri="{FF2B5EF4-FFF2-40B4-BE49-F238E27FC236}">
                  <a16:creationId xmlns:a16="http://schemas.microsoft.com/office/drawing/2014/main" id="{78249E1F-F9E3-1590-0C23-79B17350CDFF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0776" y="1190255"/>
              <a:ext cx="82341" cy="88864"/>
            </a:xfrm>
            <a:custGeom>
              <a:avLst/>
              <a:gdLst>
                <a:gd name="T0" fmla="*/ 0 w 38"/>
                <a:gd name="T1" fmla="*/ 10 h 41"/>
                <a:gd name="T2" fmla="*/ 26 w 38"/>
                <a:gd name="T3" fmla="*/ 19 h 41"/>
                <a:gd name="T4" fmla="*/ 0 w 38"/>
                <a:gd name="T5" fmla="*/ 32 h 41"/>
                <a:gd name="T6" fmla="*/ 0 w 38"/>
                <a:gd name="T7" fmla="*/ 41 h 41"/>
                <a:gd name="T8" fmla="*/ 38 w 38"/>
                <a:gd name="T9" fmla="*/ 24 h 41"/>
                <a:gd name="T10" fmla="*/ 38 w 38"/>
                <a:gd name="T11" fmla="*/ 17 h 41"/>
                <a:gd name="T12" fmla="*/ 0 w 38"/>
                <a:gd name="T13" fmla="*/ 0 h 41"/>
                <a:gd name="T14" fmla="*/ 0 w 38"/>
                <a:gd name="T15" fmla="*/ 1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41">
                  <a:moveTo>
                    <a:pt x="0" y="10"/>
                  </a:moveTo>
                  <a:lnTo>
                    <a:pt x="26" y="19"/>
                  </a:lnTo>
                  <a:lnTo>
                    <a:pt x="0" y="32"/>
                  </a:lnTo>
                  <a:lnTo>
                    <a:pt x="0" y="41"/>
                  </a:lnTo>
                  <a:lnTo>
                    <a:pt x="38" y="24"/>
                  </a:lnTo>
                  <a:lnTo>
                    <a:pt x="38" y="17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255BD8E9-C624-6072-8237-5ACB72550325}"/>
              </a:ext>
            </a:extLst>
          </p:cNvPr>
          <p:cNvGrpSpPr/>
          <p:nvPr/>
        </p:nvGrpSpPr>
        <p:grpSpPr>
          <a:xfrm>
            <a:off x="5818021" y="2027203"/>
            <a:ext cx="1202196" cy="1202196"/>
            <a:chOff x="5490057" y="2027203"/>
            <a:chExt cx="1202196" cy="1202196"/>
          </a:xfrm>
        </p:grpSpPr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EA561DB3-17DF-3052-0469-C043C6AB01B6}"/>
                </a:ext>
              </a:extLst>
            </p:cNvPr>
            <p:cNvSpPr/>
            <p:nvPr/>
          </p:nvSpPr>
          <p:spPr>
            <a:xfrm>
              <a:off x="5490057" y="2027203"/>
              <a:ext cx="1202196" cy="120219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 dirty="0"/>
            </a:p>
          </p:txBody>
        </p:sp>
        <p:sp>
          <p:nvSpPr>
            <p:cNvPr id="29" name="ZenIcon2">
              <a:extLst>
                <a:ext uri="{FF2B5EF4-FFF2-40B4-BE49-F238E27FC236}">
                  <a16:creationId xmlns:a16="http://schemas.microsoft.com/office/drawing/2014/main" id="{AB106BB0-E1E2-9932-62BF-3935BCACE1AC}"/>
                </a:ext>
              </a:extLst>
            </p:cNvPr>
            <p:cNvSpPr>
              <a:spLocks noChangeAspect="1" noEditPoints="1"/>
            </p:cNvSpPr>
            <p:nvPr>
              <p:custDataLst>
                <p:tags r:id="rId5"/>
              </p:custDataLst>
            </p:nvPr>
          </p:nvSpPr>
          <p:spPr bwMode="auto">
            <a:xfrm>
              <a:off x="5828479" y="2365979"/>
              <a:ext cx="524644" cy="524644"/>
            </a:xfrm>
            <a:custGeom>
              <a:avLst/>
              <a:gdLst>
                <a:gd name="T0" fmla="*/ 232 w 256"/>
                <a:gd name="T1" fmla="*/ 84 h 227"/>
                <a:gd name="T2" fmla="*/ 172 w 256"/>
                <a:gd name="T3" fmla="*/ 44 h 227"/>
                <a:gd name="T4" fmla="*/ 120 w 256"/>
                <a:gd name="T5" fmla="*/ 48 h 227"/>
                <a:gd name="T6" fmla="*/ 64 w 256"/>
                <a:gd name="T7" fmla="*/ 107 h 227"/>
                <a:gd name="T8" fmla="*/ 0 w 256"/>
                <a:gd name="T9" fmla="*/ 131 h 227"/>
                <a:gd name="T10" fmla="*/ 32 w 256"/>
                <a:gd name="T11" fmla="*/ 227 h 227"/>
                <a:gd name="T12" fmla="*/ 87 w 256"/>
                <a:gd name="T13" fmla="*/ 212 h 227"/>
                <a:gd name="T14" fmla="*/ 103 w 256"/>
                <a:gd name="T15" fmla="*/ 219 h 227"/>
                <a:gd name="T16" fmla="*/ 232 w 256"/>
                <a:gd name="T17" fmla="*/ 197 h 227"/>
                <a:gd name="T18" fmla="*/ 240 w 256"/>
                <a:gd name="T19" fmla="*/ 169 h 227"/>
                <a:gd name="T20" fmla="*/ 248 w 256"/>
                <a:gd name="T21" fmla="*/ 140 h 227"/>
                <a:gd name="T22" fmla="*/ 256 w 256"/>
                <a:gd name="T23" fmla="*/ 108 h 227"/>
                <a:gd name="T24" fmla="*/ 32 w 256"/>
                <a:gd name="T25" fmla="*/ 211 h 227"/>
                <a:gd name="T26" fmla="*/ 16 w 256"/>
                <a:gd name="T27" fmla="*/ 131 h 227"/>
                <a:gd name="T28" fmla="*/ 64 w 256"/>
                <a:gd name="T29" fmla="*/ 123 h 227"/>
                <a:gd name="T30" fmla="*/ 72 w 256"/>
                <a:gd name="T31" fmla="*/ 198 h 227"/>
                <a:gd name="T32" fmla="*/ 72 w 256"/>
                <a:gd name="T33" fmla="*/ 203 h 227"/>
                <a:gd name="T34" fmla="*/ 210 w 256"/>
                <a:gd name="T35" fmla="*/ 203 h 227"/>
                <a:gd name="T36" fmla="*/ 88 w 256"/>
                <a:gd name="T37" fmla="*/ 194 h 227"/>
                <a:gd name="T38" fmla="*/ 86 w 256"/>
                <a:gd name="T39" fmla="*/ 121 h 227"/>
                <a:gd name="T40" fmla="*/ 140 w 256"/>
                <a:gd name="T41" fmla="*/ 16 h 227"/>
                <a:gd name="T42" fmla="*/ 152 w 256"/>
                <a:gd name="T43" fmla="*/ 90 h 227"/>
                <a:gd name="T44" fmla="*/ 160 w 256"/>
                <a:gd name="T45" fmla="*/ 100 h 227"/>
                <a:gd name="T46" fmla="*/ 240 w 256"/>
                <a:gd name="T47" fmla="*/ 108 h 227"/>
                <a:gd name="T48" fmla="*/ 223 w 256"/>
                <a:gd name="T49" fmla="*/ 116 h 227"/>
                <a:gd name="T50" fmla="*/ 223 w 256"/>
                <a:gd name="T51" fmla="*/ 132 h 227"/>
                <a:gd name="T52" fmla="*/ 224 w 256"/>
                <a:gd name="T53" fmla="*/ 132 h 227"/>
                <a:gd name="T54" fmla="*/ 224 w 256"/>
                <a:gd name="T55" fmla="*/ 148 h 227"/>
                <a:gd name="T56" fmla="*/ 218 w 256"/>
                <a:gd name="T57" fmla="*/ 147 h 227"/>
                <a:gd name="T58" fmla="*/ 215 w 256"/>
                <a:gd name="T59" fmla="*/ 148 h 227"/>
                <a:gd name="T60" fmla="*/ 215 w 256"/>
                <a:gd name="T61" fmla="*/ 164 h 227"/>
                <a:gd name="T62" fmla="*/ 224 w 256"/>
                <a:gd name="T63" fmla="*/ 169 h 227"/>
                <a:gd name="T64" fmla="*/ 210 w 256"/>
                <a:gd name="T65" fmla="*/ 175 h 227"/>
                <a:gd name="T66" fmla="*/ 210 w 256"/>
                <a:gd name="T67" fmla="*/ 175 h 227"/>
                <a:gd name="T68" fmla="*/ 210 w 256"/>
                <a:gd name="T69" fmla="*/ 191 h 227"/>
                <a:gd name="T70" fmla="*/ 210 w 256"/>
                <a:gd name="T71" fmla="*/ 203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56" h="227">
                  <a:moveTo>
                    <a:pt x="256" y="108"/>
                  </a:moveTo>
                  <a:cubicBezTo>
                    <a:pt x="256" y="94"/>
                    <a:pt x="245" y="84"/>
                    <a:pt x="232" y="84"/>
                  </a:cubicBezTo>
                  <a:cubicBezTo>
                    <a:pt x="169" y="84"/>
                    <a:pt x="169" y="84"/>
                    <a:pt x="169" y="84"/>
                  </a:cubicBezTo>
                  <a:cubicBezTo>
                    <a:pt x="171" y="74"/>
                    <a:pt x="172" y="59"/>
                    <a:pt x="172" y="44"/>
                  </a:cubicBezTo>
                  <a:cubicBezTo>
                    <a:pt x="172" y="13"/>
                    <a:pt x="156" y="0"/>
                    <a:pt x="140" y="0"/>
                  </a:cubicBezTo>
                  <a:cubicBezTo>
                    <a:pt x="120" y="0"/>
                    <a:pt x="120" y="21"/>
                    <a:pt x="120" y="48"/>
                  </a:cubicBezTo>
                  <a:cubicBezTo>
                    <a:pt x="120" y="67"/>
                    <a:pt x="90" y="97"/>
                    <a:pt x="75" y="110"/>
                  </a:cubicBezTo>
                  <a:cubicBezTo>
                    <a:pt x="71" y="108"/>
                    <a:pt x="68" y="107"/>
                    <a:pt x="64" y="107"/>
                  </a:cubicBezTo>
                  <a:cubicBezTo>
                    <a:pt x="24" y="107"/>
                    <a:pt x="24" y="107"/>
                    <a:pt x="24" y="107"/>
                  </a:cubicBezTo>
                  <a:cubicBezTo>
                    <a:pt x="11" y="107"/>
                    <a:pt x="0" y="118"/>
                    <a:pt x="0" y="131"/>
                  </a:cubicBezTo>
                  <a:cubicBezTo>
                    <a:pt x="8" y="203"/>
                    <a:pt x="8" y="203"/>
                    <a:pt x="8" y="203"/>
                  </a:cubicBezTo>
                  <a:cubicBezTo>
                    <a:pt x="10" y="216"/>
                    <a:pt x="19" y="227"/>
                    <a:pt x="32" y="227"/>
                  </a:cubicBezTo>
                  <a:cubicBezTo>
                    <a:pt x="64" y="227"/>
                    <a:pt x="64" y="227"/>
                    <a:pt x="64" y="227"/>
                  </a:cubicBezTo>
                  <a:cubicBezTo>
                    <a:pt x="74" y="227"/>
                    <a:pt x="83" y="221"/>
                    <a:pt x="87" y="212"/>
                  </a:cubicBezTo>
                  <a:cubicBezTo>
                    <a:pt x="100" y="219"/>
                    <a:pt x="100" y="219"/>
                    <a:pt x="100" y="219"/>
                  </a:cubicBezTo>
                  <a:cubicBezTo>
                    <a:pt x="101" y="219"/>
                    <a:pt x="102" y="219"/>
                    <a:pt x="103" y="219"/>
                  </a:cubicBezTo>
                  <a:cubicBezTo>
                    <a:pt x="210" y="219"/>
                    <a:pt x="210" y="219"/>
                    <a:pt x="210" y="219"/>
                  </a:cubicBezTo>
                  <a:cubicBezTo>
                    <a:pt x="222" y="219"/>
                    <a:pt x="232" y="210"/>
                    <a:pt x="232" y="197"/>
                  </a:cubicBezTo>
                  <a:cubicBezTo>
                    <a:pt x="232" y="194"/>
                    <a:pt x="231" y="191"/>
                    <a:pt x="230" y="188"/>
                  </a:cubicBezTo>
                  <a:cubicBezTo>
                    <a:pt x="236" y="184"/>
                    <a:pt x="240" y="177"/>
                    <a:pt x="240" y="169"/>
                  </a:cubicBezTo>
                  <a:cubicBezTo>
                    <a:pt x="240" y="166"/>
                    <a:pt x="239" y="162"/>
                    <a:pt x="238" y="159"/>
                  </a:cubicBezTo>
                  <a:cubicBezTo>
                    <a:pt x="244" y="155"/>
                    <a:pt x="248" y="148"/>
                    <a:pt x="248" y="140"/>
                  </a:cubicBezTo>
                  <a:cubicBezTo>
                    <a:pt x="248" y="135"/>
                    <a:pt x="247" y="131"/>
                    <a:pt x="245" y="128"/>
                  </a:cubicBezTo>
                  <a:cubicBezTo>
                    <a:pt x="252" y="123"/>
                    <a:pt x="256" y="116"/>
                    <a:pt x="256" y="108"/>
                  </a:cubicBezTo>
                  <a:close/>
                  <a:moveTo>
                    <a:pt x="64" y="211"/>
                  </a:moveTo>
                  <a:cubicBezTo>
                    <a:pt x="32" y="211"/>
                    <a:pt x="32" y="211"/>
                    <a:pt x="32" y="211"/>
                  </a:cubicBezTo>
                  <a:cubicBezTo>
                    <a:pt x="28" y="211"/>
                    <a:pt x="25" y="206"/>
                    <a:pt x="24" y="202"/>
                  </a:cubicBezTo>
                  <a:cubicBezTo>
                    <a:pt x="16" y="131"/>
                    <a:pt x="16" y="131"/>
                    <a:pt x="16" y="131"/>
                  </a:cubicBezTo>
                  <a:cubicBezTo>
                    <a:pt x="17" y="127"/>
                    <a:pt x="20" y="123"/>
                    <a:pt x="24" y="123"/>
                  </a:cubicBezTo>
                  <a:cubicBezTo>
                    <a:pt x="64" y="123"/>
                    <a:pt x="64" y="123"/>
                    <a:pt x="64" y="123"/>
                  </a:cubicBezTo>
                  <a:cubicBezTo>
                    <a:pt x="69" y="123"/>
                    <a:pt x="72" y="127"/>
                    <a:pt x="72" y="131"/>
                  </a:cubicBezTo>
                  <a:cubicBezTo>
                    <a:pt x="72" y="198"/>
                    <a:pt x="72" y="198"/>
                    <a:pt x="72" y="198"/>
                  </a:cubicBezTo>
                  <a:cubicBezTo>
                    <a:pt x="72" y="199"/>
                    <a:pt x="72" y="200"/>
                    <a:pt x="72" y="201"/>
                  </a:cubicBezTo>
                  <a:cubicBezTo>
                    <a:pt x="72" y="203"/>
                    <a:pt x="72" y="203"/>
                    <a:pt x="72" y="203"/>
                  </a:cubicBezTo>
                  <a:cubicBezTo>
                    <a:pt x="72" y="208"/>
                    <a:pt x="69" y="211"/>
                    <a:pt x="64" y="211"/>
                  </a:cubicBezTo>
                  <a:close/>
                  <a:moveTo>
                    <a:pt x="210" y="203"/>
                  </a:moveTo>
                  <a:cubicBezTo>
                    <a:pt x="105" y="203"/>
                    <a:pt x="105" y="203"/>
                    <a:pt x="105" y="203"/>
                  </a:cubicBezTo>
                  <a:cubicBezTo>
                    <a:pt x="88" y="194"/>
                    <a:pt x="88" y="194"/>
                    <a:pt x="88" y="194"/>
                  </a:cubicBezTo>
                  <a:cubicBezTo>
                    <a:pt x="88" y="131"/>
                    <a:pt x="88" y="131"/>
                    <a:pt x="88" y="131"/>
                  </a:cubicBezTo>
                  <a:cubicBezTo>
                    <a:pt x="88" y="128"/>
                    <a:pt x="87" y="124"/>
                    <a:pt x="86" y="121"/>
                  </a:cubicBezTo>
                  <a:cubicBezTo>
                    <a:pt x="100" y="109"/>
                    <a:pt x="136" y="75"/>
                    <a:pt x="136" y="48"/>
                  </a:cubicBezTo>
                  <a:cubicBezTo>
                    <a:pt x="136" y="31"/>
                    <a:pt x="136" y="16"/>
                    <a:pt x="140" y="16"/>
                  </a:cubicBezTo>
                  <a:cubicBezTo>
                    <a:pt x="148" y="16"/>
                    <a:pt x="156" y="25"/>
                    <a:pt x="156" y="44"/>
                  </a:cubicBezTo>
                  <a:cubicBezTo>
                    <a:pt x="156" y="67"/>
                    <a:pt x="152" y="90"/>
                    <a:pt x="152" y="90"/>
                  </a:cubicBezTo>
                  <a:cubicBezTo>
                    <a:pt x="152" y="93"/>
                    <a:pt x="153" y="95"/>
                    <a:pt x="154" y="97"/>
                  </a:cubicBezTo>
                  <a:cubicBezTo>
                    <a:pt x="156" y="98"/>
                    <a:pt x="158" y="100"/>
                    <a:pt x="160" y="100"/>
                  </a:cubicBezTo>
                  <a:cubicBezTo>
                    <a:pt x="232" y="100"/>
                    <a:pt x="232" y="100"/>
                    <a:pt x="232" y="100"/>
                  </a:cubicBezTo>
                  <a:cubicBezTo>
                    <a:pt x="237" y="100"/>
                    <a:pt x="240" y="103"/>
                    <a:pt x="240" y="108"/>
                  </a:cubicBezTo>
                  <a:cubicBezTo>
                    <a:pt x="240" y="112"/>
                    <a:pt x="237" y="116"/>
                    <a:pt x="232" y="116"/>
                  </a:cubicBezTo>
                  <a:cubicBezTo>
                    <a:pt x="223" y="116"/>
                    <a:pt x="223" y="116"/>
                    <a:pt x="223" y="116"/>
                  </a:cubicBezTo>
                  <a:cubicBezTo>
                    <a:pt x="219" y="116"/>
                    <a:pt x="215" y="119"/>
                    <a:pt x="215" y="124"/>
                  </a:cubicBezTo>
                  <a:cubicBezTo>
                    <a:pt x="215" y="128"/>
                    <a:pt x="219" y="132"/>
                    <a:pt x="223" y="132"/>
                  </a:cubicBezTo>
                  <a:cubicBezTo>
                    <a:pt x="224" y="132"/>
                    <a:pt x="224" y="132"/>
                    <a:pt x="224" y="132"/>
                  </a:cubicBezTo>
                  <a:cubicBezTo>
                    <a:pt x="224" y="132"/>
                    <a:pt x="224" y="132"/>
                    <a:pt x="224" y="132"/>
                  </a:cubicBezTo>
                  <a:cubicBezTo>
                    <a:pt x="229" y="132"/>
                    <a:pt x="232" y="135"/>
                    <a:pt x="232" y="140"/>
                  </a:cubicBezTo>
                  <a:cubicBezTo>
                    <a:pt x="232" y="144"/>
                    <a:pt x="229" y="148"/>
                    <a:pt x="224" y="148"/>
                  </a:cubicBezTo>
                  <a:cubicBezTo>
                    <a:pt x="219" y="148"/>
                    <a:pt x="219" y="148"/>
                    <a:pt x="219" y="148"/>
                  </a:cubicBezTo>
                  <a:cubicBezTo>
                    <a:pt x="219" y="148"/>
                    <a:pt x="218" y="147"/>
                    <a:pt x="218" y="147"/>
                  </a:cubicBezTo>
                  <a:cubicBezTo>
                    <a:pt x="218" y="147"/>
                    <a:pt x="218" y="148"/>
                    <a:pt x="218" y="148"/>
                  </a:cubicBezTo>
                  <a:cubicBezTo>
                    <a:pt x="215" y="148"/>
                    <a:pt x="215" y="148"/>
                    <a:pt x="215" y="148"/>
                  </a:cubicBezTo>
                  <a:cubicBezTo>
                    <a:pt x="211" y="148"/>
                    <a:pt x="207" y="151"/>
                    <a:pt x="207" y="156"/>
                  </a:cubicBezTo>
                  <a:cubicBezTo>
                    <a:pt x="207" y="160"/>
                    <a:pt x="211" y="164"/>
                    <a:pt x="215" y="164"/>
                  </a:cubicBezTo>
                  <a:cubicBezTo>
                    <a:pt x="218" y="164"/>
                    <a:pt x="218" y="164"/>
                    <a:pt x="218" y="164"/>
                  </a:cubicBezTo>
                  <a:cubicBezTo>
                    <a:pt x="222" y="164"/>
                    <a:pt x="224" y="166"/>
                    <a:pt x="224" y="169"/>
                  </a:cubicBezTo>
                  <a:cubicBezTo>
                    <a:pt x="224" y="173"/>
                    <a:pt x="221" y="175"/>
                    <a:pt x="218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06" y="175"/>
                    <a:pt x="202" y="179"/>
                    <a:pt x="202" y="183"/>
                  </a:cubicBezTo>
                  <a:cubicBezTo>
                    <a:pt x="202" y="188"/>
                    <a:pt x="206" y="191"/>
                    <a:pt x="210" y="191"/>
                  </a:cubicBezTo>
                  <a:cubicBezTo>
                    <a:pt x="213" y="191"/>
                    <a:pt x="216" y="194"/>
                    <a:pt x="216" y="197"/>
                  </a:cubicBezTo>
                  <a:cubicBezTo>
                    <a:pt x="216" y="201"/>
                    <a:pt x="213" y="203"/>
                    <a:pt x="210" y="20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840"/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AC5465AE-7ECF-4353-DF70-AA7852446D23}"/>
              </a:ext>
            </a:extLst>
          </p:cNvPr>
          <p:cNvGrpSpPr/>
          <p:nvPr/>
        </p:nvGrpSpPr>
        <p:grpSpPr>
          <a:xfrm>
            <a:off x="3703536" y="2027203"/>
            <a:ext cx="1202196" cy="1202196"/>
            <a:chOff x="3405184" y="2027203"/>
            <a:chExt cx="1202196" cy="1202196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A0956462-4E55-77F3-E41C-911F2DF024C3}"/>
                </a:ext>
              </a:extLst>
            </p:cNvPr>
            <p:cNvSpPr/>
            <p:nvPr/>
          </p:nvSpPr>
          <p:spPr>
            <a:xfrm>
              <a:off x="3405184" y="2027203"/>
              <a:ext cx="1202196" cy="1202196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 dirty="0"/>
            </a:p>
          </p:txBody>
        </p:sp>
        <p:sp>
          <p:nvSpPr>
            <p:cNvPr id="30" name="ZenIcon3">
              <a:extLst>
                <a:ext uri="{FF2B5EF4-FFF2-40B4-BE49-F238E27FC236}">
                  <a16:creationId xmlns:a16="http://schemas.microsoft.com/office/drawing/2014/main" id="{8794736D-16A5-6278-3805-3C290162DCD2}"/>
                </a:ext>
              </a:extLst>
            </p:cNvPr>
            <p:cNvSpPr>
              <a:spLocks noChangeAspect="1" noEditPoints="1"/>
            </p:cNvSpPr>
            <p:nvPr>
              <p:custDataLst>
                <p:tags r:id="rId4"/>
              </p:custDataLst>
            </p:nvPr>
          </p:nvSpPr>
          <p:spPr bwMode="auto">
            <a:xfrm>
              <a:off x="3743960" y="2365327"/>
              <a:ext cx="524644" cy="525948"/>
            </a:xfrm>
            <a:custGeom>
              <a:avLst/>
              <a:gdLst>
                <a:gd name="T0" fmla="*/ 1698 w 2448"/>
                <a:gd name="T1" fmla="*/ 97 h 2446"/>
                <a:gd name="T2" fmla="*/ 748 w 2448"/>
                <a:gd name="T3" fmla="*/ 97 h 2446"/>
                <a:gd name="T4" fmla="*/ 0 w 2448"/>
                <a:gd name="T5" fmla="*/ 1222 h 2446"/>
                <a:gd name="T6" fmla="*/ 748 w 2448"/>
                <a:gd name="T7" fmla="*/ 2349 h 2446"/>
                <a:gd name="T8" fmla="*/ 1698 w 2448"/>
                <a:gd name="T9" fmla="*/ 2349 h 2446"/>
                <a:gd name="T10" fmla="*/ 2448 w 2448"/>
                <a:gd name="T11" fmla="*/ 1222 h 2446"/>
                <a:gd name="T12" fmla="*/ 816 w 2448"/>
                <a:gd name="T13" fmla="*/ 227 h 2446"/>
                <a:gd name="T14" fmla="*/ 264 w 2448"/>
                <a:gd name="T15" fmla="*/ 737 h 2446"/>
                <a:gd name="T16" fmla="*/ 149 w 2448"/>
                <a:gd name="T17" fmla="*/ 1222 h 2446"/>
                <a:gd name="T18" fmla="*/ 554 w 2448"/>
                <a:gd name="T19" fmla="*/ 884 h 2446"/>
                <a:gd name="T20" fmla="*/ 554 w 2448"/>
                <a:gd name="T21" fmla="*/ 1556 h 2446"/>
                <a:gd name="T22" fmla="*/ 149 w 2448"/>
                <a:gd name="T23" fmla="*/ 1222 h 2446"/>
                <a:gd name="T24" fmla="*/ 584 w 2448"/>
                <a:gd name="T25" fmla="*/ 1704 h 2446"/>
                <a:gd name="T26" fmla="*/ 264 w 2448"/>
                <a:gd name="T27" fmla="*/ 1704 h 2446"/>
                <a:gd name="T28" fmla="*/ 906 w 2448"/>
                <a:gd name="T29" fmla="*/ 2092 h 2446"/>
                <a:gd name="T30" fmla="*/ 1148 w 2448"/>
                <a:gd name="T31" fmla="*/ 1704 h 2446"/>
                <a:gd name="T32" fmla="*/ 1148 w 2448"/>
                <a:gd name="T33" fmla="*/ 1556 h 2446"/>
                <a:gd name="T34" fmla="*/ 677 w 2448"/>
                <a:gd name="T35" fmla="*/ 1222 h 2446"/>
                <a:gd name="T36" fmla="*/ 1148 w 2448"/>
                <a:gd name="T37" fmla="*/ 884 h 2446"/>
                <a:gd name="T38" fmla="*/ 1148 w 2448"/>
                <a:gd name="T39" fmla="*/ 737 h 2446"/>
                <a:gd name="T40" fmla="*/ 909 w 2448"/>
                <a:gd name="T41" fmla="*/ 353 h 2446"/>
                <a:gd name="T42" fmla="*/ 1148 w 2448"/>
                <a:gd name="T43" fmla="*/ 737 h 2446"/>
                <a:gd name="T44" fmla="*/ 1864 w 2448"/>
                <a:gd name="T45" fmla="*/ 737 h 2446"/>
                <a:gd name="T46" fmla="*/ 2184 w 2448"/>
                <a:gd name="T47" fmla="*/ 737 h 2446"/>
                <a:gd name="T48" fmla="*/ 1539 w 2448"/>
                <a:gd name="T49" fmla="*/ 353 h 2446"/>
                <a:gd name="T50" fmla="*/ 1300 w 2448"/>
                <a:gd name="T51" fmla="*/ 737 h 2446"/>
                <a:gd name="T52" fmla="*/ 1300 w 2448"/>
                <a:gd name="T53" fmla="*/ 884 h 2446"/>
                <a:gd name="T54" fmla="*/ 1771 w 2448"/>
                <a:gd name="T55" fmla="*/ 1222 h 2446"/>
                <a:gd name="T56" fmla="*/ 1300 w 2448"/>
                <a:gd name="T57" fmla="*/ 1556 h 2446"/>
                <a:gd name="T58" fmla="*/ 1300 w 2448"/>
                <a:gd name="T59" fmla="*/ 2286 h 2446"/>
                <a:gd name="T60" fmla="*/ 1711 w 2448"/>
                <a:gd name="T61" fmla="*/ 1704 h 2446"/>
                <a:gd name="T62" fmla="*/ 1300 w 2448"/>
                <a:gd name="T63" fmla="*/ 2286 h 2446"/>
                <a:gd name="T64" fmla="*/ 1864 w 2448"/>
                <a:gd name="T65" fmla="*/ 1704 h 2446"/>
                <a:gd name="T66" fmla="*/ 1632 w 2448"/>
                <a:gd name="T67" fmla="*/ 2219 h 2446"/>
                <a:gd name="T68" fmla="*/ 1894 w 2448"/>
                <a:gd name="T69" fmla="*/ 1556 h 2446"/>
                <a:gd name="T70" fmla="*/ 1894 w 2448"/>
                <a:gd name="T71" fmla="*/ 884 h 2446"/>
                <a:gd name="T72" fmla="*/ 2299 w 2448"/>
                <a:gd name="T73" fmla="*/ 1222 h 2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48" h="2446">
                  <a:moveTo>
                    <a:pt x="2350" y="747"/>
                  </a:moveTo>
                  <a:cubicBezTo>
                    <a:pt x="2221" y="446"/>
                    <a:pt x="2002" y="227"/>
                    <a:pt x="1698" y="97"/>
                  </a:cubicBezTo>
                  <a:cubicBezTo>
                    <a:pt x="1547" y="33"/>
                    <a:pt x="1389" y="0"/>
                    <a:pt x="1223" y="0"/>
                  </a:cubicBezTo>
                  <a:cubicBezTo>
                    <a:pt x="1057" y="0"/>
                    <a:pt x="900" y="32"/>
                    <a:pt x="748" y="97"/>
                  </a:cubicBezTo>
                  <a:cubicBezTo>
                    <a:pt x="447" y="226"/>
                    <a:pt x="226" y="445"/>
                    <a:pt x="96" y="747"/>
                  </a:cubicBezTo>
                  <a:cubicBezTo>
                    <a:pt x="32" y="898"/>
                    <a:pt x="0" y="1056"/>
                    <a:pt x="0" y="1222"/>
                  </a:cubicBezTo>
                  <a:cubicBezTo>
                    <a:pt x="0" y="1388"/>
                    <a:pt x="32" y="1547"/>
                    <a:pt x="96" y="1698"/>
                  </a:cubicBezTo>
                  <a:cubicBezTo>
                    <a:pt x="226" y="2000"/>
                    <a:pt x="447" y="2220"/>
                    <a:pt x="748" y="2349"/>
                  </a:cubicBezTo>
                  <a:cubicBezTo>
                    <a:pt x="900" y="2414"/>
                    <a:pt x="1057" y="2446"/>
                    <a:pt x="1223" y="2446"/>
                  </a:cubicBezTo>
                  <a:cubicBezTo>
                    <a:pt x="1389" y="2446"/>
                    <a:pt x="1547" y="2413"/>
                    <a:pt x="1698" y="2349"/>
                  </a:cubicBezTo>
                  <a:cubicBezTo>
                    <a:pt x="2002" y="2219"/>
                    <a:pt x="2221" y="1999"/>
                    <a:pt x="2350" y="1698"/>
                  </a:cubicBezTo>
                  <a:cubicBezTo>
                    <a:pt x="2415" y="1547"/>
                    <a:pt x="2448" y="1388"/>
                    <a:pt x="2448" y="1222"/>
                  </a:cubicBezTo>
                  <a:cubicBezTo>
                    <a:pt x="2448" y="1056"/>
                    <a:pt x="2415" y="898"/>
                    <a:pt x="2350" y="747"/>
                  </a:cubicBezTo>
                  <a:close/>
                  <a:moveTo>
                    <a:pt x="816" y="227"/>
                  </a:moveTo>
                  <a:cubicBezTo>
                    <a:pt x="711" y="361"/>
                    <a:pt x="633" y="531"/>
                    <a:pt x="584" y="737"/>
                  </a:cubicBezTo>
                  <a:cubicBezTo>
                    <a:pt x="264" y="737"/>
                    <a:pt x="264" y="737"/>
                    <a:pt x="264" y="737"/>
                  </a:cubicBezTo>
                  <a:cubicBezTo>
                    <a:pt x="381" y="508"/>
                    <a:pt x="580" y="325"/>
                    <a:pt x="816" y="227"/>
                  </a:cubicBezTo>
                  <a:close/>
                  <a:moveTo>
                    <a:pt x="149" y="1222"/>
                  </a:moveTo>
                  <a:cubicBezTo>
                    <a:pt x="149" y="1105"/>
                    <a:pt x="167" y="993"/>
                    <a:pt x="203" y="884"/>
                  </a:cubicBezTo>
                  <a:cubicBezTo>
                    <a:pt x="554" y="884"/>
                    <a:pt x="554" y="884"/>
                    <a:pt x="554" y="884"/>
                  </a:cubicBezTo>
                  <a:cubicBezTo>
                    <a:pt x="537" y="998"/>
                    <a:pt x="529" y="1111"/>
                    <a:pt x="529" y="1222"/>
                  </a:cubicBezTo>
                  <a:cubicBezTo>
                    <a:pt x="529" y="1331"/>
                    <a:pt x="537" y="1443"/>
                    <a:pt x="554" y="1556"/>
                  </a:cubicBezTo>
                  <a:cubicBezTo>
                    <a:pt x="201" y="1556"/>
                    <a:pt x="201" y="1556"/>
                    <a:pt x="201" y="1556"/>
                  </a:cubicBezTo>
                  <a:cubicBezTo>
                    <a:pt x="166" y="1448"/>
                    <a:pt x="149" y="1335"/>
                    <a:pt x="149" y="1222"/>
                  </a:cubicBezTo>
                  <a:close/>
                  <a:moveTo>
                    <a:pt x="264" y="1704"/>
                  </a:moveTo>
                  <a:cubicBezTo>
                    <a:pt x="584" y="1704"/>
                    <a:pt x="584" y="1704"/>
                    <a:pt x="584" y="1704"/>
                  </a:cubicBezTo>
                  <a:cubicBezTo>
                    <a:pt x="633" y="1914"/>
                    <a:pt x="711" y="2086"/>
                    <a:pt x="816" y="2219"/>
                  </a:cubicBezTo>
                  <a:cubicBezTo>
                    <a:pt x="576" y="2118"/>
                    <a:pt x="377" y="1935"/>
                    <a:pt x="264" y="1704"/>
                  </a:cubicBezTo>
                  <a:close/>
                  <a:moveTo>
                    <a:pt x="1148" y="2286"/>
                  </a:moveTo>
                  <a:cubicBezTo>
                    <a:pt x="1061" y="2260"/>
                    <a:pt x="980" y="2196"/>
                    <a:pt x="906" y="2092"/>
                  </a:cubicBezTo>
                  <a:cubicBezTo>
                    <a:pt x="833" y="1987"/>
                    <a:pt x="776" y="1857"/>
                    <a:pt x="737" y="1704"/>
                  </a:cubicBezTo>
                  <a:cubicBezTo>
                    <a:pt x="1148" y="1704"/>
                    <a:pt x="1148" y="1704"/>
                    <a:pt x="1148" y="1704"/>
                  </a:cubicBezTo>
                  <a:lnTo>
                    <a:pt x="1148" y="2286"/>
                  </a:lnTo>
                  <a:close/>
                  <a:moveTo>
                    <a:pt x="1148" y="1556"/>
                  </a:moveTo>
                  <a:cubicBezTo>
                    <a:pt x="704" y="1556"/>
                    <a:pt x="704" y="1556"/>
                    <a:pt x="704" y="1556"/>
                  </a:cubicBezTo>
                  <a:cubicBezTo>
                    <a:pt x="687" y="1437"/>
                    <a:pt x="677" y="1326"/>
                    <a:pt x="677" y="1222"/>
                  </a:cubicBezTo>
                  <a:cubicBezTo>
                    <a:pt x="677" y="1109"/>
                    <a:pt x="687" y="997"/>
                    <a:pt x="707" y="884"/>
                  </a:cubicBezTo>
                  <a:cubicBezTo>
                    <a:pt x="1148" y="884"/>
                    <a:pt x="1148" y="884"/>
                    <a:pt x="1148" y="884"/>
                  </a:cubicBezTo>
                  <a:cubicBezTo>
                    <a:pt x="1148" y="1556"/>
                    <a:pt x="1148" y="1556"/>
                    <a:pt x="1148" y="1556"/>
                  </a:cubicBezTo>
                  <a:close/>
                  <a:moveTo>
                    <a:pt x="1148" y="737"/>
                  </a:moveTo>
                  <a:cubicBezTo>
                    <a:pt x="737" y="737"/>
                    <a:pt x="737" y="737"/>
                    <a:pt x="737" y="737"/>
                  </a:cubicBezTo>
                  <a:cubicBezTo>
                    <a:pt x="779" y="585"/>
                    <a:pt x="836" y="456"/>
                    <a:pt x="909" y="353"/>
                  </a:cubicBezTo>
                  <a:cubicBezTo>
                    <a:pt x="983" y="249"/>
                    <a:pt x="1061" y="184"/>
                    <a:pt x="1148" y="160"/>
                  </a:cubicBezTo>
                  <a:cubicBezTo>
                    <a:pt x="1148" y="737"/>
                    <a:pt x="1148" y="737"/>
                    <a:pt x="1148" y="737"/>
                  </a:cubicBezTo>
                  <a:close/>
                  <a:moveTo>
                    <a:pt x="2184" y="737"/>
                  </a:moveTo>
                  <a:cubicBezTo>
                    <a:pt x="1864" y="737"/>
                    <a:pt x="1864" y="737"/>
                    <a:pt x="1864" y="737"/>
                  </a:cubicBezTo>
                  <a:cubicBezTo>
                    <a:pt x="1815" y="531"/>
                    <a:pt x="1737" y="361"/>
                    <a:pt x="1632" y="227"/>
                  </a:cubicBezTo>
                  <a:cubicBezTo>
                    <a:pt x="1868" y="325"/>
                    <a:pt x="2067" y="508"/>
                    <a:pt x="2184" y="737"/>
                  </a:cubicBezTo>
                  <a:close/>
                  <a:moveTo>
                    <a:pt x="1300" y="160"/>
                  </a:moveTo>
                  <a:cubicBezTo>
                    <a:pt x="1387" y="184"/>
                    <a:pt x="1465" y="249"/>
                    <a:pt x="1539" y="353"/>
                  </a:cubicBezTo>
                  <a:cubicBezTo>
                    <a:pt x="1613" y="456"/>
                    <a:pt x="1669" y="585"/>
                    <a:pt x="1711" y="737"/>
                  </a:cubicBezTo>
                  <a:cubicBezTo>
                    <a:pt x="1300" y="737"/>
                    <a:pt x="1300" y="737"/>
                    <a:pt x="1300" y="737"/>
                  </a:cubicBezTo>
                  <a:lnTo>
                    <a:pt x="1300" y="160"/>
                  </a:lnTo>
                  <a:close/>
                  <a:moveTo>
                    <a:pt x="1300" y="884"/>
                  </a:moveTo>
                  <a:cubicBezTo>
                    <a:pt x="1741" y="884"/>
                    <a:pt x="1741" y="884"/>
                    <a:pt x="1741" y="884"/>
                  </a:cubicBezTo>
                  <a:cubicBezTo>
                    <a:pt x="1761" y="997"/>
                    <a:pt x="1771" y="1109"/>
                    <a:pt x="1771" y="1222"/>
                  </a:cubicBezTo>
                  <a:cubicBezTo>
                    <a:pt x="1771" y="1326"/>
                    <a:pt x="1761" y="1437"/>
                    <a:pt x="1744" y="1556"/>
                  </a:cubicBezTo>
                  <a:cubicBezTo>
                    <a:pt x="1300" y="1556"/>
                    <a:pt x="1300" y="1556"/>
                    <a:pt x="1300" y="1556"/>
                  </a:cubicBezTo>
                  <a:lnTo>
                    <a:pt x="1300" y="884"/>
                  </a:lnTo>
                  <a:close/>
                  <a:moveTo>
                    <a:pt x="1300" y="2286"/>
                  </a:moveTo>
                  <a:cubicBezTo>
                    <a:pt x="1300" y="1704"/>
                    <a:pt x="1300" y="1704"/>
                    <a:pt x="1300" y="1704"/>
                  </a:cubicBezTo>
                  <a:cubicBezTo>
                    <a:pt x="1711" y="1704"/>
                    <a:pt x="1711" y="1704"/>
                    <a:pt x="1711" y="1704"/>
                  </a:cubicBezTo>
                  <a:cubicBezTo>
                    <a:pt x="1670" y="1857"/>
                    <a:pt x="1613" y="1987"/>
                    <a:pt x="1541" y="2092"/>
                  </a:cubicBezTo>
                  <a:cubicBezTo>
                    <a:pt x="1467" y="2197"/>
                    <a:pt x="1388" y="2262"/>
                    <a:pt x="1300" y="2286"/>
                  </a:cubicBezTo>
                  <a:close/>
                  <a:moveTo>
                    <a:pt x="1632" y="2219"/>
                  </a:moveTo>
                  <a:cubicBezTo>
                    <a:pt x="1737" y="2086"/>
                    <a:pt x="1815" y="1914"/>
                    <a:pt x="1864" y="1704"/>
                  </a:cubicBezTo>
                  <a:cubicBezTo>
                    <a:pt x="2184" y="1704"/>
                    <a:pt x="2184" y="1704"/>
                    <a:pt x="2184" y="1704"/>
                  </a:cubicBezTo>
                  <a:cubicBezTo>
                    <a:pt x="2071" y="1935"/>
                    <a:pt x="1872" y="2118"/>
                    <a:pt x="1632" y="2219"/>
                  </a:cubicBezTo>
                  <a:close/>
                  <a:moveTo>
                    <a:pt x="2247" y="1556"/>
                  </a:moveTo>
                  <a:cubicBezTo>
                    <a:pt x="1894" y="1556"/>
                    <a:pt x="1894" y="1556"/>
                    <a:pt x="1894" y="1556"/>
                  </a:cubicBezTo>
                  <a:cubicBezTo>
                    <a:pt x="1911" y="1443"/>
                    <a:pt x="1919" y="1331"/>
                    <a:pt x="1919" y="1222"/>
                  </a:cubicBezTo>
                  <a:cubicBezTo>
                    <a:pt x="1919" y="1111"/>
                    <a:pt x="1911" y="998"/>
                    <a:pt x="1894" y="884"/>
                  </a:cubicBezTo>
                  <a:cubicBezTo>
                    <a:pt x="2245" y="884"/>
                    <a:pt x="2245" y="884"/>
                    <a:pt x="2245" y="884"/>
                  </a:cubicBezTo>
                  <a:cubicBezTo>
                    <a:pt x="2281" y="993"/>
                    <a:pt x="2299" y="1105"/>
                    <a:pt x="2299" y="1222"/>
                  </a:cubicBezTo>
                  <a:cubicBezTo>
                    <a:pt x="2299" y="1335"/>
                    <a:pt x="2282" y="1448"/>
                    <a:pt x="2247" y="155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1" name="ZenIcon4">
            <a:extLst>
              <a:ext uri="{FF2B5EF4-FFF2-40B4-BE49-F238E27FC236}">
                <a16:creationId xmlns:a16="http://schemas.microsoft.com/office/drawing/2014/main" id="{19AF8708-D6AF-7F30-56D4-1A1809581E63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1927827" y="2365979"/>
            <a:ext cx="524644" cy="524644"/>
            <a:chOff x="-4769427" y="-314325"/>
            <a:chExt cx="4660901" cy="4576762"/>
          </a:xfrm>
        </p:grpSpPr>
        <p:sp>
          <p:nvSpPr>
            <p:cNvPr id="39" name="Freeform 23">
              <a:extLst>
                <a:ext uri="{FF2B5EF4-FFF2-40B4-BE49-F238E27FC236}">
                  <a16:creationId xmlns:a16="http://schemas.microsoft.com/office/drawing/2014/main" id="{F3ABBDFD-35F3-A2EB-CACB-E4F1CA6C050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509077" y="-314325"/>
              <a:ext cx="4138613" cy="3956050"/>
            </a:xfrm>
            <a:custGeom>
              <a:avLst/>
              <a:gdLst>
                <a:gd name="T0" fmla="*/ 2128 w 2188"/>
                <a:gd name="T1" fmla="*/ 946 h 2085"/>
                <a:gd name="T2" fmla="*/ 2169 w 2188"/>
                <a:gd name="T3" fmla="*/ 781 h 2085"/>
                <a:gd name="T4" fmla="*/ 2038 w 2188"/>
                <a:gd name="T5" fmla="*/ 671 h 2085"/>
                <a:gd name="T6" fmla="*/ 1503 w 2188"/>
                <a:gd name="T7" fmla="*/ 593 h 2085"/>
                <a:gd name="T8" fmla="*/ 1478 w 2188"/>
                <a:gd name="T9" fmla="*/ 576 h 2085"/>
                <a:gd name="T10" fmla="*/ 1239 w 2188"/>
                <a:gd name="T11" fmla="*/ 90 h 2085"/>
                <a:gd name="T12" fmla="*/ 1094 w 2188"/>
                <a:gd name="T13" fmla="*/ 0 h 2085"/>
                <a:gd name="T14" fmla="*/ 949 w 2188"/>
                <a:gd name="T15" fmla="*/ 90 h 2085"/>
                <a:gd name="T16" fmla="*/ 710 w 2188"/>
                <a:gd name="T17" fmla="*/ 576 h 2085"/>
                <a:gd name="T18" fmla="*/ 685 w 2188"/>
                <a:gd name="T19" fmla="*/ 593 h 2085"/>
                <a:gd name="T20" fmla="*/ 150 w 2188"/>
                <a:gd name="T21" fmla="*/ 671 h 2085"/>
                <a:gd name="T22" fmla="*/ 19 w 2188"/>
                <a:gd name="T23" fmla="*/ 781 h 2085"/>
                <a:gd name="T24" fmla="*/ 60 w 2188"/>
                <a:gd name="T25" fmla="*/ 946 h 2085"/>
                <a:gd name="T26" fmla="*/ 448 w 2188"/>
                <a:gd name="T27" fmla="*/ 1324 h 2085"/>
                <a:gd name="T28" fmla="*/ 457 w 2188"/>
                <a:gd name="T29" fmla="*/ 1353 h 2085"/>
                <a:gd name="T30" fmla="*/ 366 w 2188"/>
                <a:gd name="T31" fmla="*/ 1886 h 2085"/>
                <a:gd name="T32" fmla="*/ 430 w 2188"/>
                <a:gd name="T33" fmla="*/ 2044 h 2085"/>
                <a:gd name="T34" fmla="*/ 600 w 2188"/>
                <a:gd name="T35" fmla="*/ 2056 h 2085"/>
                <a:gd name="T36" fmla="*/ 1079 w 2188"/>
                <a:gd name="T37" fmla="*/ 1805 h 2085"/>
                <a:gd name="T38" fmla="*/ 1109 w 2188"/>
                <a:gd name="T39" fmla="*/ 1805 h 2085"/>
                <a:gd name="T40" fmla="*/ 1588 w 2188"/>
                <a:gd name="T41" fmla="*/ 2056 h 2085"/>
                <a:gd name="T42" fmla="*/ 1663 w 2188"/>
                <a:gd name="T43" fmla="*/ 2075 h 2085"/>
                <a:gd name="T44" fmla="*/ 1758 w 2188"/>
                <a:gd name="T45" fmla="*/ 2044 h 2085"/>
                <a:gd name="T46" fmla="*/ 1822 w 2188"/>
                <a:gd name="T47" fmla="*/ 1886 h 2085"/>
                <a:gd name="T48" fmla="*/ 1731 w 2188"/>
                <a:gd name="T49" fmla="*/ 1353 h 2085"/>
                <a:gd name="T50" fmla="*/ 1740 w 2188"/>
                <a:gd name="T51" fmla="*/ 1324 h 2085"/>
                <a:gd name="T52" fmla="*/ 2128 w 2188"/>
                <a:gd name="T53" fmla="*/ 946 h 2085"/>
                <a:gd name="T54" fmla="*/ 1604 w 2188"/>
                <a:gd name="T55" fmla="*/ 1375 h 2085"/>
                <a:gd name="T56" fmla="*/ 1695 w 2188"/>
                <a:gd name="T57" fmla="*/ 1908 h 2085"/>
                <a:gd name="T58" fmla="*/ 1682 w 2188"/>
                <a:gd name="T59" fmla="*/ 1940 h 2085"/>
                <a:gd name="T60" fmla="*/ 1648 w 2188"/>
                <a:gd name="T61" fmla="*/ 1942 h 2085"/>
                <a:gd name="T62" fmla="*/ 1169 w 2188"/>
                <a:gd name="T63" fmla="*/ 1690 h 2085"/>
                <a:gd name="T64" fmla="*/ 1094 w 2188"/>
                <a:gd name="T65" fmla="*/ 1672 h 2085"/>
                <a:gd name="T66" fmla="*/ 1019 w 2188"/>
                <a:gd name="T67" fmla="*/ 1690 h 2085"/>
                <a:gd name="T68" fmla="*/ 540 w 2188"/>
                <a:gd name="T69" fmla="*/ 1942 h 2085"/>
                <a:gd name="T70" fmla="*/ 506 w 2188"/>
                <a:gd name="T71" fmla="*/ 1940 h 2085"/>
                <a:gd name="T72" fmla="*/ 493 w 2188"/>
                <a:gd name="T73" fmla="*/ 1908 h 2085"/>
                <a:gd name="T74" fmla="*/ 584 w 2188"/>
                <a:gd name="T75" fmla="*/ 1375 h 2085"/>
                <a:gd name="T76" fmla="*/ 538 w 2188"/>
                <a:gd name="T77" fmla="*/ 1232 h 2085"/>
                <a:gd name="T78" fmla="*/ 150 w 2188"/>
                <a:gd name="T79" fmla="*/ 854 h 2085"/>
                <a:gd name="T80" fmla="*/ 142 w 2188"/>
                <a:gd name="T81" fmla="*/ 821 h 2085"/>
                <a:gd name="T82" fmla="*/ 168 w 2188"/>
                <a:gd name="T83" fmla="*/ 799 h 2085"/>
                <a:gd name="T84" fmla="*/ 704 w 2188"/>
                <a:gd name="T85" fmla="*/ 721 h 2085"/>
                <a:gd name="T86" fmla="*/ 826 w 2188"/>
                <a:gd name="T87" fmla="*/ 633 h 2085"/>
                <a:gd name="T88" fmla="*/ 1065 w 2188"/>
                <a:gd name="T89" fmla="*/ 147 h 2085"/>
                <a:gd name="T90" fmla="*/ 1094 w 2188"/>
                <a:gd name="T91" fmla="*/ 129 h 2085"/>
                <a:gd name="T92" fmla="*/ 1123 w 2188"/>
                <a:gd name="T93" fmla="*/ 147 h 2085"/>
                <a:gd name="T94" fmla="*/ 1123 w 2188"/>
                <a:gd name="T95" fmla="*/ 147 h 2085"/>
                <a:gd name="T96" fmla="*/ 1363 w 2188"/>
                <a:gd name="T97" fmla="*/ 633 h 2085"/>
                <a:gd name="T98" fmla="*/ 1484 w 2188"/>
                <a:gd name="T99" fmla="*/ 721 h 2085"/>
                <a:gd name="T100" fmla="*/ 2020 w 2188"/>
                <a:gd name="T101" fmla="*/ 799 h 2085"/>
                <a:gd name="T102" fmla="*/ 2046 w 2188"/>
                <a:gd name="T103" fmla="*/ 821 h 2085"/>
                <a:gd name="T104" fmla="*/ 2038 w 2188"/>
                <a:gd name="T105" fmla="*/ 854 h 2085"/>
                <a:gd name="T106" fmla="*/ 1650 w 2188"/>
                <a:gd name="T107" fmla="*/ 1232 h 2085"/>
                <a:gd name="T108" fmla="*/ 1604 w 2188"/>
                <a:gd name="T109" fmla="*/ 1375 h 20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188" h="2085">
                  <a:moveTo>
                    <a:pt x="2128" y="946"/>
                  </a:moveTo>
                  <a:cubicBezTo>
                    <a:pt x="2172" y="903"/>
                    <a:pt x="2188" y="840"/>
                    <a:pt x="2169" y="781"/>
                  </a:cubicBezTo>
                  <a:cubicBezTo>
                    <a:pt x="2149" y="722"/>
                    <a:pt x="2100" y="680"/>
                    <a:pt x="2038" y="671"/>
                  </a:cubicBezTo>
                  <a:cubicBezTo>
                    <a:pt x="1503" y="593"/>
                    <a:pt x="1503" y="593"/>
                    <a:pt x="1503" y="593"/>
                  </a:cubicBezTo>
                  <a:cubicBezTo>
                    <a:pt x="1492" y="592"/>
                    <a:pt x="1483" y="585"/>
                    <a:pt x="1478" y="576"/>
                  </a:cubicBezTo>
                  <a:cubicBezTo>
                    <a:pt x="1239" y="90"/>
                    <a:pt x="1239" y="90"/>
                    <a:pt x="1239" y="90"/>
                  </a:cubicBezTo>
                  <a:cubicBezTo>
                    <a:pt x="1211" y="35"/>
                    <a:pt x="1156" y="0"/>
                    <a:pt x="1094" y="0"/>
                  </a:cubicBezTo>
                  <a:cubicBezTo>
                    <a:pt x="1032" y="0"/>
                    <a:pt x="977" y="35"/>
                    <a:pt x="949" y="90"/>
                  </a:cubicBezTo>
                  <a:cubicBezTo>
                    <a:pt x="710" y="576"/>
                    <a:pt x="710" y="576"/>
                    <a:pt x="710" y="576"/>
                  </a:cubicBezTo>
                  <a:cubicBezTo>
                    <a:pt x="705" y="585"/>
                    <a:pt x="696" y="592"/>
                    <a:pt x="685" y="593"/>
                  </a:cubicBezTo>
                  <a:cubicBezTo>
                    <a:pt x="150" y="671"/>
                    <a:pt x="150" y="671"/>
                    <a:pt x="150" y="671"/>
                  </a:cubicBezTo>
                  <a:cubicBezTo>
                    <a:pt x="88" y="680"/>
                    <a:pt x="39" y="722"/>
                    <a:pt x="19" y="781"/>
                  </a:cubicBezTo>
                  <a:cubicBezTo>
                    <a:pt x="0" y="840"/>
                    <a:pt x="16" y="903"/>
                    <a:pt x="60" y="946"/>
                  </a:cubicBezTo>
                  <a:cubicBezTo>
                    <a:pt x="448" y="1324"/>
                    <a:pt x="448" y="1324"/>
                    <a:pt x="448" y="1324"/>
                  </a:cubicBezTo>
                  <a:cubicBezTo>
                    <a:pt x="455" y="1332"/>
                    <a:pt x="459" y="1342"/>
                    <a:pt x="457" y="1353"/>
                  </a:cubicBezTo>
                  <a:cubicBezTo>
                    <a:pt x="366" y="1886"/>
                    <a:pt x="366" y="1886"/>
                    <a:pt x="366" y="1886"/>
                  </a:cubicBezTo>
                  <a:cubicBezTo>
                    <a:pt x="355" y="1947"/>
                    <a:pt x="380" y="2008"/>
                    <a:pt x="430" y="2044"/>
                  </a:cubicBezTo>
                  <a:cubicBezTo>
                    <a:pt x="480" y="2081"/>
                    <a:pt x="545" y="2085"/>
                    <a:pt x="600" y="2056"/>
                  </a:cubicBezTo>
                  <a:cubicBezTo>
                    <a:pt x="1079" y="1805"/>
                    <a:pt x="1079" y="1805"/>
                    <a:pt x="1079" y="1805"/>
                  </a:cubicBezTo>
                  <a:cubicBezTo>
                    <a:pt x="1088" y="1800"/>
                    <a:pt x="1100" y="1800"/>
                    <a:pt x="1109" y="1805"/>
                  </a:cubicBezTo>
                  <a:cubicBezTo>
                    <a:pt x="1588" y="2056"/>
                    <a:pt x="1588" y="2056"/>
                    <a:pt x="1588" y="2056"/>
                  </a:cubicBezTo>
                  <a:cubicBezTo>
                    <a:pt x="1612" y="2069"/>
                    <a:pt x="1638" y="2075"/>
                    <a:pt x="1663" y="2075"/>
                  </a:cubicBezTo>
                  <a:cubicBezTo>
                    <a:pt x="1697" y="2075"/>
                    <a:pt x="1730" y="2065"/>
                    <a:pt x="1758" y="2044"/>
                  </a:cubicBezTo>
                  <a:cubicBezTo>
                    <a:pt x="1808" y="2008"/>
                    <a:pt x="1833" y="1947"/>
                    <a:pt x="1822" y="1886"/>
                  </a:cubicBezTo>
                  <a:cubicBezTo>
                    <a:pt x="1731" y="1353"/>
                    <a:pt x="1731" y="1353"/>
                    <a:pt x="1731" y="1353"/>
                  </a:cubicBezTo>
                  <a:cubicBezTo>
                    <a:pt x="1729" y="1342"/>
                    <a:pt x="1733" y="1332"/>
                    <a:pt x="1740" y="1324"/>
                  </a:cubicBezTo>
                  <a:lnTo>
                    <a:pt x="2128" y="946"/>
                  </a:lnTo>
                  <a:close/>
                  <a:moveTo>
                    <a:pt x="1604" y="1375"/>
                  </a:moveTo>
                  <a:cubicBezTo>
                    <a:pt x="1695" y="1908"/>
                    <a:pt x="1695" y="1908"/>
                    <a:pt x="1695" y="1908"/>
                  </a:cubicBezTo>
                  <a:cubicBezTo>
                    <a:pt x="1698" y="1926"/>
                    <a:pt x="1687" y="1936"/>
                    <a:pt x="1682" y="1940"/>
                  </a:cubicBezTo>
                  <a:cubicBezTo>
                    <a:pt x="1677" y="1943"/>
                    <a:pt x="1664" y="1951"/>
                    <a:pt x="1648" y="1942"/>
                  </a:cubicBezTo>
                  <a:cubicBezTo>
                    <a:pt x="1169" y="1690"/>
                    <a:pt x="1169" y="1690"/>
                    <a:pt x="1169" y="1690"/>
                  </a:cubicBezTo>
                  <a:cubicBezTo>
                    <a:pt x="1146" y="1678"/>
                    <a:pt x="1120" y="1672"/>
                    <a:pt x="1094" y="1672"/>
                  </a:cubicBezTo>
                  <a:cubicBezTo>
                    <a:pt x="1068" y="1672"/>
                    <a:pt x="1042" y="1678"/>
                    <a:pt x="1019" y="1690"/>
                  </a:cubicBezTo>
                  <a:cubicBezTo>
                    <a:pt x="540" y="1942"/>
                    <a:pt x="540" y="1942"/>
                    <a:pt x="540" y="1942"/>
                  </a:cubicBezTo>
                  <a:cubicBezTo>
                    <a:pt x="524" y="1951"/>
                    <a:pt x="511" y="1943"/>
                    <a:pt x="506" y="1940"/>
                  </a:cubicBezTo>
                  <a:cubicBezTo>
                    <a:pt x="501" y="1936"/>
                    <a:pt x="490" y="1926"/>
                    <a:pt x="493" y="1908"/>
                  </a:cubicBezTo>
                  <a:cubicBezTo>
                    <a:pt x="584" y="1375"/>
                    <a:pt x="584" y="1375"/>
                    <a:pt x="584" y="1375"/>
                  </a:cubicBezTo>
                  <a:cubicBezTo>
                    <a:pt x="593" y="1322"/>
                    <a:pt x="576" y="1269"/>
                    <a:pt x="538" y="1232"/>
                  </a:cubicBezTo>
                  <a:cubicBezTo>
                    <a:pt x="150" y="854"/>
                    <a:pt x="150" y="854"/>
                    <a:pt x="150" y="854"/>
                  </a:cubicBezTo>
                  <a:cubicBezTo>
                    <a:pt x="137" y="841"/>
                    <a:pt x="140" y="827"/>
                    <a:pt x="142" y="821"/>
                  </a:cubicBezTo>
                  <a:cubicBezTo>
                    <a:pt x="144" y="815"/>
                    <a:pt x="150" y="801"/>
                    <a:pt x="168" y="799"/>
                  </a:cubicBezTo>
                  <a:cubicBezTo>
                    <a:pt x="704" y="721"/>
                    <a:pt x="704" y="721"/>
                    <a:pt x="704" y="721"/>
                  </a:cubicBezTo>
                  <a:cubicBezTo>
                    <a:pt x="757" y="713"/>
                    <a:pt x="802" y="680"/>
                    <a:pt x="826" y="633"/>
                  </a:cubicBezTo>
                  <a:cubicBezTo>
                    <a:pt x="1065" y="147"/>
                    <a:pt x="1065" y="147"/>
                    <a:pt x="1065" y="147"/>
                  </a:cubicBezTo>
                  <a:cubicBezTo>
                    <a:pt x="1073" y="131"/>
                    <a:pt x="1088" y="129"/>
                    <a:pt x="1094" y="129"/>
                  </a:cubicBezTo>
                  <a:cubicBezTo>
                    <a:pt x="1100" y="129"/>
                    <a:pt x="1115" y="131"/>
                    <a:pt x="1123" y="147"/>
                  </a:cubicBezTo>
                  <a:cubicBezTo>
                    <a:pt x="1123" y="147"/>
                    <a:pt x="1123" y="147"/>
                    <a:pt x="1123" y="147"/>
                  </a:cubicBezTo>
                  <a:cubicBezTo>
                    <a:pt x="1363" y="633"/>
                    <a:pt x="1363" y="633"/>
                    <a:pt x="1363" y="633"/>
                  </a:cubicBezTo>
                  <a:cubicBezTo>
                    <a:pt x="1386" y="680"/>
                    <a:pt x="1431" y="713"/>
                    <a:pt x="1484" y="721"/>
                  </a:cubicBezTo>
                  <a:cubicBezTo>
                    <a:pt x="2020" y="799"/>
                    <a:pt x="2020" y="799"/>
                    <a:pt x="2020" y="799"/>
                  </a:cubicBezTo>
                  <a:cubicBezTo>
                    <a:pt x="2038" y="801"/>
                    <a:pt x="2044" y="815"/>
                    <a:pt x="2046" y="821"/>
                  </a:cubicBezTo>
                  <a:cubicBezTo>
                    <a:pt x="2048" y="827"/>
                    <a:pt x="2051" y="841"/>
                    <a:pt x="2038" y="854"/>
                  </a:cubicBezTo>
                  <a:cubicBezTo>
                    <a:pt x="1650" y="1232"/>
                    <a:pt x="1650" y="1232"/>
                    <a:pt x="1650" y="1232"/>
                  </a:cubicBezTo>
                  <a:cubicBezTo>
                    <a:pt x="1612" y="1269"/>
                    <a:pt x="1595" y="1322"/>
                    <a:pt x="1604" y="137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24">
              <a:extLst>
                <a:ext uri="{FF2B5EF4-FFF2-40B4-BE49-F238E27FC236}">
                  <a16:creationId xmlns:a16="http://schemas.microsoft.com/office/drawing/2014/main" id="{1BC1C4BC-164D-8BF4-1540-A3D42C6AE5FE}"/>
                </a:ext>
              </a:extLst>
            </p:cNvPr>
            <p:cNvSpPr>
              <a:spLocks/>
            </p:cNvSpPr>
            <p:nvPr/>
          </p:nvSpPr>
          <p:spPr bwMode="auto">
            <a:xfrm>
              <a:off x="-1351539" y="-182563"/>
              <a:ext cx="406400" cy="439738"/>
            </a:xfrm>
            <a:custGeom>
              <a:avLst/>
              <a:gdLst>
                <a:gd name="T0" fmla="*/ 179 w 215"/>
                <a:gd name="T1" fmla="*/ 21 h 232"/>
                <a:gd name="T2" fmla="*/ 89 w 215"/>
                <a:gd name="T3" fmla="*/ 35 h 232"/>
                <a:gd name="T4" fmla="*/ 21 w 215"/>
                <a:gd name="T5" fmla="*/ 130 h 232"/>
                <a:gd name="T6" fmla="*/ 35 w 215"/>
                <a:gd name="T7" fmla="*/ 220 h 232"/>
                <a:gd name="T8" fmla="*/ 73 w 215"/>
                <a:gd name="T9" fmla="*/ 232 h 232"/>
                <a:gd name="T10" fmla="*/ 125 w 215"/>
                <a:gd name="T11" fmla="*/ 206 h 232"/>
                <a:gd name="T12" fmla="*/ 194 w 215"/>
                <a:gd name="T13" fmla="*/ 111 h 232"/>
                <a:gd name="T14" fmla="*/ 179 w 215"/>
                <a:gd name="T15" fmla="*/ 21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5" h="232">
                  <a:moveTo>
                    <a:pt x="179" y="21"/>
                  </a:moveTo>
                  <a:cubicBezTo>
                    <a:pt x="151" y="0"/>
                    <a:pt x="110" y="7"/>
                    <a:pt x="89" y="35"/>
                  </a:cubicBezTo>
                  <a:cubicBezTo>
                    <a:pt x="21" y="130"/>
                    <a:pt x="21" y="130"/>
                    <a:pt x="21" y="130"/>
                  </a:cubicBezTo>
                  <a:cubicBezTo>
                    <a:pt x="0" y="159"/>
                    <a:pt x="6" y="199"/>
                    <a:pt x="35" y="220"/>
                  </a:cubicBezTo>
                  <a:cubicBezTo>
                    <a:pt x="46" y="228"/>
                    <a:pt x="60" y="232"/>
                    <a:pt x="73" y="232"/>
                  </a:cubicBezTo>
                  <a:cubicBezTo>
                    <a:pt x="93" y="232"/>
                    <a:pt x="113" y="223"/>
                    <a:pt x="125" y="206"/>
                  </a:cubicBezTo>
                  <a:cubicBezTo>
                    <a:pt x="194" y="111"/>
                    <a:pt x="194" y="111"/>
                    <a:pt x="194" y="111"/>
                  </a:cubicBezTo>
                  <a:cubicBezTo>
                    <a:pt x="215" y="83"/>
                    <a:pt x="208" y="42"/>
                    <a:pt x="179" y="2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25">
              <a:extLst>
                <a:ext uri="{FF2B5EF4-FFF2-40B4-BE49-F238E27FC236}">
                  <a16:creationId xmlns:a16="http://schemas.microsoft.com/office/drawing/2014/main" id="{7A09C9D9-C5AD-6E6A-C6CC-2505B1F00A9E}"/>
                </a:ext>
              </a:extLst>
            </p:cNvPr>
            <p:cNvSpPr>
              <a:spLocks/>
            </p:cNvSpPr>
            <p:nvPr/>
          </p:nvSpPr>
          <p:spPr bwMode="auto">
            <a:xfrm>
              <a:off x="-3934402" y="-182563"/>
              <a:ext cx="407988" cy="439738"/>
            </a:xfrm>
            <a:custGeom>
              <a:avLst/>
              <a:gdLst>
                <a:gd name="T0" fmla="*/ 194 w 215"/>
                <a:gd name="T1" fmla="*/ 129 h 232"/>
                <a:gd name="T2" fmla="*/ 126 w 215"/>
                <a:gd name="T3" fmla="*/ 35 h 232"/>
                <a:gd name="T4" fmla="*/ 35 w 215"/>
                <a:gd name="T5" fmla="*/ 21 h 232"/>
                <a:gd name="T6" fmla="*/ 21 w 215"/>
                <a:gd name="T7" fmla="*/ 111 h 232"/>
                <a:gd name="T8" fmla="*/ 90 w 215"/>
                <a:gd name="T9" fmla="*/ 205 h 232"/>
                <a:gd name="T10" fmla="*/ 142 w 215"/>
                <a:gd name="T11" fmla="*/ 232 h 232"/>
                <a:gd name="T12" fmla="*/ 180 w 215"/>
                <a:gd name="T13" fmla="*/ 220 h 232"/>
                <a:gd name="T14" fmla="*/ 194 w 215"/>
                <a:gd name="T15" fmla="*/ 129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5" h="232">
                  <a:moveTo>
                    <a:pt x="194" y="129"/>
                  </a:moveTo>
                  <a:cubicBezTo>
                    <a:pt x="126" y="35"/>
                    <a:pt x="126" y="35"/>
                    <a:pt x="126" y="35"/>
                  </a:cubicBezTo>
                  <a:cubicBezTo>
                    <a:pt x="105" y="6"/>
                    <a:pt x="64" y="0"/>
                    <a:pt x="35" y="21"/>
                  </a:cubicBezTo>
                  <a:cubicBezTo>
                    <a:pt x="6" y="42"/>
                    <a:pt x="0" y="82"/>
                    <a:pt x="21" y="111"/>
                  </a:cubicBezTo>
                  <a:cubicBezTo>
                    <a:pt x="90" y="205"/>
                    <a:pt x="90" y="205"/>
                    <a:pt x="90" y="205"/>
                  </a:cubicBezTo>
                  <a:cubicBezTo>
                    <a:pt x="102" y="223"/>
                    <a:pt x="122" y="232"/>
                    <a:pt x="142" y="232"/>
                  </a:cubicBezTo>
                  <a:cubicBezTo>
                    <a:pt x="155" y="232"/>
                    <a:pt x="168" y="228"/>
                    <a:pt x="180" y="220"/>
                  </a:cubicBezTo>
                  <a:cubicBezTo>
                    <a:pt x="209" y="199"/>
                    <a:pt x="215" y="158"/>
                    <a:pt x="194" y="12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26">
              <a:extLst>
                <a:ext uri="{FF2B5EF4-FFF2-40B4-BE49-F238E27FC236}">
                  <a16:creationId xmlns:a16="http://schemas.microsoft.com/office/drawing/2014/main" id="{6B598BE6-2586-3EAF-527C-306A9ED9BE2F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69427" y="2336800"/>
              <a:ext cx="484188" cy="328613"/>
            </a:xfrm>
            <a:custGeom>
              <a:avLst/>
              <a:gdLst>
                <a:gd name="T0" fmla="*/ 245 w 256"/>
                <a:gd name="T1" fmla="*/ 52 h 173"/>
                <a:gd name="T2" fmla="*/ 164 w 256"/>
                <a:gd name="T3" fmla="*/ 11 h 173"/>
                <a:gd name="T4" fmla="*/ 53 w 256"/>
                <a:gd name="T5" fmla="*/ 47 h 173"/>
                <a:gd name="T6" fmla="*/ 11 w 256"/>
                <a:gd name="T7" fmla="*/ 128 h 173"/>
                <a:gd name="T8" fmla="*/ 73 w 256"/>
                <a:gd name="T9" fmla="*/ 173 h 173"/>
                <a:gd name="T10" fmla="*/ 93 w 256"/>
                <a:gd name="T11" fmla="*/ 169 h 173"/>
                <a:gd name="T12" fmla="*/ 203 w 256"/>
                <a:gd name="T13" fmla="*/ 133 h 173"/>
                <a:gd name="T14" fmla="*/ 245 w 256"/>
                <a:gd name="T15" fmla="*/ 52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6" h="173">
                  <a:moveTo>
                    <a:pt x="245" y="52"/>
                  </a:moveTo>
                  <a:cubicBezTo>
                    <a:pt x="234" y="18"/>
                    <a:pt x="197" y="0"/>
                    <a:pt x="164" y="11"/>
                  </a:cubicBezTo>
                  <a:cubicBezTo>
                    <a:pt x="53" y="47"/>
                    <a:pt x="53" y="47"/>
                    <a:pt x="53" y="47"/>
                  </a:cubicBezTo>
                  <a:cubicBezTo>
                    <a:pt x="19" y="58"/>
                    <a:pt x="0" y="94"/>
                    <a:pt x="11" y="128"/>
                  </a:cubicBezTo>
                  <a:cubicBezTo>
                    <a:pt x="20" y="155"/>
                    <a:pt x="45" y="173"/>
                    <a:pt x="73" y="173"/>
                  </a:cubicBezTo>
                  <a:cubicBezTo>
                    <a:pt x="79" y="173"/>
                    <a:pt x="86" y="172"/>
                    <a:pt x="93" y="169"/>
                  </a:cubicBezTo>
                  <a:cubicBezTo>
                    <a:pt x="203" y="133"/>
                    <a:pt x="203" y="133"/>
                    <a:pt x="203" y="133"/>
                  </a:cubicBezTo>
                  <a:cubicBezTo>
                    <a:pt x="237" y="122"/>
                    <a:pt x="256" y="86"/>
                    <a:pt x="245" y="5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27">
              <a:extLst>
                <a:ext uri="{FF2B5EF4-FFF2-40B4-BE49-F238E27FC236}">
                  <a16:creationId xmlns:a16="http://schemas.microsoft.com/office/drawing/2014/main" id="{F3A8A4D4-0189-DBC9-F75E-4525A701B283}"/>
                </a:ext>
              </a:extLst>
            </p:cNvPr>
            <p:cNvSpPr>
              <a:spLocks/>
            </p:cNvSpPr>
            <p:nvPr/>
          </p:nvSpPr>
          <p:spPr bwMode="auto">
            <a:xfrm>
              <a:off x="-2562802" y="3795712"/>
              <a:ext cx="246063" cy="466725"/>
            </a:xfrm>
            <a:custGeom>
              <a:avLst/>
              <a:gdLst>
                <a:gd name="T0" fmla="*/ 65 w 130"/>
                <a:gd name="T1" fmla="*/ 0 h 246"/>
                <a:gd name="T2" fmla="*/ 0 w 130"/>
                <a:gd name="T3" fmla="*/ 65 h 246"/>
                <a:gd name="T4" fmla="*/ 0 w 130"/>
                <a:gd name="T5" fmla="*/ 181 h 246"/>
                <a:gd name="T6" fmla="*/ 65 w 130"/>
                <a:gd name="T7" fmla="*/ 246 h 246"/>
                <a:gd name="T8" fmla="*/ 130 w 130"/>
                <a:gd name="T9" fmla="*/ 181 h 246"/>
                <a:gd name="T10" fmla="*/ 130 w 130"/>
                <a:gd name="T11" fmla="*/ 65 h 246"/>
                <a:gd name="T12" fmla="*/ 65 w 130"/>
                <a:gd name="T13" fmla="*/ 0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" h="246">
                  <a:moveTo>
                    <a:pt x="65" y="0"/>
                  </a:moveTo>
                  <a:cubicBezTo>
                    <a:pt x="29" y="0"/>
                    <a:pt x="0" y="29"/>
                    <a:pt x="0" y="65"/>
                  </a:cubicBezTo>
                  <a:cubicBezTo>
                    <a:pt x="0" y="181"/>
                    <a:pt x="0" y="181"/>
                    <a:pt x="0" y="181"/>
                  </a:cubicBezTo>
                  <a:cubicBezTo>
                    <a:pt x="0" y="217"/>
                    <a:pt x="29" y="246"/>
                    <a:pt x="65" y="246"/>
                  </a:cubicBezTo>
                  <a:cubicBezTo>
                    <a:pt x="101" y="246"/>
                    <a:pt x="130" y="217"/>
                    <a:pt x="130" y="181"/>
                  </a:cubicBezTo>
                  <a:cubicBezTo>
                    <a:pt x="130" y="65"/>
                    <a:pt x="130" y="65"/>
                    <a:pt x="130" y="65"/>
                  </a:cubicBezTo>
                  <a:cubicBezTo>
                    <a:pt x="130" y="29"/>
                    <a:pt x="101" y="0"/>
                    <a:pt x="6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28">
              <a:extLst>
                <a:ext uri="{FF2B5EF4-FFF2-40B4-BE49-F238E27FC236}">
                  <a16:creationId xmlns:a16="http://schemas.microsoft.com/office/drawing/2014/main" id="{8FE9C770-6DA4-4B8F-F853-29C818B44A91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2714" y="2336800"/>
              <a:ext cx="484188" cy="328613"/>
            </a:xfrm>
            <a:custGeom>
              <a:avLst/>
              <a:gdLst>
                <a:gd name="T0" fmla="*/ 203 w 256"/>
                <a:gd name="T1" fmla="*/ 47 h 173"/>
                <a:gd name="T2" fmla="*/ 92 w 256"/>
                <a:gd name="T3" fmla="*/ 11 h 173"/>
                <a:gd name="T4" fmla="*/ 11 w 256"/>
                <a:gd name="T5" fmla="*/ 52 h 173"/>
                <a:gd name="T6" fmla="*/ 53 w 256"/>
                <a:gd name="T7" fmla="*/ 133 h 173"/>
                <a:gd name="T8" fmla="*/ 163 w 256"/>
                <a:gd name="T9" fmla="*/ 170 h 173"/>
                <a:gd name="T10" fmla="*/ 183 w 256"/>
                <a:gd name="T11" fmla="*/ 173 h 173"/>
                <a:gd name="T12" fmla="*/ 245 w 256"/>
                <a:gd name="T13" fmla="*/ 128 h 173"/>
                <a:gd name="T14" fmla="*/ 203 w 256"/>
                <a:gd name="T15" fmla="*/ 47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6" h="173">
                  <a:moveTo>
                    <a:pt x="203" y="47"/>
                  </a:moveTo>
                  <a:cubicBezTo>
                    <a:pt x="92" y="11"/>
                    <a:pt x="92" y="11"/>
                    <a:pt x="92" y="11"/>
                  </a:cubicBezTo>
                  <a:cubicBezTo>
                    <a:pt x="59" y="0"/>
                    <a:pt x="22" y="18"/>
                    <a:pt x="11" y="52"/>
                  </a:cubicBezTo>
                  <a:cubicBezTo>
                    <a:pt x="0" y="86"/>
                    <a:pt x="19" y="122"/>
                    <a:pt x="53" y="133"/>
                  </a:cubicBezTo>
                  <a:cubicBezTo>
                    <a:pt x="163" y="170"/>
                    <a:pt x="163" y="170"/>
                    <a:pt x="163" y="170"/>
                  </a:cubicBezTo>
                  <a:cubicBezTo>
                    <a:pt x="170" y="172"/>
                    <a:pt x="177" y="173"/>
                    <a:pt x="183" y="173"/>
                  </a:cubicBezTo>
                  <a:cubicBezTo>
                    <a:pt x="211" y="173"/>
                    <a:pt x="236" y="155"/>
                    <a:pt x="245" y="128"/>
                  </a:cubicBezTo>
                  <a:cubicBezTo>
                    <a:pt x="256" y="94"/>
                    <a:pt x="237" y="58"/>
                    <a:pt x="203" y="4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074408591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8B6199-FBF9-6179-8F97-13268BCC6F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BDCD907C-9629-59D4-EA02-B8A15663B89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25" imgH="426" progId="TCLayout.ActiveDocument.1">
                  <p:embed/>
                </p:oleObj>
              </mc:Choice>
              <mc:Fallback>
                <p:oleObj name="think-cell Slide" r:id="rId8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DCD907C-9629-59D4-EA02-B8A15663B8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2BFA9BA-05A3-F263-918D-A2ED7F9F28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rocess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38AE951C-F37F-CDE5-F183-7957398FD814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86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8" name="Arrow: Up 6">
            <a:extLst>
              <a:ext uri="{FF2B5EF4-FFF2-40B4-BE49-F238E27FC236}">
                <a16:creationId xmlns:a16="http://schemas.microsoft.com/office/drawing/2014/main" id="{AD685E5F-88A1-5F6E-085A-99CE385D3B69}"/>
              </a:ext>
            </a:extLst>
          </p:cNvPr>
          <p:cNvSpPr/>
          <p:nvPr/>
        </p:nvSpPr>
        <p:spPr>
          <a:xfrm rot="2732579" flipH="1">
            <a:off x="6849915" y="1514156"/>
            <a:ext cx="2807517" cy="2476331"/>
          </a:xfrm>
          <a:prstGeom prst="upArrow">
            <a:avLst>
              <a:gd name="adj1" fmla="val 68657"/>
              <a:gd name="adj2" fmla="val 50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/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E3CF69EF-8FD6-AD6D-DEA2-AD281D791854}"/>
              </a:ext>
            </a:extLst>
          </p:cNvPr>
          <p:cNvGrpSpPr/>
          <p:nvPr/>
        </p:nvGrpSpPr>
        <p:grpSpPr>
          <a:xfrm>
            <a:off x="717925" y="1247812"/>
            <a:ext cx="11044537" cy="4537863"/>
            <a:chOff x="700646" y="1525604"/>
            <a:chExt cx="11044537" cy="4537863"/>
          </a:xfrm>
        </p:grpSpPr>
        <p:sp>
          <p:nvSpPr>
            <p:cNvPr id="40" name="Freeform: Shape 12">
              <a:extLst>
                <a:ext uri="{FF2B5EF4-FFF2-40B4-BE49-F238E27FC236}">
                  <a16:creationId xmlns:a16="http://schemas.microsoft.com/office/drawing/2014/main" id="{FA02C344-C788-E7EE-4370-EDCED44C1758}"/>
                </a:ext>
              </a:extLst>
            </p:cNvPr>
            <p:cNvSpPr/>
            <p:nvPr/>
          </p:nvSpPr>
          <p:spPr>
            <a:xfrm rot="2732579" flipH="1">
              <a:off x="5552438" y="3735144"/>
              <a:ext cx="1941460" cy="1941467"/>
            </a:xfrm>
            <a:custGeom>
              <a:avLst/>
              <a:gdLst>
                <a:gd name="connsiteX0" fmla="*/ 0 w 585787"/>
                <a:gd name="connsiteY0" fmla="*/ 0 h 585789"/>
                <a:gd name="connsiteX1" fmla="*/ 585787 w 585787"/>
                <a:gd name="connsiteY1" fmla="*/ 0 h 585789"/>
                <a:gd name="connsiteX2" fmla="*/ 585787 w 585787"/>
                <a:gd name="connsiteY2" fmla="*/ 585789 h 585789"/>
                <a:gd name="connsiteX3" fmla="*/ 467731 w 585787"/>
                <a:gd name="connsiteY3" fmla="*/ 573888 h 585789"/>
                <a:gd name="connsiteX4" fmla="*/ 0 w 585787"/>
                <a:gd name="connsiteY4" fmla="*/ 1 h 585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85787" h="585789">
                  <a:moveTo>
                    <a:pt x="0" y="0"/>
                  </a:moveTo>
                  <a:lnTo>
                    <a:pt x="585787" y="0"/>
                  </a:lnTo>
                  <a:lnTo>
                    <a:pt x="585787" y="585789"/>
                  </a:lnTo>
                  <a:lnTo>
                    <a:pt x="467731" y="573888"/>
                  </a:lnTo>
                  <a:cubicBezTo>
                    <a:pt x="200798" y="519266"/>
                    <a:pt x="0" y="283083"/>
                    <a:pt x="0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/>
            </a:p>
          </p:txBody>
        </p:sp>
        <p:sp>
          <p:nvSpPr>
            <p:cNvPr id="41" name="Freeform: Shape 13">
              <a:extLst>
                <a:ext uri="{FF2B5EF4-FFF2-40B4-BE49-F238E27FC236}">
                  <a16:creationId xmlns:a16="http://schemas.microsoft.com/office/drawing/2014/main" id="{E83CEA45-6C48-AA66-4451-18AC7A53486A}"/>
                </a:ext>
              </a:extLst>
            </p:cNvPr>
            <p:cNvSpPr/>
            <p:nvPr/>
          </p:nvSpPr>
          <p:spPr>
            <a:xfrm rot="13532579" flipH="1">
              <a:off x="4039000" y="2192746"/>
              <a:ext cx="1941460" cy="1941467"/>
            </a:xfrm>
            <a:custGeom>
              <a:avLst/>
              <a:gdLst>
                <a:gd name="connsiteX0" fmla="*/ 0 w 585787"/>
                <a:gd name="connsiteY0" fmla="*/ 0 h 585789"/>
                <a:gd name="connsiteX1" fmla="*/ 585787 w 585787"/>
                <a:gd name="connsiteY1" fmla="*/ 0 h 585789"/>
                <a:gd name="connsiteX2" fmla="*/ 585787 w 585787"/>
                <a:gd name="connsiteY2" fmla="*/ 585789 h 585789"/>
                <a:gd name="connsiteX3" fmla="*/ 467731 w 585787"/>
                <a:gd name="connsiteY3" fmla="*/ 573888 h 585789"/>
                <a:gd name="connsiteX4" fmla="*/ 0 w 585787"/>
                <a:gd name="connsiteY4" fmla="*/ 1 h 585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85787" h="585789">
                  <a:moveTo>
                    <a:pt x="0" y="0"/>
                  </a:moveTo>
                  <a:lnTo>
                    <a:pt x="585787" y="0"/>
                  </a:lnTo>
                  <a:lnTo>
                    <a:pt x="585787" y="585789"/>
                  </a:lnTo>
                  <a:lnTo>
                    <a:pt x="467731" y="573888"/>
                  </a:lnTo>
                  <a:cubicBezTo>
                    <a:pt x="200798" y="519266"/>
                    <a:pt x="0" y="283083"/>
                    <a:pt x="0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/>
            </a:p>
          </p:txBody>
        </p:sp>
        <p:sp>
          <p:nvSpPr>
            <p:cNvPr id="42" name="Freeform: Shape 14">
              <a:extLst>
                <a:ext uri="{FF2B5EF4-FFF2-40B4-BE49-F238E27FC236}">
                  <a16:creationId xmlns:a16="http://schemas.microsoft.com/office/drawing/2014/main" id="{32EFD765-6391-62B1-3FC4-DD1409B5C4B8}"/>
                </a:ext>
              </a:extLst>
            </p:cNvPr>
            <p:cNvSpPr/>
            <p:nvPr/>
          </p:nvSpPr>
          <p:spPr>
            <a:xfrm rot="2732579" flipH="1">
              <a:off x="2519305" y="3683905"/>
              <a:ext cx="1941460" cy="1941467"/>
            </a:xfrm>
            <a:custGeom>
              <a:avLst/>
              <a:gdLst>
                <a:gd name="connsiteX0" fmla="*/ 0 w 585787"/>
                <a:gd name="connsiteY0" fmla="*/ 0 h 585789"/>
                <a:gd name="connsiteX1" fmla="*/ 585787 w 585787"/>
                <a:gd name="connsiteY1" fmla="*/ 0 h 585789"/>
                <a:gd name="connsiteX2" fmla="*/ 585787 w 585787"/>
                <a:gd name="connsiteY2" fmla="*/ 585789 h 585789"/>
                <a:gd name="connsiteX3" fmla="*/ 467731 w 585787"/>
                <a:gd name="connsiteY3" fmla="*/ 573888 h 585789"/>
                <a:gd name="connsiteX4" fmla="*/ 0 w 585787"/>
                <a:gd name="connsiteY4" fmla="*/ 1 h 585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85787" h="585789">
                  <a:moveTo>
                    <a:pt x="0" y="0"/>
                  </a:moveTo>
                  <a:lnTo>
                    <a:pt x="585787" y="0"/>
                  </a:lnTo>
                  <a:lnTo>
                    <a:pt x="585787" y="585789"/>
                  </a:lnTo>
                  <a:lnTo>
                    <a:pt x="467731" y="573888"/>
                  </a:lnTo>
                  <a:cubicBezTo>
                    <a:pt x="200798" y="519266"/>
                    <a:pt x="0" y="283083"/>
                    <a:pt x="0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/>
            </a:p>
          </p:txBody>
        </p:sp>
        <p:sp>
          <p:nvSpPr>
            <p:cNvPr id="43" name="Freeform: Shape 15">
              <a:extLst>
                <a:ext uri="{FF2B5EF4-FFF2-40B4-BE49-F238E27FC236}">
                  <a16:creationId xmlns:a16="http://schemas.microsoft.com/office/drawing/2014/main" id="{09C3FB36-82B6-2EFD-04DC-69CA2ABB0873}"/>
                </a:ext>
              </a:extLst>
            </p:cNvPr>
            <p:cNvSpPr/>
            <p:nvPr/>
          </p:nvSpPr>
          <p:spPr>
            <a:xfrm rot="13532579" flipH="1">
              <a:off x="1005868" y="2141507"/>
              <a:ext cx="1941460" cy="1941467"/>
            </a:xfrm>
            <a:custGeom>
              <a:avLst/>
              <a:gdLst>
                <a:gd name="connsiteX0" fmla="*/ 0 w 585787"/>
                <a:gd name="connsiteY0" fmla="*/ 0 h 585789"/>
                <a:gd name="connsiteX1" fmla="*/ 585787 w 585787"/>
                <a:gd name="connsiteY1" fmla="*/ 0 h 585789"/>
                <a:gd name="connsiteX2" fmla="*/ 585787 w 585787"/>
                <a:gd name="connsiteY2" fmla="*/ 585789 h 585789"/>
                <a:gd name="connsiteX3" fmla="*/ 467731 w 585787"/>
                <a:gd name="connsiteY3" fmla="*/ 573888 h 585789"/>
                <a:gd name="connsiteX4" fmla="*/ 0 w 585787"/>
                <a:gd name="connsiteY4" fmla="*/ 1 h 585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85787" h="585789">
                  <a:moveTo>
                    <a:pt x="0" y="0"/>
                  </a:moveTo>
                  <a:lnTo>
                    <a:pt x="585787" y="0"/>
                  </a:lnTo>
                  <a:lnTo>
                    <a:pt x="585787" y="585789"/>
                  </a:lnTo>
                  <a:lnTo>
                    <a:pt x="467731" y="573888"/>
                  </a:lnTo>
                  <a:cubicBezTo>
                    <a:pt x="200798" y="519266"/>
                    <a:pt x="0" y="283083"/>
                    <a:pt x="0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dirty="0"/>
            </a:p>
          </p:txBody>
        </p:sp>
        <p:sp>
          <p:nvSpPr>
            <p:cNvPr id="44" name="Shape1_20180321_155333">
              <a:extLst>
                <a:ext uri="{FF2B5EF4-FFF2-40B4-BE49-F238E27FC236}">
                  <a16:creationId xmlns:a16="http://schemas.microsoft.com/office/drawing/2014/main" id="{FCF45B35-42A7-AEE0-7705-F4BE7F8FAD5D}"/>
                </a:ext>
              </a:extLst>
            </p:cNvPr>
            <p:cNvSpPr txBox="1">
              <a:spLocks/>
            </p:cNvSpPr>
            <p:nvPr/>
          </p:nvSpPr>
          <p:spPr>
            <a:xfrm>
              <a:off x="700646" y="1525604"/>
              <a:ext cx="2551904" cy="707035"/>
            </a:xfrm>
            <a:prstGeom prst="rect">
              <a:avLst/>
            </a:prstGeom>
            <a:noFill/>
          </p:spPr>
          <p:txBody>
            <a:bodyPr wrap="square" lIns="109710" tIns="54855" rIns="109710" bIns="54855" rtlCol="0">
              <a:spAutoFit/>
            </a:bodyPr>
            <a:lstStyle/>
            <a:p>
              <a:pPr algn="ctr">
                <a:lnSpc>
                  <a:spcPct val="110000"/>
                </a:lnSpc>
              </a:pPr>
              <a:r>
                <a:rPr lang="en-US" sz="1600" b="1" dirty="0">
                  <a:solidFill>
                    <a:schemeClr val="accent1"/>
                  </a:solidFill>
                  <a:ea typeface="Open Sans Light" panose="020B0306030504020204" pitchFamily="34" charset="0"/>
                  <a:cs typeface="Lato Light"/>
                </a:rPr>
                <a:t>Insert Text Here</a:t>
              </a:r>
              <a:br>
                <a:rPr lang="en-US" sz="1000" dirty="0">
                  <a:solidFill>
                    <a:schemeClr val="tx2"/>
                  </a:solidFill>
                  <a:ea typeface="Open Sans Light" panose="020B0306030504020204" pitchFamily="34" charset="0"/>
                  <a:cs typeface="Lato Light"/>
                </a:rPr>
              </a:br>
              <a:r>
                <a:rPr lang="en-US" sz="1000" dirty="0">
                  <a:solidFill>
                    <a:schemeClr val="tx2"/>
                  </a:solidFill>
                  <a:ea typeface="Open Sans Light" panose="020B0306030504020204" pitchFamily="34" charset="0"/>
                  <a:cs typeface="Lato Light"/>
                </a:rPr>
                <a:t> Insert your text here Insert your text here Insert your text here Insert your text here</a:t>
              </a:r>
            </a:p>
          </p:txBody>
        </p:sp>
        <p:sp>
          <p:nvSpPr>
            <p:cNvPr id="45" name="Shape2_20180321_155333">
              <a:extLst>
                <a:ext uri="{FF2B5EF4-FFF2-40B4-BE49-F238E27FC236}">
                  <a16:creationId xmlns:a16="http://schemas.microsoft.com/office/drawing/2014/main" id="{959F0AEB-109A-C4A0-3206-D49A01A972EF}"/>
                </a:ext>
              </a:extLst>
            </p:cNvPr>
            <p:cNvSpPr txBox="1">
              <a:spLocks/>
            </p:cNvSpPr>
            <p:nvPr/>
          </p:nvSpPr>
          <p:spPr>
            <a:xfrm>
              <a:off x="3733778" y="1540383"/>
              <a:ext cx="2551904" cy="707035"/>
            </a:xfrm>
            <a:prstGeom prst="rect">
              <a:avLst/>
            </a:prstGeom>
            <a:noFill/>
          </p:spPr>
          <p:txBody>
            <a:bodyPr wrap="square" lIns="109710" tIns="54855" rIns="109710" bIns="54855" rtlCol="0">
              <a:spAutoFit/>
            </a:bodyPr>
            <a:lstStyle/>
            <a:p>
              <a:pPr algn="ctr">
                <a:lnSpc>
                  <a:spcPct val="110000"/>
                </a:lnSpc>
              </a:pPr>
              <a:r>
                <a:rPr lang="en-US" sz="1600" b="1" dirty="0">
                  <a:solidFill>
                    <a:schemeClr val="accent3"/>
                  </a:solidFill>
                  <a:ea typeface="Open Sans Light" panose="020B0306030504020204" pitchFamily="34" charset="0"/>
                  <a:cs typeface="Lato Light"/>
                </a:rPr>
                <a:t>Insert Text Here</a:t>
              </a:r>
              <a:br>
                <a:rPr lang="en-US" sz="1000" dirty="0">
                  <a:solidFill>
                    <a:schemeClr val="tx2"/>
                  </a:solidFill>
                  <a:ea typeface="Open Sans Light" panose="020B0306030504020204" pitchFamily="34" charset="0"/>
                  <a:cs typeface="Lato Light"/>
                </a:rPr>
              </a:br>
              <a:r>
                <a:rPr lang="en-US" sz="1000" dirty="0">
                  <a:solidFill>
                    <a:schemeClr val="tx2"/>
                  </a:solidFill>
                  <a:ea typeface="Open Sans Light" panose="020B0306030504020204" pitchFamily="34" charset="0"/>
                  <a:cs typeface="Lato Light"/>
                </a:rPr>
                <a:t> Insert your text here Insert your text here Insert your text here Insert your text here</a:t>
              </a:r>
            </a:p>
          </p:txBody>
        </p:sp>
        <p:sp>
          <p:nvSpPr>
            <p:cNvPr id="46" name="Shape3_20180321_155333">
              <a:extLst>
                <a:ext uri="{FF2B5EF4-FFF2-40B4-BE49-F238E27FC236}">
                  <a16:creationId xmlns:a16="http://schemas.microsoft.com/office/drawing/2014/main" id="{60E05387-39F9-CCFA-77E5-5F78773DF2D3}"/>
                </a:ext>
              </a:extLst>
            </p:cNvPr>
            <p:cNvSpPr txBox="1">
              <a:spLocks/>
            </p:cNvSpPr>
            <p:nvPr/>
          </p:nvSpPr>
          <p:spPr>
            <a:xfrm>
              <a:off x="5247216" y="5356432"/>
              <a:ext cx="2551904" cy="707035"/>
            </a:xfrm>
            <a:prstGeom prst="rect">
              <a:avLst/>
            </a:prstGeom>
            <a:noFill/>
          </p:spPr>
          <p:txBody>
            <a:bodyPr wrap="square" lIns="109710" tIns="54855" rIns="109710" bIns="54855" rtlCol="0">
              <a:spAutoFit/>
            </a:bodyPr>
            <a:lstStyle/>
            <a:p>
              <a:pPr algn="ctr">
                <a:lnSpc>
                  <a:spcPct val="110000"/>
                </a:lnSpc>
              </a:pPr>
              <a:r>
                <a:rPr lang="en-US" sz="1600" b="1" dirty="0">
                  <a:solidFill>
                    <a:schemeClr val="accent4"/>
                  </a:solidFill>
                  <a:ea typeface="Open Sans Light" panose="020B0306030504020204" pitchFamily="34" charset="0"/>
                  <a:cs typeface="Lato Light"/>
                </a:rPr>
                <a:t>Insert Text Here</a:t>
              </a:r>
              <a:br>
                <a:rPr lang="en-US" sz="1000" dirty="0">
                  <a:solidFill>
                    <a:schemeClr val="tx2"/>
                  </a:solidFill>
                  <a:ea typeface="Open Sans Light" panose="020B0306030504020204" pitchFamily="34" charset="0"/>
                  <a:cs typeface="Lato Light"/>
                </a:rPr>
              </a:br>
              <a:r>
                <a:rPr lang="en-US" sz="1000" dirty="0">
                  <a:solidFill>
                    <a:schemeClr val="tx2"/>
                  </a:solidFill>
                  <a:ea typeface="Open Sans Light" panose="020B0306030504020204" pitchFamily="34" charset="0"/>
                  <a:cs typeface="Lato Light"/>
                </a:rPr>
                <a:t> Insert your text here Insert your text here Insert your text here Insert your text here</a:t>
              </a:r>
            </a:p>
          </p:txBody>
        </p:sp>
        <p:sp>
          <p:nvSpPr>
            <p:cNvPr id="47" name="Shape4_20180321_155333">
              <a:extLst>
                <a:ext uri="{FF2B5EF4-FFF2-40B4-BE49-F238E27FC236}">
                  <a16:creationId xmlns:a16="http://schemas.microsoft.com/office/drawing/2014/main" id="{D5B0B7CE-70A5-E150-2658-79F4D5B94580}"/>
                </a:ext>
              </a:extLst>
            </p:cNvPr>
            <p:cNvSpPr txBox="1">
              <a:spLocks/>
            </p:cNvSpPr>
            <p:nvPr/>
          </p:nvSpPr>
          <p:spPr>
            <a:xfrm>
              <a:off x="2214083" y="5356432"/>
              <a:ext cx="2551904" cy="707035"/>
            </a:xfrm>
            <a:prstGeom prst="rect">
              <a:avLst/>
            </a:prstGeom>
            <a:noFill/>
          </p:spPr>
          <p:txBody>
            <a:bodyPr wrap="square" lIns="109710" tIns="54855" rIns="109710" bIns="54855" rtlCol="0">
              <a:spAutoFit/>
            </a:bodyPr>
            <a:lstStyle/>
            <a:p>
              <a:pPr algn="ctr">
                <a:lnSpc>
                  <a:spcPct val="110000"/>
                </a:lnSpc>
              </a:pPr>
              <a:r>
                <a:rPr lang="en-US" sz="1600" b="1" dirty="0">
                  <a:solidFill>
                    <a:schemeClr val="accent2"/>
                  </a:solidFill>
                  <a:ea typeface="Open Sans Light" panose="020B0306030504020204" pitchFamily="34" charset="0"/>
                  <a:cs typeface="Lato Light"/>
                </a:rPr>
                <a:t>Insert Text Here</a:t>
              </a:r>
              <a:br>
                <a:rPr lang="en-US" sz="1000" dirty="0">
                  <a:solidFill>
                    <a:schemeClr val="tx2"/>
                  </a:solidFill>
                  <a:ea typeface="Open Sans Light" panose="020B0306030504020204" pitchFamily="34" charset="0"/>
                  <a:cs typeface="Lato Light"/>
                </a:rPr>
              </a:br>
              <a:r>
                <a:rPr lang="en-US" sz="1000" dirty="0">
                  <a:solidFill>
                    <a:schemeClr val="tx2"/>
                  </a:solidFill>
                  <a:ea typeface="Open Sans Light" panose="020B0306030504020204" pitchFamily="34" charset="0"/>
                  <a:cs typeface="Lato Light"/>
                </a:rPr>
                <a:t> Insert your text here Insert your text here Insert your text here Insert your text here</a:t>
              </a:r>
            </a:p>
          </p:txBody>
        </p:sp>
        <p:sp>
          <p:nvSpPr>
            <p:cNvPr id="48" name="Shape0_20180321_155333">
              <a:extLst>
                <a:ext uri="{FF2B5EF4-FFF2-40B4-BE49-F238E27FC236}">
                  <a16:creationId xmlns:a16="http://schemas.microsoft.com/office/drawing/2014/main" id="{BB63053F-CC37-4D12-5EA1-A5C3BC3C6CA8}"/>
                </a:ext>
              </a:extLst>
            </p:cNvPr>
            <p:cNvSpPr txBox="1">
              <a:spLocks/>
            </p:cNvSpPr>
            <p:nvPr/>
          </p:nvSpPr>
          <p:spPr>
            <a:xfrm>
              <a:off x="9193279" y="2777998"/>
              <a:ext cx="2551904" cy="707035"/>
            </a:xfrm>
            <a:prstGeom prst="rect">
              <a:avLst/>
            </a:prstGeom>
            <a:noFill/>
          </p:spPr>
          <p:txBody>
            <a:bodyPr wrap="square" lIns="109710" tIns="54855" rIns="109710" bIns="54855" rtlCol="0">
              <a:spAutoFit/>
            </a:bodyPr>
            <a:lstStyle/>
            <a:p>
              <a:pPr>
                <a:lnSpc>
                  <a:spcPct val="110000"/>
                </a:lnSpc>
              </a:pPr>
              <a:r>
                <a:rPr lang="en-US" sz="1600" b="1" dirty="0">
                  <a:solidFill>
                    <a:schemeClr val="accent5"/>
                  </a:solidFill>
                  <a:ea typeface="Open Sans Light" panose="020B0306030504020204" pitchFamily="34" charset="0"/>
                  <a:cs typeface="Lato Light"/>
                </a:rPr>
                <a:t>Insert Text Here</a:t>
              </a:r>
              <a:br>
                <a:rPr lang="en-US" sz="1000" dirty="0">
                  <a:solidFill>
                    <a:schemeClr val="tx2"/>
                  </a:solidFill>
                  <a:ea typeface="Open Sans Light" panose="020B0306030504020204" pitchFamily="34" charset="0"/>
                  <a:cs typeface="Lato Light"/>
                </a:rPr>
              </a:br>
              <a:r>
                <a:rPr lang="en-US" sz="1000" dirty="0">
                  <a:solidFill>
                    <a:schemeClr val="tx2"/>
                  </a:solidFill>
                  <a:ea typeface="Open Sans Light" panose="020B0306030504020204" pitchFamily="34" charset="0"/>
                  <a:cs typeface="Lato Light"/>
                </a:rPr>
                <a:t>Insert your text here Insert your text here Insert your text here Insert your text here</a:t>
              </a:r>
            </a:p>
          </p:txBody>
        </p:sp>
        <p:grpSp>
          <p:nvGrpSpPr>
            <p:cNvPr id="49" name="ZenIcon1">
              <a:extLst>
                <a:ext uri="{FF2B5EF4-FFF2-40B4-BE49-F238E27FC236}">
                  <a16:creationId xmlns:a16="http://schemas.microsoft.com/office/drawing/2014/main" id="{56AD9FE4-3FF9-FE37-61EE-64D35838E4F3}"/>
                </a:ext>
              </a:extLst>
            </p:cNvPr>
            <p:cNvGrpSpPr>
              <a:grpSpLocks noChangeAspect="1"/>
            </p:cNvGrpSpPr>
            <p:nvPr>
              <p:custDataLst>
                <p:tags r:id="rId2"/>
              </p:custDataLst>
            </p:nvPr>
          </p:nvGrpSpPr>
          <p:grpSpPr>
            <a:xfrm>
              <a:off x="1683680" y="2934056"/>
              <a:ext cx="585837" cy="585837"/>
              <a:chOff x="5712408" y="975680"/>
              <a:chExt cx="671729" cy="639391"/>
            </a:xfrm>
          </p:grpSpPr>
          <p:sp>
            <p:nvSpPr>
              <p:cNvPr id="67" name="Freeform 26">
                <a:extLst>
                  <a:ext uri="{FF2B5EF4-FFF2-40B4-BE49-F238E27FC236}">
                    <a16:creationId xmlns:a16="http://schemas.microsoft.com/office/drawing/2014/main" id="{FE246DF9-B507-22ED-7490-388D47B8CB8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12408" y="975680"/>
                <a:ext cx="671729" cy="639391"/>
              </a:xfrm>
              <a:custGeom>
                <a:avLst/>
                <a:gdLst>
                  <a:gd name="T0" fmla="*/ 117 w 128"/>
                  <a:gd name="T1" fmla="*/ 0 h 122"/>
                  <a:gd name="T2" fmla="*/ 11 w 128"/>
                  <a:gd name="T3" fmla="*/ 0 h 122"/>
                  <a:gd name="T4" fmla="*/ 0 w 128"/>
                  <a:gd name="T5" fmla="*/ 11 h 122"/>
                  <a:gd name="T6" fmla="*/ 0 w 128"/>
                  <a:gd name="T7" fmla="*/ 93 h 122"/>
                  <a:gd name="T8" fmla="*/ 11 w 128"/>
                  <a:gd name="T9" fmla="*/ 104 h 122"/>
                  <a:gd name="T10" fmla="*/ 43 w 128"/>
                  <a:gd name="T11" fmla="*/ 104 h 122"/>
                  <a:gd name="T12" fmla="*/ 38 w 128"/>
                  <a:gd name="T13" fmla="*/ 110 h 122"/>
                  <a:gd name="T14" fmla="*/ 35 w 128"/>
                  <a:gd name="T15" fmla="*/ 113 h 122"/>
                  <a:gd name="T16" fmla="*/ 34 w 128"/>
                  <a:gd name="T17" fmla="*/ 118 h 122"/>
                  <a:gd name="T18" fmla="*/ 42 w 128"/>
                  <a:gd name="T19" fmla="*/ 122 h 122"/>
                  <a:gd name="T20" fmla="*/ 86 w 128"/>
                  <a:gd name="T21" fmla="*/ 122 h 122"/>
                  <a:gd name="T22" fmla="*/ 94 w 128"/>
                  <a:gd name="T23" fmla="*/ 118 h 122"/>
                  <a:gd name="T24" fmla="*/ 94 w 128"/>
                  <a:gd name="T25" fmla="*/ 113 h 122"/>
                  <a:gd name="T26" fmla="*/ 91 w 128"/>
                  <a:gd name="T27" fmla="*/ 110 h 122"/>
                  <a:gd name="T28" fmla="*/ 85 w 128"/>
                  <a:gd name="T29" fmla="*/ 104 h 122"/>
                  <a:gd name="T30" fmla="*/ 117 w 128"/>
                  <a:gd name="T31" fmla="*/ 104 h 122"/>
                  <a:gd name="T32" fmla="*/ 128 w 128"/>
                  <a:gd name="T33" fmla="*/ 93 h 122"/>
                  <a:gd name="T34" fmla="*/ 128 w 128"/>
                  <a:gd name="T35" fmla="*/ 11 h 122"/>
                  <a:gd name="T36" fmla="*/ 117 w 128"/>
                  <a:gd name="T37" fmla="*/ 0 h 122"/>
                  <a:gd name="T38" fmla="*/ 88 w 128"/>
                  <a:gd name="T39" fmla="*/ 113 h 122"/>
                  <a:gd name="T40" fmla="*/ 90 w 128"/>
                  <a:gd name="T41" fmla="*/ 116 h 122"/>
                  <a:gd name="T42" fmla="*/ 90 w 128"/>
                  <a:gd name="T43" fmla="*/ 116 h 122"/>
                  <a:gd name="T44" fmla="*/ 86 w 128"/>
                  <a:gd name="T45" fmla="*/ 118 h 122"/>
                  <a:gd name="T46" fmla="*/ 42 w 128"/>
                  <a:gd name="T47" fmla="*/ 118 h 122"/>
                  <a:gd name="T48" fmla="*/ 38 w 128"/>
                  <a:gd name="T49" fmla="*/ 116 h 122"/>
                  <a:gd name="T50" fmla="*/ 38 w 128"/>
                  <a:gd name="T51" fmla="*/ 116 h 122"/>
                  <a:gd name="T52" fmla="*/ 38 w 128"/>
                  <a:gd name="T53" fmla="*/ 116 h 122"/>
                  <a:gd name="T54" fmla="*/ 40 w 128"/>
                  <a:gd name="T55" fmla="*/ 113 h 122"/>
                  <a:gd name="T56" fmla="*/ 48 w 128"/>
                  <a:gd name="T57" fmla="*/ 104 h 122"/>
                  <a:gd name="T58" fmla="*/ 80 w 128"/>
                  <a:gd name="T59" fmla="*/ 104 h 122"/>
                  <a:gd name="T60" fmla="*/ 88 w 128"/>
                  <a:gd name="T61" fmla="*/ 113 h 122"/>
                  <a:gd name="T62" fmla="*/ 120 w 128"/>
                  <a:gd name="T63" fmla="*/ 93 h 122"/>
                  <a:gd name="T64" fmla="*/ 117 w 128"/>
                  <a:gd name="T65" fmla="*/ 96 h 122"/>
                  <a:gd name="T66" fmla="*/ 11 w 128"/>
                  <a:gd name="T67" fmla="*/ 96 h 122"/>
                  <a:gd name="T68" fmla="*/ 8 w 128"/>
                  <a:gd name="T69" fmla="*/ 93 h 122"/>
                  <a:gd name="T70" fmla="*/ 8 w 128"/>
                  <a:gd name="T71" fmla="*/ 11 h 122"/>
                  <a:gd name="T72" fmla="*/ 11 w 128"/>
                  <a:gd name="T73" fmla="*/ 8 h 122"/>
                  <a:gd name="T74" fmla="*/ 117 w 128"/>
                  <a:gd name="T75" fmla="*/ 8 h 122"/>
                  <a:gd name="T76" fmla="*/ 120 w 128"/>
                  <a:gd name="T77" fmla="*/ 11 h 122"/>
                  <a:gd name="T78" fmla="*/ 120 w 128"/>
                  <a:gd name="T79" fmla="*/ 93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28" h="122">
                    <a:moveTo>
                      <a:pt x="117" y="0"/>
                    </a:move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5"/>
                      <a:pt x="0" y="11"/>
                    </a:cubicBezTo>
                    <a:cubicBezTo>
                      <a:pt x="0" y="93"/>
                      <a:pt x="0" y="93"/>
                      <a:pt x="0" y="93"/>
                    </a:cubicBezTo>
                    <a:cubicBezTo>
                      <a:pt x="0" y="99"/>
                      <a:pt x="5" y="104"/>
                      <a:pt x="11" y="104"/>
                    </a:cubicBezTo>
                    <a:cubicBezTo>
                      <a:pt x="43" y="104"/>
                      <a:pt x="43" y="104"/>
                      <a:pt x="43" y="104"/>
                    </a:cubicBezTo>
                    <a:cubicBezTo>
                      <a:pt x="42" y="106"/>
                      <a:pt x="39" y="109"/>
                      <a:pt x="38" y="110"/>
                    </a:cubicBezTo>
                    <a:cubicBezTo>
                      <a:pt x="36" y="111"/>
                      <a:pt x="35" y="112"/>
                      <a:pt x="35" y="113"/>
                    </a:cubicBezTo>
                    <a:cubicBezTo>
                      <a:pt x="34" y="114"/>
                      <a:pt x="33" y="116"/>
                      <a:pt x="34" y="118"/>
                    </a:cubicBezTo>
                    <a:cubicBezTo>
                      <a:pt x="35" y="120"/>
                      <a:pt x="37" y="122"/>
                      <a:pt x="42" y="122"/>
                    </a:cubicBezTo>
                    <a:cubicBezTo>
                      <a:pt x="86" y="122"/>
                      <a:pt x="86" y="122"/>
                      <a:pt x="86" y="122"/>
                    </a:cubicBezTo>
                    <a:cubicBezTo>
                      <a:pt x="91" y="122"/>
                      <a:pt x="93" y="120"/>
                      <a:pt x="94" y="118"/>
                    </a:cubicBezTo>
                    <a:cubicBezTo>
                      <a:pt x="95" y="116"/>
                      <a:pt x="95" y="114"/>
                      <a:pt x="94" y="113"/>
                    </a:cubicBezTo>
                    <a:cubicBezTo>
                      <a:pt x="93" y="112"/>
                      <a:pt x="92" y="111"/>
                      <a:pt x="91" y="110"/>
                    </a:cubicBezTo>
                    <a:cubicBezTo>
                      <a:pt x="89" y="109"/>
                      <a:pt x="87" y="106"/>
                      <a:pt x="85" y="104"/>
                    </a:cubicBezTo>
                    <a:cubicBezTo>
                      <a:pt x="117" y="104"/>
                      <a:pt x="117" y="104"/>
                      <a:pt x="117" y="104"/>
                    </a:cubicBezTo>
                    <a:cubicBezTo>
                      <a:pt x="123" y="104"/>
                      <a:pt x="128" y="99"/>
                      <a:pt x="128" y="93"/>
                    </a:cubicBezTo>
                    <a:cubicBezTo>
                      <a:pt x="128" y="11"/>
                      <a:pt x="128" y="11"/>
                      <a:pt x="128" y="11"/>
                    </a:cubicBezTo>
                    <a:cubicBezTo>
                      <a:pt x="128" y="5"/>
                      <a:pt x="123" y="0"/>
                      <a:pt x="117" y="0"/>
                    </a:cubicBezTo>
                    <a:close/>
                    <a:moveTo>
                      <a:pt x="88" y="113"/>
                    </a:moveTo>
                    <a:cubicBezTo>
                      <a:pt x="89" y="114"/>
                      <a:pt x="90" y="115"/>
                      <a:pt x="90" y="116"/>
                    </a:cubicBezTo>
                    <a:cubicBezTo>
                      <a:pt x="90" y="116"/>
                      <a:pt x="91" y="116"/>
                      <a:pt x="90" y="116"/>
                    </a:cubicBezTo>
                    <a:cubicBezTo>
                      <a:pt x="90" y="117"/>
                      <a:pt x="88" y="118"/>
                      <a:pt x="86" y="118"/>
                    </a:cubicBezTo>
                    <a:cubicBezTo>
                      <a:pt x="42" y="118"/>
                      <a:pt x="42" y="118"/>
                      <a:pt x="42" y="118"/>
                    </a:cubicBezTo>
                    <a:cubicBezTo>
                      <a:pt x="40" y="118"/>
                      <a:pt x="38" y="117"/>
                      <a:pt x="38" y="116"/>
                    </a:cubicBezTo>
                    <a:cubicBezTo>
                      <a:pt x="38" y="116"/>
                      <a:pt x="38" y="116"/>
                      <a:pt x="38" y="116"/>
                    </a:cubicBezTo>
                    <a:cubicBezTo>
                      <a:pt x="38" y="116"/>
                      <a:pt x="38" y="116"/>
                      <a:pt x="38" y="116"/>
                    </a:cubicBezTo>
                    <a:cubicBezTo>
                      <a:pt x="38" y="115"/>
                      <a:pt x="39" y="114"/>
                      <a:pt x="40" y="113"/>
                    </a:cubicBezTo>
                    <a:cubicBezTo>
                      <a:pt x="44" y="109"/>
                      <a:pt x="47" y="106"/>
                      <a:pt x="48" y="104"/>
                    </a:cubicBezTo>
                    <a:cubicBezTo>
                      <a:pt x="80" y="104"/>
                      <a:pt x="80" y="104"/>
                      <a:pt x="80" y="104"/>
                    </a:cubicBezTo>
                    <a:cubicBezTo>
                      <a:pt x="82" y="106"/>
                      <a:pt x="84" y="109"/>
                      <a:pt x="88" y="113"/>
                    </a:cubicBezTo>
                    <a:close/>
                    <a:moveTo>
                      <a:pt x="120" y="93"/>
                    </a:moveTo>
                    <a:cubicBezTo>
                      <a:pt x="120" y="95"/>
                      <a:pt x="119" y="96"/>
                      <a:pt x="117" y="96"/>
                    </a:cubicBezTo>
                    <a:cubicBezTo>
                      <a:pt x="11" y="96"/>
                      <a:pt x="11" y="96"/>
                      <a:pt x="11" y="96"/>
                    </a:cubicBezTo>
                    <a:cubicBezTo>
                      <a:pt x="9" y="96"/>
                      <a:pt x="8" y="95"/>
                      <a:pt x="8" y="93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8" y="9"/>
                      <a:pt x="9" y="8"/>
                      <a:pt x="11" y="8"/>
                    </a:cubicBezTo>
                    <a:cubicBezTo>
                      <a:pt x="117" y="8"/>
                      <a:pt x="117" y="8"/>
                      <a:pt x="117" y="8"/>
                    </a:cubicBezTo>
                    <a:cubicBezTo>
                      <a:pt x="119" y="8"/>
                      <a:pt x="120" y="9"/>
                      <a:pt x="120" y="11"/>
                    </a:cubicBezTo>
                    <a:lnTo>
                      <a:pt x="120" y="93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8" name="Freeform 27">
                <a:extLst>
                  <a:ext uri="{FF2B5EF4-FFF2-40B4-BE49-F238E27FC236}">
                    <a16:creationId xmlns:a16="http://schemas.microsoft.com/office/drawing/2014/main" id="{38B83B05-65EE-6AB8-F131-404C48B3A7C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917" y="1058042"/>
                <a:ext cx="502713" cy="338119"/>
              </a:xfrm>
              <a:custGeom>
                <a:avLst/>
                <a:gdLst>
                  <a:gd name="T0" fmla="*/ 89 w 96"/>
                  <a:gd name="T1" fmla="*/ 0 h 64"/>
                  <a:gd name="T2" fmla="*/ 7 w 96"/>
                  <a:gd name="T3" fmla="*/ 0 h 64"/>
                  <a:gd name="T4" fmla="*/ 0 w 96"/>
                  <a:gd name="T5" fmla="*/ 7 h 64"/>
                  <a:gd name="T6" fmla="*/ 0 w 96"/>
                  <a:gd name="T7" fmla="*/ 57 h 64"/>
                  <a:gd name="T8" fmla="*/ 7 w 96"/>
                  <a:gd name="T9" fmla="*/ 64 h 64"/>
                  <a:gd name="T10" fmla="*/ 89 w 96"/>
                  <a:gd name="T11" fmla="*/ 64 h 64"/>
                  <a:gd name="T12" fmla="*/ 96 w 96"/>
                  <a:gd name="T13" fmla="*/ 57 h 64"/>
                  <a:gd name="T14" fmla="*/ 96 w 96"/>
                  <a:gd name="T15" fmla="*/ 7 h 64"/>
                  <a:gd name="T16" fmla="*/ 89 w 96"/>
                  <a:gd name="T17" fmla="*/ 0 h 64"/>
                  <a:gd name="T18" fmla="*/ 92 w 96"/>
                  <a:gd name="T19" fmla="*/ 57 h 64"/>
                  <a:gd name="T20" fmla="*/ 89 w 96"/>
                  <a:gd name="T21" fmla="*/ 60 h 64"/>
                  <a:gd name="T22" fmla="*/ 7 w 96"/>
                  <a:gd name="T23" fmla="*/ 60 h 64"/>
                  <a:gd name="T24" fmla="*/ 4 w 96"/>
                  <a:gd name="T25" fmla="*/ 57 h 64"/>
                  <a:gd name="T26" fmla="*/ 4 w 96"/>
                  <a:gd name="T27" fmla="*/ 7 h 64"/>
                  <a:gd name="T28" fmla="*/ 7 w 96"/>
                  <a:gd name="T29" fmla="*/ 4 h 64"/>
                  <a:gd name="T30" fmla="*/ 89 w 96"/>
                  <a:gd name="T31" fmla="*/ 4 h 64"/>
                  <a:gd name="T32" fmla="*/ 92 w 96"/>
                  <a:gd name="T33" fmla="*/ 7 h 64"/>
                  <a:gd name="T34" fmla="*/ 92 w 96"/>
                  <a:gd name="T35" fmla="*/ 57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6" h="64">
                    <a:moveTo>
                      <a:pt x="89" y="0"/>
                    </a:moveTo>
                    <a:cubicBezTo>
                      <a:pt x="7" y="0"/>
                      <a:pt x="7" y="0"/>
                      <a:pt x="7" y="0"/>
                    </a:cubicBezTo>
                    <a:cubicBezTo>
                      <a:pt x="3" y="0"/>
                      <a:pt x="0" y="3"/>
                      <a:pt x="0" y="7"/>
                    </a:cubicBezTo>
                    <a:cubicBezTo>
                      <a:pt x="0" y="57"/>
                      <a:pt x="0" y="57"/>
                      <a:pt x="0" y="57"/>
                    </a:cubicBezTo>
                    <a:cubicBezTo>
                      <a:pt x="0" y="61"/>
                      <a:pt x="3" y="64"/>
                      <a:pt x="7" y="64"/>
                    </a:cubicBezTo>
                    <a:cubicBezTo>
                      <a:pt x="89" y="64"/>
                      <a:pt x="89" y="64"/>
                      <a:pt x="89" y="64"/>
                    </a:cubicBezTo>
                    <a:cubicBezTo>
                      <a:pt x="93" y="64"/>
                      <a:pt x="96" y="61"/>
                      <a:pt x="96" y="57"/>
                    </a:cubicBezTo>
                    <a:cubicBezTo>
                      <a:pt x="96" y="7"/>
                      <a:pt x="96" y="7"/>
                      <a:pt x="96" y="7"/>
                    </a:cubicBezTo>
                    <a:cubicBezTo>
                      <a:pt x="96" y="3"/>
                      <a:pt x="93" y="0"/>
                      <a:pt x="89" y="0"/>
                    </a:cubicBezTo>
                    <a:close/>
                    <a:moveTo>
                      <a:pt x="92" y="57"/>
                    </a:moveTo>
                    <a:cubicBezTo>
                      <a:pt x="92" y="59"/>
                      <a:pt x="91" y="60"/>
                      <a:pt x="89" y="60"/>
                    </a:cubicBezTo>
                    <a:cubicBezTo>
                      <a:pt x="7" y="60"/>
                      <a:pt x="7" y="60"/>
                      <a:pt x="7" y="60"/>
                    </a:cubicBezTo>
                    <a:cubicBezTo>
                      <a:pt x="5" y="60"/>
                      <a:pt x="4" y="59"/>
                      <a:pt x="4" y="5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5"/>
                      <a:pt x="5" y="4"/>
                      <a:pt x="7" y="4"/>
                    </a:cubicBezTo>
                    <a:cubicBezTo>
                      <a:pt x="89" y="4"/>
                      <a:pt x="89" y="4"/>
                      <a:pt x="89" y="4"/>
                    </a:cubicBezTo>
                    <a:cubicBezTo>
                      <a:pt x="91" y="4"/>
                      <a:pt x="92" y="5"/>
                      <a:pt x="92" y="7"/>
                    </a:cubicBezTo>
                    <a:lnTo>
                      <a:pt x="92" y="5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9" name="Freeform 28">
                <a:extLst>
                  <a:ext uri="{FF2B5EF4-FFF2-40B4-BE49-F238E27FC236}">
                    <a16:creationId xmlns:a16="http://schemas.microsoft.com/office/drawing/2014/main" id="{7A3C59AD-DD65-8115-3E8D-14A941A55EA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17937" y="1404831"/>
                <a:ext cx="62840" cy="65023"/>
              </a:xfrm>
              <a:custGeom>
                <a:avLst/>
                <a:gdLst>
                  <a:gd name="T0" fmla="*/ 6 w 12"/>
                  <a:gd name="T1" fmla="*/ 0 h 12"/>
                  <a:gd name="T2" fmla="*/ 0 w 12"/>
                  <a:gd name="T3" fmla="*/ 6 h 12"/>
                  <a:gd name="T4" fmla="*/ 6 w 12"/>
                  <a:gd name="T5" fmla="*/ 12 h 12"/>
                  <a:gd name="T6" fmla="*/ 12 w 12"/>
                  <a:gd name="T7" fmla="*/ 6 h 12"/>
                  <a:gd name="T8" fmla="*/ 6 w 12"/>
                  <a:gd name="T9" fmla="*/ 0 h 12"/>
                  <a:gd name="T10" fmla="*/ 6 w 12"/>
                  <a:gd name="T11" fmla="*/ 8 h 12"/>
                  <a:gd name="T12" fmla="*/ 4 w 12"/>
                  <a:gd name="T13" fmla="*/ 6 h 12"/>
                  <a:gd name="T14" fmla="*/ 6 w 12"/>
                  <a:gd name="T15" fmla="*/ 4 h 12"/>
                  <a:gd name="T16" fmla="*/ 8 w 12"/>
                  <a:gd name="T17" fmla="*/ 6 h 12"/>
                  <a:gd name="T18" fmla="*/ 6 w 12"/>
                  <a:gd name="T19" fmla="*/ 8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cubicBezTo>
                      <a:pt x="3" y="0"/>
                      <a:pt x="0" y="3"/>
                      <a:pt x="0" y="6"/>
                    </a:cubicBezTo>
                    <a:cubicBezTo>
                      <a:pt x="0" y="9"/>
                      <a:pt x="3" y="12"/>
                      <a:pt x="6" y="12"/>
                    </a:cubicBezTo>
                    <a:cubicBezTo>
                      <a:pt x="9" y="12"/>
                      <a:pt x="12" y="9"/>
                      <a:pt x="12" y="6"/>
                    </a:cubicBezTo>
                    <a:cubicBezTo>
                      <a:pt x="12" y="3"/>
                      <a:pt x="9" y="0"/>
                      <a:pt x="6" y="0"/>
                    </a:cubicBezTo>
                    <a:close/>
                    <a:moveTo>
                      <a:pt x="6" y="8"/>
                    </a:moveTo>
                    <a:cubicBezTo>
                      <a:pt x="5" y="8"/>
                      <a:pt x="4" y="7"/>
                      <a:pt x="4" y="6"/>
                    </a:cubicBezTo>
                    <a:cubicBezTo>
                      <a:pt x="4" y="5"/>
                      <a:pt x="5" y="4"/>
                      <a:pt x="6" y="4"/>
                    </a:cubicBezTo>
                    <a:cubicBezTo>
                      <a:pt x="7" y="4"/>
                      <a:pt x="8" y="5"/>
                      <a:pt x="8" y="6"/>
                    </a:cubicBezTo>
                    <a:cubicBezTo>
                      <a:pt x="8" y="7"/>
                      <a:pt x="7" y="8"/>
                      <a:pt x="6" y="8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0" name="Freeform 29">
                <a:extLst>
                  <a:ext uri="{FF2B5EF4-FFF2-40B4-BE49-F238E27FC236}">
                    <a16:creationId xmlns:a16="http://schemas.microsoft.com/office/drawing/2014/main" id="{0A76D230-E9DD-AE7B-3EDF-7B4410BE3C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33429" y="1190255"/>
                <a:ext cx="84509" cy="88864"/>
              </a:xfrm>
              <a:custGeom>
                <a:avLst/>
                <a:gdLst>
                  <a:gd name="T0" fmla="*/ 0 w 39"/>
                  <a:gd name="T1" fmla="*/ 24 h 41"/>
                  <a:gd name="T2" fmla="*/ 39 w 39"/>
                  <a:gd name="T3" fmla="*/ 41 h 41"/>
                  <a:gd name="T4" fmla="*/ 39 w 39"/>
                  <a:gd name="T5" fmla="*/ 32 h 41"/>
                  <a:gd name="T6" fmla="*/ 12 w 39"/>
                  <a:gd name="T7" fmla="*/ 19 h 41"/>
                  <a:gd name="T8" fmla="*/ 39 w 39"/>
                  <a:gd name="T9" fmla="*/ 10 h 41"/>
                  <a:gd name="T10" fmla="*/ 39 w 39"/>
                  <a:gd name="T11" fmla="*/ 0 h 41"/>
                  <a:gd name="T12" fmla="*/ 0 w 39"/>
                  <a:gd name="T13" fmla="*/ 17 h 41"/>
                  <a:gd name="T14" fmla="*/ 0 w 39"/>
                  <a:gd name="T15" fmla="*/ 24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9" h="41">
                    <a:moveTo>
                      <a:pt x="0" y="24"/>
                    </a:moveTo>
                    <a:lnTo>
                      <a:pt x="39" y="41"/>
                    </a:lnTo>
                    <a:lnTo>
                      <a:pt x="39" y="32"/>
                    </a:lnTo>
                    <a:lnTo>
                      <a:pt x="12" y="19"/>
                    </a:lnTo>
                    <a:lnTo>
                      <a:pt x="39" y="10"/>
                    </a:lnTo>
                    <a:lnTo>
                      <a:pt x="39" y="0"/>
                    </a:lnTo>
                    <a:lnTo>
                      <a:pt x="0" y="17"/>
                    </a:lnTo>
                    <a:lnTo>
                      <a:pt x="0" y="24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1" name="Freeform 30">
                <a:extLst>
                  <a:ext uri="{FF2B5EF4-FFF2-40B4-BE49-F238E27FC236}">
                    <a16:creationId xmlns:a16="http://schemas.microsoft.com/office/drawing/2014/main" id="{D601EA3B-3DFD-5A77-E9A1-C8894689E7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26605" y="1175084"/>
                <a:ext cx="43337" cy="119208"/>
              </a:xfrm>
              <a:custGeom>
                <a:avLst/>
                <a:gdLst>
                  <a:gd name="T0" fmla="*/ 7 w 8"/>
                  <a:gd name="T1" fmla="*/ 0 h 23"/>
                  <a:gd name="T2" fmla="*/ 5 w 8"/>
                  <a:gd name="T3" fmla="*/ 0 h 23"/>
                  <a:gd name="T4" fmla="*/ 5 w 8"/>
                  <a:gd name="T5" fmla="*/ 2 h 23"/>
                  <a:gd name="T6" fmla="*/ 0 w 8"/>
                  <a:gd name="T7" fmla="*/ 20 h 23"/>
                  <a:gd name="T8" fmla="*/ 0 w 8"/>
                  <a:gd name="T9" fmla="*/ 22 h 23"/>
                  <a:gd name="T10" fmla="*/ 2 w 8"/>
                  <a:gd name="T11" fmla="*/ 23 h 23"/>
                  <a:gd name="T12" fmla="*/ 3 w 8"/>
                  <a:gd name="T13" fmla="*/ 23 h 23"/>
                  <a:gd name="T14" fmla="*/ 3 w 8"/>
                  <a:gd name="T15" fmla="*/ 22 h 23"/>
                  <a:gd name="T16" fmla="*/ 4 w 8"/>
                  <a:gd name="T17" fmla="*/ 21 h 23"/>
                  <a:gd name="T18" fmla="*/ 8 w 8"/>
                  <a:gd name="T19" fmla="*/ 3 h 23"/>
                  <a:gd name="T20" fmla="*/ 8 w 8"/>
                  <a:gd name="T21" fmla="*/ 1 h 23"/>
                  <a:gd name="T22" fmla="*/ 8 w 8"/>
                  <a:gd name="T23" fmla="*/ 0 h 23"/>
                  <a:gd name="T24" fmla="*/ 7 w 8"/>
                  <a:gd name="T25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" h="23">
                    <a:moveTo>
                      <a:pt x="7" y="0"/>
                    </a:moveTo>
                    <a:cubicBezTo>
                      <a:pt x="6" y="0"/>
                      <a:pt x="6" y="0"/>
                      <a:pt x="5" y="0"/>
                    </a:cubicBezTo>
                    <a:cubicBezTo>
                      <a:pt x="5" y="0"/>
                      <a:pt x="5" y="1"/>
                      <a:pt x="5" y="2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1"/>
                      <a:pt x="0" y="22"/>
                      <a:pt x="0" y="22"/>
                    </a:cubicBezTo>
                    <a:cubicBezTo>
                      <a:pt x="0" y="23"/>
                      <a:pt x="1" y="23"/>
                      <a:pt x="2" y="23"/>
                    </a:cubicBezTo>
                    <a:cubicBezTo>
                      <a:pt x="2" y="23"/>
                      <a:pt x="2" y="23"/>
                      <a:pt x="3" y="23"/>
                    </a:cubicBezTo>
                    <a:cubicBezTo>
                      <a:pt x="3" y="23"/>
                      <a:pt x="3" y="22"/>
                      <a:pt x="3" y="22"/>
                    </a:cubicBezTo>
                    <a:cubicBezTo>
                      <a:pt x="3" y="22"/>
                      <a:pt x="3" y="21"/>
                      <a:pt x="4" y="21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2"/>
                      <a:pt x="8" y="1"/>
                      <a:pt x="8" y="1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0"/>
                      <a:pt x="7" y="0"/>
                      <a:pt x="7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2" name="Freeform 31">
                <a:extLst>
                  <a:ext uri="{FF2B5EF4-FFF2-40B4-BE49-F238E27FC236}">
                    <a16:creationId xmlns:a16="http://schemas.microsoft.com/office/drawing/2014/main" id="{5216DEAB-FDF0-9208-2DA5-EDCB6C4E6F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80776" y="1190255"/>
                <a:ext cx="82341" cy="88864"/>
              </a:xfrm>
              <a:custGeom>
                <a:avLst/>
                <a:gdLst>
                  <a:gd name="T0" fmla="*/ 0 w 38"/>
                  <a:gd name="T1" fmla="*/ 10 h 41"/>
                  <a:gd name="T2" fmla="*/ 26 w 38"/>
                  <a:gd name="T3" fmla="*/ 19 h 41"/>
                  <a:gd name="T4" fmla="*/ 0 w 38"/>
                  <a:gd name="T5" fmla="*/ 32 h 41"/>
                  <a:gd name="T6" fmla="*/ 0 w 38"/>
                  <a:gd name="T7" fmla="*/ 41 h 41"/>
                  <a:gd name="T8" fmla="*/ 38 w 38"/>
                  <a:gd name="T9" fmla="*/ 24 h 41"/>
                  <a:gd name="T10" fmla="*/ 38 w 38"/>
                  <a:gd name="T11" fmla="*/ 17 h 41"/>
                  <a:gd name="T12" fmla="*/ 0 w 38"/>
                  <a:gd name="T13" fmla="*/ 0 h 41"/>
                  <a:gd name="T14" fmla="*/ 0 w 38"/>
                  <a:gd name="T15" fmla="*/ 1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8" h="41">
                    <a:moveTo>
                      <a:pt x="0" y="10"/>
                    </a:moveTo>
                    <a:lnTo>
                      <a:pt x="26" y="19"/>
                    </a:lnTo>
                    <a:lnTo>
                      <a:pt x="0" y="32"/>
                    </a:lnTo>
                    <a:lnTo>
                      <a:pt x="0" y="41"/>
                    </a:lnTo>
                    <a:lnTo>
                      <a:pt x="38" y="24"/>
                    </a:lnTo>
                    <a:lnTo>
                      <a:pt x="38" y="17"/>
                    </a:lnTo>
                    <a:lnTo>
                      <a:pt x="0" y="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00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50" name="ZenIcon2">
              <a:extLst>
                <a:ext uri="{FF2B5EF4-FFF2-40B4-BE49-F238E27FC236}">
                  <a16:creationId xmlns:a16="http://schemas.microsoft.com/office/drawing/2014/main" id="{79F03D5E-20D0-5B22-2D49-B5FFEB9B9511}"/>
                </a:ext>
              </a:extLst>
            </p:cNvPr>
            <p:cNvSpPr>
              <a:spLocks noChangeAspect="1" noEditPoints="1"/>
            </p:cNvSpPr>
            <p:nvPr>
              <p:custDataLst>
                <p:tags r:id="rId3"/>
              </p:custDataLst>
            </p:nvPr>
          </p:nvSpPr>
          <p:spPr bwMode="auto">
            <a:xfrm>
              <a:off x="3197117" y="4192083"/>
              <a:ext cx="585837" cy="585837"/>
            </a:xfrm>
            <a:custGeom>
              <a:avLst/>
              <a:gdLst>
                <a:gd name="T0" fmla="*/ 232 w 256"/>
                <a:gd name="T1" fmla="*/ 84 h 227"/>
                <a:gd name="T2" fmla="*/ 172 w 256"/>
                <a:gd name="T3" fmla="*/ 44 h 227"/>
                <a:gd name="T4" fmla="*/ 120 w 256"/>
                <a:gd name="T5" fmla="*/ 48 h 227"/>
                <a:gd name="T6" fmla="*/ 64 w 256"/>
                <a:gd name="T7" fmla="*/ 107 h 227"/>
                <a:gd name="T8" fmla="*/ 0 w 256"/>
                <a:gd name="T9" fmla="*/ 131 h 227"/>
                <a:gd name="T10" fmla="*/ 32 w 256"/>
                <a:gd name="T11" fmla="*/ 227 h 227"/>
                <a:gd name="T12" fmla="*/ 87 w 256"/>
                <a:gd name="T13" fmla="*/ 212 h 227"/>
                <a:gd name="T14" fmla="*/ 103 w 256"/>
                <a:gd name="T15" fmla="*/ 219 h 227"/>
                <a:gd name="T16" fmla="*/ 232 w 256"/>
                <a:gd name="T17" fmla="*/ 197 h 227"/>
                <a:gd name="T18" fmla="*/ 240 w 256"/>
                <a:gd name="T19" fmla="*/ 169 h 227"/>
                <a:gd name="T20" fmla="*/ 248 w 256"/>
                <a:gd name="T21" fmla="*/ 140 h 227"/>
                <a:gd name="T22" fmla="*/ 256 w 256"/>
                <a:gd name="T23" fmla="*/ 108 h 227"/>
                <a:gd name="T24" fmla="*/ 32 w 256"/>
                <a:gd name="T25" fmla="*/ 211 h 227"/>
                <a:gd name="T26" fmla="*/ 16 w 256"/>
                <a:gd name="T27" fmla="*/ 131 h 227"/>
                <a:gd name="T28" fmla="*/ 64 w 256"/>
                <a:gd name="T29" fmla="*/ 123 h 227"/>
                <a:gd name="T30" fmla="*/ 72 w 256"/>
                <a:gd name="T31" fmla="*/ 198 h 227"/>
                <a:gd name="T32" fmla="*/ 72 w 256"/>
                <a:gd name="T33" fmla="*/ 203 h 227"/>
                <a:gd name="T34" fmla="*/ 210 w 256"/>
                <a:gd name="T35" fmla="*/ 203 h 227"/>
                <a:gd name="T36" fmla="*/ 88 w 256"/>
                <a:gd name="T37" fmla="*/ 194 h 227"/>
                <a:gd name="T38" fmla="*/ 86 w 256"/>
                <a:gd name="T39" fmla="*/ 121 h 227"/>
                <a:gd name="T40" fmla="*/ 140 w 256"/>
                <a:gd name="T41" fmla="*/ 16 h 227"/>
                <a:gd name="T42" fmla="*/ 152 w 256"/>
                <a:gd name="T43" fmla="*/ 90 h 227"/>
                <a:gd name="T44" fmla="*/ 160 w 256"/>
                <a:gd name="T45" fmla="*/ 100 h 227"/>
                <a:gd name="T46" fmla="*/ 240 w 256"/>
                <a:gd name="T47" fmla="*/ 108 h 227"/>
                <a:gd name="T48" fmla="*/ 223 w 256"/>
                <a:gd name="T49" fmla="*/ 116 h 227"/>
                <a:gd name="T50" fmla="*/ 223 w 256"/>
                <a:gd name="T51" fmla="*/ 132 h 227"/>
                <a:gd name="T52" fmla="*/ 224 w 256"/>
                <a:gd name="T53" fmla="*/ 132 h 227"/>
                <a:gd name="T54" fmla="*/ 224 w 256"/>
                <a:gd name="T55" fmla="*/ 148 h 227"/>
                <a:gd name="T56" fmla="*/ 218 w 256"/>
                <a:gd name="T57" fmla="*/ 147 h 227"/>
                <a:gd name="T58" fmla="*/ 215 w 256"/>
                <a:gd name="T59" fmla="*/ 148 h 227"/>
                <a:gd name="T60" fmla="*/ 215 w 256"/>
                <a:gd name="T61" fmla="*/ 164 h 227"/>
                <a:gd name="T62" fmla="*/ 224 w 256"/>
                <a:gd name="T63" fmla="*/ 169 h 227"/>
                <a:gd name="T64" fmla="*/ 210 w 256"/>
                <a:gd name="T65" fmla="*/ 175 h 227"/>
                <a:gd name="T66" fmla="*/ 210 w 256"/>
                <a:gd name="T67" fmla="*/ 175 h 227"/>
                <a:gd name="T68" fmla="*/ 210 w 256"/>
                <a:gd name="T69" fmla="*/ 191 h 227"/>
                <a:gd name="T70" fmla="*/ 210 w 256"/>
                <a:gd name="T71" fmla="*/ 203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56" h="227">
                  <a:moveTo>
                    <a:pt x="256" y="108"/>
                  </a:moveTo>
                  <a:cubicBezTo>
                    <a:pt x="256" y="94"/>
                    <a:pt x="245" y="84"/>
                    <a:pt x="232" y="84"/>
                  </a:cubicBezTo>
                  <a:cubicBezTo>
                    <a:pt x="169" y="84"/>
                    <a:pt x="169" y="84"/>
                    <a:pt x="169" y="84"/>
                  </a:cubicBezTo>
                  <a:cubicBezTo>
                    <a:pt x="171" y="74"/>
                    <a:pt x="172" y="59"/>
                    <a:pt x="172" y="44"/>
                  </a:cubicBezTo>
                  <a:cubicBezTo>
                    <a:pt x="172" y="13"/>
                    <a:pt x="156" y="0"/>
                    <a:pt x="140" y="0"/>
                  </a:cubicBezTo>
                  <a:cubicBezTo>
                    <a:pt x="120" y="0"/>
                    <a:pt x="120" y="21"/>
                    <a:pt x="120" y="48"/>
                  </a:cubicBezTo>
                  <a:cubicBezTo>
                    <a:pt x="120" y="67"/>
                    <a:pt x="90" y="97"/>
                    <a:pt x="75" y="110"/>
                  </a:cubicBezTo>
                  <a:cubicBezTo>
                    <a:pt x="71" y="108"/>
                    <a:pt x="68" y="107"/>
                    <a:pt x="64" y="107"/>
                  </a:cubicBezTo>
                  <a:cubicBezTo>
                    <a:pt x="24" y="107"/>
                    <a:pt x="24" y="107"/>
                    <a:pt x="24" y="107"/>
                  </a:cubicBezTo>
                  <a:cubicBezTo>
                    <a:pt x="11" y="107"/>
                    <a:pt x="0" y="118"/>
                    <a:pt x="0" y="131"/>
                  </a:cubicBezTo>
                  <a:cubicBezTo>
                    <a:pt x="8" y="203"/>
                    <a:pt x="8" y="203"/>
                    <a:pt x="8" y="203"/>
                  </a:cubicBezTo>
                  <a:cubicBezTo>
                    <a:pt x="10" y="216"/>
                    <a:pt x="19" y="227"/>
                    <a:pt x="32" y="227"/>
                  </a:cubicBezTo>
                  <a:cubicBezTo>
                    <a:pt x="64" y="227"/>
                    <a:pt x="64" y="227"/>
                    <a:pt x="64" y="227"/>
                  </a:cubicBezTo>
                  <a:cubicBezTo>
                    <a:pt x="74" y="227"/>
                    <a:pt x="83" y="221"/>
                    <a:pt x="87" y="212"/>
                  </a:cubicBezTo>
                  <a:cubicBezTo>
                    <a:pt x="100" y="219"/>
                    <a:pt x="100" y="219"/>
                    <a:pt x="100" y="219"/>
                  </a:cubicBezTo>
                  <a:cubicBezTo>
                    <a:pt x="101" y="219"/>
                    <a:pt x="102" y="219"/>
                    <a:pt x="103" y="219"/>
                  </a:cubicBezTo>
                  <a:cubicBezTo>
                    <a:pt x="210" y="219"/>
                    <a:pt x="210" y="219"/>
                    <a:pt x="210" y="219"/>
                  </a:cubicBezTo>
                  <a:cubicBezTo>
                    <a:pt x="222" y="219"/>
                    <a:pt x="232" y="210"/>
                    <a:pt x="232" y="197"/>
                  </a:cubicBezTo>
                  <a:cubicBezTo>
                    <a:pt x="232" y="194"/>
                    <a:pt x="231" y="191"/>
                    <a:pt x="230" y="188"/>
                  </a:cubicBezTo>
                  <a:cubicBezTo>
                    <a:pt x="236" y="184"/>
                    <a:pt x="240" y="177"/>
                    <a:pt x="240" y="169"/>
                  </a:cubicBezTo>
                  <a:cubicBezTo>
                    <a:pt x="240" y="166"/>
                    <a:pt x="239" y="162"/>
                    <a:pt x="238" y="159"/>
                  </a:cubicBezTo>
                  <a:cubicBezTo>
                    <a:pt x="244" y="155"/>
                    <a:pt x="248" y="148"/>
                    <a:pt x="248" y="140"/>
                  </a:cubicBezTo>
                  <a:cubicBezTo>
                    <a:pt x="248" y="135"/>
                    <a:pt x="247" y="131"/>
                    <a:pt x="245" y="128"/>
                  </a:cubicBezTo>
                  <a:cubicBezTo>
                    <a:pt x="252" y="123"/>
                    <a:pt x="256" y="116"/>
                    <a:pt x="256" y="108"/>
                  </a:cubicBezTo>
                  <a:close/>
                  <a:moveTo>
                    <a:pt x="64" y="211"/>
                  </a:moveTo>
                  <a:cubicBezTo>
                    <a:pt x="32" y="211"/>
                    <a:pt x="32" y="211"/>
                    <a:pt x="32" y="211"/>
                  </a:cubicBezTo>
                  <a:cubicBezTo>
                    <a:pt x="28" y="211"/>
                    <a:pt x="25" y="206"/>
                    <a:pt x="24" y="202"/>
                  </a:cubicBezTo>
                  <a:cubicBezTo>
                    <a:pt x="16" y="131"/>
                    <a:pt x="16" y="131"/>
                    <a:pt x="16" y="131"/>
                  </a:cubicBezTo>
                  <a:cubicBezTo>
                    <a:pt x="17" y="127"/>
                    <a:pt x="20" y="123"/>
                    <a:pt x="24" y="123"/>
                  </a:cubicBezTo>
                  <a:cubicBezTo>
                    <a:pt x="64" y="123"/>
                    <a:pt x="64" y="123"/>
                    <a:pt x="64" y="123"/>
                  </a:cubicBezTo>
                  <a:cubicBezTo>
                    <a:pt x="69" y="123"/>
                    <a:pt x="72" y="127"/>
                    <a:pt x="72" y="131"/>
                  </a:cubicBezTo>
                  <a:cubicBezTo>
                    <a:pt x="72" y="198"/>
                    <a:pt x="72" y="198"/>
                    <a:pt x="72" y="198"/>
                  </a:cubicBezTo>
                  <a:cubicBezTo>
                    <a:pt x="72" y="199"/>
                    <a:pt x="72" y="200"/>
                    <a:pt x="72" y="201"/>
                  </a:cubicBezTo>
                  <a:cubicBezTo>
                    <a:pt x="72" y="203"/>
                    <a:pt x="72" y="203"/>
                    <a:pt x="72" y="203"/>
                  </a:cubicBezTo>
                  <a:cubicBezTo>
                    <a:pt x="72" y="208"/>
                    <a:pt x="69" y="211"/>
                    <a:pt x="64" y="211"/>
                  </a:cubicBezTo>
                  <a:close/>
                  <a:moveTo>
                    <a:pt x="210" y="203"/>
                  </a:moveTo>
                  <a:cubicBezTo>
                    <a:pt x="105" y="203"/>
                    <a:pt x="105" y="203"/>
                    <a:pt x="105" y="203"/>
                  </a:cubicBezTo>
                  <a:cubicBezTo>
                    <a:pt x="88" y="194"/>
                    <a:pt x="88" y="194"/>
                    <a:pt x="88" y="194"/>
                  </a:cubicBezTo>
                  <a:cubicBezTo>
                    <a:pt x="88" y="131"/>
                    <a:pt x="88" y="131"/>
                    <a:pt x="88" y="131"/>
                  </a:cubicBezTo>
                  <a:cubicBezTo>
                    <a:pt x="88" y="128"/>
                    <a:pt x="87" y="124"/>
                    <a:pt x="86" y="121"/>
                  </a:cubicBezTo>
                  <a:cubicBezTo>
                    <a:pt x="100" y="109"/>
                    <a:pt x="136" y="75"/>
                    <a:pt x="136" y="48"/>
                  </a:cubicBezTo>
                  <a:cubicBezTo>
                    <a:pt x="136" y="31"/>
                    <a:pt x="136" y="16"/>
                    <a:pt x="140" y="16"/>
                  </a:cubicBezTo>
                  <a:cubicBezTo>
                    <a:pt x="148" y="16"/>
                    <a:pt x="156" y="25"/>
                    <a:pt x="156" y="44"/>
                  </a:cubicBezTo>
                  <a:cubicBezTo>
                    <a:pt x="156" y="67"/>
                    <a:pt x="152" y="90"/>
                    <a:pt x="152" y="90"/>
                  </a:cubicBezTo>
                  <a:cubicBezTo>
                    <a:pt x="152" y="93"/>
                    <a:pt x="153" y="95"/>
                    <a:pt x="154" y="97"/>
                  </a:cubicBezTo>
                  <a:cubicBezTo>
                    <a:pt x="156" y="98"/>
                    <a:pt x="158" y="100"/>
                    <a:pt x="160" y="100"/>
                  </a:cubicBezTo>
                  <a:cubicBezTo>
                    <a:pt x="232" y="100"/>
                    <a:pt x="232" y="100"/>
                    <a:pt x="232" y="100"/>
                  </a:cubicBezTo>
                  <a:cubicBezTo>
                    <a:pt x="237" y="100"/>
                    <a:pt x="240" y="103"/>
                    <a:pt x="240" y="108"/>
                  </a:cubicBezTo>
                  <a:cubicBezTo>
                    <a:pt x="240" y="112"/>
                    <a:pt x="237" y="116"/>
                    <a:pt x="232" y="116"/>
                  </a:cubicBezTo>
                  <a:cubicBezTo>
                    <a:pt x="223" y="116"/>
                    <a:pt x="223" y="116"/>
                    <a:pt x="223" y="116"/>
                  </a:cubicBezTo>
                  <a:cubicBezTo>
                    <a:pt x="219" y="116"/>
                    <a:pt x="215" y="119"/>
                    <a:pt x="215" y="124"/>
                  </a:cubicBezTo>
                  <a:cubicBezTo>
                    <a:pt x="215" y="128"/>
                    <a:pt x="219" y="132"/>
                    <a:pt x="223" y="132"/>
                  </a:cubicBezTo>
                  <a:cubicBezTo>
                    <a:pt x="224" y="132"/>
                    <a:pt x="224" y="132"/>
                    <a:pt x="224" y="132"/>
                  </a:cubicBezTo>
                  <a:cubicBezTo>
                    <a:pt x="224" y="132"/>
                    <a:pt x="224" y="132"/>
                    <a:pt x="224" y="132"/>
                  </a:cubicBezTo>
                  <a:cubicBezTo>
                    <a:pt x="229" y="132"/>
                    <a:pt x="232" y="135"/>
                    <a:pt x="232" y="140"/>
                  </a:cubicBezTo>
                  <a:cubicBezTo>
                    <a:pt x="232" y="144"/>
                    <a:pt x="229" y="148"/>
                    <a:pt x="224" y="148"/>
                  </a:cubicBezTo>
                  <a:cubicBezTo>
                    <a:pt x="219" y="148"/>
                    <a:pt x="219" y="148"/>
                    <a:pt x="219" y="148"/>
                  </a:cubicBezTo>
                  <a:cubicBezTo>
                    <a:pt x="219" y="148"/>
                    <a:pt x="218" y="147"/>
                    <a:pt x="218" y="147"/>
                  </a:cubicBezTo>
                  <a:cubicBezTo>
                    <a:pt x="218" y="147"/>
                    <a:pt x="218" y="148"/>
                    <a:pt x="218" y="148"/>
                  </a:cubicBezTo>
                  <a:cubicBezTo>
                    <a:pt x="215" y="148"/>
                    <a:pt x="215" y="148"/>
                    <a:pt x="215" y="148"/>
                  </a:cubicBezTo>
                  <a:cubicBezTo>
                    <a:pt x="211" y="148"/>
                    <a:pt x="207" y="151"/>
                    <a:pt x="207" y="156"/>
                  </a:cubicBezTo>
                  <a:cubicBezTo>
                    <a:pt x="207" y="160"/>
                    <a:pt x="211" y="164"/>
                    <a:pt x="215" y="164"/>
                  </a:cubicBezTo>
                  <a:cubicBezTo>
                    <a:pt x="218" y="164"/>
                    <a:pt x="218" y="164"/>
                    <a:pt x="218" y="164"/>
                  </a:cubicBezTo>
                  <a:cubicBezTo>
                    <a:pt x="222" y="164"/>
                    <a:pt x="224" y="166"/>
                    <a:pt x="224" y="169"/>
                  </a:cubicBezTo>
                  <a:cubicBezTo>
                    <a:pt x="224" y="173"/>
                    <a:pt x="221" y="175"/>
                    <a:pt x="218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06" y="175"/>
                    <a:pt x="202" y="179"/>
                    <a:pt x="202" y="183"/>
                  </a:cubicBezTo>
                  <a:cubicBezTo>
                    <a:pt x="202" y="188"/>
                    <a:pt x="206" y="191"/>
                    <a:pt x="210" y="191"/>
                  </a:cubicBezTo>
                  <a:cubicBezTo>
                    <a:pt x="213" y="191"/>
                    <a:pt x="216" y="194"/>
                    <a:pt x="216" y="197"/>
                  </a:cubicBezTo>
                  <a:cubicBezTo>
                    <a:pt x="216" y="201"/>
                    <a:pt x="213" y="203"/>
                    <a:pt x="210" y="20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800"/>
            </a:p>
          </p:txBody>
        </p:sp>
        <p:sp>
          <p:nvSpPr>
            <p:cNvPr id="51" name="ZenIcon3">
              <a:extLst>
                <a:ext uri="{FF2B5EF4-FFF2-40B4-BE49-F238E27FC236}">
                  <a16:creationId xmlns:a16="http://schemas.microsoft.com/office/drawing/2014/main" id="{B6AE74D5-743F-EA46-173B-7CA654D016A8}"/>
                </a:ext>
              </a:extLst>
            </p:cNvPr>
            <p:cNvSpPr>
              <a:spLocks noChangeAspect="1" noEditPoints="1"/>
            </p:cNvSpPr>
            <p:nvPr>
              <p:custDataLst>
                <p:tags r:id="rId4"/>
              </p:custDataLst>
            </p:nvPr>
          </p:nvSpPr>
          <p:spPr bwMode="auto">
            <a:xfrm>
              <a:off x="4716812" y="3040199"/>
              <a:ext cx="585837" cy="587295"/>
            </a:xfrm>
            <a:custGeom>
              <a:avLst/>
              <a:gdLst>
                <a:gd name="T0" fmla="*/ 1698 w 2448"/>
                <a:gd name="T1" fmla="*/ 97 h 2446"/>
                <a:gd name="T2" fmla="*/ 748 w 2448"/>
                <a:gd name="T3" fmla="*/ 97 h 2446"/>
                <a:gd name="T4" fmla="*/ 0 w 2448"/>
                <a:gd name="T5" fmla="*/ 1222 h 2446"/>
                <a:gd name="T6" fmla="*/ 748 w 2448"/>
                <a:gd name="T7" fmla="*/ 2349 h 2446"/>
                <a:gd name="T8" fmla="*/ 1698 w 2448"/>
                <a:gd name="T9" fmla="*/ 2349 h 2446"/>
                <a:gd name="T10" fmla="*/ 2448 w 2448"/>
                <a:gd name="T11" fmla="*/ 1222 h 2446"/>
                <a:gd name="T12" fmla="*/ 816 w 2448"/>
                <a:gd name="T13" fmla="*/ 227 h 2446"/>
                <a:gd name="T14" fmla="*/ 264 w 2448"/>
                <a:gd name="T15" fmla="*/ 737 h 2446"/>
                <a:gd name="T16" fmla="*/ 149 w 2448"/>
                <a:gd name="T17" fmla="*/ 1222 h 2446"/>
                <a:gd name="T18" fmla="*/ 554 w 2448"/>
                <a:gd name="T19" fmla="*/ 884 h 2446"/>
                <a:gd name="T20" fmla="*/ 554 w 2448"/>
                <a:gd name="T21" fmla="*/ 1556 h 2446"/>
                <a:gd name="T22" fmla="*/ 149 w 2448"/>
                <a:gd name="T23" fmla="*/ 1222 h 2446"/>
                <a:gd name="T24" fmla="*/ 584 w 2448"/>
                <a:gd name="T25" fmla="*/ 1704 h 2446"/>
                <a:gd name="T26" fmla="*/ 264 w 2448"/>
                <a:gd name="T27" fmla="*/ 1704 h 2446"/>
                <a:gd name="T28" fmla="*/ 906 w 2448"/>
                <a:gd name="T29" fmla="*/ 2092 h 2446"/>
                <a:gd name="T30" fmla="*/ 1148 w 2448"/>
                <a:gd name="T31" fmla="*/ 1704 h 2446"/>
                <a:gd name="T32" fmla="*/ 1148 w 2448"/>
                <a:gd name="T33" fmla="*/ 1556 h 2446"/>
                <a:gd name="T34" fmla="*/ 677 w 2448"/>
                <a:gd name="T35" fmla="*/ 1222 h 2446"/>
                <a:gd name="T36" fmla="*/ 1148 w 2448"/>
                <a:gd name="T37" fmla="*/ 884 h 2446"/>
                <a:gd name="T38" fmla="*/ 1148 w 2448"/>
                <a:gd name="T39" fmla="*/ 737 h 2446"/>
                <a:gd name="T40" fmla="*/ 909 w 2448"/>
                <a:gd name="T41" fmla="*/ 353 h 2446"/>
                <a:gd name="T42" fmla="*/ 1148 w 2448"/>
                <a:gd name="T43" fmla="*/ 737 h 2446"/>
                <a:gd name="T44" fmla="*/ 1864 w 2448"/>
                <a:gd name="T45" fmla="*/ 737 h 2446"/>
                <a:gd name="T46" fmla="*/ 2184 w 2448"/>
                <a:gd name="T47" fmla="*/ 737 h 2446"/>
                <a:gd name="T48" fmla="*/ 1539 w 2448"/>
                <a:gd name="T49" fmla="*/ 353 h 2446"/>
                <a:gd name="T50" fmla="*/ 1300 w 2448"/>
                <a:gd name="T51" fmla="*/ 737 h 2446"/>
                <a:gd name="T52" fmla="*/ 1300 w 2448"/>
                <a:gd name="T53" fmla="*/ 884 h 2446"/>
                <a:gd name="T54" fmla="*/ 1771 w 2448"/>
                <a:gd name="T55" fmla="*/ 1222 h 2446"/>
                <a:gd name="T56" fmla="*/ 1300 w 2448"/>
                <a:gd name="T57" fmla="*/ 1556 h 2446"/>
                <a:gd name="T58" fmla="*/ 1300 w 2448"/>
                <a:gd name="T59" fmla="*/ 2286 h 2446"/>
                <a:gd name="T60" fmla="*/ 1711 w 2448"/>
                <a:gd name="T61" fmla="*/ 1704 h 2446"/>
                <a:gd name="T62" fmla="*/ 1300 w 2448"/>
                <a:gd name="T63" fmla="*/ 2286 h 2446"/>
                <a:gd name="T64" fmla="*/ 1864 w 2448"/>
                <a:gd name="T65" fmla="*/ 1704 h 2446"/>
                <a:gd name="T66" fmla="*/ 1632 w 2448"/>
                <a:gd name="T67" fmla="*/ 2219 h 2446"/>
                <a:gd name="T68" fmla="*/ 1894 w 2448"/>
                <a:gd name="T69" fmla="*/ 1556 h 2446"/>
                <a:gd name="T70" fmla="*/ 1894 w 2448"/>
                <a:gd name="T71" fmla="*/ 884 h 2446"/>
                <a:gd name="T72" fmla="*/ 2299 w 2448"/>
                <a:gd name="T73" fmla="*/ 1222 h 2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48" h="2446">
                  <a:moveTo>
                    <a:pt x="2350" y="747"/>
                  </a:moveTo>
                  <a:cubicBezTo>
                    <a:pt x="2221" y="446"/>
                    <a:pt x="2002" y="227"/>
                    <a:pt x="1698" y="97"/>
                  </a:cubicBezTo>
                  <a:cubicBezTo>
                    <a:pt x="1547" y="33"/>
                    <a:pt x="1389" y="0"/>
                    <a:pt x="1223" y="0"/>
                  </a:cubicBezTo>
                  <a:cubicBezTo>
                    <a:pt x="1057" y="0"/>
                    <a:pt x="900" y="32"/>
                    <a:pt x="748" y="97"/>
                  </a:cubicBezTo>
                  <a:cubicBezTo>
                    <a:pt x="447" y="226"/>
                    <a:pt x="226" y="445"/>
                    <a:pt x="96" y="747"/>
                  </a:cubicBezTo>
                  <a:cubicBezTo>
                    <a:pt x="32" y="898"/>
                    <a:pt x="0" y="1056"/>
                    <a:pt x="0" y="1222"/>
                  </a:cubicBezTo>
                  <a:cubicBezTo>
                    <a:pt x="0" y="1388"/>
                    <a:pt x="32" y="1547"/>
                    <a:pt x="96" y="1698"/>
                  </a:cubicBezTo>
                  <a:cubicBezTo>
                    <a:pt x="226" y="2000"/>
                    <a:pt x="447" y="2220"/>
                    <a:pt x="748" y="2349"/>
                  </a:cubicBezTo>
                  <a:cubicBezTo>
                    <a:pt x="900" y="2414"/>
                    <a:pt x="1057" y="2446"/>
                    <a:pt x="1223" y="2446"/>
                  </a:cubicBezTo>
                  <a:cubicBezTo>
                    <a:pt x="1389" y="2446"/>
                    <a:pt x="1547" y="2413"/>
                    <a:pt x="1698" y="2349"/>
                  </a:cubicBezTo>
                  <a:cubicBezTo>
                    <a:pt x="2002" y="2219"/>
                    <a:pt x="2221" y="1999"/>
                    <a:pt x="2350" y="1698"/>
                  </a:cubicBezTo>
                  <a:cubicBezTo>
                    <a:pt x="2415" y="1547"/>
                    <a:pt x="2448" y="1388"/>
                    <a:pt x="2448" y="1222"/>
                  </a:cubicBezTo>
                  <a:cubicBezTo>
                    <a:pt x="2448" y="1056"/>
                    <a:pt x="2415" y="898"/>
                    <a:pt x="2350" y="747"/>
                  </a:cubicBezTo>
                  <a:close/>
                  <a:moveTo>
                    <a:pt x="816" y="227"/>
                  </a:moveTo>
                  <a:cubicBezTo>
                    <a:pt x="711" y="361"/>
                    <a:pt x="633" y="531"/>
                    <a:pt x="584" y="737"/>
                  </a:cubicBezTo>
                  <a:cubicBezTo>
                    <a:pt x="264" y="737"/>
                    <a:pt x="264" y="737"/>
                    <a:pt x="264" y="737"/>
                  </a:cubicBezTo>
                  <a:cubicBezTo>
                    <a:pt x="381" y="508"/>
                    <a:pt x="580" y="325"/>
                    <a:pt x="816" y="227"/>
                  </a:cubicBezTo>
                  <a:close/>
                  <a:moveTo>
                    <a:pt x="149" y="1222"/>
                  </a:moveTo>
                  <a:cubicBezTo>
                    <a:pt x="149" y="1105"/>
                    <a:pt x="167" y="993"/>
                    <a:pt x="203" y="884"/>
                  </a:cubicBezTo>
                  <a:cubicBezTo>
                    <a:pt x="554" y="884"/>
                    <a:pt x="554" y="884"/>
                    <a:pt x="554" y="884"/>
                  </a:cubicBezTo>
                  <a:cubicBezTo>
                    <a:pt x="537" y="998"/>
                    <a:pt x="529" y="1111"/>
                    <a:pt x="529" y="1222"/>
                  </a:cubicBezTo>
                  <a:cubicBezTo>
                    <a:pt x="529" y="1331"/>
                    <a:pt x="537" y="1443"/>
                    <a:pt x="554" y="1556"/>
                  </a:cubicBezTo>
                  <a:cubicBezTo>
                    <a:pt x="201" y="1556"/>
                    <a:pt x="201" y="1556"/>
                    <a:pt x="201" y="1556"/>
                  </a:cubicBezTo>
                  <a:cubicBezTo>
                    <a:pt x="166" y="1448"/>
                    <a:pt x="149" y="1335"/>
                    <a:pt x="149" y="1222"/>
                  </a:cubicBezTo>
                  <a:close/>
                  <a:moveTo>
                    <a:pt x="264" y="1704"/>
                  </a:moveTo>
                  <a:cubicBezTo>
                    <a:pt x="584" y="1704"/>
                    <a:pt x="584" y="1704"/>
                    <a:pt x="584" y="1704"/>
                  </a:cubicBezTo>
                  <a:cubicBezTo>
                    <a:pt x="633" y="1914"/>
                    <a:pt x="711" y="2086"/>
                    <a:pt x="816" y="2219"/>
                  </a:cubicBezTo>
                  <a:cubicBezTo>
                    <a:pt x="576" y="2118"/>
                    <a:pt x="377" y="1935"/>
                    <a:pt x="264" y="1704"/>
                  </a:cubicBezTo>
                  <a:close/>
                  <a:moveTo>
                    <a:pt x="1148" y="2286"/>
                  </a:moveTo>
                  <a:cubicBezTo>
                    <a:pt x="1061" y="2260"/>
                    <a:pt x="980" y="2196"/>
                    <a:pt x="906" y="2092"/>
                  </a:cubicBezTo>
                  <a:cubicBezTo>
                    <a:pt x="833" y="1987"/>
                    <a:pt x="776" y="1857"/>
                    <a:pt x="737" y="1704"/>
                  </a:cubicBezTo>
                  <a:cubicBezTo>
                    <a:pt x="1148" y="1704"/>
                    <a:pt x="1148" y="1704"/>
                    <a:pt x="1148" y="1704"/>
                  </a:cubicBezTo>
                  <a:lnTo>
                    <a:pt x="1148" y="2286"/>
                  </a:lnTo>
                  <a:close/>
                  <a:moveTo>
                    <a:pt x="1148" y="1556"/>
                  </a:moveTo>
                  <a:cubicBezTo>
                    <a:pt x="704" y="1556"/>
                    <a:pt x="704" y="1556"/>
                    <a:pt x="704" y="1556"/>
                  </a:cubicBezTo>
                  <a:cubicBezTo>
                    <a:pt x="687" y="1437"/>
                    <a:pt x="677" y="1326"/>
                    <a:pt x="677" y="1222"/>
                  </a:cubicBezTo>
                  <a:cubicBezTo>
                    <a:pt x="677" y="1109"/>
                    <a:pt x="687" y="997"/>
                    <a:pt x="707" y="884"/>
                  </a:cubicBezTo>
                  <a:cubicBezTo>
                    <a:pt x="1148" y="884"/>
                    <a:pt x="1148" y="884"/>
                    <a:pt x="1148" y="884"/>
                  </a:cubicBezTo>
                  <a:cubicBezTo>
                    <a:pt x="1148" y="1556"/>
                    <a:pt x="1148" y="1556"/>
                    <a:pt x="1148" y="1556"/>
                  </a:cubicBezTo>
                  <a:close/>
                  <a:moveTo>
                    <a:pt x="1148" y="737"/>
                  </a:moveTo>
                  <a:cubicBezTo>
                    <a:pt x="737" y="737"/>
                    <a:pt x="737" y="737"/>
                    <a:pt x="737" y="737"/>
                  </a:cubicBezTo>
                  <a:cubicBezTo>
                    <a:pt x="779" y="585"/>
                    <a:pt x="836" y="456"/>
                    <a:pt x="909" y="353"/>
                  </a:cubicBezTo>
                  <a:cubicBezTo>
                    <a:pt x="983" y="249"/>
                    <a:pt x="1061" y="184"/>
                    <a:pt x="1148" y="160"/>
                  </a:cubicBezTo>
                  <a:cubicBezTo>
                    <a:pt x="1148" y="737"/>
                    <a:pt x="1148" y="737"/>
                    <a:pt x="1148" y="737"/>
                  </a:cubicBezTo>
                  <a:close/>
                  <a:moveTo>
                    <a:pt x="2184" y="737"/>
                  </a:moveTo>
                  <a:cubicBezTo>
                    <a:pt x="1864" y="737"/>
                    <a:pt x="1864" y="737"/>
                    <a:pt x="1864" y="737"/>
                  </a:cubicBezTo>
                  <a:cubicBezTo>
                    <a:pt x="1815" y="531"/>
                    <a:pt x="1737" y="361"/>
                    <a:pt x="1632" y="227"/>
                  </a:cubicBezTo>
                  <a:cubicBezTo>
                    <a:pt x="1868" y="325"/>
                    <a:pt x="2067" y="508"/>
                    <a:pt x="2184" y="737"/>
                  </a:cubicBezTo>
                  <a:close/>
                  <a:moveTo>
                    <a:pt x="1300" y="160"/>
                  </a:moveTo>
                  <a:cubicBezTo>
                    <a:pt x="1387" y="184"/>
                    <a:pt x="1465" y="249"/>
                    <a:pt x="1539" y="353"/>
                  </a:cubicBezTo>
                  <a:cubicBezTo>
                    <a:pt x="1613" y="456"/>
                    <a:pt x="1669" y="585"/>
                    <a:pt x="1711" y="737"/>
                  </a:cubicBezTo>
                  <a:cubicBezTo>
                    <a:pt x="1300" y="737"/>
                    <a:pt x="1300" y="737"/>
                    <a:pt x="1300" y="737"/>
                  </a:cubicBezTo>
                  <a:lnTo>
                    <a:pt x="1300" y="160"/>
                  </a:lnTo>
                  <a:close/>
                  <a:moveTo>
                    <a:pt x="1300" y="884"/>
                  </a:moveTo>
                  <a:cubicBezTo>
                    <a:pt x="1741" y="884"/>
                    <a:pt x="1741" y="884"/>
                    <a:pt x="1741" y="884"/>
                  </a:cubicBezTo>
                  <a:cubicBezTo>
                    <a:pt x="1761" y="997"/>
                    <a:pt x="1771" y="1109"/>
                    <a:pt x="1771" y="1222"/>
                  </a:cubicBezTo>
                  <a:cubicBezTo>
                    <a:pt x="1771" y="1326"/>
                    <a:pt x="1761" y="1437"/>
                    <a:pt x="1744" y="1556"/>
                  </a:cubicBezTo>
                  <a:cubicBezTo>
                    <a:pt x="1300" y="1556"/>
                    <a:pt x="1300" y="1556"/>
                    <a:pt x="1300" y="1556"/>
                  </a:cubicBezTo>
                  <a:lnTo>
                    <a:pt x="1300" y="884"/>
                  </a:lnTo>
                  <a:close/>
                  <a:moveTo>
                    <a:pt x="1300" y="2286"/>
                  </a:moveTo>
                  <a:cubicBezTo>
                    <a:pt x="1300" y="1704"/>
                    <a:pt x="1300" y="1704"/>
                    <a:pt x="1300" y="1704"/>
                  </a:cubicBezTo>
                  <a:cubicBezTo>
                    <a:pt x="1711" y="1704"/>
                    <a:pt x="1711" y="1704"/>
                    <a:pt x="1711" y="1704"/>
                  </a:cubicBezTo>
                  <a:cubicBezTo>
                    <a:pt x="1670" y="1857"/>
                    <a:pt x="1613" y="1987"/>
                    <a:pt x="1541" y="2092"/>
                  </a:cubicBezTo>
                  <a:cubicBezTo>
                    <a:pt x="1467" y="2197"/>
                    <a:pt x="1388" y="2262"/>
                    <a:pt x="1300" y="2286"/>
                  </a:cubicBezTo>
                  <a:close/>
                  <a:moveTo>
                    <a:pt x="1632" y="2219"/>
                  </a:moveTo>
                  <a:cubicBezTo>
                    <a:pt x="1737" y="2086"/>
                    <a:pt x="1815" y="1914"/>
                    <a:pt x="1864" y="1704"/>
                  </a:cubicBezTo>
                  <a:cubicBezTo>
                    <a:pt x="2184" y="1704"/>
                    <a:pt x="2184" y="1704"/>
                    <a:pt x="2184" y="1704"/>
                  </a:cubicBezTo>
                  <a:cubicBezTo>
                    <a:pt x="2071" y="1935"/>
                    <a:pt x="1872" y="2118"/>
                    <a:pt x="1632" y="2219"/>
                  </a:cubicBezTo>
                  <a:close/>
                  <a:moveTo>
                    <a:pt x="2247" y="1556"/>
                  </a:moveTo>
                  <a:cubicBezTo>
                    <a:pt x="1894" y="1556"/>
                    <a:pt x="1894" y="1556"/>
                    <a:pt x="1894" y="1556"/>
                  </a:cubicBezTo>
                  <a:cubicBezTo>
                    <a:pt x="1911" y="1443"/>
                    <a:pt x="1919" y="1331"/>
                    <a:pt x="1919" y="1222"/>
                  </a:cubicBezTo>
                  <a:cubicBezTo>
                    <a:pt x="1919" y="1111"/>
                    <a:pt x="1911" y="998"/>
                    <a:pt x="1894" y="884"/>
                  </a:cubicBezTo>
                  <a:cubicBezTo>
                    <a:pt x="2245" y="884"/>
                    <a:pt x="2245" y="884"/>
                    <a:pt x="2245" y="884"/>
                  </a:cubicBezTo>
                  <a:cubicBezTo>
                    <a:pt x="2281" y="993"/>
                    <a:pt x="2299" y="1105"/>
                    <a:pt x="2299" y="1222"/>
                  </a:cubicBezTo>
                  <a:cubicBezTo>
                    <a:pt x="2299" y="1335"/>
                    <a:pt x="2282" y="1448"/>
                    <a:pt x="2247" y="155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/>
            </a:p>
          </p:txBody>
        </p:sp>
        <p:grpSp>
          <p:nvGrpSpPr>
            <p:cNvPr id="52" name="ZenIcon4">
              <a:extLst>
                <a:ext uri="{FF2B5EF4-FFF2-40B4-BE49-F238E27FC236}">
                  <a16:creationId xmlns:a16="http://schemas.microsoft.com/office/drawing/2014/main" id="{704B8EE4-10C7-7A5E-A2AD-E6F30F1FF93C}"/>
                </a:ext>
              </a:extLst>
            </p:cNvPr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>
            <a:xfrm>
              <a:off x="6230250" y="4313425"/>
              <a:ext cx="585837" cy="585837"/>
              <a:chOff x="-4769427" y="-314325"/>
              <a:chExt cx="4660901" cy="4576762"/>
            </a:xfrm>
          </p:grpSpPr>
          <p:sp>
            <p:nvSpPr>
              <p:cNvPr id="61" name="Freeform 23">
                <a:extLst>
                  <a:ext uri="{FF2B5EF4-FFF2-40B4-BE49-F238E27FC236}">
                    <a16:creationId xmlns:a16="http://schemas.microsoft.com/office/drawing/2014/main" id="{D4F2FE69-6F45-AE2A-0DCD-DF00BE1BA22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4509077" y="-314325"/>
                <a:ext cx="4138613" cy="3956050"/>
              </a:xfrm>
              <a:custGeom>
                <a:avLst/>
                <a:gdLst>
                  <a:gd name="T0" fmla="*/ 2128 w 2188"/>
                  <a:gd name="T1" fmla="*/ 946 h 2085"/>
                  <a:gd name="T2" fmla="*/ 2169 w 2188"/>
                  <a:gd name="T3" fmla="*/ 781 h 2085"/>
                  <a:gd name="T4" fmla="*/ 2038 w 2188"/>
                  <a:gd name="T5" fmla="*/ 671 h 2085"/>
                  <a:gd name="T6" fmla="*/ 1503 w 2188"/>
                  <a:gd name="T7" fmla="*/ 593 h 2085"/>
                  <a:gd name="T8" fmla="*/ 1478 w 2188"/>
                  <a:gd name="T9" fmla="*/ 576 h 2085"/>
                  <a:gd name="T10" fmla="*/ 1239 w 2188"/>
                  <a:gd name="T11" fmla="*/ 90 h 2085"/>
                  <a:gd name="T12" fmla="*/ 1094 w 2188"/>
                  <a:gd name="T13" fmla="*/ 0 h 2085"/>
                  <a:gd name="T14" fmla="*/ 949 w 2188"/>
                  <a:gd name="T15" fmla="*/ 90 h 2085"/>
                  <a:gd name="T16" fmla="*/ 710 w 2188"/>
                  <a:gd name="T17" fmla="*/ 576 h 2085"/>
                  <a:gd name="T18" fmla="*/ 685 w 2188"/>
                  <a:gd name="T19" fmla="*/ 593 h 2085"/>
                  <a:gd name="T20" fmla="*/ 150 w 2188"/>
                  <a:gd name="T21" fmla="*/ 671 h 2085"/>
                  <a:gd name="T22" fmla="*/ 19 w 2188"/>
                  <a:gd name="T23" fmla="*/ 781 h 2085"/>
                  <a:gd name="T24" fmla="*/ 60 w 2188"/>
                  <a:gd name="T25" fmla="*/ 946 h 2085"/>
                  <a:gd name="T26" fmla="*/ 448 w 2188"/>
                  <a:gd name="T27" fmla="*/ 1324 h 2085"/>
                  <a:gd name="T28" fmla="*/ 457 w 2188"/>
                  <a:gd name="T29" fmla="*/ 1353 h 2085"/>
                  <a:gd name="T30" fmla="*/ 366 w 2188"/>
                  <a:gd name="T31" fmla="*/ 1886 h 2085"/>
                  <a:gd name="T32" fmla="*/ 430 w 2188"/>
                  <a:gd name="T33" fmla="*/ 2044 h 2085"/>
                  <a:gd name="T34" fmla="*/ 600 w 2188"/>
                  <a:gd name="T35" fmla="*/ 2056 h 2085"/>
                  <a:gd name="T36" fmla="*/ 1079 w 2188"/>
                  <a:gd name="T37" fmla="*/ 1805 h 2085"/>
                  <a:gd name="T38" fmla="*/ 1109 w 2188"/>
                  <a:gd name="T39" fmla="*/ 1805 h 2085"/>
                  <a:gd name="T40" fmla="*/ 1588 w 2188"/>
                  <a:gd name="T41" fmla="*/ 2056 h 2085"/>
                  <a:gd name="T42" fmla="*/ 1663 w 2188"/>
                  <a:gd name="T43" fmla="*/ 2075 h 2085"/>
                  <a:gd name="T44" fmla="*/ 1758 w 2188"/>
                  <a:gd name="T45" fmla="*/ 2044 h 2085"/>
                  <a:gd name="T46" fmla="*/ 1822 w 2188"/>
                  <a:gd name="T47" fmla="*/ 1886 h 2085"/>
                  <a:gd name="T48" fmla="*/ 1731 w 2188"/>
                  <a:gd name="T49" fmla="*/ 1353 h 2085"/>
                  <a:gd name="T50" fmla="*/ 1740 w 2188"/>
                  <a:gd name="T51" fmla="*/ 1324 h 2085"/>
                  <a:gd name="T52" fmla="*/ 2128 w 2188"/>
                  <a:gd name="T53" fmla="*/ 946 h 2085"/>
                  <a:gd name="T54" fmla="*/ 1604 w 2188"/>
                  <a:gd name="T55" fmla="*/ 1375 h 2085"/>
                  <a:gd name="T56" fmla="*/ 1695 w 2188"/>
                  <a:gd name="T57" fmla="*/ 1908 h 2085"/>
                  <a:gd name="T58" fmla="*/ 1682 w 2188"/>
                  <a:gd name="T59" fmla="*/ 1940 h 2085"/>
                  <a:gd name="T60" fmla="*/ 1648 w 2188"/>
                  <a:gd name="T61" fmla="*/ 1942 h 2085"/>
                  <a:gd name="T62" fmla="*/ 1169 w 2188"/>
                  <a:gd name="T63" fmla="*/ 1690 h 2085"/>
                  <a:gd name="T64" fmla="*/ 1094 w 2188"/>
                  <a:gd name="T65" fmla="*/ 1672 h 2085"/>
                  <a:gd name="T66" fmla="*/ 1019 w 2188"/>
                  <a:gd name="T67" fmla="*/ 1690 h 2085"/>
                  <a:gd name="T68" fmla="*/ 540 w 2188"/>
                  <a:gd name="T69" fmla="*/ 1942 h 2085"/>
                  <a:gd name="T70" fmla="*/ 506 w 2188"/>
                  <a:gd name="T71" fmla="*/ 1940 h 2085"/>
                  <a:gd name="T72" fmla="*/ 493 w 2188"/>
                  <a:gd name="T73" fmla="*/ 1908 h 2085"/>
                  <a:gd name="T74" fmla="*/ 584 w 2188"/>
                  <a:gd name="T75" fmla="*/ 1375 h 2085"/>
                  <a:gd name="T76" fmla="*/ 538 w 2188"/>
                  <a:gd name="T77" fmla="*/ 1232 h 2085"/>
                  <a:gd name="T78" fmla="*/ 150 w 2188"/>
                  <a:gd name="T79" fmla="*/ 854 h 2085"/>
                  <a:gd name="T80" fmla="*/ 142 w 2188"/>
                  <a:gd name="T81" fmla="*/ 821 h 2085"/>
                  <a:gd name="T82" fmla="*/ 168 w 2188"/>
                  <a:gd name="T83" fmla="*/ 799 h 2085"/>
                  <a:gd name="T84" fmla="*/ 704 w 2188"/>
                  <a:gd name="T85" fmla="*/ 721 h 2085"/>
                  <a:gd name="T86" fmla="*/ 826 w 2188"/>
                  <a:gd name="T87" fmla="*/ 633 h 2085"/>
                  <a:gd name="T88" fmla="*/ 1065 w 2188"/>
                  <a:gd name="T89" fmla="*/ 147 h 2085"/>
                  <a:gd name="T90" fmla="*/ 1094 w 2188"/>
                  <a:gd name="T91" fmla="*/ 129 h 2085"/>
                  <a:gd name="T92" fmla="*/ 1123 w 2188"/>
                  <a:gd name="T93" fmla="*/ 147 h 2085"/>
                  <a:gd name="T94" fmla="*/ 1123 w 2188"/>
                  <a:gd name="T95" fmla="*/ 147 h 2085"/>
                  <a:gd name="T96" fmla="*/ 1363 w 2188"/>
                  <a:gd name="T97" fmla="*/ 633 h 2085"/>
                  <a:gd name="T98" fmla="*/ 1484 w 2188"/>
                  <a:gd name="T99" fmla="*/ 721 h 2085"/>
                  <a:gd name="T100" fmla="*/ 2020 w 2188"/>
                  <a:gd name="T101" fmla="*/ 799 h 2085"/>
                  <a:gd name="T102" fmla="*/ 2046 w 2188"/>
                  <a:gd name="T103" fmla="*/ 821 h 2085"/>
                  <a:gd name="T104" fmla="*/ 2038 w 2188"/>
                  <a:gd name="T105" fmla="*/ 854 h 2085"/>
                  <a:gd name="T106" fmla="*/ 1650 w 2188"/>
                  <a:gd name="T107" fmla="*/ 1232 h 2085"/>
                  <a:gd name="T108" fmla="*/ 1604 w 2188"/>
                  <a:gd name="T109" fmla="*/ 1375 h 20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188" h="2085">
                    <a:moveTo>
                      <a:pt x="2128" y="946"/>
                    </a:moveTo>
                    <a:cubicBezTo>
                      <a:pt x="2172" y="903"/>
                      <a:pt x="2188" y="840"/>
                      <a:pt x="2169" y="781"/>
                    </a:cubicBezTo>
                    <a:cubicBezTo>
                      <a:pt x="2149" y="722"/>
                      <a:pt x="2100" y="680"/>
                      <a:pt x="2038" y="671"/>
                    </a:cubicBezTo>
                    <a:cubicBezTo>
                      <a:pt x="1503" y="593"/>
                      <a:pt x="1503" y="593"/>
                      <a:pt x="1503" y="593"/>
                    </a:cubicBezTo>
                    <a:cubicBezTo>
                      <a:pt x="1492" y="592"/>
                      <a:pt x="1483" y="585"/>
                      <a:pt x="1478" y="576"/>
                    </a:cubicBezTo>
                    <a:cubicBezTo>
                      <a:pt x="1239" y="90"/>
                      <a:pt x="1239" y="90"/>
                      <a:pt x="1239" y="90"/>
                    </a:cubicBezTo>
                    <a:cubicBezTo>
                      <a:pt x="1211" y="35"/>
                      <a:pt x="1156" y="0"/>
                      <a:pt x="1094" y="0"/>
                    </a:cubicBezTo>
                    <a:cubicBezTo>
                      <a:pt x="1032" y="0"/>
                      <a:pt x="977" y="35"/>
                      <a:pt x="949" y="90"/>
                    </a:cubicBezTo>
                    <a:cubicBezTo>
                      <a:pt x="710" y="576"/>
                      <a:pt x="710" y="576"/>
                      <a:pt x="710" y="576"/>
                    </a:cubicBezTo>
                    <a:cubicBezTo>
                      <a:pt x="705" y="585"/>
                      <a:pt x="696" y="592"/>
                      <a:pt x="685" y="593"/>
                    </a:cubicBezTo>
                    <a:cubicBezTo>
                      <a:pt x="150" y="671"/>
                      <a:pt x="150" y="671"/>
                      <a:pt x="150" y="671"/>
                    </a:cubicBezTo>
                    <a:cubicBezTo>
                      <a:pt x="88" y="680"/>
                      <a:pt x="39" y="722"/>
                      <a:pt x="19" y="781"/>
                    </a:cubicBezTo>
                    <a:cubicBezTo>
                      <a:pt x="0" y="840"/>
                      <a:pt x="16" y="903"/>
                      <a:pt x="60" y="946"/>
                    </a:cubicBezTo>
                    <a:cubicBezTo>
                      <a:pt x="448" y="1324"/>
                      <a:pt x="448" y="1324"/>
                      <a:pt x="448" y="1324"/>
                    </a:cubicBezTo>
                    <a:cubicBezTo>
                      <a:pt x="455" y="1332"/>
                      <a:pt x="459" y="1342"/>
                      <a:pt x="457" y="1353"/>
                    </a:cubicBezTo>
                    <a:cubicBezTo>
                      <a:pt x="366" y="1886"/>
                      <a:pt x="366" y="1886"/>
                      <a:pt x="366" y="1886"/>
                    </a:cubicBezTo>
                    <a:cubicBezTo>
                      <a:pt x="355" y="1947"/>
                      <a:pt x="380" y="2008"/>
                      <a:pt x="430" y="2044"/>
                    </a:cubicBezTo>
                    <a:cubicBezTo>
                      <a:pt x="480" y="2081"/>
                      <a:pt x="545" y="2085"/>
                      <a:pt x="600" y="2056"/>
                    </a:cubicBezTo>
                    <a:cubicBezTo>
                      <a:pt x="1079" y="1805"/>
                      <a:pt x="1079" y="1805"/>
                      <a:pt x="1079" y="1805"/>
                    </a:cubicBezTo>
                    <a:cubicBezTo>
                      <a:pt x="1088" y="1800"/>
                      <a:pt x="1100" y="1800"/>
                      <a:pt x="1109" y="1805"/>
                    </a:cubicBezTo>
                    <a:cubicBezTo>
                      <a:pt x="1588" y="2056"/>
                      <a:pt x="1588" y="2056"/>
                      <a:pt x="1588" y="2056"/>
                    </a:cubicBezTo>
                    <a:cubicBezTo>
                      <a:pt x="1612" y="2069"/>
                      <a:pt x="1638" y="2075"/>
                      <a:pt x="1663" y="2075"/>
                    </a:cubicBezTo>
                    <a:cubicBezTo>
                      <a:pt x="1697" y="2075"/>
                      <a:pt x="1730" y="2065"/>
                      <a:pt x="1758" y="2044"/>
                    </a:cubicBezTo>
                    <a:cubicBezTo>
                      <a:pt x="1808" y="2008"/>
                      <a:pt x="1833" y="1947"/>
                      <a:pt x="1822" y="1886"/>
                    </a:cubicBezTo>
                    <a:cubicBezTo>
                      <a:pt x="1731" y="1353"/>
                      <a:pt x="1731" y="1353"/>
                      <a:pt x="1731" y="1353"/>
                    </a:cubicBezTo>
                    <a:cubicBezTo>
                      <a:pt x="1729" y="1342"/>
                      <a:pt x="1733" y="1332"/>
                      <a:pt x="1740" y="1324"/>
                    </a:cubicBezTo>
                    <a:lnTo>
                      <a:pt x="2128" y="946"/>
                    </a:lnTo>
                    <a:close/>
                    <a:moveTo>
                      <a:pt x="1604" y="1375"/>
                    </a:moveTo>
                    <a:cubicBezTo>
                      <a:pt x="1695" y="1908"/>
                      <a:pt x="1695" y="1908"/>
                      <a:pt x="1695" y="1908"/>
                    </a:cubicBezTo>
                    <a:cubicBezTo>
                      <a:pt x="1698" y="1926"/>
                      <a:pt x="1687" y="1936"/>
                      <a:pt x="1682" y="1940"/>
                    </a:cubicBezTo>
                    <a:cubicBezTo>
                      <a:pt x="1677" y="1943"/>
                      <a:pt x="1664" y="1951"/>
                      <a:pt x="1648" y="1942"/>
                    </a:cubicBezTo>
                    <a:cubicBezTo>
                      <a:pt x="1169" y="1690"/>
                      <a:pt x="1169" y="1690"/>
                      <a:pt x="1169" y="1690"/>
                    </a:cubicBezTo>
                    <a:cubicBezTo>
                      <a:pt x="1146" y="1678"/>
                      <a:pt x="1120" y="1672"/>
                      <a:pt x="1094" y="1672"/>
                    </a:cubicBezTo>
                    <a:cubicBezTo>
                      <a:pt x="1068" y="1672"/>
                      <a:pt x="1042" y="1678"/>
                      <a:pt x="1019" y="1690"/>
                    </a:cubicBezTo>
                    <a:cubicBezTo>
                      <a:pt x="540" y="1942"/>
                      <a:pt x="540" y="1942"/>
                      <a:pt x="540" y="1942"/>
                    </a:cubicBezTo>
                    <a:cubicBezTo>
                      <a:pt x="524" y="1951"/>
                      <a:pt x="511" y="1943"/>
                      <a:pt x="506" y="1940"/>
                    </a:cubicBezTo>
                    <a:cubicBezTo>
                      <a:pt x="501" y="1936"/>
                      <a:pt x="490" y="1926"/>
                      <a:pt x="493" y="1908"/>
                    </a:cubicBezTo>
                    <a:cubicBezTo>
                      <a:pt x="584" y="1375"/>
                      <a:pt x="584" y="1375"/>
                      <a:pt x="584" y="1375"/>
                    </a:cubicBezTo>
                    <a:cubicBezTo>
                      <a:pt x="593" y="1322"/>
                      <a:pt x="576" y="1269"/>
                      <a:pt x="538" y="1232"/>
                    </a:cubicBezTo>
                    <a:cubicBezTo>
                      <a:pt x="150" y="854"/>
                      <a:pt x="150" y="854"/>
                      <a:pt x="150" y="854"/>
                    </a:cubicBezTo>
                    <a:cubicBezTo>
                      <a:pt x="137" y="841"/>
                      <a:pt x="140" y="827"/>
                      <a:pt x="142" y="821"/>
                    </a:cubicBezTo>
                    <a:cubicBezTo>
                      <a:pt x="144" y="815"/>
                      <a:pt x="150" y="801"/>
                      <a:pt x="168" y="799"/>
                    </a:cubicBezTo>
                    <a:cubicBezTo>
                      <a:pt x="704" y="721"/>
                      <a:pt x="704" y="721"/>
                      <a:pt x="704" y="721"/>
                    </a:cubicBezTo>
                    <a:cubicBezTo>
                      <a:pt x="757" y="713"/>
                      <a:pt x="802" y="680"/>
                      <a:pt x="826" y="633"/>
                    </a:cubicBezTo>
                    <a:cubicBezTo>
                      <a:pt x="1065" y="147"/>
                      <a:pt x="1065" y="147"/>
                      <a:pt x="1065" y="147"/>
                    </a:cubicBezTo>
                    <a:cubicBezTo>
                      <a:pt x="1073" y="131"/>
                      <a:pt x="1088" y="129"/>
                      <a:pt x="1094" y="129"/>
                    </a:cubicBezTo>
                    <a:cubicBezTo>
                      <a:pt x="1100" y="129"/>
                      <a:pt x="1115" y="131"/>
                      <a:pt x="1123" y="147"/>
                    </a:cubicBezTo>
                    <a:cubicBezTo>
                      <a:pt x="1123" y="147"/>
                      <a:pt x="1123" y="147"/>
                      <a:pt x="1123" y="147"/>
                    </a:cubicBezTo>
                    <a:cubicBezTo>
                      <a:pt x="1363" y="633"/>
                      <a:pt x="1363" y="633"/>
                      <a:pt x="1363" y="633"/>
                    </a:cubicBezTo>
                    <a:cubicBezTo>
                      <a:pt x="1386" y="680"/>
                      <a:pt x="1431" y="713"/>
                      <a:pt x="1484" y="721"/>
                    </a:cubicBezTo>
                    <a:cubicBezTo>
                      <a:pt x="2020" y="799"/>
                      <a:pt x="2020" y="799"/>
                      <a:pt x="2020" y="799"/>
                    </a:cubicBezTo>
                    <a:cubicBezTo>
                      <a:pt x="2038" y="801"/>
                      <a:pt x="2044" y="815"/>
                      <a:pt x="2046" y="821"/>
                    </a:cubicBezTo>
                    <a:cubicBezTo>
                      <a:pt x="2048" y="827"/>
                      <a:pt x="2051" y="841"/>
                      <a:pt x="2038" y="854"/>
                    </a:cubicBezTo>
                    <a:cubicBezTo>
                      <a:pt x="1650" y="1232"/>
                      <a:pt x="1650" y="1232"/>
                      <a:pt x="1650" y="1232"/>
                    </a:cubicBezTo>
                    <a:cubicBezTo>
                      <a:pt x="1612" y="1269"/>
                      <a:pt x="1595" y="1322"/>
                      <a:pt x="1604" y="137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FFFFFF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62" name="Freeform 24">
                <a:extLst>
                  <a:ext uri="{FF2B5EF4-FFF2-40B4-BE49-F238E27FC236}">
                    <a16:creationId xmlns:a16="http://schemas.microsoft.com/office/drawing/2014/main" id="{0704947B-43C8-9245-9965-4651299155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351539" y="-182563"/>
                <a:ext cx="406400" cy="439738"/>
              </a:xfrm>
              <a:custGeom>
                <a:avLst/>
                <a:gdLst>
                  <a:gd name="T0" fmla="*/ 179 w 215"/>
                  <a:gd name="T1" fmla="*/ 21 h 232"/>
                  <a:gd name="T2" fmla="*/ 89 w 215"/>
                  <a:gd name="T3" fmla="*/ 35 h 232"/>
                  <a:gd name="T4" fmla="*/ 21 w 215"/>
                  <a:gd name="T5" fmla="*/ 130 h 232"/>
                  <a:gd name="T6" fmla="*/ 35 w 215"/>
                  <a:gd name="T7" fmla="*/ 220 h 232"/>
                  <a:gd name="T8" fmla="*/ 73 w 215"/>
                  <a:gd name="T9" fmla="*/ 232 h 232"/>
                  <a:gd name="T10" fmla="*/ 125 w 215"/>
                  <a:gd name="T11" fmla="*/ 206 h 232"/>
                  <a:gd name="T12" fmla="*/ 194 w 215"/>
                  <a:gd name="T13" fmla="*/ 111 h 232"/>
                  <a:gd name="T14" fmla="*/ 179 w 215"/>
                  <a:gd name="T15" fmla="*/ 21 h 2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5" h="232">
                    <a:moveTo>
                      <a:pt x="179" y="21"/>
                    </a:moveTo>
                    <a:cubicBezTo>
                      <a:pt x="151" y="0"/>
                      <a:pt x="110" y="7"/>
                      <a:pt x="89" y="35"/>
                    </a:cubicBezTo>
                    <a:cubicBezTo>
                      <a:pt x="21" y="130"/>
                      <a:pt x="21" y="130"/>
                      <a:pt x="21" y="130"/>
                    </a:cubicBezTo>
                    <a:cubicBezTo>
                      <a:pt x="0" y="159"/>
                      <a:pt x="6" y="199"/>
                      <a:pt x="35" y="220"/>
                    </a:cubicBezTo>
                    <a:cubicBezTo>
                      <a:pt x="46" y="228"/>
                      <a:pt x="60" y="232"/>
                      <a:pt x="73" y="232"/>
                    </a:cubicBezTo>
                    <a:cubicBezTo>
                      <a:pt x="93" y="232"/>
                      <a:pt x="113" y="223"/>
                      <a:pt x="125" y="206"/>
                    </a:cubicBezTo>
                    <a:cubicBezTo>
                      <a:pt x="194" y="111"/>
                      <a:pt x="194" y="111"/>
                      <a:pt x="194" y="111"/>
                    </a:cubicBezTo>
                    <a:cubicBezTo>
                      <a:pt x="215" y="83"/>
                      <a:pt x="208" y="42"/>
                      <a:pt x="179" y="2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FFFFFF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63" name="Freeform 25">
                <a:extLst>
                  <a:ext uri="{FF2B5EF4-FFF2-40B4-BE49-F238E27FC236}">
                    <a16:creationId xmlns:a16="http://schemas.microsoft.com/office/drawing/2014/main" id="{F2738287-A7DA-9F31-803D-1E0C49BBFF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934402" y="-182563"/>
                <a:ext cx="407988" cy="439738"/>
              </a:xfrm>
              <a:custGeom>
                <a:avLst/>
                <a:gdLst>
                  <a:gd name="T0" fmla="*/ 194 w 215"/>
                  <a:gd name="T1" fmla="*/ 129 h 232"/>
                  <a:gd name="T2" fmla="*/ 126 w 215"/>
                  <a:gd name="T3" fmla="*/ 35 h 232"/>
                  <a:gd name="T4" fmla="*/ 35 w 215"/>
                  <a:gd name="T5" fmla="*/ 21 h 232"/>
                  <a:gd name="T6" fmla="*/ 21 w 215"/>
                  <a:gd name="T7" fmla="*/ 111 h 232"/>
                  <a:gd name="T8" fmla="*/ 90 w 215"/>
                  <a:gd name="T9" fmla="*/ 205 h 232"/>
                  <a:gd name="T10" fmla="*/ 142 w 215"/>
                  <a:gd name="T11" fmla="*/ 232 h 232"/>
                  <a:gd name="T12" fmla="*/ 180 w 215"/>
                  <a:gd name="T13" fmla="*/ 220 h 232"/>
                  <a:gd name="T14" fmla="*/ 194 w 215"/>
                  <a:gd name="T15" fmla="*/ 129 h 2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5" h="232">
                    <a:moveTo>
                      <a:pt x="194" y="129"/>
                    </a:moveTo>
                    <a:cubicBezTo>
                      <a:pt x="126" y="35"/>
                      <a:pt x="126" y="35"/>
                      <a:pt x="126" y="35"/>
                    </a:cubicBezTo>
                    <a:cubicBezTo>
                      <a:pt x="105" y="6"/>
                      <a:pt x="64" y="0"/>
                      <a:pt x="35" y="21"/>
                    </a:cubicBezTo>
                    <a:cubicBezTo>
                      <a:pt x="6" y="42"/>
                      <a:pt x="0" y="82"/>
                      <a:pt x="21" y="111"/>
                    </a:cubicBezTo>
                    <a:cubicBezTo>
                      <a:pt x="90" y="205"/>
                      <a:pt x="90" y="205"/>
                      <a:pt x="90" y="205"/>
                    </a:cubicBezTo>
                    <a:cubicBezTo>
                      <a:pt x="102" y="223"/>
                      <a:pt x="122" y="232"/>
                      <a:pt x="142" y="232"/>
                    </a:cubicBezTo>
                    <a:cubicBezTo>
                      <a:pt x="155" y="232"/>
                      <a:pt x="168" y="228"/>
                      <a:pt x="180" y="220"/>
                    </a:cubicBezTo>
                    <a:cubicBezTo>
                      <a:pt x="209" y="199"/>
                      <a:pt x="215" y="158"/>
                      <a:pt x="194" y="129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FFFFFF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64" name="Freeform 26">
                <a:extLst>
                  <a:ext uri="{FF2B5EF4-FFF2-40B4-BE49-F238E27FC236}">
                    <a16:creationId xmlns:a16="http://schemas.microsoft.com/office/drawing/2014/main" id="{8D342D65-A187-F7A6-1248-EA4BB4EF9F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4769427" y="2336800"/>
                <a:ext cx="484188" cy="328613"/>
              </a:xfrm>
              <a:custGeom>
                <a:avLst/>
                <a:gdLst>
                  <a:gd name="T0" fmla="*/ 245 w 256"/>
                  <a:gd name="T1" fmla="*/ 52 h 173"/>
                  <a:gd name="T2" fmla="*/ 164 w 256"/>
                  <a:gd name="T3" fmla="*/ 11 h 173"/>
                  <a:gd name="T4" fmla="*/ 53 w 256"/>
                  <a:gd name="T5" fmla="*/ 47 h 173"/>
                  <a:gd name="T6" fmla="*/ 11 w 256"/>
                  <a:gd name="T7" fmla="*/ 128 h 173"/>
                  <a:gd name="T8" fmla="*/ 73 w 256"/>
                  <a:gd name="T9" fmla="*/ 173 h 173"/>
                  <a:gd name="T10" fmla="*/ 93 w 256"/>
                  <a:gd name="T11" fmla="*/ 169 h 173"/>
                  <a:gd name="T12" fmla="*/ 203 w 256"/>
                  <a:gd name="T13" fmla="*/ 133 h 173"/>
                  <a:gd name="T14" fmla="*/ 245 w 256"/>
                  <a:gd name="T15" fmla="*/ 52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6" h="173">
                    <a:moveTo>
                      <a:pt x="245" y="52"/>
                    </a:moveTo>
                    <a:cubicBezTo>
                      <a:pt x="234" y="18"/>
                      <a:pt x="197" y="0"/>
                      <a:pt x="164" y="11"/>
                    </a:cubicBezTo>
                    <a:cubicBezTo>
                      <a:pt x="53" y="47"/>
                      <a:pt x="53" y="47"/>
                      <a:pt x="53" y="47"/>
                    </a:cubicBezTo>
                    <a:cubicBezTo>
                      <a:pt x="19" y="58"/>
                      <a:pt x="0" y="94"/>
                      <a:pt x="11" y="128"/>
                    </a:cubicBezTo>
                    <a:cubicBezTo>
                      <a:pt x="20" y="155"/>
                      <a:pt x="45" y="173"/>
                      <a:pt x="73" y="173"/>
                    </a:cubicBezTo>
                    <a:cubicBezTo>
                      <a:pt x="79" y="173"/>
                      <a:pt x="86" y="172"/>
                      <a:pt x="93" y="169"/>
                    </a:cubicBezTo>
                    <a:cubicBezTo>
                      <a:pt x="203" y="133"/>
                      <a:pt x="203" y="133"/>
                      <a:pt x="203" y="133"/>
                    </a:cubicBezTo>
                    <a:cubicBezTo>
                      <a:pt x="237" y="122"/>
                      <a:pt x="256" y="86"/>
                      <a:pt x="245" y="5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FFFFFF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65" name="Freeform 27">
                <a:extLst>
                  <a:ext uri="{FF2B5EF4-FFF2-40B4-BE49-F238E27FC236}">
                    <a16:creationId xmlns:a16="http://schemas.microsoft.com/office/drawing/2014/main" id="{E36D8C6F-C316-BA53-64F1-D138D656C4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562802" y="3795712"/>
                <a:ext cx="246063" cy="466725"/>
              </a:xfrm>
              <a:custGeom>
                <a:avLst/>
                <a:gdLst>
                  <a:gd name="T0" fmla="*/ 65 w 130"/>
                  <a:gd name="T1" fmla="*/ 0 h 246"/>
                  <a:gd name="T2" fmla="*/ 0 w 130"/>
                  <a:gd name="T3" fmla="*/ 65 h 246"/>
                  <a:gd name="T4" fmla="*/ 0 w 130"/>
                  <a:gd name="T5" fmla="*/ 181 h 246"/>
                  <a:gd name="T6" fmla="*/ 65 w 130"/>
                  <a:gd name="T7" fmla="*/ 246 h 246"/>
                  <a:gd name="T8" fmla="*/ 130 w 130"/>
                  <a:gd name="T9" fmla="*/ 181 h 246"/>
                  <a:gd name="T10" fmla="*/ 130 w 130"/>
                  <a:gd name="T11" fmla="*/ 65 h 246"/>
                  <a:gd name="T12" fmla="*/ 65 w 130"/>
                  <a:gd name="T13" fmla="*/ 0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0" h="246">
                    <a:moveTo>
                      <a:pt x="65" y="0"/>
                    </a:moveTo>
                    <a:cubicBezTo>
                      <a:pt x="29" y="0"/>
                      <a:pt x="0" y="29"/>
                      <a:pt x="0" y="65"/>
                    </a:cubicBezTo>
                    <a:cubicBezTo>
                      <a:pt x="0" y="181"/>
                      <a:pt x="0" y="181"/>
                      <a:pt x="0" y="181"/>
                    </a:cubicBezTo>
                    <a:cubicBezTo>
                      <a:pt x="0" y="217"/>
                      <a:pt x="29" y="246"/>
                      <a:pt x="65" y="246"/>
                    </a:cubicBezTo>
                    <a:cubicBezTo>
                      <a:pt x="101" y="246"/>
                      <a:pt x="130" y="217"/>
                      <a:pt x="130" y="181"/>
                    </a:cubicBezTo>
                    <a:cubicBezTo>
                      <a:pt x="130" y="65"/>
                      <a:pt x="130" y="65"/>
                      <a:pt x="130" y="65"/>
                    </a:cubicBezTo>
                    <a:cubicBezTo>
                      <a:pt x="130" y="29"/>
                      <a:pt x="101" y="0"/>
                      <a:pt x="65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FFFFFF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66" name="Freeform 28">
                <a:extLst>
                  <a:ext uri="{FF2B5EF4-FFF2-40B4-BE49-F238E27FC236}">
                    <a16:creationId xmlns:a16="http://schemas.microsoft.com/office/drawing/2014/main" id="{B9A73983-7A8E-6DFB-C6D2-A790F4122B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92714" y="2336800"/>
                <a:ext cx="484188" cy="328613"/>
              </a:xfrm>
              <a:custGeom>
                <a:avLst/>
                <a:gdLst>
                  <a:gd name="T0" fmla="*/ 203 w 256"/>
                  <a:gd name="T1" fmla="*/ 47 h 173"/>
                  <a:gd name="T2" fmla="*/ 92 w 256"/>
                  <a:gd name="T3" fmla="*/ 11 h 173"/>
                  <a:gd name="T4" fmla="*/ 11 w 256"/>
                  <a:gd name="T5" fmla="*/ 52 h 173"/>
                  <a:gd name="T6" fmla="*/ 53 w 256"/>
                  <a:gd name="T7" fmla="*/ 133 h 173"/>
                  <a:gd name="T8" fmla="*/ 163 w 256"/>
                  <a:gd name="T9" fmla="*/ 170 h 173"/>
                  <a:gd name="T10" fmla="*/ 183 w 256"/>
                  <a:gd name="T11" fmla="*/ 173 h 173"/>
                  <a:gd name="T12" fmla="*/ 245 w 256"/>
                  <a:gd name="T13" fmla="*/ 128 h 173"/>
                  <a:gd name="T14" fmla="*/ 203 w 256"/>
                  <a:gd name="T15" fmla="*/ 47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6" h="173">
                    <a:moveTo>
                      <a:pt x="203" y="47"/>
                    </a:moveTo>
                    <a:cubicBezTo>
                      <a:pt x="92" y="11"/>
                      <a:pt x="92" y="11"/>
                      <a:pt x="92" y="11"/>
                    </a:cubicBezTo>
                    <a:cubicBezTo>
                      <a:pt x="59" y="0"/>
                      <a:pt x="22" y="18"/>
                      <a:pt x="11" y="52"/>
                    </a:cubicBezTo>
                    <a:cubicBezTo>
                      <a:pt x="0" y="86"/>
                      <a:pt x="19" y="122"/>
                      <a:pt x="53" y="133"/>
                    </a:cubicBezTo>
                    <a:cubicBezTo>
                      <a:pt x="163" y="170"/>
                      <a:pt x="163" y="170"/>
                      <a:pt x="163" y="170"/>
                    </a:cubicBezTo>
                    <a:cubicBezTo>
                      <a:pt x="170" y="172"/>
                      <a:pt x="177" y="173"/>
                      <a:pt x="183" y="173"/>
                    </a:cubicBezTo>
                    <a:cubicBezTo>
                      <a:pt x="211" y="173"/>
                      <a:pt x="236" y="155"/>
                      <a:pt x="245" y="128"/>
                    </a:cubicBezTo>
                    <a:cubicBezTo>
                      <a:pt x="256" y="94"/>
                      <a:pt x="237" y="58"/>
                      <a:pt x="203" y="4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FFFFFF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</p:grpSp>
        <p:grpSp>
          <p:nvGrpSpPr>
            <p:cNvPr id="53" name="ZenIcon1">
              <a:extLst>
                <a:ext uri="{FF2B5EF4-FFF2-40B4-BE49-F238E27FC236}">
                  <a16:creationId xmlns:a16="http://schemas.microsoft.com/office/drawing/2014/main" id="{77892283-A248-F90F-21C6-CEF9086E9EF7}"/>
                </a:ext>
              </a:extLst>
            </p:cNvPr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>
            <a:xfrm>
              <a:off x="7679841" y="3038316"/>
              <a:ext cx="585837" cy="585837"/>
              <a:chOff x="5712408" y="975680"/>
              <a:chExt cx="671729" cy="639391"/>
            </a:xfrm>
          </p:grpSpPr>
          <p:sp>
            <p:nvSpPr>
              <p:cNvPr id="54" name="Freeform 26">
                <a:extLst>
                  <a:ext uri="{FF2B5EF4-FFF2-40B4-BE49-F238E27FC236}">
                    <a16:creationId xmlns:a16="http://schemas.microsoft.com/office/drawing/2014/main" id="{0B8179CC-FC77-C5C8-CBB1-AA0A22CC7AD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12408" y="975680"/>
                <a:ext cx="671729" cy="639391"/>
              </a:xfrm>
              <a:custGeom>
                <a:avLst/>
                <a:gdLst>
                  <a:gd name="T0" fmla="*/ 117 w 128"/>
                  <a:gd name="T1" fmla="*/ 0 h 122"/>
                  <a:gd name="T2" fmla="*/ 11 w 128"/>
                  <a:gd name="T3" fmla="*/ 0 h 122"/>
                  <a:gd name="T4" fmla="*/ 0 w 128"/>
                  <a:gd name="T5" fmla="*/ 11 h 122"/>
                  <a:gd name="T6" fmla="*/ 0 w 128"/>
                  <a:gd name="T7" fmla="*/ 93 h 122"/>
                  <a:gd name="T8" fmla="*/ 11 w 128"/>
                  <a:gd name="T9" fmla="*/ 104 h 122"/>
                  <a:gd name="T10" fmla="*/ 43 w 128"/>
                  <a:gd name="T11" fmla="*/ 104 h 122"/>
                  <a:gd name="T12" fmla="*/ 38 w 128"/>
                  <a:gd name="T13" fmla="*/ 110 h 122"/>
                  <a:gd name="T14" fmla="*/ 35 w 128"/>
                  <a:gd name="T15" fmla="*/ 113 h 122"/>
                  <a:gd name="T16" fmla="*/ 34 w 128"/>
                  <a:gd name="T17" fmla="*/ 118 h 122"/>
                  <a:gd name="T18" fmla="*/ 42 w 128"/>
                  <a:gd name="T19" fmla="*/ 122 h 122"/>
                  <a:gd name="T20" fmla="*/ 86 w 128"/>
                  <a:gd name="T21" fmla="*/ 122 h 122"/>
                  <a:gd name="T22" fmla="*/ 94 w 128"/>
                  <a:gd name="T23" fmla="*/ 118 h 122"/>
                  <a:gd name="T24" fmla="*/ 94 w 128"/>
                  <a:gd name="T25" fmla="*/ 113 h 122"/>
                  <a:gd name="T26" fmla="*/ 91 w 128"/>
                  <a:gd name="T27" fmla="*/ 110 h 122"/>
                  <a:gd name="T28" fmla="*/ 85 w 128"/>
                  <a:gd name="T29" fmla="*/ 104 h 122"/>
                  <a:gd name="T30" fmla="*/ 117 w 128"/>
                  <a:gd name="T31" fmla="*/ 104 h 122"/>
                  <a:gd name="T32" fmla="*/ 128 w 128"/>
                  <a:gd name="T33" fmla="*/ 93 h 122"/>
                  <a:gd name="T34" fmla="*/ 128 w 128"/>
                  <a:gd name="T35" fmla="*/ 11 h 122"/>
                  <a:gd name="T36" fmla="*/ 117 w 128"/>
                  <a:gd name="T37" fmla="*/ 0 h 122"/>
                  <a:gd name="T38" fmla="*/ 88 w 128"/>
                  <a:gd name="T39" fmla="*/ 113 h 122"/>
                  <a:gd name="T40" fmla="*/ 90 w 128"/>
                  <a:gd name="T41" fmla="*/ 116 h 122"/>
                  <a:gd name="T42" fmla="*/ 90 w 128"/>
                  <a:gd name="T43" fmla="*/ 116 h 122"/>
                  <a:gd name="T44" fmla="*/ 86 w 128"/>
                  <a:gd name="T45" fmla="*/ 118 h 122"/>
                  <a:gd name="T46" fmla="*/ 42 w 128"/>
                  <a:gd name="T47" fmla="*/ 118 h 122"/>
                  <a:gd name="T48" fmla="*/ 38 w 128"/>
                  <a:gd name="T49" fmla="*/ 116 h 122"/>
                  <a:gd name="T50" fmla="*/ 38 w 128"/>
                  <a:gd name="T51" fmla="*/ 116 h 122"/>
                  <a:gd name="T52" fmla="*/ 38 w 128"/>
                  <a:gd name="T53" fmla="*/ 116 h 122"/>
                  <a:gd name="T54" fmla="*/ 40 w 128"/>
                  <a:gd name="T55" fmla="*/ 113 h 122"/>
                  <a:gd name="T56" fmla="*/ 48 w 128"/>
                  <a:gd name="T57" fmla="*/ 104 h 122"/>
                  <a:gd name="T58" fmla="*/ 80 w 128"/>
                  <a:gd name="T59" fmla="*/ 104 h 122"/>
                  <a:gd name="T60" fmla="*/ 88 w 128"/>
                  <a:gd name="T61" fmla="*/ 113 h 122"/>
                  <a:gd name="T62" fmla="*/ 120 w 128"/>
                  <a:gd name="T63" fmla="*/ 93 h 122"/>
                  <a:gd name="T64" fmla="*/ 117 w 128"/>
                  <a:gd name="T65" fmla="*/ 96 h 122"/>
                  <a:gd name="T66" fmla="*/ 11 w 128"/>
                  <a:gd name="T67" fmla="*/ 96 h 122"/>
                  <a:gd name="T68" fmla="*/ 8 w 128"/>
                  <a:gd name="T69" fmla="*/ 93 h 122"/>
                  <a:gd name="T70" fmla="*/ 8 w 128"/>
                  <a:gd name="T71" fmla="*/ 11 h 122"/>
                  <a:gd name="T72" fmla="*/ 11 w 128"/>
                  <a:gd name="T73" fmla="*/ 8 h 122"/>
                  <a:gd name="T74" fmla="*/ 117 w 128"/>
                  <a:gd name="T75" fmla="*/ 8 h 122"/>
                  <a:gd name="T76" fmla="*/ 120 w 128"/>
                  <a:gd name="T77" fmla="*/ 11 h 122"/>
                  <a:gd name="T78" fmla="*/ 120 w 128"/>
                  <a:gd name="T79" fmla="*/ 93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28" h="122">
                    <a:moveTo>
                      <a:pt x="117" y="0"/>
                    </a:move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5"/>
                      <a:pt x="0" y="11"/>
                    </a:cubicBezTo>
                    <a:cubicBezTo>
                      <a:pt x="0" y="93"/>
                      <a:pt x="0" y="93"/>
                      <a:pt x="0" y="93"/>
                    </a:cubicBezTo>
                    <a:cubicBezTo>
                      <a:pt x="0" y="99"/>
                      <a:pt x="5" y="104"/>
                      <a:pt x="11" y="104"/>
                    </a:cubicBezTo>
                    <a:cubicBezTo>
                      <a:pt x="43" y="104"/>
                      <a:pt x="43" y="104"/>
                      <a:pt x="43" y="104"/>
                    </a:cubicBezTo>
                    <a:cubicBezTo>
                      <a:pt x="42" y="106"/>
                      <a:pt x="39" y="109"/>
                      <a:pt x="38" y="110"/>
                    </a:cubicBezTo>
                    <a:cubicBezTo>
                      <a:pt x="36" y="111"/>
                      <a:pt x="35" y="112"/>
                      <a:pt x="35" y="113"/>
                    </a:cubicBezTo>
                    <a:cubicBezTo>
                      <a:pt x="34" y="114"/>
                      <a:pt x="33" y="116"/>
                      <a:pt x="34" y="118"/>
                    </a:cubicBezTo>
                    <a:cubicBezTo>
                      <a:pt x="35" y="120"/>
                      <a:pt x="37" y="122"/>
                      <a:pt x="42" y="122"/>
                    </a:cubicBezTo>
                    <a:cubicBezTo>
                      <a:pt x="86" y="122"/>
                      <a:pt x="86" y="122"/>
                      <a:pt x="86" y="122"/>
                    </a:cubicBezTo>
                    <a:cubicBezTo>
                      <a:pt x="91" y="122"/>
                      <a:pt x="93" y="120"/>
                      <a:pt x="94" y="118"/>
                    </a:cubicBezTo>
                    <a:cubicBezTo>
                      <a:pt x="95" y="116"/>
                      <a:pt x="95" y="114"/>
                      <a:pt x="94" y="113"/>
                    </a:cubicBezTo>
                    <a:cubicBezTo>
                      <a:pt x="93" y="112"/>
                      <a:pt x="92" y="111"/>
                      <a:pt x="91" y="110"/>
                    </a:cubicBezTo>
                    <a:cubicBezTo>
                      <a:pt x="89" y="109"/>
                      <a:pt x="87" y="106"/>
                      <a:pt x="85" y="104"/>
                    </a:cubicBezTo>
                    <a:cubicBezTo>
                      <a:pt x="117" y="104"/>
                      <a:pt x="117" y="104"/>
                      <a:pt x="117" y="104"/>
                    </a:cubicBezTo>
                    <a:cubicBezTo>
                      <a:pt x="123" y="104"/>
                      <a:pt x="128" y="99"/>
                      <a:pt x="128" y="93"/>
                    </a:cubicBezTo>
                    <a:cubicBezTo>
                      <a:pt x="128" y="11"/>
                      <a:pt x="128" y="11"/>
                      <a:pt x="128" y="11"/>
                    </a:cubicBezTo>
                    <a:cubicBezTo>
                      <a:pt x="128" y="5"/>
                      <a:pt x="123" y="0"/>
                      <a:pt x="117" y="0"/>
                    </a:cubicBezTo>
                    <a:close/>
                    <a:moveTo>
                      <a:pt x="88" y="113"/>
                    </a:moveTo>
                    <a:cubicBezTo>
                      <a:pt x="89" y="114"/>
                      <a:pt x="90" y="115"/>
                      <a:pt x="90" y="116"/>
                    </a:cubicBezTo>
                    <a:cubicBezTo>
                      <a:pt x="90" y="116"/>
                      <a:pt x="91" y="116"/>
                      <a:pt x="90" y="116"/>
                    </a:cubicBezTo>
                    <a:cubicBezTo>
                      <a:pt x="90" y="117"/>
                      <a:pt x="88" y="118"/>
                      <a:pt x="86" y="118"/>
                    </a:cubicBezTo>
                    <a:cubicBezTo>
                      <a:pt x="42" y="118"/>
                      <a:pt x="42" y="118"/>
                      <a:pt x="42" y="118"/>
                    </a:cubicBezTo>
                    <a:cubicBezTo>
                      <a:pt x="40" y="118"/>
                      <a:pt x="38" y="117"/>
                      <a:pt x="38" y="116"/>
                    </a:cubicBezTo>
                    <a:cubicBezTo>
                      <a:pt x="38" y="116"/>
                      <a:pt x="38" y="116"/>
                      <a:pt x="38" y="116"/>
                    </a:cubicBezTo>
                    <a:cubicBezTo>
                      <a:pt x="38" y="116"/>
                      <a:pt x="38" y="116"/>
                      <a:pt x="38" y="116"/>
                    </a:cubicBezTo>
                    <a:cubicBezTo>
                      <a:pt x="38" y="115"/>
                      <a:pt x="39" y="114"/>
                      <a:pt x="40" y="113"/>
                    </a:cubicBezTo>
                    <a:cubicBezTo>
                      <a:pt x="44" y="109"/>
                      <a:pt x="47" y="106"/>
                      <a:pt x="48" y="104"/>
                    </a:cubicBezTo>
                    <a:cubicBezTo>
                      <a:pt x="80" y="104"/>
                      <a:pt x="80" y="104"/>
                      <a:pt x="80" y="104"/>
                    </a:cubicBezTo>
                    <a:cubicBezTo>
                      <a:pt x="82" y="106"/>
                      <a:pt x="84" y="109"/>
                      <a:pt x="88" y="113"/>
                    </a:cubicBezTo>
                    <a:close/>
                    <a:moveTo>
                      <a:pt x="120" y="93"/>
                    </a:moveTo>
                    <a:cubicBezTo>
                      <a:pt x="120" y="95"/>
                      <a:pt x="119" y="96"/>
                      <a:pt x="117" y="96"/>
                    </a:cubicBezTo>
                    <a:cubicBezTo>
                      <a:pt x="11" y="96"/>
                      <a:pt x="11" y="96"/>
                      <a:pt x="11" y="96"/>
                    </a:cubicBezTo>
                    <a:cubicBezTo>
                      <a:pt x="9" y="96"/>
                      <a:pt x="8" y="95"/>
                      <a:pt x="8" y="93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8" y="9"/>
                      <a:pt x="9" y="8"/>
                      <a:pt x="11" y="8"/>
                    </a:cubicBezTo>
                    <a:cubicBezTo>
                      <a:pt x="117" y="8"/>
                      <a:pt x="117" y="8"/>
                      <a:pt x="117" y="8"/>
                    </a:cubicBezTo>
                    <a:cubicBezTo>
                      <a:pt x="119" y="8"/>
                      <a:pt x="120" y="9"/>
                      <a:pt x="120" y="11"/>
                    </a:cubicBezTo>
                    <a:lnTo>
                      <a:pt x="120" y="93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6" name="Freeform 27">
                <a:extLst>
                  <a:ext uri="{FF2B5EF4-FFF2-40B4-BE49-F238E27FC236}">
                    <a16:creationId xmlns:a16="http://schemas.microsoft.com/office/drawing/2014/main" id="{C3F75767-FF6A-81E5-FEE0-AE75644BB8F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917" y="1058042"/>
                <a:ext cx="502713" cy="338119"/>
              </a:xfrm>
              <a:custGeom>
                <a:avLst/>
                <a:gdLst>
                  <a:gd name="T0" fmla="*/ 89 w 96"/>
                  <a:gd name="T1" fmla="*/ 0 h 64"/>
                  <a:gd name="T2" fmla="*/ 7 w 96"/>
                  <a:gd name="T3" fmla="*/ 0 h 64"/>
                  <a:gd name="T4" fmla="*/ 0 w 96"/>
                  <a:gd name="T5" fmla="*/ 7 h 64"/>
                  <a:gd name="T6" fmla="*/ 0 w 96"/>
                  <a:gd name="T7" fmla="*/ 57 h 64"/>
                  <a:gd name="T8" fmla="*/ 7 w 96"/>
                  <a:gd name="T9" fmla="*/ 64 h 64"/>
                  <a:gd name="T10" fmla="*/ 89 w 96"/>
                  <a:gd name="T11" fmla="*/ 64 h 64"/>
                  <a:gd name="T12" fmla="*/ 96 w 96"/>
                  <a:gd name="T13" fmla="*/ 57 h 64"/>
                  <a:gd name="T14" fmla="*/ 96 w 96"/>
                  <a:gd name="T15" fmla="*/ 7 h 64"/>
                  <a:gd name="T16" fmla="*/ 89 w 96"/>
                  <a:gd name="T17" fmla="*/ 0 h 64"/>
                  <a:gd name="T18" fmla="*/ 92 w 96"/>
                  <a:gd name="T19" fmla="*/ 57 h 64"/>
                  <a:gd name="T20" fmla="*/ 89 w 96"/>
                  <a:gd name="T21" fmla="*/ 60 h 64"/>
                  <a:gd name="T22" fmla="*/ 7 w 96"/>
                  <a:gd name="T23" fmla="*/ 60 h 64"/>
                  <a:gd name="T24" fmla="*/ 4 w 96"/>
                  <a:gd name="T25" fmla="*/ 57 h 64"/>
                  <a:gd name="T26" fmla="*/ 4 w 96"/>
                  <a:gd name="T27" fmla="*/ 7 h 64"/>
                  <a:gd name="T28" fmla="*/ 7 w 96"/>
                  <a:gd name="T29" fmla="*/ 4 h 64"/>
                  <a:gd name="T30" fmla="*/ 89 w 96"/>
                  <a:gd name="T31" fmla="*/ 4 h 64"/>
                  <a:gd name="T32" fmla="*/ 92 w 96"/>
                  <a:gd name="T33" fmla="*/ 7 h 64"/>
                  <a:gd name="T34" fmla="*/ 92 w 96"/>
                  <a:gd name="T35" fmla="*/ 57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6" h="64">
                    <a:moveTo>
                      <a:pt x="89" y="0"/>
                    </a:moveTo>
                    <a:cubicBezTo>
                      <a:pt x="7" y="0"/>
                      <a:pt x="7" y="0"/>
                      <a:pt x="7" y="0"/>
                    </a:cubicBezTo>
                    <a:cubicBezTo>
                      <a:pt x="3" y="0"/>
                      <a:pt x="0" y="3"/>
                      <a:pt x="0" y="7"/>
                    </a:cubicBezTo>
                    <a:cubicBezTo>
                      <a:pt x="0" y="57"/>
                      <a:pt x="0" y="57"/>
                      <a:pt x="0" y="57"/>
                    </a:cubicBezTo>
                    <a:cubicBezTo>
                      <a:pt x="0" y="61"/>
                      <a:pt x="3" y="64"/>
                      <a:pt x="7" y="64"/>
                    </a:cubicBezTo>
                    <a:cubicBezTo>
                      <a:pt x="89" y="64"/>
                      <a:pt x="89" y="64"/>
                      <a:pt x="89" y="64"/>
                    </a:cubicBezTo>
                    <a:cubicBezTo>
                      <a:pt x="93" y="64"/>
                      <a:pt x="96" y="61"/>
                      <a:pt x="96" y="57"/>
                    </a:cubicBezTo>
                    <a:cubicBezTo>
                      <a:pt x="96" y="7"/>
                      <a:pt x="96" y="7"/>
                      <a:pt x="96" y="7"/>
                    </a:cubicBezTo>
                    <a:cubicBezTo>
                      <a:pt x="96" y="3"/>
                      <a:pt x="93" y="0"/>
                      <a:pt x="89" y="0"/>
                    </a:cubicBezTo>
                    <a:close/>
                    <a:moveTo>
                      <a:pt x="92" y="57"/>
                    </a:moveTo>
                    <a:cubicBezTo>
                      <a:pt x="92" y="59"/>
                      <a:pt x="91" y="60"/>
                      <a:pt x="89" y="60"/>
                    </a:cubicBezTo>
                    <a:cubicBezTo>
                      <a:pt x="7" y="60"/>
                      <a:pt x="7" y="60"/>
                      <a:pt x="7" y="60"/>
                    </a:cubicBezTo>
                    <a:cubicBezTo>
                      <a:pt x="5" y="60"/>
                      <a:pt x="4" y="59"/>
                      <a:pt x="4" y="5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5"/>
                      <a:pt x="5" y="4"/>
                      <a:pt x="7" y="4"/>
                    </a:cubicBezTo>
                    <a:cubicBezTo>
                      <a:pt x="89" y="4"/>
                      <a:pt x="89" y="4"/>
                      <a:pt x="89" y="4"/>
                    </a:cubicBezTo>
                    <a:cubicBezTo>
                      <a:pt x="91" y="4"/>
                      <a:pt x="92" y="5"/>
                      <a:pt x="92" y="7"/>
                    </a:cubicBezTo>
                    <a:lnTo>
                      <a:pt x="92" y="5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7" name="Freeform 28">
                <a:extLst>
                  <a:ext uri="{FF2B5EF4-FFF2-40B4-BE49-F238E27FC236}">
                    <a16:creationId xmlns:a16="http://schemas.microsoft.com/office/drawing/2014/main" id="{587C4866-32BE-91D2-BB27-AADEBA88A3E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17937" y="1404831"/>
                <a:ext cx="62840" cy="65023"/>
              </a:xfrm>
              <a:custGeom>
                <a:avLst/>
                <a:gdLst>
                  <a:gd name="T0" fmla="*/ 6 w 12"/>
                  <a:gd name="T1" fmla="*/ 0 h 12"/>
                  <a:gd name="T2" fmla="*/ 0 w 12"/>
                  <a:gd name="T3" fmla="*/ 6 h 12"/>
                  <a:gd name="T4" fmla="*/ 6 w 12"/>
                  <a:gd name="T5" fmla="*/ 12 h 12"/>
                  <a:gd name="T6" fmla="*/ 12 w 12"/>
                  <a:gd name="T7" fmla="*/ 6 h 12"/>
                  <a:gd name="T8" fmla="*/ 6 w 12"/>
                  <a:gd name="T9" fmla="*/ 0 h 12"/>
                  <a:gd name="T10" fmla="*/ 6 w 12"/>
                  <a:gd name="T11" fmla="*/ 8 h 12"/>
                  <a:gd name="T12" fmla="*/ 4 w 12"/>
                  <a:gd name="T13" fmla="*/ 6 h 12"/>
                  <a:gd name="T14" fmla="*/ 6 w 12"/>
                  <a:gd name="T15" fmla="*/ 4 h 12"/>
                  <a:gd name="T16" fmla="*/ 8 w 12"/>
                  <a:gd name="T17" fmla="*/ 6 h 12"/>
                  <a:gd name="T18" fmla="*/ 6 w 12"/>
                  <a:gd name="T19" fmla="*/ 8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cubicBezTo>
                      <a:pt x="3" y="0"/>
                      <a:pt x="0" y="3"/>
                      <a:pt x="0" y="6"/>
                    </a:cubicBezTo>
                    <a:cubicBezTo>
                      <a:pt x="0" y="9"/>
                      <a:pt x="3" y="12"/>
                      <a:pt x="6" y="12"/>
                    </a:cubicBezTo>
                    <a:cubicBezTo>
                      <a:pt x="9" y="12"/>
                      <a:pt x="12" y="9"/>
                      <a:pt x="12" y="6"/>
                    </a:cubicBezTo>
                    <a:cubicBezTo>
                      <a:pt x="12" y="3"/>
                      <a:pt x="9" y="0"/>
                      <a:pt x="6" y="0"/>
                    </a:cubicBezTo>
                    <a:close/>
                    <a:moveTo>
                      <a:pt x="6" y="8"/>
                    </a:moveTo>
                    <a:cubicBezTo>
                      <a:pt x="5" y="8"/>
                      <a:pt x="4" y="7"/>
                      <a:pt x="4" y="6"/>
                    </a:cubicBezTo>
                    <a:cubicBezTo>
                      <a:pt x="4" y="5"/>
                      <a:pt x="5" y="4"/>
                      <a:pt x="6" y="4"/>
                    </a:cubicBezTo>
                    <a:cubicBezTo>
                      <a:pt x="7" y="4"/>
                      <a:pt x="8" y="5"/>
                      <a:pt x="8" y="6"/>
                    </a:cubicBezTo>
                    <a:cubicBezTo>
                      <a:pt x="8" y="7"/>
                      <a:pt x="7" y="8"/>
                      <a:pt x="6" y="8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8" name="Freeform 29">
                <a:extLst>
                  <a:ext uri="{FF2B5EF4-FFF2-40B4-BE49-F238E27FC236}">
                    <a16:creationId xmlns:a16="http://schemas.microsoft.com/office/drawing/2014/main" id="{A99C2A5E-5834-F908-B6AF-C7C97DA8F8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33429" y="1190255"/>
                <a:ext cx="84509" cy="88864"/>
              </a:xfrm>
              <a:custGeom>
                <a:avLst/>
                <a:gdLst>
                  <a:gd name="T0" fmla="*/ 0 w 39"/>
                  <a:gd name="T1" fmla="*/ 24 h 41"/>
                  <a:gd name="T2" fmla="*/ 39 w 39"/>
                  <a:gd name="T3" fmla="*/ 41 h 41"/>
                  <a:gd name="T4" fmla="*/ 39 w 39"/>
                  <a:gd name="T5" fmla="*/ 32 h 41"/>
                  <a:gd name="T6" fmla="*/ 12 w 39"/>
                  <a:gd name="T7" fmla="*/ 19 h 41"/>
                  <a:gd name="T8" fmla="*/ 39 w 39"/>
                  <a:gd name="T9" fmla="*/ 10 h 41"/>
                  <a:gd name="T10" fmla="*/ 39 w 39"/>
                  <a:gd name="T11" fmla="*/ 0 h 41"/>
                  <a:gd name="T12" fmla="*/ 0 w 39"/>
                  <a:gd name="T13" fmla="*/ 17 h 41"/>
                  <a:gd name="T14" fmla="*/ 0 w 39"/>
                  <a:gd name="T15" fmla="*/ 24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9" h="41">
                    <a:moveTo>
                      <a:pt x="0" y="24"/>
                    </a:moveTo>
                    <a:lnTo>
                      <a:pt x="39" y="41"/>
                    </a:lnTo>
                    <a:lnTo>
                      <a:pt x="39" y="32"/>
                    </a:lnTo>
                    <a:lnTo>
                      <a:pt x="12" y="19"/>
                    </a:lnTo>
                    <a:lnTo>
                      <a:pt x="39" y="10"/>
                    </a:lnTo>
                    <a:lnTo>
                      <a:pt x="39" y="0"/>
                    </a:lnTo>
                    <a:lnTo>
                      <a:pt x="0" y="17"/>
                    </a:lnTo>
                    <a:lnTo>
                      <a:pt x="0" y="24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9" name="Freeform 30">
                <a:extLst>
                  <a:ext uri="{FF2B5EF4-FFF2-40B4-BE49-F238E27FC236}">
                    <a16:creationId xmlns:a16="http://schemas.microsoft.com/office/drawing/2014/main" id="{DC2C999E-D66F-9B90-04B8-EFDB3D275E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26605" y="1175084"/>
                <a:ext cx="43337" cy="119208"/>
              </a:xfrm>
              <a:custGeom>
                <a:avLst/>
                <a:gdLst>
                  <a:gd name="T0" fmla="*/ 7 w 8"/>
                  <a:gd name="T1" fmla="*/ 0 h 23"/>
                  <a:gd name="T2" fmla="*/ 5 w 8"/>
                  <a:gd name="T3" fmla="*/ 0 h 23"/>
                  <a:gd name="T4" fmla="*/ 5 w 8"/>
                  <a:gd name="T5" fmla="*/ 2 h 23"/>
                  <a:gd name="T6" fmla="*/ 0 w 8"/>
                  <a:gd name="T7" fmla="*/ 20 h 23"/>
                  <a:gd name="T8" fmla="*/ 0 w 8"/>
                  <a:gd name="T9" fmla="*/ 22 h 23"/>
                  <a:gd name="T10" fmla="*/ 2 w 8"/>
                  <a:gd name="T11" fmla="*/ 23 h 23"/>
                  <a:gd name="T12" fmla="*/ 3 w 8"/>
                  <a:gd name="T13" fmla="*/ 23 h 23"/>
                  <a:gd name="T14" fmla="*/ 3 w 8"/>
                  <a:gd name="T15" fmla="*/ 22 h 23"/>
                  <a:gd name="T16" fmla="*/ 4 w 8"/>
                  <a:gd name="T17" fmla="*/ 21 h 23"/>
                  <a:gd name="T18" fmla="*/ 8 w 8"/>
                  <a:gd name="T19" fmla="*/ 3 h 23"/>
                  <a:gd name="T20" fmla="*/ 8 w 8"/>
                  <a:gd name="T21" fmla="*/ 1 h 23"/>
                  <a:gd name="T22" fmla="*/ 8 w 8"/>
                  <a:gd name="T23" fmla="*/ 0 h 23"/>
                  <a:gd name="T24" fmla="*/ 7 w 8"/>
                  <a:gd name="T25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" h="23">
                    <a:moveTo>
                      <a:pt x="7" y="0"/>
                    </a:moveTo>
                    <a:cubicBezTo>
                      <a:pt x="6" y="0"/>
                      <a:pt x="6" y="0"/>
                      <a:pt x="5" y="0"/>
                    </a:cubicBezTo>
                    <a:cubicBezTo>
                      <a:pt x="5" y="0"/>
                      <a:pt x="5" y="1"/>
                      <a:pt x="5" y="2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1"/>
                      <a:pt x="0" y="22"/>
                      <a:pt x="0" y="22"/>
                    </a:cubicBezTo>
                    <a:cubicBezTo>
                      <a:pt x="0" y="23"/>
                      <a:pt x="1" y="23"/>
                      <a:pt x="2" y="23"/>
                    </a:cubicBezTo>
                    <a:cubicBezTo>
                      <a:pt x="2" y="23"/>
                      <a:pt x="2" y="23"/>
                      <a:pt x="3" y="23"/>
                    </a:cubicBezTo>
                    <a:cubicBezTo>
                      <a:pt x="3" y="23"/>
                      <a:pt x="3" y="22"/>
                      <a:pt x="3" y="22"/>
                    </a:cubicBezTo>
                    <a:cubicBezTo>
                      <a:pt x="3" y="22"/>
                      <a:pt x="3" y="21"/>
                      <a:pt x="4" y="21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2"/>
                      <a:pt x="8" y="1"/>
                      <a:pt x="8" y="1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0"/>
                      <a:pt x="7" y="0"/>
                      <a:pt x="7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Freeform 31">
                <a:extLst>
                  <a:ext uri="{FF2B5EF4-FFF2-40B4-BE49-F238E27FC236}">
                    <a16:creationId xmlns:a16="http://schemas.microsoft.com/office/drawing/2014/main" id="{7CC10918-ABB9-49CF-79FA-549219F19F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80776" y="1190255"/>
                <a:ext cx="82341" cy="88864"/>
              </a:xfrm>
              <a:custGeom>
                <a:avLst/>
                <a:gdLst>
                  <a:gd name="T0" fmla="*/ 0 w 38"/>
                  <a:gd name="T1" fmla="*/ 10 h 41"/>
                  <a:gd name="T2" fmla="*/ 26 w 38"/>
                  <a:gd name="T3" fmla="*/ 19 h 41"/>
                  <a:gd name="T4" fmla="*/ 0 w 38"/>
                  <a:gd name="T5" fmla="*/ 32 h 41"/>
                  <a:gd name="T6" fmla="*/ 0 w 38"/>
                  <a:gd name="T7" fmla="*/ 41 h 41"/>
                  <a:gd name="T8" fmla="*/ 38 w 38"/>
                  <a:gd name="T9" fmla="*/ 24 h 41"/>
                  <a:gd name="T10" fmla="*/ 38 w 38"/>
                  <a:gd name="T11" fmla="*/ 17 h 41"/>
                  <a:gd name="T12" fmla="*/ 0 w 38"/>
                  <a:gd name="T13" fmla="*/ 0 h 41"/>
                  <a:gd name="T14" fmla="*/ 0 w 38"/>
                  <a:gd name="T15" fmla="*/ 1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8" h="41">
                    <a:moveTo>
                      <a:pt x="0" y="10"/>
                    </a:moveTo>
                    <a:lnTo>
                      <a:pt x="26" y="19"/>
                    </a:lnTo>
                    <a:lnTo>
                      <a:pt x="0" y="32"/>
                    </a:lnTo>
                    <a:lnTo>
                      <a:pt x="0" y="41"/>
                    </a:lnTo>
                    <a:lnTo>
                      <a:pt x="38" y="24"/>
                    </a:lnTo>
                    <a:lnTo>
                      <a:pt x="38" y="17"/>
                    </a:lnTo>
                    <a:lnTo>
                      <a:pt x="0" y="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00" dirty="0">
                  <a:solidFill>
                    <a:schemeClr val="bg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31415549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156E3D6-17B6-3D7C-3848-DD04605AAD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271AB277-B9E6-E87A-B4B9-46ADBD8F07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25" imgH="426" progId="TCLayout.ActiveDocument.1">
                  <p:embed/>
                </p:oleObj>
              </mc:Choice>
              <mc:Fallback>
                <p:oleObj name="think-cell Slide" r:id="rId9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71AB277-B9E6-E87A-B4B9-46ADBD8F07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C71D9F6-C7B7-8C83-0369-8A87642A33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rocess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9FC80D7F-14C9-A272-6E76-A61AB3DC6A51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87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5" name="Arc 4">
            <a:extLst>
              <a:ext uri="{FF2B5EF4-FFF2-40B4-BE49-F238E27FC236}">
                <a16:creationId xmlns:a16="http://schemas.microsoft.com/office/drawing/2014/main" id="{232096F9-4BFE-2D11-E99A-366186065B09}"/>
              </a:ext>
            </a:extLst>
          </p:cNvPr>
          <p:cNvSpPr/>
          <p:nvPr/>
        </p:nvSpPr>
        <p:spPr>
          <a:xfrm rot="5400000">
            <a:off x="803969" y="2529501"/>
            <a:ext cx="1752602" cy="1752603"/>
          </a:xfrm>
          <a:prstGeom prst="arc">
            <a:avLst>
              <a:gd name="adj1" fmla="val 16200000"/>
              <a:gd name="adj2" fmla="val 5278363"/>
            </a:avLst>
          </a:prstGeom>
          <a:ln w="25400">
            <a:solidFill>
              <a:schemeClr val="accent1"/>
            </a:solidFill>
            <a:prstDash val="sysDot"/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16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E0891C70-A70B-7202-E123-778E9A1B4511}"/>
              </a:ext>
            </a:extLst>
          </p:cNvPr>
          <p:cNvSpPr/>
          <p:nvPr/>
        </p:nvSpPr>
        <p:spPr>
          <a:xfrm>
            <a:off x="1098997" y="2824529"/>
            <a:ext cx="1162546" cy="1162546"/>
          </a:xfrm>
          <a:prstGeom prst="ellipse">
            <a:avLst/>
          </a:prstGeom>
          <a:solidFill>
            <a:schemeClr val="accent1">
              <a:alpha val="6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60" dirty="0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D72E5253-C41B-5A9B-7100-77A8DB30B228}"/>
              </a:ext>
            </a:extLst>
          </p:cNvPr>
          <p:cNvSpPr/>
          <p:nvPr/>
        </p:nvSpPr>
        <p:spPr>
          <a:xfrm>
            <a:off x="1273638" y="2999171"/>
            <a:ext cx="813264" cy="813263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60" dirty="0"/>
          </a:p>
        </p:txBody>
      </p:sp>
      <p:sp>
        <p:nvSpPr>
          <p:cNvPr id="8" name="Arc 7">
            <a:extLst>
              <a:ext uri="{FF2B5EF4-FFF2-40B4-BE49-F238E27FC236}">
                <a16:creationId xmlns:a16="http://schemas.microsoft.com/office/drawing/2014/main" id="{933A5F75-9AD5-D3A7-AB2E-922B34236979}"/>
              </a:ext>
            </a:extLst>
          </p:cNvPr>
          <p:cNvSpPr/>
          <p:nvPr/>
        </p:nvSpPr>
        <p:spPr>
          <a:xfrm rot="16200000" flipV="1">
            <a:off x="2556570" y="2529501"/>
            <a:ext cx="1752602" cy="1752603"/>
          </a:xfrm>
          <a:prstGeom prst="arc">
            <a:avLst>
              <a:gd name="adj1" fmla="val 16200000"/>
              <a:gd name="adj2" fmla="val 5278363"/>
            </a:avLst>
          </a:prstGeom>
          <a:ln w="25400">
            <a:solidFill>
              <a:schemeClr val="accent2"/>
            </a:solidFill>
            <a:prstDash val="sysDot"/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160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843CD633-D09D-7813-9E03-5BF0DC6BFD36}"/>
              </a:ext>
            </a:extLst>
          </p:cNvPr>
          <p:cNvSpPr/>
          <p:nvPr/>
        </p:nvSpPr>
        <p:spPr>
          <a:xfrm>
            <a:off x="2851598" y="2824529"/>
            <a:ext cx="1162546" cy="1162546"/>
          </a:xfrm>
          <a:prstGeom prst="ellipse">
            <a:avLst/>
          </a:prstGeom>
          <a:solidFill>
            <a:schemeClr val="accent2">
              <a:alpha val="6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6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E5B272DD-4943-A743-8101-A0C2959C5708}"/>
              </a:ext>
            </a:extLst>
          </p:cNvPr>
          <p:cNvSpPr>
            <a:spLocks noChangeAspect="1"/>
          </p:cNvSpPr>
          <p:nvPr/>
        </p:nvSpPr>
        <p:spPr>
          <a:xfrm>
            <a:off x="3026239" y="2999171"/>
            <a:ext cx="813264" cy="81326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60"/>
          </a:p>
        </p:txBody>
      </p:sp>
      <p:sp>
        <p:nvSpPr>
          <p:cNvPr id="11" name="Arc 10">
            <a:extLst>
              <a:ext uri="{FF2B5EF4-FFF2-40B4-BE49-F238E27FC236}">
                <a16:creationId xmlns:a16="http://schemas.microsoft.com/office/drawing/2014/main" id="{222D7870-A58B-1141-2479-E59E57F4488B}"/>
              </a:ext>
            </a:extLst>
          </p:cNvPr>
          <p:cNvSpPr/>
          <p:nvPr/>
        </p:nvSpPr>
        <p:spPr>
          <a:xfrm rot="5400000">
            <a:off x="4309169" y="2529501"/>
            <a:ext cx="1752602" cy="1752603"/>
          </a:xfrm>
          <a:prstGeom prst="arc">
            <a:avLst>
              <a:gd name="adj1" fmla="val 16200000"/>
              <a:gd name="adj2" fmla="val 5278363"/>
            </a:avLst>
          </a:prstGeom>
          <a:ln w="25400">
            <a:solidFill>
              <a:schemeClr val="accent3"/>
            </a:solidFill>
            <a:prstDash val="sysDot"/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160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D1F08156-6C79-BBA1-7CF2-2B5EDE867B50}"/>
              </a:ext>
            </a:extLst>
          </p:cNvPr>
          <p:cNvSpPr>
            <a:spLocks noChangeAspect="1"/>
          </p:cNvSpPr>
          <p:nvPr/>
        </p:nvSpPr>
        <p:spPr>
          <a:xfrm>
            <a:off x="4604197" y="2824529"/>
            <a:ext cx="1162546" cy="1162546"/>
          </a:xfrm>
          <a:prstGeom prst="ellipse">
            <a:avLst/>
          </a:prstGeom>
          <a:solidFill>
            <a:schemeClr val="accent3">
              <a:alpha val="6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60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0760D396-1833-8907-61DB-8202B842AC23}"/>
              </a:ext>
            </a:extLst>
          </p:cNvPr>
          <p:cNvSpPr>
            <a:spLocks noChangeAspect="1"/>
          </p:cNvSpPr>
          <p:nvPr/>
        </p:nvSpPr>
        <p:spPr>
          <a:xfrm>
            <a:off x="4778838" y="2999171"/>
            <a:ext cx="813264" cy="813263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60"/>
          </a:p>
        </p:txBody>
      </p:sp>
      <p:sp>
        <p:nvSpPr>
          <p:cNvPr id="14" name="Arc 13">
            <a:extLst>
              <a:ext uri="{FF2B5EF4-FFF2-40B4-BE49-F238E27FC236}">
                <a16:creationId xmlns:a16="http://schemas.microsoft.com/office/drawing/2014/main" id="{33116614-80BB-4D2C-2C94-36E5F5F991B2}"/>
              </a:ext>
            </a:extLst>
          </p:cNvPr>
          <p:cNvSpPr/>
          <p:nvPr/>
        </p:nvSpPr>
        <p:spPr>
          <a:xfrm rot="16200000" flipV="1">
            <a:off x="6061768" y="2529501"/>
            <a:ext cx="1752602" cy="1752603"/>
          </a:xfrm>
          <a:prstGeom prst="arc">
            <a:avLst>
              <a:gd name="adj1" fmla="val 16200000"/>
              <a:gd name="adj2" fmla="val 5278363"/>
            </a:avLst>
          </a:prstGeom>
          <a:ln w="25400">
            <a:solidFill>
              <a:schemeClr val="accent4"/>
            </a:solidFill>
            <a:prstDash val="sysDot"/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160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72EF5250-3E82-86C5-4AB8-76F84337D3CF}"/>
              </a:ext>
            </a:extLst>
          </p:cNvPr>
          <p:cNvSpPr/>
          <p:nvPr/>
        </p:nvSpPr>
        <p:spPr>
          <a:xfrm>
            <a:off x="6356797" y="2824529"/>
            <a:ext cx="1162546" cy="1162546"/>
          </a:xfrm>
          <a:prstGeom prst="ellipse">
            <a:avLst/>
          </a:prstGeom>
          <a:solidFill>
            <a:schemeClr val="accent4">
              <a:alpha val="6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60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37C3B57C-708F-5EC4-C13E-E0AC8A9E7609}"/>
              </a:ext>
            </a:extLst>
          </p:cNvPr>
          <p:cNvSpPr>
            <a:spLocks noChangeAspect="1"/>
          </p:cNvSpPr>
          <p:nvPr/>
        </p:nvSpPr>
        <p:spPr>
          <a:xfrm>
            <a:off x="6531438" y="2999171"/>
            <a:ext cx="813264" cy="813263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60"/>
          </a:p>
        </p:txBody>
      </p:sp>
      <p:sp>
        <p:nvSpPr>
          <p:cNvPr id="17" name="Arc 16">
            <a:extLst>
              <a:ext uri="{FF2B5EF4-FFF2-40B4-BE49-F238E27FC236}">
                <a16:creationId xmlns:a16="http://schemas.microsoft.com/office/drawing/2014/main" id="{BCE1037A-7753-C525-1BB0-F2448415E6F3}"/>
              </a:ext>
            </a:extLst>
          </p:cNvPr>
          <p:cNvSpPr/>
          <p:nvPr/>
        </p:nvSpPr>
        <p:spPr>
          <a:xfrm rot="5400000">
            <a:off x="7814367" y="2529501"/>
            <a:ext cx="1752602" cy="1752603"/>
          </a:xfrm>
          <a:prstGeom prst="arc">
            <a:avLst>
              <a:gd name="adj1" fmla="val 16200000"/>
              <a:gd name="adj2" fmla="val 5278363"/>
            </a:avLst>
          </a:prstGeom>
          <a:ln w="25400">
            <a:solidFill>
              <a:schemeClr val="accent5"/>
            </a:solidFill>
            <a:prstDash val="sysDot"/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160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01F45CC4-D5E7-21E9-FD86-73120E3EF92A}"/>
              </a:ext>
            </a:extLst>
          </p:cNvPr>
          <p:cNvSpPr/>
          <p:nvPr/>
        </p:nvSpPr>
        <p:spPr>
          <a:xfrm>
            <a:off x="8109396" y="2824529"/>
            <a:ext cx="1162546" cy="1162546"/>
          </a:xfrm>
          <a:prstGeom prst="ellipse">
            <a:avLst/>
          </a:prstGeom>
          <a:solidFill>
            <a:schemeClr val="accent5">
              <a:alpha val="6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60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EBFD6089-9EBE-A6C5-2720-8DF5E7571339}"/>
              </a:ext>
            </a:extLst>
          </p:cNvPr>
          <p:cNvSpPr>
            <a:spLocks noChangeAspect="1"/>
          </p:cNvSpPr>
          <p:nvPr/>
        </p:nvSpPr>
        <p:spPr>
          <a:xfrm>
            <a:off x="8284037" y="2999171"/>
            <a:ext cx="813264" cy="813263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60"/>
          </a:p>
        </p:txBody>
      </p:sp>
      <p:sp>
        <p:nvSpPr>
          <p:cNvPr id="20" name="Arc 19">
            <a:extLst>
              <a:ext uri="{FF2B5EF4-FFF2-40B4-BE49-F238E27FC236}">
                <a16:creationId xmlns:a16="http://schemas.microsoft.com/office/drawing/2014/main" id="{EAB7015B-6D6B-7A31-2B28-888C80C8912C}"/>
              </a:ext>
            </a:extLst>
          </p:cNvPr>
          <p:cNvSpPr/>
          <p:nvPr/>
        </p:nvSpPr>
        <p:spPr>
          <a:xfrm rot="16200000" flipV="1">
            <a:off x="9566968" y="2529501"/>
            <a:ext cx="1752602" cy="1752603"/>
          </a:xfrm>
          <a:prstGeom prst="arc">
            <a:avLst>
              <a:gd name="adj1" fmla="val 16200000"/>
              <a:gd name="adj2" fmla="val 5278363"/>
            </a:avLst>
          </a:prstGeom>
          <a:ln w="25400">
            <a:solidFill>
              <a:schemeClr val="accent6"/>
            </a:solidFill>
            <a:prstDash val="sysDot"/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160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4D76BDE0-301B-F696-073D-44C2905A621D}"/>
              </a:ext>
            </a:extLst>
          </p:cNvPr>
          <p:cNvSpPr/>
          <p:nvPr/>
        </p:nvSpPr>
        <p:spPr>
          <a:xfrm>
            <a:off x="9861996" y="2824529"/>
            <a:ext cx="1162546" cy="1162546"/>
          </a:xfrm>
          <a:prstGeom prst="ellipse">
            <a:avLst/>
          </a:prstGeom>
          <a:solidFill>
            <a:schemeClr val="accent6">
              <a:alpha val="6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60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E2F2C12F-9D9C-BC7F-461E-B90A504DC8AC}"/>
              </a:ext>
            </a:extLst>
          </p:cNvPr>
          <p:cNvSpPr>
            <a:spLocks noChangeAspect="1"/>
          </p:cNvSpPr>
          <p:nvPr/>
        </p:nvSpPr>
        <p:spPr>
          <a:xfrm>
            <a:off x="10036637" y="2999171"/>
            <a:ext cx="813264" cy="813263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6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62F58BD-095C-40D8-B340-182213A7B985}"/>
              </a:ext>
            </a:extLst>
          </p:cNvPr>
          <p:cNvSpPr txBox="1"/>
          <p:nvPr/>
        </p:nvSpPr>
        <p:spPr>
          <a:xfrm>
            <a:off x="5824251" y="1410474"/>
            <a:ext cx="2189010" cy="901062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1600" b="1" dirty="0">
                <a:solidFill>
                  <a:schemeClr val="accent4"/>
                </a:solidFill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0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02849EC-2B4C-0242-55A6-5885CCB5A7F1}"/>
              </a:ext>
            </a:extLst>
          </p:cNvPr>
          <p:cNvSpPr txBox="1"/>
          <p:nvPr/>
        </p:nvSpPr>
        <p:spPr>
          <a:xfrm>
            <a:off x="4143182" y="4498823"/>
            <a:ext cx="2113314" cy="901062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1600" b="1" dirty="0">
                <a:solidFill>
                  <a:schemeClr val="accent3"/>
                </a:solidFill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0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25AB545-B747-6BCC-A84E-A112C766CAE9}"/>
              </a:ext>
            </a:extLst>
          </p:cNvPr>
          <p:cNvSpPr txBox="1"/>
          <p:nvPr/>
        </p:nvSpPr>
        <p:spPr>
          <a:xfrm>
            <a:off x="2470996" y="1410475"/>
            <a:ext cx="2001118" cy="901062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1600" b="1" dirty="0">
                <a:solidFill>
                  <a:schemeClr val="accent2"/>
                </a:solidFill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ADD1C93-9C12-7F39-8458-0F58A0160FC4}"/>
              </a:ext>
            </a:extLst>
          </p:cNvPr>
          <p:cNvSpPr txBox="1"/>
          <p:nvPr/>
        </p:nvSpPr>
        <p:spPr>
          <a:xfrm>
            <a:off x="657334" y="4498823"/>
            <a:ext cx="2001118" cy="901062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1600" b="1" dirty="0">
                <a:solidFill>
                  <a:schemeClr val="accent1"/>
                </a:solidFill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54BF920-C833-F82F-82D6-A9B6168F026D}"/>
              </a:ext>
            </a:extLst>
          </p:cNvPr>
          <p:cNvSpPr txBox="1"/>
          <p:nvPr/>
        </p:nvSpPr>
        <p:spPr>
          <a:xfrm>
            <a:off x="7644471" y="4498823"/>
            <a:ext cx="2144036" cy="901062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1600" b="1" dirty="0">
                <a:solidFill>
                  <a:schemeClr val="accent5"/>
                </a:solidFill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591209F-70AB-39C3-E95B-0564779FA91C}"/>
              </a:ext>
            </a:extLst>
          </p:cNvPr>
          <p:cNvSpPr txBox="1"/>
          <p:nvPr/>
        </p:nvSpPr>
        <p:spPr>
          <a:xfrm>
            <a:off x="9345656" y="1410473"/>
            <a:ext cx="2189010" cy="901062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1600" b="1" dirty="0">
                <a:solidFill>
                  <a:schemeClr val="accent6"/>
                </a:solidFill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00" dirty="0">
                <a:solidFill>
                  <a:schemeClr val="bg1">
                    <a:lumMod val="50000"/>
                  </a:schemeClr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grpSp>
        <p:nvGrpSpPr>
          <p:cNvPr id="29" name="ZenIcon1">
            <a:extLst>
              <a:ext uri="{FF2B5EF4-FFF2-40B4-BE49-F238E27FC236}">
                <a16:creationId xmlns:a16="http://schemas.microsoft.com/office/drawing/2014/main" id="{5F4A621F-C74E-31C7-7D1A-D75D4D2133F1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10279499" y="3242032"/>
            <a:ext cx="327540" cy="327540"/>
            <a:chOff x="5712408" y="975680"/>
            <a:chExt cx="671729" cy="639391"/>
          </a:xfrm>
          <a:solidFill>
            <a:schemeClr val="bg1"/>
          </a:solidFill>
        </p:grpSpPr>
        <p:sp>
          <p:nvSpPr>
            <p:cNvPr id="47" name="Freeform 26">
              <a:extLst>
                <a:ext uri="{FF2B5EF4-FFF2-40B4-BE49-F238E27FC236}">
                  <a16:creationId xmlns:a16="http://schemas.microsoft.com/office/drawing/2014/main" id="{A05FB98D-D318-F8D4-90D3-15676FC3DA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12408" y="975680"/>
              <a:ext cx="671729" cy="639391"/>
            </a:xfrm>
            <a:custGeom>
              <a:avLst/>
              <a:gdLst>
                <a:gd name="T0" fmla="*/ 117 w 128"/>
                <a:gd name="T1" fmla="*/ 0 h 122"/>
                <a:gd name="T2" fmla="*/ 11 w 128"/>
                <a:gd name="T3" fmla="*/ 0 h 122"/>
                <a:gd name="T4" fmla="*/ 0 w 128"/>
                <a:gd name="T5" fmla="*/ 11 h 122"/>
                <a:gd name="T6" fmla="*/ 0 w 128"/>
                <a:gd name="T7" fmla="*/ 93 h 122"/>
                <a:gd name="T8" fmla="*/ 11 w 128"/>
                <a:gd name="T9" fmla="*/ 104 h 122"/>
                <a:gd name="T10" fmla="*/ 43 w 128"/>
                <a:gd name="T11" fmla="*/ 104 h 122"/>
                <a:gd name="T12" fmla="*/ 38 w 128"/>
                <a:gd name="T13" fmla="*/ 110 h 122"/>
                <a:gd name="T14" fmla="*/ 35 w 128"/>
                <a:gd name="T15" fmla="*/ 113 h 122"/>
                <a:gd name="T16" fmla="*/ 34 w 128"/>
                <a:gd name="T17" fmla="*/ 118 h 122"/>
                <a:gd name="T18" fmla="*/ 42 w 128"/>
                <a:gd name="T19" fmla="*/ 122 h 122"/>
                <a:gd name="T20" fmla="*/ 86 w 128"/>
                <a:gd name="T21" fmla="*/ 122 h 122"/>
                <a:gd name="T22" fmla="*/ 94 w 128"/>
                <a:gd name="T23" fmla="*/ 118 h 122"/>
                <a:gd name="T24" fmla="*/ 94 w 128"/>
                <a:gd name="T25" fmla="*/ 113 h 122"/>
                <a:gd name="T26" fmla="*/ 91 w 128"/>
                <a:gd name="T27" fmla="*/ 110 h 122"/>
                <a:gd name="T28" fmla="*/ 85 w 128"/>
                <a:gd name="T29" fmla="*/ 104 h 122"/>
                <a:gd name="T30" fmla="*/ 117 w 128"/>
                <a:gd name="T31" fmla="*/ 104 h 122"/>
                <a:gd name="T32" fmla="*/ 128 w 128"/>
                <a:gd name="T33" fmla="*/ 93 h 122"/>
                <a:gd name="T34" fmla="*/ 128 w 128"/>
                <a:gd name="T35" fmla="*/ 11 h 122"/>
                <a:gd name="T36" fmla="*/ 117 w 128"/>
                <a:gd name="T37" fmla="*/ 0 h 122"/>
                <a:gd name="T38" fmla="*/ 88 w 128"/>
                <a:gd name="T39" fmla="*/ 113 h 122"/>
                <a:gd name="T40" fmla="*/ 90 w 128"/>
                <a:gd name="T41" fmla="*/ 116 h 122"/>
                <a:gd name="T42" fmla="*/ 90 w 128"/>
                <a:gd name="T43" fmla="*/ 116 h 122"/>
                <a:gd name="T44" fmla="*/ 86 w 128"/>
                <a:gd name="T45" fmla="*/ 118 h 122"/>
                <a:gd name="T46" fmla="*/ 42 w 128"/>
                <a:gd name="T47" fmla="*/ 118 h 122"/>
                <a:gd name="T48" fmla="*/ 38 w 128"/>
                <a:gd name="T49" fmla="*/ 116 h 122"/>
                <a:gd name="T50" fmla="*/ 38 w 128"/>
                <a:gd name="T51" fmla="*/ 116 h 122"/>
                <a:gd name="T52" fmla="*/ 38 w 128"/>
                <a:gd name="T53" fmla="*/ 116 h 122"/>
                <a:gd name="T54" fmla="*/ 40 w 128"/>
                <a:gd name="T55" fmla="*/ 113 h 122"/>
                <a:gd name="T56" fmla="*/ 48 w 128"/>
                <a:gd name="T57" fmla="*/ 104 h 122"/>
                <a:gd name="T58" fmla="*/ 80 w 128"/>
                <a:gd name="T59" fmla="*/ 104 h 122"/>
                <a:gd name="T60" fmla="*/ 88 w 128"/>
                <a:gd name="T61" fmla="*/ 113 h 122"/>
                <a:gd name="T62" fmla="*/ 120 w 128"/>
                <a:gd name="T63" fmla="*/ 93 h 122"/>
                <a:gd name="T64" fmla="*/ 117 w 128"/>
                <a:gd name="T65" fmla="*/ 96 h 122"/>
                <a:gd name="T66" fmla="*/ 11 w 128"/>
                <a:gd name="T67" fmla="*/ 96 h 122"/>
                <a:gd name="T68" fmla="*/ 8 w 128"/>
                <a:gd name="T69" fmla="*/ 93 h 122"/>
                <a:gd name="T70" fmla="*/ 8 w 128"/>
                <a:gd name="T71" fmla="*/ 11 h 122"/>
                <a:gd name="T72" fmla="*/ 11 w 128"/>
                <a:gd name="T73" fmla="*/ 8 h 122"/>
                <a:gd name="T74" fmla="*/ 117 w 128"/>
                <a:gd name="T75" fmla="*/ 8 h 122"/>
                <a:gd name="T76" fmla="*/ 120 w 128"/>
                <a:gd name="T77" fmla="*/ 11 h 122"/>
                <a:gd name="T78" fmla="*/ 120 w 128"/>
                <a:gd name="T79" fmla="*/ 93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8" h="122">
                  <a:moveTo>
                    <a:pt x="117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99"/>
                    <a:pt x="5" y="104"/>
                    <a:pt x="11" y="104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42" y="106"/>
                    <a:pt x="39" y="109"/>
                    <a:pt x="38" y="110"/>
                  </a:cubicBezTo>
                  <a:cubicBezTo>
                    <a:pt x="36" y="111"/>
                    <a:pt x="35" y="112"/>
                    <a:pt x="35" y="113"/>
                  </a:cubicBezTo>
                  <a:cubicBezTo>
                    <a:pt x="34" y="114"/>
                    <a:pt x="33" y="116"/>
                    <a:pt x="34" y="118"/>
                  </a:cubicBezTo>
                  <a:cubicBezTo>
                    <a:pt x="35" y="120"/>
                    <a:pt x="37" y="122"/>
                    <a:pt x="42" y="122"/>
                  </a:cubicBezTo>
                  <a:cubicBezTo>
                    <a:pt x="86" y="122"/>
                    <a:pt x="86" y="122"/>
                    <a:pt x="86" y="122"/>
                  </a:cubicBezTo>
                  <a:cubicBezTo>
                    <a:pt x="91" y="122"/>
                    <a:pt x="93" y="120"/>
                    <a:pt x="94" y="118"/>
                  </a:cubicBezTo>
                  <a:cubicBezTo>
                    <a:pt x="95" y="116"/>
                    <a:pt x="95" y="114"/>
                    <a:pt x="94" y="113"/>
                  </a:cubicBezTo>
                  <a:cubicBezTo>
                    <a:pt x="93" y="112"/>
                    <a:pt x="92" y="111"/>
                    <a:pt x="91" y="110"/>
                  </a:cubicBezTo>
                  <a:cubicBezTo>
                    <a:pt x="89" y="109"/>
                    <a:pt x="87" y="106"/>
                    <a:pt x="85" y="104"/>
                  </a:cubicBezTo>
                  <a:cubicBezTo>
                    <a:pt x="117" y="104"/>
                    <a:pt x="117" y="104"/>
                    <a:pt x="117" y="104"/>
                  </a:cubicBezTo>
                  <a:cubicBezTo>
                    <a:pt x="123" y="104"/>
                    <a:pt x="128" y="99"/>
                    <a:pt x="128" y="93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28" y="5"/>
                    <a:pt x="123" y="0"/>
                    <a:pt x="117" y="0"/>
                  </a:cubicBezTo>
                  <a:close/>
                  <a:moveTo>
                    <a:pt x="88" y="113"/>
                  </a:moveTo>
                  <a:cubicBezTo>
                    <a:pt x="89" y="114"/>
                    <a:pt x="90" y="115"/>
                    <a:pt x="90" y="116"/>
                  </a:cubicBezTo>
                  <a:cubicBezTo>
                    <a:pt x="90" y="116"/>
                    <a:pt x="91" y="116"/>
                    <a:pt x="90" y="116"/>
                  </a:cubicBezTo>
                  <a:cubicBezTo>
                    <a:pt x="90" y="117"/>
                    <a:pt x="88" y="118"/>
                    <a:pt x="86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0" y="118"/>
                    <a:pt x="38" y="117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5"/>
                    <a:pt x="39" y="114"/>
                    <a:pt x="40" y="113"/>
                  </a:cubicBezTo>
                  <a:cubicBezTo>
                    <a:pt x="44" y="109"/>
                    <a:pt x="47" y="106"/>
                    <a:pt x="48" y="104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82" y="106"/>
                    <a:pt x="84" y="109"/>
                    <a:pt x="88" y="113"/>
                  </a:cubicBezTo>
                  <a:close/>
                  <a:moveTo>
                    <a:pt x="120" y="93"/>
                  </a:moveTo>
                  <a:cubicBezTo>
                    <a:pt x="120" y="95"/>
                    <a:pt x="119" y="96"/>
                    <a:pt x="117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9" y="96"/>
                    <a:pt x="8" y="95"/>
                    <a:pt x="8" y="93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9"/>
                    <a:pt x="9" y="8"/>
                    <a:pt x="11" y="8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9" y="8"/>
                    <a:pt x="120" y="9"/>
                    <a:pt x="120" y="11"/>
                  </a:cubicBezTo>
                  <a:lnTo>
                    <a:pt x="120" y="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  <p:sp>
          <p:nvSpPr>
            <p:cNvPr id="48" name="Freeform 27">
              <a:extLst>
                <a:ext uri="{FF2B5EF4-FFF2-40B4-BE49-F238E27FC236}">
                  <a16:creationId xmlns:a16="http://schemas.microsoft.com/office/drawing/2014/main" id="{E5AA253C-BDEF-C5B9-825B-39177AE398B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96917" y="1058042"/>
              <a:ext cx="502713" cy="338119"/>
            </a:xfrm>
            <a:custGeom>
              <a:avLst/>
              <a:gdLst>
                <a:gd name="T0" fmla="*/ 89 w 96"/>
                <a:gd name="T1" fmla="*/ 0 h 64"/>
                <a:gd name="T2" fmla="*/ 7 w 96"/>
                <a:gd name="T3" fmla="*/ 0 h 64"/>
                <a:gd name="T4" fmla="*/ 0 w 96"/>
                <a:gd name="T5" fmla="*/ 7 h 64"/>
                <a:gd name="T6" fmla="*/ 0 w 96"/>
                <a:gd name="T7" fmla="*/ 57 h 64"/>
                <a:gd name="T8" fmla="*/ 7 w 96"/>
                <a:gd name="T9" fmla="*/ 64 h 64"/>
                <a:gd name="T10" fmla="*/ 89 w 96"/>
                <a:gd name="T11" fmla="*/ 64 h 64"/>
                <a:gd name="T12" fmla="*/ 96 w 96"/>
                <a:gd name="T13" fmla="*/ 57 h 64"/>
                <a:gd name="T14" fmla="*/ 96 w 96"/>
                <a:gd name="T15" fmla="*/ 7 h 64"/>
                <a:gd name="T16" fmla="*/ 89 w 96"/>
                <a:gd name="T17" fmla="*/ 0 h 64"/>
                <a:gd name="T18" fmla="*/ 92 w 96"/>
                <a:gd name="T19" fmla="*/ 57 h 64"/>
                <a:gd name="T20" fmla="*/ 89 w 96"/>
                <a:gd name="T21" fmla="*/ 60 h 64"/>
                <a:gd name="T22" fmla="*/ 7 w 96"/>
                <a:gd name="T23" fmla="*/ 60 h 64"/>
                <a:gd name="T24" fmla="*/ 4 w 96"/>
                <a:gd name="T25" fmla="*/ 57 h 64"/>
                <a:gd name="T26" fmla="*/ 4 w 96"/>
                <a:gd name="T27" fmla="*/ 7 h 64"/>
                <a:gd name="T28" fmla="*/ 7 w 96"/>
                <a:gd name="T29" fmla="*/ 4 h 64"/>
                <a:gd name="T30" fmla="*/ 89 w 96"/>
                <a:gd name="T31" fmla="*/ 4 h 64"/>
                <a:gd name="T32" fmla="*/ 92 w 96"/>
                <a:gd name="T33" fmla="*/ 7 h 64"/>
                <a:gd name="T34" fmla="*/ 92 w 96"/>
                <a:gd name="T35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6" h="64">
                  <a:moveTo>
                    <a:pt x="89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1"/>
                    <a:pt x="3" y="64"/>
                    <a:pt x="7" y="64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93" y="64"/>
                    <a:pt x="96" y="61"/>
                    <a:pt x="96" y="5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3"/>
                    <a:pt x="93" y="0"/>
                    <a:pt x="89" y="0"/>
                  </a:cubicBezTo>
                  <a:close/>
                  <a:moveTo>
                    <a:pt x="92" y="57"/>
                  </a:moveTo>
                  <a:cubicBezTo>
                    <a:pt x="92" y="59"/>
                    <a:pt x="91" y="60"/>
                    <a:pt x="89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5" y="60"/>
                    <a:pt x="4" y="59"/>
                    <a:pt x="4" y="5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5" y="4"/>
                    <a:pt x="7" y="4"/>
                  </a:cubicBezTo>
                  <a:cubicBezTo>
                    <a:pt x="89" y="4"/>
                    <a:pt x="89" y="4"/>
                    <a:pt x="89" y="4"/>
                  </a:cubicBezTo>
                  <a:cubicBezTo>
                    <a:pt x="91" y="4"/>
                    <a:pt x="92" y="5"/>
                    <a:pt x="92" y="7"/>
                  </a:cubicBezTo>
                  <a:lnTo>
                    <a:pt x="92" y="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  <p:sp>
          <p:nvSpPr>
            <p:cNvPr id="49" name="Freeform 28">
              <a:extLst>
                <a:ext uri="{FF2B5EF4-FFF2-40B4-BE49-F238E27FC236}">
                  <a16:creationId xmlns:a16="http://schemas.microsoft.com/office/drawing/2014/main" id="{F56E6124-F0F8-533A-E6CD-65EE03F9F51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17937" y="1404831"/>
              <a:ext cx="62840" cy="65023"/>
            </a:xfrm>
            <a:custGeom>
              <a:avLst/>
              <a:gdLst>
                <a:gd name="T0" fmla="*/ 6 w 12"/>
                <a:gd name="T1" fmla="*/ 0 h 12"/>
                <a:gd name="T2" fmla="*/ 0 w 12"/>
                <a:gd name="T3" fmla="*/ 6 h 12"/>
                <a:gd name="T4" fmla="*/ 6 w 12"/>
                <a:gd name="T5" fmla="*/ 12 h 12"/>
                <a:gd name="T6" fmla="*/ 12 w 12"/>
                <a:gd name="T7" fmla="*/ 6 h 12"/>
                <a:gd name="T8" fmla="*/ 6 w 12"/>
                <a:gd name="T9" fmla="*/ 0 h 12"/>
                <a:gd name="T10" fmla="*/ 6 w 12"/>
                <a:gd name="T11" fmla="*/ 8 h 12"/>
                <a:gd name="T12" fmla="*/ 4 w 12"/>
                <a:gd name="T13" fmla="*/ 6 h 12"/>
                <a:gd name="T14" fmla="*/ 6 w 12"/>
                <a:gd name="T15" fmla="*/ 4 h 12"/>
                <a:gd name="T16" fmla="*/ 8 w 12"/>
                <a:gd name="T17" fmla="*/ 6 h 12"/>
                <a:gd name="T18" fmla="*/ 6 w 12"/>
                <a:gd name="T1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9" y="12"/>
                    <a:pt x="12" y="9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lose/>
                  <a:moveTo>
                    <a:pt x="6" y="8"/>
                  </a:moveTo>
                  <a:cubicBezTo>
                    <a:pt x="5" y="8"/>
                    <a:pt x="4" y="7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7" y="4"/>
                    <a:pt x="8" y="5"/>
                    <a:pt x="8" y="6"/>
                  </a:cubicBezTo>
                  <a:cubicBezTo>
                    <a:pt x="8" y="7"/>
                    <a:pt x="7" y="8"/>
                    <a:pt x="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  <p:sp>
          <p:nvSpPr>
            <p:cNvPr id="50" name="Freeform 29">
              <a:extLst>
                <a:ext uri="{FF2B5EF4-FFF2-40B4-BE49-F238E27FC236}">
                  <a16:creationId xmlns:a16="http://schemas.microsoft.com/office/drawing/2014/main" id="{B4CBBE2E-607E-5DFA-61C1-1AD248F0BBB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3429" y="1190255"/>
              <a:ext cx="84509" cy="88864"/>
            </a:xfrm>
            <a:custGeom>
              <a:avLst/>
              <a:gdLst>
                <a:gd name="T0" fmla="*/ 0 w 39"/>
                <a:gd name="T1" fmla="*/ 24 h 41"/>
                <a:gd name="T2" fmla="*/ 39 w 39"/>
                <a:gd name="T3" fmla="*/ 41 h 41"/>
                <a:gd name="T4" fmla="*/ 39 w 39"/>
                <a:gd name="T5" fmla="*/ 32 h 41"/>
                <a:gd name="T6" fmla="*/ 12 w 39"/>
                <a:gd name="T7" fmla="*/ 19 h 41"/>
                <a:gd name="T8" fmla="*/ 39 w 39"/>
                <a:gd name="T9" fmla="*/ 10 h 41"/>
                <a:gd name="T10" fmla="*/ 39 w 39"/>
                <a:gd name="T11" fmla="*/ 0 h 41"/>
                <a:gd name="T12" fmla="*/ 0 w 39"/>
                <a:gd name="T13" fmla="*/ 17 h 41"/>
                <a:gd name="T14" fmla="*/ 0 w 39"/>
                <a:gd name="T15" fmla="*/ 2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41">
                  <a:moveTo>
                    <a:pt x="0" y="24"/>
                  </a:moveTo>
                  <a:lnTo>
                    <a:pt x="39" y="41"/>
                  </a:lnTo>
                  <a:lnTo>
                    <a:pt x="39" y="32"/>
                  </a:lnTo>
                  <a:lnTo>
                    <a:pt x="12" y="19"/>
                  </a:lnTo>
                  <a:lnTo>
                    <a:pt x="39" y="10"/>
                  </a:lnTo>
                  <a:lnTo>
                    <a:pt x="39" y="0"/>
                  </a:lnTo>
                  <a:lnTo>
                    <a:pt x="0" y="17"/>
                  </a:lnTo>
                  <a:lnTo>
                    <a:pt x="0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  <p:sp>
          <p:nvSpPr>
            <p:cNvPr id="51" name="Freeform 30">
              <a:extLst>
                <a:ext uri="{FF2B5EF4-FFF2-40B4-BE49-F238E27FC236}">
                  <a16:creationId xmlns:a16="http://schemas.microsoft.com/office/drawing/2014/main" id="{D61F70CB-1FDA-FF43-E5D6-E5A32471CF5D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6605" y="1175084"/>
              <a:ext cx="43337" cy="119208"/>
            </a:xfrm>
            <a:custGeom>
              <a:avLst/>
              <a:gdLst>
                <a:gd name="T0" fmla="*/ 7 w 8"/>
                <a:gd name="T1" fmla="*/ 0 h 23"/>
                <a:gd name="T2" fmla="*/ 5 w 8"/>
                <a:gd name="T3" fmla="*/ 0 h 23"/>
                <a:gd name="T4" fmla="*/ 5 w 8"/>
                <a:gd name="T5" fmla="*/ 2 h 23"/>
                <a:gd name="T6" fmla="*/ 0 w 8"/>
                <a:gd name="T7" fmla="*/ 20 h 23"/>
                <a:gd name="T8" fmla="*/ 0 w 8"/>
                <a:gd name="T9" fmla="*/ 22 h 23"/>
                <a:gd name="T10" fmla="*/ 2 w 8"/>
                <a:gd name="T11" fmla="*/ 23 h 23"/>
                <a:gd name="T12" fmla="*/ 3 w 8"/>
                <a:gd name="T13" fmla="*/ 23 h 23"/>
                <a:gd name="T14" fmla="*/ 3 w 8"/>
                <a:gd name="T15" fmla="*/ 22 h 23"/>
                <a:gd name="T16" fmla="*/ 4 w 8"/>
                <a:gd name="T17" fmla="*/ 21 h 23"/>
                <a:gd name="T18" fmla="*/ 8 w 8"/>
                <a:gd name="T19" fmla="*/ 3 h 23"/>
                <a:gd name="T20" fmla="*/ 8 w 8"/>
                <a:gd name="T21" fmla="*/ 1 h 23"/>
                <a:gd name="T22" fmla="*/ 8 w 8"/>
                <a:gd name="T23" fmla="*/ 0 h 23"/>
                <a:gd name="T24" fmla="*/ 7 w 8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3">
                  <a:moveTo>
                    <a:pt x="7" y="0"/>
                  </a:move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1"/>
                    <a:pt x="5" y="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0" y="23"/>
                    <a:pt x="1" y="23"/>
                    <a:pt x="2" y="23"/>
                  </a:cubicBezTo>
                  <a:cubicBezTo>
                    <a:pt x="2" y="23"/>
                    <a:pt x="2" y="23"/>
                    <a:pt x="3" y="23"/>
                  </a:cubicBezTo>
                  <a:cubicBezTo>
                    <a:pt x="3" y="23"/>
                    <a:pt x="3" y="22"/>
                    <a:pt x="3" y="22"/>
                  </a:cubicBezTo>
                  <a:cubicBezTo>
                    <a:pt x="3" y="22"/>
                    <a:pt x="3" y="21"/>
                    <a:pt x="4" y="2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  <p:sp>
          <p:nvSpPr>
            <p:cNvPr id="52" name="Freeform 31">
              <a:extLst>
                <a:ext uri="{FF2B5EF4-FFF2-40B4-BE49-F238E27FC236}">
                  <a16:creationId xmlns:a16="http://schemas.microsoft.com/office/drawing/2014/main" id="{4A03FE9B-7D23-DAAC-5AF3-26473D240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0776" y="1190255"/>
              <a:ext cx="82341" cy="88864"/>
            </a:xfrm>
            <a:custGeom>
              <a:avLst/>
              <a:gdLst>
                <a:gd name="T0" fmla="*/ 0 w 38"/>
                <a:gd name="T1" fmla="*/ 10 h 41"/>
                <a:gd name="T2" fmla="*/ 26 w 38"/>
                <a:gd name="T3" fmla="*/ 19 h 41"/>
                <a:gd name="T4" fmla="*/ 0 w 38"/>
                <a:gd name="T5" fmla="*/ 32 h 41"/>
                <a:gd name="T6" fmla="*/ 0 w 38"/>
                <a:gd name="T7" fmla="*/ 41 h 41"/>
                <a:gd name="T8" fmla="*/ 38 w 38"/>
                <a:gd name="T9" fmla="*/ 24 h 41"/>
                <a:gd name="T10" fmla="*/ 38 w 38"/>
                <a:gd name="T11" fmla="*/ 17 h 41"/>
                <a:gd name="T12" fmla="*/ 0 w 38"/>
                <a:gd name="T13" fmla="*/ 0 h 41"/>
                <a:gd name="T14" fmla="*/ 0 w 38"/>
                <a:gd name="T15" fmla="*/ 1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41">
                  <a:moveTo>
                    <a:pt x="0" y="10"/>
                  </a:moveTo>
                  <a:lnTo>
                    <a:pt x="26" y="19"/>
                  </a:lnTo>
                  <a:lnTo>
                    <a:pt x="0" y="32"/>
                  </a:lnTo>
                  <a:lnTo>
                    <a:pt x="0" y="41"/>
                  </a:lnTo>
                  <a:lnTo>
                    <a:pt x="38" y="24"/>
                  </a:lnTo>
                  <a:lnTo>
                    <a:pt x="38" y="17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</p:grpSp>
      <p:sp>
        <p:nvSpPr>
          <p:cNvPr id="30" name="ZenIcon2">
            <a:extLst>
              <a:ext uri="{FF2B5EF4-FFF2-40B4-BE49-F238E27FC236}">
                <a16:creationId xmlns:a16="http://schemas.microsoft.com/office/drawing/2014/main" id="{D33DAA13-0F9B-0A59-1126-6FBB3030B9D0}"/>
              </a:ext>
            </a:extLst>
          </p:cNvPr>
          <p:cNvSpPr>
            <a:spLocks noChangeAspect="1" noEditPoints="1"/>
          </p:cNvSpPr>
          <p:nvPr>
            <p:custDataLst>
              <p:tags r:id="rId3"/>
            </p:custDataLst>
          </p:nvPr>
        </p:nvSpPr>
        <p:spPr bwMode="auto">
          <a:xfrm>
            <a:off x="1516500" y="3242032"/>
            <a:ext cx="327540" cy="327540"/>
          </a:xfrm>
          <a:custGeom>
            <a:avLst/>
            <a:gdLst>
              <a:gd name="T0" fmla="*/ 232 w 256"/>
              <a:gd name="T1" fmla="*/ 84 h 227"/>
              <a:gd name="T2" fmla="*/ 172 w 256"/>
              <a:gd name="T3" fmla="*/ 44 h 227"/>
              <a:gd name="T4" fmla="*/ 120 w 256"/>
              <a:gd name="T5" fmla="*/ 48 h 227"/>
              <a:gd name="T6" fmla="*/ 64 w 256"/>
              <a:gd name="T7" fmla="*/ 107 h 227"/>
              <a:gd name="T8" fmla="*/ 0 w 256"/>
              <a:gd name="T9" fmla="*/ 131 h 227"/>
              <a:gd name="T10" fmla="*/ 32 w 256"/>
              <a:gd name="T11" fmla="*/ 227 h 227"/>
              <a:gd name="T12" fmla="*/ 87 w 256"/>
              <a:gd name="T13" fmla="*/ 212 h 227"/>
              <a:gd name="T14" fmla="*/ 103 w 256"/>
              <a:gd name="T15" fmla="*/ 219 h 227"/>
              <a:gd name="T16" fmla="*/ 232 w 256"/>
              <a:gd name="T17" fmla="*/ 197 h 227"/>
              <a:gd name="T18" fmla="*/ 240 w 256"/>
              <a:gd name="T19" fmla="*/ 169 h 227"/>
              <a:gd name="T20" fmla="*/ 248 w 256"/>
              <a:gd name="T21" fmla="*/ 140 h 227"/>
              <a:gd name="T22" fmla="*/ 256 w 256"/>
              <a:gd name="T23" fmla="*/ 108 h 227"/>
              <a:gd name="T24" fmla="*/ 32 w 256"/>
              <a:gd name="T25" fmla="*/ 211 h 227"/>
              <a:gd name="T26" fmla="*/ 16 w 256"/>
              <a:gd name="T27" fmla="*/ 131 h 227"/>
              <a:gd name="T28" fmla="*/ 64 w 256"/>
              <a:gd name="T29" fmla="*/ 123 h 227"/>
              <a:gd name="T30" fmla="*/ 72 w 256"/>
              <a:gd name="T31" fmla="*/ 198 h 227"/>
              <a:gd name="T32" fmla="*/ 72 w 256"/>
              <a:gd name="T33" fmla="*/ 203 h 227"/>
              <a:gd name="T34" fmla="*/ 210 w 256"/>
              <a:gd name="T35" fmla="*/ 203 h 227"/>
              <a:gd name="T36" fmla="*/ 88 w 256"/>
              <a:gd name="T37" fmla="*/ 194 h 227"/>
              <a:gd name="T38" fmla="*/ 86 w 256"/>
              <a:gd name="T39" fmla="*/ 121 h 227"/>
              <a:gd name="T40" fmla="*/ 140 w 256"/>
              <a:gd name="T41" fmla="*/ 16 h 227"/>
              <a:gd name="T42" fmla="*/ 152 w 256"/>
              <a:gd name="T43" fmla="*/ 90 h 227"/>
              <a:gd name="T44" fmla="*/ 160 w 256"/>
              <a:gd name="T45" fmla="*/ 100 h 227"/>
              <a:gd name="T46" fmla="*/ 240 w 256"/>
              <a:gd name="T47" fmla="*/ 108 h 227"/>
              <a:gd name="T48" fmla="*/ 223 w 256"/>
              <a:gd name="T49" fmla="*/ 116 h 227"/>
              <a:gd name="T50" fmla="*/ 223 w 256"/>
              <a:gd name="T51" fmla="*/ 132 h 227"/>
              <a:gd name="T52" fmla="*/ 224 w 256"/>
              <a:gd name="T53" fmla="*/ 132 h 227"/>
              <a:gd name="T54" fmla="*/ 224 w 256"/>
              <a:gd name="T55" fmla="*/ 148 h 227"/>
              <a:gd name="T56" fmla="*/ 218 w 256"/>
              <a:gd name="T57" fmla="*/ 147 h 227"/>
              <a:gd name="T58" fmla="*/ 215 w 256"/>
              <a:gd name="T59" fmla="*/ 148 h 227"/>
              <a:gd name="T60" fmla="*/ 215 w 256"/>
              <a:gd name="T61" fmla="*/ 164 h 227"/>
              <a:gd name="T62" fmla="*/ 224 w 256"/>
              <a:gd name="T63" fmla="*/ 169 h 227"/>
              <a:gd name="T64" fmla="*/ 210 w 256"/>
              <a:gd name="T65" fmla="*/ 175 h 227"/>
              <a:gd name="T66" fmla="*/ 210 w 256"/>
              <a:gd name="T67" fmla="*/ 175 h 227"/>
              <a:gd name="T68" fmla="*/ 210 w 256"/>
              <a:gd name="T69" fmla="*/ 191 h 227"/>
              <a:gd name="T70" fmla="*/ 210 w 256"/>
              <a:gd name="T71" fmla="*/ 203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56" h="227">
                <a:moveTo>
                  <a:pt x="256" y="108"/>
                </a:moveTo>
                <a:cubicBezTo>
                  <a:pt x="256" y="94"/>
                  <a:pt x="245" y="84"/>
                  <a:pt x="232" y="84"/>
                </a:cubicBezTo>
                <a:cubicBezTo>
                  <a:pt x="169" y="84"/>
                  <a:pt x="169" y="84"/>
                  <a:pt x="169" y="84"/>
                </a:cubicBezTo>
                <a:cubicBezTo>
                  <a:pt x="171" y="74"/>
                  <a:pt x="172" y="59"/>
                  <a:pt x="172" y="44"/>
                </a:cubicBezTo>
                <a:cubicBezTo>
                  <a:pt x="172" y="13"/>
                  <a:pt x="156" y="0"/>
                  <a:pt x="140" y="0"/>
                </a:cubicBezTo>
                <a:cubicBezTo>
                  <a:pt x="120" y="0"/>
                  <a:pt x="120" y="21"/>
                  <a:pt x="120" y="48"/>
                </a:cubicBezTo>
                <a:cubicBezTo>
                  <a:pt x="120" y="67"/>
                  <a:pt x="90" y="97"/>
                  <a:pt x="75" y="110"/>
                </a:cubicBezTo>
                <a:cubicBezTo>
                  <a:pt x="71" y="108"/>
                  <a:pt x="68" y="107"/>
                  <a:pt x="64" y="107"/>
                </a:cubicBezTo>
                <a:cubicBezTo>
                  <a:pt x="24" y="107"/>
                  <a:pt x="24" y="107"/>
                  <a:pt x="24" y="107"/>
                </a:cubicBezTo>
                <a:cubicBezTo>
                  <a:pt x="11" y="107"/>
                  <a:pt x="0" y="118"/>
                  <a:pt x="0" y="131"/>
                </a:cubicBezTo>
                <a:cubicBezTo>
                  <a:pt x="8" y="203"/>
                  <a:pt x="8" y="203"/>
                  <a:pt x="8" y="203"/>
                </a:cubicBezTo>
                <a:cubicBezTo>
                  <a:pt x="10" y="216"/>
                  <a:pt x="19" y="227"/>
                  <a:pt x="32" y="227"/>
                </a:cubicBezTo>
                <a:cubicBezTo>
                  <a:pt x="64" y="227"/>
                  <a:pt x="64" y="227"/>
                  <a:pt x="64" y="227"/>
                </a:cubicBezTo>
                <a:cubicBezTo>
                  <a:pt x="74" y="227"/>
                  <a:pt x="83" y="221"/>
                  <a:pt x="87" y="212"/>
                </a:cubicBezTo>
                <a:cubicBezTo>
                  <a:pt x="100" y="219"/>
                  <a:pt x="100" y="219"/>
                  <a:pt x="100" y="219"/>
                </a:cubicBezTo>
                <a:cubicBezTo>
                  <a:pt x="101" y="219"/>
                  <a:pt x="102" y="219"/>
                  <a:pt x="103" y="219"/>
                </a:cubicBezTo>
                <a:cubicBezTo>
                  <a:pt x="210" y="219"/>
                  <a:pt x="210" y="219"/>
                  <a:pt x="210" y="219"/>
                </a:cubicBezTo>
                <a:cubicBezTo>
                  <a:pt x="222" y="219"/>
                  <a:pt x="232" y="210"/>
                  <a:pt x="232" y="197"/>
                </a:cubicBezTo>
                <a:cubicBezTo>
                  <a:pt x="232" y="194"/>
                  <a:pt x="231" y="191"/>
                  <a:pt x="230" y="188"/>
                </a:cubicBezTo>
                <a:cubicBezTo>
                  <a:pt x="236" y="184"/>
                  <a:pt x="240" y="177"/>
                  <a:pt x="240" y="169"/>
                </a:cubicBezTo>
                <a:cubicBezTo>
                  <a:pt x="240" y="166"/>
                  <a:pt x="239" y="162"/>
                  <a:pt x="238" y="159"/>
                </a:cubicBezTo>
                <a:cubicBezTo>
                  <a:pt x="244" y="155"/>
                  <a:pt x="248" y="148"/>
                  <a:pt x="248" y="140"/>
                </a:cubicBezTo>
                <a:cubicBezTo>
                  <a:pt x="248" y="135"/>
                  <a:pt x="247" y="131"/>
                  <a:pt x="245" y="128"/>
                </a:cubicBezTo>
                <a:cubicBezTo>
                  <a:pt x="252" y="123"/>
                  <a:pt x="256" y="116"/>
                  <a:pt x="256" y="108"/>
                </a:cubicBezTo>
                <a:close/>
                <a:moveTo>
                  <a:pt x="64" y="211"/>
                </a:moveTo>
                <a:cubicBezTo>
                  <a:pt x="32" y="211"/>
                  <a:pt x="32" y="211"/>
                  <a:pt x="32" y="211"/>
                </a:cubicBezTo>
                <a:cubicBezTo>
                  <a:pt x="28" y="211"/>
                  <a:pt x="25" y="206"/>
                  <a:pt x="24" y="202"/>
                </a:cubicBezTo>
                <a:cubicBezTo>
                  <a:pt x="16" y="131"/>
                  <a:pt x="16" y="131"/>
                  <a:pt x="16" y="131"/>
                </a:cubicBezTo>
                <a:cubicBezTo>
                  <a:pt x="17" y="127"/>
                  <a:pt x="20" y="123"/>
                  <a:pt x="24" y="123"/>
                </a:cubicBezTo>
                <a:cubicBezTo>
                  <a:pt x="64" y="123"/>
                  <a:pt x="64" y="123"/>
                  <a:pt x="64" y="123"/>
                </a:cubicBezTo>
                <a:cubicBezTo>
                  <a:pt x="69" y="123"/>
                  <a:pt x="72" y="127"/>
                  <a:pt x="72" y="131"/>
                </a:cubicBezTo>
                <a:cubicBezTo>
                  <a:pt x="72" y="198"/>
                  <a:pt x="72" y="198"/>
                  <a:pt x="72" y="198"/>
                </a:cubicBezTo>
                <a:cubicBezTo>
                  <a:pt x="72" y="199"/>
                  <a:pt x="72" y="200"/>
                  <a:pt x="72" y="201"/>
                </a:cubicBezTo>
                <a:cubicBezTo>
                  <a:pt x="72" y="203"/>
                  <a:pt x="72" y="203"/>
                  <a:pt x="72" y="203"/>
                </a:cubicBezTo>
                <a:cubicBezTo>
                  <a:pt x="72" y="208"/>
                  <a:pt x="69" y="211"/>
                  <a:pt x="64" y="211"/>
                </a:cubicBezTo>
                <a:close/>
                <a:moveTo>
                  <a:pt x="210" y="203"/>
                </a:moveTo>
                <a:cubicBezTo>
                  <a:pt x="105" y="203"/>
                  <a:pt x="105" y="203"/>
                  <a:pt x="105" y="203"/>
                </a:cubicBezTo>
                <a:cubicBezTo>
                  <a:pt x="88" y="194"/>
                  <a:pt x="88" y="194"/>
                  <a:pt x="88" y="194"/>
                </a:cubicBezTo>
                <a:cubicBezTo>
                  <a:pt x="88" y="131"/>
                  <a:pt x="88" y="131"/>
                  <a:pt x="88" y="131"/>
                </a:cubicBezTo>
                <a:cubicBezTo>
                  <a:pt x="88" y="128"/>
                  <a:pt x="87" y="124"/>
                  <a:pt x="86" y="121"/>
                </a:cubicBezTo>
                <a:cubicBezTo>
                  <a:pt x="100" y="109"/>
                  <a:pt x="136" y="75"/>
                  <a:pt x="136" y="48"/>
                </a:cubicBezTo>
                <a:cubicBezTo>
                  <a:pt x="136" y="31"/>
                  <a:pt x="136" y="16"/>
                  <a:pt x="140" y="16"/>
                </a:cubicBezTo>
                <a:cubicBezTo>
                  <a:pt x="148" y="16"/>
                  <a:pt x="156" y="25"/>
                  <a:pt x="156" y="44"/>
                </a:cubicBezTo>
                <a:cubicBezTo>
                  <a:pt x="156" y="67"/>
                  <a:pt x="152" y="90"/>
                  <a:pt x="152" y="90"/>
                </a:cubicBezTo>
                <a:cubicBezTo>
                  <a:pt x="152" y="93"/>
                  <a:pt x="153" y="95"/>
                  <a:pt x="154" y="97"/>
                </a:cubicBezTo>
                <a:cubicBezTo>
                  <a:pt x="156" y="98"/>
                  <a:pt x="158" y="100"/>
                  <a:pt x="160" y="100"/>
                </a:cubicBezTo>
                <a:cubicBezTo>
                  <a:pt x="232" y="100"/>
                  <a:pt x="232" y="100"/>
                  <a:pt x="232" y="100"/>
                </a:cubicBezTo>
                <a:cubicBezTo>
                  <a:pt x="237" y="100"/>
                  <a:pt x="240" y="103"/>
                  <a:pt x="240" y="108"/>
                </a:cubicBezTo>
                <a:cubicBezTo>
                  <a:pt x="240" y="112"/>
                  <a:pt x="237" y="116"/>
                  <a:pt x="232" y="116"/>
                </a:cubicBezTo>
                <a:cubicBezTo>
                  <a:pt x="223" y="116"/>
                  <a:pt x="223" y="116"/>
                  <a:pt x="223" y="116"/>
                </a:cubicBezTo>
                <a:cubicBezTo>
                  <a:pt x="219" y="116"/>
                  <a:pt x="215" y="119"/>
                  <a:pt x="215" y="124"/>
                </a:cubicBezTo>
                <a:cubicBezTo>
                  <a:pt x="215" y="128"/>
                  <a:pt x="219" y="132"/>
                  <a:pt x="223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9" y="132"/>
                  <a:pt x="232" y="135"/>
                  <a:pt x="232" y="140"/>
                </a:cubicBezTo>
                <a:cubicBezTo>
                  <a:pt x="232" y="144"/>
                  <a:pt x="229" y="148"/>
                  <a:pt x="224" y="148"/>
                </a:cubicBezTo>
                <a:cubicBezTo>
                  <a:pt x="219" y="148"/>
                  <a:pt x="219" y="148"/>
                  <a:pt x="219" y="148"/>
                </a:cubicBezTo>
                <a:cubicBezTo>
                  <a:pt x="219" y="148"/>
                  <a:pt x="218" y="147"/>
                  <a:pt x="218" y="147"/>
                </a:cubicBezTo>
                <a:cubicBezTo>
                  <a:pt x="218" y="147"/>
                  <a:pt x="218" y="148"/>
                  <a:pt x="218" y="148"/>
                </a:cubicBezTo>
                <a:cubicBezTo>
                  <a:pt x="215" y="148"/>
                  <a:pt x="215" y="148"/>
                  <a:pt x="215" y="148"/>
                </a:cubicBezTo>
                <a:cubicBezTo>
                  <a:pt x="211" y="148"/>
                  <a:pt x="207" y="151"/>
                  <a:pt x="207" y="156"/>
                </a:cubicBezTo>
                <a:cubicBezTo>
                  <a:pt x="207" y="160"/>
                  <a:pt x="211" y="164"/>
                  <a:pt x="215" y="164"/>
                </a:cubicBezTo>
                <a:cubicBezTo>
                  <a:pt x="218" y="164"/>
                  <a:pt x="218" y="164"/>
                  <a:pt x="218" y="164"/>
                </a:cubicBezTo>
                <a:cubicBezTo>
                  <a:pt x="222" y="164"/>
                  <a:pt x="224" y="166"/>
                  <a:pt x="224" y="169"/>
                </a:cubicBezTo>
                <a:cubicBezTo>
                  <a:pt x="224" y="173"/>
                  <a:pt x="221" y="175"/>
                  <a:pt x="218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06" y="175"/>
                  <a:pt x="202" y="179"/>
                  <a:pt x="202" y="183"/>
                </a:cubicBezTo>
                <a:cubicBezTo>
                  <a:pt x="202" y="188"/>
                  <a:pt x="206" y="191"/>
                  <a:pt x="210" y="191"/>
                </a:cubicBezTo>
                <a:cubicBezTo>
                  <a:pt x="213" y="191"/>
                  <a:pt x="216" y="194"/>
                  <a:pt x="216" y="197"/>
                </a:cubicBezTo>
                <a:cubicBezTo>
                  <a:pt x="216" y="201"/>
                  <a:pt x="213" y="203"/>
                  <a:pt x="210" y="20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US" sz="840"/>
          </a:p>
        </p:txBody>
      </p:sp>
      <p:sp>
        <p:nvSpPr>
          <p:cNvPr id="31" name="ZenIcon3">
            <a:extLst>
              <a:ext uri="{FF2B5EF4-FFF2-40B4-BE49-F238E27FC236}">
                <a16:creationId xmlns:a16="http://schemas.microsoft.com/office/drawing/2014/main" id="{A8CC6AB8-4A5F-2E86-9D96-E307487E1EF2}"/>
              </a:ext>
            </a:extLst>
          </p:cNvPr>
          <p:cNvSpPr>
            <a:spLocks noChangeAspect="1" noEditPoints="1"/>
          </p:cNvSpPr>
          <p:nvPr>
            <p:custDataLst>
              <p:tags r:id="rId4"/>
            </p:custDataLst>
          </p:nvPr>
        </p:nvSpPr>
        <p:spPr bwMode="auto">
          <a:xfrm>
            <a:off x="3269101" y="3241625"/>
            <a:ext cx="327540" cy="328354"/>
          </a:xfrm>
          <a:custGeom>
            <a:avLst/>
            <a:gdLst>
              <a:gd name="T0" fmla="*/ 1698 w 2448"/>
              <a:gd name="T1" fmla="*/ 97 h 2446"/>
              <a:gd name="T2" fmla="*/ 748 w 2448"/>
              <a:gd name="T3" fmla="*/ 97 h 2446"/>
              <a:gd name="T4" fmla="*/ 0 w 2448"/>
              <a:gd name="T5" fmla="*/ 1222 h 2446"/>
              <a:gd name="T6" fmla="*/ 748 w 2448"/>
              <a:gd name="T7" fmla="*/ 2349 h 2446"/>
              <a:gd name="T8" fmla="*/ 1698 w 2448"/>
              <a:gd name="T9" fmla="*/ 2349 h 2446"/>
              <a:gd name="T10" fmla="*/ 2448 w 2448"/>
              <a:gd name="T11" fmla="*/ 1222 h 2446"/>
              <a:gd name="T12" fmla="*/ 816 w 2448"/>
              <a:gd name="T13" fmla="*/ 227 h 2446"/>
              <a:gd name="T14" fmla="*/ 264 w 2448"/>
              <a:gd name="T15" fmla="*/ 737 h 2446"/>
              <a:gd name="T16" fmla="*/ 149 w 2448"/>
              <a:gd name="T17" fmla="*/ 1222 h 2446"/>
              <a:gd name="T18" fmla="*/ 554 w 2448"/>
              <a:gd name="T19" fmla="*/ 884 h 2446"/>
              <a:gd name="T20" fmla="*/ 554 w 2448"/>
              <a:gd name="T21" fmla="*/ 1556 h 2446"/>
              <a:gd name="T22" fmla="*/ 149 w 2448"/>
              <a:gd name="T23" fmla="*/ 1222 h 2446"/>
              <a:gd name="T24" fmla="*/ 584 w 2448"/>
              <a:gd name="T25" fmla="*/ 1704 h 2446"/>
              <a:gd name="T26" fmla="*/ 264 w 2448"/>
              <a:gd name="T27" fmla="*/ 1704 h 2446"/>
              <a:gd name="T28" fmla="*/ 906 w 2448"/>
              <a:gd name="T29" fmla="*/ 2092 h 2446"/>
              <a:gd name="T30" fmla="*/ 1148 w 2448"/>
              <a:gd name="T31" fmla="*/ 1704 h 2446"/>
              <a:gd name="T32" fmla="*/ 1148 w 2448"/>
              <a:gd name="T33" fmla="*/ 1556 h 2446"/>
              <a:gd name="T34" fmla="*/ 677 w 2448"/>
              <a:gd name="T35" fmla="*/ 1222 h 2446"/>
              <a:gd name="T36" fmla="*/ 1148 w 2448"/>
              <a:gd name="T37" fmla="*/ 884 h 2446"/>
              <a:gd name="T38" fmla="*/ 1148 w 2448"/>
              <a:gd name="T39" fmla="*/ 737 h 2446"/>
              <a:gd name="T40" fmla="*/ 909 w 2448"/>
              <a:gd name="T41" fmla="*/ 353 h 2446"/>
              <a:gd name="T42" fmla="*/ 1148 w 2448"/>
              <a:gd name="T43" fmla="*/ 737 h 2446"/>
              <a:gd name="T44" fmla="*/ 1864 w 2448"/>
              <a:gd name="T45" fmla="*/ 737 h 2446"/>
              <a:gd name="T46" fmla="*/ 2184 w 2448"/>
              <a:gd name="T47" fmla="*/ 737 h 2446"/>
              <a:gd name="T48" fmla="*/ 1539 w 2448"/>
              <a:gd name="T49" fmla="*/ 353 h 2446"/>
              <a:gd name="T50" fmla="*/ 1300 w 2448"/>
              <a:gd name="T51" fmla="*/ 737 h 2446"/>
              <a:gd name="T52" fmla="*/ 1300 w 2448"/>
              <a:gd name="T53" fmla="*/ 884 h 2446"/>
              <a:gd name="T54" fmla="*/ 1771 w 2448"/>
              <a:gd name="T55" fmla="*/ 1222 h 2446"/>
              <a:gd name="T56" fmla="*/ 1300 w 2448"/>
              <a:gd name="T57" fmla="*/ 1556 h 2446"/>
              <a:gd name="T58" fmla="*/ 1300 w 2448"/>
              <a:gd name="T59" fmla="*/ 2286 h 2446"/>
              <a:gd name="T60" fmla="*/ 1711 w 2448"/>
              <a:gd name="T61" fmla="*/ 1704 h 2446"/>
              <a:gd name="T62" fmla="*/ 1300 w 2448"/>
              <a:gd name="T63" fmla="*/ 2286 h 2446"/>
              <a:gd name="T64" fmla="*/ 1864 w 2448"/>
              <a:gd name="T65" fmla="*/ 1704 h 2446"/>
              <a:gd name="T66" fmla="*/ 1632 w 2448"/>
              <a:gd name="T67" fmla="*/ 2219 h 2446"/>
              <a:gd name="T68" fmla="*/ 1894 w 2448"/>
              <a:gd name="T69" fmla="*/ 1556 h 2446"/>
              <a:gd name="T70" fmla="*/ 1894 w 2448"/>
              <a:gd name="T71" fmla="*/ 884 h 2446"/>
              <a:gd name="T72" fmla="*/ 2299 w 2448"/>
              <a:gd name="T73" fmla="*/ 1222 h 2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2448" h="2446">
                <a:moveTo>
                  <a:pt x="2350" y="747"/>
                </a:moveTo>
                <a:cubicBezTo>
                  <a:pt x="2221" y="446"/>
                  <a:pt x="2002" y="227"/>
                  <a:pt x="1698" y="97"/>
                </a:cubicBezTo>
                <a:cubicBezTo>
                  <a:pt x="1547" y="33"/>
                  <a:pt x="1389" y="0"/>
                  <a:pt x="1223" y="0"/>
                </a:cubicBezTo>
                <a:cubicBezTo>
                  <a:pt x="1057" y="0"/>
                  <a:pt x="900" y="32"/>
                  <a:pt x="748" y="97"/>
                </a:cubicBezTo>
                <a:cubicBezTo>
                  <a:pt x="447" y="226"/>
                  <a:pt x="226" y="445"/>
                  <a:pt x="96" y="747"/>
                </a:cubicBezTo>
                <a:cubicBezTo>
                  <a:pt x="32" y="898"/>
                  <a:pt x="0" y="1056"/>
                  <a:pt x="0" y="1222"/>
                </a:cubicBezTo>
                <a:cubicBezTo>
                  <a:pt x="0" y="1388"/>
                  <a:pt x="32" y="1547"/>
                  <a:pt x="96" y="1698"/>
                </a:cubicBezTo>
                <a:cubicBezTo>
                  <a:pt x="226" y="2000"/>
                  <a:pt x="447" y="2220"/>
                  <a:pt x="748" y="2349"/>
                </a:cubicBezTo>
                <a:cubicBezTo>
                  <a:pt x="900" y="2414"/>
                  <a:pt x="1057" y="2446"/>
                  <a:pt x="1223" y="2446"/>
                </a:cubicBezTo>
                <a:cubicBezTo>
                  <a:pt x="1389" y="2446"/>
                  <a:pt x="1547" y="2413"/>
                  <a:pt x="1698" y="2349"/>
                </a:cubicBezTo>
                <a:cubicBezTo>
                  <a:pt x="2002" y="2219"/>
                  <a:pt x="2221" y="1999"/>
                  <a:pt x="2350" y="1698"/>
                </a:cubicBezTo>
                <a:cubicBezTo>
                  <a:pt x="2415" y="1547"/>
                  <a:pt x="2448" y="1388"/>
                  <a:pt x="2448" y="1222"/>
                </a:cubicBezTo>
                <a:cubicBezTo>
                  <a:pt x="2448" y="1056"/>
                  <a:pt x="2415" y="898"/>
                  <a:pt x="2350" y="747"/>
                </a:cubicBezTo>
                <a:close/>
                <a:moveTo>
                  <a:pt x="816" y="227"/>
                </a:moveTo>
                <a:cubicBezTo>
                  <a:pt x="711" y="361"/>
                  <a:pt x="633" y="531"/>
                  <a:pt x="584" y="737"/>
                </a:cubicBezTo>
                <a:cubicBezTo>
                  <a:pt x="264" y="737"/>
                  <a:pt x="264" y="737"/>
                  <a:pt x="264" y="737"/>
                </a:cubicBezTo>
                <a:cubicBezTo>
                  <a:pt x="381" y="508"/>
                  <a:pt x="580" y="325"/>
                  <a:pt x="816" y="227"/>
                </a:cubicBezTo>
                <a:close/>
                <a:moveTo>
                  <a:pt x="149" y="1222"/>
                </a:moveTo>
                <a:cubicBezTo>
                  <a:pt x="149" y="1105"/>
                  <a:pt x="167" y="993"/>
                  <a:pt x="203" y="884"/>
                </a:cubicBezTo>
                <a:cubicBezTo>
                  <a:pt x="554" y="884"/>
                  <a:pt x="554" y="884"/>
                  <a:pt x="554" y="884"/>
                </a:cubicBezTo>
                <a:cubicBezTo>
                  <a:pt x="537" y="998"/>
                  <a:pt x="529" y="1111"/>
                  <a:pt x="529" y="1222"/>
                </a:cubicBezTo>
                <a:cubicBezTo>
                  <a:pt x="529" y="1331"/>
                  <a:pt x="537" y="1443"/>
                  <a:pt x="554" y="1556"/>
                </a:cubicBezTo>
                <a:cubicBezTo>
                  <a:pt x="201" y="1556"/>
                  <a:pt x="201" y="1556"/>
                  <a:pt x="201" y="1556"/>
                </a:cubicBezTo>
                <a:cubicBezTo>
                  <a:pt x="166" y="1448"/>
                  <a:pt x="149" y="1335"/>
                  <a:pt x="149" y="1222"/>
                </a:cubicBezTo>
                <a:close/>
                <a:moveTo>
                  <a:pt x="264" y="1704"/>
                </a:moveTo>
                <a:cubicBezTo>
                  <a:pt x="584" y="1704"/>
                  <a:pt x="584" y="1704"/>
                  <a:pt x="584" y="1704"/>
                </a:cubicBezTo>
                <a:cubicBezTo>
                  <a:pt x="633" y="1914"/>
                  <a:pt x="711" y="2086"/>
                  <a:pt x="816" y="2219"/>
                </a:cubicBezTo>
                <a:cubicBezTo>
                  <a:pt x="576" y="2118"/>
                  <a:pt x="377" y="1935"/>
                  <a:pt x="264" y="1704"/>
                </a:cubicBezTo>
                <a:close/>
                <a:moveTo>
                  <a:pt x="1148" y="2286"/>
                </a:moveTo>
                <a:cubicBezTo>
                  <a:pt x="1061" y="2260"/>
                  <a:pt x="980" y="2196"/>
                  <a:pt x="906" y="2092"/>
                </a:cubicBezTo>
                <a:cubicBezTo>
                  <a:pt x="833" y="1987"/>
                  <a:pt x="776" y="1857"/>
                  <a:pt x="737" y="1704"/>
                </a:cubicBezTo>
                <a:cubicBezTo>
                  <a:pt x="1148" y="1704"/>
                  <a:pt x="1148" y="1704"/>
                  <a:pt x="1148" y="1704"/>
                </a:cubicBezTo>
                <a:lnTo>
                  <a:pt x="1148" y="2286"/>
                </a:lnTo>
                <a:close/>
                <a:moveTo>
                  <a:pt x="1148" y="1556"/>
                </a:moveTo>
                <a:cubicBezTo>
                  <a:pt x="704" y="1556"/>
                  <a:pt x="704" y="1556"/>
                  <a:pt x="704" y="1556"/>
                </a:cubicBezTo>
                <a:cubicBezTo>
                  <a:pt x="687" y="1437"/>
                  <a:pt x="677" y="1326"/>
                  <a:pt x="677" y="1222"/>
                </a:cubicBezTo>
                <a:cubicBezTo>
                  <a:pt x="677" y="1109"/>
                  <a:pt x="687" y="997"/>
                  <a:pt x="707" y="884"/>
                </a:cubicBezTo>
                <a:cubicBezTo>
                  <a:pt x="1148" y="884"/>
                  <a:pt x="1148" y="884"/>
                  <a:pt x="1148" y="884"/>
                </a:cubicBezTo>
                <a:cubicBezTo>
                  <a:pt x="1148" y="1556"/>
                  <a:pt x="1148" y="1556"/>
                  <a:pt x="1148" y="1556"/>
                </a:cubicBezTo>
                <a:close/>
                <a:moveTo>
                  <a:pt x="1148" y="737"/>
                </a:moveTo>
                <a:cubicBezTo>
                  <a:pt x="737" y="737"/>
                  <a:pt x="737" y="737"/>
                  <a:pt x="737" y="737"/>
                </a:cubicBezTo>
                <a:cubicBezTo>
                  <a:pt x="779" y="585"/>
                  <a:pt x="836" y="456"/>
                  <a:pt x="909" y="353"/>
                </a:cubicBezTo>
                <a:cubicBezTo>
                  <a:pt x="983" y="249"/>
                  <a:pt x="1061" y="184"/>
                  <a:pt x="1148" y="160"/>
                </a:cubicBezTo>
                <a:cubicBezTo>
                  <a:pt x="1148" y="737"/>
                  <a:pt x="1148" y="737"/>
                  <a:pt x="1148" y="737"/>
                </a:cubicBezTo>
                <a:close/>
                <a:moveTo>
                  <a:pt x="2184" y="737"/>
                </a:moveTo>
                <a:cubicBezTo>
                  <a:pt x="1864" y="737"/>
                  <a:pt x="1864" y="737"/>
                  <a:pt x="1864" y="737"/>
                </a:cubicBezTo>
                <a:cubicBezTo>
                  <a:pt x="1815" y="531"/>
                  <a:pt x="1737" y="361"/>
                  <a:pt x="1632" y="227"/>
                </a:cubicBezTo>
                <a:cubicBezTo>
                  <a:pt x="1868" y="325"/>
                  <a:pt x="2067" y="508"/>
                  <a:pt x="2184" y="737"/>
                </a:cubicBezTo>
                <a:close/>
                <a:moveTo>
                  <a:pt x="1300" y="160"/>
                </a:moveTo>
                <a:cubicBezTo>
                  <a:pt x="1387" y="184"/>
                  <a:pt x="1465" y="249"/>
                  <a:pt x="1539" y="353"/>
                </a:cubicBezTo>
                <a:cubicBezTo>
                  <a:pt x="1613" y="456"/>
                  <a:pt x="1669" y="585"/>
                  <a:pt x="1711" y="737"/>
                </a:cubicBezTo>
                <a:cubicBezTo>
                  <a:pt x="1300" y="737"/>
                  <a:pt x="1300" y="737"/>
                  <a:pt x="1300" y="737"/>
                </a:cubicBezTo>
                <a:lnTo>
                  <a:pt x="1300" y="160"/>
                </a:lnTo>
                <a:close/>
                <a:moveTo>
                  <a:pt x="1300" y="884"/>
                </a:moveTo>
                <a:cubicBezTo>
                  <a:pt x="1741" y="884"/>
                  <a:pt x="1741" y="884"/>
                  <a:pt x="1741" y="884"/>
                </a:cubicBezTo>
                <a:cubicBezTo>
                  <a:pt x="1761" y="997"/>
                  <a:pt x="1771" y="1109"/>
                  <a:pt x="1771" y="1222"/>
                </a:cubicBezTo>
                <a:cubicBezTo>
                  <a:pt x="1771" y="1326"/>
                  <a:pt x="1761" y="1437"/>
                  <a:pt x="1744" y="1556"/>
                </a:cubicBezTo>
                <a:cubicBezTo>
                  <a:pt x="1300" y="1556"/>
                  <a:pt x="1300" y="1556"/>
                  <a:pt x="1300" y="1556"/>
                </a:cubicBezTo>
                <a:lnTo>
                  <a:pt x="1300" y="884"/>
                </a:lnTo>
                <a:close/>
                <a:moveTo>
                  <a:pt x="1300" y="2286"/>
                </a:moveTo>
                <a:cubicBezTo>
                  <a:pt x="1300" y="1704"/>
                  <a:pt x="1300" y="1704"/>
                  <a:pt x="1300" y="1704"/>
                </a:cubicBezTo>
                <a:cubicBezTo>
                  <a:pt x="1711" y="1704"/>
                  <a:pt x="1711" y="1704"/>
                  <a:pt x="1711" y="1704"/>
                </a:cubicBezTo>
                <a:cubicBezTo>
                  <a:pt x="1670" y="1857"/>
                  <a:pt x="1613" y="1987"/>
                  <a:pt x="1541" y="2092"/>
                </a:cubicBezTo>
                <a:cubicBezTo>
                  <a:pt x="1467" y="2197"/>
                  <a:pt x="1388" y="2262"/>
                  <a:pt x="1300" y="2286"/>
                </a:cubicBezTo>
                <a:close/>
                <a:moveTo>
                  <a:pt x="1632" y="2219"/>
                </a:moveTo>
                <a:cubicBezTo>
                  <a:pt x="1737" y="2086"/>
                  <a:pt x="1815" y="1914"/>
                  <a:pt x="1864" y="1704"/>
                </a:cubicBezTo>
                <a:cubicBezTo>
                  <a:pt x="2184" y="1704"/>
                  <a:pt x="2184" y="1704"/>
                  <a:pt x="2184" y="1704"/>
                </a:cubicBezTo>
                <a:cubicBezTo>
                  <a:pt x="2071" y="1935"/>
                  <a:pt x="1872" y="2118"/>
                  <a:pt x="1632" y="2219"/>
                </a:cubicBezTo>
                <a:close/>
                <a:moveTo>
                  <a:pt x="2247" y="1556"/>
                </a:moveTo>
                <a:cubicBezTo>
                  <a:pt x="1894" y="1556"/>
                  <a:pt x="1894" y="1556"/>
                  <a:pt x="1894" y="1556"/>
                </a:cubicBezTo>
                <a:cubicBezTo>
                  <a:pt x="1911" y="1443"/>
                  <a:pt x="1919" y="1331"/>
                  <a:pt x="1919" y="1222"/>
                </a:cubicBezTo>
                <a:cubicBezTo>
                  <a:pt x="1919" y="1111"/>
                  <a:pt x="1911" y="998"/>
                  <a:pt x="1894" y="884"/>
                </a:cubicBezTo>
                <a:cubicBezTo>
                  <a:pt x="2245" y="884"/>
                  <a:pt x="2245" y="884"/>
                  <a:pt x="2245" y="884"/>
                </a:cubicBezTo>
                <a:cubicBezTo>
                  <a:pt x="2281" y="993"/>
                  <a:pt x="2299" y="1105"/>
                  <a:pt x="2299" y="1222"/>
                </a:cubicBezTo>
                <a:cubicBezTo>
                  <a:pt x="2299" y="1335"/>
                  <a:pt x="2282" y="1448"/>
                  <a:pt x="2247" y="155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32" name="ZenIcon4">
            <a:extLst>
              <a:ext uri="{FF2B5EF4-FFF2-40B4-BE49-F238E27FC236}">
                <a16:creationId xmlns:a16="http://schemas.microsoft.com/office/drawing/2014/main" id="{299ADF64-A448-8AEF-BCEB-088B841FC9BB}"/>
              </a:ext>
            </a:extLst>
          </p:cNvPr>
          <p:cNvGrpSpPr>
            <a:grpSpLocks noChangeAspect="1"/>
          </p:cNvGrpSpPr>
          <p:nvPr>
            <p:custDataLst>
              <p:tags r:id="rId5"/>
            </p:custDataLst>
          </p:nvPr>
        </p:nvGrpSpPr>
        <p:grpSpPr>
          <a:xfrm>
            <a:off x="5021700" y="3242032"/>
            <a:ext cx="327540" cy="327540"/>
            <a:chOff x="-4769427" y="-314325"/>
            <a:chExt cx="4660901" cy="4576762"/>
          </a:xfrm>
        </p:grpSpPr>
        <p:sp>
          <p:nvSpPr>
            <p:cNvPr id="41" name="Freeform 23">
              <a:extLst>
                <a:ext uri="{FF2B5EF4-FFF2-40B4-BE49-F238E27FC236}">
                  <a16:creationId xmlns:a16="http://schemas.microsoft.com/office/drawing/2014/main" id="{172ED4AE-2E38-6128-E7C9-93E9EDA6D3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509077" y="-314325"/>
              <a:ext cx="4138613" cy="3956050"/>
            </a:xfrm>
            <a:custGeom>
              <a:avLst/>
              <a:gdLst>
                <a:gd name="T0" fmla="*/ 2128 w 2188"/>
                <a:gd name="T1" fmla="*/ 946 h 2085"/>
                <a:gd name="T2" fmla="*/ 2169 w 2188"/>
                <a:gd name="T3" fmla="*/ 781 h 2085"/>
                <a:gd name="T4" fmla="*/ 2038 w 2188"/>
                <a:gd name="T5" fmla="*/ 671 h 2085"/>
                <a:gd name="T6" fmla="*/ 1503 w 2188"/>
                <a:gd name="T7" fmla="*/ 593 h 2085"/>
                <a:gd name="T8" fmla="*/ 1478 w 2188"/>
                <a:gd name="T9" fmla="*/ 576 h 2085"/>
                <a:gd name="T10" fmla="*/ 1239 w 2188"/>
                <a:gd name="T11" fmla="*/ 90 h 2085"/>
                <a:gd name="T12" fmla="*/ 1094 w 2188"/>
                <a:gd name="T13" fmla="*/ 0 h 2085"/>
                <a:gd name="T14" fmla="*/ 949 w 2188"/>
                <a:gd name="T15" fmla="*/ 90 h 2085"/>
                <a:gd name="T16" fmla="*/ 710 w 2188"/>
                <a:gd name="T17" fmla="*/ 576 h 2085"/>
                <a:gd name="T18" fmla="*/ 685 w 2188"/>
                <a:gd name="T19" fmla="*/ 593 h 2085"/>
                <a:gd name="T20" fmla="*/ 150 w 2188"/>
                <a:gd name="T21" fmla="*/ 671 h 2085"/>
                <a:gd name="T22" fmla="*/ 19 w 2188"/>
                <a:gd name="T23" fmla="*/ 781 h 2085"/>
                <a:gd name="T24" fmla="*/ 60 w 2188"/>
                <a:gd name="T25" fmla="*/ 946 h 2085"/>
                <a:gd name="T26" fmla="*/ 448 w 2188"/>
                <a:gd name="T27" fmla="*/ 1324 h 2085"/>
                <a:gd name="T28" fmla="*/ 457 w 2188"/>
                <a:gd name="T29" fmla="*/ 1353 h 2085"/>
                <a:gd name="T30" fmla="*/ 366 w 2188"/>
                <a:gd name="T31" fmla="*/ 1886 h 2085"/>
                <a:gd name="T32" fmla="*/ 430 w 2188"/>
                <a:gd name="T33" fmla="*/ 2044 h 2085"/>
                <a:gd name="T34" fmla="*/ 600 w 2188"/>
                <a:gd name="T35" fmla="*/ 2056 h 2085"/>
                <a:gd name="T36" fmla="*/ 1079 w 2188"/>
                <a:gd name="T37" fmla="*/ 1805 h 2085"/>
                <a:gd name="T38" fmla="*/ 1109 w 2188"/>
                <a:gd name="T39" fmla="*/ 1805 h 2085"/>
                <a:gd name="T40" fmla="*/ 1588 w 2188"/>
                <a:gd name="T41" fmla="*/ 2056 h 2085"/>
                <a:gd name="T42" fmla="*/ 1663 w 2188"/>
                <a:gd name="T43" fmla="*/ 2075 h 2085"/>
                <a:gd name="T44" fmla="*/ 1758 w 2188"/>
                <a:gd name="T45" fmla="*/ 2044 h 2085"/>
                <a:gd name="T46" fmla="*/ 1822 w 2188"/>
                <a:gd name="T47" fmla="*/ 1886 h 2085"/>
                <a:gd name="T48" fmla="*/ 1731 w 2188"/>
                <a:gd name="T49" fmla="*/ 1353 h 2085"/>
                <a:gd name="T50" fmla="*/ 1740 w 2188"/>
                <a:gd name="T51" fmla="*/ 1324 h 2085"/>
                <a:gd name="T52" fmla="*/ 2128 w 2188"/>
                <a:gd name="T53" fmla="*/ 946 h 2085"/>
                <a:gd name="T54" fmla="*/ 1604 w 2188"/>
                <a:gd name="T55" fmla="*/ 1375 h 2085"/>
                <a:gd name="T56" fmla="*/ 1695 w 2188"/>
                <a:gd name="T57" fmla="*/ 1908 h 2085"/>
                <a:gd name="T58" fmla="*/ 1682 w 2188"/>
                <a:gd name="T59" fmla="*/ 1940 h 2085"/>
                <a:gd name="T60" fmla="*/ 1648 w 2188"/>
                <a:gd name="T61" fmla="*/ 1942 h 2085"/>
                <a:gd name="T62" fmla="*/ 1169 w 2188"/>
                <a:gd name="T63" fmla="*/ 1690 h 2085"/>
                <a:gd name="T64" fmla="*/ 1094 w 2188"/>
                <a:gd name="T65" fmla="*/ 1672 h 2085"/>
                <a:gd name="T66" fmla="*/ 1019 w 2188"/>
                <a:gd name="T67" fmla="*/ 1690 h 2085"/>
                <a:gd name="T68" fmla="*/ 540 w 2188"/>
                <a:gd name="T69" fmla="*/ 1942 h 2085"/>
                <a:gd name="T70" fmla="*/ 506 w 2188"/>
                <a:gd name="T71" fmla="*/ 1940 h 2085"/>
                <a:gd name="T72" fmla="*/ 493 w 2188"/>
                <a:gd name="T73" fmla="*/ 1908 h 2085"/>
                <a:gd name="T74" fmla="*/ 584 w 2188"/>
                <a:gd name="T75" fmla="*/ 1375 h 2085"/>
                <a:gd name="T76" fmla="*/ 538 w 2188"/>
                <a:gd name="T77" fmla="*/ 1232 h 2085"/>
                <a:gd name="T78" fmla="*/ 150 w 2188"/>
                <a:gd name="T79" fmla="*/ 854 h 2085"/>
                <a:gd name="T80" fmla="*/ 142 w 2188"/>
                <a:gd name="T81" fmla="*/ 821 h 2085"/>
                <a:gd name="T82" fmla="*/ 168 w 2188"/>
                <a:gd name="T83" fmla="*/ 799 h 2085"/>
                <a:gd name="T84" fmla="*/ 704 w 2188"/>
                <a:gd name="T85" fmla="*/ 721 h 2085"/>
                <a:gd name="T86" fmla="*/ 826 w 2188"/>
                <a:gd name="T87" fmla="*/ 633 h 2085"/>
                <a:gd name="T88" fmla="*/ 1065 w 2188"/>
                <a:gd name="T89" fmla="*/ 147 h 2085"/>
                <a:gd name="T90" fmla="*/ 1094 w 2188"/>
                <a:gd name="T91" fmla="*/ 129 h 2085"/>
                <a:gd name="T92" fmla="*/ 1123 w 2188"/>
                <a:gd name="T93" fmla="*/ 147 h 2085"/>
                <a:gd name="T94" fmla="*/ 1123 w 2188"/>
                <a:gd name="T95" fmla="*/ 147 h 2085"/>
                <a:gd name="T96" fmla="*/ 1363 w 2188"/>
                <a:gd name="T97" fmla="*/ 633 h 2085"/>
                <a:gd name="T98" fmla="*/ 1484 w 2188"/>
                <a:gd name="T99" fmla="*/ 721 h 2085"/>
                <a:gd name="T100" fmla="*/ 2020 w 2188"/>
                <a:gd name="T101" fmla="*/ 799 h 2085"/>
                <a:gd name="T102" fmla="*/ 2046 w 2188"/>
                <a:gd name="T103" fmla="*/ 821 h 2085"/>
                <a:gd name="T104" fmla="*/ 2038 w 2188"/>
                <a:gd name="T105" fmla="*/ 854 h 2085"/>
                <a:gd name="T106" fmla="*/ 1650 w 2188"/>
                <a:gd name="T107" fmla="*/ 1232 h 2085"/>
                <a:gd name="T108" fmla="*/ 1604 w 2188"/>
                <a:gd name="T109" fmla="*/ 1375 h 20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188" h="2085">
                  <a:moveTo>
                    <a:pt x="2128" y="946"/>
                  </a:moveTo>
                  <a:cubicBezTo>
                    <a:pt x="2172" y="903"/>
                    <a:pt x="2188" y="840"/>
                    <a:pt x="2169" y="781"/>
                  </a:cubicBezTo>
                  <a:cubicBezTo>
                    <a:pt x="2149" y="722"/>
                    <a:pt x="2100" y="680"/>
                    <a:pt x="2038" y="671"/>
                  </a:cubicBezTo>
                  <a:cubicBezTo>
                    <a:pt x="1503" y="593"/>
                    <a:pt x="1503" y="593"/>
                    <a:pt x="1503" y="593"/>
                  </a:cubicBezTo>
                  <a:cubicBezTo>
                    <a:pt x="1492" y="592"/>
                    <a:pt x="1483" y="585"/>
                    <a:pt x="1478" y="576"/>
                  </a:cubicBezTo>
                  <a:cubicBezTo>
                    <a:pt x="1239" y="90"/>
                    <a:pt x="1239" y="90"/>
                    <a:pt x="1239" y="90"/>
                  </a:cubicBezTo>
                  <a:cubicBezTo>
                    <a:pt x="1211" y="35"/>
                    <a:pt x="1156" y="0"/>
                    <a:pt x="1094" y="0"/>
                  </a:cubicBezTo>
                  <a:cubicBezTo>
                    <a:pt x="1032" y="0"/>
                    <a:pt x="977" y="35"/>
                    <a:pt x="949" y="90"/>
                  </a:cubicBezTo>
                  <a:cubicBezTo>
                    <a:pt x="710" y="576"/>
                    <a:pt x="710" y="576"/>
                    <a:pt x="710" y="576"/>
                  </a:cubicBezTo>
                  <a:cubicBezTo>
                    <a:pt x="705" y="585"/>
                    <a:pt x="696" y="592"/>
                    <a:pt x="685" y="593"/>
                  </a:cubicBezTo>
                  <a:cubicBezTo>
                    <a:pt x="150" y="671"/>
                    <a:pt x="150" y="671"/>
                    <a:pt x="150" y="671"/>
                  </a:cubicBezTo>
                  <a:cubicBezTo>
                    <a:pt x="88" y="680"/>
                    <a:pt x="39" y="722"/>
                    <a:pt x="19" y="781"/>
                  </a:cubicBezTo>
                  <a:cubicBezTo>
                    <a:pt x="0" y="840"/>
                    <a:pt x="16" y="903"/>
                    <a:pt x="60" y="946"/>
                  </a:cubicBezTo>
                  <a:cubicBezTo>
                    <a:pt x="448" y="1324"/>
                    <a:pt x="448" y="1324"/>
                    <a:pt x="448" y="1324"/>
                  </a:cubicBezTo>
                  <a:cubicBezTo>
                    <a:pt x="455" y="1332"/>
                    <a:pt x="459" y="1342"/>
                    <a:pt x="457" y="1353"/>
                  </a:cubicBezTo>
                  <a:cubicBezTo>
                    <a:pt x="366" y="1886"/>
                    <a:pt x="366" y="1886"/>
                    <a:pt x="366" y="1886"/>
                  </a:cubicBezTo>
                  <a:cubicBezTo>
                    <a:pt x="355" y="1947"/>
                    <a:pt x="380" y="2008"/>
                    <a:pt x="430" y="2044"/>
                  </a:cubicBezTo>
                  <a:cubicBezTo>
                    <a:pt x="480" y="2081"/>
                    <a:pt x="545" y="2085"/>
                    <a:pt x="600" y="2056"/>
                  </a:cubicBezTo>
                  <a:cubicBezTo>
                    <a:pt x="1079" y="1805"/>
                    <a:pt x="1079" y="1805"/>
                    <a:pt x="1079" y="1805"/>
                  </a:cubicBezTo>
                  <a:cubicBezTo>
                    <a:pt x="1088" y="1800"/>
                    <a:pt x="1100" y="1800"/>
                    <a:pt x="1109" y="1805"/>
                  </a:cubicBezTo>
                  <a:cubicBezTo>
                    <a:pt x="1588" y="2056"/>
                    <a:pt x="1588" y="2056"/>
                    <a:pt x="1588" y="2056"/>
                  </a:cubicBezTo>
                  <a:cubicBezTo>
                    <a:pt x="1612" y="2069"/>
                    <a:pt x="1638" y="2075"/>
                    <a:pt x="1663" y="2075"/>
                  </a:cubicBezTo>
                  <a:cubicBezTo>
                    <a:pt x="1697" y="2075"/>
                    <a:pt x="1730" y="2065"/>
                    <a:pt x="1758" y="2044"/>
                  </a:cubicBezTo>
                  <a:cubicBezTo>
                    <a:pt x="1808" y="2008"/>
                    <a:pt x="1833" y="1947"/>
                    <a:pt x="1822" y="1886"/>
                  </a:cubicBezTo>
                  <a:cubicBezTo>
                    <a:pt x="1731" y="1353"/>
                    <a:pt x="1731" y="1353"/>
                    <a:pt x="1731" y="1353"/>
                  </a:cubicBezTo>
                  <a:cubicBezTo>
                    <a:pt x="1729" y="1342"/>
                    <a:pt x="1733" y="1332"/>
                    <a:pt x="1740" y="1324"/>
                  </a:cubicBezTo>
                  <a:lnTo>
                    <a:pt x="2128" y="946"/>
                  </a:lnTo>
                  <a:close/>
                  <a:moveTo>
                    <a:pt x="1604" y="1375"/>
                  </a:moveTo>
                  <a:cubicBezTo>
                    <a:pt x="1695" y="1908"/>
                    <a:pt x="1695" y="1908"/>
                    <a:pt x="1695" y="1908"/>
                  </a:cubicBezTo>
                  <a:cubicBezTo>
                    <a:pt x="1698" y="1926"/>
                    <a:pt x="1687" y="1936"/>
                    <a:pt x="1682" y="1940"/>
                  </a:cubicBezTo>
                  <a:cubicBezTo>
                    <a:pt x="1677" y="1943"/>
                    <a:pt x="1664" y="1951"/>
                    <a:pt x="1648" y="1942"/>
                  </a:cubicBezTo>
                  <a:cubicBezTo>
                    <a:pt x="1169" y="1690"/>
                    <a:pt x="1169" y="1690"/>
                    <a:pt x="1169" y="1690"/>
                  </a:cubicBezTo>
                  <a:cubicBezTo>
                    <a:pt x="1146" y="1678"/>
                    <a:pt x="1120" y="1672"/>
                    <a:pt x="1094" y="1672"/>
                  </a:cubicBezTo>
                  <a:cubicBezTo>
                    <a:pt x="1068" y="1672"/>
                    <a:pt x="1042" y="1678"/>
                    <a:pt x="1019" y="1690"/>
                  </a:cubicBezTo>
                  <a:cubicBezTo>
                    <a:pt x="540" y="1942"/>
                    <a:pt x="540" y="1942"/>
                    <a:pt x="540" y="1942"/>
                  </a:cubicBezTo>
                  <a:cubicBezTo>
                    <a:pt x="524" y="1951"/>
                    <a:pt x="511" y="1943"/>
                    <a:pt x="506" y="1940"/>
                  </a:cubicBezTo>
                  <a:cubicBezTo>
                    <a:pt x="501" y="1936"/>
                    <a:pt x="490" y="1926"/>
                    <a:pt x="493" y="1908"/>
                  </a:cubicBezTo>
                  <a:cubicBezTo>
                    <a:pt x="584" y="1375"/>
                    <a:pt x="584" y="1375"/>
                    <a:pt x="584" y="1375"/>
                  </a:cubicBezTo>
                  <a:cubicBezTo>
                    <a:pt x="593" y="1322"/>
                    <a:pt x="576" y="1269"/>
                    <a:pt x="538" y="1232"/>
                  </a:cubicBezTo>
                  <a:cubicBezTo>
                    <a:pt x="150" y="854"/>
                    <a:pt x="150" y="854"/>
                    <a:pt x="150" y="854"/>
                  </a:cubicBezTo>
                  <a:cubicBezTo>
                    <a:pt x="137" y="841"/>
                    <a:pt x="140" y="827"/>
                    <a:pt x="142" y="821"/>
                  </a:cubicBezTo>
                  <a:cubicBezTo>
                    <a:pt x="144" y="815"/>
                    <a:pt x="150" y="801"/>
                    <a:pt x="168" y="799"/>
                  </a:cubicBezTo>
                  <a:cubicBezTo>
                    <a:pt x="704" y="721"/>
                    <a:pt x="704" y="721"/>
                    <a:pt x="704" y="721"/>
                  </a:cubicBezTo>
                  <a:cubicBezTo>
                    <a:pt x="757" y="713"/>
                    <a:pt x="802" y="680"/>
                    <a:pt x="826" y="633"/>
                  </a:cubicBezTo>
                  <a:cubicBezTo>
                    <a:pt x="1065" y="147"/>
                    <a:pt x="1065" y="147"/>
                    <a:pt x="1065" y="147"/>
                  </a:cubicBezTo>
                  <a:cubicBezTo>
                    <a:pt x="1073" y="131"/>
                    <a:pt x="1088" y="129"/>
                    <a:pt x="1094" y="129"/>
                  </a:cubicBezTo>
                  <a:cubicBezTo>
                    <a:pt x="1100" y="129"/>
                    <a:pt x="1115" y="131"/>
                    <a:pt x="1123" y="147"/>
                  </a:cubicBezTo>
                  <a:cubicBezTo>
                    <a:pt x="1123" y="147"/>
                    <a:pt x="1123" y="147"/>
                    <a:pt x="1123" y="147"/>
                  </a:cubicBezTo>
                  <a:cubicBezTo>
                    <a:pt x="1363" y="633"/>
                    <a:pt x="1363" y="633"/>
                    <a:pt x="1363" y="633"/>
                  </a:cubicBezTo>
                  <a:cubicBezTo>
                    <a:pt x="1386" y="680"/>
                    <a:pt x="1431" y="713"/>
                    <a:pt x="1484" y="721"/>
                  </a:cubicBezTo>
                  <a:cubicBezTo>
                    <a:pt x="2020" y="799"/>
                    <a:pt x="2020" y="799"/>
                    <a:pt x="2020" y="799"/>
                  </a:cubicBezTo>
                  <a:cubicBezTo>
                    <a:pt x="2038" y="801"/>
                    <a:pt x="2044" y="815"/>
                    <a:pt x="2046" y="821"/>
                  </a:cubicBezTo>
                  <a:cubicBezTo>
                    <a:pt x="2048" y="827"/>
                    <a:pt x="2051" y="841"/>
                    <a:pt x="2038" y="854"/>
                  </a:cubicBezTo>
                  <a:cubicBezTo>
                    <a:pt x="1650" y="1232"/>
                    <a:pt x="1650" y="1232"/>
                    <a:pt x="1650" y="1232"/>
                  </a:cubicBezTo>
                  <a:cubicBezTo>
                    <a:pt x="1612" y="1269"/>
                    <a:pt x="1595" y="1322"/>
                    <a:pt x="1604" y="137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24">
              <a:extLst>
                <a:ext uri="{FF2B5EF4-FFF2-40B4-BE49-F238E27FC236}">
                  <a16:creationId xmlns:a16="http://schemas.microsoft.com/office/drawing/2014/main" id="{5869CA16-3D53-091E-2BE2-BEA31B07D60F}"/>
                </a:ext>
              </a:extLst>
            </p:cNvPr>
            <p:cNvSpPr>
              <a:spLocks/>
            </p:cNvSpPr>
            <p:nvPr/>
          </p:nvSpPr>
          <p:spPr bwMode="auto">
            <a:xfrm>
              <a:off x="-1351539" y="-182563"/>
              <a:ext cx="406400" cy="439738"/>
            </a:xfrm>
            <a:custGeom>
              <a:avLst/>
              <a:gdLst>
                <a:gd name="T0" fmla="*/ 179 w 215"/>
                <a:gd name="T1" fmla="*/ 21 h 232"/>
                <a:gd name="T2" fmla="*/ 89 w 215"/>
                <a:gd name="T3" fmla="*/ 35 h 232"/>
                <a:gd name="T4" fmla="*/ 21 w 215"/>
                <a:gd name="T5" fmla="*/ 130 h 232"/>
                <a:gd name="T6" fmla="*/ 35 w 215"/>
                <a:gd name="T7" fmla="*/ 220 h 232"/>
                <a:gd name="T8" fmla="*/ 73 w 215"/>
                <a:gd name="T9" fmla="*/ 232 h 232"/>
                <a:gd name="T10" fmla="*/ 125 w 215"/>
                <a:gd name="T11" fmla="*/ 206 h 232"/>
                <a:gd name="T12" fmla="*/ 194 w 215"/>
                <a:gd name="T13" fmla="*/ 111 h 232"/>
                <a:gd name="T14" fmla="*/ 179 w 215"/>
                <a:gd name="T15" fmla="*/ 21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5" h="232">
                  <a:moveTo>
                    <a:pt x="179" y="21"/>
                  </a:moveTo>
                  <a:cubicBezTo>
                    <a:pt x="151" y="0"/>
                    <a:pt x="110" y="7"/>
                    <a:pt x="89" y="35"/>
                  </a:cubicBezTo>
                  <a:cubicBezTo>
                    <a:pt x="21" y="130"/>
                    <a:pt x="21" y="130"/>
                    <a:pt x="21" y="130"/>
                  </a:cubicBezTo>
                  <a:cubicBezTo>
                    <a:pt x="0" y="159"/>
                    <a:pt x="6" y="199"/>
                    <a:pt x="35" y="220"/>
                  </a:cubicBezTo>
                  <a:cubicBezTo>
                    <a:pt x="46" y="228"/>
                    <a:pt x="60" y="232"/>
                    <a:pt x="73" y="232"/>
                  </a:cubicBezTo>
                  <a:cubicBezTo>
                    <a:pt x="93" y="232"/>
                    <a:pt x="113" y="223"/>
                    <a:pt x="125" y="206"/>
                  </a:cubicBezTo>
                  <a:cubicBezTo>
                    <a:pt x="194" y="111"/>
                    <a:pt x="194" y="111"/>
                    <a:pt x="194" y="111"/>
                  </a:cubicBezTo>
                  <a:cubicBezTo>
                    <a:pt x="215" y="83"/>
                    <a:pt x="208" y="42"/>
                    <a:pt x="179" y="2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25">
              <a:extLst>
                <a:ext uri="{FF2B5EF4-FFF2-40B4-BE49-F238E27FC236}">
                  <a16:creationId xmlns:a16="http://schemas.microsoft.com/office/drawing/2014/main" id="{6B113DF9-C9D5-C391-11FD-9B3850ED1D61}"/>
                </a:ext>
              </a:extLst>
            </p:cNvPr>
            <p:cNvSpPr>
              <a:spLocks/>
            </p:cNvSpPr>
            <p:nvPr/>
          </p:nvSpPr>
          <p:spPr bwMode="auto">
            <a:xfrm>
              <a:off x="-3934402" y="-182563"/>
              <a:ext cx="407988" cy="439738"/>
            </a:xfrm>
            <a:custGeom>
              <a:avLst/>
              <a:gdLst>
                <a:gd name="T0" fmla="*/ 194 w 215"/>
                <a:gd name="T1" fmla="*/ 129 h 232"/>
                <a:gd name="T2" fmla="*/ 126 w 215"/>
                <a:gd name="T3" fmla="*/ 35 h 232"/>
                <a:gd name="T4" fmla="*/ 35 w 215"/>
                <a:gd name="T5" fmla="*/ 21 h 232"/>
                <a:gd name="T6" fmla="*/ 21 w 215"/>
                <a:gd name="T7" fmla="*/ 111 h 232"/>
                <a:gd name="T8" fmla="*/ 90 w 215"/>
                <a:gd name="T9" fmla="*/ 205 h 232"/>
                <a:gd name="T10" fmla="*/ 142 w 215"/>
                <a:gd name="T11" fmla="*/ 232 h 232"/>
                <a:gd name="T12" fmla="*/ 180 w 215"/>
                <a:gd name="T13" fmla="*/ 220 h 232"/>
                <a:gd name="T14" fmla="*/ 194 w 215"/>
                <a:gd name="T15" fmla="*/ 129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5" h="232">
                  <a:moveTo>
                    <a:pt x="194" y="129"/>
                  </a:moveTo>
                  <a:cubicBezTo>
                    <a:pt x="126" y="35"/>
                    <a:pt x="126" y="35"/>
                    <a:pt x="126" y="35"/>
                  </a:cubicBezTo>
                  <a:cubicBezTo>
                    <a:pt x="105" y="6"/>
                    <a:pt x="64" y="0"/>
                    <a:pt x="35" y="21"/>
                  </a:cubicBezTo>
                  <a:cubicBezTo>
                    <a:pt x="6" y="42"/>
                    <a:pt x="0" y="82"/>
                    <a:pt x="21" y="111"/>
                  </a:cubicBezTo>
                  <a:cubicBezTo>
                    <a:pt x="90" y="205"/>
                    <a:pt x="90" y="205"/>
                    <a:pt x="90" y="205"/>
                  </a:cubicBezTo>
                  <a:cubicBezTo>
                    <a:pt x="102" y="223"/>
                    <a:pt x="122" y="232"/>
                    <a:pt x="142" y="232"/>
                  </a:cubicBezTo>
                  <a:cubicBezTo>
                    <a:pt x="155" y="232"/>
                    <a:pt x="168" y="228"/>
                    <a:pt x="180" y="220"/>
                  </a:cubicBezTo>
                  <a:cubicBezTo>
                    <a:pt x="209" y="199"/>
                    <a:pt x="215" y="158"/>
                    <a:pt x="194" y="12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26">
              <a:extLst>
                <a:ext uri="{FF2B5EF4-FFF2-40B4-BE49-F238E27FC236}">
                  <a16:creationId xmlns:a16="http://schemas.microsoft.com/office/drawing/2014/main" id="{E08EC2E5-7EFF-BE07-D0A2-78ABCA62C09E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69427" y="2336800"/>
              <a:ext cx="484188" cy="328613"/>
            </a:xfrm>
            <a:custGeom>
              <a:avLst/>
              <a:gdLst>
                <a:gd name="T0" fmla="*/ 245 w 256"/>
                <a:gd name="T1" fmla="*/ 52 h 173"/>
                <a:gd name="T2" fmla="*/ 164 w 256"/>
                <a:gd name="T3" fmla="*/ 11 h 173"/>
                <a:gd name="T4" fmla="*/ 53 w 256"/>
                <a:gd name="T5" fmla="*/ 47 h 173"/>
                <a:gd name="T6" fmla="*/ 11 w 256"/>
                <a:gd name="T7" fmla="*/ 128 h 173"/>
                <a:gd name="T8" fmla="*/ 73 w 256"/>
                <a:gd name="T9" fmla="*/ 173 h 173"/>
                <a:gd name="T10" fmla="*/ 93 w 256"/>
                <a:gd name="T11" fmla="*/ 169 h 173"/>
                <a:gd name="T12" fmla="*/ 203 w 256"/>
                <a:gd name="T13" fmla="*/ 133 h 173"/>
                <a:gd name="T14" fmla="*/ 245 w 256"/>
                <a:gd name="T15" fmla="*/ 52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6" h="173">
                  <a:moveTo>
                    <a:pt x="245" y="52"/>
                  </a:moveTo>
                  <a:cubicBezTo>
                    <a:pt x="234" y="18"/>
                    <a:pt x="197" y="0"/>
                    <a:pt x="164" y="11"/>
                  </a:cubicBezTo>
                  <a:cubicBezTo>
                    <a:pt x="53" y="47"/>
                    <a:pt x="53" y="47"/>
                    <a:pt x="53" y="47"/>
                  </a:cubicBezTo>
                  <a:cubicBezTo>
                    <a:pt x="19" y="58"/>
                    <a:pt x="0" y="94"/>
                    <a:pt x="11" y="128"/>
                  </a:cubicBezTo>
                  <a:cubicBezTo>
                    <a:pt x="20" y="155"/>
                    <a:pt x="45" y="173"/>
                    <a:pt x="73" y="173"/>
                  </a:cubicBezTo>
                  <a:cubicBezTo>
                    <a:pt x="79" y="173"/>
                    <a:pt x="86" y="172"/>
                    <a:pt x="93" y="169"/>
                  </a:cubicBezTo>
                  <a:cubicBezTo>
                    <a:pt x="203" y="133"/>
                    <a:pt x="203" y="133"/>
                    <a:pt x="203" y="133"/>
                  </a:cubicBezTo>
                  <a:cubicBezTo>
                    <a:pt x="237" y="122"/>
                    <a:pt x="256" y="86"/>
                    <a:pt x="245" y="5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27">
              <a:extLst>
                <a:ext uri="{FF2B5EF4-FFF2-40B4-BE49-F238E27FC236}">
                  <a16:creationId xmlns:a16="http://schemas.microsoft.com/office/drawing/2014/main" id="{13278037-C40D-DFD5-D76D-CFD353809380}"/>
                </a:ext>
              </a:extLst>
            </p:cNvPr>
            <p:cNvSpPr>
              <a:spLocks/>
            </p:cNvSpPr>
            <p:nvPr/>
          </p:nvSpPr>
          <p:spPr bwMode="auto">
            <a:xfrm>
              <a:off x="-2562802" y="3795712"/>
              <a:ext cx="246063" cy="466725"/>
            </a:xfrm>
            <a:custGeom>
              <a:avLst/>
              <a:gdLst>
                <a:gd name="T0" fmla="*/ 65 w 130"/>
                <a:gd name="T1" fmla="*/ 0 h 246"/>
                <a:gd name="T2" fmla="*/ 0 w 130"/>
                <a:gd name="T3" fmla="*/ 65 h 246"/>
                <a:gd name="T4" fmla="*/ 0 w 130"/>
                <a:gd name="T5" fmla="*/ 181 h 246"/>
                <a:gd name="T6" fmla="*/ 65 w 130"/>
                <a:gd name="T7" fmla="*/ 246 h 246"/>
                <a:gd name="T8" fmla="*/ 130 w 130"/>
                <a:gd name="T9" fmla="*/ 181 h 246"/>
                <a:gd name="T10" fmla="*/ 130 w 130"/>
                <a:gd name="T11" fmla="*/ 65 h 246"/>
                <a:gd name="T12" fmla="*/ 65 w 130"/>
                <a:gd name="T13" fmla="*/ 0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" h="246">
                  <a:moveTo>
                    <a:pt x="65" y="0"/>
                  </a:moveTo>
                  <a:cubicBezTo>
                    <a:pt x="29" y="0"/>
                    <a:pt x="0" y="29"/>
                    <a:pt x="0" y="65"/>
                  </a:cubicBezTo>
                  <a:cubicBezTo>
                    <a:pt x="0" y="181"/>
                    <a:pt x="0" y="181"/>
                    <a:pt x="0" y="181"/>
                  </a:cubicBezTo>
                  <a:cubicBezTo>
                    <a:pt x="0" y="217"/>
                    <a:pt x="29" y="246"/>
                    <a:pt x="65" y="246"/>
                  </a:cubicBezTo>
                  <a:cubicBezTo>
                    <a:pt x="101" y="246"/>
                    <a:pt x="130" y="217"/>
                    <a:pt x="130" y="181"/>
                  </a:cubicBezTo>
                  <a:cubicBezTo>
                    <a:pt x="130" y="65"/>
                    <a:pt x="130" y="65"/>
                    <a:pt x="130" y="65"/>
                  </a:cubicBezTo>
                  <a:cubicBezTo>
                    <a:pt x="130" y="29"/>
                    <a:pt x="101" y="0"/>
                    <a:pt x="6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28">
              <a:extLst>
                <a:ext uri="{FF2B5EF4-FFF2-40B4-BE49-F238E27FC236}">
                  <a16:creationId xmlns:a16="http://schemas.microsoft.com/office/drawing/2014/main" id="{20A43446-F82D-F71B-1F9D-A00EE014CF88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2714" y="2336800"/>
              <a:ext cx="484188" cy="328613"/>
            </a:xfrm>
            <a:custGeom>
              <a:avLst/>
              <a:gdLst>
                <a:gd name="T0" fmla="*/ 203 w 256"/>
                <a:gd name="T1" fmla="*/ 47 h 173"/>
                <a:gd name="T2" fmla="*/ 92 w 256"/>
                <a:gd name="T3" fmla="*/ 11 h 173"/>
                <a:gd name="T4" fmla="*/ 11 w 256"/>
                <a:gd name="T5" fmla="*/ 52 h 173"/>
                <a:gd name="T6" fmla="*/ 53 w 256"/>
                <a:gd name="T7" fmla="*/ 133 h 173"/>
                <a:gd name="T8" fmla="*/ 163 w 256"/>
                <a:gd name="T9" fmla="*/ 170 h 173"/>
                <a:gd name="T10" fmla="*/ 183 w 256"/>
                <a:gd name="T11" fmla="*/ 173 h 173"/>
                <a:gd name="T12" fmla="*/ 245 w 256"/>
                <a:gd name="T13" fmla="*/ 128 h 173"/>
                <a:gd name="T14" fmla="*/ 203 w 256"/>
                <a:gd name="T15" fmla="*/ 47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6" h="173">
                  <a:moveTo>
                    <a:pt x="203" y="47"/>
                  </a:moveTo>
                  <a:cubicBezTo>
                    <a:pt x="92" y="11"/>
                    <a:pt x="92" y="11"/>
                    <a:pt x="92" y="11"/>
                  </a:cubicBezTo>
                  <a:cubicBezTo>
                    <a:pt x="59" y="0"/>
                    <a:pt x="22" y="18"/>
                    <a:pt x="11" y="52"/>
                  </a:cubicBezTo>
                  <a:cubicBezTo>
                    <a:pt x="0" y="86"/>
                    <a:pt x="19" y="122"/>
                    <a:pt x="53" y="133"/>
                  </a:cubicBezTo>
                  <a:cubicBezTo>
                    <a:pt x="163" y="170"/>
                    <a:pt x="163" y="170"/>
                    <a:pt x="163" y="170"/>
                  </a:cubicBezTo>
                  <a:cubicBezTo>
                    <a:pt x="170" y="172"/>
                    <a:pt x="177" y="173"/>
                    <a:pt x="183" y="173"/>
                  </a:cubicBezTo>
                  <a:cubicBezTo>
                    <a:pt x="211" y="173"/>
                    <a:pt x="236" y="155"/>
                    <a:pt x="245" y="128"/>
                  </a:cubicBezTo>
                  <a:cubicBezTo>
                    <a:pt x="256" y="94"/>
                    <a:pt x="237" y="58"/>
                    <a:pt x="203" y="4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3" name="ZenIcon1">
            <a:extLst>
              <a:ext uri="{FF2B5EF4-FFF2-40B4-BE49-F238E27FC236}">
                <a16:creationId xmlns:a16="http://schemas.microsoft.com/office/drawing/2014/main" id="{2667C893-B587-87C0-9CFA-40AB5F87FAEA}"/>
              </a:ext>
            </a:extLst>
          </p:cNvPr>
          <p:cNvGrpSpPr>
            <a:grpSpLocks noChangeAspect="1"/>
          </p:cNvGrpSpPr>
          <p:nvPr>
            <p:custDataLst>
              <p:tags r:id="rId6"/>
            </p:custDataLst>
          </p:nvPr>
        </p:nvGrpSpPr>
        <p:grpSpPr>
          <a:xfrm>
            <a:off x="6774300" y="3242032"/>
            <a:ext cx="327540" cy="327540"/>
            <a:chOff x="5712408" y="975680"/>
            <a:chExt cx="671729" cy="639391"/>
          </a:xfrm>
        </p:grpSpPr>
        <p:sp>
          <p:nvSpPr>
            <p:cNvPr id="35" name="Freeform 26">
              <a:extLst>
                <a:ext uri="{FF2B5EF4-FFF2-40B4-BE49-F238E27FC236}">
                  <a16:creationId xmlns:a16="http://schemas.microsoft.com/office/drawing/2014/main" id="{14FD3CB0-2EE5-EC1A-6D09-41D89DC48F8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12408" y="975680"/>
              <a:ext cx="671729" cy="639391"/>
            </a:xfrm>
            <a:custGeom>
              <a:avLst/>
              <a:gdLst>
                <a:gd name="T0" fmla="*/ 117 w 128"/>
                <a:gd name="T1" fmla="*/ 0 h 122"/>
                <a:gd name="T2" fmla="*/ 11 w 128"/>
                <a:gd name="T3" fmla="*/ 0 h 122"/>
                <a:gd name="T4" fmla="*/ 0 w 128"/>
                <a:gd name="T5" fmla="*/ 11 h 122"/>
                <a:gd name="T6" fmla="*/ 0 w 128"/>
                <a:gd name="T7" fmla="*/ 93 h 122"/>
                <a:gd name="T8" fmla="*/ 11 w 128"/>
                <a:gd name="T9" fmla="*/ 104 h 122"/>
                <a:gd name="T10" fmla="*/ 43 w 128"/>
                <a:gd name="T11" fmla="*/ 104 h 122"/>
                <a:gd name="T12" fmla="*/ 38 w 128"/>
                <a:gd name="T13" fmla="*/ 110 h 122"/>
                <a:gd name="T14" fmla="*/ 35 w 128"/>
                <a:gd name="T15" fmla="*/ 113 h 122"/>
                <a:gd name="T16" fmla="*/ 34 w 128"/>
                <a:gd name="T17" fmla="*/ 118 h 122"/>
                <a:gd name="T18" fmla="*/ 42 w 128"/>
                <a:gd name="T19" fmla="*/ 122 h 122"/>
                <a:gd name="T20" fmla="*/ 86 w 128"/>
                <a:gd name="T21" fmla="*/ 122 h 122"/>
                <a:gd name="T22" fmla="*/ 94 w 128"/>
                <a:gd name="T23" fmla="*/ 118 h 122"/>
                <a:gd name="T24" fmla="*/ 94 w 128"/>
                <a:gd name="T25" fmla="*/ 113 h 122"/>
                <a:gd name="T26" fmla="*/ 91 w 128"/>
                <a:gd name="T27" fmla="*/ 110 h 122"/>
                <a:gd name="T28" fmla="*/ 85 w 128"/>
                <a:gd name="T29" fmla="*/ 104 h 122"/>
                <a:gd name="T30" fmla="*/ 117 w 128"/>
                <a:gd name="T31" fmla="*/ 104 h 122"/>
                <a:gd name="T32" fmla="*/ 128 w 128"/>
                <a:gd name="T33" fmla="*/ 93 h 122"/>
                <a:gd name="T34" fmla="*/ 128 w 128"/>
                <a:gd name="T35" fmla="*/ 11 h 122"/>
                <a:gd name="T36" fmla="*/ 117 w 128"/>
                <a:gd name="T37" fmla="*/ 0 h 122"/>
                <a:gd name="T38" fmla="*/ 88 w 128"/>
                <a:gd name="T39" fmla="*/ 113 h 122"/>
                <a:gd name="T40" fmla="*/ 90 w 128"/>
                <a:gd name="T41" fmla="*/ 116 h 122"/>
                <a:gd name="T42" fmla="*/ 90 w 128"/>
                <a:gd name="T43" fmla="*/ 116 h 122"/>
                <a:gd name="T44" fmla="*/ 86 w 128"/>
                <a:gd name="T45" fmla="*/ 118 h 122"/>
                <a:gd name="T46" fmla="*/ 42 w 128"/>
                <a:gd name="T47" fmla="*/ 118 h 122"/>
                <a:gd name="T48" fmla="*/ 38 w 128"/>
                <a:gd name="T49" fmla="*/ 116 h 122"/>
                <a:gd name="T50" fmla="*/ 38 w 128"/>
                <a:gd name="T51" fmla="*/ 116 h 122"/>
                <a:gd name="T52" fmla="*/ 38 w 128"/>
                <a:gd name="T53" fmla="*/ 116 h 122"/>
                <a:gd name="T54" fmla="*/ 40 w 128"/>
                <a:gd name="T55" fmla="*/ 113 h 122"/>
                <a:gd name="T56" fmla="*/ 48 w 128"/>
                <a:gd name="T57" fmla="*/ 104 h 122"/>
                <a:gd name="T58" fmla="*/ 80 w 128"/>
                <a:gd name="T59" fmla="*/ 104 h 122"/>
                <a:gd name="T60" fmla="*/ 88 w 128"/>
                <a:gd name="T61" fmla="*/ 113 h 122"/>
                <a:gd name="T62" fmla="*/ 120 w 128"/>
                <a:gd name="T63" fmla="*/ 93 h 122"/>
                <a:gd name="T64" fmla="*/ 117 w 128"/>
                <a:gd name="T65" fmla="*/ 96 h 122"/>
                <a:gd name="T66" fmla="*/ 11 w 128"/>
                <a:gd name="T67" fmla="*/ 96 h 122"/>
                <a:gd name="T68" fmla="*/ 8 w 128"/>
                <a:gd name="T69" fmla="*/ 93 h 122"/>
                <a:gd name="T70" fmla="*/ 8 w 128"/>
                <a:gd name="T71" fmla="*/ 11 h 122"/>
                <a:gd name="T72" fmla="*/ 11 w 128"/>
                <a:gd name="T73" fmla="*/ 8 h 122"/>
                <a:gd name="T74" fmla="*/ 117 w 128"/>
                <a:gd name="T75" fmla="*/ 8 h 122"/>
                <a:gd name="T76" fmla="*/ 120 w 128"/>
                <a:gd name="T77" fmla="*/ 11 h 122"/>
                <a:gd name="T78" fmla="*/ 120 w 128"/>
                <a:gd name="T79" fmla="*/ 93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8" h="122">
                  <a:moveTo>
                    <a:pt x="117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99"/>
                    <a:pt x="5" y="104"/>
                    <a:pt x="11" y="104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42" y="106"/>
                    <a:pt x="39" y="109"/>
                    <a:pt x="38" y="110"/>
                  </a:cubicBezTo>
                  <a:cubicBezTo>
                    <a:pt x="36" y="111"/>
                    <a:pt x="35" y="112"/>
                    <a:pt x="35" y="113"/>
                  </a:cubicBezTo>
                  <a:cubicBezTo>
                    <a:pt x="34" y="114"/>
                    <a:pt x="33" y="116"/>
                    <a:pt x="34" y="118"/>
                  </a:cubicBezTo>
                  <a:cubicBezTo>
                    <a:pt x="35" y="120"/>
                    <a:pt x="37" y="122"/>
                    <a:pt x="42" y="122"/>
                  </a:cubicBezTo>
                  <a:cubicBezTo>
                    <a:pt x="86" y="122"/>
                    <a:pt x="86" y="122"/>
                    <a:pt x="86" y="122"/>
                  </a:cubicBezTo>
                  <a:cubicBezTo>
                    <a:pt x="91" y="122"/>
                    <a:pt x="93" y="120"/>
                    <a:pt x="94" y="118"/>
                  </a:cubicBezTo>
                  <a:cubicBezTo>
                    <a:pt x="95" y="116"/>
                    <a:pt x="95" y="114"/>
                    <a:pt x="94" y="113"/>
                  </a:cubicBezTo>
                  <a:cubicBezTo>
                    <a:pt x="93" y="112"/>
                    <a:pt x="92" y="111"/>
                    <a:pt x="91" y="110"/>
                  </a:cubicBezTo>
                  <a:cubicBezTo>
                    <a:pt x="89" y="109"/>
                    <a:pt x="87" y="106"/>
                    <a:pt x="85" y="104"/>
                  </a:cubicBezTo>
                  <a:cubicBezTo>
                    <a:pt x="117" y="104"/>
                    <a:pt x="117" y="104"/>
                    <a:pt x="117" y="104"/>
                  </a:cubicBezTo>
                  <a:cubicBezTo>
                    <a:pt x="123" y="104"/>
                    <a:pt x="128" y="99"/>
                    <a:pt x="128" y="93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28" y="5"/>
                    <a:pt x="123" y="0"/>
                    <a:pt x="117" y="0"/>
                  </a:cubicBezTo>
                  <a:close/>
                  <a:moveTo>
                    <a:pt x="88" y="113"/>
                  </a:moveTo>
                  <a:cubicBezTo>
                    <a:pt x="89" y="114"/>
                    <a:pt x="90" y="115"/>
                    <a:pt x="90" y="116"/>
                  </a:cubicBezTo>
                  <a:cubicBezTo>
                    <a:pt x="90" y="116"/>
                    <a:pt x="91" y="116"/>
                    <a:pt x="90" y="116"/>
                  </a:cubicBezTo>
                  <a:cubicBezTo>
                    <a:pt x="90" y="117"/>
                    <a:pt x="88" y="118"/>
                    <a:pt x="86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0" y="118"/>
                    <a:pt x="38" y="117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5"/>
                    <a:pt x="39" y="114"/>
                    <a:pt x="40" y="113"/>
                  </a:cubicBezTo>
                  <a:cubicBezTo>
                    <a:pt x="44" y="109"/>
                    <a:pt x="47" y="106"/>
                    <a:pt x="48" y="104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82" y="106"/>
                    <a:pt x="84" y="109"/>
                    <a:pt x="88" y="113"/>
                  </a:cubicBezTo>
                  <a:close/>
                  <a:moveTo>
                    <a:pt x="120" y="93"/>
                  </a:moveTo>
                  <a:cubicBezTo>
                    <a:pt x="120" y="95"/>
                    <a:pt x="119" y="96"/>
                    <a:pt x="117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9" y="96"/>
                    <a:pt x="8" y="95"/>
                    <a:pt x="8" y="93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9"/>
                    <a:pt x="9" y="8"/>
                    <a:pt x="11" y="8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9" y="8"/>
                    <a:pt x="120" y="9"/>
                    <a:pt x="120" y="11"/>
                  </a:cubicBezTo>
                  <a:lnTo>
                    <a:pt x="120" y="9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  <p:sp>
          <p:nvSpPr>
            <p:cNvPr id="36" name="Freeform 27">
              <a:extLst>
                <a:ext uri="{FF2B5EF4-FFF2-40B4-BE49-F238E27FC236}">
                  <a16:creationId xmlns:a16="http://schemas.microsoft.com/office/drawing/2014/main" id="{9A479303-4279-A3B7-B88E-C8BB31B08B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96917" y="1058042"/>
              <a:ext cx="502713" cy="338119"/>
            </a:xfrm>
            <a:custGeom>
              <a:avLst/>
              <a:gdLst>
                <a:gd name="T0" fmla="*/ 89 w 96"/>
                <a:gd name="T1" fmla="*/ 0 h 64"/>
                <a:gd name="T2" fmla="*/ 7 w 96"/>
                <a:gd name="T3" fmla="*/ 0 h 64"/>
                <a:gd name="T4" fmla="*/ 0 w 96"/>
                <a:gd name="T5" fmla="*/ 7 h 64"/>
                <a:gd name="T6" fmla="*/ 0 w 96"/>
                <a:gd name="T7" fmla="*/ 57 h 64"/>
                <a:gd name="T8" fmla="*/ 7 w 96"/>
                <a:gd name="T9" fmla="*/ 64 h 64"/>
                <a:gd name="T10" fmla="*/ 89 w 96"/>
                <a:gd name="T11" fmla="*/ 64 h 64"/>
                <a:gd name="T12" fmla="*/ 96 w 96"/>
                <a:gd name="T13" fmla="*/ 57 h 64"/>
                <a:gd name="T14" fmla="*/ 96 w 96"/>
                <a:gd name="T15" fmla="*/ 7 h 64"/>
                <a:gd name="T16" fmla="*/ 89 w 96"/>
                <a:gd name="T17" fmla="*/ 0 h 64"/>
                <a:gd name="T18" fmla="*/ 92 w 96"/>
                <a:gd name="T19" fmla="*/ 57 h 64"/>
                <a:gd name="T20" fmla="*/ 89 w 96"/>
                <a:gd name="T21" fmla="*/ 60 h 64"/>
                <a:gd name="T22" fmla="*/ 7 w 96"/>
                <a:gd name="T23" fmla="*/ 60 h 64"/>
                <a:gd name="T24" fmla="*/ 4 w 96"/>
                <a:gd name="T25" fmla="*/ 57 h 64"/>
                <a:gd name="T26" fmla="*/ 4 w 96"/>
                <a:gd name="T27" fmla="*/ 7 h 64"/>
                <a:gd name="T28" fmla="*/ 7 w 96"/>
                <a:gd name="T29" fmla="*/ 4 h 64"/>
                <a:gd name="T30" fmla="*/ 89 w 96"/>
                <a:gd name="T31" fmla="*/ 4 h 64"/>
                <a:gd name="T32" fmla="*/ 92 w 96"/>
                <a:gd name="T33" fmla="*/ 7 h 64"/>
                <a:gd name="T34" fmla="*/ 92 w 96"/>
                <a:gd name="T35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6" h="64">
                  <a:moveTo>
                    <a:pt x="89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1"/>
                    <a:pt x="3" y="64"/>
                    <a:pt x="7" y="64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93" y="64"/>
                    <a:pt x="96" y="61"/>
                    <a:pt x="96" y="5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3"/>
                    <a:pt x="93" y="0"/>
                    <a:pt x="89" y="0"/>
                  </a:cubicBezTo>
                  <a:close/>
                  <a:moveTo>
                    <a:pt x="92" y="57"/>
                  </a:moveTo>
                  <a:cubicBezTo>
                    <a:pt x="92" y="59"/>
                    <a:pt x="91" y="60"/>
                    <a:pt x="89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5" y="60"/>
                    <a:pt x="4" y="59"/>
                    <a:pt x="4" y="5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5" y="4"/>
                    <a:pt x="7" y="4"/>
                  </a:cubicBezTo>
                  <a:cubicBezTo>
                    <a:pt x="89" y="4"/>
                    <a:pt x="89" y="4"/>
                    <a:pt x="89" y="4"/>
                  </a:cubicBezTo>
                  <a:cubicBezTo>
                    <a:pt x="91" y="4"/>
                    <a:pt x="92" y="5"/>
                    <a:pt x="92" y="7"/>
                  </a:cubicBezTo>
                  <a:lnTo>
                    <a:pt x="92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28">
              <a:extLst>
                <a:ext uri="{FF2B5EF4-FFF2-40B4-BE49-F238E27FC236}">
                  <a16:creationId xmlns:a16="http://schemas.microsoft.com/office/drawing/2014/main" id="{B0F010D3-2236-3487-900B-685CF0323D9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17937" y="1404831"/>
              <a:ext cx="62840" cy="65023"/>
            </a:xfrm>
            <a:custGeom>
              <a:avLst/>
              <a:gdLst>
                <a:gd name="T0" fmla="*/ 6 w 12"/>
                <a:gd name="T1" fmla="*/ 0 h 12"/>
                <a:gd name="T2" fmla="*/ 0 w 12"/>
                <a:gd name="T3" fmla="*/ 6 h 12"/>
                <a:gd name="T4" fmla="*/ 6 w 12"/>
                <a:gd name="T5" fmla="*/ 12 h 12"/>
                <a:gd name="T6" fmla="*/ 12 w 12"/>
                <a:gd name="T7" fmla="*/ 6 h 12"/>
                <a:gd name="T8" fmla="*/ 6 w 12"/>
                <a:gd name="T9" fmla="*/ 0 h 12"/>
                <a:gd name="T10" fmla="*/ 6 w 12"/>
                <a:gd name="T11" fmla="*/ 8 h 12"/>
                <a:gd name="T12" fmla="*/ 4 w 12"/>
                <a:gd name="T13" fmla="*/ 6 h 12"/>
                <a:gd name="T14" fmla="*/ 6 w 12"/>
                <a:gd name="T15" fmla="*/ 4 h 12"/>
                <a:gd name="T16" fmla="*/ 8 w 12"/>
                <a:gd name="T17" fmla="*/ 6 h 12"/>
                <a:gd name="T18" fmla="*/ 6 w 12"/>
                <a:gd name="T1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9" y="12"/>
                    <a:pt x="12" y="9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lose/>
                  <a:moveTo>
                    <a:pt x="6" y="8"/>
                  </a:moveTo>
                  <a:cubicBezTo>
                    <a:pt x="5" y="8"/>
                    <a:pt x="4" y="7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7" y="4"/>
                    <a:pt x="8" y="5"/>
                    <a:pt x="8" y="6"/>
                  </a:cubicBezTo>
                  <a:cubicBezTo>
                    <a:pt x="8" y="7"/>
                    <a:pt x="7" y="8"/>
                    <a:pt x="6" y="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  <p:sp>
          <p:nvSpPr>
            <p:cNvPr id="38" name="Freeform 29">
              <a:extLst>
                <a:ext uri="{FF2B5EF4-FFF2-40B4-BE49-F238E27FC236}">
                  <a16:creationId xmlns:a16="http://schemas.microsoft.com/office/drawing/2014/main" id="{964FD84B-6CCD-5B1F-02AE-89B7F434F31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3429" y="1190255"/>
              <a:ext cx="84509" cy="88864"/>
            </a:xfrm>
            <a:custGeom>
              <a:avLst/>
              <a:gdLst>
                <a:gd name="T0" fmla="*/ 0 w 39"/>
                <a:gd name="T1" fmla="*/ 24 h 41"/>
                <a:gd name="T2" fmla="*/ 39 w 39"/>
                <a:gd name="T3" fmla="*/ 41 h 41"/>
                <a:gd name="T4" fmla="*/ 39 w 39"/>
                <a:gd name="T5" fmla="*/ 32 h 41"/>
                <a:gd name="T6" fmla="*/ 12 w 39"/>
                <a:gd name="T7" fmla="*/ 19 h 41"/>
                <a:gd name="T8" fmla="*/ 39 w 39"/>
                <a:gd name="T9" fmla="*/ 10 h 41"/>
                <a:gd name="T10" fmla="*/ 39 w 39"/>
                <a:gd name="T11" fmla="*/ 0 h 41"/>
                <a:gd name="T12" fmla="*/ 0 w 39"/>
                <a:gd name="T13" fmla="*/ 17 h 41"/>
                <a:gd name="T14" fmla="*/ 0 w 39"/>
                <a:gd name="T15" fmla="*/ 2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41">
                  <a:moveTo>
                    <a:pt x="0" y="24"/>
                  </a:moveTo>
                  <a:lnTo>
                    <a:pt x="39" y="41"/>
                  </a:lnTo>
                  <a:lnTo>
                    <a:pt x="39" y="32"/>
                  </a:lnTo>
                  <a:lnTo>
                    <a:pt x="12" y="19"/>
                  </a:lnTo>
                  <a:lnTo>
                    <a:pt x="39" y="10"/>
                  </a:lnTo>
                  <a:lnTo>
                    <a:pt x="39" y="0"/>
                  </a:lnTo>
                  <a:lnTo>
                    <a:pt x="0" y="17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  <p:sp>
          <p:nvSpPr>
            <p:cNvPr id="39" name="Freeform 30">
              <a:extLst>
                <a:ext uri="{FF2B5EF4-FFF2-40B4-BE49-F238E27FC236}">
                  <a16:creationId xmlns:a16="http://schemas.microsoft.com/office/drawing/2014/main" id="{63711F5A-F353-34F2-E8E6-9FE40FFE76C3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6605" y="1175084"/>
              <a:ext cx="43337" cy="119208"/>
            </a:xfrm>
            <a:custGeom>
              <a:avLst/>
              <a:gdLst>
                <a:gd name="T0" fmla="*/ 7 w 8"/>
                <a:gd name="T1" fmla="*/ 0 h 23"/>
                <a:gd name="T2" fmla="*/ 5 w 8"/>
                <a:gd name="T3" fmla="*/ 0 h 23"/>
                <a:gd name="T4" fmla="*/ 5 w 8"/>
                <a:gd name="T5" fmla="*/ 2 h 23"/>
                <a:gd name="T6" fmla="*/ 0 w 8"/>
                <a:gd name="T7" fmla="*/ 20 h 23"/>
                <a:gd name="T8" fmla="*/ 0 w 8"/>
                <a:gd name="T9" fmla="*/ 22 h 23"/>
                <a:gd name="T10" fmla="*/ 2 w 8"/>
                <a:gd name="T11" fmla="*/ 23 h 23"/>
                <a:gd name="T12" fmla="*/ 3 w 8"/>
                <a:gd name="T13" fmla="*/ 23 h 23"/>
                <a:gd name="T14" fmla="*/ 3 w 8"/>
                <a:gd name="T15" fmla="*/ 22 h 23"/>
                <a:gd name="T16" fmla="*/ 4 w 8"/>
                <a:gd name="T17" fmla="*/ 21 h 23"/>
                <a:gd name="T18" fmla="*/ 8 w 8"/>
                <a:gd name="T19" fmla="*/ 3 h 23"/>
                <a:gd name="T20" fmla="*/ 8 w 8"/>
                <a:gd name="T21" fmla="*/ 1 h 23"/>
                <a:gd name="T22" fmla="*/ 8 w 8"/>
                <a:gd name="T23" fmla="*/ 0 h 23"/>
                <a:gd name="T24" fmla="*/ 7 w 8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3">
                  <a:moveTo>
                    <a:pt x="7" y="0"/>
                  </a:move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1"/>
                    <a:pt x="5" y="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0" y="23"/>
                    <a:pt x="1" y="23"/>
                    <a:pt x="2" y="23"/>
                  </a:cubicBezTo>
                  <a:cubicBezTo>
                    <a:pt x="2" y="23"/>
                    <a:pt x="2" y="23"/>
                    <a:pt x="3" y="23"/>
                  </a:cubicBezTo>
                  <a:cubicBezTo>
                    <a:pt x="3" y="23"/>
                    <a:pt x="3" y="22"/>
                    <a:pt x="3" y="22"/>
                  </a:cubicBezTo>
                  <a:cubicBezTo>
                    <a:pt x="3" y="22"/>
                    <a:pt x="3" y="21"/>
                    <a:pt x="4" y="2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  <p:sp>
          <p:nvSpPr>
            <p:cNvPr id="40" name="Freeform 31">
              <a:extLst>
                <a:ext uri="{FF2B5EF4-FFF2-40B4-BE49-F238E27FC236}">
                  <a16:creationId xmlns:a16="http://schemas.microsoft.com/office/drawing/2014/main" id="{2AD7C1E7-A1FF-DC83-C855-C075421FD07F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0776" y="1190255"/>
              <a:ext cx="82341" cy="88864"/>
            </a:xfrm>
            <a:custGeom>
              <a:avLst/>
              <a:gdLst>
                <a:gd name="T0" fmla="*/ 0 w 38"/>
                <a:gd name="T1" fmla="*/ 10 h 41"/>
                <a:gd name="T2" fmla="*/ 26 w 38"/>
                <a:gd name="T3" fmla="*/ 19 h 41"/>
                <a:gd name="T4" fmla="*/ 0 w 38"/>
                <a:gd name="T5" fmla="*/ 32 h 41"/>
                <a:gd name="T6" fmla="*/ 0 w 38"/>
                <a:gd name="T7" fmla="*/ 41 h 41"/>
                <a:gd name="T8" fmla="*/ 38 w 38"/>
                <a:gd name="T9" fmla="*/ 24 h 41"/>
                <a:gd name="T10" fmla="*/ 38 w 38"/>
                <a:gd name="T11" fmla="*/ 17 h 41"/>
                <a:gd name="T12" fmla="*/ 0 w 38"/>
                <a:gd name="T13" fmla="*/ 0 h 41"/>
                <a:gd name="T14" fmla="*/ 0 w 38"/>
                <a:gd name="T15" fmla="*/ 1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41">
                  <a:moveTo>
                    <a:pt x="0" y="10"/>
                  </a:moveTo>
                  <a:lnTo>
                    <a:pt x="26" y="19"/>
                  </a:lnTo>
                  <a:lnTo>
                    <a:pt x="0" y="32"/>
                  </a:lnTo>
                  <a:lnTo>
                    <a:pt x="0" y="41"/>
                  </a:lnTo>
                  <a:lnTo>
                    <a:pt x="38" y="24"/>
                  </a:lnTo>
                  <a:lnTo>
                    <a:pt x="38" y="17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</p:grpSp>
      <p:sp>
        <p:nvSpPr>
          <p:cNvPr id="34" name="ZenIcon2">
            <a:extLst>
              <a:ext uri="{FF2B5EF4-FFF2-40B4-BE49-F238E27FC236}">
                <a16:creationId xmlns:a16="http://schemas.microsoft.com/office/drawing/2014/main" id="{E35544AD-413E-D0ED-2165-86CD95DDCA0B}"/>
              </a:ext>
            </a:extLst>
          </p:cNvPr>
          <p:cNvSpPr>
            <a:spLocks noChangeAspect="1" noEditPoints="1"/>
          </p:cNvSpPr>
          <p:nvPr>
            <p:custDataLst>
              <p:tags r:id="rId7"/>
            </p:custDataLst>
          </p:nvPr>
        </p:nvSpPr>
        <p:spPr bwMode="auto">
          <a:xfrm>
            <a:off x="8526899" y="3242032"/>
            <a:ext cx="327540" cy="327540"/>
          </a:xfrm>
          <a:custGeom>
            <a:avLst/>
            <a:gdLst>
              <a:gd name="T0" fmla="*/ 232 w 256"/>
              <a:gd name="T1" fmla="*/ 84 h 227"/>
              <a:gd name="T2" fmla="*/ 172 w 256"/>
              <a:gd name="T3" fmla="*/ 44 h 227"/>
              <a:gd name="T4" fmla="*/ 120 w 256"/>
              <a:gd name="T5" fmla="*/ 48 h 227"/>
              <a:gd name="T6" fmla="*/ 64 w 256"/>
              <a:gd name="T7" fmla="*/ 107 h 227"/>
              <a:gd name="T8" fmla="*/ 0 w 256"/>
              <a:gd name="T9" fmla="*/ 131 h 227"/>
              <a:gd name="T10" fmla="*/ 32 w 256"/>
              <a:gd name="T11" fmla="*/ 227 h 227"/>
              <a:gd name="T12" fmla="*/ 87 w 256"/>
              <a:gd name="T13" fmla="*/ 212 h 227"/>
              <a:gd name="T14" fmla="*/ 103 w 256"/>
              <a:gd name="T15" fmla="*/ 219 h 227"/>
              <a:gd name="T16" fmla="*/ 232 w 256"/>
              <a:gd name="T17" fmla="*/ 197 h 227"/>
              <a:gd name="T18" fmla="*/ 240 w 256"/>
              <a:gd name="T19" fmla="*/ 169 h 227"/>
              <a:gd name="T20" fmla="*/ 248 w 256"/>
              <a:gd name="T21" fmla="*/ 140 h 227"/>
              <a:gd name="T22" fmla="*/ 256 w 256"/>
              <a:gd name="T23" fmla="*/ 108 h 227"/>
              <a:gd name="T24" fmla="*/ 32 w 256"/>
              <a:gd name="T25" fmla="*/ 211 h 227"/>
              <a:gd name="T26" fmla="*/ 16 w 256"/>
              <a:gd name="T27" fmla="*/ 131 h 227"/>
              <a:gd name="T28" fmla="*/ 64 w 256"/>
              <a:gd name="T29" fmla="*/ 123 h 227"/>
              <a:gd name="T30" fmla="*/ 72 w 256"/>
              <a:gd name="T31" fmla="*/ 198 h 227"/>
              <a:gd name="T32" fmla="*/ 72 w 256"/>
              <a:gd name="T33" fmla="*/ 203 h 227"/>
              <a:gd name="T34" fmla="*/ 210 w 256"/>
              <a:gd name="T35" fmla="*/ 203 h 227"/>
              <a:gd name="T36" fmla="*/ 88 w 256"/>
              <a:gd name="T37" fmla="*/ 194 h 227"/>
              <a:gd name="T38" fmla="*/ 86 w 256"/>
              <a:gd name="T39" fmla="*/ 121 h 227"/>
              <a:gd name="T40" fmla="*/ 140 w 256"/>
              <a:gd name="T41" fmla="*/ 16 h 227"/>
              <a:gd name="T42" fmla="*/ 152 w 256"/>
              <a:gd name="T43" fmla="*/ 90 h 227"/>
              <a:gd name="T44" fmla="*/ 160 w 256"/>
              <a:gd name="T45" fmla="*/ 100 h 227"/>
              <a:gd name="T46" fmla="*/ 240 w 256"/>
              <a:gd name="T47" fmla="*/ 108 h 227"/>
              <a:gd name="T48" fmla="*/ 223 w 256"/>
              <a:gd name="T49" fmla="*/ 116 h 227"/>
              <a:gd name="T50" fmla="*/ 223 w 256"/>
              <a:gd name="T51" fmla="*/ 132 h 227"/>
              <a:gd name="T52" fmla="*/ 224 w 256"/>
              <a:gd name="T53" fmla="*/ 132 h 227"/>
              <a:gd name="T54" fmla="*/ 224 w 256"/>
              <a:gd name="T55" fmla="*/ 148 h 227"/>
              <a:gd name="T56" fmla="*/ 218 w 256"/>
              <a:gd name="T57" fmla="*/ 147 h 227"/>
              <a:gd name="T58" fmla="*/ 215 w 256"/>
              <a:gd name="T59" fmla="*/ 148 h 227"/>
              <a:gd name="T60" fmla="*/ 215 w 256"/>
              <a:gd name="T61" fmla="*/ 164 h 227"/>
              <a:gd name="T62" fmla="*/ 224 w 256"/>
              <a:gd name="T63" fmla="*/ 169 h 227"/>
              <a:gd name="T64" fmla="*/ 210 w 256"/>
              <a:gd name="T65" fmla="*/ 175 h 227"/>
              <a:gd name="T66" fmla="*/ 210 w 256"/>
              <a:gd name="T67" fmla="*/ 175 h 227"/>
              <a:gd name="T68" fmla="*/ 210 w 256"/>
              <a:gd name="T69" fmla="*/ 191 h 227"/>
              <a:gd name="T70" fmla="*/ 210 w 256"/>
              <a:gd name="T71" fmla="*/ 203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56" h="227">
                <a:moveTo>
                  <a:pt x="256" y="108"/>
                </a:moveTo>
                <a:cubicBezTo>
                  <a:pt x="256" y="94"/>
                  <a:pt x="245" y="84"/>
                  <a:pt x="232" y="84"/>
                </a:cubicBezTo>
                <a:cubicBezTo>
                  <a:pt x="169" y="84"/>
                  <a:pt x="169" y="84"/>
                  <a:pt x="169" y="84"/>
                </a:cubicBezTo>
                <a:cubicBezTo>
                  <a:pt x="171" y="74"/>
                  <a:pt x="172" y="59"/>
                  <a:pt x="172" y="44"/>
                </a:cubicBezTo>
                <a:cubicBezTo>
                  <a:pt x="172" y="13"/>
                  <a:pt x="156" y="0"/>
                  <a:pt x="140" y="0"/>
                </a:cubicBezTo>
                <a:cubicBezTo>
                  <a:pt x="120" y="0"/>
                  <a:pt x="120" y="21"/>
                  <a:pt x="120" y="48"/>
                </a:cubicBezTo>
                <a:cubicBezTo>
                  <a:pt x="120" y="67"/>
                  <a:pt x="90" y="97"/>
                  <a:pt x="75" y="110"/>
                </a:cubicBezTo>
                <a:cubicBezTo>
                  <a:pt x="71" y="108"/>
                  <a:pt x="68" y="107"/>
                  <a:pt x="64" y="107"/>
                </a:cubicBezTo>
                <a:cubicBezTo>
                  <a:pt x="24" y="107"/>
                  <a:pt x="24" y="107"/>
                  <a:pt x="24" y="107"/>
                </a:cubicBezTo>
                <a:cubicBezTo>
                  <a:pt x="11" y="107"/>
                  <a:pt x="0" y="118"/>
                  <a:pt x="0" y="131"/>
                </a:cubicBezTo>
                <a:cubicBezTo>
                  <a:pt x="8" y="203"/>
                  <a:pt x="8" y="203"/>
                  <a:pt x="8" y="203"/>
                </a:cubicBezTo>
                <a:cubicBezTo>
                  <a:pt x="10" y="216"/>
                  <a:pt x="19" y="227"/>
                  <a:pt x="32" y="227"/>
                </a:cubicBezTo>
                <a:cubicBezTo>
                  <a:pt x="64" y="227"/>
                  <a:pt x="64" y="227"/>
                  <a:pt x="64" y="227"/>
                </a:cubicBezTo>
                <a:cubicBezTo>
                  <a:pt x="74" y="227"/>
                  <a:pt x="83" y="221"/>
                  <a:pt x="87" y="212"/>
                </a:cubicBezTo>
                <a:cubicBezTo>
                  <a:pt x="100" y="219"/>
                  <a:pt x="100" y="219"/>
                  <a:pt x="100" y="219"/>
                </a:cubicBezTo>
                <a:cubicBezTo>
                  <a:pt x="101" y="219"/>
                  <a:pt x="102" y="219"/>
                  <a:pt x="103" y="219"/>
                </a:cubicBezTo>
                <a:cubicBezTo>
                  <a:pt x="210" y="219"/>
                  <a:pt x="210" y="219"/>
                  <a:pt x="210" y="219"/>
                </a:cubicBezTo>
                <a:cubicBezTo>
                  <a:pt x="222" y="219"/>
                  <a:pt x="232" y="210"/>
                  <a:pt x="232" y="197"/>
                </a:cubicBezTo>
                <a:cubicBezTo>
                  <a:pt x="232" y="194"/>
                  <a:pt x="231" y="191"/>
                  <a:pt x="230" y="188"/>
                </a:cubicBezTo>
                <a:cubicBezTo>
                  <a:pt x="236" y="184"/>
                  <a:pt x="240" y="177"/>
                  <a:pt x="240" y="169"/>
                </a:cubicBezTo>
                <a:cubicBezTo>
                  <a:pt x="240" y="166"/>
                  <a:pt x="239" y="162"/>
                  <a:pt x="238" y="159"/>
                </a:cubicBezTo>
                <a:cubicBezTo>
                  <a:pt x="244" y="155"/>
                  <a:pt x="248" y="148"/>
                  <a:pt x="248" y="140"/>
                </a:cubicBezTo>
                <a:cubicBezTo>
                  <a:pt x="248" y="135"/>
                  <a:pt x="247" y="131"/>
                  <a:pt x="245" y="128"/>
                </a:cubicBezTo>
                <a:cubicBezTo>
                  <a:pt x="252" y="123"/>
                  <a:pt x="256" y="116"/>
                  <a:pt x="256" y="108"/>
                </a:cubicBezTo>
                <a:close/>
                <a:moveTo>
                  <a:pt x="64" y="211"/>
                </a:moveTo>
                <a:cubicBezTo>
                  <a:pt x="32" y="211"/>
                  <a:pt x="32" y="211"/>
                  <a:pt x="32" y="211"/>
                </a:cubicBezTo>
                <a:cubicBezTo>
                  <a:pt x="28" y="211"/>
                  <a:pt x="25" y="206"/>
                  <a:pt x="24" y="202"/>
                </a:cubicBezTo>
                <a:cubicBezTo>
                  <a:pt x="16" y="131"/>
                  <a:pt x="16" y="131"/>
                  <a:pt x="16" y="131"/>
                </a:cubicBezTo>
                <a:cubicBezTo>
                  <a:pt x="17" y="127"/>
                  <a:pt x="20" y="123"/>
                  <a:pt x="24" y="123"/>
                </a:cubicBezTo>
                <a:cubicBezTo>
                  <a:pt x="64" y="123"/>
                  <a:pt x="64" y="123"/>
                  <a:pt x="64" y="123"/>
                </a:cubicBezTo>
                <a:cubicBezTo>
                  <a:pt x="69" y="123"/>
                  <a:pt x="72" y="127"/>
                  <a:pt x="72" y="131"/>
                </a:cubicBezTo>
                <a:cubicBezTo>
                  <a:pt x="72" y="198"/>
                  <a:pt x="72" y="198"/>
                  <a:pt x="72" y="198"/>
                </a:cubicBezTo>
                <a:cubicBezTo>
                  <a:pt x="72" y="199"/>
                  <a:pt x="72" y="200"/>
                  <a:pt x="72" y="201"/>
                </a:cubicBezTo>
                <a:cubicBezTo>
                  <a:pt x="72" y="203"/>
                  <a:pt x="72" y="203"/>
                  <a:pt x="72" y="203"/>
                </a:cubicBezTo>
                <a:cubicBezTo>
                  <a:pt x="72" y="208"/>
                  <a:pt x="69" y="211"/>
                  <a:pt x="64" y="211"/>
                </a:cubicBezTo>
                <a:close/>
                <a:moveTo>
                  <a:pt x="210" y="203"/>
                </a:moveTo>
                <a:cubicBezTo>
                  <a:pt x="105" y="203"/>
                  <a:pt x="105" y="203"/>
                  <a:pt x="105" y="203"/>
                </a:cubicBezTo>
                <a:cubicBezTo>
                  <a:pt x="88" y="194"/>
                  <a:pt x="88" y="194"/>
                  <a:pt x="88" y="194"/>
                </a:cubicBezTo>
                <a:cubicBezTo>
                  <a:pt x="88" y="131"/>
                  <a:pt x="88" y="131"/>
                  <a:pt x="88" y="131"/>
                </a:cubicBezTo>
                <a:cubicBezTo>
                  <a:pt x="88" y="128"/>
                  <a:pt x="87" y="124"/>
                  <a:pt x="86" y="121"/>
                </a:cubicBezTo>
                <a:cubicBezTo>
                  <a:pt x="100" y="109"/>
                  <a:pt x="136" y="75"/>
                  <a:pt x="136" y="48"/>
                </a:cubicBezTo>
                <a:cubicBezTo>
                  <a:pt x="136" y="31"/>
                  <a:pt x="136" y="16"/>
                  <a:pt x="140" y="16"/>
                </a:cubicBezTo>
                <a:cubicBezTo>
                  <a:pt x="148" y="16"/>
                  <a:pt x="156" y="25"/>
                  <a:pt x="156" y="44"/>
                </a:cubicBezTo>
                <a:cubicBezTo>
                  <a:pt x="156" y="67"/>
                  <a:pt x="152" y="90"/>
                  <a:pt x="152" y="90"/>
                </a:cubicBezTo>
                <a:cubicBezTo>
                  <a:pt x="152" y="93"/>
                  <a:pt x="153" y="95"/>
                  <a:pt x="154" y="97"/>
                </a:cubicBezTo>
                <a:cubicBezTo>
                  <a:pt x="156" y="98"/>
                  <a:pt x="158" y="100"/>
                  <a:pt x="160" y="100"/>
                </a:cubicBezTo>
                <a:cubicBezTo>
                  <a:pt x="232" y="100"/>
                  <a:pt x="232" y="100"/>
                  <a:pt x="232" y="100"/>
                </a:cubicBezTo>
                <a:cubicBezTo>
                  <a:pt x="237" y="100"/>
                  <a:pt x="240" y="103"/>
                  <a:pt x="240" y="108"/>
                </a:cubicBezTo>
                <a:cubicBezTo>
                  <a:pt x="240" y="112"/>
                  <a:pt x="237" y="116"/>
                  <a:pt x="232" y="116"/>
                </a:cubicBezTo>
                <a:cubicBezTo>
                  <a:pt x="223" y="116"/>
                  <a:pt x="223" y="116"/>
                  <a:pt x="223" y="116"/>
                </a:cubicBezTo>
                <a:cubicBezTo>
                  <a:pt x="219" y="116"/>
                  <a:pt x="215" y="119"/>
                  <a:pt x="215" y="124"/>
                </a:cubicBezTo>
                <a:cubicBezTo>
                  <a:pt x="215" y="128"/>
                  <a:pt x="219" y="132"/>
                  <a:pt x="223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9" y="132"/>
                  <a:pt x="232" y="135"/>
                  <a:pt x="232" y="140"/>
                </a:cubicBezTo>
                <a:cubicBezTo>
                  <a:pt x="232" y="144"/>
                  <a:pt x="229" y="148"/>
                  <a:pt x="224" y="148"/>
                </a:cubicBezTo>
                <a:cubicBezTo>
                  <a:pt x="219" y="148"/>
                  <a:pt x="219" y="148"/>
                  <a:pt x="219" y="148"/>
                </a:cubicBezTo>
                <a:cubicBezTo>
                  <a:pt x="219" y="148"/>
                  <a:pt x="218" y="147"/>
                  <a:pt x="218" y="147"/>
                </a:cubicBezTo>
                <a:cubicBezTo>
                  <a:pt x="218" y="147"/>
                  <a:pt x="218" y="148"/>
                  <a:pt x="218" y="148"/>
                </a:cubicBezTo>
                <a:cubicBezTo>
                  <a:pt x="215" y="148"/>
                  <a:pt x="215" y="148"/>
                  <a:pt x="215" y="148"/>
                </a:cubicBezTo>
                <a:cubicBezTo>
                  <a:pt x="211" y="148"/>
                  <a:pt x="207" y="151"/>
                  <a:pt x="207" y="156"/>
                </a:cubicBezTo>
                <a:cubicBezTo>
                  <a:pt x="207" y="160"/>
                  <a:pt x="211" y="164"/>
                  <a:pt x="215" y="164"/>
                </a:cubicBezTo>
                <a:cubicBezTo>
                  <a:pt x="218" y="164"/>
                  <a:pt x="218" y="164"/>
                  <a:pt x="218" y="164"/>
                </a:cubicBezTo>
                <a:cubicBezTo>
                  <a:pt x="222" y="164"/>
                  <a:pt x="224" y="166"/>
                  <a:pt x="224" y="169"/>
                </a:cubicBezTo>
                <a:cubicBezTo>
                  <a:pt x="224" y="173"/>
                  <a:pt x="221" y="175"/>
                  <a:pt x="218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06" y="175"/>
                  <a:pt x="202" y="179"/>
                  <a:pt x="202" y="183"/>
                </a:cubicBezTo>
                <a:cubicBezTo>
                  <a:pt x="202" y="188"/>
                  <a:pt x="206" y="191"/>
                  <a:pt x="210" y="191"/>
                </a:cubicBezTo>
                <a:cubicBezTo>
                  <a:pt x="213" y="191"/>
                  <a:pt x="216" y="194"/>
                  <a:pt x="216" y="197"/>
                </a:cubicBezTo>
                <a:cubicBezTo>
                  <a:pt x="216" y="201"/>
                  <a:pt x="213" y="203"/>
                  <a:pt x="210" y="20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US" sz="840"/>
          </a:p>
        </p:txBody>
      </p:sp>
    </p:spTree>
    <p:extLst>
      <p:ext uri="{BB962C8B-B14F-4D97-AF65-F5344CB8AC3E}">
        <p14:creationId xmlns:p14="http://schemas.microsoft.com/office/powerpoint/2010/main" val="2813447630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4CA369-2C6E-FACE-14C6-A092723F31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20BB28FA-3FE9-C464-C895-658B102D3FE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0BB28FA-3FE9-C464-C895-658B102D3F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0393CEB-6528-91B2-3EDC-55DE07A713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rocess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806A1894-F2AC-CAD8-63D6-CE2BA47BFE64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88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" name="Google Shape;2831;p45">
            <a:extLst>
              <a:ext uri="{FF2B5EF4-FFF2-40B4-BE49-F238E27FC236}">
                <a16:creationId xmlns:a16="http://schemas.microsoft.com/office/drawing/2014/main" id="{4086D4CB-8191-1EC5-B242-9DA5195E0BB0}"/>
              </a:ext>
            </a:extLst>
          </p:cNvPr>
          <p:cNvSpPr/>
          <p:nvPr/>
        </p:nvSpPr>
        <p:spPr>
          <a:xfrm>
            <a:off x="6062577" y="2273774"/>
            <a:ext cx="2732549" cy="390313"/>
          </a:xfrm>
          <a:prstGeom prst="chevron">
            <a:avLst>
              <a:gd name="adj" fmla="val 30000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bg1"/>
                </a:solidFill>
                <a:cs typeface="Arial" panose="020B0604020202020204" pitchFamily="34" charset="0"/>
              </a:rPr>
              <a:t>Title</a:t>
            </a:r>
            <a:endParaRPr sz="1600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5" name="Google Shape;2832;p45">
            <a:extLst>
              <a:ext uri="{FF2B5EF4-FFF2-40B4-BE49-F238E27FC236}">
                <a16:creationId xmlns:a16="http://schemas.microsoft.com/office/drawing/2014/main" id="{F15B867D-D855-5C44-8EFD-E6BF9A0289DF}"/>
              </a:ext>
            </a:extLst>
          </p:cNvPr>
          <p:cNvSpPr/>
          <p:nvPr/>
        </p:nvSpPr>
        <p:spPr>
          <a:xfrm>
            <a:off x="3387183" y="2273774"/>
            <a:ext cx="2732549" cy="390313"/>
          </a:xfrm>
          <a:prstGeom prst="chevron">
            <a:avLst>
              <a:gd name="adj" fmla="val 30000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bg1"/>
                </a:solidFill>
                <a:cs typeface="Arial" panose="020B0604020202020204" pitchFamily="34" charset="0"/>
              </a:rPr>
              <a:t>Title</a:t>
            </a:r>
            <a:endParaRPr sz="1600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6" name="Google Shape;2835;p45">
            <a:extLst>
              <a:ext uri="{FF2B5EF4-FFF2-40B4-BE49-F238E27FC236}">
                <a16:creationId xmlns:a16="http://schemas.microsoft.com/office/drawing/2014/main" id="{1C476F12-2138-E8B7-7EA6-CC807766E2BE}"/>
              </a:ext>
            </a:extLst>
          </p:cNvPr>
          <p:cNvSpPr/>
          <p:nvPr/>
        </p:nvSpPr>
        <p:spPr>
          <a:xfrm>
            <a:off x="711798" y="2273774"/>
            <a:ext cx="2732549" cy="390313"/>
          </a:xfrm>
          <a:prstGeom prst="homePlate">
            <a:avLst>
              <a:gd name="adj" fmla="val 3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bg1"/>
                </a:solidFill>
                <a:cs typeface="Arial" panose="020B0604020202020204" pitchFamily="34" charset="0"/>
              </a:rPr>
              <a:t>Title</a:t>
            </a:r>
            <a:endParaRPr sz="1600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9" name="Google Shape;2848;p45">
            <a:extLst>
              <a:ext uri="{FF2B5EF4-FFF2-40B4-BE49-F238E27FC236}">
                <a16:creationId xmlns:a16="http://schemas.microsoft.com/office/drawing/2014/main" id="{9EA023A2-EB58-C82E-A8A6-4FDEC8EB5D4A}"/>
              </a:ext>
            </a:extLst>
          </p:cNvPr>
          <p:cNvSpPr txBox="1"/>
          <p:nvPr/>
        </p:nvSpPr>
        <p:spPr>
          <a:xfrm>
            <a:off x="3462012" y="2772033"/>
            <a:ext cx="2582896" cy="2614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47786" tIns="0" rIns="0" bIns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cs typeface="Arial" panose="020B0604020202020204" pitchFamily="34" charset="0"/>
              </a:rPr>
              <a:t>Insert Text Here</a:t>
            </a:r>
            <a:endParaRPr sz="1600" dirty="0">
              <a:cs typeface="Arial" panose="020B0604020202020204" pitchFamily="34" charset="0"/>
            </a:endParaRPr>
          </a:p>
        </p:txBody>
      </p:sp>
      <p:sp>
        <p:nvSpPr>
          <p:cNvPr id="10" name="Google Shape;2849;p45">
            <a:extLst>
              <a:ext uri="{FF2B5EF4-FFF2-40B4-BE49-F238E27FC236}">
                <a16:creationId xmlns:a16="http://schemas.microsoft.com/office/drawing/2014/main" id="{81A513E8-AA02-7C1F-1167-D42EA169CCD6}"/>
              </a:ext>
            </a:extLst>
          </p:cNvPr>
          <p:cNvSpPr txBox="1"/>
          <p:nvPr/>
        </p:nvSpPr>
        <p:spPr>
          <a:xfrm>
            <a:off x="786626" y="2772033"/>
            <a:ext cx="2582896" cy="2614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47786" tIns="0" rIns="0" bIns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cs typeface="Arial" panose="020B0604020202020204" pitchFamily="34" charset="0"/>
              </a:rPr>
              <a:t>Insert Text Here</a:t>
            </a:r>
            <a:endParaRPr sz="1600" dirty="0">
              <a:cs typeface="Arial" panose="020B0604020202020204" pitchFamily="34" charset="0"/>
            </a:endParaRPr>
          </a:p>
        </p:txBody>
      </p:sp>
      <p:sp>
        <p:nvSpPr>
          <p:cNvPr id="11" name="Google Shape;2850;p45">
            <a:extLst>
              <a:ext uri="{FF2B5EF4-FFF2-40B4-BE49-F238E27FC236}">
                <a16:creationId xmlns:a16="http://schemas.microsoft.com/office/drawing/2014/main" id="{6EC716DA-13D7-001F-57FB-D4D00A009BA2}"/>
              </a:ext>
            </a:extLst>
          </p:cNvPr>
          <p:cNvSpPr txBox="1"/>
          <p:nvPr/>
        </p:nvSpPr>
        <p:spPr>
          <a:xfrm>
            <a:off x="6137399" y="2772033"/>
            <a:ext cx="2582896" cy="2614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47786" tIns="0" rIns="0" bIns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cs typeface="Arial" panose="020B0604020202020204" pitchFamily="34" charset="0"/>
              </a:rPr>
              <a:t>Insert Text Here</a:t>
            </a:r>
            <a:endParaRPr sz="1600" dirty="0">
              <a:cs typeface="Arial" panose="020B0604020202020204" pitchFamily="34" charset="0"/>
            </a:endParaRPr>
          </a:p>
        </p:txBody>
      </p:sp>
      <p:sp>
        <p:nvSpPr>
          <p:cNvPr id="12" name="Google Shape;2831;p45">
            <a:extLst>
              <a:ext uri="{FF2B5EF4-FFF2-40B4-BE49-F238E27FC236}">
                <a16:creationId xmlns:a16="http://schemas.microsoft.com/office/drawing/2014/main" id="{CBE0CA4A-8B99-304E-D583-422AA275984D}"/>
              </a:ext>
            </a:extLst>
          </p:cNvPr>
          <p:cNvSpPr/>
          <p:nvPr/>
        </p:nvSpPr>
        <p:spPr>
          <a:xfrm>
            <a:off x="8737963" y="2273774"/>
            <a:ext cx="2732549" cy="390313"/>
          </a:xfrm>
          <a:prstGeom prst="chevron">
            <a:avLst>
              <a:gd name="adj" fmla="val 30000"/>
            </a:avLst>
          </a:prstGeom>
          <a:solidFill>
            <a:schemeClr val="accent5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bg1"/>
                </a:solidFill>
                <a:cs typeface="Arial" panose="020B0604020202020204" pitchFamily="34" charset="0"/>
              </a:rPr>
              <a:t>Title</a:t>
            </a:r>
            <a:endParaRPr sz="1600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cxnSp>
        <p:nvCxnSpPr>
          <p:cNvPr id="7" name="Google Shape;2846;p45">
            <a:extLst>
              <a:ext uri="{FF2B5EF4-FFF2-40B4-BE49-F238E27FC236}">
                <a16:creationId xmlns:a16="http://schemas.microsoft.com/office/drawing/2014/main" id="{72023938-3026-A4F9-BCD7-0E0DF1A8093D}"/>
              </a:ext>
            </a:extLst>
          </p:cNvPr>
          <p:cNvCxnSpPr>
            <a:cxnSpLocks/>
          </p:cNvCxnSpPr>
          <p:nvPr/>
        </p:nvCxnSpPr>
        <p:spPr>
          <a:xfrm>
            <a:off x="3415765" y="2772034"/>
            <a:ext cx="0" cy="3344286"/>
          </a:xfrm>
          <a:prstGeom prst="straightConnector1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oogle Shape;2847;p45">
            <a:extLst>
              <a:ext uri="{FF2B5EF4-FFF2-40B4-BE49-F238E27FC236}">
                <a16:creationId xmlns:a16="http://schemas.microsoft.com/office/drawing/2014/main" id="{F1B900E8-A2A2-1388-2EAE-4B5D222CA23E}"/>
              </a:ext>
            </a:extLst>
          </p:cNvPr>
          <p:cNvCxnSpPr>
            <a:cxnSpLocks/>
          </p:cNvCxnSpPr>
          <p:nvPr/>
        </p:nvCxnSpPr>
        <p:spPr>
          <a:xfrm>
            <a:off x="6091151" y="2772034"/>
            <a:ext cx="0" cy="3344286"/>
          </a:xfrm>
          <a:prstGeom prst="straightConnector1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oogle Shape;2847;p45">
            <a:extLst>
              <a:ext uri="{FF2B5EF4-FFF2-40B4-BE49-F238E27FC236}">
                <a16:creationId xmlns:a16="http://schemas.microsoft.com/office/drawing/2014/main" id="{2260C0E1-5D6B-EDA3-30E9-F44735BBF989}"/>
              </a:ext>
            </a:extLst>
          </p:cNvPr>
          <p:cNvCxnSpPr>
            <a:cxnSpLocks/>
          </p:cNvCxnSpPr>
          <p:nvPr/>
        </p:nvCxnSpPr>
        <p:spPr>
          <a:xfrm>
            <a:off x="8766541" y="2772034"/>
            <a:ext cx="0" cy="3344286"/>
          </a:xfrm>
          <a:prstGeom prst="straightConnector1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Google Shape;2850;p45">
            <a:extLst>
              <a:ext uri="{FF2B5EF4-FFF2-40B4-BE49-F238E27FC236}">
                <a16:creationId xmlns:a16="http://schemas.microsoft.com/office/drawing/2014/main" id="{F26EFDCF-A386-C2E6-FBE7-44EAD9142D0E}"/>
              </a:ext>
            </a:extLst>
          </p:cNvPr>
          <p:cNvSpPr txBox="1"/>
          <p:nvPr/>
        </p:nvSpPr>
        <p:spPr>
          <a:xfrm>
            <a:off x="8795124" y="2772033"/>
            <a:ext cx="2582896" cy="2614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47786" tIns="0" rIns="0" bIns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cs typeface="Arial" panose="020B0604020202020204" pitchFamily="34" charset="0"/>
              </a:rPr>
              <a:t>Insert Text Here</a:t>
            </a:r>
            <a:endParaRPr sz="1600" dirty="0">
              <a:cs typeface="Arial" panose="020B0604020202020204" pitchFamily="34" charset="0"/>
            </a:endParaRPr>
          </a:p>
        </p:txBody>
      </p:sp>
      <p:cxnSp>
        <p:nvCxnSpPr>
          <p:cNvPr id="15" name="Google Shape;2844;p45">
            <a:extLst>
              <a:ext uri="{FF2B5EF4-FFF2-40B4-BE49-F238E27FC236}">
                <a16:creationId xmlns:a16="http://schemas.microsoft.com/office/drawing/2014/main" id="{6880859A-C6CB-CBDF-1423-19E4E459909B}"/>
              </a:ext>
            </a:extLst>
          </p:cNvPr>
          <p:cNvCxnSpPr>
            <a:cxnSpLocks/>
            <a:stCxn id="37" idx="6"/>
            <a:endCxn id="32" idx="2"/>
          </p:cNvCxnSpPr>
          <p:nvPr/>
        </p:nvCxnSpPr>
        <p:spPr>
          <a:xfrm>
            <a:off x="2573724" y="1631373"/>
            <a:ext cx="1684087" cy="0"/>
          </a:xfrm>
          <a:prstGeom prst="straightConnector1">
            <a:avLst/>
          </a:prstGeom>
          <a:noFill/>
          <a:ln w="38100" cap="flat" cmpd="sng">
            <a:solidFill>
              <a:schemeClr val="accent6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16" name="Google Shape;2845;p45">
            <a:extLst>
              <a:ext uri="{FF2B5EF4-FFF2-40B4-BE49-F238E27FC236}">
                <a16:creationId xmlns:a16="http://schemas.microsoft.com/office/drawing/2014/main" id="{5E56633C-C066-E700-D974-C5CA85EFCAE9}"/>
              </a:ext>
            </a:extLst>
          </p:cNvPr>
          <p:cNvCxnSpPr>
            <a:cxnSpLocks/>
            <a:stCxn id="32" idx="6"/>
            <a:endCxn id="18" idx="2"/>
          </p:cNvCxnSpPr>
          <p:nvPr/>
        </p:nvCxnSpPr>
        <p:spPr>
          <a:xfrm>
            <a:off x="5249112" y="1631373"/>
            <a:ext cx="1684091" cy="0"/>
          </a:xfrm>
          <a:prstGeom prst="straightConnector1">
            <a:avLst/>
          </a:prstGeom>
          <a:noFill/>
          <a:ln w="38100" cap="flat" cmpd="sng">
            <a:solidFill>
              <a:schemeClr val="accent6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17" name="Google Shape;2845;p45">
            <a:extLst>
              <a:ext uri="{FF2B5EF4-FFF2-40B4-BE49-F238E27FC236}">
                <a16:creationId xmlns:a16="http://schemas.microsoft.com/office/drawing/2014/main" id="{D02895DA-87EE-218F-9317-9EDE59F5C05C}"/>
              </a:ext>
            </a:extLst>
          </p:cNvPr>
          <p:cNvCxnSpPr>
            <a:cxnSpLocks/>
            <a:stCxn id="18" idx="6"/>
            <a:endCxn id="41" idx="2"/>
          </p:cNvCxnSpPr>
          <p:nvPr/>
        </p:nvCxnSpPr>
        <p:spPr>
          <a:xfrm>
            <a:off x="7924500" y="1631373"/>
            <a:ext cx="1684087" cy="0"/>
          </a:xfrm>
          <a:prstGeom prst="straightConnector1">
            <a:avLst/>
          </a:prstGeom>
          <a:noFill/>
          <a:ln w="38100" cap="flat" cmpd="sng">
            <a:solidFill>
              <a:schemeClr val="accent6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18" name="Shape1_20220715_112204">
            <a:extLst>
              <a:ext uri="{FF2B5EF4-FFF2-40B4-BE49-F238E27FC236}">
                <a16:creationId xmlns:a16="http://schemas.microsoft.com/office/drawing/2014/main" id="{E3063884-C7A2-4CE0-CF0C-17B3CA8F8615}"/>
              </a:ext>
            </a:extLst>
          </p:cNvPr>
          <p:cNvSpPr/>
          <p:nvPr/>
        </p:nvSpPr>
        <p:spPr>
          <a:xfrm>
            <a:off x="6933201" y="1135725"/>
            <a:ext cx="991300" cy="9913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2400" dirty="0">
              <a:solidFill>
                <a:schemeClr val="lt1"/>
              </a:solidFill>
              <a:ea typeface="Century Gothic"/>
              <a:cs typeface="Arial" panose="020B0604020202020204" pitchFamily="34" charset="0"/>
              <a:sym typeface="Century Gothic"/>
            </a:endParaRPr>
          </a:p>
        </p:txBody>
      </p:sp>
      <p:sp>
        <p:nvSpPr>
          <p:cNvPr id="19" name="Google Shape;2841;p45">
            <a:extLst>
              <a:ext uri="{FF2B5EF4-FFF2-40B4-BE49-F238E27FC236}">
                <a16:creationId xmlns:a16="http://schemas.microsoft.com/office/drawing/2014/main" id="{7D2CB43C-EC88-276D-483E-C2EB3F1BC492}"/>
              </a:ext>
            </a:extLst>
          </p:cNvPr>
          <p:cNvSpPr/>
          <p:nvPr/>
        </p:nvSpPr>
        <p:spPr>
          <a:xfrm>
            <a:off x="7006964" y="1209490"/>
            <a:ext cx="843775" cy="843775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2400" dirty="0">
              <a:solidFill>
                <a:schemeClr val="lt1"/>
              </a:solidFill>
              <a:ea typeface="Century Gothic"/>
              <a:cs typeface="Arial" panose="020B0604020202020204" pitchFamily="34" charset="0"/>
              <a:sym typeface="Century Gothic"/>
            </a:endParaRPr>
          </a:p>
        </p:txBody>
      </p:sp>
      <p:sp>
        <p:nvSpPr>
          <p:cNvPr id="20" name="Freeform 1532">
            <a:extLst>
              <a:ext uri="{FF2B5EF4-FFF2-40B4-BE49-F238E27FC236}">
                <a16:creationId xmlns:a16="http://schemas.microsoft.com/office/drawing/2014/main" id="{54C485F0-4D62-52BC-4D36-7F6BF0450DE0}"/>
              </a:ext>
            </a:extLst>
          </p:cNvPr>
          <p:cNvSpPr>
            <a:spLocks noEditPoints="1"/>
          </p:cNvSpPr>
          <p:nvPr/>
        </p:nvSpPr>
        <p:spPr bwMode="auto">
          <a:xfrm>
            <a:off x="7497274" y="1698657"/>
            <a:ext cx="90189" cy="88688"/>
          </a:xfrm>
          <a:custGeom>
            <a:avLst/>
            <a:gdLst>
              <a:gd name="T0" fmla="*/ 16 w 41"/>
              <a:gd name="T1" fmla="*/ 41 h 41"/>
              <a:gd name="T2" fmla="*/ 13 w 41"/>
              <a:gd name="T3" fmla="*/ 40 h 41"/>
              <a:gd name="T4" fmla="*/ 1 w 41"/>
              <a:gd name="T5" fmla="*/ 28 h 41"/>
              <a:gd name="T6" fmla="*/ 0 w 41"/>
              <a:gd name="T7" fmla="*/ 24 h 41"/>
              <a:gd name="T8" fmla="*/ 5 w 41"/>
              <a:gd name="T9" fmla="*/ 7 h 41"/>
              <a:gd name="T10" fmla="*/ 7 w 41"/>
              <a:gd name="T11" fmla="*/ 5 h 41"/>
              <a:gd name="T12" fmla="*/ 24 w 41"/>
              <a:gd name="T13" fmla="*/ 0 h 41"/>
              <a:gd name="T14" fmla="*/ 28 w 41"/>
              <a:gd name="T15" fmla="*/ 1 h 41"/>
              <a:gd name="T16" fmla="*/ 40 w 41"/>
              <a:gd name="T17" fmla="*/ 14 h 41"/>
              <a:gd name="T18" fmla="*/ 40 w 41"/>
              <a:gd name="T19" fmla="*/ 14 h 41"/>
              <a:gd name="T20" fmla="*/ 41 w 41"/>
              <a:gd name="T21" fmla="*/ 17 h 41"/>
              <a:gd name="T22" fmla="*/ 36 w 41"/>
              <a:gd name="T23" fmla="*/ 34 h 41"/>
              <a:gd name="T24" fmla="*/ 34 w 41"/>
              <a:gd name="T25" fmla="*/ 37 h 41"/>
              <a:gd name="T26" fmla="*/ 17 w 41"/>
              <a:gd name="T27" fmla="*/ 41 h 41"/>
              <a:gd name="T28" fmla="*/ 16 w 41"/>
              <a:gd name="T29" fmla="*/ 41 h 41"/>
              <a:gd name="T30" fmla="*/ 5 w 41"/>
              <a:gd name="T31" fmla="*/ 25 h 41"/>
              <a:gd name="T32" fmla="*/ 16 w 41"/>
              <a:gd name="T33" fmla="*/ 36 h 41"/>
              <a:gd name="T34" fmla="*/ 32 w 41"/>
              <a:gd name="T35" fmla="*/ 32 h 41"/>
              <a:gd name="T36" fmla="*/ 36 w 41"/>
              <a:gd name="T37" fmla="*/ 17 h 41"/>
              <a:gd name="T38" fmla="*/ 25 w 41"/>
              <a:gd name="T39" fmla="*/ 5 h 41"/>
              <a:gd name="T40" fmla="*/ 9 w 41"/>
              <a:gd name="T41" fmla="*/ 9 h 41"/>
              <a:gd name="T42" fmla="*/ 5 w 41"/>
              <a:gd name="T43" fmla="*/ 25 h 41"/>
              <a:gd name="T44" fmla="*/ 32 w 41"/>
              <a:gd name="T45" fmla="*/ 33 h 41"/>
              <a:gd name="T46" fmla="*/ 32 w 41"/>
              <a:gd name="T47" fmla="*/ 33 h 41"/>
              <a:gd name="T48" fmla="*/ 5 w 41"/>
              <a:gd name="T49" fmla="*/ 26 h 41"/>
              <a:gd name="T50" fmla="*/ 5 w 41"/>
              <a:gd name="T51" fmla="*/ 26 h 41"/>
              <a:gd name="T52" fmla="*/ 5 w 41"/>
              <a:gd name="T53" fmla="*/ 26 h 41"/>
              <a:gd name="T54" fmla="*/ 36 w 41"/>
              <a:gd name="T55" fmla="*/ 16 h 41"/>
              <a:gd name="T56" fmla="*/ 36 w 41"/>
              <a:gd name="T57" fmla="*/ 16 h 41"/>
              <a:gd name="T58" fmla="*/ 9 w 41"/>
              <a:gd name="T59" fmla="*/ 9 h 41"/>
              <a:gd name="T60" fmla="*/ 9 w 41"/>
              <a:gd name="T61" fmla="*/ 9 h 41"/>
              <a:gd name="T62" fmla="*/ 9 w 41"/>
              <a:gd name="T63" fmla="*/ 9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41" h="41">
                <a:moveTo>
                  <a:pt x="16" y="41"/>
                </a:moveTo>
                <a:cubicBezTo>
                  <a:pt x="15" y="41"/>
                  <a:pt x="14" y="41"/>
                  <a:pt x="13" y="40"/>
                </a:cubicBezTo>
                <a:cubicBezTo>
                  <a:pt x="1" y="28"/>
                  <a:pt x="1" y="28"/>
                  <a:pt x="1" y="28"/>
                </a:cubicBezTo>
                <a:cubicBezTo>
                  <a:pt x="0" y="27"/>
                  <a:pt x="0" y="26"/>
                  <a:pt x="0" y="24"/>
                </a:cubicBezTo>
                <a:cubicBezTo>
                  <a:pt x="5" y="7"/>
                  <a:pt x="5" y="7"/>
                  <a:pt x="5" y="7"/>
                </a:cubicBezTo>
                <a:cubicBezTo>
                  <a:pt x="5" y="6"/>
                  <a:pt x="6" y="5"/>
                  <a:pt x="7" y="5"/>
                </a:cubicBezTo>
                <a:cubicBezTo>
                  <a:pt x="24" y="0"/>
                  <a:pt x="24" y="0"/>
                  <a:pt x="24" y="0"/>
                </a:cubicBezTo>
                <a:cubicBezTo>
                  <a:pt x="25" y="0"/>
                  <a:pt x="27" y="0"/>
                  <a:pt x="28" y="1"/>
                </a:cubicBezTo>
                <a:cubicBezTo>
                  <a:pt x="40" y="14"/>
                  <a:pt x="40" y="14"/>
                  <a:pt x="40" y="14"/>
                </a:cubicBezTo>
                <a:cubicBezTo>
                  <a:pt x="40" y="14"/>
                  <a:pt x="40" y="14"/>
                  <a:pt x="40" y="14"/>
                </a:cubicBezTo>
                <a:cubicBezTo>
                  <a:pt x="41" y="15"/>
                  <a:pt x="41" y="16"/>
                  <a:pt x="41" y="17"/>
                </a:cubicBezTo>
                <a:cubicBezTo>
                  <a:pt x="36" y="34"/>
                  <a:pt x="36" y="34"/>
                  <a:pt x="36" y="34"/>
                </a:cubicBezTo>
                <a:cubicBezTo>
                  <a:pt x="36" y="35"/>
                  <a:pt x="35" y="36"/>
                  <a:pt x="34" y="37"/>
                </a:cubicBezTo>
                <a:cubicBezTo>
                  <a:pt x="17" y="41"/>
                  <a:pt x="17" y="41"/>
                  <a:pt x="17" y="41"/>
                </a:cubicBezTo>
                <a:cubicBezTo>
                  <a:pt x="17" y="41"/>
                  <a:pt x="16" y="41"/>
                  <a:pt x="16" y="41"/>
                </a:cubicBezTo>
                <a:close/>
                <a:moveTo>
                  <a:pt x="5" y="25"/>
                </a:moveTo>
                <a:cubicBezTo>
                  <a:pt x="16" y="36"/>
                  <a:pt x="16" y="36"/>
                  <a:pt x="16" y="36"/>
                </a:cubicBezTo>
                <a:cubicBezTo>
                  <a:pt x="32" y="32"/>
                  <a:pt x="32" y="32"/>
                  <a:pt x="32" y="32"/>
                </a:cubicBezTo>
                <a:cubicBezTo>
                  <a:pt x="36" y="17"/>
                  <a:pt x="36" y="17"/>
                  <a:pt x="36" y="17"/>
                </a:cubicBezTo>
                <a:cubicBezTo>
                  <a:pt x="25" y="5"/>
                  <a:pt x="25" y="5"/>
                  <a:pt x="25" y="5"/>
                </a:cubicBezTo>
                <a:cubicBezTo>
                  <a:pt x="9" y="9"/>
                  <a:pt x="9" y="9"/>
                  <a:pt x="9" y="9"/>
                </a:cubicBezTo>
                <a:lnTo>
                  <a:pt x="5" y="25"/>
                </a:lnTo>
                <a:close/>
                <a:moveTo>
                  <a:pt x="32" y="33"/>
                </a:moveTo>
                <a:cubicBezTo>
                  <a:pt x="32" y="33"/>
                  <a:pt x="32" y="33"/>
                  <a:pt x="32" y="33"/>
                </a:cubicBezTo>
                <a:close/>
                <a:moveTo>
                  <a:pt x="5" y="26"/>
                </a:moveTo>
                <a:cubicBezTo>
                  <a:pt x="5" y="26"/>
                  <a:pt x="5" y="26"/>
                  <a:pt x="5" y="26"/>
                </a:cubicBezTo>
                <a:cubicBezTo>
                  <a:pt x="5" y="26"/>
                  <a:pt x="5" y="26"/>
                  <a:pt x="5" y="26"/>
                </a:cubicBezTo>
                <a:close/>
                <a:moveTo>
                  <a:pt x="36" y="16"/>
                </a:moveTo>
                <a:cubicBezTo>
                  <a:pt x="36" y="16"/>
                  <a:pt x="36" y="16"/>
                  <a:pt x="36" y="16"/>
                </a:cubicBezTo>
                <a:close/>
                <a:moveTo>
                  <a:pt x="9" y="9"/>
                </a:moveTo>
                <a:cubicBezTo>
                  <a:pt x="9" y="9"/>
                  <a:pt x="9" y="9"/>
                  <a:pt x="9" y="9"/>
                </a:cubicBezTo>
                <a:cubicBezTo>
                  <a:pt x="9" y="9"/>
                  <a:pt x="9" y="9"/>
                  <a:pt x="9" y="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21" name="Freeform 1533">
            <a:extLst>
              <a:ext uri="{FF2B5EF4-FFF2-40B4-BE49-F238E27FC236}">
                <a16:creationId xmlns:a16="http://schemas.microsoft.com/office/drawing/2014/main" id="{FE17D80A-7B75-BB99-00AF-DC401E645CE0}"/>
              </a:ext>
            </a:extLst>
          </p:cNvPr>
          <p:cNvSpPr>
            <a:spLocks/>
          </p:cNvSpPr>
          <p:nvPr/>
        </p:nvSpPr>
        <p:spPr bwMode="auto">
          <a:xfrm>
            <a:off x="7248473" y="1452474"/>
            <a:ext cx="101076" cy="99393"/>
          </a:xfrm>
          <a:custGeom>
            <a:avLst/>
            <a:gdLst>
              <a:gd name="T0" fmla="*/ 18 w 46"/>
              <a:gd name="T1" fmla="*/ 46 h 46"/>
              <a:gd name="T2" fmla="*/ 16 w 46"/>
              <a:gd name="T3" fmla="*/ 45 h 46"/>
              <a:gd name="T4" fmla="*/ 1 w 46"/>
              <a:gd name="T5" fmla="*/ 30 h 46"/>
              <a:gd name="T6" fmla="*/ 1 w 46"/>
              <a:gd name="T7" fmla="*/ 26 h 46"/>
              <a:gd name="T8" fmla="*/ 5 w 46"/>
              <a:gd name="T9" fmla="*/ 26 h 46"/>
              <a:gd name="T10" fmla="*/ 19 w 46"/>
              <a:gd name="T11" fmla="*/ 41 h 46"/>
              <a:gd name="T12" fmla="*/ 36 w 46"/>
              <a:gd name="T13" fmla="*/ 36 h 46"/>
              <a:gd name="T14" fmla="*/ 40 w 46"/>
              <a:gd name="T15" fmla="*/ 19 h 46"/>
              <a:gd name="T16" fmla="*/ 26 w 46"/>
              <a:gd name="T17" fmla="*/ 5 h 46"/>
              <a:gd name="T18" fmla="*/ 26 w 46"/>
              <a:gd name="T19" fmla="*/ 1 h 46"/>
              <a:gd name="T20" fmla="*/ 30 w 46"/>
              <a:gd name="T21" fmla="*/ 1 h 46"/>
              <a:gd name="T22" fmla="*/ 45 w 46"/>
              <a:gd name="T23" fmla="*/ 17 h 46"/>
              <a:gd name="T24" fmla="*/ 45 w 46"/>
              <a:gd name="T25" fmla="*/ 19 h 46"/>
              <a:gd name="T26" fmla="*/ 40 w 46"/>
              <a:gd name="T27" fmla="*/ 39 h 46"/>
              <a:gd name="T28" fmla="*/ 38 w 46"/>
              <a:gd name="T29" fmla="*/ 40 h 46"/>
              <a:gd name="T30" fmla="*/ 19 w 46"/>
              <a:gd name="T31" fmla="*/ 46 h 46"/>
              <a:gd name="T32" fmla="*/ 18 w 46"/>
              <a:gd name="T33" fmla="*/ 46 h 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46" h="46">
                <a:moveTo>
                  <a:pt x="18" y="46"/>
                </a:moveTo>
                <a:cubicBezTo>
                  <a:pt x="18" y="46"/>
                  <a:pt x="17" y="46"/>
                  <a:pt x="16" y="45"/>
                </a:cubicBezTo>
                <a:cubicBezTo>
                  <a:pt x="1" y="30"/>
                  <a:pt x="1" y="30"/>
                  <a:pt x="1" y="30"/>
                </a:cubicBezTo>
                <a:cubicBezTo>
                  <a:pt x="0" y="29"/>
                  <a:pt x="0" y="27"/>
                  <a:pt x="1" y="26"/>
                </a:cubicBezTo>
                <a:cubicBezTo>
                  <a:pt x="2" y="25"/>
                  <a:pt x="4" y="25"/>
                  <a:pt x="5" y="26"/>
                </a:cubicBezTo>
                <a:cubicBezTo>
                  <a:pt x="19" y="41"/>
                  <a:pt x="19" y="41"/>
                  <a:pt x="19" y="41"/>
                </a:cubicBezTo>
                <a:cubicBezTo>
                  <a:pt x="36" y="36"/>
                  <a:pt x="36" y="36"/>
                  <a:pt x="36" y="36"/>
                </a:cubicBezTo>
                <a:cubicBezTo>
                  <a:pt x="40" y="19"/>
                  <a:pt x="40" y="19"/>
                  <a:pt x="40" y="19"/>
                </a:cubicBezTo>
                <a:cubicBezTo>
                  <a:pt x="26" y="5"/>
                  <a:pt x="26" y="5"/>
                  <a:pt x="26" y="5"/>
                </a:cubicBezTo>
                <a:cubicBezTo>
                  <a:pt x="25" y="4"/>
                  <a:pt x="25" y="2"/>
                  <a:pt x="26" y="1"/>
                </a:cubicBezTo>
                <a:cubicBezTo>
                  <a:pt x="27" y="0"/>
                  <a:pt x="29" y="0"/>
                  <a:pt x="30" y="1"/>
                </a:cubicBezTo>
                <a:cubicBezTo>
                  <a:pt x="45" y="17"/>
                  <a:pt x="45" y="17"/>
                  <a:pt x="45" y="17"/>
                </a:cubicBezTo>
                <a:cubicBezTo>
                  <a:pt x="45" y="17"/>
                  <a:pt x="46" y="18"/>
                  <a:pt x="45" y="19"/>
                </a:cubicBezTo>
                <a:cubicBezTo>
                  <a:pt x="40" y="39"/>
                  <a:pt x="40" y="39"/>
                  <a:pt x="40" y="39"/>
                </a:cubicBezTo>
                <a:cubicBezTo>
                  <a:pt x="40" y="40"/>
                  <a:pt x="39" y="40"/>
                  <a:pt x="38" y="40"/>
                </a:cubicBezTo>
                <a:cubicBezTo>
                  <a:pt x="19" y="46"/>
                  <a:pt x="19" y="46"/>
                  <a:pt x="19" y="46"/>
                </a:cubicBezTo>
                <a:cubicBezTo>
                  <a:pt x="19" y="46"/>
                  <a:pt x="18" y="46"/>
                  <a:pt x="18" y="46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22" name="Freeform 1534">
            <a:extLst>
              <a:ext uri="{FF2B5EF4-FFF2-40B4-BE49-F238E27FC236}">
                <a16:creationId xmlns:a16="http://schemas.microsoft.com/office/drawing/2014/main" id="{43266A15-D2E1-18D7-67A7-74911C7F19FD}"/>
              </a:ext>
            </a:extLst>
          </p:cNvPr>
          <p:cNvSpPr>
            <a:spLocks/>
          </p:cNvSpPr>
          <p:nvPr/>
        </p:nvSpPr>
        <p:spPr bwMode="auto">
          <a:xfrm>
            <a:off x="7245362" y="1505993"/>
            <a:ext cx="113517" cy="87158"/>
          </a:xfrm>
          <a:custGeom>
            <a:avLst/>
            <a:gdLst>
              <a:gd name="T0" fmla="*/ 33 w 51"/>
              <a:gd name="T1" fmla="*/ 40 h 40"/>
              <a:gd name="T2" fmla="*/ 11 w 51"/>
              <a:gd name="T3" fmla="*/ 30 h 40"/>
              <a:gd name="T4" fmla="*/ 1 w 51"/>
              <a:gd name="T5" fmla="*/ 3 h 40"/>
              <a:gd name="T6" fmla="*/ 4 w 51"/>
              <a:gd name="T7" fmla="*/ 1 h 40"/>
              <a:gd name="T8" fmla="*/ 6 w 51"/>
              <a:gd name="T9" fmla="*/ 3 h 40"/>
              <a:gd name="T10" fmla="*/ 14 w 51"/>
              <a:gd name="T11" fmla="*/ 27 h 40"/>
              <a:gd name="T12" fmla="*/ 47 w 51"/>
              <a:gd name="T13" fmla="*/ 31 h 40"/>
              <a:gd name="T14" fmla="*/ 50 w 51"/>
              <a:gd name="T15" fmla="*/ 32 h 40"/>
              <a:gd name="T16" fmla="*/ 50 w 51"/>
              <a:gd name="T17" fmla="*/ 35 h 40"/>
              <a:gd name="T18" fmla="*/ 33 w 51"/>
              <a:gd name="T19" fmla="*/ 40 h 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51" h="40">
                <a:moveTo>
                  <a:pt x="33" y="40"/>
                </a:moveTo>
                <a:cubicBezTo>
                  <a:pt x="25" y="40"/>
                  <a:pt x="17" y="36"/>
                  <a:pt x="11" y="30"/>
                </a:cubicBezTo>
                <a:cubicBezTo>
                  <a:pt x="3" y="23"/>
                  <a:pt x="0" y="13"/>
                  <a:pt x="1" y="3"/>
                </a:cubicBezTo>
                <a:cubicBezTo>
                  <a:pt x="2" y="1"/>
                  <a:pt x="3" y="0"/>
                  <a:pt x="4" y="1"/>
                </a:cubicBezTo>
                <a:cubicBezTo>
                  <a:pt x="6" y="1"/>
                  <a:pt x="7" y="2"/>
                  <a:pt x="6" y="3"/>
                </a:cubicBezTo>
                <a:cubicBezTo>
                  <a:pt x="5" y="12"/>
                  <a:pt x="8" y="21"/>
                  <a:pt x="14" y="27"/>
                </a:cubicBezTo>
                <a:cubicBezTo>
                  <a:pt x="23" y="36"/>
                  <a:pt x="36" y="37"/>
                  <a:pt x="47" y="31"/>
                </a:cubicBezTo>
                <a:cubicBezTo>
                  <a:pt x="48" y="30"/>
                  <a:pt x="50" y="31"/>
                  <a:pt x="50" y="32"/>
                </a:cubicBezTo>
                <a:cubicBezTo>
                  <a:pt x="51" y="33"/>
                  <a:pt x="51" y="34"/>
                  <a:pt x="50" y="35"/>
                </a:cubicBezTo>
                <a:cubicBezTo>
                  <a:pt x="45" y="38"/>
                  <a:pt x="39" y="40"/>
                  <a:pt x="33" y="4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23" name="Freeform 1535">
            <a:extLst>
              <a:ext uri="{FF2B5EF4-FFF2-40B4-BE49-F238E27FC236}">
                <a16:creationId xmlns:a16="http://schemas.microsoft.com/office/drawing/2014/main" id="{F945B64D-9C96-9AF9-D191-218C25BB7DC6}"/>
              </a:ext>
            </a:extLst>
          </p:cNvPr>
          <p:cNvSpPr>
            <a:spLocks/>
          </p:cNvSpPr>
          <p:nvPr/>
        </p:nvSpPr>
        <p:spPr bwMode="auto">
          <a:xfrm>
            <a:off x="7302898" y="1449416"/>
            <a:ext cx="93299" cy="111625"/>
          </a:xfrm>
          <a:custGeom>
            <a:avLst/>
            <a:gdLst>
              <a:gd name="T0" fmla="*/ 33 w 42"/>
              <a:gd name="T1" fmla="*/ 51 h 51"/>
              <a:gd name="T2" fmla="*/ 31 w 42"/>
              <a:gd name="T3" fmla="*/ 51 h 51"/>
              <a:gd name="T4" fmla="*/ 31 w 42"/>
              <a:gd name="T5" fmla="*/ 47 h 51"/>
              <a:gd name="T6" fmla="*/ 26 w 42"/>
              <a:gd name="T7" fmla="*/ 14 h 51"/>
              <a:gd name="T8" fmla="*/ 3 w 42"/>
              <a:gd name="T9" fmla="*/ 7 h 51"/>
              <a:gd name="T10" fmla="*/ 0 w 42"/>
              <a:gd name="T11" fmla="*/ 5 h 51"/>
              <a:gd name="T12" fmla="*/ 2 w 42"/>
              <a:gd name="T13" fmla="*/ 2 h 51"/>
              <a:gd name="T14" fmla="*/ 30 w 42"/>
              <a:gd name="T15" fmla="*/ 11 h 51"/>
              <a:gd name="T16" fmla="*/ 35 w 42"/>
              <a:gd name="T17" fmla="*/ 50 h 51"/>
              <a:gd name="T18" fmla="*/ 33 w 42"/>
              <a:gd name="T19" fmla="*/ 51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2" h="51">
                <a:moveTo>
                  <a:pt x="33" y="51"/>
                </a:moveTo>
                <a:cubicBezTo>
                  <a:pt x="32" y="51"/>
                  <a:pt x="32" y="51"/>
                  <a:pt x="31" y="51"/>
                </a:cubicBezTo>
                <a:cubicBezTo>
                  <a:pt x="30" y="50"/>
                  <a:pt x="30" y="49"/>
                  <a:pt x="31" y="47"/>
                </a:cubicBezTo>
                <a:cubicBezTo>
                  <a:pt x="37" y="37"/>
                  <a:pt x="35" y="23"/>
                  <a:pt x="26" y="14"/>
                </a:cubicBezTo>
                <a:cubicBezTo>
                  <a:pt x="20" y="8"/>
                  <a:pt x="12" y="5"/>
                  <a:pt x="3" y="7"/>
                </a:cubicBezTo>
                <a:cubicBezTo>
                  <a:pt x="2" y="7"/>
                  <a:pt x="1" y="6"/>
                  <a:pt x="0" y="5"/>
                </a:cubicBezTo>
                <a:cubicBezTo>
                  <a:pt x="0" y="3"/>
                  <a:pt x="1" y="2"/>
                  <a:pt x="2" y="2"/>
                </a:cubicBezTo>
                <a:cubicBezTo>
                  <a:pt x="12" y="0"/>
                  <a:pt x="23" y="4"/>
                  <a:pt x="30" y="11"/>
                </a:cubicBezTo>
                <a:cubicBezTo>
                  <a:pt x="40" y="21"/>
                  <a:pt x="42" y="37"/>
                  <a:pt x="35" y="50"/>
                </a:cubicBezTo>
                <a:cubicBezTo>
                  <a:pt x="34" y="51"/>
                  <a:pt x="34" y="51"/>
                  <a:pt x="33" y="5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24" name="Freeform 1536">
            <a:extLst>
              <a:ext uri="{FF2B5EF4-FFF2-40B4-BE49-F238E27FC236}">
                <a16:creationId xmlns:a16="http://schemas.microsoft.com/office/drawing/2014/main" id="{425F7E0F-5C54-9EB6-FA4C-8027BBDD13E2}"/>
              </a:ext>
            </a:extLst>
          </p:cNvPr>
          <p:cNvSpPr>
            <a:spLocks/>
          </p:cNvSpPr>
          <p:nvPr/>
        </p:nvSpPr>
        <p:spPr bwMode="auto">
          <a:xfrm>
            <a:off x="7347994" y="1574801"/>
            <a:ext cx="57537" cy="53519"/>
          </a:xfrm>
          <a:custGeom>
            <a:avLst/>
            <a:gdLst>
              <a:gd name="T0" fmla="*/ 23 w 26"/>
              <a:gd name="T1" fmla="*/ 25 h 25"/>
              <a:gd name="T2" fmla="*/ 21 w 26"/>
              <a:gd name="T3" fmla="*/ 25 h 25"/>
              <a:gd name="T4" fmla="*/ 1 w 26"/>
              <a:gd name="T5" fmla="*/ 4 h 25"/>
              <a:gd name="T6" fmla="*/ 1 w 26"/>
              <a:gd name="T7" fmla="*/ 1 h 25"/>
              <a:gd name="T8" fmla="*/ 5 w 26"/>
              <a:gd name="T9" fmla="*/ 1 h 25"/>
              <a:gd name="T10" fmla="*/ 25 w 26"/>
              <a:gd name="T11" fmla="*/ 21 h 25"/>
              <a:gd name="T12" fmla="*/ 25 w 26"/>
              <a:gd name="T13" fmla="*/ 25 h 25"/>
              <a:gd name="T14" fmla="*/ 23 w 26"/>
              <a:gd name="T15" fmla="*/ 25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6" h="25">
                <a:moveTo>
                  <a:pt x="23" y="25"/>
                </a:moveTo>
                <a:cubicBezTo>
                  <a:pt x="23" y="25"/>
                  <a:pt x="22" y="25"/>
                  <a:pt x="21" y="25"/>
                </a:cubicBezTo>
                <a:cubicBezTo>
                  <a:pt x="1" y="4"/>
                  <a:pt x="1" y="4"/>
                  <a:pt x="1" y="4"/>
                </a:cubicBezTo>
                <a:cubicBezTo>
                  <a:pt x="0" y="3"/>
                  <a:pt x="0" y="2"/>
                  <a:pt x="1" y="1"/>
                </a:cubicBezTo>
                <a:cubicBezTo>
                  <a:pt x="2" y="0"/>
                  <a:pt x="4" y="0"/>
                  <a:pt x="5" y="1"/>
                </a:cubicBezTo>
                <a:cubicBezTo>
                  <a:pt x="25" y="21"/>
                  <a:pt x="25" y="21"/>
                  <a:pt x="25" y="21"/>
                </a:cubicBezTo>
                <a:cubicBezTo>
                  <a:pt x="26" y="22"/>
                  <a:pt x="26" y="24"/>
                  <a:pt x="25" y="25"/>
                </a:cubicBezTo>
                <a:cubicBezTo>
                  <a:pt x="24" y="25"/>
                  <a:pt x="24" y="25"/>
                  <a:pt x="23" y="2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25" name="Freeform 1537">
            <a:extLst>
              <a:ext uri="{FF2B5EF4-FFF2-40B4-BE49-F238E27FC236}">
                <a16:creationId xmlns:a16="http://schemas.microsoft.com/office/drawing/2014/main" id="{353379A0-9077-FF7F-5E39-C284AEBCDBAC}"/>
              </a:ext>
            </a:extLst>
          </p:cNvPr>
          <p:cNvSpPr>
            <a:spLocks/>
          </p:cNvSpPr>
          <p:nvPr/>
        </p:nvSpPr>
        <p:spPr bwMode="auto">
          <a:xfrm>
            <a:off x="7433520" y="1658900"/>
            <a:ext cx="59089" cy="56579"/>
          </a:xfrm>
          <a:custGeom>
            <a:avLst/>
            <a:gdLst>
              <a:gd name="T0" fmla="*/ 24 w 27"/>
              <a:gd name="T1" fmla="*/ 26 h 26"/>
              <a:gd name="T2" fmla="*/ 22 w 27"/>
              <a:gd name="T3" fmla="*/ 26 h 26"/>
              <a:gd name="T4" fmla="*/ 1 w 27"/>
              <a:gd name="T5" fmla="*/ 4 h 26"/>
              <a:gd name="T6" fmla="*/ 1 w 27"/>
              <a:gd name="T7" fmla="*/ 1 h 26"/>
              <a:gd name="T8" fmla="*/ 5 w 27"/>
              <a:gd name="T9" fmla="*/ 1 h 26"/>
              <a:gd name="T10" fmla="*/ 26 w 27"/>
              <a:gd name="T11" fmla="*/ 22 h 26"/>
              <a:gd name="T12" fmla="*/ 26 w 27"/>
              <a:gd name="T13" fmla="*/ 26 h 26"/>
              <a:gd name="T14" fmla="*/ 24 w 27"/>
              <a:gd name="T15" fmla="*/ 26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7" h="26">
                <a:moveTo>
                  <a:pt x="24" y="26"/>
                </a:moveTo>
                <a:cubicBezTo>
                  <a:pt x="24" y="26"/>
                  <a:pt x="23" y="26"/>
                  <a:pt x="22" y="26"/>
                </a:cubicBezTo>
                <a:cubicBezTo>
                  <a:pt x="1" y="4"/>
                  <a:pt x="1" y="4"/>
                  <a:pt x="1" y="4"/>
                </a:cubicBezTo>
                <a:cubicBezTo>
                  <a:pt x="0" y="3"/>
                  <a:pt x="0" y="2"/>
                  <a:pt x="1" y="1"/>
                </a:cubicBezTo>
                <a:cubicBezTo>
                  <a:pt x="2" y="0"/>
                  <a:pt x="4" y="0"/>
                  <a:pt x="5" y="1"/>
                </a:cubicBezTo>
                <a:cubicBezTo>
                  <a:pt x="26" y="22"/>
                  <a:pt x="26" y="22"/>
                  <a:pt x="26" y="22"/>
                </a:cubicBezTo>
                <a:cubicBezTo>
                  <a:pt x="27" y="23"/>
                  <a:pt x="27" y="25"/>
                  <a:pt x="26" y="26"/>
                </a:cubicBezTo>
                <a:cubicBezTo>
                  <a:pt x="25" y="26"/>
                  <a:pt x="25" y="26"/>
                  <a:pt x="24" y="26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26" name="Freeform 1538">
            <a:extLst>
              <a:ext uri="{FF2B5EF4-FFF2-40B4-BE49-F238E27FC236}">
                <a16:creationId xmlns:a16="http://schemas.microsoft.com/office/drawing/2014/main" id="{E399C190-98E5-E4FC-68B9-BBF828588260}"/>
              </a:ext>
            </a:extLst>
          </p:cNvPr>
          <p:cNvSpPr>
            <a:spLocks/>
          </p:cNvSpPr>
          <p:nvPr/>
        </p:nvSpPr>
        <p:spPr bwMode="auto">
          <a:xfrm>
            <a:off x="7371317" y="1551863"/>
            <a:ext cx="144617" cy="142208"/>
          </a:xfrm>
          <a:custGeom>
            <a:avLst/>
            <a:gdLst>
              <a:gd name="T0" fmla="*/ 63 w 65"/>
              <a:gd name="T1" fmla="*/ 65 h 65"/>
              <a:gd name="T2" fmla="*/ 61 w 65"/>
              <a:gd name="T3" fmla="*/ 64 h 65"/>
              <a:gd name="T4" fmla="*/ 1 w 65"/>
              <a:gd name="T5" fmla="*/ 4 h 65"/>
              <a:gd name="T6" fmla="*/ 1 w 65"/>
              <a:gd name="T7" fmla="*/ 1 h 65"/>
              <a:gd name="T8" fmla="*/ 4 w 65"/>
              <a:gd name="T9" fmla="*/ 1 h 65"/>
              <a:gd name="T10" fmla="*/ 64 w 65"/>
              <a:gd name="T11" fmla="*/ 61 h 65"/>
              <a:gd name="T12" fmla="*/ 64 w 65"/>
              <a:gd name="T13" fmla="*/ 64 h 65"/>
              <a:gd name="T14" fmla="*/ 63 w 65"/>
              <a:gd name="T15" fmla="*/ 65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65" h="65">
                <a:moveTo>
                  <a:pt x="63" y="65"/>
                </a:moveTo>
                <a:cubicBezTo>
                  <a:pt x="62" y="65"/>
                  <a:pt x="61" y="65"/>
                  <a:pt x="61" y="64"/>
                </a:cubicBezTo>
                <a:cubicBezTo>
                  <a:pt x="1" y="4"/>
                  <a:pt x="1" y="4"/>
                  <a:pt x="1" y="4"/>
                </a:cubicBezTo>
                <a:cubicBezTo>
                  <a:pt x="0" y="3"/>
                  <a:pt x="0" y="2"/>
                  <a:pt x="1" y="1"/>
                </a:cubicBezTo>
                <a:cubicBezTo>
                  <a:pt x="2" y="0"/>
                  <a:pt x="3" y="0"/>
                  <a:pt x="4" y="1"/>
                </a:cubicBezTo>
                <a:cubicBezTo>
                  <a:pt x="64" y="61"/>
                  <a:pt x="64" y="61"/>
                  <a:pt x="64" y="61"/>
                </a:cubicBezTo>
                <a:cubicBezTo>
                  <a:pt x="65" y="62"/>
                  <a:pt x="65" y="63"/>
                  <a:pt x="64" y="64"/>
                </a:cubicBezTo>
                <a:cubicBezTo>
                  <a:pt x="64" y="65"/>
                  <a:pt x="63" y="65"/>
                  <a:pt x="63" y="6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27" name="Freeform 1539">
            <a:extLst>
              <a:ext uri="{FF2B5EF4-FFF2-40B4-BE49-F238E27FC236}">
                <a16:creationId xmlns:a16="http://schemas.microsoft.com/office/drawing/2014/main" id="{078AE3FB-1CF8-2F37-9862-FAD3E46579DC}"/>
              </a:ext>
            </a:extLst>
          </p:cNvPr>
          <p:cNvSpPr>
            <a:spLocks/>
          </p:cNvSpPr>
          <p:nvPr/>
        </p:nvSpPr>
        <p:spPr bwMode="auto">
          <a:xfrm>
            <a:off x="7466174" y="1668077"/>
            <a:ext cx="146170" cy="145264"/>
          </a:xfrm>
          <a:custGeom>
            <a:avLst/>
            <a:gdLst>
              <a:gd name="T0" fmla="*/ 34 w 66"/>
              <a:gd name="T1" fmla="*/ 67 h 67"/>
              <a:gd name="T2" fmla="*/ 12 w 66"/>
              <a:gd name="T3" fmla="*/ 57 h 67"/>
              <a:gd name="T4" fmla="*/ 7 w 66"/>
              <a:gd name="T5" fmla="*/ 19 h 67"/>
              <a:gd name="T6" fmla="*/ 10 w 66"/>
              <a:gd name="T7" fmla="*/ 18 h 67"/>
              <a:gd name="T8" fmla="*/ 11 w 66"/>
              <a:gd name="T9" fmla="*/ 21 h 67"/>
              <a:gd name="T10" fmla="*/ 16 w 66"/>
              <a:gd name="T11" fmla="*/ 54 h 67"/>
              <a:gd name="T12" fmla="*/ 34 w 66"/>
              <a:gd name="T13" fmla="*/ 62 h 67"/>
              <a:gd name="T14" fmla="*/ 53 w 66"/>
              <a:gd name="T15" fmla="*/ 54 h 67"/>
              <a:gd name="T16" fmla="*/ 61 w 66"/>
              <a:gd name="T17" fmla="*/ 35 h 67"/>
              <a:gd name="T18" fmla="*/ 53 w 66"/>
              <a:gd name="T19" fmla="*/ 16 h 67"/>
              <a:gd name="T20" fmla="*/ 21 w 66"/>
              <a:gd name="T21" fmla="*/ 12 h 67"/>
              <a:gd name="T22" fmla="*/ 18 w 66"/>
              <a:gd name="T23" fmla="*/ 11 h 67"/>
              <a:gd name="T24" fmla="*/ 18 w 66"/>
              <a:gd name="T25" fmla="*/ 7 h 67"/>
              <a:gd name="T26" fmla="*/ 57 w 66"/>
              <a:gd name="T27" fmla="*/ 12 h 67"/>
              <a:gd name="T28" fmla="*/ 66 w 66"/>
              <a:gd name="T29" fmla="*/ 35 h 67"/>
              <a:gd name="T30" fmla="*/ 57 w 66"/>
              <a:gd name="T31" fmla="*/ 57 h 67"/>
              <a:gd name="T32" fmla="*/ 34 w 66"/>
              <a:gd name="T33" fmla="*/ 67 h 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66" h="67">
                <a:moveTo>
                  <a:pt x="34" y="67"/>
                </a:moveTo>
                <a:cubicBezTo>
                  <a:pt x="26" y="67"/>
                  <a:pt x="18" y="63"/>
                  <a:pt x="12" y="57"/>
                </a:cubicBezTo>
                <a:cubicBezTo>
                  <a:pt x="2" y="47"/>
                  <a:pt x="0" y="31"/>
                  <a:pt x="7" y="19"/>
                </a:cubicBezTo>
                <a:cubicBezTo>
                  <a:pt x="8" y="18"/>
                  <a:pt x="9" y="17"/>
                  <a:pt x="10" y="18"/>
                </a:cubicBezTo>
                <a:cubicBezTo>
                  <a:pt x="12" y="19"/>
                  <a:pt x="12" y="20"/>
                  <a:pt x="11" y="21"/>
                </a:cubicBezTo>
                <a:cubicBezTo>
                  <a:pt x="5" y="32"/>
                  <a:pt x="7" y="45"/>
                  <a:pt x="16" y="54"/>
                </a:cubicBezTo>
                <a:cubicBezTo>
                  <a:pt x="21" y="59"/>
                  <a:pt x="27" y="62"/>
                  <a:pt x="34" y="62"/>
                </a:cubicBezTo>
                <a:cubicBezTo>
                  <a:pt x="42" y="62"/>
                  <a:pt x="48" y="59"/>
                  <a:pt x="53" y="54"/>
                </a:cubicBezTo>
                <a:cubicBezTo>
                  <a:pt x="59" y="49"/>
                  <a:pt x="61" y="42"/>
                  <a:pt x="61" y="35"/>
                </a:cubicBezTo>
                <a:cubicBezTo>
                  <a:pt x="61" y="28"/>
                  <a:pt x="59" y="21"/>
                  <a:pt x="53" y="16"/>
                </a:cubicBezTo>
                <a:cubicBezTo>
                  <a:pt x="45" y="7"/>
                  <a:pt x="31" y="5"/>
                  <a:pt x="21" y="12"/>
                </a:cubicBezTo>
                <a:cubicBezTo>
                  <a:pt x="20" y="12"/>
                  <a:pt x="18" y="12"/>
                  <a:pt x="18" y="11"/>
                </a:cubicBezTo>
                <a:cubicBezTo>
                  <a:pt x="17" y="10"/>
                  <a:pt x="17" y="8"/>
                  <a:pt x="18" y="7"/>
                </a:cubicBezTo>
                <a:cubicBezTo>
                  <a:pt x="31" y="0"/>
                  <a:pt x="47" y="2"/>
                  <a:pt x="57" y="12"/>
                </a:cubicBezTo>
                <a:cubicBezTo>
                  <a:pt x="63" y="18"/>
                  <a:pt x="66" y="26"/>
                  <a:pt x="66" y="35"/>
                </a:cubicBezTo>
                <a:cubicBezTo>
                  <a:pt x="66" y="43"/>
                  <a:pt x="63" y="51"/>
                  <a:pt x="57" y="57"/>
                </a:cubicBezTo>
                <a:cubicBezTo>
                  <a:pt x="51" y="63"/>
                  <a:pt x="43" y="67"/>
                  <a:pt x="34" y="6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28" name="Freeform 1540">
            <a:extLst>
              <a:ext uri="{FF2B5EF4-FFF2-40B4-BE49-F238E27FC236}">
                <a16:creationId xmlns:a16="http://schemas.microsoft.com/office/drawing/2014/main" id="{F0628BE8-1AF9-AC89-33EC-1A0FEB694FFA}"/>
              </a:ext>
            </a:extLst>
          </p:cNvPr>
          <p:cNvSpPr>
            <a:spLocks/>
          </p:cNvSpPr>
          <p:nvPr/>
        </p:nvSpPr>
        <p:spPr bwMode="auto">
          <a:xfrm>
            <a:off x="7417965" y="1464705"/>
            <a:ext cx="181935" cy="181961"/>
          </a:xfrm>
          <a:custGeom>
            <a:avLst/>
            <a:gdLst>
              <a:gd name="T0" fmla="*/ 2 w 82"/>
              <a:gd name="T1" fmla="*/ 83 h 83"/>
              <a:gd name="T2" fmla="*/ 1 w 82"/>
              <a:gd name="T3" fmla="*/ 82 h 83"/>
              <a:gd name="T4" fmla="*/ 1 w 82"/>
              <a:gd name="T5" fmla="*/ 78 h 83"/>
              <a:gd name="T6" fmla="*/ 78 w 82"/>
              <a:gd name="T7" fmla="*/ 1 h 83"/>
              <a:gd name="T8" fmla="*/ 81 w 82"/>
              <a:gd name="T9" fmla="*/ 1 h 83"/>
              <a:gd name="T10" fmla="*/ 81 w 82"/>
              <a:gd name="T11" fmla="*/ 5 h 83"/>
              <a:gd name="T12" fmla="*/ 4 w 82"/>
              <a:gd name="T13" fmla="*/ 82 h 83"/>
              <a:gd name="T14" fmla="*/ 2 w 82"/>
              <a:gd name="T15" fmla="*/ 83 h 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82" h="83">
                <a:moveTo>
                  <a:pt x="2" y="83"/>
                </a:moveTo>
                <a:cubicBezTo>
                  <a:pt x="2" y="83"/>
                  <a:pt x="1" y="82"/>
                  <a:pt x="1" y="82"/>
                </a:cubicBezTo>
                <a:cubicBezTo>
                  <a:pt x="0" y="81"/>
                  <a:pt x="0" y="79"/>
                  <a:pt x="1" y="78"/>
                </a:cubicBezTo>
                <a:cubicBezTo>
                  <a:pt x="78" y="1"/>
                  <a:pt x="78" y="1"/>
                  <a:pt x="78" y="1"/>
                </a:cubicBezTo>
                <a:cubicBezTo>
                  <a:pt x="79" y="0"/>
                  <a:pt x="80" y="0"/>
                  <a:pt x="81" y="1"/>
                </a:cubicBezTo>
                <a:cubicBezTo>
                  <a:pt x="82" y="2"/>
                  <a:pt x="82" y="4"/>
                  <a:pt x="81" y="5"/>
                </a:cubicBezTo>
                <a:cubicBezTo>
                  <a:pt x="4" y="82"/>
                  <a:pt x="4" y="82"/>
                  <a:pt x="4" y="82"/>
                </a:cubicBezTo>
                <a:cubicBezTo>
                  <a:pt x="4" y="82"/>
                  <a:pt x="3" y="83"/>
                  <a:pt x="2" y="83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29" name="Freeform 1541">
            <a:extLst>
              <a:ext uri="{FF2B5EF4-FFF2-40B4-BE49-F238E27FC236}">
                <a16:creationId xmlns:a16="http://schemas.microsoft.com/office/drawing/2014/main" id="{66F0FF5C-D16B-5243-9BD0-4611B14791DF}"/>
              </a:ext>
            </a:extLst>
          </p:cNvPr>
          <p:cNvSpPr>
            <a:spLocks noEditPoints="1"/>
          </p:cNvSpPr>
          <p:nvPr/>
        </p:nvSpPr>
        <p:spPr bwMode="auto">
          <a:xfrm>
            <a:off x="7250027" y="1637493"/>
            <a:ext cx="177270" cy="169731"/>
          </a:xfrm>
          <a:custGeom>
            <a:avLst/>
            <a:gdLst>
              <a:gd name="T0" fmla="*/ 26 w 80"/>
              <a:gd name="T1" fmla="*/ 78 h 78"/>
              <a:gd name="T2" fmla="*/ 20 w 80"/>
              <a:gd name="T3" fmla="*/ 76 h 78"/>
              <a:gd name="T4" fmla="*/ 4 w 80"/>
              <a:gd name="T5" fmla="*/ 60 h 78"/>
              <a:gd name="T6" fmla="*/ 4 w 80"/>
              <a:gd name="T7" fmla="*/ 48 h 78"/>
              <a:gd name="T8" fmla="*/ 49 w 80"/>
              <a:gd name="T9" fmla="*/ 3 h 78"/>
              <a:gd name="T10" fmla="*/ 55 w 80"/>
              <a:gd name="T11" fmla="*/ 0 h 78"/>
              <a:gd name="T12" fmla="*/ 61 w 80"/>
              <a:gd name="T13" fmla="*/ 3 h 78"/>
              <a:gd name="T14" fmla="*/ 77 w 80"/>
              <a:gd name="T15" fmla="*/ 19 h 78"/>
              <a:gd name="T16" fmla="*/ 77 w 80"/>
              <a:gd name="T17" fmla="*/ 31 h 78"/>
              <a:gd name="T18" fmla="*/ 32 w 80"/>
              <a:gd name="T19" fmla="*/ 76 h 78"/>
              <a:gd name="T20" fmla="*/ 26 w 80"/>
              <a:gd name="T21" fmla="*/ 78 h 78"/>
              <a:gd name="T22" fmla="*/ 55 w 80"/>
              <a:gd name="T23" fmla="*/ 5 h 78"/>
              <a:gd name="T24" fmla="*/ 52 w 80"/>
              <a:gd name="T25" fmla="*/ 7 h 78"/>
              <a:gd name="T26" fmla="*/ 7 w 80"/>
              <a:gd name="T27" fmla="*/ 51 h 78"/>
              <a:gd name="T28" fmla="*/ 7 w 80"/>
              <a:gd name="T29" fmla="*/ 57 h 78"/>
              <a:gd name="T30" fmla="*/ 23 w 80"/>
              <a:gd name="T31" fmla="*/ 72 h 78"/>
              <a:gd name="T32" fmla="*/ 28 w 80"/>
              <a:gd name="T33" fmla="*/ 72 h 78"/>
              <a:gd name="T34" fmla="*/ 73 w 80"/>
              <a:gd name="T35" fmla="*/ 28 h 78"/>
              <a:gd name="T36" fmla="*/ 73 w 80"/>
              <a:gd name="T37" fmla="*/ 22 h 78"/>
              <a:gd name="T38" fmla="*/ 58 w 80"/>
              <a:gd name="T39" fmla="*/ 7 h 78"/>
              <a:gd name="T40" fmla="*/ 55 w 80"/>
              <a:gd name="T41" fmla="*/ 5 h 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80" h="78">
                <a:moveTo>
                  <a:pt x="26" y="78"/>
                </a:moveTo>
                <a:cubicBezTo>
                  <a:pt x="23" y="78"/>
                  <a:pt x="21" y="77"/>
                  <a:pt x="20" y="76"/>
                </a:cubicBezTo>
                <a:cubicBezTo>
                  <a:pt x="4" y="60"/>
                  <a:pt x="4" y="60"/>
                  <a:pt x="4" y="60"/>
                </a:cubicBezTo>
                <a:cubicBezTo>
                  <a:pt x="0" y="57"/>
                  <a:pt x="0" y="51"/>
                  <a:pt x="4" y="48"/>
                </a:cubicBezTo>
                <a:cubicBezTo>
                  <a:pt x="49" y="3"/>
                  <a:pt x="49" y="3"/>
                  <a:pt x="49" y="3"/>
                </a:cubicBezTo>
                <a:cubicBezTo>
                  <a:pt x="50" y="1"/>
                  <a:pt x="52" y="0"/>
                  <a:pt x="55" y="0"/>
                </a:cubicBezTo>
                <a:cubicBezTo>
                  <a:pt x="57" y="0"/>
                  <a:pt x="59" y="1"/>
                  <a:pt x="61" y="3"/>
                </a:cubicBezTo>
                <a:cubicBezTo>
                  <a:pt x="77" y="19"/>
                  <a:pt x="77" y="19"/>
                  <a:pt x="77" y="19"/>
                </a:cubicBezTo>
                <a:cubicBezTo>
                  <a:pt x="80" y="22"/>
                  <a:pt x="80" y="28"/>
                  <a:pt x="77" y="31"/>
                </a:cubicBezTo>
                <a:cubicBezTo>
                  <a:pt x="32" y="76"/>
                  <a:pt x="32" y="76"/>
                  <a:pt x="32" y="76"/>
                </a:cubicBezTo>
                <a:cubicBezTo>
                  <a:pt x="30" y="77"/>
                  <a:pt x="28" y="78"/>
                  <a:pt x="26" y="78"/>
                </a:cubicBezTo>
                <a:close/>
                <a:moveTo>
                  <a:pt x="55" y="5"/>
                </a:moveTo>
                <a:cubicBezTo>
                  <a:pt x="54" y="5"/>
                  <a:pt x="53" y="6"/>
                  <a:pt x="52" y="7"/>
                </a:cubicBezTo>
                <a:cubicBezTo>
                  <a:pt x="7" y="51"/>
                  <a:pt x="7" y="51"/>
                  <a:pt x="7" y="51"/>
                </a:cubicBezTo>
                <a:cubicBezTo>
                  <a:pt x="6" y="53"/>
                  <a:pt x="6" y="55"/>
                  <a:pt x="7" y="57"/>
                </a:cubicBezTo>
                <a:cubicBezTo>
                  <a:pt x="23" y="72"/>
                  <a:pt x="23" y="72"/>
                  <a:pt x="23" y="72"/>
                </a:cubicBezTo>
                <a:cubicBezTo>
                  <a:pt x="24" y="74"/>
                  <a:pt x="27" y="74"/>
                  <a:pt x="28" y="72"/>
                </a:cubicBezTo>
                <a:cubicBezTo>
                  <a:pt x="73" y="28"/>
                  <a:pt x="73" y="28"/>
                  <a:pt x="73" y="28"/>
                </a:cubicBezTo>
                <a:cubicBezTo>
                  <a:pt x="75" y="26"/>
                  <a:pt x="75" y="24"/>
                  <a:pt x="73" y="22"/>
                </a:cubicBezTo>
                <a:cubicBezTo>
                  <a:pt x="58" y="7"/>
                  <a:pt x="58" y="7"/>
                  <a:pt x="58" y="7"/>
                </a:cubicBezTo>
                <a:cubicBezTo>
                  <a:pt x="57" y="6"/>
                  <a:pt x="56" y="5"/>
                  <a:pt x="55" y="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30" name="Freeform 1542">
            <a:extLst>
              <a:ext uri="{FF2B5EF4-FFF2-40B4-BE49-F238E27FC236}">
                <a16:creationId xmlns:a16="http://schemas.microsoft.com/office/drawing/2014/main" id="{E8E75C9D-B095-5E93-BBC9-70DCC4F3556E}"/>
              </a:ext>
            </a:extLst>
          </p:cNvPr>
          <p:cNvSpPr>
            <a:spLocks noEditPoints="1"/>
          </p:cNvSpPr>
          <p:nvPr/>
        </p:nvSpPr>
        <p:spPr bwMode="auto">
          <a:xfrm>
            <a:off x="7375981" y="1617614"/>
            <a:ext cx="71529" cy="67280"/>
          </a:xfrm>
          <a:custGeom>
            <a:avLst/>
            <a:gdLst>
              <a:gd name="T0" fmla="*/ 19 w 32"/>
              <a:gd name="T1" fmla="*/ 31 h 31"/>
              <a:gd name="T2" fmla="*/ 14 w 32"/>
              <a:gd name="T3" fmla="*/ 29 h 31"/>
              <a:gd name="T4" fmla="*/ 2 w 32"/>
              <a:gd name="T5" fmla="*/ 17 h 31"/>
              <a:gd name="T6" fmla="*/ 0 w 32"/>
              <a:gd name="T7" fmla="*/ 12 h 31"/>
              <a:gd name="T8" fmla="*/ 2 w 32"/>
              <a:gd name="T9" fmla="*/ 7 h 31"/>
              <a:gd name="T10" fmla="*/ 7 w 32"/>
              <a:gd name="T11" fmla="*/ 3 h 31"/>
              <a:gd name="T12" fmla="*/ 12 w 32"/>
              <a:gd name="T13" fmla="*/ 0 h 31"/>
              <a:gd name="T14" fmla="*/ 17 w 32"/>
              <a:gd name="T15" fmla="*/ 3 h 31"/>
              <a:gd name="T16" fmla="*/ 29 w 32"/>
              <a:gd name="T17" fmla="*/ 14 h 31"/>
              <a:gd name="T18" fmla="*/ 29 w 32"/>
              <a:gd name="T19" fmla="*/ 24 h 31"/>
              <a:gd name="T20" fmla="*/ 24 w 32"/>
              <a:gd name="T21" fmla="*/ 29 h 31"/>
              <a:gd name="T22" fmla="*/ 19 w 32"/>
              <a:gd name="T23" fmla="*/ 31 h 31"/>
              <a:gd name="T24" fmla="*/ 12 w 32"/>
              <a:gd name="T25" fmla="*/ 5 h 31"/>
              <a:gd name="T26" fmla="*/ 11 w 32"/>
              <a:gd name="T27" fmla="*/ 6 h 31"/>
              <a:gd name="T28" fmla="*/ 6 w 32"/>
              <a:gd name="T29" fmla="*/ 11 h 31"/>
              <a:gd name="T30" fmla="*/ 5 w 32"/>
              <a:gd name="T31" fmla="*/ 12 h 31"/>
              <a:gd name="T32" fmla="*/ 6 w 32"/>
              <a:gd name="T33" fmla="*/ 14 h 31"/>
              <a:gd name="T34" fmla="*/ 18 w 32"/>
              <a:gd name="T35" fmla="*/ 26 h 31"/>
              <a:gd name="T36" fmla="*/ 21 w 32"/>
              <a:gd name="T37" fmla="*/ 26 h 31"/>
              <a:gd name="T38" fmla="*/ 24 w 32"/>
              <a:gd name="T39" fmla="*/ 23 h 31"/>
              <a:gd name="T40" fmla="*/ 24 w 32"/>
              <a:gd name="T41" fmla="*/ 23 h 31"/>
              <a:gd name="T42" fmla="*/ 26 w 32"/>
              <a:gd name="T43" fmla="*/ 21 h 31"/>
              <a:gd name="T44" fmla="*/ 26 w 32"/>
              <a:gd name="T45" fmla="*/ 18 h 31"/>
              <a:gd name="T46" fmla="*/ 14 w 32"/>
              <a:gd name="T47" fmla="*/ 6 h 31"/>
              <a:gd name="T48" fmla="*/ 12 w 32"/>
              <a:gd name="T49" fmla="*/ 5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32" h="31">
                <a:moveTo>
                  <a:pt x="19" y="31"/>
                </a:moveTo>
                <a:cubicBezTo>
                  <a:pt x="17" y="31"/>
                  <a:pt x="16" y="31"/>
                  <a:pt x="14" y="29"/>
                </a:cubicBezTo>
                <a:cubicBezTo>
                  <a:pt x="2" y="17"/>
                  <a:pt x="2" y="17"/>
                  <a:pt x="2" y="17"/>
                </a:cubicBezTo>
                <a:cubicBezTo>
                  <a:pt x="1" y="16"/>
                  <a:pt x="0" y="14"/>
                  <a:pt x="0" y="12"/>
                </a:cubicBezTo>
                <a:cubicBezTo>
                  <a:pt x="0" y="10"/>
                  <a:pt x="1" y="9"/>
                  <a:pt x="2" y="7"/>
                </a:cubicBezTo>
                <a:cubicBezTo>
                  <a:pt x="7" y="3"/>
                  <a:pt x="7" y="3"/>
                  <a:pt x="7" y="3"/>
                </a:cubicBezTo>
                <a:cubicBezTo>
                  <a:pt x="8" y="1"/>
                  <a:pt x="10" y="0"/>
                  <a:pt x="12" y="0"/>
                </a:cubicBezTo>
                <a:cubicBezTo>
                  <a:pt x="14" y="0"/>
                  <a:pt x="16" y="1"/>
                  <a:pt x="17" y="3"/>
                </a:cubicBezTo>
                <a:cubicBezTo>
                  <a:pt x="29" y="14"/>
                  <a:pt x="29" y="14"/>
                  <a:pt x="29" y="14"/>
                </a:cubicBezTo>
                <a:cubicBezTo>
                  <a:pt x="32" y="17"/>
                  <a:pt x="32" y="22"/>
                  <a:pt x="29" y="24"/>
                </a:cubicBezTo>
                <a:cubicBezTo>
                  <a:pt x="24" y="29"/>
                  <a:pt x="24" y="29"/>
                  <a:pt x="24" y="29"/>
                </a:cubicBezTo>
                <a:cubicBezTo>
                  <a:pt x="23" y="31"/>
                  <a:pt x="21" y="31"/>
                  <a:pt x="19" y="31"/>
                </a:cubicBezTo>
                <a:close/>
                <a:moveTo>
                  <a:pt x="12" y="5"/>
                </a:moveTo>
                <a:cubicBezTo>
                  <a:pt x="12" y="5"/>
                  <a:pt x="11" y="6"/>
                  <a:pt x="11" y="6"/>
                </a:cubicBezTo>
                <a:cubicBezTo>
                  <a:pt x="6" y="11"/>
                  <a:pt x="6" y="11"/>
                  <a:pt x="6" y="11"/>
                </a:cubicBezTo>
                <a:cubicBezTo>
                  <a:pt x="5" y="11"/>
                  <a:pt x="5" y="12"/>
                  <a:pt x="5" y="12"/>
                </a:cubicBezTo>
                <a:cubicBezTo>
                  <a:pt x="5" y="13"/>
                  <a:pt x="5" y="13"/>
                  <a:pt x="6" y="14"/>
                </a:cubicBezTo>
                <a:cubicBezTo>
                  <a:pt x="18" y="26"/>
                  <a:pt x="18" y="26"/>
                  <a:pt x="18" y="26"/>
                </a:cubicBezTo>
                <a:cubicBezTo>
                  <a:pt x="19" y="27"/>
                  <a:pt x="20" y="27"/>
                  <a:pt x="21" y="26"/>
                </a:cubicBezTo>
                <a:cubicBezTo>
                  <a:pt x="24" y="23"/>
                  <a:pt x="24" y="23"/>
                  <a:pt x="24" y="23"/>
                </a:cubicBezTo>
                <a:cubicBezTo>
                  <a:pt x="24" y="23"/>
                  <a:pt x="24" y="23"/>
                  <a:pt x="24" y="23"/>
                </a:cubicBezTo>
                <a:cubicBezTo>
                  <a:pt x="26" y="21"/>
                  <a:pt x="26" y="21"/>
                  <a:pt x="26" y="21"/>
                </a:cubicBezTo>
                <a:cubicBezTo>
                  <a:pt x="27" y="20"/>
                  <a:pt x="27" y="19"/>
                  <a:pt x="26" y="18"/>
                </a:cubicBezTo>
                <a:cubicBezTo>
                  <a:pt x="14" y="6"/>
                  <a:pt x="14" y="6"/>
                  <a:pt x="14" y="6"/>
                </a:cubicBezTo>
                <a:cubicBezTo>
                  <a:pt x="13" y="6"/>
                  <a:pt x="13" y="5"/>
                  <a:pt x="12" y="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31" name="Freeform 1543">
            <a:extLst>
              <a:ext uri="{FF2B5EF4-FFF2-40B4-BE49-F238E27FC236}">
                <a16:creationId xmlns:a16="http://schemas.microsoft.com/office/drawing/2014/main" id="{97BE03A0-6ACE-9B6D-42BF-6556E8952BE0}"/>
              </a:ext>
            </a:extLst>
          </p:cNvPr>
          <p:cNvSpPr>
            <a:spLocks/>
          </p:cNvSpPr>
          <p:nvPr/>
        </p:nvSpPr>
        <p:spPr bwMode="auto">
          <a:xfrm>
            <a:off x="7570356" y="1464705"/>
            <a:ext cx="31100" cy="30584"/>
          </a:xfrm>
          <a:custGeom>
            <a:avLst/>
            <a:gdLst>
              <a:gd name="T0" fmla="*/ 4 w 14"/>
              <a:gd name="T1" fmla="*/ 14 h 14"/>
              <a:gd name="T2" fmla="*/ 1 w 14"/>
              <a:gd name="T3" fmla="*/ 13 h 14"/>
              <a:gd name="T4" fmla="*/ 1 w 14"/>
              <a:gd name="T5" fmla="*/ 13 h 14"/>
              <a:gd name="T6" fmla="*/ 1 w 14"/>
              <a:gd name="T7" fmla="*/ 8 h 14"/>
              <a:gd name="T8" fmla="*/ 8 w 14"/>
              <a:gd name="T9" fmla="*/ 1 h 14"/>
              <a:gd name="T10" fmla="*/ 13 w 14"/>
              <a:gd name="T11" fmla="*/ 1 h 14"/>
              <a:gd name="T12" fmla="*/ 14 w 14"/>
              <a:gd name="T13" fmla="*/ 3 h 14"/>
              <a:gd name="T14" fmla="*/ 13 w 14"/>
              <a:gd name="T15" fmla="*/ 6 h 14"/>
              <a:gd name="T16" fmla="*/ 6 w 14"/>
              <a:gd name="T17" fmla="*/ 13 h 14"/>
              <a:gd name="T18" fmla="*/ 4 w 14"/>
              <a:gd name="T19" fmla="*/ 14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4" h="14">
                <a:moveTo>
                  <a:pt x="4" y="14"/>
                </a:moveTo>
                <a:cubicBezTo>
                  <a:pt x="3" y="14"/>
                  <a:pt x="2" y="13"/>
                  <a:pt x="1" y="13"/>
                </a:cubicBezTo>
                <a:cubicBezTo>
                  <a:pt x="1" y="13"/>
                  <a:pt x="1" y="13"/>
                  <a:pt x="1" y="13"/>
                </a:cubicBezTo>
                <a:cubicBezTo>
                  <a:pt x="0" y="11"/>
                  <a:pt x="0" y="9"/>
                  <a:pt x="1" y="8"/>
                </a:cubicBezTo>
                <a:cubicBezTo>
                  <a:pt x="8" y="1"/>
                  <a:pt x="8" y="1"/>
                  <a:pt x="8" y="1"/>
                </a:cubicBezTo>
                <a:cubicBezTo>
                  <a:pt x="9" y="0"/>
                  <a:pt x="11" y="0"/>
                  <a:pt x="13" y="1"/>
                </a:cubicBezTo>
                <a:cubicBezTo>
                  <a:pt x="13" y="2"/>
                  <a:pt x="14" y="3"/>
                  <a:pt x="14" y="3"/>
                </a:cubicBezTo>
                <a:cubicBezTo>
                  <a:pt x="14" y="4"/>
                  <a:pt x="13" y="5"/>
                  <a:pt x="13" y="6"/>
                </a:cubicBezTo>
                <a:cubicBezTo>
                  <a:pt x="6" y="13"/>
                  <a:pt x="6" y="13"/>
                  <a:pt x="6" y="13"/>
                </a:cubicBezTo>
                <a:cubicBezTo>
                  <a:pt x="5" y="13"/>
                  <a:pt x="4" y="14"/>
                  <a:pt x="4" y="1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32" name="Shape2_20220715_112204">
            <a:extLst>
              <a:ext uri="{FF2B5EF4-FFF2-40B4-BE49-F238E27FC236}">
                <a16:creationId xmlns:a16="http://schemas.microsoft.com/office/drawing/2014/main" id="{31A632B1-69AF-A19E-52C4-25283E844899}"/>
              </a:ext>
            </a:extLst>
          </p:cNvPr>
          <p:cNvSpPr/>
          <p:nvPr/>
        </p:nvSpPr>
        <p:spPr>
          <a:xfrm>
            <a:off x="4257810" y="1135725"/>
            <a:ext cx="991300" cy="9913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2400" dirty="0">
              <a:solidFill>
                <a:schemeClr val="lt1"/>
              </a:solidFill>
              <a:ea typeface="Century Gothic"/>
              <a:cs typeface="Arial" panose="020B0604020202020204" pitchFamily="34" charset="0"/>
              <a:sym typeface="Century Gothic"/>
            </a:endParaRPr>
          </a:p>
        </p:txBody>
      </p:sp>
      <p:sp>
        <p:nvSpPr>
          <p:cNvPr id="33" name="Google Shape;2839;p45">
            <a:extLst>
              <a:ext uri="{FF2B5EF4-FFF2-40B4-BE49-F238E27FC236}">
                <a16:creationId xmlns:a16="http://schemas.microsoft.com/office/drawing/2014/main" id="{684866DA-ADE6-B114-9880-23FBA6BFAD8A}"/>
              </a:ext>
            </a:extLst>
          </p:cNvPr>
          <p:cNvSpPr/>
          <p:nvPr/>
        </p:nvSpPr>
        <p:spPr>
          <a:xfrm>
            <a:off x="4331572" y="1209490"/>
            <a:ext cx="843775" cy="84377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2400" dirty="0">
              <a:solidFill>
                <a:schemeClr val="lt1"/>
              </a:solidFill>
              <a:ea typeface="Century Gothic"/>
              <a:cs typeface="Arial" panose="020B0604020202020204" pitchFamily="34" charset="0"/>
              <a:sym typeface="Century Gothic"/>
            </a:endParaRPr>
          </a:p>
        </p:txBody>
      </p:sp>
      <p:sp>
        <p:nvSpPr>
          <p:cNvPr id="34" name="Freeform 380">
            <a:extLst>
              <a:ext uri="{FF2B5EF4-FFF2-40B4-BE49-F238E27FC236}">
                <a16:creationId xmlns:a16="http://schemas.microsoft.com/office/drawing/2014/main" id="{02D54FEE-E7EE-4605-A919-E7E62849E10C}"/>
              </a:ext>
            </a:extLst>
          </p:cNvPr>
          <p:cNvSpPr>
            <a:spLocks noEditPoints="1"/>
          </p:cNvSpPr>
          <p:nvPr/>
        </p:nvSpPr>
        <p:spPr bwMode="auto">
          <a:xfrm>
            <a:off x="4582226" y="1458430"/>
            <a:ext cx="267122" cy="270548"/>
          </a:xfrm>
          <a:custGeom>
            <a:avLst/>
            <a:gdLst>
              <a:gd name="T0" fmla="*/ 142 w 285"/>
              <a:gd name="T1" fmla="*/ 285 h 285"/>
              <a:gd name="T2" fmla="*/ 0 w 285"/>
              <a:gd name="T3" fmla="*/ 143 h 285"/>
              <a:gd name="T4" fmla="*/ 142 w 285"/>
              <a:gd name="T5" fmla="*/ 0 h 285"/>
              <a:gd name="T6" fmla="*/ 285 w 285"/>
              <a:gd name="T7" fmla="*/ 143 h 285"/>
              <a:gd name="T8" fmla="*/ 142 w 285"/>
              <a:gd name="T9" fmla="*/ 285 h 285"/>
              <a:gd name="T10" fmla="*/ 142 w 285"/>
              <a:gd name="T11" fmla="*/ 12 h 285"/>
              <a:gd name="T12" fmla="*/ 12 w 285"/>
              <a:gd name="T13" fmla="*/ 143 h 285"/>
              <a:gd name="T14" fmla="*/ 142 w 285"/>
              <a:gd name="T15" fmla="*/ 273 h 285"/>
              <a:gd name="T16" fmla="*/ 273 w 285"/>
              <a:gd name="T17" fmla="*/ 143 h 285"/>
              <a:gd name="T18" fmla="*/ 142 w 285"/>
              <a:gd name="T19" fmla="*/ 12 h 2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85" h="285">
                <a:moveTo>
                  <a:pt x="142" y="285"/>
                </a:moveTo>
                <a:cubicBezTo>
                  <a:pt x="64" y="285"/>
                  <a:pt x="0" y="221"/>
                  <a:pt x="0" y="143"/>
                </a:cubicBezTo>
                <a:cubicBezTo>
                  <a:pt x="0" y="64"/>
                  <a:pt x="64" y="0"/>
                  <a:pt x="142" y="0"/>
                </a:cubicBezTo>
                <a:cubicBezTo>
                  <a:pt x="221" y="0"/>
                  <a:pt x="285" y="64"/>
                  <a:pt x="285" y="143"/>
                </a:cubicBezTo>
                <a:cubicBezTo>
                  <a:pt x="285" y="221"/>
                  <a:pt x="221" y="285"/>
                  <a:pt x="142" y="285"/>
                </a:cubicBezTo>
                <a:close/>
                <a:moveTo>
                  <a:pt x="142" y="12"/>
                </a:moveTo>
                <a:cubicBezTo>
                  <a:pt x="70" y="12"/>
                  <a:pt x="12" y="71"/>
                  <a:pt x="12" y="143"/>
                </a:cubicBezTo>
                <a:cubicBezTo>
                  <a:pt x="12" y="214"/>
                  <a:pt x="70" y="273"/>
                  <a:pt x="142" y="273"/>
                </a:cubicBezTo>
                <a:cubicBezTo>
                  <a:pt x="214" y="273"/>
                  <a:pt x="273" y="214"/>
                  <a:pt x="273" y="143"/>
                </a:cubicBezTo>
                <a:cubicBezTo>
                  <a:pt x="273" y="71"/>
                  <a:pt x="214" y="12"/>
                  <a:pt x="142" y="1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35" name="Freeform 381">
            <a:extLst>
              <a:ext uri="{FF2B5EF4-FFF2-40B4-BE49-F238E27FC236}">
                <a16:creationId xmlns:a16="http://schemas.microsoft.com/office/drawing/2014/main" id="{B54EF5B2-2D61-85C7-04CD-8B788B314DC3}"/>
              </a:ext>
            </a:extLst>
          </p:cNvPr>
          <p:cNvSpPr>
            <a:spLocks noEditPoints="1"/>
          </p:cNvSpPr>
          <p:nvPr/>
        </p:nvSpPr>
        <p:spPr bwMode="auto">
          <a:xfrm>
            <a:off x="4787705" y="1663910"/>
            <a:ext cx="136988" cy="140413"/>
          </a:xfrm>
          <a:custGeom>
            <a:avLst/>
            <a:gdLst>
              <a:gd name="T0" fmla="*/ 119 w 145"/>
              <a:gd name="T1" fmla="*/ 146 h 146"/>
              <a:gd name="T2" fmla="*/ 100 w 145"/>
              <a:gd name="T3" fmla="*/ 138 h 146"/>
              <a:gd name="T4" fmla="*/ 2 w 145"/>
              <a:gd name="T5" fmla="*/ 40 h 146"/>
              <a:gd name="T6" fmla="*/ 2 w 145"/>
              <a:gd name="T7" fmla="*/ 32 h 146"/>
              <a:gd name="T8" fmla="*/ 31 w 145"/>
              <a:gd name="T9" fmla="*/ 3 h 146"/>
              <a:gd name="T10" fmla="*/ 40 w 145"/>
              <a:gd name="T11" fmla="*/ 3 h 146"/>
              <a:gd name="T12" fmla="*/ 138 w 145"/>
              <a:gd name="T13" fmla="*/ 100 h 146"/>
              <a:gd name="T14" fmla="*/ 145 w 145"/>
              <a:gd name="T15" fmla="*/ 119 h 146"/>
              <a:gd name="T16" fmla="*/ 138 w 145"/>
              <a:gd name="T17" fmla="*/ 138 h 146"/>
              <a:gd name="T18" fmla="*/ 119 w 145"/>
              <a:gd name="T19" fmla="*/ 146 h 146"/>
              <a:gd name="T20" fmla="*/ 15 w 145"/>
              <a:gd name="T21" fmla="*/ 36 h 146"/>
              <a:gd name="T22" fmla="*/ 109 w 145"/>
              <a:gd name="T23" fmla="*/ 129 h 146"/>
              <a:gd name="T24" fmla="*/ 109 w 145"/>
              <a:gd name="T25" fmla="*/ 129 h 146"/>
              <a:gd name="T26" fmla="*/ 129 w 145"/>
              <a:gd name="T27" fmla="*/ 129 h 146"/>
              <a:gd name="T28" fmla="*/ 133 w 145"/>
              <a:gd name="T29" fmla="*/ 119 h 146"/>
              <a:gd name="T30" fmla="*/ 129 w 145"/>
              <a:gd name="T31" fmla="*/ 109 h 146"/>
              <a:gd name="T32" fmla="*/ 36 w 145"/>
              <a:gd name="T33" fmla="*/ 16 h 146"/>
              <a:gd name="T34" fmla="*/ 15 w 145"/>
              <a:gd name="T35" fmla="*/ 36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45" h="146">
                <a:moveTo>
                  <a:pt x="119" y="146"/>
                </a:moveTo>
                <a:cubicBezTo>
                  <a:pt x="112" y="146"/>
                  <a:pt x="105" y="143"/>
                  <a:pt x="100" y="138"/>
                </a:cubicBezTo>
                <a:cubicBezTo>
                  <a:pt x="2" y="40"/>
                  <a:pt x="2" y="40"/>
                  <a:pt x="2" y="40"/>
                </a:cubicBezTo>
                <a:cubicBezTo>
                  <a:pt x="0" y="38"/>
                  <a:pt x="0" y="34"/>
                  <a:pt x="2" y="32"/>
                </a:cubicBezTo>
                <a:cubicBezTo>
                  <a:pt x="31" y="3"/>
                  <a:pt x="31" y="3"/>
                  <a:pt x="31" y="3"/>
                </a:cubicBezTo>
                <a:cubicBezTo>
                  <a:pt x="34" y="0"/>
                  <a:pt x="38" y="0"/>
                  <a:pt x="40" y="3"/>
                </a:cubicBezTo>
                <a:cubicBezTo>
                  <a:pt x="138" y="100"/>
                  <a:pt x="138" y="100"/>
                  <a:pt x="138" y="100"/>
                </a:cubicBezTo>
                <a:cubicBezTo>
                  <a:pt x="143" y="105"/>
                  <a:pt x="145" y="112"/>
                  <a:pt x="145" y="119"/>
                </a:cubicBezTo>
                <a:cubicBezTo>
                  <a:pt x="145" y="126"/>
                  <a:pt x="143" y="133"/>
                  <a:pt x="138" y="138"/>
                </a:cubicBezTo>
                <a:cubicBezTo>
                  <a:pt x="132" y="143"/>
                  <a:pt x="126" y="146"/>
                  <a:pt x="119" y="146"/>
                </a:cubicBezTo>
                <a:close/>
                <a:moveTo>
                  <a:pt x="15" y="36"/>
                </a:moveTo>
                <a:cubicBezTo>
                  <a:pt x="109" y="129"/>
                  <a:pt x="109" y="129"/>
                  <a:pt x="109" y="129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14" y="135"/>
                  <a:pt x="123" y="135"/>
                  <a:pt x="129" y="129"/>
                </a:cubicBezTo>
                <a:cubicBezTo>
                  <a:pt x="132" y="126"/>
                  <a:pt x="133" y="123"/>
                  <a:pt x="133" y="119"/>
                </a:cubicBezTo>
                <a:cubicBezTo>
                  <a:pt x="133" y="115"/>
                  <a:pt x="132" y="112"/>
                  <a:pt x="129" y="109"/>
                </a:cubicBezTo>
                <a:cubicBezTo>
                  <a:pt x="36" y="16"/>
                  <a:pt x="36" y="16"/>
                  <a:pt x="36" y="16"/>
                </a:cubicBezTo>
                <a:lnTo>
                  <a:pt x="15" y="3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36" name="Freeform 382">
            <a:extLst>
              <a:ext uri="{FF2B5EF4-FFF2-40B4-BE49-F238E27FC236}">
                <a16:creationId xmlns:a16="http://schemas.microsoft.com/office/drawing/2014/main" id="{913FF1CC-4A7E-1C45-30EF-6D76F57591B4}"/>
              </a:ext>
            </a:extLst>
          </p:cNvPr>
          <p:cNvSpPr>
            <a:spLocks/>
          </p:cNvSpPr>
          <p:nvPr/>
        </p:nvSpPr>
        <p:spPr bwMode="auto">
          <a:xfrm>
            <a:off x="4626745" y="1502950"/>
            <a:ext cx="95892" cy="95892"/>
          </a:xfrm>
          <a:custGeom>
            <a:avLst/>
            <a:gdLst>
              <a:gd name="T0" fmla="*/ 6 w 99"/>
              <a:gd name="T1" fmla="*/ 100 h 100"/>
              <a:gd name="T2" fmla="*/ 0 w 99"/>
              <a:gd name="T3" fmla="*/ 94 h 100"/>
              <a:gd name="T4" fmla="*/ 93 w 99"/>
              <a:gd name="T5" fmla="*/ 0 h 100"/>
              <a:gd name="T6" fmla="*/ 99 w 99"/>
              <a:gd name="T7" fmla="*/ 6 h 100"/>
              <a:gd name="T8" fmla="*/ 93 w 99"/>
              <a:gd name="T9" fmla="*/ 12 h 100"/>
              <a:gd name="T10" fmla="*/ 12 w 99"/>
              <a:gd name="T11" fmla="*/ 94 h 100"/>
              <a:gd name="T12" fmla="*/ 6 w 99"/>
              <a:gd name="T13" fmla="*/ 100 h 1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99" h="100">
                <a:moveTo>
                  <a:pt x="6" y="100"/>
                </a:moveTo>
                <a:cubicBezTo>
                  <a:pt x="3" y="100"/>
                  <a:pt x="0" y="97"/>
                  <a:pt x="0" y="94"/>
                </a:cubicBezTo>
                <a:cubicBezTo>
                  <a:pt x="0" y="42"/>
                  <a:pt x="42" y="0"/>
                  <a:pt x="93" y="0"/>
                </a:cubicBezTo>
                <a:cubicBezTo>
                  <a:pt x="97" y="0"/>
                  <a:pt x="99" y="3"/>
                  <a:pt x="99" y="6"/>
                </a:cubicBezTo>
                <a:cubicBezTo>
                  <a:pt x="99" y="10"/>
                  <a:pt x="97" y="12"/>
                  <a:pt x="93" y="12"/>
                </a:cubicBezTo>
                <a:cubicBezTo>
                  <a:pt x="48" y="12"/>
                  <a:pt x="12" y="49"/>
                  <a:pt x="12" y="94"/>
                </a:cubicBezTo>
                <a:cubicBezTo>
                  <a:pt x="12" y="97"/>
                  <a:pt x="9" y="100"/>
                  <a:pt x="6" y="10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37" name="Shape0_20220715_112204">
            <a:extLst>
              <a:ext uri="{FF2B5EF4-FFF2-40B4-BE49-F238E27FC236}">
                <a16:creationId xmlns:a16="http://schemas.microsoft.com/office/drawing/2014/main" id="{10C543DA-4AA4-F00A-9E65-1A4C8874DF14}"/>
              </a:ext>
            </a:extLst>
          </p:cNvPr>
          <p:cNvSpPr/>
          <p:nvPr/>
        </p:nvSpPr>
        <p:spPr>
          <a:xfrm>
            <a:off x="1582424" y="1135725"/>
            <a:ext cx="991300" cy="9913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2400" dirty="0">
              <a:solidFill>
                <a:schemeClr val="lt1"/>
              </a:solidFill>
              <a:ea typeface="Century Gothic"/>
              <a:cs typeface="Arial" panose="020B0604020202020204" pitchFamily="34" charset="0"/>
              <a:sym typeface="Century Gothic"/>
            </a:endParaRPr>
          </a:p>
        </p:txBody>
      </p:sp>
      <p:sp>
        <p:nvSpPr>
          <p:cNvPr id="38" name="Google Shape;2834;p45">
            <a:extLst>
              <a:ext uri="{FF2B5EF4-FFF2-40B4-BE49-F238E27FC236}">
                <a16:creationId xmlns:a16="http://schemas.microsoft.com/office/drawing/2014/main" id="{BB0445E4-2B33-B4CC-1559-153FB1E9FBB3}"/>
              </a:ext>
            </a:extLst>
          </p:cNvPr>
          <p:cNvSpPr/>
          <p:nvPr/>
        </p:nvSpPr>
        <p:spPr>
          <a:xfrm>
            <a:off x="1656186" y="1209490"/>
            <a:ext cx="843775" cy="84377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2400" dirty="0">
              <a:solidFill>
                <a:schemeClr val="lt1"/>
              </a:solidFill>
              <a:ea typeface="Century Gothic"/>
              <a:cs typeface="Arial" panose="020B0604020202020204" pitchFamily="34" charset="0"/>
              <a:sym typeface="Century Gothic"/>
            </a:endParaRPr>
          </a:p>
        </p:txBody>
      </p:sp>
      <p:sp>
        <p:nvSpPr>
          <p:cNvPr id="39" name="Freeform 44">
            <a:extLst>
              <a:ext uri="{FF2B5EF4-FFF2-40B4-BE49-F238E27FC236}">
                <a16:creationId xmlns:a16="http://schemas.microsoft.com/office/drawing/2014/main" id="{CB3951ED-A990-CFC9-05F8-27CA75623EC0}"/>
              </a:ext>
            </a:extLst>
          </p:cNvPr>
          <p:cNvSpPr>
            <a:spLocks noEditPoints="1"/>
          </p:cNvSpPr>
          <p:nvPr/>
        </p:nvSpPr>
        <p:spPr bwMode="auto">
          <a:xfrm>
            <a:off x="1985623" y="1540365"/>
            <a:ext cx="182015" cy="182015"/>
          </a:xfrm>
          <a:custGeom>
            <a:avLst/>
            <a:gdLst>
              <a:gd name="T0" fmla="*/ 114 w 228"/>
              <a:gd name="T1" fmla="*/ 228 h 228"/>
              <a:gd name="T2" fmla="*/ 0 w 228"/>
              <a:gd name="T3" fmla="*/ 114 h 228"/>
              <a:gd name="T4" fmla="*/ 114 w 228"/>
              <a:gd name="T5" fmla="*/ 0 h 228"/>
              <a:gd name="T6" fmla="*/ 228 w 228"/>
              <a:gd name="T7" fmla="*/ 114 h 228"/>
              <a:gd name="T8" fmla="*/ 114 w 228"/>
              <a:gd name="T9" fmla="*/ 228 h 228"/>
              <a:gd name="T10" fmla="*/ 114 w 228"/>
              <a:gd name="T11" fmla="*/ 12 h 228"/>
              <a:gd name="T12" fmla="*/ 12 w 228"/>
              <a:gd name="T13" fmla="*/ 114 h 228"/>
              <a:gd name="T14" fmla="*/ 114 w 228"/>
              <a:gd name="T15" fmla="*/ 216 h 228"/>
              <a:gd name="T16" fmla="*/ 216 w 228"/>
              <a:gd name="T17" fmla="*/ 114 h 228"/>
              <a:gd name="T18" fmla="*/ 114 w 228"/>
              <a:gd name="T19" fmla="*/ 12 h 2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28" h="228">
                <a:moveTo>
                  <a:pt x="114" y="228"/>
                </a:moveTo>
                <a:cubicBezTo>
                  <a:pt x="51" y="228"/>
                  <a:pt x="0" y="177"/>
                  <a:pt x="0" y="114"/>
                </a:cubicBezTo>
                <a:cubicBezTo>
                  <a:pt x="0" y="51"/>
                  <a:pt x="51" y="0"/>
                  <a:pt x="114" y="0"/>
                </a:cubicBezTo>
                <a:cubicBezTo>
                  <a:pt x="177" y="0"/>
                  <a:pt x="228" y="51"/>
                  <a:pt x="228" y="114"/>
                </a:cubicBezTo>
                <a:cubicBezTo>
                  <a:pt x="228" y="177"/>
                  <a:pt x="177" y="228"/>
                  <a:pt x="114" y="228"/>
                </a:cubicBezTo>
                <a:close/>
                <a:moveTo>
                  <a:pt x="114" y="12"/>
                </a:moveTo>
                <a:cubicBezTo>
                  <a:pt x="58" y="12"/>
                  <a:pt x="12" y="58"/>
                  <a:pt x="12" y="114"/>
                </a:cubicBezTo>
                <a:cubicBezTo>
                  <a:pt x="12" y="170"/>
                  <a:pt x="58" y="216"/>
                  <a:pt x="114" y="216"/>
                </a:cubicBezTo>
                <a:cubicBezTo>
                  <a:pt x="170" y="216"/>
                  <a:pt x="216" y="170"/>
                  <a:pt x="216" y="114"/>
                </a:cubicBezTo>
                <a:cubicBezTo>
                  <a:pt x="216" y="58"/>
                  <a:pt x="170" y="12"/>
                  <a:pt x="114" y="1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40" name="Freeform 45">
            <a:extLst>
              <a:ext uri="{FF2B5EF4-FFF2-40B4-BE49-F238E27FC236}">
                <a16:creationId xmlns:a16="http://schemas.microsoft.com/office/drawing/2014/main" id="{8EE9A549-C45C-8341-B64B-4DAD33BF10A0}"/>
              </a:ext>
            </a:extLst>
          </p:cNvPr>
          <p:cNvSpPr>
            <a:spLocks noEditPoints="1"/>
          </p:cNvSpPr>
          <p:nvPr/>
        </p:nvSpPr>
        <p:spPr bwMode="auto">
          <a:xfrm>
            <a:off x="1904730" y="1459472"/>
            <a:ext cx="346692" cy="343806"/>
          </a:xfrm>
          <a:custGeom>
            <a:avLst/>
            <a:gdLst>
              <a:gd name="T0" fmla="*/ 204 w 432"/>
              <a:gd name="T1" fmla="*/ 432 h 432"/>
              <a:gd name="T2" fmla="*/ 172 w 432"/>
              <a:gd name="T3" fmla="*/ 379 h 432"/>
              <a:gd name="T4" fmla="*/ 116 w 432"/>
              <a:gd name="T5" fmla="*/ 378 h 432"/>
              <a:gd name="T6" fmla="*/ 54 w 432"/>
              <a:gd name="T7" fmla="*/ 360 h 432"/>
              <a:gd name="T8" fmla="*/ 54 w 432"/>
              <a:gd name="T9" fmla="*/ 316 h 432"/>
              <a:gd name="T10" fmla="*/ 53 w 432"/>
              <a:gd name="T11" fmla="*/ 260 h 432"/>
              <a:gd name="T12" fmla="*/ 0 w 432"/>
              <a:gd name="T13" fmla="*/ 228 h 432"/>
              <a:gd name="T14" fmla="*/ 31 w 432"/>
              <a:gd name="T15" fmla="*/ 172 h 432"/>
              <a:gd name="T16" fmla="*/ 70 w 432"/>
              <a:gd name="T17" fmla="*/ 132 h 432"/>
              <a:gd name="T18" fmla="*/ 45 w 432"/>
              <a:gd name="T19" fmla="*/ 94 h 432"/>
              <a:gd name="T20" fmla="*/ 72 w 432"/>
              <a:gd name="T21" fmla="*/ 54 h 432"/>
              <a:gd name="T22" fmla="*/ 132 w 432"/>
              <a:gd name="T23" fmla="*/ 70 h 432"/>
              <a:gd name="T24" fmla="*/ 172 w 432"/>
              <a:gd name="T25" fmla="*/ 31 h 432"/>
              <a:gd name="T26" fmla="*/ 229 w 432"/>
              <a:gd name="T27" fmla="*/ 0 h 432"/>
              <a:gd name="T28" fmla="*/ 260 w 432"/>
              <a:gd name="T29" fmla="*/ 53 h 432"/>
              <a:gd name="T30" fmla="*/ 316 w 432"/>
              <a:gd name="T31" fmla="*/ 54 h 432"/>
              <a:gd name="T32" fmla="*/ 378 w 432"/>
              <a:gd name="T33" fmla="*/ 72 h 432"/>
              <a:gd name="T34" fmla="*/ 378 w 432"/>
              <a:gd name="T35" fmla="*/ 116 h 432"/>
              <a:gd name="T36" fmla="*/ 379 w 432"/>
              <a:gd name="T37" fmla="*/ 172 h 432"/>
              <a:gd name="T38" fmla="*/ 432 w 432"/>
              <a:gd name="T39" fmla="*/ 203 h 432"/>
              <a:gd name="T40" fmla="*/ 401 w 432"/>
              <a:gd name="T41" fmla="*/ 260 h 432"/>
              <a:gd name="T42" fmla="*/ 362 w 432"/>
              <a:gd name="T43" fmla="*/ 300 h 432"/>
              <a:gd name="T44" fmla="*/ 387 w 432"/>
              <a:gd name="T45" fmla="*/ 338 h 432"/>
              <a:gd name="T46" fmla="*/ 360 w 432"/>
              <a:gd name="T47" fmla="*/ 378 h 432"/>
              <a:gd name="T48" fmla="*/ 300 w 432"/>
              <a:gd name="T49" fmla="*/ 362 h 432"/>
              <a:gd name="T50" fmla="*/ 260 w 432"/>
              <a:gd name="T51" fmla="*/ 401 h 432"/>
              <a:gd name="T52" fmla="*/ 131 w 432"/>
              <a:gd name="T53" fmla="*/ 348 h 432"/>
              <a:gd name="T54" fmla="*/ 180 w 432"/>
              <a:gd name="T55" fmla="*/ 368 h 432"/>
              <a:gd name="T56" fmla="*/ 185 w 432"/>
              <a:gd name="T57" fmla="*/ 401 h 432"/>
              <a:gd name="T58" fmla="*/ 229 w 432"/>
              <a:gd name="T59" fmla="*/ 420 h 432"/>
              <a:gd name="T60" fmla="*/ 248 w 432"/>
              <a:gd name="T61" fmla="*/ 374 h 432"/>
              <a:gd name="T62" fmla="*/ 298 w 432"/>
              <a:gd name="T63" fmla="*/ 349 h 432"/>
              <a:gd name="T64" fmla="*/ 325 w 432"/>
              <a:gd name="T65" fmla="*/ 369 h 432"/>
              <a:gd name="T66" fmla="*/ 369 w 432"/>
              <a:gd name="T67" fmla="*/ 351 h 432"/>
              <a:gd name="T68" fmla="*/ 351 w 432"/>
              <a:gd name="T69" fmla="*/ 306 h 432"/>
              <a:gd name="T70" fmla="*/ 349 w 432"/>
              <a:gd name="T71" fmla="*/ 298 h 432"/>
              <a:gd name="T72" fmla="*/ 374 w 432"/>
              <a:gd name="T73" fmla="*/ 247 h 432"/>
              <a:gd name="T74" fmla="*/ 420 w 432"/>
              <a:gd name="T75" fmla="*/ 228 h 432"/>
              <a:gd name="T76" fmla="*/ 401 w 432"/>
              <a:gd name="T77" fmla="*/ 184 h 432"/>
              <a:gd name="T78" fmla="*/ 368 w 432"/>
              <a:gd name="T79" fmla="*/ 180 h 432"/>
              <a:gd name="T80" fmla="*/ 350 w 432"/>
              <a:gd name="T81" fmla="*/ 126 h 432"/>
              <a:gd name="T82" fmla="*/ 369 w 432"/>
              <a:gd name="T83" fmla="*/ 80 h 432"/>
              <a:gd name="T84" fmla="*/ 325 w 432"/>
              <a:gd name="T85" fmla="*/ 63 h 432"/>
              <a:gd name="T86" fmla="*/ 298 w 432"/>
              <a:gd name="T87" fmla="*/ 83 h 432"/>
              <a:gd name="T88" fmla="*/ 248 w 432"/>
              <a:gd name="T89" fmla="*/ 58 h 432"/>
              <a:gd name="T90" fmla="*/ 229 w 432"/>
              <a:gd name="T91" fmla="*/ 12 h 432"/>
              <a:gd name="T92" fmla="*/ 185 w 432"/>
              <a:gd name="T93" fmla="*/ 31 h 432"/>
              <a:gd name="T94" fmla="*/ 180 w 432"/>
              <a:gd name="T95" fmla="*/ 64 h 432"/>
              <a:gd name="T96" fmla="*/ 127 w 432"/>
              <a:gd name="T97" fmla="*/ 82 h 432"/>
              <a:gd name="T98" fmla="*/ 81 w 432"/>
              <a:gd name="T99" fmla="*/ 63 h 432"/>
              <a:gd name="T100" fmla="*/ 57 w 432"/>
              <a:gd name="T101" fmla="*/ 94 h 432"/>
              <a:gd name="T102" fmla="*/ 82 w 432"/>
              <a:gd name="T103" fmla="*/ 126 h 432"/>
              <a:gd name="T104" fmla="*/ 64 w 432"/>
              <a:gd name="T105" fmla="*/ 180 h 432"/>
              <a:gd name="T106" fmla="*/ 31 w 432"/>
              <a:gd name="T107" fmla="*/ 184 h 432"/>
              <a:gd name="T108" fmla="*/ 12 w 432"/>
              <a:gd name="T109" fmla="*/ 228 h 432"/>
              <a:gd name="T110" fmla="*/ 58 w 432"/>
              <a:gd name="T111" fmla="*/ 247 h 432"/>
              <a:gd name="T112" fmla="*/ 83 w 432"/>
              <a:gd name="T113" fmla="*/ 298 h 432"/>
              <a:gd name="T114" fmla="*/ 82 w 432"/>
              <a:gd name="T115" fmla="*/ 306 h 432"/>
              <a:gd name="T116" fmla="*/ 57 w 432"/>
              <a:gd name="T117" fmla="*/ 338 h 432"/>
              <a:gd name="T118" fmla="*/ 81 w 432"/>
              <a:gd name="T119" fmla="*/ 369 h 432"/>
              <a:gd name="T120" fmla="*/ 126 w 432"/>
              <a:gd name="T121" fmla="*/ 350 h 4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432" h="432">
                <a:moveTo>
                  <a:pt x="229" y="432"/>
                </a:moveTo>
                <a:cubicBezTo>
                  <a:pt x="204" y="432"/>
                  <a:pt x="204" y="432"/>
                  <a:pt x="204" y="432"/>
                </a:cubicBezTo>
                <a:cubicBezTo>
                  <a:pt x="186" y="432"/>
                  <a:pt x="172" y="418"/>
                  <a:pt x="172" y="401"/>
                </a:cubicBezTo>
                <a:cubicBezTo>
                  <a:pt x="172" y="379"/>
                  <a:pt x="172" y="379"/>
                  <a:pt x="172" y="379"/>
                </a:cubicBezTo>
                <a:cubicBezTo>
                  <a:pt x="158" y="375"/>
                  <a:pt x="145" y="369"/>
                  <a:pt x="132" y="362"/>
                </a:cubicBezTo>
                <a:cubicBezTo>
                  <a:pt x="116" y="378"/>
                  <a:pt x="116" y="378"/>
                  <a:pt x="116" y="378"/>
                </a:cubicBezTo>
                <a:cubicBezTo>
                  <a:pt x="104" y="390"/>
                  <a:pt x="84" y="390"/>
                  <a:pt x="72" y="378"/>
                </a:cubicBezTo>
                <a:cubicBezTo>
                  <a:pt x="54" y="360"/>
                  <a:pt x="54" y="360"/>
                  <a:pt x="54" y="360"/>
                </a:cubicBezTo>
                <a:cubicBezTo>
                  <a:pt x="48" y="354"/>
                  <a:pt x="45" y="346"/>
                  <a:pt x="45" y="338"/>
                </a:cubicBezTo>
                <a:cubicBezTo>
                  <a:pt x="45" y="329"/>
                  <a:pt x="48" y="322"/>
                  <a:pt x="54" y="316"/>
                </a:cubicBezTo>
                <a:cubicBezTo>
                  <a:pt x="70" y="300"/>
                  <a:pt x="70" y="300"/>
                  <a:pt x="70" y="300"/>
                </a:cubicBezTo>
                <a:cubicBezTo>
                  <a:pt x="63" y="287"/>
                  <a:pt x="57" y="274"/>
                  <a:pt x="53" y="260"/>
                </a:cubicBezTo>
                <a:cubicBezTo>
                  <a:pt x="31" y="260"/>
                  <a:pt x="31" y="260"/>
                  <a:pt x="31" y="260"/>
                </a:cubicBezTo>
                <a:cubicBezTo>
                  <a:pt x="14" y="260"/>
                  <a:pt x="0" y="246"/>
                  <a:pt x="0" y="228"/>
                </a:cubicBezTo>
                <a:cubicBezTo>
                  <a:pt x="0" y="203"/>
                  <a:pt x="0" y="203"/>
                  <a:pt x="0" y="203"/>
                </a:cubicBezTo>
                <a:cubicBezTo>
                  <a:pt x="0" y="186"/>
                  <a:pt x="14" y="172"/>
                  <a:pt x="31" y="172"/>
                </a:cubicBezTo>
                <a:cubicBezTo>
                  <a:pt x="53" y="172"/>
                  <a:pt x="53" y="172"/>
                  <a:pt x="53" y="172"/>
                </a:cubicBezTo>
                <a:cubicBezTo>
                  <a:pt x="57" y="158"/>
                  <a:pt x="63" y="144"/>
                  <a:pt x="70" y="132"/>
                </a:cubicBezTo>
                <a:cubicBezTo>
                  <a:pt x="54" y="116"/>
                  <a:pt x="54" y="116"/>
                  <a:pt x="54" y="116"/>
                </a:cubicBezTo>
                <a:cubicBezTo>
                  <a:pt x="48" y="110"/>
                  <a:pt x="45" y="102"/>
                  <a:pt x="45" y="94"/>
                </a:cubicBezTo>
                <a:cubicBezTo>
                  <a:pt x="45" y="85"/>
                  <a:pt x="48" y="78"/>
                  <a:pt x="54" y="72"/>
                </a:cubicBezTo>
                <a:cubicBezTo>
                  <a:pt x="72" y="54"/>
                  <a:pt x="72" y="54"/>
                  <a:pt x="72" y="54"/>
                </a:cubicBezTo>
                <a:cubicBezTo>
                  <a:pt x="84" y="42"/>
                  <a:pt x="104" y="42"/>
                  <a:pt x="116" y="54"/>
                </a:cubicBezTo>
                <a:cubicBezTo>
                  <a:pt x="132" y="70"/>
                  <a:pt x="132" y="70"/>
                  <a:pt x="132" y="70"/>
                </a:cubicBezTo>
                <a:cubicBezTo>
                  <a:pt x="145" y="62"/>
                  <a:pt x="158" y="57"/>
                  <a:pt x="172" y="53"/>
                </a:cubicBezTo>
                <a:cubicBezTo>
                  <a:pt x="172" y="31"/>
                  <a:pt x="172" y="31"/>
                  <a:pt x="172" y="31"/>
                </a:cubicBezTo>
                <a:cubicBezTo>
                  <a:pt x="172" y="14"/>
                  <a:pt x="186" y="0"/>
                  <a:pt x="204" y="0"/>
                </a:cubicBezTo>
                <a:cubicBezTo>
                  <a:pt x="229" y="0"/>
                  <a:pt x="229" y="0"/>
                  <a:pt x="229" y="0"/>
                </a:cubicBezTo>
                <a:cubicBezTo>
                  <a:pt x="246" y="0"/>
                  <a:pt x="260" y="14"/>
                  <a:pt x="260" y="31"/>
                </a:cubicBezTo>
                <a:cubicBezTo>
                  <a:pt x="260" y="53"/>
                  <a:pt x="260" y="53"/>
                  <a:pt x="260" y="53"/>
                </a:cubicBezTo>
                <a:cubicBezTo>
                  <a:pt x="274" y="57"/>
                  <a:pt x="288" y="62"/>
                  <a:pt x="300" y="70"/>
                </a:cubicBezTo>
                <a:cubicBezTo>
                  <a:pt x="316" y="54"/>
                  <a:pt x="316" y="54"/>
                  <a:pt x="316" y="54"/>
                </a:cubicBezTo>
                <a:cubicBezTo>
                  <a:pt x="328" y="42"/>
                  <a:pt x="348" y="42"/>
                  <a:pt x="360" y="54"/>
                </a:cubicBezTo>
                <a:cubicBezTo>
                  <a:pt x="378" y="72"/>
                  <a:pt x="378" y="72"/>
                  <a:pt x="378" y="72"/>
                </a:cubicBezTo>
                <a:cubicBezTo>
                  <a:pt x="384" y="78"/>
                  <a:pt x="387" y="85"/>
                  <a:pt x="387" y="94"/>
                </a:cubicBezTo>
                <a:cubicBezTo>
                  <a:pt x="387" y="102"/>
                  <a:pt x="384" y="110"/>
                  <a:pt x="378" y="116"/>
                </a:cubicBezTo>
                <a:cubicBezTo>
                  <a:pt x="362" y="132"/>
                  <a:pt x="362" y="132"/>
                  <a:pt x="362" y="132"/>
                </a:cubicBezTo>
                <a:cubicBezTo>
                  <a:pt x="370" y="144"/>
                  <a:pt x="375" y="158"/>
                  <a:pt x="379" y="172"/>
                </a:cubicBezTo>
                <a:cubicBezTo>
                  <a:pt x="401" y="172"/>
                  <a:pt x="401" y="172"/>
                  <a:pt x="401" y="172"/>
                </a:cubicBezTo>
                <a:cubicBezTo>
                  <a:pt x="418" y="172"/>
                  <a:pt x="432" y="186"/>
                  <a:pt x="432" y="203"/>
                </a:cubicBezTo>
                <a:cubicBezTo>
                  <a:pt x="432" y="228"/>
                  <a:pt x="432" y="228"/>
                  <a:pt x="432" y="228"/>
                </a:cubicBezTo>
                <a:cubicBezTo>
                  <a:pt x="432" y="246"/>
                  <a:pt x="418" y="260"/>
                  <a:pt x="401" y="260"/>
                </a:cubicBezTo>
                <a:cubicBezTo>
                  <a:pt x="379" y="260"/>
                  <a:pt x="379" y="260"/>
                  <a:pt x="379" y="260"/>
                </a:cubicBezTo>
                <a:cubicBezTo>
                  <a:pt x="375" y="274"/>
                  <a:pt x="370" y="287"/>
                  <a:pt x="362" y="300"/>
                </a:cubicBezTo>
                <a:cubicBezTo>
                  <a:pt x="378" y="316"/>
                  <a:pt x="378" y="316"/>
                  <a:pt x="378" y="316"/>
                </a:cubicBezTo>
                <a:cubicBezTo>
                  <a:pt x="384" y="322"/>
                  <a:pt x="387" y="329"/>
                  <a:pt x="387" y="338"/>
                </a:cubicBezTo>
                <a:cubicBezTo>
                  <a:pt x="387" y="346"/>
                  <a:pt x="384" y="354"/>
                  <a:pt x="378" y="360"/>
                </a:cubicBezTo>
                <a:cubicBezTo>
                  <a:pt x="360" y="378"/>
                  <a:pt x="360" y="378"/>
                  <a:pt x="360" y="378"/>
                </a:cubicBezTo>
                <a:cubicBezTo>
                  <a:pt x="348" y="390"/>
                  <a:pt x="328" y="390"/>
                  <a:pt x="316" y="378"/>
                </a:cubicBezTo>
                <a:cubicBezTo>
                  <a:pt x="300" y="362"/>
                  <a:pt x="300" y="362"/>
                  <a:pt x="300" y="362"/>
                </a:cubicBezTo>
                <a:cubicBezTo>
                  <a:pt x="288" y="369"/>
                  <a:pt x="274" y="375"/>
                  <a:pt x="260" y="379"/>
                </a:cubicBezTo>
                <a:cubicBezTo>
                  <a:pt x="260" y="401"/>
                  <a:pt x="260" y="401"/>
                  <a:pt x="260" y="401"/>
                </a:cubicBezTo>
                <a:cubicBezTo>
                  <a:pt x="260" y="418"/>
                  <a:pt x="246" y="432"/>
                  <a:pt x="229" y="432"/>
                </a:cubicBezTo>
                <a:close/>
                <a:moveTo>
                  <a:pt x="131" y="348"/>
                </a:moveTo>
                <a:cubicBezTo>
                  <a:pt x="132" y="348"/>
                  <a:pt x="133" y="349"/>
                  <a:pt x="134" y="349"/>
                </a:cubicBezTo>
                <a:cubicBezTo>
                  <a:pt x="148" y="358"/>
                  <a:pt x="164" y="364"/>
                  <a:pt x="180" y="368"/>
                </a:cubicBezTo>
                <a:cubicBezTo>
                  <a:pt x="183" y="369"/>
                  <a:pt x="185" y="371"/>
                  <a:pt x="185" y="374"/>
                </a:cubicBezTo>
                <a:cubicBezTo>
                  <a:pt x="185" y="401"/>
                  <a:pt x="185" y="401"/>
                  <a:pt x="185" y="401"/>
                </a:cubicBezTo>
                <a:cubicBezTo>
                  <a:pt x="185" y="411"/>
                  <a:pt x="193" y="420"/>
                  <a:pt x="204" y="420"/>
                </a:cubicBezTo>
                <a:cubicBezTo>
                  <a:pt x="229" y="420"/>
                  <a:pt x="229" y="420"/>
                  <a:pt x="229" y="420"/>
                </a:cubicBezTo>
                <a:cubicBezTo>
                  <a:pt x="239" y="420"/>
                  <a:pt x="248" y="411"/>
                  <a:pt x="248" y="401"/>
                </a:cubicBezTo>
                <a:cubicBezTo>
                  <a:pt x="248" y="374"/>
                  <a:pt x="248" y="374"/>
                  <a:pt x="248" y="374"/>
                </a:cubicBezTo>
                <a:cubicBezTo>
                  <a:pt x="248" y="371"/>
                  <a:pt x="250" y="369"/>
                  <a:pt x="252" y="368"/>
                </a:cubicBezTo>
                <a:cubicBezTo>
                  <a:pt x="269" y="364"/>
                  <a:pt x="284" y="358"/>
                  <a:pt x="298" y="349"/>
                </a:cubicBezTo>
                <a:cubicBezTo>
                  <a:pt x="301" y="348"/>
                  <a:pt x="304" y="348"/>
                  <a:pt x="306" y="350"/>
                </a:cubicBezTo>
                <a:cubicBezTo>
                  <a:pt x="325" y="369"/>
                  <a:pt x="325" y="369"/>
                  <a:pt x="325" y="369"/>
                </a:cubicBezTo>
                <a:cubicBezTo>
                  <a:pt x="332" y="376"/>
                  <a:pt x="344" y="376"/>
                  <a:pt x="352" y="369"/>
                </a:cubicBezTo>
                <a:cubicBezTo>
                  <a:pt x="369" y="351"/>
                  <a:pt x="369" y="351"/>
                  <a:pt x="369" y="351"/>
                </a:cubicBezTo>
                <a:cubicBezTo>
                  <a:pt x="377" y="344"/>
                  <a:pt x="377" y="332"/>
                  <a:pt x="369" y="324"/>
                </a:cubicBezTo>
                <a:cubicBezTo>
                  <a:pt x="351" y="306"/>
                  <a:pt x="351" y="306"/>
                  <a:pt x="351" y="306"/>
                </a:cubicBezTo>
                <a:cubicBezTo>
                  <a:pt x="349" y="304"/>
                  <a:pt x="348" y="302"/>
                  <a:pt x="349" y="299"/>
                </a:cubicBezTo>
                <a:cubicBezTo>
                  <a:pt x="349" y="299"/>
                  <a:pt x="349" y="298"/>
                  <a:pt x="349" y="298"/>
                </a:cubicBezTo>
                <a:cubicBezTo>
                  <a:pt x="358" y="284"/>
                  <a:pt x="364" y="268"/>
                  <a:pt x="368" y="252"/>
                </a:cubicBezTo>
                <a:cubicBezTo>
                  <a:pt x="369" y="249"/>
                  <a:pt x="371" y="247"/>
                  <a:pt x="374" y="247"/>
                </a:cubicBezTo>
                <a:cubicBezTo>
                  <a:pt x="401" y="247"/>
                  <a:pt x="401" y="247"/>
                  <a:pt x="401" y="247"/>
                </a:cubicBezTo>
                <a:cubicBezTo>
                  <a:pt x="412" y="247"/>
                  <a:pt x="420" y="239"/>
                  <a:pt x="420" y="228"/>
                </a:cubicBezTo>
                <a:cubicBezTo>
                  <a:pt x="420" y="203"/>
                  <a:pt x="420" y="203"/>
                  <a:pt x="420" y="203"/>
                </a:cubicBezTo>
                <a:cubicBezTo>
                  <a:pt x="420" y="193"/>
                  <a:pt x="412" y="184"/>
                  <a:pt x="401" y="184"/>
                </a:cubicBezTo>
                <a:cubicBezTo>
                  <a:pt x="374" y="184"/>
                  <a:pt x="374" y="184"/>
                  <a:pt x="374" y="184"/>
                </a:cubicBezTo>
                <a:cubicBezTo>
                  <a:pt x="371" y="184"/>
                  <a:pt x="369" y="182"/>
                  <a:pt x="368" y="180"/>
                </a:cubicBezTo>
                <a:cubicBezTo>
                  <a:pt x="364" y="163"/>
                  <a:pt x="358" y="148"/>
                  <a:pt x="349" y="134"/>
                </a:cubicBezTo>
                <a:cubicBezTo>
                  <a:pt x="348" y="131"/>
                  <a:pt x="348" y="128"/>
                  <a:pt x="350" y="126"/>
                </a:cubicBezTo>
                <a:cubicBezTo>
                  <a:pt x="369" y="107"/>
                  <a:pt x="369" y="107"/>
                  <a:pt x="369" y="107"/>
                </a:cubicBezTo>
                <a:cubicBezTo>
                  <a:pt x="377" y="100"/>
                  <a:pt x="377" y="88"/>
                  <a:pt x="369" y="80"/>
                </a:cubicBezTo>
                <a:cubicBezTo>
                  <a:pt x="352" y="63"/>
                  <a:pt x="352" y="63"/>
                  <a:pt x="352" y="63"/>
                </a:cubicBezTo>
                <a:cubicBezTo>
                  <a:pt x="344" y="55"/>
                  <a:pt x="332" y="55"/>
                  <a:pt x="325" y="63"/>
                </a:cubicBezTo>
                <a:cubicBezTo>
                  <a:pt x="306" y="82"/>
                  <a:pt x="306" y="82"/>
                  <a:pt x="306" y="82"/>
                </a:cubicBezTo>
                <a:cubicBezTo>
                  <a:pt x="304" y="84"/>
                  <a:pt x="300" y="84"/>
                  <a:pt x="298" y="83"/>
                </a:cubicBezTo>
                <a:cubicBezTo>
                  <a:pt x="284" y="74"/>
                  <a:pt x="269" y="68"/>
                  <a:pt x="252" y="64"/>
                </a:cubicBezTo>
                <a:cubicBezTo>
                  <a:pt x="250" y="63"/>
                  <a:pt x="248" y="61"/>
                  <a:pt x="248" y="58"/>
                </a:cubicBezTo>
                <a:cubicBezTo>
                  <a:pt x="248" y="31"/>
                  <a:pt x="248" y="31"/>
                  <a:pt x="248" y="31"/>
                </a:cubicBezTo>
                <a:cubicBezTo>
                  <a:pt x="248" y="20"/>
                  <a:pt x="239" y="12"/>
                  <a:pt x="229" y="12"/>
                </a:cubicBezTo>
                <a:cubicBezTo>
                  <a:pt x="204" y="12"/>
                  <a:pt x="204" y="12"/>
                  <a:pt x="204" y="12"/>
                </a:cubicBezTo>
                <a:cubicBezTo>
                  <a:pt x="193" y="12"/>
                  <a:pt x="185" y="20"/>
                  <a:pt x="185" y="31"/>
                </a:cubicBezTo>
                <a:cubicBezTo>
                  <a:pt x="185" y="58"/>
                  <a:pt x="185" y="58"/>
                  <a:pt x="185" y="58"/>
                </a:cubicBezTo>
                <a:cubicBezTo>
                  <a:pt x="185" y="61"/>
                  <a:pt x="183" y="63"/>
                  <a:pt x="180" y="64"/>
                </a:cubicBezTo>
                <a:cubicBezTo>
                  <a:pt x="164" y="68"/>
                  <a:pt x="148" y="74"/>
                  <a:pt x="134" y="83"/>
                </a:cubicBezTo>
                <a:cubicBezTo>
                  <a:pt x="132" y="84"/>
                  <a:pt x="129" y="84"/>
                  <a:pt x="127" y="82"/>
                </a:cubicBezTo>
                <a:cubicBezTo>
                  <a:pt x="108" y="63"/>
                  <a:pt x="108" y="63"/>
                  <a:pt x="108" y="63"/>
                </a:cubicBezTo>
                <a:cubicBezTo>
                  <a:pt x="100" y="55"/>
                  <a:pt x="88" y="55"/>
                  <a:pt x="81" y="63"/>
                </a:cubicBezTo>
                <a:cubicBezTo>
                  <a:pt x="63" y="80"/>
                  <a:pt x="63" y="80"/>
                  <a:pt x="63" y="80"/>
                </a:cubicBezTo>
                <a:cubicBezTo>
                  <a:pt x="59" y="84"/>
                  <a:pt x="57" y="89"/>
                  <a:pt x="57" y="94"/>
                </a:cubicBezTo>
                <a:cubicBezTo>
                  <a:pt x="57" y="99"/>
                  <a:pt x="59" y="104"/>
                  <a:pt x="63" y="107"/>
                </a:cubicBezTo>
                <a:cubicBezTo>
                  <a:pt x="82" y="126"/>
                  <a:pt x="82" y="126"/>
                  <a:pt x="82" y="126"/>
                </a:cubicBezTo>
                <a:cubicBezTo>
                  <a:pt x="84" y="128"/>
                  <a:pt x="84" y="131"/>
                  <a:pt x="83" y="134"/>
                </a:cubicBezTo>
                <a:cubicBezTo>
                  <a:pt x="74" y="148"/>
                  <a:pt x="68" y="163"/>
                  <a:pt x="64" y="180"/>
                </a:cubicBezTo>
                <a:cubicBezTo>
                  <a:pt x="63" y="182"/>
                  <a:pt x="61" y="184"/>
                  <a:pt x="58" y="184"/>
                </a:cubicBezTo>
                <a:cubicBezTo>
                  <a:pt x="31" y="184"/>
                  <a:pt x="31" y="184"/>
                  <a:pt x="31" y="184"/>
                </a:cubicBezTo>
                <a:cubicBezTo>
                  <a:pt x="21" y="184"/>
                  <a:pt x="12" y="193"/>
                  <a:pt x="12" y="203"/>
                </a:cubicBezTo>
                <a:cubicBezTo>
                  <a:pt x="12" y="228"/>
                  <a:pt x="12" y="228"/>
                  <a:pt x="12" y="228"/>
                </a:cubicBezTo>
                <a:cubicBezTo>
                  <a:pt x="12" y="239"/>
                  <a:pt x="21" y="247"/>
                  <a:pt x="31" y="247"/>
                </a:cubicBezTo>
                <a:cubicBezTo>
                  <a:pt x="58" y="247"/>
                  <a:pt x="58" y="247"/>
                  <a:pt x="58" y="247"/>
                </a:cubicBezTo>
                <a:cubicBezTo>
                  <a:pt x="61" y="247"/>
                  <a:pt x="63" y="249"/>
                  <a:pt x="64" y="252"/>
                </a:cubicBezTo>
                <a:cubicBezTo>
                  <a:pt x="68" y="268"/>
                  <a:pt x="74" y="284"/>
                  <a:pt x="83" y="298"/>
                </a:cubicBezTo>
                <a:cubicBezTo>
                  <a:pt x="83" y="298"/>
                  <a:pt x="83" y="299"/>
                  <a:pt x="83" y="299"/>
                </a:cubicBezTo>
                <a:cubicBezTo>
                  <a:pt x="84" y="302"/>
                  <a:pt x="83" y="304"/>
                  <a:pt x="82" y="306"/>
                </a:cubicBezTo>
                <a:cubicBezTo>
                  <a:pt x="63" y="324"/>
                  <a:pt x="63" y="324"/>
                  <a:pt x="63" y="324"/>
                </a:cubicBezTo>
                <a:cubicBezTo>
                  <a:pt x="59" y="328"/>
                  <a:pt x="57" y="333"/>
                  <a:pt x="57" y="338"/>
                </a:cubicBezTo>
                <a:cubicBezTo>
                  <a:pt x="57" y="343"/>
                  <a:pt x="59" y="348"/>
                  <a:pt x="63" y="351"/>
                </a:cubicBezTo>
                <a:cubicBezTo>
                  <a:pt x="81" y="369"/>
                  <a:pt x="81" y="369"/>
                  <a:pt x="81" y="369"/>
                </a:cubicBezTo>
                <a:cubicBezTo>
                  <a:pt x="88" y="376"/>
                  <a:pt x="100" y="376"/>
                  <a:pt x="108" y="369"/>
                </a:cubicBezTo>
                <a:cubicBezTo>
                  <a:pt x="126" y="350"/>
                  <a:pt x="126" y="350"/>
                  <a:pt x="126" y="350"/>
                </a:cubicBezTo>
                <a:cubicBezTo>
                  <a:pt x="127" y="349"/>
                  <a:pt x="129" y="348"/>
                  <a:pt x="131" y="34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41" name="Shape3_20220715_112204">
            <a:extLst>
              <a:ext uri="{FF2B5EF4-FFF2-40B4-BE49-F238E27FC236}">
                <a16:creationId xmlns:a16="http://schemas.microsoft.com/office/drawing/2014/main" id="{EFB552B4-35BF-63A5-2AFF-9D07B016FFA0}"/>
              </a:ext>
            </a:extLst>
          </p:cNvPr>
          <p:cNvSpPr/>
          <p:nvPr/>
        </p:nvSpPr>
        <p:spPr>
          <a:xfrm>
            <a:off x="9608590" y="1135725"/>
            <a:ext cx="991300" cy="9913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2400" dirty="0">
              <a:solidFill>
                <a:schemeClr val="lt1"/>
              </a:solidFill>
              <a:ea typeface="Century Gothic"/>
              <a:cs typeface="Arial" panose="020B0604020202020204" pitchFamily="34" charset="0"/>
              <a:sym typeface="Century Gothic"/>
            </a:endParaRPr>
          </a:p>
        </p:txBody>
      </p:sp>
      <p:sp>
        <p:nvSpPr>
          <p:cNvPr id="42" name="Google Shape;2841;p45">
            <a:extLst>
              <a:ext uri="{FF2B5EF4-FFF2-40B4-BE49-F238E27FC236}">
                <a16:creationId xmlns:a16="http://schemas.microsoft.com/office/drawing/2014/main" id="{9737CAAB-733F-8BD6-19A0-EBB1F1DEAD56}"/>
              </a:ext>
            </a:extLst>
          </p:cNvPr>
          <p:cNvSpPr/>
          <p:nvPr/>
        </p:nvSpPr>
        <p:spPr>
          <a:xfrm>
            <a:off x="9682353" y="1209490"/>
            <a:ext cx="843775" cy="843775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2400" dirty="0">
              <a:solidFill>
                <a:schemeClr val="lt1"/>
              </a:solidFill>
              <a:ea typeface="Century Gothic"/>
              <a:cs typeface="Arial" panose="020B0604020202020204" pitchFamily="34" charset="0"/>
              <a:sym typeface="Century Gothic"/>
            </a:endParaRPr>
          </a:p>
        </p:txBody>
      </p:sp>
      <p:sp>
        <p:nvSpPr>
          <p:cNvPr id="43" name="Freeform 156">
            <a:extLst>
              <a:ext uri="{FF2B5EF4-FFF2-40B4-BE49-F238E27FC236}">
                <a16:creationId xmlns:a16="http://schemas.microsoft.com/office/drawing/2014/main" id="{5C1F2F2C-F9C6-6DB5-4311-7271433809EA}"/>
              </a:ext>
            </a:extLst>
          </p:cNvPr>
          <p:cNvSpPr>
            <a:spLocks noEditPoints="1"/>
          </p:cNvSpPr>
          <p:nvPr/>
        </p:nvSpPr>
        <p:spPr bwMode="auto">
          <a:xfrm>
            <a:off x="10010557" y="1569441"/>
            <a:ext cx="187368" cy="139356"/>
          </a:xfrm>
          <a:custGeom>
            <a:avLst/>
            <a:gdLst>
              <a:gd name="T0" fmla="*/ 90 w 218"/>
              <a:gd name="T1" fmla="*/ 163 h 163"/>
              <a:gd name="T2" fmla="*/ 86 w 218"/>
              <a:gd name="T3" fmla="*/ 161 h 163"/>
              <a:gd name="T4" fmla="*/ 2 w 218"/>
              <a:gd name="T5" fmla="*/ 77 h 163"/>
              <a:gd name="T6" fmla="*/ 2 w 218"/>
              <a:gd name="T7" fmla="*/ 68 h 163"/>
              <a:gd name="T8" fmla="*/ 31 w 218"/>
              <a:gd name="T9" fmla="*/ 39 h 163"/>
              <a:gd name="T10" fmla="*/ 40 w 218"/>
              <a:gd name="T11" fmla="*/ 39 h 163"/>
              <a:gd name="T12" fmla="*/ 90 w 218"/>
              <a:gd name="T13" fmla="*/ 90 h 163"/>
              <a:gd name="T14" fmla="*/ 177 w 218"/>
              <a:gd name="T15" fmla="*/ 2 h 163"/>
              <a:gd name="T16" fmla="*/ 186 w 218"/>
              <a:gd name="T17" fmla="*/ 2 h 163"/>
              <a:gd name="T18" fmla="*/ 215 w 218"/>
              <a:gd name="T19" fmla="*/ 32 h 163"/>
              <a:gd name="T20" fmla="*/ 215 w 218"/>
              <a:gd name="T21" fmla="*/ 40 h 163"/>
              <a:gd name="T22" fmla="*/ 95 w 218"/>
              <a:gd name="T23" fmla="*/ 161 h 163"/>
              <a:gd name="T24" fmla="*/ 90 w 218"/>
              <a:gd name="T25" fmla="*/ 163 h 163"/>
              <a:gd name="T26" fmla="*/ 15 w 218"/>
              <a:gd name="T27" fmla="*/ 73 h 163"/>
              <a:gd name="T28" fmla="*/ 90 w 218"/>
              <a:gd name="T29" fmla="*/ 148 h 163"/>
              <a:gd name="T30" fmla="*/ 202 w 218"/>
              <a:gd name="T31" fmla="*/ 36 h 163"/>
              <a:gd name="T32" fmla="*/ 182 w 218"/>
              <a:gd name="T33" fmla="*/ 15 h 163"/>
              <a:gd name="T34" fmla="*/ 95 w 218"/>
              <a:gd name="T35" fmla="*/ 103 h 163"/>
              <a:gd name="T36" fmla="*/ 86 w 218"/>
              <a:gd name="T37" fmla="*/ 103 h 163"/>
              <a:gd name="T38" fmla="*/ 35 w 218"/>
              <a:gd name="T39" fmla="*/ 52 h 163"/>
              <a:gd name="T40" fmla="*/ 15 w 218"/>
              <a:gd name="T41" fmla="*/ 73 h 1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18" h="163">
                <a:moveTo>
                  <a:pt x="90" y="163"/>
                </a:moveTo>
                <a:cubicBezTo>
                  <a:pt x="89" y="163"/>
                  <a:pt x="87" y="162"/>
                  <a:pt x="86" y="161"/>
                </a:cubicBezTo>
                <a:cubicBezTo>
                  <a:pt x="2" y="77"/>
                  <a:pt x="2" y="77"/>
                  <a:pt x="2" y="77"/>
                </a:cubicBezTo>
                <a:cubicBezTo>
                  <a:pt x="0" y="75"/>
                  <a:pt x="0" y="71"/>
                  <a:pt x="2" y="68"/>
                </a:cubicBezTo>
                <a:cubicBezTo>
                  <a:pt x="31" y="39"/>
                  <a:pt x="31" y="39"/>
                  <a:pt x="31" y="39"/>
                </a:cubicBezTo>
                <a:cubicBezTo>
                  <a:pt x="33" y="37"/>
                  <a:pt x="38" y="37"/>
                  <a:pt x="40" y="39"/>
                </a:cubicBezTo>
                <a:cubicBezTo>
                  <a:pt x="90" y="90"/>
                  <a:pt x="90" y="90"/>
                  <a:pt x="90" y="90"/>
                </a:cubicBezTo>
                <a:cubicBezTo>
                  <a:pt x="177" y="2"/>
                  <a:pt x="177" y="2"/>
                  <a:pt x="177" y="2"/>
                </a:cubicBezTo>
                <a:cubicBezTo>
                  <a:pt x="180" y="0"/>
                  <a:pt x="184" y="0"/>
                  <a:pt x="186" y="2"/>
                </a:cubicBezTo>
                <a:cubicBezTo>
                  <a:pt x="215" y="32"/>
                  <a:pt x="215" y="32"/>
                  <a:pt x="215" y="32"/>
                </a:cubicBezTo>
                <a:cubicBezTo>
                  <a:pt x="218" y="34"/>
                  <a:pt x="218" y="38"/>
                  <a:pt x="215" y="40"/>
                </a:cubicBezTo>
                <a:cubicBezTo>
                  <a:pt x="95" y="161"/>
                  <a:pt x="95" y="161"/>
                  <a:pt x="95" y="161"/>
                </a:cubicBezTo>
                <a:cubicBezTo>
                  <a:pt x="93" y="162"/>
                  <a:pt x="92" y="163"/>
                  <a:pt x="90" y="163"/>
                </a:cubicBezTo>
                <a:close/>
                <a:moveTo>
                  <a:pt x="15" y="73"/>
                </a:moveTo>
                <a:cubicBezTo>
                  <a:pt x="90" y="148"/>
                  <a:pt x="90" y="148"/>
                  <a:pt x="90" y="148"/>
                </a:cubicBezTo>
                <a:cubicBezTo>
                  <a:pt x="202" y="36"/>
                  <a:pt x="202" y="36"/>
                  <a:pt x="202" y="36"/>
                </a:cubicBezTo>
                <a:cubicBezTo>
                  <a:pt x="182" y="15"/>
                  <a:pt x="182" y="15"/>
                  <a:pt x="182" y="15"/>
                </a:cubicBezTo>
                <a:cubicBezTo>
                  <a:pt x="95" y="103"/>
                  <a:pt x="95" y="103"/>
                  <a:pt x="95" y="103"/>
                </a:cubicBezTo>
                <a:cubicBezTo>
                  <a:pt x="92" y="105"/>
                  <a:pt x="88" y="105"/>
                  <a:pt x="86" y="103"/>
                </a:cubicBezTo>
                <a:cubicBezTo>
                  <a:pt x="35" y="52"/>
                  <a:pt x="35" y="52"/>
                  <a:pt x="35" y="52"/>
                </a:cubicBezTo>
                <a:lnTo>
                  <a:pt x="15" y="7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44" name="Freeform 157">
            <a:extLst>
              <a:ext uri="{FF2B5EF4-FFF2-40B4-BE49-F238E27FC236}">
                <a16:creationId xmlns:a16="http://schemas.microsoft.com/office/drawing/2014/main" id="{600E18D7-C397-5CEA-77B8-204814E7D104}"/>
              </a:ext>
            </a:extLst>
          </p:cNvPr>
          <p:cNvSpPr>
            <a:spLocks noEditPoints="1"/>
          </p:cNvSpPr>
          <p:nvPr/>
        </p:nvSpPr>
        <p:spPr bwMode="auto">
          <a:xfrm>
            <a:off x="9916873" y="1445567"/>
            <a:ext cx="374736" cy="371618"/>
          </a:xfrm>
          <a:custGeom>
            <a:avLst/>
            <a:gdLst>
              <a:gd name="T0" fmla="*/ 191 w 436"/>
              <a:gd name="T1" fmla="*/ 422 h 433"/>
              <a:gd name="T2" fmla="*/ 116 w 436"/>
              <a:gd name="T3" fmla="*/ 397 h 433"/>
              <a:gd name="T4" fmla="*/ 93 w 436"/>
              <a:gd name="T5" fmla="*/ 381 h 433"/>
              <a:gd name="T6" fmla="*/ 55 w 436"/>
              <a:gd name="T7" fmla="*/ 344 h 433"/>
              <a:gd name="T8" fmla="*/ 20 w 436"/>
              <a:gd name="T9" fmla="*/ 301 h 433"/>
              <a:gd name="T10" fmla="*/ 20 w 436"/>
              <a:gd name="T11" fmla="*/ 272 h 433"/>
              <a:gd name="T12" fmla="*/ 14 w 436"/>
              <a:gd name="T13" fmla="*/ 244 h 433"/>
              <a:gd name="T14" fmla="*/ 19 w 436"/>
              <a:gd name="T15" fmla="*/ 165 h 433"/>
              <a:gd name="T16" fmla="*/ 40 w 436"/>
              <a:gd name="T17" fmla="*/ 116 h 433"/>
              <a:gd name="T18" fmla="*/ 55 w 436"/>
              <a:gd name="T19" fmla="*/ 93 h 433"/>
              <a:gd name="T20" fmla="*/ 115 w 436"/>
              <a:gd name="T21" fmla="*/ 40 h 433"/>
              <a:gd name="T22" fmla="*/ 164 w 436"/>
              <a:gd name="T23" fmla="*/ 21 h 433"/>
              <a:gd name="T24" fmla="*/ 191 w 436"/>
              <a:gd name="T25" fmla="*/ 15 h 433"/>
              <a:gd name="T26" fmla="*/ 271 w 436"/>
              <a:gd name="T27" fmla="*/ 20 h 433"/>
              <a:gd name="T28" fmla="*/ 319 w 436"/>
              <a:gd name="T29" fmla="*/ 41 h 433"/>
              <a:gd name="T30" fmla="*/ 343 w 436"/>
              <a:gd name="T31" fmla="*/ 56 h 433"/>
              <a:gd name="T32" fmla="*/ 395 w 436"/>
              <a:gd name="T33" fmla="*/ 116 h 433"/>
              <a:gd name="T34" fmla="*/ 415 w 436"/>
              <a:gd name="T35" fmla="*/ 164 h 433"/>
              <a:gd name="T36" fmla="*/ 420 w 436"/>
              <a:gd name="T37" fmla="*/ 191 h 433"/>
              <a:gd name="T38" fmla="*/ 421 w 436"/>
              <a:gd name="T39" fmla="*/ 244 h 433"/>
              <a:gd name="T40" fmla="*/ 416 w 436"/>
              <a:gd name="T41" fmla="*/ 271 h 433"/>
              <a:gd name="T42" fmla="*/ 395 w 436"/>
              <a:gd name="T43" fmla="*/ 320 h 433"/>
              <a:gd name="T44" fmla="*/ 380 w 436"/>
              <a:gd name="T45" fmla="*/ 344 h 433"/>
              <a:gd name="T46" fmla="*/ 320 w 436"/>
              <a:gd name="T47" fmla="*/ 396 h 433"/>
              <a:gd name="T48" fmla="*/ 272 w 436"/>
              <a:gd name="T49" fmla="*/ 416 h 433"/>
              <a:gd name="T50" fmla="*/ 244 w 436"/>
              <a:gd name="T51" fmla="*/ 421 h 433"/>
              <a:gd name="T52" fmla="*/ 218 w 436"/>
              <a:gd name="T53" fmla="*/ 433 h 433"/>
              <a:gd name="T54" fmla="*/ 200 w 436"/>
              <a:gd name="T55" fmla="*/ 413 h 433"/>
              <a:gd name="T56" fmla="*/ 236 w 436"/>
              <a:gd name="T57" fmla="*/ 412 h 433"/>
              <a:gd name="T58" fmla="*/ 277 w 436"/>
              <a:gd name="T59" fmla="*/ 405 h 433"/>
              <a:gd name="T60" fmla="*/ 309 w 436"/>
              <a:gd name="T61" fmla="*/ 391 h 433"/>
              <a:gd name="T62" fmla="*/ 368 w 436"/>
              <a:gd name="T63" fmla="*/ 344 h 433"/>
              <a:gd name="T64" fmla="*/ 390 w 436"/>
              <a:gd name="T65" fmla="*/ 309 h 433"/>
              <a:gd name="T66" fmla="*/ 404 w 436"/>
              <a:gd name="T67" fmla="*/ 276 h 433"/>
              <a:gd name="T68" fmla="*/ 412 w 436"/>
              <a:gd name="T69" fmla="*/ 201 h 433"/>
              <a:gd name="T70" fmla="*/ 404 w 436"/>
              <a:gd name="T71" fmla="*/ 160 h 433"/>
              <a:gd name="T72" fmla="*/ 404 w 436"/>
              <a:gd name="T73" fmla="*/ 140 h 433"/>
              <a:gd name="T74" fmla="*/ 368 w 436"/>
              <a:gd name="T75" fmla="*/ 93 h 433"/>
              <a:gd name="T76" fmla="*/ 342 w 436"/>
              <a:gd name="T77" fmla="*/ 68 h 433"/>
              <a:gd name="T78" fmla="*/ 308 w 436"/>
              <a:gd name="T79" fmla="*/ 45 h 433"/>
              <a:gd name="T80" fmla="*/ 235 w 436"/>
              <a:gd name="T81" fmla="*/ 23 h 433"/>
              <a:gd name="T82" fmla="*/ 199 w 436"/>
              <a:gd name="T83" fmla="*/ 24 h 433"/>
              <a:gd name="T84" fmla="*/ 159 w 436"/>
              <a:gd name="T85" fmla="*/ 32 h 433"/>
              <a:gd name="T86" fmla="*/ 92 w 436"/>
              <a:gd name="T87" fmla="*/ 68 h 433"/>
              <a:gd name="T88" fmla="*/ 67 w 436"/>
              <a:gd name="T89" fmla="*/ 94 h 433"/>
              <a:gd name="T90" fmla="*/ 44 w 436"/>
              <a:gd name="T91" fmla="*/ 128 h 433"/>
              <a:gd name="T92" fmla="*/ 23 w 436"/>
              <a:gd name="T93" fmla="*/ 201 h 433"/>
              <a:gd name="T94" fmla="*/ 23 w 436"/>
              <a:gd name="T95" fmla="*/ 236 h 433"/>
              <a:gd name="T96" fmla="*/ 31 w 436"/>
              <a:gd name="T97" fmla="*/ 277 h 433"/>
              <a:gd name="T98" fmla="*/ 44 w 436"/>
              <a:gd name="T99" fmla="*/ 309 h 433"/>
              <a:gd name="T100" fmla="*/ 92 w 436"/>
              <a:gd name="T101" fmla="*/ 368 h 433"/>
              <a:gd name="T102" fmla="*/ 127 w 436"/>
              <a:gd name="T103" fmla="*/ 391 h 433"/>
              <a:gd name="T104" fmla="*/ 160 w 436"/>
              <a:gd name="T105" fmla="*/ 405 h 433"/>
              <a:gd name="T106" fmla="*/ 417 w 436"/>
              <a:gd name="T107" fmla="*/ 240 h 4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436" h="433">
                <a:moveTo>
                  <a:pt x="218" y="433"/>
                </a:moveTo>
                <a:cubicBezTo>
                  <a:pt x="208" y="433"/>
                  <a:pt x="199" y="429"/>
                  <a:pt x="191" y="422"/>
                </a:cubicBezTo>
                <a:cubicBezTo>
                  <a:pt x="184" y="415"/>
                  <a:pt x="174" y="413"/>
                  <a:pt x="164" y="416"/>
                </a:cubicBezTo>
                <a:cubicBezTo>
                  <a:pt x="146" y="424"/>
                  <a:pt x="124" y="415"/>
                  <a:pt x="116" y="397"/>
                </a:cubicBezTo>
                <a:cubicBezTo>
                  <a:pt x="116" y="396"/>
                  <a:pt x="116" y="396"/>
                  <a:pt x="116" y="396"/>
                </a:cubicBezTo>
                <a:cubicBezTo>
                  <a:pt x="112" y="387"/>
                  <a:pt x="103" y="381"/>
                  <a:pt x="93" y="381"/>
                </a:cubicBezTo>
                <a:cubicBezTo>
                  <a:pt x="92" y="381"/>
                  <a:pt x="92" y="381"/>
                  <a:pt x="92" y="381"/>
                </a:cubicBezTo>
                <a:cubicBezTo>
                  <a:pt x="72" y="381"/>
                  <a:pt x="55" y="364"/>
                  <a:pt x="55" y="344"/>
                </a:cubicBezTo>
                <a:cubicBezTo>
                  <a:pt x="55" y="334"/>
                  <a:pt x="49" y="325"/>
                  <a:pt x="40" y="321"/>
                </a:cubicBezTo>
                <a:cubicBezTo>
                  <a:pt x="31" y="317"/>
                  <a:pt x="24" y="310"/>
                  <a:pt x="20" y="301"/>
                </a:cubicBezTo>
                <a:cubicBezTo>
                  <a:pt x="16" y="292"/>
                  <a:pt x="16" y="282"/>
                  <a:pt x="20" y="273"/>
                </a:cubicBezTo>
                <a:cubicBezTo>
                  <a:pt x="20" y="272"/>
                  <a:pt x="20" y="272"/>
                  <a:pt x="20" y="272"/>
                </a:cubicBezTo>
                <a:cubicBezTo>
                  <a:pt x="24" y="263"/>
                  <a:pt x="22" y="252"/>
                  <a:pt x="15" y="245"/>
                </a:cubicBezTo>
                <a:cubicBezTo>
                  <a:pt x="14" y="244"/>
                  <a:pt x="14" y="244"/>
                  <a:pt x="14" y="244"/>
                </a:cubicBezTo>
                <a:cubicBezTo>
                  <a:pt x="0" y="230"/>
                  <a:pt x="0" y="206"/>
                  <a:pt x="14" y="192"/>
                </a:cubicBezTo>
                <a:cubicBezTo>
                  <a:pt x="21" y="185"/>
                  <a:pt x="23" y="174"/>
                  <a:pt x="19" y="165"/>
                </a:cubicBezTo>
                <a:cubicBezTo>
                  <a:pt x="11" y="146"/>
                  <a:pt x="20" y="125"/>
                  <a:pt x="39" y="117"/>
                </a:cubicBezTo>
                <a:cubicBezTo>
                  <a:pt x="40" y="116"/>
                  <a:pt x="40" y="116"/>
                  <a:pt x="40" y="116"/>
                </a:cubicBezTo>
                <a:cubicBezTo>
                  <a:pt x="49" y="113"/>
                  <a:pt x="55" y="104"/>
                  <a:pt x="55" y="94"/>
                </a:cubicBezTo>
                <a:cubicBezTo>
                  <a:pt x="55" y="93"/>
                  <a:pt x="55" y="93"/>
                  <a:pt x="55" y="93"/>
                </a:cubicBezTo>
                <a:cubicBezTo>
                  <a:pt x="55" y="72"/>
                  <a:pt x="72" y="56"/>
                  <a:pt x="92" y="56"/>
                </a:cubicBezTo>
                <a:cubicBezTo>
                  <a:pt x="102" y="56"/>
                  <a:pt x="111" y="50"/>
                  <a:pt x="115" y="40"/>
                </a:cubicBezTo>
                <a:cubicBezTo>
                  <a:pt x="123" y="22"/>
                  <a:pt x="144" y="13"/>
                  <a:pt x="163" y="20"/>
                </a:cubicBezTo>
                <a:cubicBezTo>
                  <a:pt x="164" y="21"/>
                  <a:pt x="164" y="21"/>
                  <a:pt x="164" y="21"/>
                </a:cubicBezTo>
                <a:cubicBezTo>
                  <a:pt x="173" y="24"/>
                  <a:pt x="184" y="22"/>
                  <a:pt x="191" y="15"/>
                </a:cubicBezTo>
                <a:cubicBezTo>
                  <a:pt x="191" y="15"/>
                  <a:pt x="191" y="15"/>
                  <a:pt x="191" y="15"/>
                </a:cubicBezTo>
                <a:cubicBezTo>
                  <a:pt x="206" y="0"/>
                  <a:pt x="229" y="0"/>
                  <a:pt x="244" y="15"/>
                </a:cubicBezTo>
                <a:cubicBezTo>
                  <a:pt x="251" y="22"/>
                  <a:pt x="261" y="24"/>
                  <a:pt x="271" y="20"/>
                </a:cubicBezTo>
                <a:cubicBezTo>
                  <a:pt x="289" y="12"/>
                  <a:pt x="311" y="21"/>
                  <a:pt x="319" y="40"/>
                </a:cubicBezTo>
                <a:cubicBezTo>
                  <a:pt x="319" y="41"/>
                  <a:pt x="319" y="41"/>
                  <a:pt x="319" y="41"/>
                </a:cubicBezTo>
                <a:cubicBezTo>
                  <a:pt x="323" y="50"/>
                  <a:pt x="332" y="56"/>
                  <a:pt x="342" y="56"/>
                </a:cubicBezTo>
                <a:cubicBezTo>
                  <a:pt x="343" y="56"/>
                  <a:pt x="343" y="56"/>
                  <a:pt x="343" y="56"/>
                </a:cubicBezTo>
                <a:cubicBezTo>
                  <a:pt x="363" y="56"/>
                  <a:pt x="380" y="72"/>
                  <a:pt x="380" y="93"/>
                </a:cubicBezTo>
                <a:cubicBezTo>
                  <a:pt x="380" y="103"/>
                  <a:pt x="386" y="112"/>
                  <a:pt x="395" y="116"/>
                </a:cubicBezTo>
                <a:cubicBezTo>
                  <a:pt x="404" y="119"/>
                  <a:pt x="412" y="126"/>
                  <a:pt x="415" y="136"/>
                </a:cubicBezTo>
                <a:cubicBezTo>
                  <a:pt x="419" y="145"/>
                  <a:pt x="419" y="155"/>
                  <a:pt x="415" y="164"/>
                </a:cubicBezTo>
                <a:cubicBezTo>
                  <a:pt x="415" y="165"/>
                  <a:pt x="415" y="165"/>
                  <a:pt x="415" y="165"/>
                </a:cubicBezTo>
                <a:cubicBezTo>
                  <a:pt x="411" y="174"/>
                  <a:pt x="413" y="184"/>
                  <a:pt x="420" y="191"/>
                </a:cubicBezTo>
                <a:cubicBezTo>
                  <a:pt x="421" y="192"/>
                  <a:pt x="421" y="192"/>
                  <a:pt x="421" y="192"/>
                </a:cubicBezTo>
                <a:cubicBezTo>
                  <a:pt x="436" y="206"/>
                  <a:pt x="436" y="230"/>
                  <a:pt x="421" y="244"/>
                </a:cubicBezTo>
                <a:cubicBezTo>
                  <a:pt x="421" y="244"/>
                  <a:pt x="421" y="244"/>
                  <a:pt x="421" y="244"/>
                </a:cubicBezTo>
                <a:cubicBezTo>
                  <a:pt x="414" y="251"/>
                  <a:pt x="412" y="262"/>
                  <a:pt x="416" y="271"/>
                </a:cubicBezTo>
                <a:cubicBezTo>
                  <a:pt x="424" y="290"/>
                  <a:pt x="415" y="312"/>
                  <a:pt x="396" y="320"/>
                </a:cubicBezTo>
                <a:cubicBezTo>
                  <a:pt x="395" y="320"/>
                  <a:pt x="395" y="320"/>
                  <a:pt x="395" y="320"/>
                </a:cubicBezTo>
                <a:cubicBezTo>
                  <a:pt x="386" y="324"/>
                  <a:pt x="380" y="333"/>
                  <a:pt x="380" y="343"/>
                </a:cubicBezTo>
                <a:cubicBezTo>
                  <a:pt x="380" y="344"/>
                  <a:pt x="380" y="344"/>
                  <a:pt x="380" y="344"/>
                </a:cubicBezTo>
                <a:cubicBezTo>
                  <a:pt x="380" y="364"/>
                  <a:pt x="363" y="381"/>
                  <a:pt x="343" y="381"/>
                </a:cubicBezTo>
                <a:cubicBezTo>
                  <a:pt x="333" y="381"/>
                  <a:pt x="324" y="387"/>
                  <a:pt x="320" y="396"/>
                </a:cubicBezTo>
                <a:cubicBezTo>
                  <a:pt x="316" y="405"/>
                  <a:pt x="309" y="412"/>
                  <a:pt x="300" y="416"/>
                </a:cubicBezTo>
                <a:cubicBezTo>
                  <a:pt x="291" y="420"/>
                  <a:pt x="281" y="420"/>
                  <a:pt x="272" y="416"/>
                </a:cubicBezTo>
                <a:cubicBezTo>
                  <a:pt x="271" y="416"/>
                  <a:pt x="271" y="416"/>
                  <a:pt x="271" y="416"/>
                </a:cubicBezTo>
                <a:cubicBezTo>
                  <a:pt x="262" y="412"/>
                  <a:pt x="251" y="414"/>
                  <a:pt x="244" y="421"/>
                </a:cubicBezTo>
                <a:cubicBezTo>
                  <a:pt x="244" y="422"/>
                  <a:pt x="244" y="422"/>
                  <a:pt x="244" y="422"/>
                </a:cubicBezTo>
                <a:cubicBezTo>
                  <a:pt x="236" y="429"/>
                  <a:pt x="227" y="433"/>
                  <a:pt x="218" y="433"/>
                </a:cubicBezTo>
                <a:close/>
                <a:moveTo>
                  <a:pt x="174" y="402"/>
                </a:moveTo>
                <a:cubicBezTo>
                  <a:pt x="184" y="402"/>
                  <a:pt x="193" y="406"/>
                  <a:pt x="200" y="413"/>
                </a:cubicBezTo>
                <a:cubicBezTo>
                  <a:pt x="210" y="423"/>
                  <a:pt x="225" y="423"/>
                  <a:pt x="235" y="413"/>
                </a:cubicBezTo>
                <a:cubicBezTo>
                  <a:pt x="236" y="412"/>
                  <a:pt x="236" y="412"/>
                  <a:pt x="236" y="412"/>
                </a:cubicBezTo>
                <a:cubicBezTo>
                  <a:pt x="246" y="402"/>
                  <a:pt x="262" y="399"/>
                  <a:pt x="276" y="404"/>
                </a:cubicBezTo>
                <a:cubicBezTo>
                  <a:pt x="277" y="405"/>
                  <a:pt x="277" y="405"/>
                  <a:pt x="277" y="405"/>
                </a:cubicBezTo>
                <a:cubicBezTo>
                  <a:pt x="283" y="407"/>
                  <a:pt x="289" y="407"/>
                  <a:pt x="295" y="405"/>
                </a:cubicBezTo>
                <a:cubicBezTo>
                  <a:pt x="302" y="402"/>
                  <a:pt x="306" y="397"/>
                  <a:pt x="309" y="391"/>
                </a:cubicBezTo>
                <a:cubicBezTo>
                  <a:pt x="315" y="377"/>
                  <a:pt x="328" y="368"/>
                  <a:pt x="343" y="368"/>
                </a:cubicBezTo>
                <a:cubicBezTo>
                  <a:pt x="357" y="368"/>
                  <a:pt x="368" y="357"/>
                  <a:pt x="368" y="344"/>
                </a:cubicBezTo>
                <a:cubicBezTo>
                  <a:pt x="368" y="343"/>
                  <a:pt x="368" y="343"/>
                  <a:pt x="368" y="343"/>
                </a:cubicBezTo>
                <a:cubicBezTo>
                  <a:pt x="368" y="328"/>
                  <a:pt x="377" y="314"/>
                  <a:pt x="390" y="309"/>
                </a:cubicBezTo>
                <a:cubicBezTo>
                  <a:pt x="391" y="308"/>
                  <a:pt x="391" y="308"/>
                  <a:pt x="391" y="308"/>
                </a:cubicBezTo>
                <a:cubicBezTo>
                  <a:pt x="404" y="303"/>
                  <a:pt x="410" y="289"/>
                  <a:pt x="404" y="276"/>
                </a:cubicBezTo>
                <a:cubicBezTo>
                  <a:pt x="399" y="262"/>
                  <a:pt x="402" y="246"/>
                  <a:pt x="412" y="236"/>
                </a:cubicBezTo>
                <a:cubicBezTo>
                  <a:pt x="422" y="226"/>
                  <a:pt x="422" y="210"/>
                  <a:pt x="412" y="201"/>
                </a:cubicBezTo>
                <a:cubicBezTo>
                  <a:pt x="412" y="200"/>
                  <a:pt x="412" y="200"/>
                  <a:pt x="412" y="200"/>
                </a:cubicBezTo>
                <a:cubicBezTo>
                  <a:pt x="401" y="190"/>
                  <a:pt x="398" y="174"/>
                  <a:pt x="404" y="160"/>
                </a:cubicBezTo>
                <a:cubicBezTo>
                  <a:pt x="404" y="159"/>
                  <a:pt x="404" y="159"/>
                  <a:pt x="404" y="159"/>
                </a:cubicBezTo>
                <a:cubicBezTo>
                  <a:pt x="407" y="153"/>
                  <a:pt x="407" y="146"/>
                  <a:pt x="404" y="140"/>
                </a:cubicBezTo>
                <a:cubicBezTo>
                  <a:pt x="401" y="134"/>
                  <a:pt x="397" y="129"/>
                  <a:pt x="391" y="127"/>
                </a:cubicBezTo>
                <a:cubicBezTo>
                  <a:pt x="377" y="121"/>
                  <a:pt x="368" y="108"/>
                  <a:pt x="368" y="93"/>
                </a:cubicBezTo>
                <a:cubicBezTo>
                  <a:pt x="368" y="79"/>
                  <a:pt x="357" y="68"/>
                  <a:pt x="343" y="68"/>
                </a:cubicBezTo>
                <a:cubicBezTo>
                  <a:pt x="342" y="68"/>
                  <a:pt x="342" y="68"/>
                  <a:pt x="342" y="68"/>
                </a:cubicBezTo>
                <a:cubicBezTo>
                  <a:pt x="327" y="68"/>
                  <a:pt x="314" y="59"/>
                  <a:pt x="308" y="45"/>
                </a:cubicBezTo>
                <a:cubicBezTo>
                  <a:pt x="308" y="45"/>
                  <a:pt x="308" y="45"/>
                  <a:pt x="308" y="45"/>
                </a:cubicBezTo>
                <a:cubicBezTo>
                  <a:pt x="302" y="32"/>
                  <a:pt x="288" y="26"/>
                  <a:pt x="275" y="31"/>
                </a:cubicBezTo>
                <a:cubicBezTo>
                  <a:pt x="262" y="37"/>
                  <a:pt x="246" y="34"/>
                  <a:pt x="235" y="23"/>
                </a:cubicBezTo>
                <a:cubicBezTo>
                  <a:pt x="225" y="14"/>
                  <a:pt x="210" y="14"/>
                  <a:pt x="200" y="23"/>
                </a:cubicBezTo>
                <a:cubicBezTo>
                  <a:pt x="199" y="24"/>
                  <a:pt x="199" y="24"/>
                  <a:pt x="199" y="24"/>
                </a:cubicBezTo>
                <a:cubicBezTo>
                  <a:pt x="189" y="35"/>
                  <a:pt x="173" y="38"/>
                  <a:pt x="159" y="32"/>
                </a:cubicBezTo>
                <a:cubicBezTo>
                  <a:pt x="159" y="32"/>
                  <a:pt x="159" y="32"/>
                  <a:pt x="159" y="32"/>
                </a:cubicBezTo>
                <a:cubicBezTo>
                  <a:pt x="146" y="27"/>
                  <a:pt x="131" y="33"/>
                  <a:pt x="126" y="45"/>
                </a:cubicBezTo>
                <a:cubicBezTo>
                  <a:pt x="121" y="59"/>
                  <a:pt x="107" y="68"/>
                  <a:pt x="92" y="68"/>
                </a:cubicBezTo>
                <a:cubicBezTo>
                  <a:pt x="78" y="68"/>
                  <a:pt x="67" y="79"/>
                  <a:pt x="67" y="93"/>
                </a:cubicBezTo>
                <a:cubicBezTo>
                  <a:pt x="67" y="94"/>
                  <a:pt x="67" y="94"/>
                  <a:pt x="67" y="94"/>
                </a:cubicBezTo>
                <a:cubicBezTo>
                  <a:pt x="67" y="109"/>
                  <a:pt x="58" y="122"/>
                  <a:pt x="45" y="128"/>
                </a:cubicBezTo>
                <a:cubicBezTo>
                  <a:pt x="44" y="128"/>
                  <a:pt x="44" y="128"/>
                  <a:pt x="44" y="128"/>
                </a:cubicBezTo>
                <a:cubicBezTo>
                  <a:pt x="31" y="133"/>
                  <a:pt x="25" y="148"/>
                  <a:pt x="31" y="160"/>
                </a:cubicBezTo>
                <a:cubicBezTo>
                  <a:pt x="36" y="174"/>
                  <a:pt x="33" y="190"/>
                  <a:pt x="23" y="201"/>
                </a:cubicBezTo>
                <a:cubicBezTo>
                  <a:pt x="13" y="210"/>
                  <a:pt x="13" y="226"/>
                  <a:pt x="23" y="236"/>
                </a:cubicBezTo>
                <a:cubicBezTo>
                  <a:pt x="23" y="236"/>
                  <a:pt x="23" y="236"/>
                  <a:pt x="23" y="236"/>
                </a:cubicBezTo>
                <a:cubicBezTo>
                  <a:pt x="34" y="247"/>
                  <a:pt x="37" y="263"/>
                  <a:pt x="31" y="276"/>
                </a:cubicBezTo>
                <a:cubicBezTo>
                  <a:pt x="31" y="277"/>
                  <a:pt x="31" y="277"/>
                  <a:pt x="31" y="277"/>
                </a:cubicBezTo>
                <a:cubicBezTo>
                  <a:pt x="28" y="283"/>
                  <a:pt x="29" y="290"/>
                  <a:pt x="31" y="296"/>
                </a:cubicBezTo>
                <a:cubicBezTo>
                  <a:pt x="34" y="302"/>
                  <a:pt x="38" y="307"/>
                  <a:pt x="44" y="309"/>
                </a:cubicBezTo>
                <a:cubicBezTo>
                  <a:pt x="58" y="315"/>
                  <a:pt x="67" y="329"/>
                  <a:pt x="67" y="344"/>
                </a:cubicBezTo>
                <a:cubicBezTo>
                  <a:pt x="67" y="357"/>
                  <a:pt x="78" y="368"/>
                  <a:pt x="92" y="368"/>
                </a:cubicBezTo>
                <a:cubicBezTo>
                  <a:pt x="93" y="368"/>
                  <a:pt x="93" y="368"/>
                  <a:pt x="93" y="368"/>
                </a:cubicBezTo>
                <a:cubicBezTo>
                  <a:pt x="108" y="368"/>
                  <a:pt x="121" y="377"/>
                  <a:pt x="127" y="391"/>
                </a:cubicBezTo>
                <a:cubicBezTo>
                  <a:pt x="127" y="392"/>
                  <a:pt x="127" y="392"/>
                  <a:pt x="127" y="392"/>
                </a:cubicBezTo>
                <a:cubicBezTo>
                  <a:pt x="133" y="404"/>
                  <a:pt x="147" y="410"/>
                  <a:pt x="160" y="405"/>
                </a:cubicBezTo>
                <a:cubicBezTo>
                  <a:pt x="164" y="403"/>
                  <a:pt x="169" y="402"/>
                  <a:pt x="174" y="402"/>
                </a:cubicBezTo>
                <a:close/>
                <a:moveTo>
                  <a:pt x="417" y="240"/>
                </a:moveTo>
                <a:cubicBezTo>
                  <a:pt x="417" y="240"/>
                  <a:pt x="417" y="240"/>
                  <a:pt x="417" y="24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9229429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0CC06B-2A88-A0C3-3883-3FE695D097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942F1844-8612-EA1F-CFE0-91435CF74B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42F1844-8612-EA1F-CFE0-91435CF74B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313C946-6D0D-3665-780D-EE16ED1D03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Funnel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F1721F3E-B771-3C55-E2DD-02CBF2C7E8B2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89</a:t>
            </a:fld>
            <a:endParaRPr lang="en-US" sz="1200" dirty="0">
              <a:solidFill>
                <a:schemeClr val="bg1"/>
              </a:solidFill>
            </a:endParaRPr>
          </a:p>
        </p:txBody>
      </p:sp>
      <p:grpSp>
        <p:nvGrpSpPr>
          <p:cNvPr id="70" name="Group 69">
            <a:extLst>
              <a:ext uri="{FF2B5EF4-FFF2-40B4-BE49-F238E27FC236}">
                <a16:creationId xmlns:a16="http://schemas.microsoft.com/office/drawing/2014/main" id="{99B1A4B1-9D10-FDED-659C-879E5C90E381}"/>
              </a:ext>
            </a:extLst>
          </p:cNvPr>
          <p:cNvGrpSpPr/>
          <p:nvPr/>
        </p:nvGrpSpPr>
        <p:grpSpPr>
          <a:xfrm>
            <a:off x="1755234" y="3757665"/>
            <a:ext cx="2079391" cy="1065353"/>
            <a:chOff x="1262064" y="3333195"/>
            <a:chExt cx="1350963" cy="692151"/>
          </a:xfrm>
          <a:solidFill>
            <a:schemeClr val="accent2"/>
          </a:solidFill>
        </p:grpSpPr>
        <p:sp>
          <p:nvSpPr>
            <p:cNvPr id="120" name="Freeform 5">
              <a:extLst>
                <a:ext uri="{FF2B5EF4-FFF2-40B4-BE49-F238E27FC236}">
                  <a16:creationId xmlns:a16="http://schemas.microsoft.com/office/drawing/2014/main" id="{133988B8-7F36-A2AD-EEA2-04CF545A82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2064" y="3333195"/>
              <a:ext cx="1350963" cy="144463"/>
            </a:xfrm>
            <a:custGeom>
              <a:avLst/>
              <a:gdLst/>
              <a:ahLst/>
              <a:cxnLst>
                <a:cxn ang="0">
                  <a:pos x="529" y="28"/>
                </a:cxn>
                <a:cxn ang="0">
                  <a:pos x="527" y="30"/>
                </a:cxn>
                <a:cxn ang="0">
                  <a:pos x="451" y="47"/>
                </a:cxn>
                <a:cxn ang="0">
                  <a:pos x="265" y="56"/>
                </a:cxn>
                <a:cxn ang="0">
                  <a:pos x="78" y="47"/>
                </a:cxn>
                <a:cxn ang="0">
                  <a:pos x="2" y="30"/>
                </a:cxn>
                <a:cxn ang="0">
                  <a:pos x="0" y="28"/>
                </a:cxn>
                <a:cxn ang="0">
                  <a:pos x="78" y="8"/>
                </a:cxn>
                <a:cxn ang="0">
                  <a:pos x="265" y="0"/>
                </a:cxn>
                <a:cxn ang="0">
                  <a:pos x="451" y="8"/>
                </a:cxn>
                <a:cxn ang="0">
                  <a:pos x="529" y="28"/>
                </a:cxn>
              </a:cxnLst>
              <a:rect l="0" t="0" r="r" b="b"/>
              <a:pathLst>
                <a:path w="529" h="56">
                  <a:moveTo>
                    <a:pt x="529" y="28"/>
                  </a:moveTo>
                  <a:cubicBezTo>
                    <a:pt x="529" y="29"/>
                    <a:pt x="528" y="30"/>
                    <a:pt x="527" y="30"/>
                  </a:cubicBezTo>
                  <a:cubicBezTo>
                    <a:pt x="522" y="37"/>
                    <a:pt x="496" y="43"/>
                    <a:pt x="451" y="47"/>
                  </a:cubicBezTo>
                  <a:cubicBezTo>
                    <a:pt x="400" y="53"/>
                    <a:pt x="338" y="56"/>
                    <a:pt x="265" y="56"/>
                  </a:cubicBezTo>
                  <a:cubicBezTo>
                    <a:pt x="192" y="56"/>
                    <a:pt x="129" y="53"/>
                    <a:pt x="78" y="47"/>
                  </a:cubicBezTo>
                  <a:cubicBezTo>
                    <a:pt x="33" y="43"/>
                    <a:pt x="7" y="37"/>
                    <a:pt x="2" y="30"/>
                  </a:cubicBezTo>
                  <a:cubicBezTo>
                    <a:pt x="1" y="30"/>
                    <a:pt x="0" y="29"/>
                    <a:pt x="0" y="28"/>
                  </a:cubicBezTo>
                  <a:cubicBezTo>
                    <a:pt x="0" y="20"/>
                    <a:pt x="26" y="13"/>
                    <a:pt x="78" y="8"/>
                  </a:cubicBezTo>
                  <a:cubicBezTo>
                    <a:pt x="129" y="3"/>
                    <a:pt x="192" y="0"/>
                    <a:pt x="265" y="0"/>
                  </a:cubicBezTo>
                  <a:cubicBezTo>
                    <a:pt x="338" y="0"/>
                    <a:pt x="400" y="3"/>
                    <a:pt x="451" y="8"/>
                  </a:cubicBezTo>
                  <a:cubicBezTo>
                    <a:pt x="503" y="13"/>
                    <a:pt x="529" y="20"/>
                    <a:pt x="529" y="28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21" name="Freeform 6">
              <a:extLst>
                <a:ext uri="{FF2B5EF4-FFF2-40B4-BE49-F238E27FC236}">
                  <a16:creationId xmlns:a16="http://schemas.microsoft.com/office/drawing/2014/main" id="{C6E054ED-BA19-8E07-E267-9322FE1997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3651" y="3410983"/>
              <a:ext cx="1347788" cy="614363"/>
            </a:xfrm>
            <a:custGeom>
              <a:avLst/>
              <a:gdLst/>
              <a:ahLst/>
              <a:cxnLst>
                <a:cxn ang="0">
                  <a:pos x="450" y="17"/>
                </a:cxn>
                <a:cxn ang="0">
                  <a:pos x="526" y="0"/>
                </a:cxn>
                <a:cxn ang="0">
                  <a:pos x="528" y="1"/>
                </a:cxn>
                <a:cxn ang="0">
                  <a:pos x="412" y="223"/>
                </a:cxn>
                <a:cxn ang="0">
                  <a:pos x="411" y="223"/>
                </a:cxn>
                <a:cxn ang="0">
                  <a:pos x="411" y="224"/>
                </a:cxn>
                <a:cxn ang="0">
                  <a:pos x="411" y="225"/>
                </a:cxn>
                <a:cxn ang="0">
                  <a:pos x="410" y="226"/>
                </a:cxn>
                <a:cxn ang="0">
                  <a:pos x="407" y="228"/>
                </a:cxn>
                <a:cxn ang="0">
                  <a:pos x="368" y="236"/>
                </a:cxn>
                <a:cxn ang="0">
                  <a:pos x="264" y="241"/>
                </a:cxn>
                <a:cxn ang="0">
                  <a:pos x="159" y="236"/>
                </a:cxn>
                <a:cxn ang="0">
                  <a:pos x="118" y="227"/>
                </a:cxn>
                <a:cxn ang="0">
                  <a:pos x="116" y="224"/>
                </a:cxn>
                <a:cxn ang="0">
                  <a:pos x="116" y="223"/>
                </a:cxn>
                <a:cxn ang="0">
                  <a:pos x="0" y="1"/>
                </a:cxn>
                <a:cxn ang="0">
                  <a:pos x="1" y="0"/>
                </a:cxn>
                <a:cxn ang="0">
                  <a:pos x="77" y="17"/>
                </a:cxn>
                <a:cxn ang="0">
                  <a:pos x="264" y="26"/>
                </a:cxn>
                <a:cxn ang="0">
                  <a:pos x="450" y="17"/>
                </a:cxn>
              </a:cxnLst>
              <a:rect l="0" t="0" r="r" b="b"/>
              <a:pathLst>
                <a:path w="528" h="241">
                  <a:moveTo>
                    <a:pt x="450" y="17"/>
                  </a:moveTo>
                  <a:cubicBezTo>
                    <a:pt x="495" y="13"/>
                    <a:pt x="521" y="7"/>
                    <a:pt x="526" y="0"/>
                  </a:cubicBezTo>
                  <a:cubicBezTo>
                    <a:pt x="528" y="1"/>
                    <a:pt x="528" y="1"/>
                    <a:pt x="528" y="1"/>
                  </a:cubicBezTo>
                  <a:cubicBezTo>
                    <a:pt x="412" y="223"/>
                    <a:pt x="412" y="223"/>
                    <a:pt x="412" y="223"/>
                  </a:cubicBezTo>
                  <a:cubicBezTo>
                    <a:pt x="411" y="223"/>
                    <a:pt x="411" y="223"/>
                    <a:pt x="411" y="223"/>
                  </a:cubicBezTo>
                  <a:cubicBezTo>
                    <a:pt x="411" y="224"/>
                    <a:pt x="411" y="224"/>
                    <a:pt x="411" y="224"/>
                  </a:cubicBezTo>
                  <a:cubicBezTo>
                    <a:pt x="411" y="225"/>
                    <a:pt x="411" y="225"/>
                    <a:pt x="411" y="225"/>
                  </a:cubicBezTo>
                  <a:cubicBezTo>
                    <a:pt x="411" y="225"/>
                    <a:pt x="411" y="226"/>
                    <a:pt x="410" y="226"/>
                  </a:cubicBezTo>
                  <a:cubicBezTo>
                    <a:pt x="409" y="227"/>
                    <a:pt x="408" y="228"/>
                    <a:pt x="407" y="228"/>
                  </a:cubicBezTo>
                  <a:cubicBezTo>
                    <a:pt x="368" y="236"/>
                    <a:pt x="368" y="236"/>
                    <a:pt x="368" y="236"/>
                  </a:cubicBezTo>
                  <a:cubicBezTo>
                    <a:pt x="339" y="239"/>
                    <a:pt x="304" y="241"/>
                    <a:pt x="264" y="241"/>
                  </a:cubicBezTo>
                  <a:cubicBezTo>
                    <a:pt x="223" y="241"/>
                    <a:pt x="188" y="239"/>
                    <a:pt x="159" y="236"/>
                  </a:cubicBezTo>
                  <a:cubicBezTo>
                    <a:pt x="136" y="233"/>
                    <a:pt x="122" y="230"/>
                    <a:pt x="118" y="227"/>
                  </a:cubicBezTo>
                  <a:cubicBezTo>
                    <a:pt x="116" y="226"/>
                    <a:pt x="116" y="225"/>
                    <a:pt x="116" y="224"/>
                  </a:cubicBezTo>
                  <a:cubicBezTo>
                    <a:pt x="116" y="224"/>
                    <a:pt x="116" y="223"/>
                    <a:pt x="116" y="22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6" y="7"/>
                    <a:pt x="32" y="13"/>
                    <a:pt x="77" y="17"/>
                  </a:cubicBezTo>
                  <a:cubicBezTo>
                    <a:pt x="128" y="23"/>
                    <a:pt x="191" y="26"/>
                    <a:pt x="264" y="26"/>
                  </a:cubicBezTo>
                  <a:cubicBezTo>
                    <a:pt x="337" y="26"/>
                    <a:pt x="399" y="23"/>
                    <a:pt x="450" y="1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8B0B0B68-22E0-649E-2779-698EA93D1D86}"/>
              </a:ext>
            </a:extLst>
          </p:cNvPr>
          <p:cNvGrpSpPr/>
          <p:nvPr/>
        </p:nvGrpSpPr>
        <p:grpSpPr>
          <a:xfrm>
            <a:off x="1319074" y="2658105"/>
            <a:ext cx="2951708" cy="1148429"/>
            <a:chOff x="978695" y="2618820"/>
            <a:chExt cx="1917700" cy="746125"/>
          </a:xfrm>
          <a:solidFill>
            <a:schemeClr val="accent3"/>
          </a:solidFill>
        </p:grpSpPr>
        <p:sp>
          <p:nvSpPr>
            <p:cNvPr id="118" name="Freeform 7">
              <a:extLst>
                <a:ext uri="{FF2B5EF4-FFF2-40B4-BE49-F238E27FC236}">
                  <a16:creationId xmlns:a16="http://schemas.microsoft.com/office/drawing/2014/main" id="{9D2CB94D-2C80-8CBF-D432-3B96BE088F64}"/>
                </a:ext>
              </a:extLst>
            </p:cNvPr>
            <p:cNvSpPr>
              <a:spLocks/>
            </p:cNvSpPr>
            <p:nvPr/>
          </p:nvSpPr>
          <p:spPr bwMode="auto">
            <a:xfrm>
              <a:off x="978695" y="2618820"/>
              <a:ext cx="1917700" cy="260350"/>
            </a:xfrm>
            <a:custGeom>
              <a:avLst/>
              <a:gdLst/>
              <a:ahLst/>
              <a:cxnLst>
                <a:cxn ang="0">
                  <a:pos x="749" y="57"/>
                </a:cxn>
                <a:cxn ang="0">
                  <a:pos x="641" y="87"/>
                </a:cxn>
                <a:cxn ang="0">
                  <a:pos x="375" y="102"/>
                </a:cxn>
                <a:cxn ang="0">
                  <a:pos x="110" y="87"/>
                </a:cxn>
                <a:cxn ang="0">
                  <a:pos x="2" y="57"/>
                </a:cxn>
                <a:cxn ang="0">
                  <a:pos x="0" y="54"/>
                </a:cxn>
                <a:cxn ang="0">
                  <a:pos x="0" y="51"/>
                </a:cxn>
                <a:cxn ang="0">
                  <a:pos x="110" y="15"/>
                </a:cxn>
                <a:cxn ang="0">
                  <a:pos x="375" y="0"/>
                </a:cxn>
                <a:cxn ang="0">
                  <a:pos x="641" y="15"/>
                </a:cxn>
                <a:cxn ang="0">
                  <a:pos x="751" y="51"/>
                </a:cxn>
                <a:cxn ang="0">
                  <a:pos x="749" y="57"/>
                </a:cxn>
              </a:cxnLst>
              <a:rect l="0" t="0" r="r" b="b"/>
              <a:pathLst>
                <a:path w="751" h="102">
                  <a:moveTo>
                    <a:pt x="749" y="57"/>
                  </a:moveTo>
                  <a:cubicBezTo>
                    <a:pt x="741" y="69"/>
                    <a:pt x="705" y="79"/>
                    <a:pt x="641" y="87"/>
                  </a:cubicBezTo>
                  <a:cubicBezTo>
                    <a:pt x="568" y="97"/>
                    <a:pt x="479" y="102"/>
                    <a:pt x="375" y="102"/>
                  </a:cubicBezTo>
                  <a:cubicBezTo>
                    <a:pt x="272" y="102"/>
                    <a:pt x="183" y="97"/>
                    <a:pt x="110" y="87"/>
                  </a:cubicBezTo>
                  <a:cubicBezTo>
                    <a:pt x="47" y="79"/>
                    <a:pt x="11" y="69"/>
                    <a:pt x="2" y="57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53"/>
                    <a:pt x="0" y="52"/>
                    <a:pt x="0" y="51"/>
                  </a:cubicBezTo>
                  <a:cubicBezTo>
                    <a:pt x="0" y="37"/>
                    <a:pt x="36" y="25"/>
                    <a:pt x="110" y="15"/>
                  </a:cubicBezTo>
                  <a:cubicBezTo>
                    <a:pt x="183" y="5"/>
                    <a:pt x="272" y="0"/>
                    <a:pt x="375" y="0"/>
                  </a:cubicBezTo>
                  <a:cubicBezTo>
                    <a:pt x="479" y="0"/>
                    <a:pt x="568" y="5"/>
                    <a:pt x="641" y="15"/>
                  </a:cubicBezTo>
                  <a:cubicBezTo>
                    <a:pt x="714" y="25"/>
                    <a:pt x="751" y="37"/>
                    <a:pt x="751" y="51"/>
                  </a:cubicBezTo>
                  <a:cubicBezTo>
                    <a:pt x="751" y="53"/>
                    <a:pt x="750" y="55"/>
                    <a:pt x="749" y="57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19" name="Freeform 8">
              <a:extLst>
                <a:ext uri="{FF2B5EF4-FFF2-40B4-BE49-F238E27FC236}">
                  <a16:creationId xmlns:a16="http://schemas.microsoft.com/office/drawing/2014/main" id="{9EBC8C70-2054-BFA7-D95D-8742CF915534}"/>
                </a:ext>
              </a:extLst>
            </p:cNvPr>
            <p:cNvSpPr>
              <a:spLocks/>
            </p:cNvSpPr>
            <p:nvPr/>
          </p:nvSpPr>
          <p:spPr bwMode="auto">
            <a:xfrm>
              <a:off x="982664" y="2764870"/>
              <a:ext cx="1909763" cy="600075"/>
            </a:xfrm>
            <a:custGeom>
              <a:avLst/>
              <a:gdLst/>
              <a:ahLst/>
              <a:cxnLst>
                <a:cxn ang="0">
                  <a:pos x="748" y="0"/>
                </a:cxn>
                <a:cxn ang="0">
                  <a:pos x="638" y="210"/>
                </a:cxn>
                <a:cxn ang="0">
                  <a:pos x="636" y="209"/>
                </a:cxn>
                <a:cxn ang="0">
                  <a:pos x="560" y="226"/>
                </a:cxn>
                <a:cxn ang="0">
                  <a:pos x="374" y="235"/>
                </a:cxn>
                <a:cxn ang="0">
                  <a:pos x="187" y="226"/>
                </a:cxn>
                <a:cxn ang="0">
                  <a:pos x="111" y="209"/>
                </a:cxn>
                <a:cxn ang="0">
                  <a:pos x="110" y="210"/>
                </a:cxn>
                <a:cxn ang="0">
                  <a:pos x="0" y="0"/>
                </a:cxn>
                <a:cxn ang="0">
                  <a:pos x="108" y="30"/>
                </a:cxn>
                <a:cxn ang="0">
                  <a:pos x="373" y="45"/>
                </a:cxn>
                <a:cxn ang="0">
                  <a:pos x="639" y="30"/>
                </a:cxn>
                <a:cxn ang="0">
                  <a:pos x="747" y="0"/>
                </a:cxn>
                <a:cxn ang="0">
                  <a:pos x="748" y="0"/>
                </a:cxn>
              </a:cxnLst>
              <a:rect l="0" t="0" r="r" b="b"/>
              <a:pathLst>
                <a:path w="748" h="235">
                  <a:moveTo>
                    <a:pt x="748" y="0"/>
                  </a:moveTo>
                  <a:cubicBezTo>
                    <a:pt x="638" y="210"/>
                    <a:pt x="638" y="210"/>
                    <a:pt x="638" y="210"/>
                  </a:cubicBezTo>
                  <a:cubicBezTo>
                    <a:pt x="636" y="209"/>
                    <a:pt x="636" y="209"/>
                    <a:pt x="636" y="209"/>
                  </a:cubicBezTo>
                  <a:cubicBezTo>
                    <a:pt x="631" y="216"/>
                    <a:pt x="605" y="222"/>
                    <a:pt x="560" y="226"/>
                  </a:cubicBezTo>
                  <a:cubicBezTo>
                    <a:pt x="509" y="232"/>
                    <a:pt x="447" y="235"/>
                    <a:pt x="374" y="235"/>
                  </a:cubicBezTo>
                  <a:cubicBezTo>
                    <a:pt x="301" y="235"/>
                    <a:pt x="238" y="232"/>
                    <a:pt x="187" y="226"/>
                  </a:cubicBezTo>
                  <a:cubicBezTo>
                    <a:pt x="142" y="222"/>
                    <a:pt x="116" y="216"/>
                    <a:pt x="111" y="209"/>
                  </a:cubicBezTo>
                  <a:cubicBezTo>
                    <a:pt x="110" y="210"/>
                    <a:pt x="110" y="210"/>
                    <a:pt x="110" y="21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9" y="12"/>
                    <a:pt x="45" y="22"/>
                    <a:pt x="108" y="30"/>
                  </a:cubicBezTo>
                  <a:cubicBezTo>
                    <a:pt x="181" y="40"/>
                    <a:pt x="270" y="45"/>
                    <a:pt x="373" y="45"/>
                  </a:cubicBezTo>
                  <a:cubicBezTo>
                    <a:pt x="477" y="45"/>
                    <a:pt x="566" y="40"/>
                    <a:pt x="639" y="30"/>
                  </a:cubicBezTo>
                  <a:cubicBezTo>
                    <a:pt x="703" y="22"/>
                    <a:pt x="739" y="12"/>
                    <a:pt x="747" y="0"/>
                  </a:cubicBezTo>
                  <a:lnTo>
                    <a:pt x="74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37D3511B-374C-0077-8F62-738C86CC4AB7}"/>
              </a:ext>
            </a:extLst>
          </p:cNvPr>
          <p:cNvGrpSpPr/>
          <p:nvPr/>
        </p:nvGrpSpPr>
        <p:grpSpPr>
          <a:xfrm>
            <a:off x="858480" y="1495014"/>
            <a:ext cx="3872896" cy="1273047"/>
            <a:chOff x="679451" y="1863170"/>
            <a:chExt cx="2516188" cy="827088"/>
          </a:xfrm>
          <a:solidFill>
            <a:schemeClr val="accent4"/>
          </a:solidFill>
        </p:grpSpPr>
        <p:sp>
          <p:nvSpPr>
            <p:cNvPr id="116" name="Freeform 9">
              <a:extLst>
                <a:ext uri="{FF2B5EF4-FFF2-40B4-BE49-F238E27FC236}">
                  <a16:creationId xmlns:a16="http://schemas.microsoft.com/office/drawing/2014/main" id="{48059CC2-1572-1677-523F-A56A48EBD6DB}"/>
                </a:ext>
              </a:extLst>
            </p:cNvPr>
            <p:cNvSpPr>
              <a:spLocks/>
            </p:cNvSpPr>
            <p:nvPr/>
          </p:nvSpPr>
          <p:spPr bwMode="auto">
            <a:xfrm>
              <a:off x="679451" y="1863170"/>
              <a:ext cx="2516188" cy="260350"/>
            </a:xfrm>
            <a:custGeom>
              <a:avLst/>
              <a:gdLst/>
              <a:ahLst/>
              <a:cxnLst>
                <a:cxn ang="0">
                  <a:pos x="1" y="55"/>
                </a:cxn>
                <a:cxn ang="0">
                  <a:pos x="0" y="54"/>
                </a:cxn>
                <a:cxn ang="0">
                  <a:pos x="0" y="51"/>
                </a:cxn>
                <a:cxn ang="0">
                  <a:pos x="144" y="15"/>
                </a:cxn>
                <a:cxn ang="0">
                  <a:pos x="492" y="0"/>
                </a:cxn>
                <a:cxn ang="0">
                  <a:pos x="840" y="15"/>
                </a:cxn>
                <a:cxn ang="0">
                  <a:pos x="985" y="51"/>
                </a:cxn>
                <a:cxn ang="0">
                  <a:pos x="984" y="54"/>
                </a:cxn>
                <a:cxn ang="0">
                  <a:pos x="984" y="55"/>
                </a:cxn>
                <a:cxn ang="0">
                  <a:pos x="840" y="87"/>
                </a:cxn>
                <a:cxn ang="0">
                  <a:pos x="492" y="102"/>
                </a:cxn>
                <a:cxn ang="0">
                  <a:pos x="144" y="87"/>
                </a:cxn>
                <a:cxn ang="0">
                  <a:pos x="1" y="55"/>
                </a:cxn>
              </a:cxnLst>
              <a:rect l="0" t="0" r="r" b="b"/>
              <a:pathLst>
                <a:path w="985" h="102">
                  <a:moveTo>
                    <a:pt x="1" y="55"/>
                  </a:moveTo>
                  <a:cubicBezTo>
                    <a:pt x="1" y="55"/>
                    <a:pt x="1" y="54"/>
                    <a:pt x="0" y="54"/>
                  </a:cubicBezTo>
                  <a:cubicBezTo>
                    <a:pt x="0" y="53"/>
                    <a:pt x="0" y="52"/>
                    <a:pt x="0" y="51"/>
                  </a:cubicBezTo>
                  <a:cubicBezTo>
                    <a:pt x="0" y="37"/>
                    <a:pt x="48" y="25"/>
                    <a:pt x="144" y="15"/>
                  </a:cubicBezTo>
                  <a:cubicBezTo>
                    <a:pt x="240" y="5"/>
                    <a:pt x="357" y="0"/>
                    <a:pt x="492" y="0"/>
                  </a:cubicBezTo>
                  <a:cubicBezTo>
                    <a:pt x="628" y="0"/>
                    <a:pt x="744" y="5"/>
                    <a:pt x="840" y="15"/>
                  </a:cubicBezTo>
                  <a:cubicBezTo>
                    <a:pt x="937" y="25"/>
                    <a:pt x="985" y="37"/>
                    <a:pt x="985" y="51"/>
                  </a:cubicBezTo>
                  <a:cubicBezTo>
                    <a:pt x="985" y="52"/>
                    <a:pt x="984" y="53"/>
                    <a:pt x="984" y="54"/>
                  </a:cubicBezTo>
                  <a:cubicBezTo>
                    <a:pt x="984" y="54"/>
                    <a:pt x="984" y="54"/>
                    <a:pt x="984" y="55"/>
                  </a:cubicBezTo>
                  <a:cubicBezTo>
                    <a:pt x="976" y="67"/>
                    <a:pt x="929" y="78"/>
                    <a:pt x="840" y="87"/>
                  </a:cubicBezTo>
                  <a:cubicBezTo>
                    <a:pt x="744" y="97"/>
                    <a:pt x="628" y="102"/>
                    <a:pt x="492" y="102"/>
                  </a:cubicBezTo>
                  <a:cubicBezTo>
                    <a:pt x="357" y="102"/>
                    <a:pt x="240" y="97"/>
                    <a:pt x="144" y="87"/>
                  </a:cubicBezTo>
                  <a:cubicBezTo>
                    <a:pt x="57" y="78"/>
                    <a:pt x="10" y="68"/>
                    <a:pt x="1" y="55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17" name="Freeform 10">
              <a:extLst>
                <a:ext uri="{FF2B5EF4-FFF2-40B4-BE49-F238E27FC236}">
                  <a16:creationId xmlns:a16="http://schemas.microsoft.com/office/drawing/2014/main" id="{C90A2487-CAB5-89BE-D942-8D312B72C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682626" y="2002870"/>
              <a:ext cx="2509838" cy="687388"/>
            </a:xfrm>
            <a:custGeom>
              <a:avLst/>
              <a:gdLst/>
              <a:ahLst/>
              <a:cxnLst>
                <a:cxn ang="0">
                  <a:pos x="983" y="0"/>
                </a:cxn>
                <a:cxn ang="0">
                  <a:pos x="866" y="224"/>
                </a:cxn>
                <a:cxn ang="0">
                  <a:pos x="865" y="224"/>
                </a:cxn>
                <a:cxn ang="0">
                  <a:pos x="757" y="254"/>
                </a:cxn>
                <a:cxn ang="0">
                  <a:pos x="491" y="269"/>
                </a:cxn>
                <a:cxn ang="0">
                  <a:pos x="226" y="254"/>
                </a:cxn>
                <a:cxn ang="0">
                  <a:pos x="118" y="224"/>
                </a:cxn>
                <a:cxn ang="0">
                  <a:pos x="116" y="221"/>
                </a:cxn>
                <a:cxn ang="0">
                  <a:pos x="115" y="218"/>
                </a:cxn>
                <a:cxn ang="0">
                  <a:pos x="115" y="219"/>
                </a:cxn>
                <a:cxn ang="0">
                  <a:pos x="0" y="0"/>
                </a:cxn>
                <a:cxn ang="0">
                  <a:pos x="143" y="32"/>
                </a:cxn>
                <a:cxn ang="0">
                  <a:pos x="491" y="47"/>
                </a:cxn>
                <a:cxn ang="0">
                  <a:pos x="839" y="32"/>
                </a:cxn>
                <a:cxn ang="0">
                  <a:pos x="983" y="0"/>
                </a:cxn>
              </a:cxnLst>
              <a:rect l="0" t="0" r="r" b="b"/>
              <a:pathLst>
                <a:path w="983" h="269">
                  <a:moveTo>
                    <a:pt x="983" y="0"/>
                  </a:moveTo>
                  <a:cubicBezTo>
                    <a:pt x="866" y="224"/>
                    <a:pt x="866" y="224"/>
                    <a:pt x="866" y="224"/>
                  </a:cubicBezTo>
                  <a:cubicBezTo>
                    <a:pt x="865" y="224"/>
                    <a:pt x="865" y="224"/>
                    <a:pt x="865" y="224"/>
                  </a:cubicBezTo>
                  <a:cubicBezTo>
                    <a:pt x="857" y="235"/>
                    <a:pt x="821" y="246"/>
                    <a:pt x="757" y="254"/>
                  </a:cubicBezTo>
                  <a:cubicBezTo>
                    <a:pt x="683" y="264"/>
                    <a:pt x="595" y="269"/>
                    <a:pt x="491" y="269"/>
                  </a:cubicBezTo>
                  <a:cubicBezTo>
                    <a:pt x="388" y="269"/>
                    <a:pt x="299" y="264"/>
                    <a:pt x="226" y="254"/>
                  </a:cubicBezTo>
                  <a:cubicBezTo>
                    <a:pt x="163" y="246"/>
                    <a:pt x="127" y="236"/>
                    <a:pt x="118" y="224"/>
                  </a:cubicBezTo>
                  <a:cubicBezTo>
                    <a:pt x="116" y="221"/>
                    <a:pt x="116" y="221"/>
                    <a:pt x="116" y="221"/>
                  </a:cubicBezTo>
                  <a:cubicBezTo>
                    <a:pt x="115" y="220"/>
                    <a:pt x="115" y="219"/>
                    <a:pt x="115" y="218"/>
                  </a:cubicBezTo>
                  <a:cubicBezTo>
                    <a:pt x="115" y="219"/>
                    <a:pt x="115" y="219"/>
                    <a:pt x="115" y="21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9" y="13"/>
                    <a:pt x="56" y="23"/>
                    <a:pt x="143" y="32"/>
                  </a:cubicBezTo>
                  <a:cubicBezTo>
                    <a:pt x="239" y="42"/>
                    <a:pt x="356" y="47"/>
                    <a:pt x="491" y="47"/>
                  </a:cubicBezTo>
                  <a:cubicBezTo>
                    <a:pt x="627" y="47"/>
                    <a:pt x="743" y="42"/>
                    <a:pt x="839" y="32"/>
                  </a:cubicBezTo>
                  <a:cubicBezTo>
                    <a:pt x="928" y="23"/>
                    <a:pt x="975" y="12"/>
                    <a:pt x="983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grpSp>
        <p:nvGrpSpPr>
          <p:cNvPr id="91" name="Group 90">
            <a:extLst>
              <a:ext uri="{FF2B5EF4-FFF2-40B4-BE49-F238E27FC236}">
                <a16:creationId xmlns:a16="http://schemas.microsoft.com/office/drawing/2014/main" id="{D56E4F66-B846-BBE9-BBDE-8CC3B9FEF796}"/>
              </a:ext>
            </a:extLst>
          </p:cNvPr>
          <p:cNvGrpSpPr/>
          <p:nvPr/>
        </p:nvGrpSpPr>
        <p:grpSpPr>
          <a:xfrm>
            <a:off x="2212160" y="4832790"/>
            <a:ext cx="1165535" cy="777024"/>
            <a:chOff x="1558926" y="4031695"/>
            <a:chExt cx="757238" cy="504826"/>
          </a:xfrm>
          <a:solidFill>
            <a:schemeClr val="accent1"/>
          </a:solidFill>
        </p:grpSpPr>
        <p:sp>
          <p:nvSpPr>
            <p:cNvPr id="114" name="Freeform 12">
              <a:extLst>
                <a:ext uri="{FF2B5EF4-FFF2-40B4-BE49-F238E27FC236}">
                  <a16:creationId xmlns:a16="http://schemas.microsoft.com/office/drawing/2014/main" id="{BD011C1A-CF64-341F-DAF2-F2092028E1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560514" y="4031695"/>
              <a:ext cx="754063" cy="85725"/>
            </a:xfrm>
            <a:custGeom>
              <a:avLst/>
              <a:gdLst/>
              <a:ahLst/>
              <a:cxnLst>
                <a:cxn ang="0">
                  <a:pos x="43" y="5"/>
                </a:cxn>
                <a:cxn ang="0">
                  <a:pos x="148" y="0"/>
                </a:cxn>
                <a:cxn ang="0">
                  <a:pos x="252" y="5"/>
                </a:cxn>
                <a:cxn ang="0">
                  <a:pos x="256" y="5"/>
                </a:cxn>
                <a:cxn ang="0">
                  <a:pos x="295" y="15"/>
                </a:cxn>
                <a:cxn ang="0">
                  <a:pos x="295" y="17"/>
                </a:cxn>
                <a:cxn ang="0">
                  <a:pos x="295" y="18"/>
                </a:cxn>
                <a:cxn ang="0">
                  <a:pos x="294" y="19"/>
                </a:cxn>
                <a:cxn ang="0">
                  <a:pos x="294" y="19"/>
                </a:cxn>
                <a:cxn ang="0">
                  <a:pos x="292" y="20"/>
                </a:cxn>
                <a:cxn ang="0">
                  <a:pos x="290" y="21"/>
                </a:cxn>
                <a:cxn ang="0">
                  <a:pos x="252" y="29"/>
                </a:cxn>
                <a:cxn ang="0">
                  <a:pos x="148" y="34"/>
                </a:cxn>
                <a:cxn ang="0">
                  <a:pos x="43" y="29"/>
                </a:cxn>
                <a:cxn ang="0">
                  <a:pos x="2" y="20"/>
                </a:cxn>
                <a:cxn ang="0">
                  <a:pos x="0" y="17"/>
                </a:cxn>
                <a:cxn ang="0">
                  <a:pos x="0" y="16"/>
                </a:cxn>
                <a:cxn ang="0">
                  <a:pos x="43" y="5"/>
                </a:cxn>
              </a:cxnLst>
              <a:rect l="0" t="0" r="r" b="b"/>
              <a:pathLst>
                <a:path w="295" h="34">
                  <a:moveTo>
                    <a:pt x="43" y="5"/>
                  </a:moveTo>
                  <a:cubicBezTo>
                    <a:pt x="72" y="2"/>
                    <a:pt x="107" y="0"/>
                    <a:pt x="148" y="0"/>
                  </a:cubicBezTo>
                  <a:cubicBezTo>
                    <a:pt x="188" y="0"/>
                    <a:pt x="223" y="2"/>
                    <a:pt x="252" y="5"/>
                  </a:cubicBezTo>
                  <a:cubicBezTo>
                    <a:pt x="253" y="5"/>
                    <a:pt x="255" y="5"/>
                    <a:pt x="256" y="5"/>
                  </a:cubicBezTo>
                  <a:cubicBezTo>
                    <a:pt x="295" y="15"/>
                    <a:pt x="295" y="15"/>
                    <a:pt x="295" y="15"/>
                  </a:cubicBezTo>
                  <a:cubicBezTo>
                    <a:pt x="295" y="16"/>
                    <a:pt x="295" y="16"/>
                    <a:pt x="295" y="17"/>
                  </a:cubicBezTo>
                  <a:cubicBezTo>
                    <a:pt x="295" y="18"/>
                    <a:pt x="295" y="18"/>
                    <a:pt x="295" y="18"/>
                  </a:cubicBezTo>
                  <a:cubicBezTo>
                    <a:pt x="295" y="18"/>
                    <a:pt x="295" y="19"/>
                    <a:pt x="294" y="19"/>
                  </a:cubicBezTo>
                  <a:cubicBezTo>
                    <a:pt x="294" y="19"/>
                    <a:pt x="294" y="19"/>
                    <a:pt x="294" y="19"/>
                  </a:cubicBezTo>
                  <a:cubicBezTo>
                    <a:pt x="294" y="20"/>
                    <a:pt x="293" y="20"/>
                    <a:pt x="292" y="20"/>
                  </a:cubicBezTo>
                  <a:cubicBezTo>
                    <a:pt x="292" y="21"/>
                    <a:pt x="291" y="21"/>
                    <a:pt x="290" y="21"/>
                  </a:cubicBezTo>
                  <a:cubicBezTo>
                    <a:pt x="284" y="24"/>
                    <a:pt x="271" y="27"/>
                    <a:pt x="252" y="29"/>
                  </a:cubicBezTo>
                  <a:cubicBezTo>
                    <a:pt x="223" y="32"/>
                    <a:pt x="188" y="34"/>
                    <a:pt x="148" y="34"/>
                  </a:cubicBezTo>
                  <a:cubicBezTo>
                    <a:pt x="107" y="34"/>
                    <a:pt x="72" y="32"/>
                    <a:pt x="43" y="29"/>
                  </a:cubicBezTo>
                  <a:cubicBezTo>
                    <a:pt x="20" y="26"/>
                    <a:pt x="7" y="23"/>
                    <a:pt x="2" y="20"/>
                  </a:cubicBezTo>
                  <a:cubicBezTo>
                    <a:pt x="0" y="19"/>
                    <a:pt x="0" y="18"/>
                    <a:pt x="0" y="17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2" y="12"/>
                    <a:pt x="16" y="8"/>
                    <a:pt x="43" y="5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15" name="Freeform 13">
              <a:extLst>
                <a:ext uri="{FF2B5EF4-FFF2-40B4-BE49-F238E27FC236}">
                  <a16:creationId xmlns:a16="http://schemas.microsoft.com/office/drawing/2014/main" id="{EADDE5FB-8C2D-F8B6-B52E-3715D61110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8926" y="4074558"/>
              <a:ext cx="757238" cy="461963"/>
            </a:xfrm>
            <a:custGeom>
              <a:avLst/>
              <a:gdLst/>
              <a:ahLst/>
              <a:cxnLst>
                <a:cxn ang="0">
                  <a:pos x="2" y="3"/>
                </a:cxn>
                <a:cxn ang="0">
                  <a:pos x="43" y="12"/>
                </a:cxn>
                <a:cxn ang="0">
                  <a:pos x="148" y="17"/>
                </a:cxn>
                <a:cxn ang="0">
                  <a:pos x="252" y="12"/>
                </a:cxn>
                <a:cxn ang="0">
                  <a:pos x="290" y="4"/>
                </a:cxn>
                <a:cxn ang="0">
                  <a:pos x="291" y="4"/>
                </a:cxn>
                <a:cxn ang="0">
                  <a:pos x="294" y="2"/>
                </a:cxn>
                <a:cxn ang="0">
                  <a:pos x="295" y="1"/>
                </a:cxn>
                <a:cxn ang="0">
                  <a:pos x="295" y="0"/>
                </a:cxn>
                <a:cxn ang="0">
                  <a:pos x="296" y="0"/>
                </a:cxn>
                <a:cxn ang="0">
                  <a:pos x="296" y="164"/>
                </a:cxn>
                <a:cxn ang="0">
                  <a:pos x="295" y="164"/>
                </a:cxn>
                <a:cxn ang="0">
                  <a:pos x="252" y="176"/>
                </a:cxn>
                <a:cxn ang="0">
                  <a:pos x="148" y="181"/>
                </a:cxn>
                <a:cxn ang="0">
                  <a:pos x="43" y="176"/>
                </a:cxn>
                <a:cxn ang="0">
                  <a:pos x="2" y="167"/>
                </a:cxn>
                <a:cxn ang="0">
                  <a:pos x="0" y="164"/>
                </a:cxn>
                <a:cxn ang="0">
                  <a:pos x="2" y="161"/>
                </a:cxn>
                <a:cxn ang="0">
                  <a:pos x="2" y="3"/>
                </a:cxn>
              </a:cxnLst>
              <a:rect l="0" t="0" r="r" b="b"/>
              <a:pathLst>
                <a:path w="296" h="181">
                  <a:moveTo>
                    <a:pt x="2" y="3"/>
                  </a:moveTo>
                  <a:cubicBezTo>
                    <a:pt x="7" y="6"/>
                    <a:pt x="20" y="9"/>
                    <a:pt x="43" y="12"/>
                  </a:cubicBezTo>
                  <a:cubicBezTo>
                    <a:pt x="72" y="15"/>
                    <a:pt x="107" y="17"/>
                    <a:pt x="148" y="17"/>
                  </a:cubicBezTo>
                  <a:cubicBezTo>
                    <a:pt x="188" y="17"/>
                    <a:pt x="223" y="15"/>
                    <a:pt x="252" y="12"/>
                  </a:cubicBezTo>
                  <a:cubicBezTo>
                    <a:pt x="271" y="10"/>
                    <a:pt x="284" y="7"/>
                    <a:pt x="290" y="4"/>
                  </a:cubicBezTo>
                  <a:cubicBezTo>
                    <a:pt x="291" y="4"/>
                    <a:pt x="291" y="4"/>
                    <a:pt x="291" y="4"/>
                  </a:cubicBezTo>
                  <a:cubicBezTo>
                    <a:pt x="292" y="4"/>
                    <a:pt x="293" y="3"/>
                    <a:pt x="294" y="2"/>
                  </a:cubicBezTo>
                  <a:cubicBezTo>
                    <a:pt x="295" y="2"/>
                    <a:pt x="295" y="1"/>
                    <a:pt x="295" y="1"/>
                  </a:cubicBezTo>
                  <a:cubicBezTo>
                    <a:pt x="295" y="0"/>
                    <a:pt x="295" y="0"/>
                    <a:pt x="295" y="0"/>
                  </a:cubicBezTo>
                  <a:cubicBezTo>
                    <a:pt x="296" y="0"/>
                    <a:pt x="296" y="0"/>
                    <a:pt x="296" y="0"/>
                  </a:cubicBezTo>
                  <a:cubicBezTo>
                    <a:pt x="296" y="164"/>
                    <a:pt x="296" y="164"/>
                    <a:pt x="296" y="164"/>
                  </a:cubicBezTo>
                  <a:cubicBezTo>
                    <a:pt x="295" y="164"/>
                    <a:pt x="295" y="164"/>
                    <a:pt x="295" y="164"/>
                  </a:cubicBezTo>
                  <a:cubicBezTo>
                    <a:pt x="295" y="169"/>
                    <a:pt x="281" y="173"/>
                    <a:pt x="252" y="176"/>
                  </a:cubicBezTo>
                  <a:cubicBezTo>
                    <a:pt x="223" y="179"/>
                    <a:pt x="188" y="181"/>
                    <a:pt x="148" y="181"/>
                  </a:cubicBezTo>
                  <a:cubicBezTo>
                    <a:pt x="107" y="181"/>
                    <a:pt x="72" y="179"/>
                    <a:pt x="43" y="176"/>
                  </a:cubicBezTo>
                  <a:cubicBezTo>
                    <a:pt x="20" y="173"/>
                    <a:pt x="7" y="170"/>
                    <a:pt x="2" y="167"/>
                  </a:cubicBezTo>
                  <a:cubicBezTo>
                    <a:pt x="0" y="166"/>
                    <a:pt x="0" y="165"/>
                    <a:pt x="0" y="164"/>
                  </a:cubicBezTo>
                  <a:cubicBezTo>
                    <a:pt x="0" y="163"/>
                    <a:pt x="0" y="162"/>
                    <a:pt x="2" y="161"/>
                  </a:cubicBezTo>
                  <a:lnTo>
                    <a:pt x="2" y="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6064B1B3-EC12-31A9-AFC2-1ABA5E958BDE}"/>
              </a:ext>
            </a:extLst>
          </p:cNvPr>
          <p:cNvCxnSpPr/>
          <p:nvPr/>
        </p:nvCxnSpPr>
        <p:spPr>
          <a:xfrm flipH="1" flipV="1">
            <a:off x="4968535" y="1726658"/>
            <a:ext cx="2350471" cy="2444"/>
          </a:xfrm>
          <a:prstGeom prst="line">
            <a:avLst/>
          </a:prstGeom>
          <a:ln w="28575">
            <a:solidFill>
              <a:schemeClr val="accent6"/>
            </a:solidFill>
            <a:prstDash val="sysDot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id="{A75E3F1D-5F42-6BC3-3304-5E3C2E59F658}"/>
              </a:ext>
            </a:extLst>
          </p:cNvPr>
          <p:cNvCxnSpPr/>
          <p:nvPr/>
        </p:nvCxnSpPr>
        <p:spPr>
          <a:xfrm flipH="1" flipV="1">
            <a:off x="4574880" y="2851667"/>
            <a:ext cx="2350471" cy="2444"/>
          </a:xfrm>
          <a:prstGeom prst="line">
            <a:avLst/>
          </a:prstGeom>
          <a:ln w="28575">
            <a:solidFill>
              <a:schemeClr val="accent6"/>
            </a:solidFill>
            <a:prstDash val="sysDot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D9ED7CEF-A0C1-D298-A7F2-E5784669A9A2}"/>
              </a:ext>
            </a:extLst>
          </p:cNvPr>
          <p:cNvCxnSpPr/>
          <p:nvPr/>
        </p:nvCxnSpPr>
        <p:spPr>
          <a:xfrm flipH="1" flipV="1">
            <a:off x="4154412" y="3935399"/>
            <a:ext cx="2350471" cy="2444"/>
          </a:xfrm>
          <a:prstGeom prst="line">
            <a:avLst/>
          </a:prstGeom>
          <a:ln w="28575">
            <a:solidFill>
              <a:schemeClr val="accent6"/>
            </a:solidFill>
            <a:prstDash val="sysDot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F904CE2C-C35A-1E53-3008-A8799065E929}"/>
              </a:ext>
            </a:extLst>
          </p:cNvPr>
          <p:cNvCxnSpPr/>
          <p:nvPr/>
        </p:nvCxnSpPr>
        <p:spPr>
          <a:xfrm flipH="1" flipV="1">
            <a:off x="3678385" y="5000326"/>
            <a:ext cx="2350471" cy="2444"/>
          </a:xfrm>
          <a:prstGeom prst="line">
            <a:avLst/>
          </a:prstGeom>
          <a:ln w="28575">
            <a:solidFill>
              <a:schemeClr val="accent6"/>
            </a:solidFill>
            <a:prstDash val="sysDot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Inhaltsplatzhalter 4">
            <a:extLst>
              <a:ext uri="{FF2B5EF4-FFF2-40B4-BE49-F238E27FC236}">
                <a16:creationId xmlns:a16="http://schemas.microsoft.com/office/drawing/2014/main" id="{BD10C423-DA84-9777-7FCA-0F38742E9832}"/>
              </a:ext>
            </a:extLst>
          </p:cNvPr>
          <p:cNvSpPr txBox="1">
            <a:spLocks/>
          </p:cNvSpPr>
          <p:nvPr/>
        </p:nvSpPr>
        <p:spPr>
          <a:xfrm>
            <a:off x="7122947" y="3827216"/>
            <a:ext cx="3776336" cy="58477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accent2"/>
                </a:solidFill>
                <a:latin typeface="+mn-lt"/>
              </a:rPr>
              <a:t>TITLE GOES HERE</a:t>
            </a:r>
            <a:br>
              <a:rPr lang="en-US" sz="1400" b="1" dirty="0">
                <a:solidFill>
                  <a:schemeClr val="bg1">
                    <a:lumMod val="50000"/>
                  </a:schemeClr>
                </a:solidFill>
                <a:latin typeface="+mn-lt"/>
              </a:rPr>
            </a:br>
            <a:r>
              <a:rPr lang="en-US" sz="11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97" name="Inhaltsplatzhalter 4">
            <a:extLst>
              <a:ext uri="{FF2B5EF4-FFF2-40B4-BE49-F238E27FC236}">
                <a16:creationId xmlns:a16="http://schemas.microsoft.com/office/drawing/2014/main" id="{7C6FE922-1B5D-045D-8DAF-93B16491F00D}"/>
              </a:ext>
            </a:extLst>
          </p:cNvPr>
          <p:cNvSpPr txBox="1">
            <a:spLocks/>
          </p:cNvSpPr>
          <p:nvPr/>
        </p:nvSpPr>
        <p:spPr>
          <a:xfrm flipH="1">
            <a:off x="7536872" y="1740898"/>
            <a:ext cx="3816926" cy="58477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accent4"/>
                </a:solidFill>
                <a:latin typeface="+mn-lt"/>
              </a:rPr>
              <a:t>TITLE GOES HERE</a:t>
            </a:r>
            <a:br>
              <a:rPr lang="en-US" sz="1400" b="1" dirty="0">
                <a:solidFill>
                  <a:schemeClr val="accent2"/>
                </a:solidFill>
                <a:latin typeface="+mn-lt"/>
              </a:rPr>
            </a:br>
            <a:r>
              <a:rPr lang="en-US" sz="11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98" name="Inhaltsplatzhalter 4">
            <a:extLst>
              <a:ext uri="{FF2B5EF4-FFF2-40B4-BE49-F238E27FC236}">
                <a16:creationId xmlns:a16="http://schemas.microsoft.com/office/drawing/2014/main" id="{7A4A5C59-CC43-9C64-1609-55F2B548D8C7}"/>
              </a:ext>
            </a:extLst>
          </p:cNvPr>
          <p:cNvSpPr txBox="1">
            <a:spLocks/>
          </p:cNvSpPr>
          <p:nvPr/>
        </p:nvSpPr>
        <p:spPr>
          <a:xfrm flipH="1">
            <a:off x="7356983" y="2784057"/>
            <a:ext cx="3840061" cy="58477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accent3"/>
                </a:solidFill>
                <a:latin typeface="+mn-lt"/>
              </a:rPr>
              <a:t>TITLE GOES HERE</a:t>
            </a:r>
            <a:br>
              <a:rPr lang="en-US" sz="1400" b="1" dirty="0">
                <a:solidFill>
                  <a:schemeClr val="accent2"/>
                </a:solidFill>
                <a:latin typeface="+mn-lt"/>
              </a:rPr>
            </a:br>
            <a:r>
              <a:rPr lang="en-US" sz="11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99" name="Inhaltsplatzhalter 4">
            <a:extLst>
              <a:ext uri="{FF2B5EF4-FFF2-40B4-BE49-F238E27FC236}">
                <a16:creationId xmlns:a16="http://schemas.microsoft.com/office/drawing/2014/main" id="{51886B27-6035-68C7-8C71-07AE0D80FBE8}"/>
              </a:ext>
            </a:extLst>
          </p:cNvPr>
          <p:cNvSpPr txBox="1">
            <a:spLocks/>
          </p:cNvSpPr>
          <p:nvPr/>
        </p:nvSpPr>
        <p:spPr>
          <a:xfrm>
            <a:off x="6915784" y="4870376"/>
            <a:ext cx="3776336" cy="58477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accent1"/>
                </a:solidFill>
                <a:latin typeface="+mn-lt"/>
              </a:rPr>
              <a:t>TITLE GOES HERE</a:t>
            </a:r>
            <a:br>
              <a:rPr lang="en-US" sz="1400" b="1" dirty="0">
                <a:solidFill>
                  <a:schemeClr val="bg1">
                    <a:lumMod val="50000"/>
                  </a:schemeClr>
                </a:solidFill>
                <a:latin typeface="+mn-lt"/>
              </a:rPr>
            </a:br>
            <a:r>
              <a:rPr lang="en-US" sz="11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50417CCC-7DBB-CA4B-6D0F-6E23DD0E18D6}"/>
              </a:ext>
            </a:extLst>
          </p:cNvPr>
          <p:cNvGrpSpPr>
            <a:grpSpLocks noChangeAspect="1"/>
          </p:cNvGrpSpPr>
          <p:nvPr/>
        </p:nvGrpSpPr>
        <p:grpSpPr>
          <a:xfrm>
            <a:off x="2579157" y="3299831"/>
            <a:ext cx="385069" cy="366530"/>
            <a:chOff x="6719888" y="887413"/>
            <a:chExt cx="492125" cy="468312"/>
          </a:xfrm>
          <a:solidFill>
            <a:schemeClr val="bg1"/>
          </a:solidFill>
        </p:grpSpPr>
        <p:sp>
          <p:nvSpPr>
            <p:cNvPr id="108" name="Freeform 23">
              <a:extLst>
                <a:ext uri="{FF2B5EF4-FFF2-40B4-BE49-F238E27FC236}">
                  <a16:creationId xmlns:a16="http://schemas.microsoft.com/office/drawing/2014/main" id="{383D3C6D-A224-793C-3F8E-2D8FB75774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19888" y="887413"/>
              <a:ext cx="492125" cy="468312"/>
            </a:xfrm>
            <a:custGeom>
              <a:avLst/>
              <a:gdLst>
                <a:gd name="T0" fmla="*/ 117 w 128"/>
                <a:gd name="T1" fmla="*/ 0 h 122"/>
                <a:gd name="T2" fmla="*/ 11 w 128"/>
                <a:gd name="T3" fmla="*/ 0 h 122"/>
                <a:gd name="T4" fmla="*/ 0 w 128"/>
                <a:gd name="T5" fmla="*/ 11 h 122"/>
                <a:gd name="T6" fmla="*/ 0 w 128"/>
                <a:gd name="T7" fmla="*/ 93 h 122"/>
                <a:gd name="T8" fmla="*/ 11 w 128"/>
                <a:gd name="T9" fmla="*/ 104 h 122"/>
                <a:gd name="T10" fmla="*/ 43 w 128"/>
                <a:gd name="T11" fmla="*/ 104 h 122"/>
                <a:gd name="T12" fmla="*/ 38 w 128"/>
                <a:gd name="T13" fmla="*/ 110 h 122"/>
                <a:gd name="T14" fmla="*/ 35 w 128"/>
                <a:gd name="T15" fmla="*/ 113 h 122"/>
                <a:gd name="T16" fmla="*/ 34 w 128"/>
                <a:gd name="T17" fmla="*/ 118 h 122"/>
                <a:gd name="T18" fmla="*/ 42 w 128"/>
                <a:gd name="T19" fmla="*/ 122 h 122"/>
                <a:gd name="T20" fmla="*/ 86 w 128"/>
                <a:gd name="T21" fmla="*/ 122 h 122"/>
                <a:gd name="T22" fmla="*/ 94 w 128"/>
                <a:gd name="T23" fmla="*/ 118 h 122"/>
                <a:gd name="T24" fmla="*/ 94 w 128"/>
                <a:gd name="T25" fmla="*/ 113 h 122"/>
                <a:gd name="T26" fmla="*/ 91 w 128"/>
                <a:gd name="T27" fmla="*/ 110 h 122"/>
                <a:gd name="T28" fmla="*/ 85 w 128"/>
                <a:gd name="T29" fmla="*/ 104 h 122"/>
                <a:gd name="T30" fmla="*/ 117 w 128"/>
                <a:gd name="T31" fmla="*/ 104 h 122"/>
                <a:gd name="T32" fmla="*/ 128 w 128"/>
                <a:gd name="T33" fmla="*/ 93 h 122"/>
                <a:gd name="T34" fmla="*/ 128 w 128"/>
                <a:gd name="T35" fmla="*/ 11 h 122"/>
                <a:gd name="T36" fmla="*/ 117 w 128"/>
                <a:gd name="T37" fmla="*/ 0 h 122"/>
                <a:gd name="T38" fmla="*/ 88 w 128"/>
                <a:gd name="T39" fmla="*/ 113 h 122"/>
                <a:gd name="T40" fmla="*/ 90 w 128"/>
                <a:gd name="T41" fmla="*/ 116 h 122"/>
                <a:gd name="T42" fmla="*/ 90 w 128"/>
                <a:gd name="T43" fmla="*/ 116 h 122"/>
                <a:gd name="T44" fmla="*/ 86 w 128"/>
                <a:gd name="T45" fmla="*/ 118 h 122"/>
                <a:gd name="T46" fmla="*/ 42 w 128"/>
                <a:gd name="T47" fmla="*/ 118 h 122"/>
                <a:gd name="T48" fmla="*/ 38 w 128"/>
                <a:gd name="T49" fmla="*/ 116 h 122"/>
                <a:gd name="T50" fmla="*/ 38 w 128"/>
                <a:gd name="T51" fmla="*/ 116 h 122"/>
                <a:gd name="T52" fmla="*/ 38 w 128"/>
                <a:gd name="T53" fmla="*/ 116 h 122"/>
                <a:gd name="T54" fmla="*/ 40 w 128"/>
                <a:gd name="T55" fmla="*/ 113 h 122"/>
                <a:gd name="T56" fmla="*/ 48 w 128"/>
                <a:gd name="T57" fmla="*/ 104 h 122"/>
                <a:gd name="T58" fmla="*/ 80 w 128"/>
                <a:gd name="T59" fmla="*/ 104 h 122"/>
                <a:gd name="T60" fmla="*/ 88 w 128"/>
                <a:gd name="T61" fmla="*/ 113 h 122"/>
                <a:gd name="T62" fmla="*/ 120 w 128"/>
                <a:gd name="T63" fmla="*/ 93 h 122"/>
                <a:gd name="T64" fmla="*/ 117 w 128"/>
                <a:gd name="T65" fmla="*/ 96 h 122"/>
                <a:gd name="T66" fmla="*/ 11 w 128"/>
                <a:gd name="T67" fmla="*/ 96 h 122"/>
                <a:gd name="T68" fmla="*/ 8 w 128"/>
                <a:gd name="T69" fmla="*/ 93 h 122"/>
                <a:gd name="T70" fmla="*/ 8 w 128"/>
                <a:gd name="T71" fmla="*/ 11 h 122"/>
                <a:gd name="T72" fmla="*/ 11 w 128"/>
                <a:gd name="T73" fmla="*/ 8 h 122"/>
                <a:gd name="T74" fmla="*/ 117 w 128"/>
                <a:gd name="T75" fmla="*/ 8 h 122"/>
                <a:gd name="T76" fmla="*/ 120 w 128"/>
                <a:gd name="T77" fmla="*/ 11 h 122"/>
                <a:gd name="T78" fmla="*/ 120 w 128"/>
                <a:gd name="T79" fmla="*/ 93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8" h="122">
                  <a:moveTo>
                    <a:pt x="117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99"/>
                    <a:pt x="5" y="104"/>
                    <a:pt x="11" y="104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42" y="106"/>
                    <a:pt x="39" y="109"/>
                    <a:pt x="38" y="110"/>
                  </a:cubicBezTo>
                  <a:cubicBezTo>
                    <a:pt x="36" y="111"/>
                    <a:pt x="35" y="112"/>
                    <a:pt x="35" y="113"/>
                  </a:cubicBezTo>
                  <a:cubicBezTo>
                    <a:pt x="34" y="114"/>
                    <a:pt x="33" y="116"/>
                    <a:pt x="34" y="118"/>
                  </a:cubicBezTo>
                  <a:cubicBezTo>
                    <a:pt x="35" y="120"/>
                    <a:pt x="37" y="122"/>
                    <a:pt x="42" y="122"/>
                  </a:cubicBezTo>
                  <a:cubicBezTo>
                    <a:pt x="86" y="122"/>
                    <a:pt x="86" y="122"/>
                    <a:pt x="86" y="122"/>
                  </a:cubicBezTo>
                  <a:cubicBezTo>
                    <a:pt x="91" y="122"/>
                    <a:pt x="93" y="120"/>
                    <a:pt x="94" y="118"/>
                  </a:cubicBezTo>
                  <a:cubicBezTo>
                    <a:pt x="95" y="116"/>
                    <a:pt x="95" y="114"/>
                    <a:pt x="94" y="113"/>
                  </a:cubicBezTo>
                  <a:cubicBezTo>
                    <a:pt x="93" y="112"/>
                    <a:pt x="92" y="111"/>
                    <a:pt x="91" y="110"/>
                  </a:cubicBezTo>
                  <a:cubicBezTo>
                    <a:pt x="89" y="109"/>
                    <a:pt x="87" y="106"/>
                    <a:pt x="85" y="104"/>
                  </a:cubicBezTo>
                  <a:cubicBezTo>
                    <a:pt x="117" y="104"/>
                    <a:pt x="117" y="104"/>
                    <a:pt x="117" y="104"/>
                  </a:cubicBezTo>
                  <a:cubicBezTo>
                    <a:pt x="123" y="104"/>
                    <a:pt x="128" y="99"/>
                    <a:pt x="128" y="93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28" y="5"/>
                    <a:pt x="123" y="0"/>
                    <a:pt x="117" y="0"/>
                  </a:cubicBezTo>
                  <a:close/>
                  <a:moveTo>
                    <a:pt x="88" y="113"/>
                  </a:moveTo>
                  <a:cubicBezTo>
                    <a:pt x="89" y="114"/>
                    <a:pt x="90" y="115"/>
                    <a:pt x="90" y="116"/>
                  </a:cubicBezTo>
                  <a:cubicBezTo>
                    <a:pt x="90" y="116"/>
                    <a:pt x="91" y="116"/>
                    <a:pt x="90" y="116"/>
                  </a:cubicBezTo>
                  <a:cubicBezTo>
                    <a:pt x="90" y="117"/>
                    <a:pt x="88" y="118"/>
                    <a:pt x="86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0" y="118"/>
                    <a:pt x="38" y="117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5"/>
                    <a:pt x="39" y="114"/>
                    <a:pt x="40" y="113"/>
                  </a:cubicBezTo>
                  <a:cubicBezTo>
                    <a:pt x="44" y="109"/>
                    <a:pt x="47" y="106"/>
                    <a:pt x="48" y="104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82" y="106"/>
                    <a:pt x="84" y="109"/>
                    <a:pt x="88" y="113"/>
                  </a:cubicBezTo>
                  <a:close/>
                  <a:moveTo>
                    <a:pt x="120" y="93"/>
                  </a:moveTo>
                  <a:cubicBezTo>
                    <a:pt x="120" y="95"/>
                    <a:pt x="119" y="96"/>
                    <a:pt x="117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9" y="96"/>
                    <a:pt x="8" y="95"/>
                    <a:pt x="8" y="93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9"/>
                    <a:pt x="9" y="8"/>
                    <a:pt x="11" y="8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9" y="8"/>
                    <a:pt x="120" y="9"/>
                    <a:pt x="120" y="11"/>
                  </a:cubicBezTo>
                  <a:lnTo>
                    <a:pt x="120" y="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tx2"/>
                </a:solidFill>
              </a:endParaRPr>
            </a:p>
          </p:txBody>
        </p:sp>
        <p:sp>
          <p:nvSpPr>
            <p:cNvPr id="109" name="Freeform 24">
              <a:extLst>
                <a:ext uri="{FF2B5EF4-FFF2-40B4-BE49-F238E27FC236}">
                  <a16:creationId xmlns:a16="http://schemas.microsoft.com/office/drawing/2014/main" id="{AAE9A40C-AD9C-E739-5016-E7AC097C75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81801" y="947738"/>
              <a:ext cx="368300" cy="247650"/>
            </a:xfrm>
            <a:custGeom>
              <a:avLst/>
              <a:gdLst>
                <a:gd name="T0" fmla="*/ 89 w 96"/>
                <a:gd name="T1" fmla="*/ 0 h 64"/>
                <a:gd name="T2" fmla="*/ 7 w 96"/>
                <a:gd name="T3" fmla="*/ 0 h 64"/>
                <a:gd name="T4" fmla="*/ 0 w 96"/>
                <a:gd name="T5" fmla="*/ 7 h 64"/>
                <a:gd name="T6" fmla="*/ 0 w 96"/>
                <a:gd name="T7" fmla="*/ 57 h 64"/>
                <a:gd name="T8" fmla="*/ 7 w 96"/>
                <a:gd name="T9" fmla="*/ 64 h 64"/>
                <a:gd name="T10" fmla="*/ 89 w 96"/>
                <a:gd name="T11" fmla="*/ 64 h 64"/>
                <a:gd name="T12" fmla="*/ 96 w 96"/>
                <a:gd name="T13" fmla="*/ 57 h 64"/>
                <a:gd name="T14" fmla="*/ 96 w 96"/>
                <a:gd name="T15" fmla="*/ 7 h 64"/>
                <a:gd name="T16" fmla="*/ 89 w 96"/>
                <a:gd name="T17" fmla="*/ 0 h 64"/>
                <a:gd name="T18" fmla="*/ 92 w 96"/>
                <a:gd name="T19" fmla="*/ 57 h 64"/>
                <a:gd name="T20" fmla="*/ 89 w 96"/>
                <a:gd name="T21" fmla="*/ 60 h 64"/>
                <a:gd name="T22" fmla="*/ 7 w 96"/>
                <a:gd name="T23" fmla="*/ 60 h 64"/>
                <a:gd name="T24" fmla="*/ 4 w 96"/>
                <a:gd name="T25" fmla="*/ 57 h 64"/>
                <a:gd name="T26" fmla="*/ 4 w 96"/>
                <a:gd name="T27" fmla="*/ 7 h 64"/>
                <a:gd name="T28" fmla="*/ 7 w 96"/>
                <a:gd name="T29" fmla="*/ 4 h 64"/>
                <a:gd name="T30" fmla="*/ 89 w 96"/>
                <a:gd name="T31" fmla="*/ 4 h 64"/>
                <a:gd name="T32" fmla="*/ 92 w 96"/>
                <a:gd name="T33" fmla="*/ 7 h 64"/>
                <a:gd name="T34" fmla="*/ 92 w 96"/>
                <a:gd name="T35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6" h="64">
                  <a:moveTo>
                    <a:pt x="89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1"/>
                    <a:pt x="3" y="64"/>
                    <a:pt x="7" y="64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93" y="64"/>
                    <a:pt x="96" y="61"/>
                    <a:pt x="96" y="5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3"/>
                    <a:pt x="93" y="0"/>
                    <a:pt x="89" y="0"/>
                  </a:cubicBezTo>
                  <a:close/>
                  <a:moveTo>
                    <a:pt x="92" y="57"/>
                  </a:moveTo>
                  <a:cubicBezTo>
                    <a:pt x="92" y="59"/>
                    <a:pt x="91" y="60"/>
                    <a:pt x="89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5" y="60"/>
                    <a:pt x="4" y="59"/>
                    <a:pt x="4" y="5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5" y="4"/>
                    <a:pt x="7" y="4"/>
                  </a:cubicBezTo>
                  <a:cubicBezTo>
                    <a:pt x="89" y="4"/>
                    <a:pt x="89" y="4"/>
                    <a:pt x="89" y="4"/>
                  </a:cubicBezTo>
                  <a:cubicBezTo>
                    <a:pt x="91" y="4"/>
                    <a:pt x="92" y="5"/>
                    <a:pt x="92" y="7"/>
                  </a:cubicBezTo>
                  <a:lnTo>
                    <a:pt x="92" y="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tx2"/>
                </a:solidFill>
              </a:endParaRPr>
            </a:p>
          </p:txBody>
        </p:sp>
        <p:sp>
          <p:nvSpPr>
            <p:cNvPr id="110" name="Freeform 25">
              <a:extLst>
                <a:ext uri="{FF2B5EF4-FFF2-40B4-BE49-F238E27FC236}">
                  <a16:creationId xmlns:a16="http://schemas.microsoft.com/office/drawing/2014/main" id="{51269BCF-94A0-950B-B25C-D46378F0238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43726" y="1201738"/>
              <a:ext cx="46038" cy="47625"/>
            </a:xfrm>
            <a:custGeom>
              <a:avLst/>
              <a:gdLst>
                <a:gd name="T0" fmla="*/ 6 w 12"/>
                <a:gd name="T1" fmla="*/ 0 h 12"/>
                <a:gd name="T2" fmla="*/ 0 w 12"/>
                <a:gd name="T3" fmla="*/ 6 h 12"/>
                <a:gd name="T4" fmla="*/ 6 w 12"/>
                <a:gd name="T5" fmla="*/ 12 h 12"/>
                <a:gd name="T6" fmla="*/ 12 w 12"/>
                <a:gd name="T7" fmla="*/ 6 h 12"/>
                <a:gd name="T8" fmla="*/ 6 w 12"/>
                <a:gd name="T9" fmla="*/ 0 h 12"/>
                <a:gd name="T10" fmla="*/ 6 w 12"/>
                <a:gd name="T11" fmla="*/ 8 h 12"/>
                <a:gd name="T12" fmla="*/ 4 w 12"/>
                <a:gd name="T13" fmla="*/ 6 h 12"/>
                <a:gd name="T14" fmla="*/ 6 w 12"/>
                <a:gd name="T15" fmla="*/ 4 h 12"/>
                <a:gd name="T16" fmla="*/ 8 w 12"/>
                <a:gd name="T17" fmla="*/ 6 h 12"/>
                <a:gd name="T18" fmla="*/ 6 w 12"/>
                <a:gd name="T1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9" y="12"/>
                    <a:pt x="12" y="9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lose/>
                  <a:moveTo>
                    <a:pt x="6" y="8"/>
                  </a:moveTo>
                  <a:cubicBezTo>
                    <a:pt x="5" y="8"/>
                    <a:pt x="4" y="7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7" y="4"/>
                    <a:pt x="8" y="5"/>
                    <a:pt x="8" y="6"/>
                  </a:cubicBezTo>
                  <a:cubicBezTo>
                    <a:pt x="8" y="7"/>
                    <a:pt x="7" y="8"/>
                    <a:pt x="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tx2"/>
                </a:solidFill>
              </a:endParaRPr>
            </a:p>
          </p:txBody>
        </p:sp>
        <p:sp>
          <p:nvSpPr>
            <p:cNvPr id="111" name="Freeform 26">
              <a:extLst>
                <a:ext uri="{FF2B5EF4-FFF2-40B4-BE49-F238E27FC236}">
                  <a16:creationId xmlns:a16="http://schemas.microsoft.com/office/drawing/2014/main" id="{01B8E973-668A-B02A-A96A-9C067ACABD48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1813" y="1044575"/>
              <a:ext cx="61913" cy="65087"/>
            </a:xfrm>
            <a:custGeom>
              <a:avLst/>
              <a:gdLst>
                <a:gd name="T0" fmla="*/ 0 w 39"/>
                <a:gd name="T1" fmla="*/ 24 h 41"/>
                <a:gd name="T2" fmla="*/ 39 w 39"/>
                <a:gd name="T3" fmla="*/ 41 h 41"/>
                <a:gd name="T4" fmla="*/ 39 w 39"/>
                <a:gd name="T5" fmla="*/ 32 h 41"/>
                <a:gd name="T6" fmla="*/ 12 w 39"/>
                <a:gd name="T7" fmla="*/ 19 h 41"/>
                <a:gd name="T8" fmla="*/ 39 w 39"/>
                <a:gd name="T9" fmla="*/ 10 h 41"/>
                <a:gd name="T10" fmla="*/ 39 w 39"/>
                <a:gd name="T11" fmla="*/ 0 h 41"/>
                <a:gd name="T12" fmla="*/ 0 w 39"/>
                <a:gd name="T13" fmla="*/ 17 h 41"/>
                <a:gd name="T14" fmla="*/ 0 w 39"/>
                <a:gd name="T15" fmla="*/ 2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41">
                  <a:moveTo>
                    <a:pt x="0" y="24"/>
                  </a:moveTo>
                  <a:lnTo>
                    <a:pt x="39" y="41"/>
                  </a:lnTo>
                  <a:lnTo>
                    <a:pt x="39" y="32"/>
                  </a:lnTo>
                  <a:lnTo>
                    <a:pt x="12" y="19"/>
                  </a:lnTo>
                  <a:lnTo>
                    <a:pt x="39" y="10"/>
                  </a:lnTo>
                  <a:lnTo>
                    <a:pt x="39" y="0"/>
                  </a:lnTo>
                  <a:lnTo>
                    <a:pt x="0" y="17"/>
                  </a:lnTo>
                  <a:lnTo>
                    <a:pt x="0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tx2"/>
                </a:solidFill>
              </a:endParaRPr>
            </a:p>
          </p:txBody>
        </p:sp>
        <p:sp>
          <p:nvSpPr>
            <p:cNvPr id="112" name="Freeform 27">
              <a:extLst>
                <a:ext uri="{FF2B5EF4-FFF2-40B4-BE49-F238E27FC236}">
                  <a16:creationId xmlns:a16="http://schemas.microsoft.com/office/drawing/2014/main" id="{F54BE3B5-D137-B761-5EC8-6442CEC73F75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0076" y="1033463"/>
              <a:ext cx="31750" cy="87312"/>
            </a:xfrm>
            <a:custGeom>
              <a:avLst/>
              <a:gdLst>
                <a:gd name="T0" fmla="*/ 7 w 8"/>
                <a:gd name="T1" fmla="*/ 0 h 23"/>
                <a:gd name="T2" fmla="*/ 5 w 8"/>
                <a:gd name="T3" fmla="*/ 0 h 23"/>
                <a:gd name="T4" fmla="*/ 5 w 8"/>
                <a:gd name="T5" fmla="*/ 2 h 23"/>
                <a:gd name="T6" fmla="*/ 0 w 8"/>
                <a:gd name="T7" fmla="*/ 20 h 23"/>
                <a:gd name="T8" fmla="*/ 0 w 8"/>
                <a:gd name="T9" fmla="*/ 22 h 23"/>
                <a:gd name="T10" fmla="*/ 2 w 8"/>
                <a:gd name="T11" fmla="*/ 23 h 23"/>
                <a:gd name="T12" fmla="*/ 3 w 8"/>
                <a:gd name="T13" fmla="*/ 23 h 23"/>
                <a:gd name="T14" fmla="*/ 3 w 8"/>
                <a:gd name="T15" fmla="*/ 22 h 23"/>
                <a:gd name="T16" fmla="*/ 4 w 8"/>
                <a:gd name="T17" fmla="*/ 21 h 23"/>
                <a:gd name="T18" fmla="*/ 8 w 8"/>
                <a:gd name="T19" fmla="*/ 3 h 23"/>
                <a:gd name="T20" fmla="*/ 8 w 8"/>
                <a:gd name="T21" fmla="*/ 1 h 23"/>
                <a:gd name="T22" fmla="*/ 8 w 8"/>
                <a:gd name="T23" fmla="*/ 0 h 23"/>
                <a:gd name="T24" fmla="*/ 7 w 8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3">
                  <a:moveTo>
                    <a:pt x="7" y="0"/>
                  </a:move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1"/>
                    <a:pt x="5" y="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0" y="23"/>
                    <a:pt x="1" y="23"/>
                    <a:pt x="2" y="23"/>
                  </a:cubicBezTo>
                  <a:cubicBezTo>
                    <a:pt x="2" y="23"/>
                    <a:pt x="2" y="23"/>
                    <a:pt x="3" y="23"/>
                  </a:cubicBezTo>
                  <a:cubicBezTo>
                    <a:pt x="3" y="23"/>
                    <a:pt x="3" y="22"/>
                    <a:pt x="3" y="22"/>
                  </a:cubicBezTo>
                  <a:cubicBezTo>
                    <a:pt x="3" y="22"/>
                    <a:pt x="3" y="21"/>
                    <a:pt x="4" y="2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tx2"/>
                </a:solidFill>
              </a:endParaRPr>
            </a:p>
          </p:txBody>
        </p:sp>
        <p:sp>
          <p:nvSpPr>
            <p:cNvPr id="113" name="Freeform 28">
              <a:extLst>
                <a:ext uri="{FF2B5EF4-FFF2-40B4-BE49-F238E27FC236}">
                  <a16:creationId xmlns:a16="http://schemas.microsoft.com/office/drawing/2014/main" id="{BE6CB95B-D253-01EE-7BBC-E6322D1C7B79}"/>
                </a:ext>
              </a:extLst>
            </p:cNvPr>
            <p:cNvSpPr>
              <a:spLocks/>
            </p:cNvSpPr>
            <p:nvPr/>
          </p:nvSpPr>
          <p:spPr bwMode="auto">
            <a:xfrm>
              <a:off x="6989763" y="1044575"/>
              <a:ext cx="60325" cy="65087"/>
            </a:xfrm>
            <a:custGeom>
              <a:avLst/>
              <a:gdLst>
                <a:gd name="T0" fmla="*/ 0 w 38"/>
                <a:gd name="T1" fmla="*/ 10 h 41"/>
                <a:gd name="T2" fmla="*/ 26 w 38"/>
                <a:gd name="T3" fmla="*/ 19 h 41"/>
                <a:gd name="T4" fmla="*/ 0 w 38"/>
                <a:gd name="T5" fmla="*/ 32 h 41"/>
                <a:gd name="T6" fmla="*/ 0 w 38"/>
                <a:gd name="T7" fmla="*/ 41 h 41"/>
                <a:gd name="T8" fmla="*/ 38 w 38"/>
                <a:gd name="T9" fmla="*/ 24 h 41"/>
                <a:gd name="T10" fmla="*/ 38 w 38"/>
                <a:gd name="T11" fmla="*/ 17 h 41"/>
                <a:gd name="T12" fmla="*/ 0 w 38"/>
                <a:gd name="T13" fmla="*/ 0 h 41"/>
                <a:gd name="T14" fmla="*/ 0 w 38"/>
                <a:gd name="T15" fmla="*/ 1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41">
                  <a:moveTo>
                    <a:pt x="0" y="10"/>
                  </a:moveTo>
                  <a:lnTo>
                    <a:pt x="26" y="19"/>
                  </a:lnTo>
                  <a:lnTo>
                    <a:pt x="0" y="32"/>
                  </a:lnTo>
                  <a:lnTo>
                    <a:pt x="0" y="41"/>
                  </a:lnTo>
                  <a:lnTo>
                    <a:pt x="38" y="24"/>
                  </a:lnTo>
                  <a:lnTo>
                    <a:pt x="38" y="17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tx2"/>
                </a:solidFill>
              </a:endParaRPr>
            </a:p>
          </p:txBody>
        </p:sp>
      </p:grpSp>
      <p:sp>
        <p:nvSpPr>
          <p:cNvPr id="101" name="Freeform 29">
            <a:extLst>
              <a:ext uri="{FF2B5EF4-FFF2-40B4-BE49-F238E27FC236}">
                <a16:creationId xmlns:a16="http://schemas.microsoft.com/office/drawing/2014/main" id="{94BC05D4-35F0-5F41-5A2F-45B874B23F27}"/>
              </a:ext>
            </a:extLst>
          </p:cNvPr>
          <p:cNvSpPr>
            <a:spLocks noChangeAspect="1" noEditPoints="1"/>
          </p:cNvSpPr>
          <p:nvPr/>
        </p:nvSpPr>
        <p:spPr bwMode="auto">
          <a:xfrm rot="2700000">
            <a:off x="2656404" y="4180985"/>
            <a:ext cx="230575" cy="424531"/>
          </a:xfrm>
          <a:custGeom>
            <a:avLst/>
            <a:gdLst>
              <a:gd name="T0" fmla="*/ 482 w 579"/>
              <a:gd name="T1" fmla="*/ 367 h 1073"/>
              <a:gd name="T2" fmla="*/ 482 w 579"/>
              <a:gd name="T3" fmla="*/ 148 h 1073"/>
              <a:gd name="T4" fmla="*/ 525 w 579"/>
              <a:gd name="T5" fmla="*/ 79 h 1073"/>
              <a:gd name="T6" fmla="*/ 447 w 579"/>
              <a:gd name="T7" fmla="*/ 0 h 1073"/>
              <a:gd name="T8" fmla="*/ 132 w 579"/>
              <a:gd name="T9" fmla="*/ 0 h 1073"/>
              <a:gd name="T10" fmla="*/ 54 w 579"/>
              <a:gd name="T11" fmla="*/ 79 h 1073"/>
              <a:gd name="T12" fmla="*/ 96 w 579"/>
              <a:gd name="T13" fmla="*/ 148 h 1073"/>
              <a:gd name="T14" fmla="*/ 96 w 579"/>
              <a:gd name="T15" fmla="*/ 367 h 1073"/>
              <a:gd name="T16" fmla="*/ 0 w 579"/>
              <a:gd name="T17" fmla="*/ 583 h 1073"/>
              <a:gd name="T18" fmla="*/ 0 w 579"/>
              <a:gd name="T19" fmla="*/ 612 h 1073"/>
              <a:gd name="T20" fmla="*/ 224 w 579"/>
              <a:gd name="T21" fmla="*/ 612 h 1073"/>
              <a:gd name="T22" fmla="*/ 224 w 579"/>
              <a:gd name="T23" fmla="*/ 923 h 1073"/>
              <a:gd name="T24" fmla="*/ 289 w 579"/>
              <a:gd name="T25" fmla="*/ 1073 h 1073"/>
              <a:gd name="T26" fmla="*/ 355 w 579"/>
              <a:gd name="T27" fmla="*/ 923 h 1073"/>
              <a:gd name="T28" fmla="*/ 355 w 579"/>
              <a:gd name="T29" fmla="*/ 612 h 1073"/>
              <a:gd name="T30" fmla="*/ 579 w 579"/>
              <a:gd name="T31" fmla="*/ 612 h 1073"/>
              <a:gd name="T32" fmla="*/ 579 w 579"/>
              <a:gd name="T33" fmla="*/ 583 h 1073"/>
              <a:gd name="T34" fmla="*/ 482 w 579"/>
              <a:gd name="T35" fmla="*/ 367 h 1073"/>
              <a:gd name="T36" fmla="*/ 132 w 579"/>
              <a:gd name="T37" fmla="*/ 58 h 1073"/>
              <a:gd name="T38" fmla="*/ 447 w 579"/>
              <a:gd name="T39" fmla="*/ 58 h 1073"/>
              <a:gd name="T40" fmla="*/ 467 w 579"/>
              <a:gd name="T41" fmla="*/ 79 h 1073"/>
              <a:gd name="T42" fmla="*/ 449 w 579"/>
              <a:gd name="T43" fmla="*/ 99 h 1073"/>
              <a:gd name="T44" fmla="*/ 436 w 579"/>
              <a:gd name="T45" fmla="*/ 101 h 1073"/>
              <a:gd name="T46" fmla="*/ 143 w 579"/>
              <a:gd name="T47" fmla="*/ 101 h 1073"/>
              <a:gd name="T48" fmla="*/ 129 w 579"/>
              <a:gd name="T49" fmla="*/ 99 h 1073"/>
              <a:gd name="T50" fmla="*/ 111 w 579"/>
              <a:gd name="T51" fmla="*/ 79 h 1073"/>
              <a:gd name="T52" fmla="*/ 132 w 579"/>
              <a:gd name="T53" fmla="*/ 58 h 1073"/>
              <a:gd name="T54" fmla="*/ 424 w 579"/>
              <a:gd name="T55" fmla="*/ 370 h 1073"/>
              <a:gd name="T56" fmla="*/ 154 w 579"/>
              <a:gd name="T57" fmla="*/ 370 h 1073"/>
              <a:gd name="T58" fmla="*/ 154 w 579"/>
              <a:gd name="T59" fmla="*/ 130 h 1073"/>
              <a:gd name="T60" fmla="*/ 424 w 579"/>
              <a:gd name="T61" fmla="*/ 130 h 1073"/>
              <a:gd name="T62" fmla="*/ 424 w 579"/>
              <a:gd name="T63" fmla="*/ 370 h 1073"/>
              <a:gd name="T64" fmla="*/ 297 w 579"/>
              <a:gd name="T65" fmla="*/ 911 h 1073"/>
              <a:gd name="T66" fmla="*/ 289 w 579"/>
              <a:gd name="T67" fmla="*/ 928 h 1073"/>
              <a:gd name="T68" fmla="*/ 282 w 579"/>
              <a:gd name="T69" fmla="*/ 911 h 1073"/>
              <a:gd name="T70" fmla="*/ 282 w 579"/>
              <a:gd name="T71" fmla="*/ 612 h 1073"/>
              <a:gd name="T72" fmla="*/ 297 w 579"/>
              <a:gd name="T73" fmla="*/ 612 h 1073"/>
              <a:gd name="T74" fmla="*/ 297 w 579"/>
              <a:gd name="T75" fmla="*/ 911 h 1073"/>
              <a:gd name="T76" fmla="*/ 355 w 579"/>
              <a:gd name="T77" fmla="*/ 554 h 1073"/>
              <a:gd name="T78" fmla="*/ 224 w 579"/>
              <a:gd name="T79" fmla="*/ 554 h 1073"/>
              <a:gd name="T80" fmla="*/ 59 w 579"/>
              <a:gd name="T81" fmla="*/ 554 h 1073"/>
              <a:gd name="T82" fmla="*/ 144 w 579"/>
              <a:gd name="T83" fmla="*/ 403 h 1073"/>
              <a:gd name="T84" fmla="*/ 149 w 579"/>
              <a:gd name="T85" fmla="*/ 399 h 1073"/>
              <a:gd name="T86" fmla="*/ 430 w 579"/>
              <a:gd name="T87" fmla="*/ 399 h 1073"/>
              <a:gd name="T88" fmla="*/ 435 w 579"/>
              <a:gd name="T89" fmla="*/ 403 h 1073"/>
              <a:gd name="T90" fmla="*/ 519 w 579"/>
              <a:gd name="T91" fmla="*/ 554 h 1073"/>
              <a:gd name="T92" fmla="*/ 355 w 579"/>
              <a:gd name="T93" fmla="*/ 554 h 10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579" h="1073">
                <a:moveTo>
                  <a:pt x="482" y="367"/>
                </a:moveTo>
                <a:cubicBezTo>
                  <a:pt x="482" y="148"/>
                  <a:pt x="482" y="148"/>
                  <a:pt x="482" y="148"/>
                </a:cubicBezTo>
                <a:cubicBezTo>
                  <a:pt x="508" y="135"/>
                  <a:pt x="525" y="109"/>
                  <a:pt x="525" y="79"/>
                </a:cubicBezTo>
                <a:cubicBezTo>
                  <a:pt x="525" y="35"/>
                  <a:pt x="490" y="0"/>
                  <a:pt x="447" y="0"/>
                </a:cubicBezTo>
                <a:cubicBezTo>
                  <a:pt x="132" y="0"/>
                  <a:pt x="132" y="0"/>
                  <a:pt x="132" y="0"/>
                </a:cubicBezTo>
                <a:cubicBezTo>
                  <a:pt x="89" y="0"/>
                  <a:pt x="54" y="35"/>
                  <a:pt x="54" y="79"/>
                </a:cubicBezTo>
                <a:cubicBezTo>
                  <a:pt x="54" y="109"/>
                  <a:pt x="71" y="135"/>
                  <a:pt x="96" y="148"/>
                </a:cubicBezTo>
                <a:cubicBezTo>
                  <a:pt x="96" y="367"/>
                  <a:pt x="96" y="367"/>
                  <a:pt x="96" y="367"/>
                </a:cubicBezTo>
                <a:cubicBezTo>
                  <a:pt x="35" y="422"/>
                  <a:pt x="0" y="500"/>
                  <a:pt x="0" y="583"/>
                </a:cubicBezTo>
                <a:cubicBezTo>
                  <a:pt x="0" y="612"/>
                  <a:pt x="0" y="612"/>
                  <a:pt x="0" y="612"/>
                </a:cubicBezTo>
                <a:cubicBezTo>
                  <a:pt x="224" y="612"/>
                  <a:pt x="224" y="612"/>
                  <a:pt x="224" y="612"/>
                </a:cubicBezTo>
                <a:cubicBezTo>
                  <a:pt x="224" y="923"/>
                  <a:pt x="224" y="923"/>
                  <a:pt x="224" y="923"/>
                </a:cubicBezTo>
                <a:cubicBezTo>
                  <a:pt x="289" y="1073"/>
                  <a:pt x="289" y="1073"/>
                  <a:pt x="289" y="1073"/>
                </a:cubicBezTo>
                <a:cubicBezTo>
                  <a:pt x="355" y="923"/>
                  <a:pt x="355" y="923"/>
                  <a:pt x="355" y="923"/>
                </a:cubicBezTo>
                <a:cubicBezTo>
                  <a:pt x="355" y="612"/>
                  <a:pt x="355" y="612"/>
                  <a:pt x="355" y="612"/>
                </a:cubicBezTo>
                <a:cubicBezTo>
                  <a:pt x="579" y="612"/>
                  <a:pt x="579" y="612"/>
                  <a:pt x="579" y="612"/>
                </a:cubicBezTo>
                <a:cubicBezTo>
                  <a:pt x="579" y="583"/>
                  <a:pt x="579" y="583"/>
                  <a:pt x="579" y="583"/>
                </a:cubicBezTo>
                <a:cubicBezTo>
                  <a:pt x="579" y="500"/>
                  <a:pt x="544" y="422"/>
                  <a:pt x="482" y="367"/>
                </a:cubicBezTo>
                <a:close/>
                <a:moveTo>
                  <a:pt x="132" y="58"/>
                </a:moveTo>
                <a:cubicBezTo>
                  <a:pt x="447" y="58"/>
                  <a:pt x="447" y="58"/>
                  <a:pt x="447" y="58"/>
                </a:cubicBezTo>
                <a:cubicBezTo>
                  <a:pt x="458" y="58"/>
                  <a:pt x="467" y="67"/>
                  <a:pt x="467" y="79"/>
                </a:cubicBezTo>
                <a:cubicBezTo>
                  <a:pt x="467" y="89"/>
                  <a:pt x="459" y="97"/>
                  <a:pt x="449" y="99"/>
                </a:cubicBezTo>
                <a:cubicBezTo>
                  <a:pt x="436" y="101"/>
                  <a:pt x="436" y="101"/>
                  <a:pt x="436" y="101"/>
                </a:cubicBezTo>
                <a:cubicBezTo>
                  <a:pt x="143" y="101"/>
                  <a:pt x="143" y="101"/>
                  <a:pt x="143" y="101"/>
                </a:cubicBezTo>
                <a:cubicBezTo>
                  <a:pt x="129" y="99"/>
                  <a:pt x="129" y="99"/>
                  <a:pt x="129" y="99"/>
                </a:cubicBezTo>
                <a:cubicBezTo>
                  <a:pt x="119" y="97"/>
                  <a:pt x="111" y="89"/>
                  <a:pt x="111" y="79"/>
                </a:cubicBezTo>
                <a:cubicBezTo>
                  <a:pt x="111" y="67"/>
                  <a:pt x="121" y="58"/>
                  <a:pt x="132" y="58"/>
                </a:cubicBezTo>
                <a:close/>
                <a:moveTo>
                  <a:pt x="424" y="370"/>
                </a:moveTo>
                <a:cubicBezTo>
                  <a:pt x="154" y="370"/>
                  <a:pt x="154" y="370"/>
                  <a:pt x="154" y="370"/>
                </a:cubicBezTo>
                <a:cubicBezTo>
                  <a:pt x="154" y="130"/>
                  <a:pt x="154" y="130"/>
                  <a:pt x="154" y="130"/>
                </a:cubicBezTo>
                <a:cubicBezTo>
                  <a:pt x="424" y="130"/>
                  <a:pt x="424" y="130"/>
                  <a:pt x="424" y="130"/>
                </a:cubicBezTo>
                <a:lnTo>
                  <a:pt x="424" y="370"/>
                </a:lnTo>
                <a:close/>
                <a:moveTo>
                  <a:pt x="297" y="911"/>
                </a:moveTo>
                <a:cubicBezTo>
                  <a:pt x="289" y="928"/>
                  <a:pt x="289" y="928"/>
                  <a:pt x="289" y="928"/>
                </a:cubicBezTo>
                <a:cubicBezTo>
                  <a:pt x="282" y="911"/>
                  <a:pt x="282" y="911"/>
                  <a:pt x="282" y="911"/>
                </a:cubicBezTo>
                <a:cubicBezTo>
                  <a:pt x="282" y="612"/>
                  <a:pt x="282" y="612"/>
                  <a:pt x="282" y="612"/>
                </a:cubicBezTo>
                <a:cubicBezTo>
                  <a:pt x="297" y="612"/>
                  <a:pt x="297" y="612"/>
                  <a:pt x="297" y="612"/>
                </a:cubicBezTo>
                <a:lnTo>
                  <a:pt x="297" y="911"/>
                </a:lnTo>
                <a:close/>
                <a:moveTo>
                  <a:pt x="355" y="554"/>
                </a:moveTo>
                <a:cubicBezTo>
                  <a:pt x="224" y="554"/>
                  <a:pt x="224" y="554"/>
                  <a:pt x="224" y="554"/>
                </a:cubicBezTo>
                <a:cubicBezTo>
                  <a:pt x="59" y="554"/>
                  <a:pt x="59" y="554"/>
                  <a:pt x="59" y="554"/>
                </a:cubicBezTo>
                <a:cubicBezTo>
                  <a:pt x="67" y="495"/>
                  <a:pt x="97" y="441"/>
                  <a:pt x="144" y="403"/>
                </a:cubicBezTo>
                <a:cubicBezTo>
                  <a:pt x="149" y="399"/>
                  <a:pt x="149" y="399"/>
                  <a:pt x="149" y="399"/>
                </a:cubicBezTo>
                <a:cubicBezTo>
                  <a:pt x="430" y="399"/>
                  <a:pt x="430" y="399"/>
                  <a:pt x="430" y="399"/>
                </a:cubicBezTo>
                <a:cubicBezTo>
                  <a:pt x="435" y="403"/>
                  <a:pt x="435" y="403"/>
                  <a:pt x="435" y="403"/>
                </a:cubicBezTo>
                <a:cubicBezTo>
                  <a:pt x="482" y="441"/>
                  <a:pt x="512" y="495"/>
                  <a:pt x="519" y="554"/>
                </a:cubicBezTo>
                <a:lnTo>
                  <a:pt x="355" y="5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22" tIns="45711" rIns="91422" bIns="45711" numCol="1" anchor="t" anchorCtr="0" compatLnSpc="1">
            <a:prstTxWarp prst="textNoShape">
              <a:avLst/>
            </a:prstTxWarp>
          </a:bodyPr>
          <a:lstStyle/>
          <a:p>
            <a:endParaRPr lang="id-ID" sz="840" dirty="0">
              <a:solidFill>
                <a:schemeClr val="tx2"/>
              </a:solidFill>
            </a:endParaRPr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7A8E5782-88E7-1403-74C1-81BFA7D23F02}"/>
              </a:ext>
            </a:extLst>
          </p:cNvPr>
          <p:cNvGrpSpPr>
            <a:grpSpLocks noChangeAspect="1"/>
          </p:cNvGrpSpPr>
          <p:nvPr/>
        </p:nvGrpSpPr>
        <p:grpSpPr>
          <a:xfrm>
            <a:off x="2591578" y="2024845"/>
            <a:ext cx="360226" cy="574904"/>
            <a:chOff x="6513513" y="557213"/>
            <a:chExt cx="471488" cy="752475"/>
          </a:xfrm>
          <a:solidFill>
            <a:schemeClr val="bg1"/>
          </a:solidFill>
        </p:grpSpPr>
        <p:sp>
          <p:nvSpPr>
            <p:cNvPr id="106" name="Freeform 31">
              <a:extLst>
                <a:ext uri="{FF2B5EF4-FFF2-40B4-BE49-F238E27FC236}">
                  <a16:creationId xmlns:a16="http://schemas.microsoft.com/office/drawing/2014/main" id="{768B672A-6F6B-D707-56CC-EC83C359D8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13513" y="557213"/>
              <a:ext cx="471488" cy="752475"/>
            </a:xfrm>
            <a:custGeom>
              <a:avLst/>
              <a:gdLst>
                <a:gd name="T0" fmla="*/ 80 w 160"/>
                <a:gd name="T1" fmla="*/ 0 h 256"/>
                <a:gd name="T2" fmla="*/ 11 w 160"/>
                <a:gd name="T3" fmla="*/ 120 h 256"/>
                <a:gd name="T4" fmla="*/ 42 w 160"/>
                <a:gd name="T5" fmla="*/ 179 h 256"/>
                <a:gd name="T6" fmla="*/ 49 w 160"/>
                <a:gd name="T7" fmla="*/ 187 h 256"/>
                <a:gd name="T8" fmla="*/ 48 w 160"/>
                <a:gd name="T9" fmla="*/ 208 h 256"/>
                <a:gd name="T10" fmla="*/ 52 w 160"/>
                <a:gd name="T11" fmla="*/ 231 h 256"/>
                <a:gd name="T12" fmla="*/ 108 w 160"/>
                <a:gd name="T13" fmla="*/ 231 h 256"/>
                <a:gd name="T14" fmla="*/ 112 w 160"/>
                <a:gd name="T15" fmla="*/ 208 h 256"/>
                <a:gd name="T16" fmla="*/ 110 w 160"/>
                <a:gd name="T17" fmla="*/ 187 h 256"/>
                <a:gd name="T18" fmla="*/ 118 w 160"/>
                <a:gd name="T19" fmla="*/ 179 h 256"/>
                <a:gd name="T20" fmla="*/ 149 w 160"/>
                <a:gd name="T21" fmla="*/ 120 h 256"/>
                <a:gd name="T22" fmla="*/ 80 w 160"/>
                <a:gd name="T23" fmla="*/ 248 h 256"/>
                <a:gd name="T24" fmla="*/ 99 w 160"/>
                <a:gd name="T25" fmla="*/ 232 h 256"/>
                <a:gd name="T26" fmla="*/ 108 w 160"/>
                <a:gd name="T27" fmla="*/ 218 h 256"/>
                <a:gd name="T28" fmla="*/ 58 w 160"/>
                <a:gd name="T29" fmla="*/ 224 h 256"/>
                <a:gd name="T30" fmla="*/ 58 w 160"/>
                <a:gd name="T31" fmla="*/ 212 h 256"/>
                <a:gd name="T32" fmla="*/ 108 w 160"/>
                <a:gd name="T33" fmla="*/ 218 h 256"/>
                <a:gd name="T34" fmla="*/ 108 w 160"/>
                <a:gd name="T35" fmla="*/ 198 h 256"/>
                <a:gd name="T36" fmla="*/ 58 w 160"/>
                <a:gd name="T37" fmla="*/ 204 h 256"/>
                <a:gd name="T38" fmla="*/ 58 w 160"/>
                <a:gd name="T39" fmla="*/ 192 h 256"/>
                <a:gd name="T40" fmla="*/ 96 w 160"/>
                <a:gd name="T41" fmla="*/ 192 h 256"/>
                <a:gd name="T42" fmla="*/ 135 w 160"/>
                <a:gd name="T43" fmla="*/ 112 h 256"/>
                <a:gd name="T44" fmla="*/ 104 w 160"/>
                <a:gd name="T45" fmla="*/ 170 h 256"/>
                <a:gd name="T46" fmla="*/ 96 w 160"/>
                <a:gd name="T47" fmla="*/ 176 h 256"/>
                <a:gd name="T48" fmla="*/ 96 w 160"/>
                <a:gd name="T49" fmla="*/ 124 h 256"/>
                <a:gd name="T50" fmla="*/ 88 w 160"/>
                <a:gd name="T51" fmla="*/ 176 h 256"/>
                <a:gd name="T52" fmla="*/ 68 w 160"/>
                <a:gd name="T53" fmla="*/ 128 h 256"/>
                <a:gd name="T54" fmla="*/ 60 w 160"/>
                <a:gd name="T55" fmla="*/ 129 h 256"/>
                <a:gd name="T56" fmla="*/ 57 w 160"/>
                <a:gd name="T57" fmla="*/ 172 h 256"/>
                <a:gd name="T58" fmla="*/ 26 w 160"/>
                <a:gd name="T59" fmla="*/ 114 h 256"/>
                <a:gd name="T60" fmla="*/ 16 w 160"/>
                <a:gd name="T61" fmla="*/ 80 h 256"/>
                <a:gd name="T62" fmla="*/ 144 w 160"/>
                <a:gd name="T63" fmla="*/ 80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0" h="256">
                  <a:moveTo>
                    <a:pt x="160" y="80"/>
                  </a:moveTo>
                  <a:cubicBezTo>
                    <a:pt x="160" y="36"/>
                    <a:pt x="124" y="0"/>
                    <a:pt x="80" y="0"/>
                  </a:cubicBezTo>
                  <a:cubicBezTo>
                    <a:pt x="36" y="0"/>
                    <a:pt x="0" y="36"/>
                    <a:pt x="0" y="80"/>
                  </a:cubicBezTo>
                  <a:cubicBezTo>
                    <a:pt x="0" y="95"/>
                    <a:pt x="4" y="109"/>
                    <a:pt x="11" y="120"/>
                  </a:cubicBezTo>
                  <a:cubicBezTo>
                    <a:pt x="11" y="120"/>
                    <a:pt x="11" y="120"/>
                    <a:pt x="11" y="120"/>
                  </a:cubicBezTo>
                  <a:cubicBezTo>
                    <a:pt x="42" y="179"/>
                    <a:pt x="42" y="179"/>
                    <a:pt x="42" y="179"/>
                  </a:cubicBezTo>
                  <a:cubicBezTo>
                    <a:pt x="42" y="179"/>
                    <a:pt x="42" y="179"/>
                    <a:pt x="42" y="179"/>
                  </a:cubicBezTo>
                  <a:cubicBezTo>
                    <a:pt x="44" y="182"/>
                    <a:pt x="46" y="185"/>
                    <a:pt x="49" y="187"/>
                  </a:cubicBezTo>
                  <a:cubicBezTo>
                    <a:pt x="46" y="190"/>
                    <a:pt x="44" y="194"/>
                    <a:pt x="44" y="198"/>
                  </a:cubicBezTo>
                  <a:cubicBezTo>
                    <a:pt x="44" y="202"/>
                    <a:pt x="46" y="206"/>
                    <a:pt x="48" y="208"/>
                  </a:cubicBezTo>
                  <a:cubicBezTo>
                    <a:pt x="46" y="211"/>
                    <a:pt x="44" y="214"/>
                    <a:pt x="44" y="218"/>
                  </a:cubicBezTo>
                  <a:cubicBezTo>
                    <a:pt x="44" y="224"/>
                    <a:pt x="47" y="229"/>
                    <a:pt x="52" y="231"/>
                  </a:cubicBezTo>
                  <a:cubicBezTo>
                    <a:pt x="53" y="245"/>
                    <a:pt x="65" y="256"/>
                    <a:pt x="80" y="256"/>
                  </a:cubicBezTo>
                  <a:cubicBezTo>
                    <a:pt x="94" y="256"/>
                    <a:pt x="106" y="245"/>
                    <a:pt x="108" y="231"/>
                  </a:cubicBezTo>
                  <a:cubicBezTo>
                    <a:pt x="112" y="229"/>
                    <a:pt x="116" y="224"/>
                    <a:pt x="116" y="218"/>
                  </a:cubicBezTo>
                  <a:cubicBezTo>
                    <a:pt x="116" y="214"/>
                    <a:pt x="114" y="211"/>
                    <a:pt x="112" y="208"/>
                  </a:cubicBezTo>
                  <a:cubicBezTo>
                    <a:pt x="114" y="206"/>
                    <a:pt x="116" y="202"/>
                    <a:pt x="116" y="198"/>
                  </a:cubicBezTo>
                  <a:cubicBezTo>
                    <a:pt x="116" y="194"/>
                    <a:pt x="114" y="190"/>
                    <a:pt x="110" y="187"/>
                  </a:cubicBezTo>
                  <a:cubicBezTo>
                    <a:pt x="113" y="185"/>
                    <a:pt x="116" y="182"/>
                    <a:pt x="118" y="179"/>
                  </a:cubicBezTo>
                  <a:cubicBezTo>
                    <a:pt x="118" y="179"/>
                    <a:pt x="118" y="179"/>
                    <a:pt x="118" y="179"/>
                  </a:cubicBezTo>
                  <a:cubicBezTo>
                    <a:pt x="149" y="120"/>
                    <a:pt x="149" y="120"/>
                    <a:pt x="149" y="120"/>
                  </a:cubicBezTo>
                  <a:cubicBezTo>
                    <a:pt x="149" y="120"/>
                    <a:pt x="149" y="120"/>
                    <a:pt x="149" y="120"/>
                  </a:cubicBezTo>
                  <a:cubicBezTo>
                    <a:pt x="156" y="109"/>
                    <a:pt x="160" y="95"/>
                    <a:pt x="160" y="80"/>
                  </a:cubicBezTo>
                  <a:close/>
                  <a:moveTo>
                    <a:pt x="80" y="248"/>
                  </a:moveTo>
                  <a:cubicBezTo>
                    <a:pt x="70" y="248"/>
                    <a:pt x="62" y="241"/>
                    <a:pt x="60" y="232"/>
                  </a:cubicBezTo>
                  <a:cubicBezTo>
                    <a:pt x="99" y="232"/>
                    <a:pt x="99" y="232"/>
                    <a:pt x="99" y="232"/>
                  </a:cubicBezTo>
                  <a:cubicBezTo>
                    <a:pt x="97" y="241"/>
                    <a:pt x="89" y="248"/>
                    <a:pt x="80" y="248"/>
                  </a:cubicBezTo>
                  <a:close/>
                  <a:moveTo>
                    <a:pt x="108" y="218"/>
                  </a:moveTo>
                  <a:cubicBezTo>
                    <a:pt x="108" y="222"/>
                    <a:pt x="105" y="224"/>
                    <a:pt x="102" y="224"/>
                  </a:cubicBezTo>
                  <a:cubicBezTo>
                    <a:pt x="58" y="224"/>
                    <a:pt x="58" y="224"/>
                    <a:pt x="58" y="224"/>
                  </a:cubicBezTo>
                  <a:cubicBezTo>
                    <a:pt x="55" y="224"/>
                    <a:pt x="52" y="222"/>
                    <a:pt x="52" y="218"/>
                  </a:cubicBezTo>
                  <a:cubicBezTo>
                    <a:pt x="52" y="215"/>
                    <a:pt x="55" y="212"/>
                    <a:pt x="58" y="212"/>
                  </a:cubicBezTo>
                  <a:cubicBezTo>
                    <a:pt x="102" y="212"/>
                    <a:pt x="102" y="212"/>
                    <a:pt x="102" y="212"/>
                  </a:cubicBezTo>
                  <a:cubicBezTo>
                    <a:pt x="105" y="212"/>
                    <a:pt x="108" y="215"/>
                    <a:pt x="108" y="218"/>
                  </a:cubicBezTo>
                  <a:close/>
                  <a:moveTo>
                    <a:pt x="102" y="192"/>
                  </a:moveTo>
                  <a:cubicBezTo>
                    <a:pt x="105" y="192"/>
                    <a:pt x="108" y="195"/>
                    <a:pt x="108" y="198"/>
                  </a:cubicBezTo>
                  <a:cubicBezTo>
                    <a:pt x="108" y="202"/>
                    <a:pt x="105" y="204"/>
                    <a:pt x="102" y="204"/>
                  </a:cubicBezTo>
                  <a:cubicBezTo>
                    <a:pt x="58" y="204"/>
                    <a:pt x="58" y="204"/>
                    <a:pt x="58" y="204"/>
                  </a:cubicBezTo>
                  <a:cubicBezTo>
                    <a:pt x="55" y="204"/>
                    <a:pt x="52" y="202"/>
                    <a:pt x="52" y="198"/>
                  </a:cubicBezTo>
                  <a:cubicBezTo>
                    <a:pt x="52" y="195"/>
                    <a:pt x="55" y="192"/>
                    <a:pt x="58" y="192"/>
                  </a:cubicBezTo>
                  <a:cubicBezTo>
                    <a:pt x="64" y="192"/>
                    <a:pt x="64" y="192"/>
                    <a:pt x="64" y="192"/>
                  </a:cubicBezTo>
                  <a:cubicBezTo>
                    <a:pt x="96" y="192"/>
                    <a:pt x="96" y="192"/>
                    <a:pt x="96" y="192"/>
                  </a:cubicBezTo>
                  <a:lnTo>
                    <a:pt x="102" y="192"/>
                  </a:lnTo>
                  <a:close/>
                  <a:moveTo>
                    <a:pt x="135" y="112"/>
                  </a:moveTo>
                  <a:cubicBezTo>
                    <a:pt x="135" y="113"/>
                    <a:pt x="135" y="114"/>
                    <a:pt x="134" y="114"/>
                  </a:cubicBezTo>
                  <a:cubicBezTo>
                    <a:pt x="104" y="170"/>
                    <a:pt x="104" y="170"/>
                    <a:pt x="104" y="170"/>
                  </a:cubicBezTo>
                  <a:cubicBezTo>
                    <a:pt x="104" y="170"/>
                    <a:pt x="103" y="171"/>
                    <a:pt x="103" y="172"/>
                  </a:cubicBezTo>
                  <a:cubicBezTo>
                    <a:pt x="102" y="174"/>
                    <a:pt x="100" y="176"/>
                    <a:pt x="96" y="176"/>
                  </a:cubicBezTo>
                  <a:cubicBezTo>
                    <a:pt x="100" y="129"/>
                    <a:pt x="100" y="129"/>
                    <a:pt x="100" y="129"/>
                  </a:cubicBezTo>
                  <a:cubicBezTo>
                    <a:pt x="100" y="126"/>
                    <a:pt x="98" y="124"/>
                    <a:pt x="96" y="124"/>
                  </a:cubicBezTo>
                  <a:cubicBezTo>
                    <a:pt x="94" y="124"/>
                    <a:pt x="92" y="126"/>
                    <a:pt x="92" y="128"/>
                  </a:cubicBezTo>
                  <a:cubicBezTo>
                    <a:pt x="88" y="176"/>
                    <a:pt x="88" y="176"/>
                    <a:pt x="88" y="176"/>
                  </a:cubicBezTo>
                  <a:cubicBezTo>
                    <a:pt x="72" y="176"/>
                    <a:pt x="72" y="176"/>
                    <a:pt x="72" y="176"/>
                  </a:cubicBezTo>
                  <a:cubicBezTo>
                    <a:pt x="68" y="128"/>
                    <a:pt x="68" y="128"/>
                    <a:pt x="68" y="128"/>
                  </a:cubicBezTo>
                  <a:cubicBezTo>
                    <a:pt x="68" y="126"/>
                    <a:pt x="66" y="124"/>
                    <a:pt x="64" y="124"/>
                  </a:cubicBezTo>
                  <a:cubicBezTo>
                    <a:pt x="61" y="124"/>
                    <a:pt x="60" y="126"/>
                    <a:pt x="60" y="129"/>
                  </a:cubicBezTo>
                  <a:cubicBezTo>
                    <a:pt x="64" y="176"/>
                    <a:pt x="64" y="176"/>
                    <a:pt x="64" y="176"/>
                  </a:cubicBezTo>
                  <a:cubicBezTo>
                    <a:pt x="60" y="176"/>
                    <a:pt x="58" y="174"/>
                    <a:pt x="57" y="172"/>
                  </a:cubicBezTo>
                  <a:cubicBezTo>
                    <a:pt x="56" y="171"/>
                    <a:pt x="56" y="171"/>
                    <a:pt x="56" y="170"/>
                  </a:cubicBezTo>
                  <a:cubicBezTo>
                    <a:pt x="26" y="114"/>
                    <a:pt x="26" y="114"/>
                    <a:pt x="26" y="114"/>
                  </a:cubicBezTo>
                  <a:cubicBezTo>
                    <a:pt x="25" y="114"/>
                    <a:pt x="25" y="113"/>
                    <a:pt x="25" y="112"/>
                  </a:cubicBezTo>
                  <a:cubicBezTo>
                    <a:pt x="19" y="103"/>
                    <a:pt x="16" y="91"/>
                    <a:pt x="16" y="80"/>
                  </a:cubicBezTo>
                  <a:cubicBezTo>
                    <a:pt x="16" y="45"/>
                    <a:pt x="45" y="16"/>
                    <a:pt x="80" y="16"/>
                  </a:cubicBezTo>
                  <a:cubicBezTo>
                    <a:pt x="115" y="16"/>
                    <a:pt x="144" y="45"/>
                    <a:pt x="144" y="80"/>
                  </a:cubicBezTo>
                  <a:cubicBezTo>
                    <a:pt x="144" y="91"/>
                    <a:pt x="141" y="103"/>
                    <a:pt x="135" y="1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840"/>
            </a:p>
          </p:txBody>
        </p:sp>
        <p:sp>
          <p:nvSpPr>
            <p:cNvPr id="107" name="Freeform 32">
              <a:extLst>
                <a:ext uri="{FF2B5EF4-FFF2-40B4-BE49-F238E27FC236}">
                  <a16:creationId xmlns:a16="http://schemas.microsoft.com/office/drawing/2014/main" id="{0815EE8D-6743-9B9B-CB2E-9CB273573018}"/>
                </a:ext>
              </a:extLst>
            </p:cNvPr>
            <p:cNvSpPr>
              <a:spLocks/>
            </p:cNvSpPr>
            <p:nvPr/>
          </p:nvSpPr>
          <p:spPr bwMode="auto">
            <a:xfrm>
              <a:off x="6608763" y="642938"/>
              <a:ext cx="120650" cy="103188"/>
            </a:xfrm>
            <a:custGeom>
              <a:avLst/>
              <a:gdLst>
                <a:gd name="T0" fmla="*/ 35 w 41"/>
                <a:gd name="T1" fmla="*/ 1 h 35"/>
                <a:gd name="T2" fmla="*/ 1 w 41"/>
                <a:gd name="T3" fmla="*/ 29 h 35"/>
                <a:gd name="T4" fmla="*/ 3 w 41"/>
                <a:gd name="T5" fmla="*/ 35 h 35"/>
                <a:gd name="T6" fmla="*/ 4 w 41"/>
                <a:gd name="T7" fmla="*/ 35 h 35"/>
                <a:gd name="T8" fmla="*/ 8 w 41"/>
                <a:gd name="T9" fmla="*/ 33 h 35"/>
                <a:gd name="T10" fmla="*/ 37 w 41"/>
                <a:gd name="T11" fmla="*/ 9 h 35"/>
                <a:gd name="T12" fmla="*/ 40 w 41"/>
                <a:gd name="T13" fmla="*/ 4 h 35"/>
                <a:gd name="T14" fmla="*/ 35 w 41"/>
                <a:gd name="T15" fmla="*/ 1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" h="35">
                  <a:moveTo>
                    <a:pt x="35" y="1"/>
                  </a:moveTo>
                  <a:cubicBezTo>
                    <a:pt x="20" y="5"/>
                    <a:pt x="7" y="15"/>
                    <a:pt x="1" y="29"/>
                  </a:cubicBezTo>
                  <a:cubicBezTo>
                    <a:pt x="0" y="31"/>
                    <a:pt x="1" y="34"/>
                    <a:pt x="3" y="35"/>
                  </a:cubicBezTo>
                  <a:cubicBezTo>
                    <a:pt x="3" y="35"/>
                    <a:pt x="4" y="35"/>
                    <a:pt x="4" y="35"/>
                  </a:cubicBezTo>
                  <a:cubicBezTo>
                    <a:pt x="6" y="35"/>
                    <a:pt x="7" y="34"/>
                    <a:pt x="8" y="33"/>
                  </a:cubicBezTo>
                  <a:cubicBezTo>
                    <a:pt x="14" y="21"/>
                    <a:pt x="24" y="12"/>
                    <a:pt x="37" y="9"/>
                  </a:cubicBezTo>
                  <a:cubicBezTo>
                    <a:pt x="39" y="8"/>
                    <a:pt x="41" y="6"/>
                    <a:pt x="40" y="4"/>
                  </a:cubicBezTo>
                  <a:cubicBezTo>
                    <a:pt x="40" y="2"/>
                    <a:pt x="37" y="0"/>
                    <a:pt x="3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840"/>
            </a:p>
          </p:txBody>
        </p:sp>
      </p:grp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4A153438-F5E7-D373-A9AC-A975DA400FB3}"/>
              </a:ext>
            </a:extLst>
          </p:cNvPr>
          <p:cNvGrpSpPr/>
          <p:nvPr/>
        </p:nvGrpSpPr>
        <p:grpSpPr>
          <a:xfrm>
            <a:off x="2608637" y="5131994"/>
            <a:ext cx="326108" cy="312620"/>
            <a:chOff x="8783638" y="1235076"/>
            <a:chExt cx="360363" cy="312738"/>
          </a:xfrm>
          <a:solidFill>
            <a:schemeClr val="bg1"/>
          </a:solidFill>
        </p:grpSpPr>
        <p:sp>
          <p:nvSpPr>
            <p:cNvPr id="104" name="Freeform 51">
              <a:extLst>
                <a:ext uri="{FF2B5EF4-FFF2-40B4-BE49-F238E27FC236}">
                  <a16:creationId xmlns:a16="http://schemas.microsoft.com/office/drawing/2014/main" id="{0527FB30-DDB1-50AB-E5A7-7494C97DEBB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42375" y="1290638"/>
              <a:ext cx="128588" cy="84138"/>
            </a:xfrm>
            <a:custGeom>
              <a:avLst/>
              <a:gdLst/>
              <a:ahLst/>
              <a:cxnLst>
                <a:cxn ang="0">
                  <a:pos x="42" y="0"/>
                </a:cxn>
                <a:cxn ang="0">
                  <a:pos x="0" y="27"/>
                </a:cxn>
                <a:cxn ang="0">
                  <a:pos x="1" y="29"/>
                </a:cxn>
                <a:cxn ang="0">
                  <a:pos x="3" y="27"/>
                </a:cxn>
                <a:cxn ang="0">
                  <a:pos x="42" y="4"/>
                </a:cxn>
                <a:cxn ang="0">
                  <a:pos x="44" y="2"/>
                </a:cxn>
                <a:cxn ang="0">
                  <a:pos x="42" y="0"/>
                </a:cxn>
                <a:cxn ang="0">
                  <a:pos x="42" y="0"/>
                </a:cxn>
                <a:cxn ang="0">
                  <a:pos x="42" y="0"/>
                </a:cxn>
              </a:cxnLst>
              <a:rect l="0" t="0" r="r" b="b"/>
              <a:pathLst>
                <a:path w="44" h="29">
                  <a:moveTo>
                    <a:pt x="42" y="0"/>
                  </a:moveTo>
                  <a:cubicBezTo>
                    <a:pt x="19" y="0"/>
                    <a:pt x="0" y="12"/>
                    <a:pt x="0" y="27"/>
                  </a:cubicBezTo>
                  <a:cubicBezTo>
                    <a:pt x="0" y="28"/>
                    <a:pt x="0" y="29"/>
                    <a:pt x="1" y="29"/>
                  </a:cubicBezTo>
                  <a:cubicBezTo>
                    <a:pt x="3" y="29"/>
                    <a:pt x="3" y="28"/>
                    <a:pt x="3" y="27"/>
                  </a:cubicBezTo>
                  <a:cubicBezTo>
                    <a:pt x="3" y="15"/>
                    <a:pt x="21" y="4"/>
                    <a:pt x="42" y="4"/>
                  </a:cubicBezTo>
                  <a:cubicBezTo>
                    <a:pt x="43" y="4"/>
                    <a:pt x="44" y="3"/>
                    <a:pt x="44" y="2"/>
                  </a:cubicBezTo>
                  <a:cubicBezTo>
                    <a:pt x="44" y="1"/>
                    <a:pt x="43" y="0"/>
                    <a:pt x="42" y="0"/>
                  </a:cubicBezTo>
                  <a:close/>
                  <a:moveTo>
                    <a:pt x="42" y="0"/>
                  </a:moveTo>
                  <a:cubicBezTo>
                    <a:pt x="42" y="0"/>
                    <a:pt x="42" y="0"/>
                    <a:pt x="4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Freeform 52">
              <a:extLst>
                <a:ext uri="{FF2B5EF4-FFF2-40B4-BE49-F238E27FC236}">
                  <a16:creationId xmlns:a16="http://schemas.microsoft.com/office/drawing/2014/main" id="{91B83382-A9F1-3C0E-B01F-31B13A95F21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783638" y="1235076"/>
              <a:ext cx="360363" cy="312738"/>
            </a:xfrm>
            <a:custGeom>
              <a:avLst/>
              <a:gdLst/>
              <a:ahLst/>
              <a:cxnLst>
                <a:cxn ang="0">
                  <a:pos x="62" y="0"/>
                </a:cxn>
                <a:cxn ang="0">
                  <a:pos x="0" y="46"/>
                </a:cxn>
                <a:cxn ang="0">
                  <a:pos x="27" y="84"/>
                </a:cxn>
                <a:cxn ang="0">
                  <a:pos x="27" y="84"/>
                </a:cxn>
                <a:cxn ang="0">
                  <a:pos x="20" y="102"/>
                </a:cxn>
                <a:cxn ang="0">
                  <a:pos x="20" y="104"/>
                </a:cxn>
                <a:cxn ang="0">
                  <a:pos x="23" y="107"/>
                </a:cxn>
                <a:cxn ang="0">
                  <a:pos x="24" y="107"/>
                </a:cxn>
                <a:cxn ang="0">
                  <a:pos x="50" y="91"/>
                </a:cxn>
                <a:cxn ang="0">
                  <a:pos x="62" y="92"/>
                </a:cxn>
                <a:cxn ang="0">
                  <a:pos x="123" y="46"/>
                </a:cxn>
                <a:cxn ang="0">
                  <a:pos x="62" y="0"/>
                </a:cxn>
                <a:cxn ang="0">
                  <a:pos x="62" y="84"/>
                </a:cxn>
                <a:cxn ang="0">
                  <a:pos x="51" y="83"/>
                </a:cxn>
                <a:cxn ang="0">
                  <a:pos x="50" y="83"/>
                </a:cxn>
                <a:cxn ang="0">
                  <a:pos x="44" y="86"/>
                </a:cxn>
                <a:cxn ang="0">
                  <a:pos x="32" y="96"/>
                </a:cxn>
                <a:cxn ang="0">
                  <a:pos x="35" y="85"/>
                </a:cxn>
                <a:cxn ang="0">
                  <a:pos x="35" y="84"/>
                </a:cxn>
                <a:cxn ang="0">
                  <a:pos x="31" y="77"/>
                </a:cxn>
                <a:cxn ang="0">
                  <a:pos x="8" y="46"/>
                </a:cxn>
                <a:cxn ang="0">
                  <a:pos x="62" y="7"/>
                </a:cxn>
                <a:cxn ang="0">
                  <a:pos x="115" y="46"/>
                </a:cxn>
                <a:cxn ang="0">
                  <a:pos x="62" y="84"/>
                </a:cxn>
                <a:cxn ang="0">
                  <a:pos x="62" y="84"/>
                </a:cxn>
                <a:cxn ang="0">
                  <a:pos x="62" y="84"/>
                </a:cxn>
              </a:cxnLst>
              <a:rect l="0" t="0" r="r" b="b"/>
              <a:pathLst>
                <a:path w="123" h="107">
                  <a:moveTo>
                    <a:pt x="62" y="0"/>
                  </a:moveTo>
                  <a:cubicBezTo>
                    <a:pt x="28" y="0"/>
                    <a:pt x="0" y="20"/>
                    <a:pt x="0" y="46"/>
                  </a:cubicBezTo>
                  <a:cubicBezTo>
                    <a:pt x="0" y="62"/>
                    <a:pt x="11" y="76"/>
                    <a:pt x="27" y="84"/>
                  </a:cubicBezTo>
                  <a:cubicBezTo>
                    <a:pt x="27" y="84"/>
                    <a:pt x="27" y="84"/>
                    <a:pt x="27" y="84"/>
                  </a:cubicBezTo>
                  <a:cubicBezTo>
                    <a:pt x="27" y="91"/>
                    <a:pt x="22" y="98"/>
                    <a:pt x="20" y="102"/>
                  </a:cubicBezTo>
                  <a:cubicBezTo>
                    <a:pt x="20" y="103"/>
                    <a:pt x="20" y="103"/>
                    <a:pt x="20" y="104"/>
                  </a:cubicBezTo>
                  <a:cubicBezTo>
                    <a:pt x="20" y="106"/>
                    <a:pt x="21" y="107"/>
                    <a:pt x="23" y="107"/>
                  </a:cubicBezTo>
                  <a:cubicBezTo>
                    <a:pt x="23" y="107"/>
                    <a:pt x="24" y="107"/>
                    <a:pt x="24" y="107"/>
                  </a:cubicBezTo>
                  <a:cubicBezTo>
                    <a:pt x="36" y="105"/>
                    <a:pt x="47" y="94"/>
                    <a:pt x="50" y="91"/>
                  </a:cubicBezTo>
                  <a:cubicBezTo>
                    <a:pt x="54" y="92"/>
                    <a:pt x="58" y="92"/>
                    <a:pt x="62" y="92"/>
                  </a:cubicBezTo>
                  <a:cubicBezTo>
                    <a:pt x="96" y="92"/>
                    <a:pt x="123" y="71"/>
                    <a:pt x="123" y="46"/>
                  </a:cubicBezTo>
                  <a:cubicBezTo>
                    <a:pt x="123" y="20"/>
                    <a:pt x="96" y="0"/>
                    <a:pt x="62" y="0"/>
                  </a:cubicBezTo>
                  <a:close/>
                  <a:moveTo>
                    <a:pt x="62" y="84"/>
                  </a:moveTo>
                  <a:cubicBezTo>
                    <a:pt x="58" y="84"/>
                    <a:pt x="55" y="84"/>
                    <a:pt x="51" y="83"/>
                  </a:cubicBezTo>
                  <a:cubicBezTo>
                    <a:pt x="51" y="83"/>
                    <a:pt x="50" y="83"/>
                    <a:pt x="50" y="83"/>
                  </a:cubicBezTo>
                  <a:cubicBezTo>
                    <a:pt x="48" y="83"/>
                    <a:pt x="45" y="84"/>
                    <a:pt x="44" y="86"/>
                  </a:cubicBezTo>
                  <a:cubicBezTo>
                    <a:pt x="42" y="88"/>
                    <a:pt x="38" y="93"/>
                    <a:pt x="32" y="96"/>
                  </a:cubicBezTo>
                  <a:cubicBezTo>
                    <a:pt x="34" y="92"/>
                    <a:pt x="35" y="89"/>
                    <a:pt x="35" y="85"/>
                  </a:cubicBezTo>
                  <a:cubicBezTo>
                    <a:pt x="35" y="84"/>
                    <a:pt x="35" y="84"/>
                    <a:pt x="35" y="84"/>
                  </a:cubicBezTo>
                  <a:cubicBezTo>
                    <a:pt x="35" y="81"/>
                    <a:pt x="33" y="78"/>
                    <a:pt x="31" y="77"/>
                  </a:cubicBezTo>
                  <a:cubicBezTo>
                    <a:pt x="17" y="70"/>
                    <a:pt x="8" y="58"/>
                    <a:pt x="8" y="46"/>
                  </a:cubicBezTo>
                  <a:cubicBezTo>
                    <a:pt x="8" y="25"/>
                    <a:pt x="32" y="7"/>
                    <a:pt x="62" y="7"/>
                  </a:cubicBezTo>
                  <a:cubicBezTo>
                    <a:pt x="91" y="7"/>
                    <a:pt x="115" y="25"/>
                    <a:pt x="115" y="46"/>
                  </a:cubicBezTo>
                  <a:cubicBezTo>
                    <a:pt x="115" y="67"/>
                    <a:pt x="91" y="84"/>
                    <a:pt x="62" y="84"/>
                  </a:cubicBezTo>
                  <a:close/>
                  <a:moveTo>
                    <a:pt x="62" y="84"/>
                  </a:moveTo>
                  <a:cubicBezTo>
                    <a:pt x="62" y="84"/>
                    <a:pt x="62" y="84"/>
                    <a:pt x="62" y="84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17102257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80DB2C6-8ACF-3D9B-E2D1-271D44B49F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think-cell data - do not delete" hidden="1">
            <a:extLst>
              <a:ext uri="{FF2B5EF4-FFF2-40B4-BE49-F238E27FC236}">
                <a16:creationId xmlns:a16="http://schemas.microsoft.com/office/drawing/2014/main" id="{9E3E923A-835C-369D-AEA5-2DB03E84EF0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70112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25" imgH="426" progId="TCLayout.ActiveDocument.1">
                  <p:embed/>
                </p:oleObj>
              </mc:Choice>
              <mc:Fallback>
                <p:oleObj name="think-cell Slide" r:id="rId8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72D36D5-5009-99DF-7B58-5285E727F2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x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5DC5F82-BD46-0270-3057-2E8976B676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9</a:t>
            </a:fld>
            <a:endParaRPr lang="en-US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A0B097CD-DB58-CFEC-8FD2-360CB8DC07D0}"/>
              </a:ext>
            </a:extLst>
          </p:cNvPr>
          <p:cNvCxnSpPr/>
          <p:nvPr/>
        </p:nvCxnSpPr>
        <p:spPr>
          <a:xfrm>
            <a:off x="0" y="6019800"/>
            <a:ext cx="12192000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C045A0E5-0EDD-4157-533A-BE91A1A62515}"/>
              </a:ext>
            </a:extLst>
          </p:cNvPr>
          <p:cNvSpPr txBox="1">
            <a:spLocks/>
          </p:cNvSpPr>
          <p:nvPr/>
        </p:nvSpPr>
        <p:spPr>
          <a:xfrm>
            <a:off x="1524000" y="1473067"/>
            <a:ext cx="10210798" cy="452703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2000" b="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C8DCF396-FC98-8184-62F2-AC3CC3059A58}"/>
              </a:ext>
            </a:extLst>
          </p:cNvPr>
          <p:cNvSpPr>
            <a:spLocks noChangeAspect="1"/>
          </p:cNvSpPr>
          <p:nvPr/>
        </p:nvSpPr>
        <p:spPr>
          <a:xfrm>
            <a:off x="556098" y="1507305"/>
            <a:ext cx="384228" cy="384228"/>
          </a:xfrm>
          <a:prstGeom prst="ellipse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chemeClr val="bg1"/>
              </a:solidFill>
            </a:endParaRP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18E169B9-673D-717D-BA1D-BA0536B9EA80}"/>
              </a:ext>
            </a:extLst>
          </p:cNvPr>
          <p:cNvSpPr txBox="1">
            <a:spLocks/>
          </p:cNvSpPr>
          <p:nvPr/>
        </p:nvSpPr>
        <p:spPr>
          <a:xfrm>
            <a:off x="1524000" y="2397184"/>
            <a:ext cx="10210798" cy="452703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2000" b="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2E5CE1DB-4761-6815-E34E-C106DD8C0519}"/>
              </a:ext>
            </a:extLst>
          </p:cNvPr>
          <p:cNvSpPr>
            <a:spLocks noChangeAspect="1"/>
          </p:cNvSpPr>
          <p:nvPr/>
        </p:nvSpPr>
        <p:spPr>
          <a:xfrm>
            <a:off x="556098" y="2431422"/>
            <a:ext cx="384228" cy="384228"/>
          </a:xfrm>
          <a:prstGeom prst="ellipse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chemeClr val="bg1"/>
              </a:solidFill>
            </a:endParaRP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243F37C-5954-B078-2A37-07B56990772B}"/>
              </a:ext>
            </a:extLst>
          </p:cNvPr>
          <p:cNvSpPr txBox="1">
            <a:spLocks/>
          </p:cNvSpPr>
          <p:nvPr/>
        </p:nvSpPr>
        <p:spPr>
          <a:xfrm>
            <a:off x="1524000" y="3321301"/>
            <a:ext cx="10210798" cy="452703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2000" b="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406DC02C-3B57-F49D-3994-3D3B64AE9122}"/>
              </a:ext>
            </a:extLst>
          </p:cNvPr>
          <p:cNvSpPr>
            <a:spLocks noChangeAspect="1"/>
          </p:cNvSpPr>
          <p:nvPr/>
        </p:nvSpPr>
        <p:spPr>
          <a:xfrm>
            <a:off x="556098" y="3355539"/>
            <a:ext cx="384228" cy="384228"/>
          </a:xfrm>
          <a:prstGeom prst="ellipse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chemeClr val="bg1"/>
              </a:solidFill>
            </a:endParaRP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4AD9F6B6-0E1C-4678-074F-80FA520155F2}"/>
              </a:ext>
            </a:extLst>
          </p:cNvPr>
          <p:cNvSpPr txBox="1">
            <a:spLocks/>
          </p:cNvSpPr>
          <p:nvPr/>
        </p:nvSpPr>
        <p:spPr>
          <a:xfrm>
            <a:off x="1524000" y="4245418"/>
            <a:ext cx="10210798" cy="452703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2000" b="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5178F341-2CC0-4E62-1D8C-21012540E987}"/>
              </a:ext>
            </a:extLst>
          </p:cNvPr>
          <p:cNvSpPr>
            <a:spLocks noChangeAspect="1"/>
          </p:cNvSpPr>
          <p:nvPr/>
        </p:nvSpPr>
        <p:spPr>
          <a:xfrm>
            <a:off x="556098" y="4279656"/>
            <a:ext cx="384228" cy="384228"/>
          </a:xfrm>
          <a:prstGeom prst="ellipse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chemeClr val="bg1"/>
              </a:solidFill>
            </a:endParaRP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B86DA6A1-28B0-6FA1-BA00-4BD9084EB596}"/>
              </a:ext>
            </a:extLst>
          </p:cNvPr>
          <p:cNvCxnSpPr/>
          <p:nvPr/>
        </p:nvCxnSpPr>
        <p:spPr>
          <a:xfrm flipV="1">
            <a:off x="1273456" y="1676400"/>
            <a:ext cx="0" cy="434340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Oval 27">
            <a:extLst>
              <a:ext uri="{FF2B5EF4-FFF2-40B4-BE49-F238E27FC236}">
                <a16:creationId xmlns:a16="http://schemas.microsoft.com/office/drawing/2014/main" id="{1DE972E0-35AA-2347-4534-4ECEBA72BA07}"/>
              </a:ext>
            </a:extLst>
          </p:cNvPr>
          <p:cNvSpPr/>
          <p:nvPr/>
        </p:nvSpPr>
        <p:spPr>
          <a:xfrm>
            <a:off x="1156616" y="1582578"/>
            <a:ext cx="233680" cy="23368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BF9A732E-524C-BA67-224A-6CECF6D66443}"/>
              </a:ext>
            </a:extLst>
          </p:cNvPr>
          <p:cNvSpPr/>
          <p:nvPr/>
        </p:nvSpPr>
        <p:spPr>
          <a:xfrm>
            <a:off x="1156616" y="2506695"/>
            <a:ext cx="233680" cy="23368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411B4109-CA60-4DD3-C166-15B00BE75142}"/>
              </a:ext>
            </a:extLst>
          </p:cNvPr>
          <p:cNvSpPr/>
          <p:nvPr/>
        </p:nvSpPr>
        <p:spPr>
          <a:xfrm>
            <a:off x="1156616" y="3430812"/>
            <a:ext cx="233680" cy="23368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7CA6861B-09BB-4402-D007-9AF23A5E87CB}"/>
              </a:ext>
            </a:extLst>
          </p:cNvPr>
          <p:cNvSpPr/>
          <p:nvPr/>
        </p:nvSpPr>
        <p:spPr>
          <a:xfrm>
            <a:off x="1156616" y="4354929"/>
            <a:ext cx="233680" cy="23368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452D9E8D-16D3-9F1D-E1E1-7A65EA502849}"/>
              </a:ext>
            </a:extLst>
          </p:cNvPr>
          <p:cNvSpPr/>
          <p:nvPr/>
        </p:nvSpPr>
        <p:spPr>
          <a:xfrm>
            <a:off x="1156616" y="5279046"/>
            <a:ext cx="233680" cy="23368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7C0FBFCC-584D-20BB-04CC-4D906531BDBB}"/>
              </a:ext>
            </a:extLst>
          </p:cNvPr>
          <p:cNvSpPr txBox="1">
            <a:spLocks/>
          </p:cNvSpPr>
          <p:nvPr/>
        </p:nvSpPr>
        <p:spPr>
          <a:xfrm>
            <a:off x="1524000" y="5169535"/>
            <a:ext cx="10210798" cy="452703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2000" b="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AB750183-4C55-5B67-BE76-C30DD93DC44D}"/>
              </a:ext>
            </a:extLst>
          </p:cNvPr>
          <p:cNvSpPr>
            <a:spLocks noChangeAspect="1"/>
          </p:cNvSpPr>
          <p:nvPr/>
        </p:nvSpPr>
        <p:spPr>
          <a:xfrm>
            <a:off x="556098" y="5203773"/>
            <a:ext cx="384228" cy="384228"/>
          </a:xfrm>
          <a:prstGeom prst="ellipse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chemeClr val="bg1"/>
              </a:solidFill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11EB2AE5-28D1-49B1-7AF5-1AC4D7B23480}"/>
              </a:ext>
            </a:extLst>
          </p:cNvPr>
          <p:cNvCxnSpPr>
            <a:cxnSpLocks/>
          </p:cNvCxnSpPr>
          <p:nvPr/>
        </p:nvCxnSpPr>
        <p:spPr>
          <a:xfrm>
            <a:off x="1524000" y="2161477"/>
            <a:ext cx="10210798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275267A-4448-FDA1-0E74-11C1EF13ABE8}"/>
              </a:ext>
            </a:extLst>
          </p:cNvPr>
          <p:cNvCxnSpPr>
            <a:cxnSpLocks/>
          </p:cNvCxnSpPr>
          <p:nvPr/>
        </p:nvCxnSpPr>
        <p:spPr>
          <a:xfrm>
            <a:off x="1524000" y="3085594"/>
            <a:ext cx="10210798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25D68EAE-A73F-42F8-6811-1261489B7A6C}"/>
              </a:ext>
            </a:extLst>
          </p:cNvPr>
          <p:cNvCxnSpPr>
            <a:cxnSpLocks/>
          </p:cNvCxnSpPr>
          <p:nvPr/>
        </p:nvCxnSpPr>
        <p:spPr>
          <a:xfrm>
            <a:off x="1524000" y="4009711"/>
            <a:ext cx="10210798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EBEDD17B-98C3-883D-9FAE-DBAE92F49D73}"/>
              </a:ext>
            </a:extLst>
          </p:cNvPr>
          <p:cNvCxnSpPr>
            <a:cxnSpLocks/>
          </p:cNvCxnSpPr>
          <p:nvPr/>
        </p:nvCxnSpPr>
        <p:spPr>
          <a:xfrm>
            <a:off x="1524000" y="4933828"/>
            <a:ext cx="10210798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Freeform 99">
            <a:extLst>
              <a:ext uri="{FF2B5EF4-FFF2-40B4-BE49-F238E27FC236}">
                <a16:creationId xmlns:a16="http://schemas.microsoft.com/office/drawing/2014/main" id="{B2E7EAF4-82F5-578F-2487-C064C8705BEF}"/>
              </a:ext>
            </a:extLst>
          </p:cNvPr>
          <p:cNvSpPr>
            <a:spLocks noChangeAspect="1"/>
          </p:cNvSpPr>
          <p:nvPr>
            <p:custDataLst>
              <p:tags r:id="rId2"/>
            </p:custDataLst>
          </p:nvPr>
        </p:nvSpPr>
        <p:spPr bwMode="auto">
          <a:xfrm>
            <a:off x="639322" y="1603318"/>
            <a:ext cx="217780" cy="192202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68576" tIns="34288" rIns="68576" bIns="3428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29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+mn-ea"/>
              <a:cs typeface="Arial" panose="020B0604020202020204" pitchFamily="34" charset="0"/>
            </a:endParaRPr>
          </a:p>
        </p:txBody>
      </p:sp>
      <p:sp>
        <p:nvSpPr>
          <p:cNvPr id="23" name="Freeform 99">
            <a:extLst>
              <a:ext uri="{FF2B5EF4-FFF2-40B4-BE49-F238E27FC236}">
                <a16:creationId xmlns:a16="http://schemas.microsoft.com/office/drawing/2014/main" id="{248B3588-16A2-D364-2935-D57F27E7F240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 bwMode="auto">
          <a:xfrm>
            <a:off x="639322" y="2527435"/>
            <a:ext cx="217780" cy="192202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68576" tIns="34288" rIns="68576" bIns="34288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029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24" name="Freeform 99">
            <a:extLst>
              <a:ext uri="{FF2B5EF4-FFF2-40B4-BE49-F238E27FC236}">
                <a16:creationId xmlns:a16="http://schemas.microsoft.com/office/drawing/2014/main" id="{DD3A4672-0591-9A4C-D463-CA2AFB0ABA3A}"/>
              </a:ext>
            </a:extLst>
          </p:cNvPr>
          <p:cNvSpPr>
            <a:spLocks noChangeAspect="1"/>
          </p:cNvSpPr>
          <p:nvPr>
            <p:custDataLst>
              <p:tags r:id="rId4"/>
            </p:custDataLst>
          </p:nvPr>
        </p:nvSpPr>
        <p:spPr bwMode="auto">
          <a:xfrm>
            <a:off x="639322" y="3451552"/>
            <a:ext cx="217780" cy="192202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68576" tIns="34288" rIns="68576" bIns="34288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029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25" name="Freeform 99">
            <a:extLst>
              <a:ext uri="{FF2B5EF4-FFF2-40B4-BE49-F238E27FC236}">
                <a16:creationId xmlns:a16="http://schemas.microsoft.com/office/drawing/2014/main" id="{82040A19-0DAE-61DC-E198-CC2D23D27DD7}"/>
              </a:ext>
            </a:extLst>
          </p:cNvPr>
          <p:cNvSpPr>
            <a:spLocks noChangeAspect="1"/>
          </p:cNvSpPr>
          <p:nvPr>
            <p:custDataLst>
              <p:tags r:id="rId5"/>
            </p:custDataLst>
          </p:nvPr>
        </p:nvSpPr>
        <p:spPr bwMode="auto">
          <a:xfrm>
            <a:off x="639322" y="4375669"/>
            <a:ext cx="217780" cy="192202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68576" tIns="34288" rIns="68576" bIns="34288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029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26" name="Freeform 99">
            <a:extLst>
              <a:ext uri="{FF2B5EF4-FFF2-40B4-BE49-F238E27FC236}">
                <a16:creationId xmlns:a16="http://schemas.microsoft.com/office/drawing/2014/main" id="{9F50DF51-E118-C9C0-16B8-827DE8720CAF}"/>
              </a:ext>
            </a:extLst>
          </p:cNvPr>
          <p:cNvSpPr>
            <a:spLocks noChangeAspect="1"/>
          </p:cNvSpPr>
          <p:nvPr>
            <p:custDataLst>
              <p:tags r:id="rId6"/>
            </p:custDataLst>
          </p:nvPr>
        </p:nvSpPr>
        <p:spPr bwMode="auto">
          <a:xfrm>
            <a:off x="639322" y="5299786"/>
            <a:ext cx="217780" cy="192202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68576" tIns="34288" rIns="68576" bIns="34288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029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7277290"/>
      </p:ext>
    </p:ext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E89C808-3106-018B-DF5F-25E781AE20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BD55A5EC-B73C-514B-224C-7F5BE087D08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25" imgH="426" progId="TCLayout.ActiveDocument.1">
                  <p:embed/>
                </p:oleObj>
              </mc:Choice>
              <mc:Fallback>
                <p:oleObj name="think-cell Slide" r:id="rId8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D55A5EC-B73C-514B-224C-7F5BE087D0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345A8D4-A199-560C-8D67-D79A25EA62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Funnel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7834A3D3-5E0E-1A18-979D-56B4B3E0D096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90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5" name="Freeform 49">
            <a:extLst>
              <a:ext uri="{FF2B5EF4-FFF2-40B4-BE49-F238E27FC236}">
                <a16:creationId xmlns:a16="http://schemas.microsoft.com/office/drawing/2014/main" id="{1749A457-6AD9-70CD-BEE4-DEA9D2726865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3054937" y="1191575"/>
            <a:ext cx="2130619" cy="348026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49399 w 1828800"/>
              <a:gd name="connsiteY1" fmla="*/ 1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2"/>
              <a:gd name="connsiteX1" fmla="*/ 1749399 w 1828800"/>
              <a:gd name="connsiteY1" fmla="*/ 1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1 h 914402"/>
              <a:gd name="connsiteX0" fmla="*/ 0 w 1828800"/>
              <a:gd name="connsiteY0" fmla="*/ 0 h 914402"/>
              <a:gd name="connsiteX1" fmla="*/ 1749399 w 1828800"/>
              <a:gd name="connsiteY1" fmla="*/ 1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79401 w 1828800"/>
              <a:gd name="connsiteY5" fmla="*/ 457202 h 914402"/>
              <a:gd name="connsiteX0" fmla="*/ 0 w 1828800"/>
              <a:gd name="connsiteY0" fmla="*/ 0 h 914402"/>
              <a:gd name="connsiteX1" fmla="*/ 1749399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79401 w 1828800"/>
              <a:gd name="connsiteY5" fmla="*/ 457202 h 914402"/>
              <a:gd name="connsiteX0" fmla="*/ 0 w 1828800"/>
              <a:gd name="connsiteY0" fmla="*/ 0 h 914402"/>
              <a:gd name="connsiteX1" fmla="*/ 1749399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79401 w 1828800"/>
              <a:gd name="connsiteY5" fmla="*/ 457202 h 914402"/>
              <a:gd name="connsiteX0" fmla="*/ 0 w 1828800"/>
              <a:gd name="connsiteY0" fmla="*/ 0 h 914402"/>
              <a:gd name="connsiteX1" fmla="*/ 1749399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118532 w 1828800"/>
              <a:gd name="connsiteY5" fmla="*/ 457202 h 914402"/>
              <a:gd name="connsiteX0" fmla="*/ 0 w 1828800"/>
              <a:gd name="connsiteY0" fmla="*/ 0 h 914402"/>
              <a:gd name="connsiteX1" fmla="*/ 1710267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118532 w 1828800"/>
              <a:gd name="connsiteY5" fmla="*/ 457202 h 914402"/>
              <a:gd name="connsiteX0" fmla="*/ 0 w 1828800"/>
              <a:gd name="connsiteY0" fmla="*/ 0 h 914402"/>
              <a:gd name="connsiteX1" fmla="*/ 1710267 w 1828800"/>
              <a:gd name="connsiteY1" fmla="*/ 0 h 914402"/>
              <a:gd name="connsiteX2" fmla="*/ 1828800 w 1828800"/>
              <a:gd name="connsiteY2" fmla="*/ 457200 h 914402"/>
              <a:gd name="connsiteX3" fmla="*/ 1710267 w 1828800"/>
              <a:gd name="connsiteY3" fmla="*/ 914402 h 914402"/>
              <a:gd name="connsiteX4" fmla="*/ 0 w 1828800"/>
              <a:gd name="connsiteY4" fmla="*/ 914400 h 914402"/>
              <a:gd name="connsiteX5" fmla="*/ 118532 w 1828800"/>
              <a:gd name="connsiteY5" fmla="*/ 457202 h 914402"/>
              <a:gd name="connsiteX0" fmla="*/ 0 w 1828800"/>
              <a:gd name="connsiteY0" fmla="*/ 0 h 914402"/>
              <a:gd name="connsiteX1" fmla="*/ 1710267 w 1828800"/>
              <a:gd name="connsiteY1" fmla="*/ 0 h 914402"/>
              <a:gd name="connsiteX2" fmla="*/ 1828800 w 1828800"/>
              <a:gd name="connsiteY2" fmla="*/ 457200 h 914402"/>
              <a:gd name="connsiteX3" fmla="*/ 1710267 w 1828800"/>
              <a:gd name="connsiteY3" fmla="*/ 914402 h 914402"/>
              <a:gd name="connsiteX4" fmla="*/ 0 w 1828800"/>
              <a:gd name="connsiteY4" fmla="*/ 914400 h 914402"/>
              <a:gd name="connsiteX5" fmla="*/ 154534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710267 w 1828800"/>
              <a:gd name="connsiteY3" fmla="*/ 914402 h 914402"/>
              <a:gd name="connsiteX4" fmla="*/ 0 w 1828800"/>
              <a:gd name="connsiteY4" fmla="*/ 914400 h 914402"/>
              <a:gd name="connsiteX5" fmla="*/ 154534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154534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85721 w 1828800"/>
              <a:gd name="connsiteY5" fmla="*/ 457202 h 914402"/>
              <a:gd name="connsiteX0" fmla="*/ 0 w 1828800"/>
              <a:gd name="connsiteY0" fmla="*/ 0 h 914402"/>
              <a:gd name="connsiteX1" fmla="*/ 1643078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85721 w 1828800"/>
              <a:gd name="connsiteY5" fmla="*/ 457202 h 914402"/>
              <a:gd name="connsiteX0" fmla="*/ 0 w 1828800"/>
              <a:gd name="connsiteY0" fmla="*/ 0 h 914402"/>
              <a:gd name="connsiteX1" fmla="*/ 1643078 w 1828800"/>
              <a:gd name="connsiteY1" fmla="*/ 0 h 914402"/>
              <a:gd name="connsiteX2" fmla="*/ 1828800 w 1828800"/>
              <a:gd name="connsiteY2" fmla="*/ 457200 h 914402"/>
              <a:gd name="connsiteX3" fmla="*/ 1643078 w 1828800"/>
              <a:gd name="connsiteY3" fmla="*/ 914402 h 914402"/>
              <a:gd name="connsiteX4" fmla="*/ 0 w 1828800"/>
              <a:gd name="connsiteY4" fmla="*/ 914400 h 914402"/>
              <a:gd name="connsiteX5" fmla="*/ 185721 w 1828800"/>
              <a:gd name="connsiteY5" fmla="*/ 457202 h 914402"/>
              <a:gd name="connsiteX0" fmla="*/ 0 w 1828800"/>
              <a:gd name="connsiteY0" fmla="*/ 0 h 914402"/>
              <a:gd name="connsiteX1" fmla="*/ 1643078 w 1828800"/>
              <a:gd name="connsiteY1" fmla="*/ 0 h 914402"/>
              <a:gd name="connsiteX2" fmla="*/ 1828800 w 1828800"/>
              <a:gd name="connsiteY2" fmla="*/ 457200 h 914402"/>
              <a:gd name="connsiteX3" fmla="*/ 1643078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3078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32875 w 1828800"/>
              <a:gd name="connsiteY5" fmla="*/ 457202 h 914402"/>
              <a:gd name="connsiteX0" fmla="*/ 0 w 1828800"/>
              <a:gd name="connsiteY0" fmla="*/ 0 h 914402"/>
              <a:gd name="connsiteX1" fmla="*/ 1695926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32875 w 1828800"/>
              <a:gd name="connsiteY5" fmla="*/ 457202 h 914402"/>
              <a:gd name="connsiteX0" fmla="*/ 0 w 1828800"/>
              <a:gd name="connsiteY0" fmla="*/ 0 h 914402"/>
              <a:gd name="connsiteX1" fmla="*/ 1695926 w 1828800"/>
              <a:gd name="connsiteY1" fmla="*/ 0 h 914402"/>
              <a:gd name="connsiteX2" fmla="*/ 1828800 w 1828800"/>
              <a:gd name="connsiteY2" fmla="*/ 457200 h 914402"/>
              <a:gd name="connsiteX3" fmla="*/ 1695926 w 1828800"/>
              <a:gd name="connsiteY3" fmla="*/ 914402 h 914402"/>
              <a:gd name="connsiteX4" fmla="*/ 0 w 1828800"/>
              <a:gd name="connsiteY4" fmla="*/ 914400 h 914402"/>
              <a:gd name="connsiteX5" fmla="*/ 132875 w 1828800"/>
              <a:gd name="connsiteY5" fmla="*/ 457202 h 914402"/>
              <a:gd name="connsiteX0" fmla="*/ 0 w 1828800"/>
              <a:gd name="connsiteY0" fmla="*/ 0 h 914402"/>
              <a:gd name="connsiteX1" fmla="*/ 1695926 w 1828800"/>
              <a:gd name="connsiteY1" fmla="*/ 0 h 914402"/>
              <a:gd name="connsiteX2" fmla="*/ 1828800 w 1828800"/>
              <a:gd name="connsiteY2" fmla="*/ 457200 h 914402"/>
              <a:gd name="connsiteX3" fmla="*/ 1695926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90310 w 1828800"/>
              <a:gd name="connsiteY1" fmla="*/ 0 h 914402"/>
              <a:gd name="connsiteX2" fmla="*/ 1828800 w 1828800"/>
              <a:gd name="connsiteY2" fmla="*/ 457200 h 914402"/>
              <a:gd name="connsiteX3" fmla="*/ 1695926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90310 w 1828800"/>
              <a:gd name="connsiteY1" fmla="*/ 0 h 914402"/>
              <a:gd name="connsiteX2" fmla="*/ 1828800 w 1828800"/>
              <a:gd name="connsiteY2" fmla="*/ 457200 h 914402"/>
              <a:gd name="connsiteX3" fmla="*/ 1690310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90310 w 1828800"/>
              <a:gd name="connsiteY1" fmla="*/ 0 h 914402"/>
              <a:gd name="connsiteX2" fmla="*/ 1828800 w 1828800"/>
              <a:gd name="connsiteY2" fmla="*/ 457200 h 914402"/>
              <a:gd name="connsiteX3" fmla="*/ 1690310 w 1828800"/>
              <a:gd name="connsiteY3" fmla="*/ 914402 h 914402"/>
              <a:gd name="connsiteX4" fmla="*/ 0 w 1828800"/>
              <a:gd name="connsiteY4" fmla="*/ 914400 h 914402"/>
              <a:gd name="connsiteX5" fmla="*/ 138491 w 1828800"/>
              <a:gd name="connsiteY5" fmla="*/ 457202 h 914402"/>
              <a:gd name="connsiteX0" fmla="*/ 0 w 1828800"/>
              <a:gd name="connsiteY0" fmla="*/ 0 h 914402"/>
              <a:gd name="connsiteX1" fmla="*/ 1690310 w 1828800"/>
              <a:gd name="connsiteY1" fmla="*/ 0 h 914402"/>
              <a:gd name="connsiteX2" fmla="*/ 1828800 w 1828800"/>
              <a:gd name="connsiteY2" fmla="*/ 457200 h 914402"/>
              <a:gd name="connsiteX3" fmla="*/ 1690310 w 1828800"/>
              <a:gd name="connsiteY3" fmla="*/ 914402 h 914402"/>
              <a:gd name="connsiteX4" fmla="*/ 0 w 1828800"/>
              <a:gd name="connsiteY4" fmla="*/ 914400 h 914402"/>
              <a:gd name="connsiteX5" fmla="*/ 138491 w 1828800"/>
              <a:gd name="connsiteY5" fmla="*/ 457202 h 914402"/>
              <a:gd name="connsiteX0" fmla="*/ 0 w 1828800"/>
              <a:gd name="connsiteY0" fmla="*/ 0 h 914402"/>
              <a:gd name="connsiteX1" fmla="*/ 1690310 w 1828800"/>
              <a:gd name="connsiteY1" fmla="*/ 0 h 914402"/>
              <a:gd name="connsiteX2" fmla="*/ 1828800 w 1828800"/>
              <a:gd name="connsiteY2" fmla="*/ 457200 h 914402"/>
              <a:gd name="connsiteX3" fmla="*/ 1690310 w 1828800"/>
              <a:gd name="connsiteY3" fmla="*/ 914402 h 914402"/>
              <a:gd name="connsiteX4" fmla="*/ 0 w 1828800"/>
              <a:gd name="connsiteY4" fmla="*/ 914400 h 914402"/>
              <a:gd name="connsiteX5" fmla="*/ 138491 w 1828800"/>
              <a:gd name="connsiteY5" fmla="*/ 457202 h 9144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2">
                <a:moveTo>
                  <a:pt x="0" y="0"/>
                </a:moveTo>
                <a:lnTo>
                  <a:pt x="1690310" y="0"/>
                </a:lnTo>
                <a:lnTo>
                  <a:pt x="1828800" y="457200"/>
                </a:lnTo>
                <a:lnTo>
                  <a:pt x="1690310" y="914402"/>
                </a:lnTo>
                <a:lnTo>
                  <a:pt x="0" y="914400"/>
                </a:lnTo>
                <a:lnTo>
                  <a:pt x="138491" y="457202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wrap="none" rtlCol="0" anchor="ctr"/>
          <a:lstStyle/>
          <a:p>
            <a:pPr algn="ctr"/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6" name="Freeform 45">
            <a:extLst>
              <a:ext uri="{FF2B5EF4-FFF2-40B4-BE49-F238E27FC236}">
                <a16:creationId xmlns:a16="http://schemas.microsoft.com/office/drawing/2014/main" id="{0A8AA557-C269-8BD5-8A81-8CD5011BDA84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5111019" y="1191575"/>
            <a:ext cx="2130619" cy="348026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49399 w 1828800"/>
              <a:gd name="connsiteY1" fmla="*/ 1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2"/>
              <a:gd name="connsiteX1" fmla="*/ 1749399 w 1828800"/>
              <a:gd name="connsiteY1" fmla="*/ 1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1 h 914402"/>
              <a:gd name="connsiteX0" fmla="*/ 0 w 1828800"/>
              <a:gd name="connsiteY0" fmla="*/ 0 h 914402"/>
              <a:gd name="connsiteX1" fmla="*/ 1749399 w 1828800"/>
              <a:gd name="connsiteY1" fmla="*/ 1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79401 w 1828800"/>
              <a:gd name="connsiteY5" fmla="*/ 457202 h 914402"/>
              <a:gd name="connsiteX0" fmla="*/ 0 w 1828800"/>
              <a:gd name="connsiteY0" fmla="*/ 0 h 914402"/>
              <a:gd name="connsiteX1" fmla="*/ 1749399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79401 w 1828800"/>
              <a:gd name="connsiteY5" fmla="*/ 457202 h 914402"/>
              <a:gd name="connsiteX0" fmla="*/ 0 w 1828800"/>
              <a:gd name="connsiteY0" fmla="*/ 0 h 914402"/>
              <a:gd name="connsiteX1" fmla="*/ 1749399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79401 w 1828800"/>
              <a:gd name="connsiteY5" fmla="*/ 457202 h 914402"/>
              <a:gd name="connsiteX0" fmla="*/ 0 w 1828800"/>
              <a:gd name="connsiteY0" fmla="*/ 0 h 914402"/>
              <a:gd name="connsiteX1" fmla="*/ 1749399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118532 w 1828800"/>
              <a:gd name="connsiteY5" fmla="*/ 457202 h 914402"/>
              <a:gd name="connsiteX0" fmla="*/ 0 w 1828800"/>
              <a:gd name="connsiteY0" fmla="*/ 0 h 914402"/>
              <a:gd name="connsiteX1" fmla="*/ 1710268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118532 w 1828800"/>
              <a:gd name="connsiteY5" fmla="*/ 457202 h 914402"/>
              <a:gd name="connsiteX0" fmla="*/ 0 w 1828800"/>
              <a:gd name="connsiteY0" fmla="*/ 0 h 914402"/>
              <a:gd name="connsiteX1" fmla="*/ 1710268 w 1828800"/>
              <a:gd name="connsiteY1" fmla="*/ 0 h 914402"/>
              <a:gd name="connsiteX2" fmla="*/ 1828800 w 1828800"/>
              <a:gd name="connsiteY2" fmla="*/ 457200 h 914402"/>
              <a:gd name="connsiteX3" fmla="*/ 1710268 w 1828800"/>
              <a:gd name="connsiteY3" fmla="*/ 914402 h 914402"/>
              <a:gd name="connsiteX4" fmla="*/ 0 w 1828800"/>
              <a:gd name="connsiteY4" fmla="*/ 914400 h 914402"/>
              <a:gd name="connsiteX5" fmla="*/ 118532 w 1828800"/>
              <a:gd name="connsiteY5" fmla="*/ 457202 h 914402"/>
              <a:gd name="connsiteX0" fmla="*/ 0 w 1828800"/>
              <a:gd name="connsiteY0" fmla="*/ 0 h 914402"/>
              <a:gd name="connsiteX1" fmla="*/ 1710268 w 1828800"/>
              <a:gd name="connsiteY1" fmla="*/ 0 h 914402"/>
              <a:gd name="connsiteX2" fmla="*/ 1828800 w 1828800"/>
              <a:gd name="connsiteY2" fmla="*/ 457200 h 914402"/>
              <a:gd name="connsiteX3" fmla="*/ 1710268 w 1828800"/>
              <a:gd name="connsiteY3" fmla="*/ 914402 h 914402"/>
              <a:gd name="connsiteX4" fmla="*/ 0 w 1828800"/>
              <a:gd name="connsiteY4" fmla="*/ 914400 h 914402"/>
              <a:gd name="connsiteX5" fmla="*/ 154534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710268 w 1828800"/>
              <a:gd name="connsiteY3" fmla="*/ 914402 h 914402"/>
              <a:gd name="connsiteX4" fmla="*/ 0 w 1828800"/>
              <a:gd name="connsiteY4" fmla="*/ 914400 h 914402"/>
              <a:gd name="connsiteX5" fmla="*/ 154534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154534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85721 w 1828800"/>
              <a:gd name="connsiteY5" fmla="*/ 457202 h 914402"/>
              <a:gd name="connsiteX0" fmla="*/ 0 w 1828800"/>
              <a:gd name="connsiteY0" fmla="*/ 0 h 914402"/>
              <a:gd name="connsiteX1" fmla="*/ 1643079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85721 w 1828800"/>
              <a:gd name="connsiteY5" fmla="*/ 457202 h 914402"/>
              <a:gd name="connsiteX0" fmla="*/ 0 w 1828800"/>
              <a:gd name="connsiteY0" fmla="*/ 0 h 914402"/>
              <a:gd name="connsiteX1" fmla="*/ 1643079 w 1828800"/>
              <a:gd name="connsiteY1" fmla="*/ 0 h 914402"/>
              <a:gd name="connsiteX2" fmla="*/ 1828800 w 1828800"/>
              <a:gd name="connsiteY2" fmla="*/ 457200 h 914402"/>
              <a:gd name="connsiteX3" fmla="*/ 1643079 w 1828800"/>
              <a:gd name="connsiteY3" fmla="*/ 914402 h 914402"/>
              <a:gd name="connsiteX4" fmla="*/ 0 w 1828800"/>
              <a:gd name="connsiteY4" fmla="*/ 914400 h 914402"/>
              <a:gd name="connsiteX5" fmla="*/ 185721 w 1828800"/>
              <a:gd name="connsiteY5" fmla="*/ 457202 h 914402"/>
              <a:gd name="connsiteX0" fmla="*/ 0 w 1828800"/>
              <a:gd name="connsiteY0" fmla="*/ 0 h 914402"/>
              <a:gd name="connsiteX1" fmla="*/ 1643079 w 1828800"/>
              <a:gd name="connsiteY1" fmla="*/ 0 h 914402"/>
              <a:gd name="connsiteX2" fmla="*/ 1828800 w 1828800"/>
              <a:gd name="connsiteY2" fmla="*/ 457200 h 914402"/>
              <a:gd name="connsiteX3" fmla="*/ 1643079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3079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32875 w 1828800"/>
              <a:gd name="connsiteY5" fmla="*/ 457202 h 914402"/>
              <a:gd name="connsiteX0" fmla="*/ 0 w 1828800"/>
              <a:gd name="connsiteY0" fmla="*/ 0 h 914402"/>
              <a:gd name="connsiteX1" fmla="*/ 1695926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32875 w 1828800"/>
              <a:gd name="connsiteY5" fmla="*/ 457202 h 914402"/>
              <a:gd name="connsiteX0" fmla="*/ 0 w 1828800"/>
              <a:gd name="connsiteY0" fmla="*/ 0 h 914402"/>
              <a:gd name="connsiteX1" fmla="*/ 1695926 w 1828800"/>
              <a:gd name="connsiteY1" fmla="*/ 0 h 914402"/>
              <a:gd name="connsiteX2" fmla="*/ 1828800 w 1828800"/>
              <a:gd name="connsiteY2" fmla="*/ 457200 h 914402"/>
              <a:gd name="connsiteX3" fmla="*/ 1695926 w 1828800"/>
              <a:gd name="connsiteY3" fmla="*/ 914402 h 914402"/>
              <a:gd name="connsiteX4" fmla="*/ 0 w 1828800"/>
              <a:gd name="connsiteY4" fmla="*/ 914400 h 914402"/>
              <a:gd name="connsiteX5" fmla="*/ 132875 w 1828800"/>
              <a:gd name="connsiteY5" fmla="*/ 457202 h 914402"/>
              <a:gd name="connsiteX0" fmla="*/ 0 w 1828800"/>
              <a:gd name="connsiteY0" fmla="*/ 0 h 914402"/>
              <a:gd name="connsiteX1" fmla="*/ 1695926 w 1828800"/>
              <a:gd name="connsiteY1" fmla="*/ 0 h 914402"/>
              <a:gd name="connsiteX2" fmla="*/ 1828800 w 1828800"/>
              <a:gd name="connsiteY2" fmla="*/ 457200 h 914402"/>
              <a:gd name="connsiteX3" fmla="*/ 1695926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90309 w 1828800"/>
              <a:gd name="connsiteY1" fmla="*/ 0 h 914402"/>
              <a:gd name="connsiteX2" fmla="*/ 1828800 w 1828800"/>
              <a:gd name="connsiteY2" fmla="*/ 457200 h 914402"/>
              <a:gd name="connsiteX3" fmla="*/ 1695926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90309 w 1828800"/>
              <a:gd name="connsiteY1" fmla="*/ 0 h 914402"/>
              <a:gd name="connsiteX2" fmla="*/ 1828800 w 1828800"/>
              <a:gd name="connsiteY2" fmla="*/ 457200 h 914402"/>
              <a:gd name="connsiteX3" fmla="*/ 1690309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90309 w 1828800"/>
              <a:gd name="connsiteY1" fmla="*/ 0 h 914402"/>
              <a:gd name="connsiteX2" fmla="*/ 1828800 w 1828800"/>
              <a:gd name="connsiteY2" fmla="*/ 457200 h 914402"/>
              <a:gd name="connsiteX3" fmla="*/ 1690309 w 1828800"/>
              <a:gd name="connsiteY3" fmla="*/ 914402 h 914402"/>
              <a:gd name="connsiteX4" fmla="*/ 0 w 1828800"/>
              <a:gd name="connsiteY4" fmla="*/ 914400 h 914402"/>
              <a:gd name="connsiteX5" fmla="*/ 138490 w 1828800"/>
              <a:gd name="connsiteY5" fmla="*/ 457202 h 914402"/>
              <a:gd name="connsiteX0" fmla="*/ 0 w 1828800"/>
              <a:gd name="connsiteY0" fmla="*/ 0 h 914402"/>
              <a:gd name="connsiteX1" fmla="*/ 1690309 w 1828800"/>
              <a:gd name="connsiteY1" fmla="*/ 0 h 914402"/>
              <a:gd name="connsiteX2" fmla="*/ 1828800 w 1828800"/>
              <a:gd name="connsiteY2" fmla="*/ 457200 h 914402"/>
              <a:gd name="connsiteX3" fmla="*/ 1690309 w 1828800"/>
              <a:gd name="connsiteY3" fmla="*/ 914402 h 914402"/>
              <a:gd name="connsiteX4" fmla="*/ 0 w 1828800"/>
              <a:gd name="connsiteY4" fmla="*/ 914400 h 914402"/>
              <a:gd name="connsiteX5" fmla="*/ 138490 w 1828800"/>
              <a:gd name="connsiteY5" fmla="*/ 457202 h 914402"/>
              <a:gd name="connsiteX0" fmla="*/ 0 w 1828800"/>
              <a:gd name="connsiteY0" fmla="*/ 0 h 914402"/>
              <a:gd name="connsiteX1" fmla="*/ 1690309 w 1828800"/>
              <a:gd name="connsiteY1" fmla="*/ 0 h 914402"/>
              <a:gd name="connsiteX2" fmla="*/ 1828800 w 1828800"/>
              <a:gd name="connsiteY2" fmla="*/ 457200 h 914402"/>
              <a:gd name="connsiteX3" fmla="*/ 1690309 w 1828800"/>
              <a:gd name="connsiteY3" fmla="*/ 914402 h 914402"/>
              <a:gd name="connsiteX4" fmla="*/ 0 w 1828800"/>
              <a:gd name="connsiteY4" fmla="*/ 914400 h 914402"/>
              <a:gd name="connsiteX5" fmla="*/ 138490 w 1828800"/>
              <a:gd name="connsiteY5" fmla="*/ 457202 h 9144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2">
                <a:moveTo>
                  <a:pt x="0" y="0"/>
                </a:moveTo>
                <a:lnTo>
                  <a:pt x="1690309" y="0"/>
                </a:lnTo>
                <a:lnTo>
                  <a:pt x="1828800" y="457200"/>
                </a:lnTo>
                <a:lnTo>
                  <a:pt x="1690309" y="914402"/>
                </a:lnTo>
                <a:lnTo>
                  <a:pt x="0" y="914400"/>
                </a:lnTo>
                <a:lnTo>
                  <a:pt x="138490" y="457202"/>
                </a:lnTo>
                <a:close/>
              </a:path>
            </a:pathLst>
          </a:custGeom>
          <a:solidFill>
            <a:schemeClr val="accent3"/>
          </a:solidFill>
          <a:ln w="9525">
            <a:noFill/>
            <a:round/>
            <a:headEnd/>
            <a:tailEnd/>
          </a:ln>
        </p:spPr>
        <p:txBody>
          <a:bodyPr wrap="none" rtlCol="0" anchor="ctr"/>
          <a:lstStyle/>
          <a:p>
            <a:pPr algn="ctr"/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7" name="Freeform 43">
            <a:extLst>
              <a:ext uri="{FF2B5EF4-FFF2-40B4-BE49-F238E27FC236}">
                <a16:creationId xmlns:a16="http://schemas.microsoft.com/office/drawing/2014/main" id="{403C32D8-6FD8-30DB-4C0F-6CCC8F232508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7167101" y="1191575"/>
            <a:ext cx="2130619" cy="348026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49399 w 1828800"/>
              <a:gd name="connsiteY1" fmla="*/ 1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2"/>
              <a:gd name="connsiteX1" fmla="*/ 1749399 w 1828800"/>
              <a:gd name="connsiteY1" fmla="*/ 1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1 h 914402"/>
              <a:gd name="connsiteX0" fmla="*/ 0 w 1828800"/>
              <a:gd name="connsiteY0" fmla="*/ 0 h 914402"/>
              <a:gd name="connsiteX1" fmla="*/ 1749399 w 1828800"/>
              <a:gd name="connsiteY1" fmla="*/ 1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79401 w 1828800"/>
              <a:gd name="connsiteY5" fmla="*/ 457202 h 914402"/>
              <a:gd name="connsiteX0" fmla="*/ 0 w 1828800"/>
              <a:gd name="connsiteY0" fmla="*/ 0 h 914402"/>
              <a:gd name="connsiteX1" fmla="*/ 1749399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79401 w 1828800"/>
              <a:gd name="connsiteY5" fmla="*/ 457202 h 914402"/>
              <a:gd name="connsiteX0" fmla="*/ 0 w 1828800"/>
              <a:gd name="connsiteY0" fmla="*/ 0 h 914402"/>
              <a:gd name="connsiteX1" fmla="*/ 1749399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79401 w 1828800"/>
              <a:gd name="connsiteY5" fmla="*/ 457202 h 914402"/>
              <a:gd name="connsiteX0" fmla="*/ 0 w 1828800"/>
              <a:gd name="connsiteY0" fmla="*/ 0 h 914402"/>
              <a:gd name="connsiteX1" fmla="*/ 1749399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118532 w 1828800"/>
              <a:gd name="connsiteY5" fmla="*/ 457202 h 914402"/>
              <a:gd name="connsiteX0" fmla="*/ 0 w 1828800"/>
              <a:gd name="connsiteY0" fmla="*/ 0 h 914402"/>
              <a:gd name="connsiteX1" fmla="*/ 1710268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118532 w 1828800"/>
              <a:gd name="connsiteY5" fmla="*/ 457202 h 914402"/>
              <a:gd name="connsiteX0" fmla="*/ 0 w 1828800"/>
              <a:gd name="connsiteY0" fmla="*/ 0 h 914402"/>
              <a:gd name="connsiteX1" fmla="*/ 1710268 w 1828800"/>
              <a:gd name="connsiteY1" fmla="*/ 0 h 914402"/>
              <a:gd name="connsiteX2" fmla="*/ 1828800 w 1828800"/>
              <a:gd name="connsiteY2" fmla="*/ 457200 h 914402"/>
              <a:gd name="connsiteX3" fmla="*/ 1710268 w 1828800"/>
              <a:gd name="connsiteY3" fmla="*/ 914402 h 914402"/>
              <a:gd name="connsiteX4" fmla="*/ 0 w 1828800"/>
              <a:gd name="connsiteY4" fmla="*/ 914400 h 914402"/>
              <a:gd name="connsiteX5" fmla="*/ 118532 w 1828800"/>
              <a:gd name="connsiteY5" fmla="*/ 457202 h 914402"/>
              <a:gd name="connsiteX0" fmla="*/ 0 w 1828800"/>
              <a:gd name="connsiteY0" fmla="*/ 0 h 914402"/>
              <a:gd name="connsiteX1" fmla="*/ 1710268 w 1828800"/>
              <a:gd name="connsiteY1" fmla="*/ 0 h 914402"/>
              <a:gd name="connsiteX2" fmla="*/ 1828800 w 1828800"/>
              <a:gd name="connsiteY2" fmla="*/ 457200 h 914402"/>
              <a:gd name="connsiteX3" fmla="*/ 1710268 w 1828800"/>
              <a:gd name="connsiteY3" fmla="*/ 914402 h 914402"/>
              <a:gd name="connsiteX4" fmla="*/ 0 w 1828800"/>
              <a:gd name="connsiteY4" fmla="*/ 914400 h 914402"/>
              <a:gd name="connsiteX5" fmla="*/ 154534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710268 w 1828800"/>
              <a:gd name="connsiteY3" fmla="*/ 914402 h 914402"/>
              <a:gd name="connsiteX4" fmla="*/ 0 w 1828800"/>
              <a:gd name="connsiteY4" fmla="*/ 914400 h 914402"/>
              <a:gd name="connsiteX5" fmla="*/ 154534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154534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0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0 w 1828800"/>
              <a:gd name="connsiteY1" fmla="*/ 0 h 914402"/>
              <a:gd name="connsiteX2" fmla="*/ 1828800 w 1828800"/>
              <a:gd name="connsiteY2" fmla="*/ 457200 h 914402"/>
              <a:gd name="connsiteX3" fmla="*/ 1676500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0 w 1828800"/>
              <a:gd name="connsiteY1" fmla="*/ 0 h 914402"/>
              <a:gd name="connsiteX2" fmla="*/ 1828800 w 1828800"/>
              <a:gd name="connsiteY2" fmla="*/ 457200 h 914402"/>
              <a:gd name="connsiteX3" fmla="*/ 1676500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0 w 1828800"/>
              <a:gd name="connsiteY1" fmla="*/ 0 h 914402"/>
              <a:gd name="connsiteX2" fmla="*/ 1828800 w 1828800"/>
              <a:gd name="connsiteY2" fmla="*/ 457200 h 914402"/>
              <a:gd name="connsiteX3" fmla="*/ 1676500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0 w 1828800"/>
              <a:gd name="connsiteY1" fmla="*/ 0 h 914402"/>
              <a:gd name="connsiteX2" fmla="*/ 1828800 w 1828800"/>
              <a:gd name="connsiteY2" fmla="*/ 457200 h 914402"/>
              <a:gd name="connsiteX3" fmla="*/ 1676500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0 w 1828800"/>
              <a:gd name="connsiteY1" fmla="*/ 0 h 914402"/>
              <a:gd name="connsiteX2" fmla="*/ 1828800 w 1828800"/>
              <a:gd name="connsiteY2" fmla="*/ 457200 h 914402"/>
              <a:gd name="connsiteX3" fmla="*/ 1676500 w 1828800"/>
              <a:gd name="connsiteY3" fmla="*/ 914402 h 914402"/>
              <a:gd name="connsiteX4" fmla="*/ 0 w 1828800"/>
              <a:gd name="connsiteY4" fmla="*/ 914400 h 914402"/>
              <a:gd name="connsiteX5" fmla="*/ 185721 w 1828800"/>
              <a:gd name="connsiteY5" fmla="*/ 457202 h 914402"/>
              <a:gd name="connsiteX0" fmla="*/ 0 w 1828800"/>
              <a:gd name="connsiteY0" fmla="*/ 0 h 914402"/>
              <a:gd name="connsiteX1" fmla="*/ 1643079 w 1828800"/>
              <a:gd name="connsiteY1" fmla="*/ 0 h 914402"/>
              <a:gd name="connsiteX2" fmla="*/ 1828800 w 1828800"/>
              <a:gd name="connsiteY2" fmla="*/ 457200 h 914402"/>
              <a:gd name="connsiteX3" fmla="*/ 1676500 w 1828800"/>
              <a:gd name="connsiteY3" fmla="*/ 914402 h 914402"/>
              <a:gd name="connsiteX4" fmla="*/ 0 w 1828800"/>
              <a:gd name="connsiteY4" fmla="*/ 914400 h 914402"/>
              <a:gd name="connsiteX5" fmla="*/ 185721 w 1828800"/>
              <a:gd name="connsiteY5" fmla="*/ 457202 h 914402"/>
              <a:gd name="connsiteX0" fmla="*/ 0 w 1828800"/>
              <a:gd name="connsiteY0" fmla="*/ 0 h 914402"/>
              <a:gd name="connsiteX1" fmla="*/ 1643079 w 1828800"/>
              <a:gd name="connsiteY1" fmla="*/ 0 h 914402"/>
              <a:gd name="connsiteX2" fmla="*/ 1828800 w 1828800"/>
              <a:gd name="connsiteY2" fmla="*/ 457200 h 914402"/>
              <a:gd name="connsiteX3" fmla="*/ 1643079 w 1828800"/>
              <a:gd name="connsiteY3" fmla="*/ 914402 h 914402"/>
              <a:gd name="connsiteX4" fmla="*/ 0 w 1828800"/>
              <a:gd name="connsiteY4" fmla="*/ 914400 h 914402"/>
              <a:gd name="connsiteX5" fmla="*/ 185721 w 1828800"/>
              <a:gd name="connsiteY5" fmla="*/ 457202 h 914402"/>
              <a:gd name="connsiteX0" fmla="*/ 0 w 1828800"/>
              <a:gd name="connsiteY0" fmla="*/ 0 h 914402"/>
              <a:gd name="connsiteX1" fmla="*/ 1643079 w 1828800"/>
              <a:gd name="connsiteY1" fmla="*/ 0 h 914402"/>
              <a:gd name="connsiteX2" fmla="*/ 1828800 w 1828800"/>
              <a:gd name="connsiteY2" fmla="*/ 457200 h 914402"/>
              <a:gd name="connsiteX3" fmla="*/ 1643079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3079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32875 w 1828800"/>
              <a:gd name="connsiteY5" fmla="*/ 457202 h 914402"/>
              <a:gd name="connsiteX0" fmla="*/ 0 w 1828800"/>
              <a:gd name="connsiteY0" fmla="*/ 0 h 914402"/>
              <a:gd name="connsiteX1" fmla="*/ 1695926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32875 w 1828800"/>
              <a:gd name="connsiteY5" fmla="*/ 457202 h 914402"/>
              <a:gd name="connsiteX0" fmla="*/ 0 w 1828800"/>
              <a:gd name="connsiteY0" fmla="*/ 0 h 914402"/>
              <a:gd name="connsiteX1" fmla="*/ 1695926 w 1828800"/>
              <a:gd name="connsiteY1" fmla="*/ 0 h 914402"/>
              <a:gd name="connsiteX2" fmla="*/ 1828800 w 1828800"/>
              <a:gd name="connsiteY2" fmla="*/ 457200 h 914402"/>
              <a:gd name="connsiteX3" fmla="*/ 1695926 w 1828800"/>
              <a:gd name="connsiteY3" fmla="*/ 914402 h 914402"/>
              <a:gd name="connsiteX4" fmla="*/ 0 w 1828800"/>
              <a:gd name="connsiteY4" fmla="*/ 914400 h 914402"/>
              <a:gd name="connsiteX5" fmla="*/ 132875 w 1828800"/>
              <a:gd name="connsiteY5" fmla="*/ 457202 h 914402"/>
              <a:gd name="connsiteX0" fmla="*/ 0 w 1828800"/>
              <a:gd name="connsiteY0" fmla="*/ 0 h 914402"/>
              <a:gd name="connsiteX1" fmla="*/ 1695926 w 1828800"/>
              <a:gd name="connsiteY1" fmla="*/ 0 h 914402"/>
              <a:gd name="connsiteX2" fmla="*/ 1828800 w 1828800"/>
              <a:gd name="connsiteY2" fmla="*/ 457200 h 914402"/>
              <a:gd name="connsiteX3" fmla="*/ 1695926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90309 w 1828800"/>
              <a:gd name="connsiteY1" fmla="*/ 0 h 914402"/>
              <a:gd name="connsiteX2" fmla="*/ 1828800 w 1828800"/>
              <a:gd name="connsiteY2" fmla="*/ 457200 h 914402"/>
              <a:gd name="connsiteX3" fmla="*/ 1695926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90309 w 1828800"/>
              <a:gd name="connsiteY1" fmla="*/ 0 h 914402"/>
              <a:gd name="connsiteX2" fmla="*/ 1828800 w 1828800"/>
              <a:gd name="connsiteY2" fmla="*/ 457200 h 914402"/>
              <a:gd name="connsiteX3" fmla="*/ 1690309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90309 w 1828800"/>
              <a:gd name="connsiteY1" fmla="*/ 0 h 914402"/>
              <a:gd name="connsiteX2" fmla="*/ 1828800 w 1828800"/>
              <a:gd name="connsiteY2" fmla="*/ 457200 h 914402"/>
              <a:gd name="connsiteX3" fmla="*/ 1690309 w 1828800"/>
              <a:gd name="connsiteY3" fmla="*/ 914402 h 914402"/>
              <a:gd name="connsiteX4" fmla="*/ 0 w 1828800"/>
              <a:gd name="connsiteY4" fmla="*/ 914400 h 914402"/>
              <a:gd name="connsiteX5" fmla="*/ 138490 w 1828800"/>
              <a:gd name="connsiteY5" fmla="*/ 457202 h 914402"/>
              <a:gd name="connsiteX0" fmla="*/ 0 w 1828800"/>
              <a:gd name="connsiteY0" fmla="*/ 0 h 914402"/>
              <a:gd name="connsiteX1" fmla="*/ 1690309 w 1828800"/>
              <a:gd name="connsiteY1" fmla="*/ 0 h 914402"/>
              <a:gd name="connsiteX2" fmla="*/ 1828800 w 1828800"/>
              <a:gd name="connsiteY2" fmla="*/ 457200 h 914402"/>
              <a:gd name="connsiteX3" fmla="*/ 1690309 w 1828800"/>
              <a:gd name="connsiteY3" fmla="*/ 914402 h 914402"/>
              <a:gd name="connsiteX4" fmla="*/ 0 w 1828800"/>
              <a:gd name="connsiteY4" fmla="*/ 914400 h 914402"/>
              <a:gd name="connsiteX5" fmla="*/ 138490 w 1828800"/>
              <a:gd name="connsiteY5" fmla="*/ 457202 h 914402"/>
              <a:gd name="connsiteX0" fmla="*/ 0 w 1828800"/>
              <a:gd name="connsiteY0" fmla="*/ 0 h 914402"/>
              <a:gd name="connsiteX1" fmla="*/ 1690309 w 1828800"/>
              <a:gd name="connsiteY1" fmla="*/ 0 h 914402"/>
              <a:gd name="connsiteX2" fmla="*/ 1828800 w 1828800"/>
              <a:gd name="connsiteY2" fmla="*/ 457200 h 914402"/>
              <a:gd name="connsiteX3" fmla="*/ 1690309 w 1828800"/>
              <a:gd name="connsiteY3" fmla="*/ 914402 h 914402"/>
              <a:gd name="connsiteX4" fmla="*/ 0 w 1828800"/>
              <a:gd name="connsiteY4" fmla="*/ 914400 h 914402"/>
              <a:gd name="connsiteX5" fmla="*/ 138490 w 1828800"/>
              <a:gd name="connsiteY5" fmla="*/ 457202 h 9144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2">
                <a:moveTo>
                  <a:pt x="0" y="0"/>
                </a:moveTo>
                <a:lnTo>
                  <a:pt x="1690309" y="0"/>
                </a:lnTo>
                <a:lnTo>
                  <a:pt x="1828800" y="457200"/>
                </a:lnTo>
                <a:lnTo>
                  <a:pt x="1690309" y="914402"/>
                </a:lnTo>
                <a:lnTo>
                  <a:pt x="0" y="914400"/>
                </a:lnTo>
                <a:lnTo>
                  <a:pt x="138490" y="457202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wrap="none" rtlCol="0" anchor="ctr"/>
          <a:lstStyle/>
          <a:p>
            <a:pPr algn="ctr"/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8" name="Freeform 47">
            <a:extLst>
              <a:ext uri="{FF2B5EF4-FFF2-40B4-BE49-F238E27FC236}">
                <a16:creationId xmlns:a16="http://schemas.microsoft.com/office/drawing/2014/main" id="{A0753DBD-2DEA-E3EB-6AD1-65B71E85A98F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998856" y="1191575"/>
            <a:ext cx="2130619" cy="348026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49399 w 1828800"/>
              <a:gd name="connsiteY1" fmla="*/ 1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2"/>
              <a:gd name="connsiteX1" fmla="*/ 1749399 w 1828800"/>
              <a:gd name="connsiteY1" fmla="*/ 1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1 h 914402"/>
              <a:gd name="connsiteX0" fmla="*/ 0 w 1828800"/>
              <a:gd name="connsiteY0" fmla="*/ 0 h 914402"/>
              <a:gd name="connsiteX1" fmla="*/ 1749399 w 1828800"/>
              <a:gd name="connsiteY1" fmla="*/ 1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710268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710268 w 1828800"/>
              <a:gd name="connsiteY1" fmla="*/ 0 h 914402"/>
              <a:gd name="connsiteX2" fmla="*/ 1828800 w 1828800"/>
              <a:gd name="connsiteY2" fmla="*/ 457200 h 914402"/>
              <a:gd name="connsiteX3" fmla="*/ 1710268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710268 w 1828800"/>
              <a:gd name="connsiteY1" fmla="*/ 0 h 914402"/>
              <a:gd name="connsiteX2" fmla="*/ 1828800 w 1828800"/>
              <a:gd name="connsiteY2" fmla="*/ 457200 h 914402"/>
              <a:gd name="connsiteX3" fmla="*/ 1710268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710268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3079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3079 w 1828800"/>
              <a:gd name="connsiteY1" fmla="*/ 0 h 914402"/>
              <a:gd name="connsiteX2" fmla="*/ 1828800 w 1828800"/>
              <a:gd name="connsiteY2" fmla="*/ 457200 h 914402"/>
              <a:gd name="connsiteX3" fmla="*/ 1643079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3079 w 1828800"/>
              <a:gd name="connsiteY1" fmla="*/ 0 h 914402"/>
              <a:gd name="connsiteX2" fmla="*/ 1828800 w 1828800"/>
              <a:gd name="connsiteY2" fmla="*/ 457200 h 914402"/>
              <a:gd name="connsiteX3" fmla="*/ 1643079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3079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95926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95926 w 1828800"/>
              <a:gd name="connsiteY1" fmla="*/ 0 h 914402"/>
              <a:gd name="connsiteX2" fmla="*/ 1828800 w 1828800"/>
              <a:gd name="connsiteY2" fmla="*/ 457200 h 914402"/>
              <a:gd name="connsiteX3" fmla="*/ 1695926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95926 w 1828800"/>
              <a:gd name="connsiteY1" fmla="*/ 0 h 914402"/>
              <a:gd name="connsiteX2" fmla="*/ 1828800 w 1828800"/>
              <a:gd name="connsiteY2" fmla="*/ 457200 h 914402"/>
              <a:gd name="connsiteX3" fmla="*/ 1695926 w 1828800"/>
              <a:gd name="connsiteY3" fmla="*/ 914402 h 914402"/>
              <a:gd name="connsiteX4" fmla="*/ 0 w 1828800"/>
              <a:gd name="connsiteY4" fmla="*/ 914400 h 914402"/>
              <a:gd name="connsiteX5" fmla="*/ 138490 w 1828800"/>
              <a:gd name="connsiteY5" fmla="*/ 457202 h 914402"/>
              <a:gd name="connsiteX0" fmla="*/ 0 w 1828800"/>
              <a:gd name="connsiteY0" fmla="*/ 0 h 914402"/>
              <a:gd name="connsiteX1" fmla="*/ 1690310 w 1828800"/>
              <a:gd name="connsiteY1" fmla="*/ 0 h 914402"/>
              <a:gd name="connsiteX2" fmla="*/ 1828800 w 1828800"/>
              <a:gd name="connsiteY2" fmla="*/ 457200 h 914402"/>
              <a:gd name="connsiteX3" fmla="*/ 1695926 w 1828800"/>
              <a:gd name="connsiteY3" fmla="*/ 914402 h 914402"/>
              <a:gd name="connsiteX4" fmla="*/ 0 w 1828800"/>
              <a:gd name="connsiteY4" fmla="*/ 914400 h 914402"/>
              <a:gd name="connsiteX5" fmla="*/ 138490 w 1828800"/>
              <a:gd name="connsiteY5" fmla="*/ 457202 h 914402"/>
              <a:gd name="connsiteX0" fmla="*/ 0 w 1828800"/>
              <a:gd name="connsiteY0" fmla="*/ 0 h 914402"/>
              <a:gd name="connsiteX1" fmla="*/ 1690310 w 1828800"/>
              <a:gd name="connsiteY1" fmla="*/ 0 h 914402"/>
              <a:gd name="connsiteX2" fmla="*/ 1828800 w 1828800"/>
              <a:gd name="connsiteY2" fmla="*/ 457200 h 914402"/>
              <a:gd name="connsiteX3" fmla="*/ 1690310 w 1828800"/>
              <a:gd name="connsiteY3" fmla="*/ 914402 h 914402"/>
              <a:gd name="connsiteX4" fmla="*/ 0 w 1828800"/>
              <a:gd name="connsiteY4" fmla="*/ 914400 h 914402"/>
              <a:gd name="connsiteX5" fmla="*/ 138490 w 1828800"/>
              <a:gd name="connsiteY5" fmla="*/ 457202 h 914402"/>
              <a:gd name="connsiteX0" fmla="*/ 0 w 1828800"/>
              <a:gd name="connsiteY0" fmla="*/ 0 h 914402"/>
              <a:gd name="connsiteX1" fmla="*/ 1690310 w 1828800"/>
              <a:gd name="connsiteY1" fmla="*/ 0 h 914402"/>
              <a:gd name="connsiteX2" fmla="*/ 1828800 w 1828800"/>
              <a:gd name="connsiteY2" fmla="*/ 457200 h 914402"/>
              <a:gd name="connsiteX3" fmla="*/ 1690310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90310 w 1828800"/>
              <a:gd name="connsiteY1" fmla="*/ 0 h 914402"/>
              <a:gd name="connsiteX2" fmla="*/ 1828800 w 1828800"/>
              <a:gd name="connsiteY2" fmla="*/ 457200 h 914402"/>
              <a:gd name="connsiteX3" fmla="*/ 1690310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90310 w 1828800"/>
              <a:gd name="connsiteY1" fmla="*/ 0 h 914402"/>
              <a:gd name="connsiteX2" fmla="*/ 1828800 w 1828800"/>
              <a:gd name="connsiteY2" fmla="*/ 457200 h 914402"/>
              <a:gd name="connsiteX3" fmla="*/ 1690310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2">
                <a:moveTo>
                  <a:pt x="0" y="0"/>
                </a:moveTo>
                <a:lnTo>
                  <a:pt x="1690310" y="0"/>
                </a:lnTo>
                <a:lnTo>
                  <a:pt x="1828800" y="457200"/>
                </a:lnTo>
                <a:lnTo>
                  <a:pt x="1690310" y="914402"/>
                </a:lnTo>
                <a:lnTo>
                  <a:pt x="0" y="914400"/>
                </a:lnTo>
                <a:lnTo>
                  <a:pt x="0" y="457202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wrap="none" rtlCol="0" anchor="ctr"/>
          <a:lstStyle/>
          <a:p>
            <a:pPr algn="ctr"/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9" name="Freeform 52">
            <a:extLst>
              <a:ext uri="{FF2B5EF4-FFF2-40B4-BE49-F238E27FC236}">
                <a16:creationId xmlns:a16="http://schemas.microsoft.com/office/drawing/2014/main" id="{5FA71D7C-B6B6-6F71-07AB-7AA8A92F3A12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9223181" y="1191575"/>
            <a:ext cx="2130619" cy="348026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49399 w 1828800"/>
              <a:gd name="connsiteY1" fmla="*/ 1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2"/>
              <a:gd name="connsiteX1" fmla="*/ 1749399 w 1828800"/>
              <a:gd name="connsiteY1" fmla="*/ 1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1 h 914402"/>
              <a:gd name="connsiteX0" fmla="*/ 0 w 1828800"/>
              <a:gd name="connsiteY0" fmla="*/ 0 h 914402"/>
              <a:gd name="connsiteX1" fmla="*/ 1749399 w 1828800"/>
              <a:gd name="connsiteY1" fmla="*/ 1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79401 w 1828800"/>
              <a:gd name="connsiteY5" fmla="*/ 457202 h 914402"/>
              <a:gd name="connsiteX0" fmla="*/ 0 w 1828800"/>
              <a:gd name="connsiteY0" fmla="*/ 0 h 914402"/>
              <a:gd name="connsiteX1" fmla="*/ 1749399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79401 w 1828800"/>
              <a:gd name="connsiteY5" fmla="*/ 457202 h 914402"/>
              <a:gd name="connsiteX0" fmla="*/ 0 w 1828800"/>
              <a:gd name="connsiteY0" fmla="*/ 0 h 914402"/>
              <a:gd name="connsiteX1" fmla="*/ 1749399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79401 w 1828800"/>
              <a:gd name="connsiteY5" fmla="*/ 457202 h 914402"/>
              <a:gd name="connsiteX0" fmla="*/ 0 w 1828800"/>
              <a:gd name="connsiteY0" fmla="*/ 0 h 914402"/>
              <a:gd name="connsiteX1" fmla="*/ 1749399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118532 w 1828800"/>
              <a:gd name="connsiteY5" fmla="*/ 457202 h 914402"/>
              <a:gd name="connsiteX0" fmla="*/ 0 w 1828800"/>
              <a:gd name="connsiteY0" fmla="*/ 0 h 914402"/>
              <a:gd name="connsiteX1" fmla="*/ 1710268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118532 w 1828800"/>
              <a:gd name="connsiteY5" fmla="*/ 457202 h 914402"/>
              <a:gd name="connsiteX0" fmla="*/ 0 w 1828800"/>
              <a:gd name="connsiteY0" fmla="*/ 0 h 914402"/>
              <a:gd name="connsiteX1" fmla="*/ 1710268 w 1828800"/>
              <a:gd name="connsiteY1" fmla="*/ 0 h 914402"/>
              <a:gd name="connsiteX2" fmla="*/ 1828800 w 1828800"/>
              <a:gd name="connsiteY2" fmla="*/ 457200 h 914402"/>
              <a:gd name="connsiteX3" fmla="*/ 1710268 w 1828800"/>
              <a:gd name="connsiteY3" fmla="*/ 914402 h 914402"/>
              <a:gd name="connsiteX4" fmla="*/ 0 w 1828800"/>
              <a:gd name="connsiteY4" fmla="*/ 914400 h 914402"/>
              <a:gd name="connsiteX5" fmla="*/ 118532 w 1828800"/>
              <a:gd name="connsiteY5" fmla="*/ 457202 h 914402"/>
              <a:gd name="connsiteX0" fmla="*/ 0 w 1828800"/>
              <a:gd name="connsiteY0" fmla="*/ 0 h 914402"/>
              <a:gd name="connsiteX1" fmla="*/ 1710268 w 1828800"/>
              <a:gd name="connsiteY1" fmla="*/ 0 h 914402"/>
              <a:gd name="connsiteX2" fmla="*/ 1828800 w 1828800"/>
              <a:gd name="connsiteY2" fmla="*/ 457200 h 914402"/>
              <a:gd name="connsiteX3" fmla="*/ 1710268 w 1828800"/>
              <a:gd name="connsiteY3" fmla="*/ 914402 h 914402"/>
              <a:gd name="connsiteX4" fmla="*/ 0 w 1828800"/>
              <a:gd name="connsiteY4" fmla="*/ 914400 h 914402"/>
              <a:gd name="connsiteX5" fmla="*/ 154534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710268 w 1828800"/>
              <a:gd name="connsiteY3" fmla="*/ 914402 h 914402"/>
              <a:gd name="connsiteX4" fmla="*/ 0 w 1828800"/>
              <a:gd name="connsiteY4" fmla="*/ 914400 h 914402"/>
              <a:gd name="connsiteX5" fmla="*/ 154534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154534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0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0 w 1828800"/>
              <a:gd name="connsiteY1" fmla="*/ 0 h 914402"/>
              <a:gd name="connsiteX2" fmla="*/ 1828800 w 1828800"/>
              <a:gd name="connsiteY2" fmla="*/ 457200 h 914402"/>
              <a:gd name="connsiteX3" fmla="*/ 1676500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0 w 1828800"/>
              <a:gd name="connsiteY1" fmla="*/ 0 h 914402"/>
              <a:gd name="connsiteX2" fmla="*/ 1828800 w 1828800"/>
              <a:gd name="connsiteY2" fmla="*/ 457200 h 914402"/>
              <a:gd name="connsiteX3" fmla="*/ 1676500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0 w 1828800"/>
              <a:gd name="connsiteY1" fmla="*/ 0 h 914402"/>
              <a:gd name="connsiteX2" fmla="*/ 1828800 w 1828800"/>
              <a:gd name="connsiteY2" fmla="*/ 457200 h 914402"/>
              <a:gd name="connsiteX3" fmla="*/ 1676500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0 w 1828800"/>
              <a:gd name="connsiteY1" fmla="*/ 0 h 914402"/>
              <a:gd name="connsiteX2" fmla="*/ 1828800 w 1828800"/>
              <a:gd name="connsiteY2" fmla="*/ 457200 h 914402"/>
              <a:gd name="connsiteX3" fmla="*/ 1676500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0 w 1828800"/>
              <a:gd name="connsiteY1" fmla="*/ 0 h 914402"/>
              <a:gd name="connsiteX2" fmla="*/ 1828800 w 1828800"/>
              <a:gd name="connsiteY2" fmla="*/ 457200 h 914402"/>
              <a:gd name="connsiteX3" fmla="*/ 1676500 w 1828800"/>
              <a:gd name="connsiteY3" fmla="*/ 914402 h 914402"/>
              <a:gd name="connsiteX4" fmla="*/ 0 w 1828800"/>
              <a:gd name="connsiteY4" fmla="*/ 914400 h 914402"/>
              <a:gd name="connsiteX5" fmla="*/ 185722 w 1828800"/>
              <a:gd name="connsiteY5" fmla="*/ 457202 h 914402"/>
              <a:gd name="connsiteX0" fmla="*/ 0 w 1828800"/>
              <a:gd name="connsiteY0" fmla="*/ 0 h 914402"/>
              <a:gd name="connsiteX1" fmla="*/ 1643079 w 1828800"/>
              <a:gd name="connsiteY1" fmla="*/ 0 h 914402"/>
              <a:gd name="connsiteX2" fmla="*/ 1828800 w 1828800"/>
              <a:gd name="connsiteY2" fmla="*/ 457200 h 914402"/>
              <a:gd name="connsiteX3" fmla="*/ 1676500 w 1828800"/>
              <a:gd name="connsiteY3" fmla="*/ 914402 h 914402"/>
              <a:gd name="connsiteX4" fmla="*/ 0 w 1828800"/>
              <a:gd name="connsiteY4" fmla="*/ 914400 h 914402"/>
              <a:gd name="connsiteX5" fmla="*/ 185722 w 1828800"/>
              <a:gd name="connsiteY5" fmla="*/ 457202 h 914402"/>
              <a:gd name="connsiteX0" fmla="*/ 0 w 1828800"/>
              <a:gd name="connsiteY0" fmla="*/ 0 h 914402"/>
              <a:gd name="connsiteX1" fmla="*/ 1643079 w 1828800"/>
              <a:gd name="connsiteY1" fmla="*/ 0 h 914402"/>
              <a:gd name="connsiteX2" fmla="*/ 1828800 w 1828800"/>
              <a:gd name="connsiteY2" fmla="*/ 457200 h 914402"/>
              <a:gd name="connsiteX3" fmla="*/ 1643079 w 1828800"/>
              <a:gd name="connsiteY3" fmla="*/ 914402 h 914402"/>
              <a:gd name="connsiteX4" fmla="*/ 0 w 1828800"/>
              <a:gd name="connsiteY4" fmla="*/ 914400 h 914402"/>
              <a:gd name="connsiteX5" fmla="*/ 185722 w 1828800"/>
              <a:gd name="connsiteY5" fmla="*/ 457202 h 914402"/>
              <a:gd name="connsiteX0" fmla="*/ 0 w 1828800"/>
              <a:gd name="connsiteY0" fmla="*/ 0 h 914402"/>
              <a:gd name="connsiteX1" fmla="*/ 1643079 w 1828800"/>
              <a:gd name="connsiteY1" fmla="*/ 0 h 914402"/>
              <a:gd name="connsiteX2" fmla="*/ 1828800 w 1828800"/>
              <a:gd name="connsiteY2" fmla="*/ 457200 h 914402"/>
              <a:gd name="connsiteX3" fmla="*/ 1643079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1 w 1828800"/>
              <a:gd name="connsiteY1" fmla="*/ 0 h 914402"/>
              <a:gd name="connsiteX2" fmla="*/ 1828800 w 1828800"/>
              <a:gd name="connsiteY2" fmla="*/ 457200 h 914402"/>
              <a:gd name="connsiteX3" fmla="*/ 1643079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1 w 1828800"/>
              <a:gd name="connsiteY1" fmla="*/ 0 h 914402"/>
              <a:gd name="connsiteX2" fmla="*/ 1828800 w 1828800"/>
              <a:gd name="connsiteY2" fmla="*/ 457200 h 914402"/>
              <a:gd name="connsiteX3" fmla="*/ 1642611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1 w 1828800"/>
              <a:gd name="connsiteY1" fmla="*/ 0 h 914402"/>
              <a:gd name="connsiteX2" fmla="*/ 1828800 w 1828800"/>
              <a:gd name="connsiteY2" fmla="*/ 457200 h 914402"/>
              <a:gd name="connsiteX3" fmla="*/ 1642611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1 w 1828800"/>
              <a:gd name="connsiteY1" fmla="*/ 0 h 914402"/>
              <a:gd name="connsiteX2" fmla="*/ 1828800 w 1828800"/>
              <a:gd name="connsiteY2" fmla="*/ 457200 h 914402"/>
              <a:gd name="connsiteX3" fmla="*/ 1642611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1 w 1828800"/>
              <a:gd name="connsiteY1" fmla="*/ 0 h 914402"/>
              <a:gd name="connsiteX2" fmla="*/ 1828800 w 1828800"/>
              <a:gd name="connsiteY2" fmla="*/ 457200 h 914402"/>
              <a:gd name="connsiteX3" fmla="*/ 1642611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1 w 1828800"/>
              <a:gd name="connsiteY1" fmla="*/ 0 h 914402"/>
              <a:gd name="connsiteX2" fmla="*/ 1828800 w 1828800"/>
              <a:gd name="connsiteY2" fmla="*/ 457200 h 914402"/>
              <a:gd name="connsiteX3" fmla="*/ 1642611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1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32875 w 1828800"/>
              <a:gd name="connsiteY5" fmla="*/ 457202 h 914402"/>
              <a:gd name="connsiteX0" fmla="*/ 0 w 1828800"/>
              <a:gd name="connsiteY0" fmla="*/ 0 h 914402"/>
              <a:gd name="connsiteX1" fmla="*/ 1695926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32875 w 1828800"/>
              <a:gd name="connsiteY5" fmla="*/ 457202 h 914402"/>
              <a:gd name="connsiteX0" fmla="*/ 0 w 1828800"/>
              <a:gd name="connsiteY0" fmla="*/ 0 h 914402"/>
              <a:gd name="connsiteX1" fmla="*/ 1695926 w 1828800"/>
              <a:gd name="connsiteY1" fmla="*/ 0 h 914402"/>
              <a:gd name="connsiteX2" fmla="*/ 1828800 w 1828800"/>
              <a:gd name="connsiteY2" fmla="*/ 457200 h 914402"/>
              <a:gd name="connsiteX3" fmla="*/ 1695926 w 1828800"/>
              <a:gd name="connsiteY3" fmla="*/ 914402 h 914402"/>
              <a:gd name="connsiteX4" fmla="*/ 0 w 1828800"/>
              <a:gd name="connsiteY4" fmla="*/ 914400 h 914402"/>
              <a:gd name="connsiteX5" fmla="*/ 132875 w 1828800"/>
              <a:gd name="connsiteY5" fmla="*/ 457202 h 914402"/>
              <a:gd name="connsiteX0" fmla="*/ 0 w 1828800"/>
              <a:gd name="connsiteY0" fmla="*/ 0 h 914402"/>
              <a:gd name="connsiteX1" fmla="*/ 1695926 w 1828800"/>
              <a:gd name="connsiteY1" fmla="*/ 0 h 914402"/>
              <a:gd name="connsiteX2" fmla="*/ 1828800 w 1828800"/>
              <a:gd name="connsiteY2" fmla="*/ 457200 h 914402"/>
              <a:gd name="connsiteX3" fmla="*/ 1695926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90310 w 1828800"/>
              <a:gd name="connsiteY1" fmla="*/ 0 h 914402"/>
              <a:gd name="connsiteX2" fmla="*/ 1828800 w 1828800"/>
              <a:gd name="connsiteY2" fmla="*/ 457200 h 914402"/>
              <a:gd name="connsiteX3" fmla="*/ 1695926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90310 w 1828800"/>
              <a:gd name="connsiteY1" fmla="*/ 0 h 914402"/>
              <a:gd name="connsiteX2" fmla="*/ 1828800 w 1828800"/>
              <a:gd name="connsiteY2" fmla="*/ 457200 h 914402"/>
              <a:gd name="connsiteX3" fmla="*/ 1690310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90310 w 1828800"/>
              <a:gd name="connsiteY1" fmla="*/ 0 h 914402"/>
              <a:gd name="connsiteX2" fmla="*/ 1828800 w 1828800"/>
              <a:gd name="connsiteY2" fmla="*/ 457200 h 914402"/>
              <a:gd name="connsiteX3" fmla="*/ 1690310 w 1828800"/>
              <a:gd name="connsiteY3" fmla="*/ 914402 h 914402"/>
              <a:gd name="connsiteX4" fmla="*/ 0 w 1828800"/>
              <a:gd name="connsiteY4" fmla="*/ 914400 h 914402"/>
              <a:gd name="connsiteX5" fmla="*/ 138491 w 1828800"/>
              <a:gd name="connsiteY5" fmla="*/ 457202 h 914402"/>
              <a:gd name="connsiteX0" fmla="*/ 0 w 1828800"/>
              <a:gd name="connsiteY0" fmla="*/ 0 h 914402"/>
              <a:gd name="connsiteX1" fmla="*/ 1690310 w 1828800"/>
              <a:gd name="connsiteY1" fmla="*/ 0 h 914402"/>
              <a:gd name="connsiteX2" fmla="*/ 1828800 w 1828800"/>
              <a:gd name="connsiteY2" fmla="*/ 457200 h 914402"/>
              <a:gd name="connsiteX3" fmla="*/ 1690310 w 1828800"/>
              <a:gd name="connsiteY3" fmla="*/ 914402 h 914402"/>
              <a:gd name="connsiteX4" fmla="*/ 0 w 1828800"/>
              <a:gd name="connsiteY4" fmla="*/ 914400 h 914402"/>
              <a:gd name="connsiteX5" fmla="*/ 138491 w 1828800"/>
              <a:gd name="connsiteY5" fmla="*/ 457202 h 914402"/>
              <a:gd name="connsiteX0" fmla="*/ 0 w 1828800"/>
              <a:gd name="connsiteY0" fmla="*/ 0 h 914402"/>
              <a:gd name="connsiteX1" fmla="*/ 1690310 w 1828800"/>
              <a:gd name="connsiteY1" fmla="*/ 0 h 914402"/>
              <a:gd name="connsiteX2" fmla="*/ 1828800 w 1828800"/>
              <a:gd name="connsiteY2" fmla="*/ 457200 h 914402"/>
              <a:gd name="connsiteX3" fmla="*/ 1690310 w 1828800"/>
              <a:gd name="connsiteY3" fmla="*/ 914402 h 914402"/>
              <a:gd name="connsiteX4" fmla="*/ 0 w 1828800"/>
              <a:gd name="connsiteY4" fmla="*/ 914400 h 914402"/>
              <a:gd name="connsiteX5" fmla="*/ 138491 w 1828800"/>
              <a:gd name="connsiteY5" fmla="*/ 457202 h 9144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2">
                <a:moveTo>
                  <a:pt x="0" y="0"/>
                </a:moveTo>
                <a:lnTo>
                  <a:pt x="1690310" y="0"/>
                </a:lnTo>
                <a:lnTo>
                  <a:pt x="1828800" y="457200"/>
                </a:lnTo>
                <a:lnTo>
                  <a:pt x="1690310" y="914402"/>
                </a:lnTo>
                <a:lnTo>
                  <a:pt x="0" y="914400"/>
                </a:lnTo>
                <a:lnTo>
                  <a:pt x="138491" y="457202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</p:spPr>
        <p:txBody>
          <a:bodyPr wrap="none" rtlCol="0" anchor="ctr"/>
          <a:lstStyle/>
          <a:p>
            <a:pPr algn="ctr"/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26" name="Freeform 6">
            <a:extLst>
              <a:ext uri="{FF2B5EF4-FFF2-40B4-BE49-F238E27FC236}">
                <a16:creationId xmlns:a16="http://schemas.microsoft.com/office/drawing/2014/main" id="{8E935CBE-BFD4-B3BA-53C0-212772DFAF42}"/>
              </a:ext>
            </a:extLst>
          </p:cNvPr>
          <p:cNvSpPr>
            <a:spLocks/>
          </p:cNvSpPr>
          <p:nvPr/>
        </p:nvSpPr>
        <p:spPr bwMode="gray">
          <a:xfrm>
            <a:off x="2421716" y="1712186"/>
            <a:ext cx="7330112" cy="1011926"/>
          </a:xfrm>
          <a:custGeom>
            <a:avLst/>
            <a:gdLst>
              <a:gd name="T0" fmla="*/ 0 w 4138"/>
              <a:gd name="T1" fmla="*/ 0 h 467"/>
              <a:gd name="T2" fmla="*/ 713 w 4138"/>
              <a:gd name="T3" fmla="*/ 185 h 467"/>
              <a:gd name="T4" fmla="*/ 1509 w 4138"/>
              <a:gd name="T5" fmla="*/ 321 h 467"/>
              <a:gd name="T6" fmla="*/ 2449 w 4138"/>
              <a:gd name="T7" fmla="*/ 401 h 467"/>
              <a:gd name="T8" fmla="*/ 4138 w 4138"/>
              <a:gd name="T9" fmla="*/ 467 h 4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138" h="467">
                <a:moveTo>
                  <a:pt x="0" y="0"/>
                </a:moveTo>
                <a:cubicBezTo>
                  <a:pt x="119" y="31"/>
                  <a:pt x="462" y="132"/>
                  <a:pt x="713" y="185"/>
                </a:cubicBezTo>
                <a:cubicBezTo>
                  <a:pt x="964" y="238"/>
                  <a:pt x="1220" y="285"/>
                  <a:pt x="1509" y="321"/>
                </a:cubicBezTo>
                <a:cubicBezTo>
                  <a:pt x="1798" y="357"/>
                  <a:pt x="2011" y="377"/>
                  <a:pt x="2449" y="401"/>
                </a:cubicBezTo>
                <a:cubicBezTo>
                  <a:pt x="2887" y="425"/>
                  <a:pt x="3786" y="453"/>
                  <a:pt x="4138" y="467"/>
                </a:cubicBezTo>
              </a:path>
            </a:pathLst>
          </a:custGeom>
          <a:noFill/>
          <a:ln w="3175" cmpd="sng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7E0FB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400"/>
          </a:p>
        </p:txBody>
      </p:sp>
      <p:sp>
        <p:nvSpPr>
          <p:cNvPr id="27" name="Freeform 7">
            <a:extLst>
              <a:ext uri="{FF2B5EF4-FFF2-40B4-BE49-F238E27FC236}">
                <a16:creationId xmlns:a16="http://schemas.microsoft.com/office/drawing/2014/main" id="{C3083CF2-ED28-6E56-836A-87A6EF0D2E48}"/>
              </a:ext>
            </a:extLst>
          </p:cNvPr>
          <p:cNvSpPr>
            <a:spLocks/>
          </p:cNvSpPr>
          <p:nvPr/>
        </p:nvSpPr>
        <p:spPr bwMode="gray">
          <a:xfrm flipV="1">
            <a:off x="2421716" y="3150985"/>
            <a:ext cx="7326902" cy="1031429"/>
          </a:xfrm>
          <a:custGeom>
            <a:avLst/>
            <a:gdLst>
              <a:gd name="T0" fmla="*/ 0 w 2552"/>
              <a:gd name="T1" fmla="*/ 0 h 616"/>
              <a:gd name="T2" fmla="*/ 968 w 2552"/>
              <a:gd name="T3" fmla="*/ 432 h 616"/>
              <a:gd name="T4" fmla="*/ 2552 w 2552"/>
              <a:gd name="T5" fmla="*/ 616 h 6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552" h="616">
                <a:moveTo>
                  <a:pt x="0" y="0"/>
                </a:moveTo>
                <a:cubicBezTo>
                  <a:pt x="271" y="164"/>
                  <a:pt x="543" y="329"/>
                  <a:pt x="968" y="432"/>
                </a:cubicBezTo>
                <a:cubicBezTo>
                  <a:pt x="1393" y="535"/>
                  <a:pt x="1972" y="575"/>
                  <a:pt x="2552" y="616"/>
                </a:cubicBezTo>
              </a:path>
            </a:pathLst>
          </a:custGeom>
          <a:noFill/>
          <a:ln w="3175" cmpd="sng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7E0FB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400"/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C904F9E9-58DC-3ED3-B34F-EC9310F8A00F}"/>
              </a:ext>
            </a:extLst>
          </p:cNvPr>
          <p:cNvSpPr/>
          <p:nvPr/>
        </p:nvSpPr>
        <p:spPr>
          <a:xfrm>
            <a:off x="8401403" y="2746798"/>
            <a:ext cx="398457" cy="398457"/>
          </a:xfrm>
          <a:prstGeom prst="ellipse">
            <a:avLst/>
          </a:prstGeom>
          <a:gradFill flip="none" rotWithShape="1">
            <a:gsLst>
              <a:gs pos="0">
                <a:srgbClr val="D8EEF0"/>
              </a:gs>
              <a:gs pos="66000">
                <a:schemeClr val="accent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2C08B631-A4B7-A236-0C8B-CD22F61CF4A3}"/>
              </a:ext>
            </a:extLst>
          </p:cNvPr>
          <p:cNvSpPr/>
          <p:nvPr/>
        </p:nvSpPr>
        <p:spPr>
          <a:xfrm>
            <a:off x="8883390" y="2746798"/>
            <a:ext cx="398457" cy="398457"/>
          </a:xfrm>
          <a:prstGeom prst="ellipse">
            <a:avLst/>
          </a:prstGeom>
          <a:gradFill flip="none" rotWithShape="1">
            <a:gsLst>
              <a:gs pos="0">
                <a:srgbClr val="CCE7DE"/>
              </a:gs>
              <a:gs pos="50000">
                <a:schemeClr val="accent3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2C487E6C-847F-F5AA-6050-847C43E260E5}"/>
              </a:ext>
            </a:extLst>
          </p:cNvPr>
          <p:cNvSpPr/>
          <p:nvPr/>
        </p:nvSpPr>
        <p:spPr>
          <a:xfrm>
            <a:off x="9365375" y="2746798"/>
            <a:ext cx="398457" cy="398457"/>
          </a:xfrm>
          <a:prstGeom prst="ellipse">
            <a:avLst/>
          </a:prstGeom>
          <a:gradFill flip="none" rotWithShape="1">
            <a:gsLst>
              <a:gs pos="0">
                <a:srgbClr val="B6C0C1"/>
              </a:gs>
              <a:gs pos="57000">
                <a:schemeClr val="accent4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B3EE08FD-8B17-F3FE-9E2B-6B3CA3D52257}"/>
              </a:ext>
            </a:extLst>
          </p:cNvPr>
          <p:cNvSpPr/>
          <p:nvPr/>
        </p:nvSpPr>
        <p:spPr>
          <a:xfrm>
            <a:off x="6894935" y="2656638"/>
            <a:ext cx="321229" cy="321228"/>
          </a:xfrm>
          <a:prstGeom prst="ellipse">
            <a:avLst/>
          </a:prstGeom>
          <a:gradFill flip="none" rotWithShape="1">
            <a:gsLst>
              <a:gs pos="0">
                <a:srgbClr val="D8EEF0"/>
              </a:gs>
              <a:gs pos="66000">
                <a:schemeClr val="accent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600642F2-B626-AC42-16E2-D2D52006E077}"/>
              </a:ext>
            </a:extLst>
          </p:cNvPr>
          <p:cNvSpPr/>
          <p:nvPr/>
        </p:nvSpPr>
        <p:spPr>
          <a:xfrm>
            <a:off x="7376921" y="2656638"/>
            <a:ext cx="321229" cy="321228"/>
          </a:xfrm>
          <a:prstGeom prst="ellipse">
            <a:avLst/>
          </a:prstGeom>
          <a:gradFill flip="none" rotWithShape="1">
            <a:gsLst>
              <a:gs pos="0">
                <a:srgbClr val="CCE7DE"/>
              </a:gs>
              <a:gs pos="50000">
                <a:schemeClr val="accent3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9FE960E6-93B5-98FD-4EEA-9AD24090185B}"/>
              </a:ext>
            </a:extLst>
          </p:cNvPr>
          <p:cNvSpPr/>
          <p:nvPr/>
        </p:nvSpPr>
        <p:spPr>
          <a:xfrm>
            <a:off x="7947759" y="2684382"/>
            <a:ext cx="321229" cy="321228"/>
          </a:xfrm>
          <a:prstGeom prst="ellipse">
            <a:avLst/>
          </a:prstGeom>
          <a:gradFill flip="none" rotWithShape="1">
            <a:gsLst>
              <a:gs pos="0">
                <a:srgbClr val="B6C0C1"/>
              </a:gs>
              <a:gs pos="57000">
                <a:schemeClr val="accent4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70496473-BB8D-7B0F-8CD7-D217FFC7B5A2}"/>
              </a:ext>
            </a:extLst>
          </p:cNvPr>
          <p:cNvSpPr/>
          <p:nvPr/>
        </p:nvSpPr>
        <p:spPr>
          <a:xfrm>
            <a:off x="7125037" y="2927169"/>
            <a:ext cx="321229" cy="321228"/>
          </a:xfrm>
          <a:prstGeom prst="ellipse">
            <a:avLst/>
          </a:prstGeom>
          <a:gradFill flip="none" rotWithShape="1">
            <a:gsLst>
              <a:gs pos="0">
                <a:srgbClr val="D8EEF0"/>
              </a:gs>
              <a:gs pos="66000">
                <a:schemeClr val="accent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BD76BFDD-481D-A49B-213D-BBE61F4B7312}"/>
              </a:ext>
            </a:extLst>
          </p:cNvPr>
          <p:cNvSpPr/>
          <p:nvPr/>
        </p:nvSpPr>
        <p:spPr>
          <a:xfrm>
            <a:off x="7607024" y="2913605"/>
            <a:ext cx="321229" cy="321228"/>
          </a:xfrm>
          <a:prstGeom prst="ellipse">
            <a:avLst/>
          </a:prstGeom>
          <a:gradFill flip="none" rotWithShape="1">
            <a:gsLst>
              <a:gs pos="0">
                <a:srgbClr val="CCE7DE"/>
              </a:gs>
              <a:gs pos="50000">
                <a:schemeClr val="accent3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F6A5C9E2-294D-6009-9279-83B0AF7E46CA}"/>
              </a:ext>
            </a:extLst>
          </p:cNvPr>
          <p:cNvSpPr/>
          <p:nvPr/>
        </p:nvSpPr>
        <p:spPr>
          <a:xfrm>
            <a:off x="5378396" y="2497620"/>
            <a:ext cx="321229" cy="321228"/>
          </a:xfrm>
          <a:prstGeom prst="ellipse">
            <a:avLst/>
          </a:prstGeom>
          <a:gradFill flip="none" rotWithShape="1">
            <a:gsLst>
              <a:gs pos="0">
                <a:srgbClr val="D8EEF0"/>
              </a:gs>
              <a:gs pos="66000">
                <a:schemeClr val="accent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5C861CA5-0E5C-A45D-7A58-6B5465A22485}"/>
              </a:ext>
            </a:extLst>
          </p:cNvPr>
          <p:cNvSpPr/>
          <p:nvPr/>
        </p:nvSpPr>
        <p:spPr>
          <a:xfrm>
            <a:off x="5860383" y="2532408"/>
            <a:ext cx="321229" cy="321228"/>
          </a:xfrm>
          <a:prstGeom prst="ellipse">
            <a:avLst/>
          </a:prstGeom>
          <a:gradFill flip="none" rotWithShape="1">
            <a:gsLst>
              <a:gs pos="0">
                <a:srgbClr val="CCE7DE"/>
              </a:gs>
              <a:gs pos="50000">
                <a:schemeClr val="accent3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00EEEE81-B520-B23C-8B45-052EA070F380}"/>
              </a:ext>
            </a:extLst>
          </p:cNvPr>
          <p:cNvSpPr/>
          <p:nvPr/>
        </p:nvSpPr>
        <p:spPr>
          <a:xfrm>
            <a:off x="6342368" y="2625233"/>
            <a:ext cx="321229" cy="321228"/>
          </a:xfrm>
          <a:prstGeom prst="ellipse">
            <a:avLst/>
          </a:prstGeom>
          <a:gradFill flip="none" rotWithShape="1">
            <a:gsLst>
              <a:gs pos="0">
                <a:srgbClr val="B6C0C1"/>
              </a:gs>
              <a:gs pos="57000">
                <a:schemeClr val="accent4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DEA5CDE3-3E78-50C5-DD32-6ED5DFE47E20}"/>
              </a:ext>
            </a:extLst>
          </p:cNvPr>
          <p:cNvSpPr/>
          <p:nvPr/>
        </p:nvSpPr>
        <p:spPr>
          <a:xfrm>
            <a:off x="5606885" y="2735452"/>
            <a:ext cx="321229" cy="321228"/>
          </a:xfrm>
          <a:prstGeom prst="ellipse">
            <a:avLst/>
          </a:prstGeom>
          <a:gradFill flip="none" rotWithShape="1">
            <a:gsLst>
              <a:gs pos="0">
                <a:srgbClr val="D8EEF0"/>
              </a:gs>
              <a:gs pos="66000">
                <a:schemeClr val="accent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51927380-A25F-43EC-748B-27C31D577166}"/>
              </a:ext>
            </a:extLst>
          </p:cNvPr>
          <p:cNvSpPr/>
          <p:nvPr/>
        </p:nvSpPr>
        <p:spPr>
          <a:xfrm>
            <a:off x="6054474" y="2805140"/>
            <a:ext cx="321229" cy="321228"/>
          </a:xfrm>
          <a:prstGeom prst="ellipse">
            <a:avLst/>
          </a:prstGeom>
          <a:gradFill flip="none" rotWithShape="1">
            <a:gsLst>
              <a:gs pos="0">
                <a:srgbClr val="CCE7DE"/>
              </a:gs>
              <a:gs pos="50000">
                <a:schemeClr val="accent3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A4D96980-1A4A-9AC1-C150-1869782A2FE1}"/>
              </a:ext>
            </a:extLst>
          </p:cNvPr>
          <p:cNvSpPr/>
          <p:nvPr/>
        </p:nvSpPr>
        <p:spPr>
          <a:xfrm>
            <a:off x="6502982" y="2971079"/>
            <a:ext cx="321229" cy="321228"/>
          </a:xfrm>
          <a:prstGeom prst="ellipse">
            <a:avLst/>
          </a:prstGeom>
          <a:gradFill flip="none" rotWithShape="1">
            <a:gsLst>
              <a:gs pos="0">
                <a:srgbClr val="B6C0C1"/>
              </a:gs>
              <a:gs pos="57000">
                <a:schemeClr val="accent4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43EA1B10-935D-42A1-83B8-D3E9D5507AD2}"/>
              </a:ext>
            </a:extLst>
          </p:cNvPr>
          <p:cNvSpPr/>
          <p:nvPr/>
        </p:nvSpPr>
        <p:spPr>
          <a:xfrm>
            <a:off x="5414951" y="3055653"/>
            <a:ext cx="321229" cy="321228"/>
          </a:xfrm>
          <a:prstGeom prst="ellipse">
            <a:avLst/>
          </a:prstGeom>
          <a:gradFill flip="none" rotWithShape="1">
            <a:gsLst>
              <a:gs pos="0">
                <a:srgbClr val="D8EEF0"/>
              </a:gs>
              <a:gs pos="66000">
                <a:schemeClr val="accent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67168AA4-72AB-873D-3594-704177E25172}"/>
              </a:ext>
            </a:extLst>
          </p:cNvPr>
          <p:cNvSpPr/>
          <p:nvPr/>
        </p:nvSpPr>
        <p:spPr>
          <a:xfrm>
            <a:off x="5810330" y="3026756"/>
            <a:ext cx="321229" cy="321228"/>
          </a:xfrm>
          <a:prstGeom prst="ellipse">
            <a:avLst/>
          </a:prstGeom>
          <a:gradFill flip="none" rotWithShape="1">
            <a:gsLst>
              <a:gs pos="0">
                <a:srgbClr val="CCE7DE"/>
              </a:gs>
              <a:gs pos="50000">
                <a:schemeClr val="accent3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51B9DD64-1DC8-2536-B236-A45A43F22D2E}"/>
              </a:ext>
            </a:extLst>
          </p:cNvPr>
          <p:cNvSpPr/>
          <p:nvPr/>
        </p:nvSpPr>
        <p:spPr>
          <a:xfrm>
            <a:off x="3872510" y="2268005"/>
            <a:ext cx="321229" cy="321228"/>
          </a:xfrm>
          <a:prstGeom prst="ellipse">
            <a:avLst/>
          </a:prstGeom>
          <a:gradFill flip="none" rotWithShape="1">
            <a:gsLst>
              <a:gs pos="0">
                <a:srgbClr val="D8EEF0"/>
              </a:gs>
              <a:gs pos="66000">
                <a:schemeClr val="accent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9BE30809-4C3C-71CD-2483-C8A14BF8D148}"/>
              </a:ext>
            </a:extLst>
          </p:cNvPr>
          <p:cNvSpPr/>
          <p:nvPr/>
        </p:nvSpPr>
        <p:spPr>
          <a:xfrm>
            <a:off x="4381177" y="2397941"/>
            <a:ext cx="321229" cy="321228"/>
          </a:xfrm>
          <a:prstGeom prst="ellipse">
            <a:avLst/>
          </a:prstGeom>
          <a:gradFill flip="none" rotWithShape="1">
            <a:gsLst>
              <a:gs pos="0">
                <a:srgbClr val="CCE7DE"/>
              </a:gs>
              <a:gs pos="50000">
                <a:schemeClr val="accent3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C77B2866-C45E-55B6-3605-2DFCF89C21D2}"/>
              </a:ext>
            </a:extLst>
          </p:cNvPr>
          <p:cNvSpPr/>
          <p:nvPr/>
        </p:nvSpPr>
        <p:spPr>
          <a:xfrm>
            <a:off x="4910510" y="2470018"/>
            <a:ext cx="321229" cy="321228"/>
          </a:xfrm>
          <a:prstGeom prst="ellipse">
            <a:avLst/>
          </a:prstGeom>
          <a:gradFill flip="none" rotWithShape="1">
            <a:gsLst>
              <a:gs pos="0">
                <a:srgbClr val="B6C0C1"/>
              </a:gs>
              <a:gs pos="57000">
                <a:schemeClr val="accent4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1ED2E412-6E0C-99B7-177F-60B847B520C8}"/>
              </a:ext>
            </a:extLst>
          </p:cNvPr>
          <p:cNvSpPr/>
          <p:nvPr/>
        </p:nvSpPr>
        <p:spPr>
          <a:xfrm>
            <a:off x="4127680" y="2735452"/>
            <a:ext cx="321229" cy="321228"/>
          </a:xfrm>
          <a:prstGeom prst="ellipse">
            <a:avLst/>
          </a:prstGeom>
          <a:gradFill flip="none" rotWithShape="1">
            <a:gsLst>
              <a:gs pos="0">
                <a:srgbClr val="D8EEF0"/>
              </a:gs>
              <a:gs pos="66000">
                <a:schemeClr val="accent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C05D774B-8F1A-19C3-50E5-6E003C5CAB42}"/>
              </a:ext>
            </a:extLst>
          </p:cNvPr>
          <p:cNvSpPr/>
          <p:nvPr/>
        </p:nvSpPr>
        <p:spPr>
          <a:xfrm>
            <a:off x="4575268" y="2805140"/>
            <a:ext cx="321229" cy="321228"/>
          </a:xfrm>
          <a:prstGeom prst="ellipse">
            <a:avLst/>
          </a:prstGeom>
          <a:gradFill flip="none" rotWithShape="1">
            <a:gsLst>
              <a:gs pos="0">
                <a:srgbClr val="CCE7DE"/>
              </a:gs>
              <a:gs pos="50000">
                <a:schemeClr val="accent3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F01F9720-BB1C-A0CE-4A2B-2E0E5E15E2E5}"/>
              </a:ext>
            </a:extLst>
          </p:cNvPr>
          <p:cNvSpPr/>
          <p:nvPr/>
        </p:nvSpPr>
        <p:spPr>
          <a:xfrm>
            <a:off x="4831385" y="3140255"/>
            <a:ext cx="321229" cy="321228"/>
          </a:xfrm>
          <a:prstGeom prst="ellipse">
            <a:avLst/>
          </a:prstGeom>
          <a:gradFill flip="none" rotWithShape="1">
            <a:gsLst>
              <a:gs pos="0">
                <a:srgbClr val="B6C0C1"/>
              </a:gs>
              <a:gs pos="57000">
                <a:schemeClr val="accent4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 dirty="0"/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B11BE087-598D-CF34-6C71-4C65A7B89326}"/>
              </a:ext>
            </a:extLst>
          </p:cNvPr>
          <p:cNvSpPr/>
          <p:nvPr/>
        </p:nvSpPr>
        <p:spPr>
          <a:xfrm>
            <a:off x="3935746" y="3211646"/>
            <a:ext cx="321229" cy="321228"/>
          </a:xfrm>
          <a:prstGeom prst="ellipse">
            <a:avLst/>
          </a:prstGeom>
          <a:gradFill flip="none" rotWithShape="1">
            <a:gsLst>
              <a:gs pos="0">
                <a:srgbClr val="D8EEF0"/>
              </a:gs>
              <a:gs pos="66000">
                <a:schemeClr val="accent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3FF75EB8-4E41-6803-13ED-DD738E80C780}"/>
              </a:ext>
            </a:extLst>
          </p:cNvPr>
          <p:cNvSpPr/>
          <p:nvPr/>
        </p:nvSpPr>
        <p:spPr>
          <a:xfrm>
            <a:off x="4331124" y="3182750"/>
            <a:ext cx="321229" cy="321228"/>
          </a:xfrm>
          <a:prstGeom prst="ellipse">
            <a:avLst/>
          </a:prstGeom>
          <a:gradFill flip="none" rotWithShape="1">
            <a:gsLst>
              <a:gs pos="0">
                <a:srgbClr val="CCE7DE"/>
              </a:gs>
              <a:gs pos="50000">
                <a:schemeClr val="accent3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F218BED1-B123-07B3-439E-EEBAB445AF1E}"/>
              </a:ext>
            </a:extLst>
          </p:cNvPr>
          <p:cNvSpPr/>
          <p:nvPr/>
        </p:nvSpPr>
        <p:spPr>
          <a:xfrm>
            <a:off x="2332714" y="1902868"/>
            <a:ext cx="321229" cy="321228"/>
          </a:xfrm>
          <a:prstGeom prst="ellipse">
            <a:avLst/>
          </a:prstGeom>
          <a:gradFill flip="none" rotWithShape="1">
            <a:gsLst>
              <a:gs pos="0">
                <a:srgbClr val="D8EEF0"/>
              </a:gs>
              <a:gs pos="66000">
                <a:schemeClr val="accent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6F60AF35-4BBF-0A3F-3D7F-B3D779DD7B9F}"/>
              </a:ext>
            </a:extLst>
          </p:cNvPr>
          <p:cNvSpPr/>
          <p:nvPr/>
        </p:nvSpPr>
        <p:spPr>
          <a:xfrm>
            <a:off x="2794005" y="2067783"/>
            <a:ext cx="321229" cy="321228"/>
          </a:xfrm>
          <a:prstGeom prst="ellipse">
            <a:avLst/>
          </a:prstGeom>
          <a:gradFill flip="none" rotWithShape="1">
            <a:gsLst>
              <a:gs pos="0">
                <a:srgbClr val="CCE7DE"/>
              </a:gs>
              <a:gs pos="50000">
                <a:schemeClr val="accent3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2103F920-23A0-7604-61B8-B52F61D60C64}"/>
              </a:ext>
            </a:extLst>
          </p:cNvPr>
          <p:cNvSpPr/>
          <p:nvPr/>
        </p:nvSpPr>
        <p:spPr>
          <a:xfrm>
            <a:off x="3332584" y="2359912"/>
            <a:ext cx="321229" cy="321228"/>
          </a:xfrm>
          <a:prstGeom prst="ellipse">
            <a:avLst/>
          </a:prstGeom>
          <a:gradFill flip="none" rotWithShape="1">
            <a:gsLst>
              <a:gs pos="0">
                <a:srgbClr val="B6C0C1"/>
              </a:gs>
              <a:gs pos="57000">
                <a:schemeClr val="accent4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1B3A1603-0D05-E710-E5DB-E33AF07EFCA3}"/>
              </a:ext>
            </a:extLst>
          </p:cNvPr>
          <p:cNvSpPr/>
          <p:nvPr/>
        </p:nvSpPr>
        <p:spPr>
          <a:xfrm>
            <a:off x="2332714" y="2509584"/>
            <a:ext cx="321229" cy="321228"/>
          </a:xfrm>
          <a:prstGeom prst="ellipse">
            <a:avLst/>
          </a:prstGeom>
          <a:gradFill flip="none" rotWithShape="1">
            <a:gsLst>
              <a:gs pos="0">
                <a:srgbClr val="D8EEF0"/>
              </a:gs>
              <a:gs pos="66000">
                <a:schemeClr val="accent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776E6A9B-27D9-89FD-637D-86165CF20E5D}"/>
              </a:ext>
            </a:extLst>
          </p:cNvPr>
          <p:cNvSpPr/>
          <p:nvPr/>
        </p:nvSpPr>
        <p:spPr>
          <a:xfrm>
            <a:off x="2794005" y="2579273"/>
            <a:ext cx="321229" cy="321228"/>
          </a:xfrm>
          <a:prstGeom prst="ellipse">
            <a:avLst/>
          </a:prstGeom>
          <a:gradFill flip="none" rotWithShape="1">
            <a:gsLst>
              <a:gs pos="0">
                <a:srgbClr val="CCE7DE"/>
              </a:gs>
              <a:gs pos="50000">
                <a:schemeClr val="accent3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34DB7E5E-BA1C-F2D7-C60F-3E8F2D2804AC}"/>
              </a:ext>
            </a:extLst>
          </p:cNvPr>
          <p:cNvSpPr/>
          <p:nvPr/>
        </p:nvSpPr>
        <p:spPr>
          <a:xfrm>
            <a:off x="3498144" y="2844695"/>
            <a:ext cx="321229" cy="321228"/>
          </a:xfrm>
          <a:prstGeom prst="ellipse">
            <a:avLst/>
          </a:prstGeom>
          <a:gradFill flip="none" rotWithShape="1">
            <a:gsLst>
              <a:gs pos="0">
                <a:srgbClr val="B6C0C1"/>
              </a:gs>
              <a:gs pos="57000">
                <a:schemeClr val="accent4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 dirty="0"/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8F628BA6-2368-9E24-1D6B-A87761360444}"/>
              </a:ext>
            </a:extLst>
          </p:cNvPr>
          <p:cNvSpPr/>
          <p:nvPr/>
        </p:nvSpPr>
        <p:spPr>
          <a:xfrm>
            <a:off x="2332714" y="3665710"/>
            <a:ext cx="321229" cy="321228"/>
          </a:xfrm>
          <a:prstGeom prst="ellipse">
            <a:avLst/>
          </a:prstGeom>
          <a:gradFill flip="none" rotWithShape="1">
            <a:gsLst>
              <a:gs pos="0">
                <a:srgbClr val="D8EEF0"/>
              </a:gs>
              <a:gs pos="66000">
                <a:schemeClr val="accent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698E3E5E-77EB-438F-45D2-C35205F4BBDC}"/>
              </a:ext>
            </a:extLst>
          </p:cNvPr>
          <p:cNvSpPr/>
          <p:nvPr/>
        </p:nvSpPr>
        <p:spPr>
          <a:xfrm>
            <a:off x="2794005" y="3636812"/>
            <a:ext cx="321229" cy="321228"/>
          </a:xfrm>
          <a:prstGeom prst="ellipse">
            <a:avLst/>
          </a:prstGeom>
          <a:gradFill flip="none" rotWithShape="1">
            <a:gsLst>
              <a:gs pos="0">
                <a:srgbClr val="CCE7DE"/>
              </a:gs>
              <a:gs pos="50000">
                <a:schemeClr val="accent3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7042C00A-B054-D832-D03B-C4A47B1E2CC0}"/>
              </a:ext>
            </a:extLst>
          </p:cNvPr>
          <p:cNvSpPr/>
          <p:nvPr/>
        </p:nvSpPr>
        <p:spPr>
          <a:xfrm>
            <a:off x="3337946" y="3373464"/>
            <a:ext cx="321229" cy="321228"/>
          </a:xfrm>
          <a:prstGeom prst="ellipse">
            <a:avLst/>
          </a:prstGeom>
          <a:gradFill flip="none" rotWithShape="1">
            <a:gsLst>
              <a:gs pos="0">
                <a:srgbClr val="B6C0C1"/>
              </a:gs>
              <a:gs pos="57000">
                <a:schemeClr val="accent4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AE7BB03D-CB63-3C1C-DB4B-73C288221EBA}"/>
              </a:ext>
            </a:extLst>
          </p:cNvPr>
          <p:cNvSpPr/>
          <p:nvPr/>
        </p:nvSpPr>
        <p:spPr>
          <a:xfrm>
            <a:off x="2332714" y="3197307"/>
            <a:ext cx="321229" cy="321228"/>
          </a:xfrm>
          <a:prstGeom prst="ellipse">
            <a:avLst/>
          </a:prstGeom>
          <a:gradFill flip="none" rotWithShape="1">
            <a:gsLst>
              <a:gs pos="0">
                <a:srgbClr val="D8EEF0"/>
              </a:gs>
              <a:gs pos="66000">
                <a:schemeClr val="accent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52430796-D0C6-A398-80F2-6A4B9B3CDEC8}"/>
              </a:ext>
            </a:extLst>
          </p:cNvPr>
          <p:cNvSpPr/>
          <p:nvPr/>
        </p:nvSpPr>
        <p:spPr>
          <a:xfrm>
            <a:off x="2794005" y="3110116"/>
            <a:ext cx="321229" cy="321228"/>
          </a:xfrm>
          <a:prstGeom prst="ellipse">
            <a:avLst/>
          </a:prstGeom>
          <a:gradFill flip="none" rotWithShape="1">
            <a:gsLst>
              <a:gs pos="0">
                <a:srgbClr val="CCE7DE"/>
              </a:gs>
              <a:gs pos="50000">
                <a:schemeClr val="accent3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0E6B78FA-06CB-8B31-470D-B597667C2DFB}"/>
              </a:ext>
            </a:extLst>
          </p:cNvPr>
          <p:cNvSpPr>
            <a:spLocks/>
          </p:cNvSpPr>
          <p:nvPr/>
        </p:nvSpPr>
        <p:spPr>
          <a:xfrm>
            <a:off x="2580538" y="2908324"/>
            <a:ext cx="182280" cy="182280"/>
          </a:xfrm>
          <a:prstGeom prst="ellipse">
            <a:avLst/>
          </a:prstGeom>
          <a:gradFill flip="none" rotWithShape="1">
            <a:gsLst>
              <a:gs pos="0">
                <a:srgbClr val="B6C0C1"/>
              </a:gs>
              <a:gs pos="57000">
                <a:schemeClr val="accent4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4" tIns="44807" rIns="89614" bIns="448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1400"/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CE6C2615-1F09-5890-AF0E-41ABBC0AB227}"/>
              </a:ext>
            </a:extLst>
          </p:cNvPr>
          <p:cNvSpPr/>
          <p:nvPr/>
        </p:nvSpPr>
        <p:spPr>
          <a:xfrm>
            <a:off x="4221288" y="2297298"/>
            <a:ext cx="182280" cy="182280"/>
          </a:xfrm>
          <a:prstGeom prst="ellipse">
            <a:avLst/>
          </a:prstGeom>
          <a:gradFill flip="none" rotWithShape="1">
            <a:gsLst>
              <a:gs pos="0">
                <a:srgbClr val="CCE7DE"/>
              </a:gs>
              <a:gs pos="50000">
                <a:schemeClr val="accent3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66" name="Oval 65">
            <a:extLst>
              <a:ext uri="{FF2B5EF4-FFF2-40B4-BE49-F238E27FC236}">
                <a16:creationId xmlns:a16="http://schemas.microsoft.com/office/drawing/2014/main" id="{6B41ACF0-D639-3324-C9D0-CDC6DD89FE73}"/>
              </a:ext>
            </a:extLst>
          </p:cNvPr>
          <p:cNvSpPr/>
          <p:nvPr/>
        </p:nvSpPr>
        <p:spPr>
          <a:xfrm>
            <a:off x="3956918" y="2948271"/>
            <a:ext cx="182280" cy="182280"/>
          </a:xfrm>
          <a:prstGeom prst="ellipse">
            <a:avLst/>
          </a:prstGeom>
          <a:gradFill flip="none" rotWithShape="1">
            <a:gsLst>
              <a:gs pos="0">
                <a:srgbClr val="CCE7DE"/>
              </a:gs>
              <a:gs pos="50000">
                <a:schemeClr val="accent3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id="{816863FC-13F4-1EF7-4225-88FF7BE38E75}"/>
              </a:ext>
            </a:extLst>
          </p:cNvPr>
          <p:cNvSpPr/>
          <p:nvPr/>
        </p:nvSpPr>
        <p:spPr>
          <a:xfrm>
            <a:off x="6237496" y="3125049"/>
            <a:ext cx="182280" cy="182280"/>
          </a:xfrm>
          <a:prstGeom prst="ellipse">
            <a:avLst/>
          </a:prstGeom>
          <a:gradFill flip="none" rotWithShape="1">
            <a:gsLst>
              <a:gs pos="0">
                <a:srgbClr val="CCE7DE"/>
              </a:gs>
              <a:gs pos="50000">
                <a:schemeClr val="accent3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2EEF6D11-5A42-8650-AC96-F560F7BB546D}"/>
              </a:ext>
            </a:extLst>
          </p:cNvPr>
          <p:cNvSpPr/>
          <p:nvPr/>
        </p:nvSpPr>
        <p:spPr>
          <a:xfrm>
            <a:off x="8074830" y="3008496"/>
            <a:ext cx="182280" cy="182280"/>
          </a:xfrm>
          <a:prstGeom prst="ellipse">
            <a:avLst/>
          </a:prstGeom>
          <a:gradFill flip="none" rotWithShape="1">
            <a:gsLst>
              <a:gs pos="0">
                <a:srgbClr val="CCE7DE"/>
              </a:gs>
              <a:gs pos="50000">
                <a:schemeClr val="accent3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69" name="Oval 68">
            <a:extLst>
              <a:ext uri="{FF2B5EF4-FFF2-40B4-BE49-F238E27FC236}">
                <a16:creationId xmlns:a16="http://schemas.microsoft.com/office/drawing/2014/main" id="{68AB831F-786D-A985-F231-1A3C55FE94A9}"/>
              </a:ext>
            </a:extLst>
          </p:cNvPr>
          <p:cNvSpPr/>
          <p:nvPr/>
        </p:nvSpPr>
        <p:spPr>
          <a:xfrm>
            <a:off x="3197619" y="2132957"/>
            <a:ext cx="182280" cy="182280"/>
          </a:xfrm>
          <a:prstGeom prst="ellipse">
            <a:avLst/>
          </a:prstGeom>
          <a:gradFill flip="none" rotWithShape="1">
            <a:gsLst>
              <a:gs pos="0">
                <a:srgbClr val="CCE7DE"/>
              </a:gs>
              <a:gs pos="50000">
                <a:schemeClr val="accent3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/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85C98340-D617-8B39-46CD-EAFAFD370DC7}"/>
              </a:ext>
            </a:extLst>
          </p:cNvPr>
          <p:cNvSpPr>
            <a:spLocks/>
          </p:cNvSpPr>
          <p:nvPr/>
        </p:nvSpPr>
        <p:spPr>
          <a:xfrm>
            <a:off x="3083912" y="3420854"/>
            <a:ext cx="182280" cy="182280"/>
          </a:xfrm>
          <a:prstGeom prst="ellipse">
            <a:avLst/>
          </a:prstGeom>
          <a:gradFill flip="none" rotWithShape="1">
            <a:gsLst>
              <a:gs pos="0">
                <a:srgbClr val="D8EEF0"/>
              </a:gs>
              <a:gs pos="66000">
                <a:schemeClr val="accent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IN" sz="1400"/>
          </a:p>
        </p:txBody>
      </p:sp>
      <p:sp>
        <p:nvSpPr>
          <p:cNvPr id="72" name="Oval 71">
            <a:extLst>
              <a:ext uri="{FF2B5EF4-FFF2-40B4-BE49-F238E27FC236}">
                <a16:creationId xmlns:a16="http://schemas.microsoft.com/office/drawing/2014/main" id="{0A41893D-CFFA-2322-CD96-755CFCC3BACB}"/>
              </a:ext>
            </a:extLst>
          </p:cNvPr>
          <p:cNvSpPr>
            <a:spLocks/>
          </p:cNvSpPr>
          <p:nvPr/>
        </p:nvSpPr>
        <p:spPr>
          <a:xfrm>
            <a:off x="3260398" y="3099637"/>
            <a:ext cx="182280" cy="182280"/>
          </a:xfrm>
          <a:prstGeom prst="ellipse">
            <a:avLst/>
          </a:prstGeom>
          <a:gradFill flip="none" rotWithShape="1">
            <a:gsLst>
              <a:gs pos="0">
                <a:srgbClr val="D8EEF0"/>
              </a:gs>
              <a:gs pos="66000">
                <a:schemeClr val="accent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IN" sz="1400"/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7E6EDF28-8E3C-3E9E-6F41-667D58E969FF}"/>
              </a:ext>
            </a:extLst>
          </p:cNvPr>
          <p:cNvSpPr>
            <a:spLocks/>
          </p:cNvSpPr>
          <p:nvPr/>
        </p:nvSpPr>
        <p:spPr>
          <a:xfrm>
            <a:off x="3219897" y="2672419"/>
            <a:ext cx="182280" cy="182280"/>
          </a:xfrm>
          <a:prstGeom prst="ellipse">
            <a:avLst/>
          </a:prstGeom>
          <a:gradFill flip="none" rotWithShape="1">
            <a:gsLst>
              <a:gs pos="0">
                <a:srgbClr val="D8EEF0"/>
              </a:gs>
              <a:gs pos="66000">
                <a:schemeClr val="accent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IN" sz="1400"/>
          </a:p>
        </p:txBody>
      </p:sp>
      <p:sp>
        <p:nvSpPr>
          <p:cNvPr id="75" name="Oval 74">
            <a:extLst>
              <a:ext uri="{FF2B5EF4-FFF2-40B4-BE49-F238E27FC236}">
                <a16:creationId xmlns:a16="http://schemas.microsoft.com/office/drawing/2014/main" id="{A50B44CC-F3F2-2FE9-8672-0FE36583F18F}"/>
              </a:ext>
            </a:extLst>
          </p:cNvPr>
          <p:cNvSpPr>
            <a:spLocks/>
          </p:cNvSpPr>
          <p:nvPr/>
        </p:nvSpPr>
        <p:spPr>
          <a:xfrm>
            <a:off x="2596945" y="2306528"/>
            <a:ext cx="182280" cy="182280"/>
          </a:xfrm>
          <a:prstGeom prst="ellipse">
            <a:avLst/>
          </a:prstGeom>
          <a:gradFill flip="none" rotWithShape="1">
            <a:gsLst>
              <a:gs pos="0">
                <a:srgbClr val="B6C0C1"/>
              </a:gs>
              <a:gs pos="57000">
                <a:schemeClr val="accent4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4" tIns="44807" rIns="89614" bIns="448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1400"/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FF16C5E2-9957-8D00-9625-7D948F4D5263}"/>
              </a:ext>
            </a:extLst>
          </p:cNvPr>
          <p:cNvSpPr>
            <a:spLocks/>
          </p:cNvSpPr>
          <p:nvPr/>
        </p:nvSpPr>
        <p:spPr>
          <a:xfrm>
            <a:off x="2767446" y="3444447"/>
            <a:ext cx="182280" cy="182280"/>
          </a:xfrm>
          <a:prstGeom prst="ellipse">
            <a:avLst/>
          </a:prstGeom>
          <a:gradFill flip="none" rotWithShape="1">
            <a:gsLst>
              <a:gs pos="0">
                <a:srgbClr val="B6C0C1"/>
              </a:gs>
              <a:gs pos="57000">
                <a:schemeClr val="accent4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4" tIns="44807" rIns="89614" bIns="448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1400"/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34CD91F7-770A-2357-EAAF-08195C951DFF}"/>
              </a:ext>
            </a:extLst>
          </p:cNvPr>
          <p:cNvSpPr>
            <a:spLocks/>
          </p:cNvSpPr>
          <p:nvPr/>
        </p:nvSpPr>
        <p:spPr>
          <a:xfrm>
            <a:off x="3031785" y="2916721"/>
            <a:ext cx="182280" cy="182280"/>
          </a:xfrm>
          <a:prstGeom prst="ellipse">
            <a:avLst/>
          </a:prstGeom>
          <a:gradFill flip="none" rotWithShape="1">
            <a:gsLst>
              <a:gs pos="0">
                <a:srgbClr val="B6C0C1"/>
              </a:gs>
              <a:gs pos="57000">
                <a:schemeClr val="accent4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4" tIns="44807" rIns="89614" bIns="448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1400"/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9CD2773A-1BA6-0B42-896B-4593CDAA496E}"/>
              </a:ext>
            </a:extLst>
          </p:cNvPr>
          <p:cNvSpPr>
            <a:spLocks/>
          </p:cNvSpPr>
          <p:nvPr/>
        </p:nvSpPr>
        <p:spPr>
          <a:xfrm>
            <a:off x="2686540" y="1891100"/>
            <a:ext cx="182280" cy="182280"/>
          </a:xfrm>
          <a:prstGeom prst="ellipse">
            <a:avLst/>
          </a:prstGeom>
          <a:gradFill flip="none" rotWithShape="1">
            <a:gsLst>
              <a:gs pos="0">
                <a:srgbClr val="CCE7DE"/>
              </a:gs>
              <a:gs pos="50000">
                <a:schemeClr val="accent3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4" tIns="44807" rIns="89614" bIns="448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1400"/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2E06B394-32A7-1560-992C-0B9CAEB947B1}"/>
              </a:ext>
            </a:extLst>
          </p:cNvPr>
          <p:cNvSpPr>
            <a:spLocks/>
          </p:cNvSpPr>
          <p:nvPr/>
        </p:nvSpPr>
        <p:spPr>
          <a:xfrm>
            <a:off x="3047200" y="2399626"/>
            <a:ext cx="182280" cy="182280"/>
          </a:xfrm>
          <a:prstGeom prst="ellipse">
            <a:avLst/>
          </a:prstGeom>
          <a:gradFill flip="none" rotWithShape="1">
            <a:gsLst>
              <a:gs pos="0">
                <a:srgbClr val="B6C0C1"/>
              </a:gs>
              <a:gs pos="57000">
                <a:schemeClr val="accent4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4" tIns="44807" rIns="89614" bIns="448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1400"/>
          </a:p>
        </p:txBody>
      </p:sp>
      <p:sp>
        <p:nvSpPr>
          <p:cNvPr id="81" name="Oval 80">
            <a:extLst>
              <a:ext uri="{FF2B5EF4-FFF2-40B4-BE49-F238E27FC236}">
                <a16:creationId xmlns:a16="http://schemas.microsoft.com/office/drawing/2014/main" id="{1E8A1071-0D0A-7D91-54A7-7BE9C921B3FF}"/>
              </a:ext>
            </a:extLst>
          </p:cNvPr>
          <p:cNvSpPr>
            <a:spLocks/>
          </p:cNvSpPr>
          <p:nvPr/>
        </p:nvSpPr>
        <p:spPr>
          <a:xfrm>
            <a:off x="3189774" y="3665902"/>
            <a:ext cx="182280" cy="182280"/>
          </a:xfrm>
          <a:prstGeom prst="ellipse">
            <a:avLst/>
          </a:prstGeom>
          <a:gradFill flip="none" rotWithShape="1">
            <a:gsLst>
              <a:gs pos="0">
                <a:srgbClr val="D8EEF0"/>
              </a:gs>
              <a:gs pos="66000">
                <a:schemeClr val="accent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IN" sz="1400"/>
          </a:p>
        </p:txBody>
      </p:sp>
      <p:sp>
        <p:nvSpPr>
          <p:cNvPr id="82" name="Oval 81">
            <a:extLst>
              <a:ext uri="{FF2B5EF4-FFF2-40B4-BE49-F238E27FC236}">
                <a16:creationId xmlns:a16="http://schemas.microsoft.com/office/drawing/2014/main" id="{34BEF865-8F08-C93A-223C-1FD4F707C3FE}"/>
              </a:ext>
            </a:extLst>
          </p:cNvPr>
          <p:cNvSpPr>
            <a:spLocks/>
          </p:cNvSpPr>
          <p:nvPr/>
        </p:nvSpPr>
        <p:spPr>
          <a:xfrm>
            <a:off x="2628324" y="3877954"/>
            <a:ext cx="182280" cy="182280"/>
          </a:xfrm>
          <a:prstGeom prst="ellipse">
            <a:avLst/>
          </a:prstGeom>
          <a:gradFill flip="none" rotWithShape="1">
            <a:gsLst>
              <a:gs pos="0">
                <a:srgbClr val="CCE7DE"/>
              </a:gs>
              <a:gs pos="50000">
                <a:schemeClr val="accent3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4" tIns="44807" rIns="89614" bIns="448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1400"/>
          </a:p>
        </p:txBody>
      </p:sp>
      <p:sp>
        <p:nvSpPr>
          <p:cNvPr id="83" name="Oval 82">
            <a:extLst>
              <a:ext uri="{FF2B5EF4-FFF2-40B4-BE49-F238E27FC236}">
                <a16:creationId xmlns:a16="http://schemas.microsoft.com/office/drawing/2014/main" id="{B3E93AC5-1DEC-FA8C-8D28-6BB30A742B6F}"/>
              </a:ext>
            </a:extLst>
          </p:cNvPr>
          <p:cNvSpPr>
            <a:spLocks/>
          </p:cNvSpPr>
          <p:nvPr/>
        </p:nvSpPr>
        <p:spPr>
          <a:xfrm>
            <a:off x="4940624" y="2864596"/>
            <a:ext cx="182280" cy="182280"/>
          </a:xfrm>
          <a:prstGeom prst="ellipse">
            <a:avLst/>
          </a:prstGeom>
          <a:gradFill flip="none" rotWithShape="1">
            <a:gsLst>
              <a:gs pos="0">
                <a:srgbClr val="D8EEF0"/>
              </a:gs>
              <a:gs pos="66000">
                <a:schemeClr val="accent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IN" sz="1400"/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C78C0C8A-696E-7C09-9566-D1D3B5120A8E}"/>
              </a:ext>
            </a:extLst>
          </p:cNvPr>
          <p:cNvSpPr>
            <a:spLocks/>
          </p:cNvSpPr>
          <p:nvPr/>
        </p:nvSpPr>
        <p:spPr>
          <a:xfrm>
            <a:off x="6866202" y="3055653"/>
            <a:ext cx="182280" cy="182280"/>
          </a:xfrm>
          <a:prstGeom prst="ellipse">
            <a:avLst/>
          </a:prstGeom>
          <a:gradFill flip="none" rotWithShape="1">
            <a:gsLst>
              <a:gs pos="0">
                <a:srgbClr val="D8EEF0"/>
              </a:gs>
              <a:gs pos="66000">
                <a:schemeClr val="accent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IN" sz="1400"/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87EE6038-5220-385E-8935-297733ABD984}"/>
              </a:ext>
            </a:extLst>
          </p:cNvPr>
          <p:cNvSpPr>
            <a:spLocks/>
          </p:cNvSpPr>
          <p:nvPr/>
        </p:nvSpPr>
        <p:spPr>
          <a:xfrm>
            <a:off x="6635681" y="2764181"/>
            <a:ext cx="182280" cy="182280"/>
          </a:xfrm>
          <a:prstGeom prst="ellipse">
            <a:avLst/>
          </a:prstGeom>
          <a:gradFill flip="none" rotWithShape="1">
            <a:gsLst>
              <a:gs pos="0">
                <a:srgbClr val="D8EEF0"/>
              </a:gs>
              <a:gs pos="66000">
                <a:schemeClr val="accent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IN" sz="1400"/>
          </a:p>
        </p:txBody>
      </p:sp>
      <p:sp>
        <p:nvSpPr>
          <p:cNvPr id="86" name="Oval 85">
            <a:extLst>
              <a:ext uri="{FF2B5EF4-FFF2-40B4-BE49-F238E27FC236}">
                <a16:creationId xmlns:a16="http://schemas.microsoft.com/office/drawing/2014/main" id="{2ED0CB65-D561-699B-C34B-BB93336B1171}"/>
              </a:ext>
            </a:extLst>
          </p:cNvPr>
          <p:cNvSpPr>
            <a:spLocks/>
          </p:cNvSpPr>
          <p:nvPr/>
        </p:nvSpPr>
        <p:spPr>
          <a:xfrm>
            <a:off x="7731814" y="2709787"/>
            <a:ext cx="182280" cy="182280"/>
          </a:xfrm>
          <a:prstGeom prst="ellipse">
            <a:avLst/>
          </a:prstGeom>
          <a:gradFill flip="none" rotWithShape="1">
            <a:gsLst>
              <a:gs pos="0">
                <a:srgbClr val="D8EEF0"/>
              </a:gs>
              <a:gs pos="66000">
                <a:schemeClr val="accent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IN" sz="1400"/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599CFBC8-5D25-6005-470B-01C922C5062E}"/>
              </a:ext>
            </a:extLst>
          </p:cNvPr>
          <p:cNvSpPr>
            <a:spLocks/>
          </p:cNvSpPr>
          <p:nvPr/>
        </p:nvSpPr>
        <p:spPr>
          <a:xfrm>
            <a:off x="3302898" y="2858380"/>
            <a:ext cx="182280" cy="182280"/>
          </a:xfrm>
          <a:prstGeom prst="ellipse">
            <a:avLst/>
          </a:prstGeom>
          <a:gradFill flip="none" rotWithShape="1">
            <a:gsLst>
              <a:gs pos="0">
                <a:srgbClr val="CCE7DE"/>
              </a:gs>
              <a:gs pos="50000">
                <a:schemeClr val="accent3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4" tIns="44807" rIns="89614" bIns="448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1400" dirty="0"/>
          </a:p>
        </p:txBody>
      </p:sp>
      <p:sp>
        <p:nvSpPr>
          <p:cNvPr id="88" name="Oval 87">
            <a:extLst>
              <a:ext uri="{FF2B5EF4-FFF2-40B4-BE49-F238E27FC236}">
                <a16:creationId xmlns:a16="http://schemas.microsoft.com/office/drawing/2014/main" id="{059D518B-132A-8837-6AFE-EA20C13C3149}"/>
              </a:ext>
            </a:extLst>
          </p:cNvPr>
          <p:cNvSpPr>
            <a:spLocks/>
          </p:cNvSpPr>
          <p:nvPr/>
        </p:nvSpPr>
        <p:spPr>
          <a:xfrm>
            <a:off x="2366021" y="2912671"/>
            <a:ext cx="182280" cy="182280"/>
          </a:xfrm>
          <a:prstGeom prst="ellipse">
            <a:avLst/>
          </a:prstGeom>
          <a:gradFill flip="none" rotWithShape="1">
            <a:gsLst>
              <a:gs pos="0">
                <a:srgbClr val="CCE7DE"/>
              </a:gs>
              <a:gs pos="50000">
                <a:schemeClr val="accent3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4" tIns="44807" rIns="89614" bIns="448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1400" dirty="0"/>
          </a:p>
        </p:txBody>
      </p:sp>
      <p:sp>
        <p:nvSpPr>
          <p:cNvPr id="89" name="Oval 88">
            <a:extLst>
              <a:ext uri="{FF2B5EF4-FFF2-40B4-BE49-F238E27FC236}">
                <a16:creationId xmlns:a16="http://schemas.microsoft.com/office/drawing/2014/main" id="{7BAEE27B-7B6B-B51D-3FC8-1902E8187712}"/>
              </a:ext>
            </a:extLst>
          </p:cNvPr>
          <p:cNvSpPr>
            <a:spLocks/>
          </p:cNvSpPr>
          <p:nvPr/>
        </p:nvSpPr>
        <p:spPr>
          <a:xfrm>
            <a:off x="2393271" y="2249860"/>
            <a:ext cx="182280" cy="182280"/>
          </a:xfrm>
          <a:prstGeom prst="ellipse">
            <a:avLst/>
          </a:prstGeom>
          <a:gradFill flip="none" rotWithShape="1">
            <a:gsLst>
              <a:gs pos="0">
                <a:srgbClr val="CCE7DE"/>
              </a:gs>
              <a:gs pos="50000">
                <a:schemeClr val="accent3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4" tIns="44807" rIns="89614" bIns="448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1400" dirty="0"/>
          </a:p>
        </p:txBody>
      </p:sp>
      <p:sp>
        <p:nvSpPr>
          <p:cNvPr id="90" name="Oval 89">
            <a:extLst>
              <a:ext uri="{FF2B5EF4-FFF2-40B4-BE49-F238E27FC236}">
                <a16:creationId xmlns:a16="http://schemas.microsoft.com/office/drawing/2014/main" id="{6D61E7FC-D86E-51FF-67CE-74A43C22DE5E}"/>
              </a:ext>
            </a:extLst>
          </p:cNvPr>
          <p:cNvSpPr>
            <a:spLocks/>
          </p:cNvSpPr>
          <p:nvPr/>
        </p:nvSpPr>
        <p:spPr>
          <a:xfrm>
            <a:off x="3593881" y="3201166"/>
            <a:ext cx="182280" cy="182280"/>
          </a:xfrm>
          <a:prstGeom prst="ellipse">
            <a:avLst/>
          </a:prstGeom>
          <a:gradFill flip="none" rotWithShape="1">
            <a:gsLst>
              <a:gs pos="0">
                <a:srgbClr val="CCE7DE"/>
              </a:gs>
              <a:gs pos="50000">
                <a:schemeClr val="accent3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4" tIns="44807" rIns="89614" bIns="448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1400" dirty="0"/>
          </a:p>
        </p:txBody>
      </p:sp>
      <p:sp>
        <p:nvSpPr>
          <p:cNvPr id="122" name="Oval 121">
            <a:extLst>
              <a:ext uri="{FF2B5EF4-FFF2-40B4-BE49-F238E27FC236}">
                <a16:creationId xmlns:a16="http://schemas.microsoft.com/office/drawing/2014/main" id="{F96D48FD-CA32-09B2-8971-7118069DBA59}"/>
              </a:ext>
            </a:extLst>
          </p:cNvPr>
          <p:cNvSpPr>
            <a:spLocks/>
          </p:cNvSpPr>
          <p:nvPr/>
        </p:nvSpPr>
        <p:spPr>
          <a:xfrm>
            <a:off x="3674094" y="3545672"/>
            <a:ext cx="182280" cy="182280"/>
          </a:xfrm>
          <a:prstGeom prst="ellipse">
            <a:avLst/>
          </a:prstGeom>
          <a:gradFill flip="none" rotWithShape="1">
            <a:gsLst>
              <a:gs pos="0">
                <a:srgbClr val="CCE7DE"/>
              </a:gs>
              <a:gs pos="50000">
                <a:schemeClr val="accent3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4" tIns="44807" rIns="89614" bIns="448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1400" dirty="0"/>
          </a:p>
        </p:txBody>
      </p:sp>
      <p:sp>
        <p:nvSpPr>
          <p:cNvPr id="123" name="Oval 122">
            <a:extLst>
              <a:ext uri="{FF2B5EF4-FFF2-40B4-BE49-F238E27FC236}">
                <a16:creationId xmlns:a16="http://schemas.microsoft.com/office/drawing/2014/main" id="{F2C80FF3-A99D-ACB2-6C47-0B51DAA4B980}"/>
              </a:ext>
            </a:extLst>
          </p:cNvPr>
          <p:cNvSpPr>
            <a:spLocks/>
          </p:cNvSpPr>
          <p:nvPr/>
        </p:nvSpPr>
        <p:spPr>
          <a:xfrm>
            <a:off x="3660802" y="2546599"/>
            <a:ext cx="182280" cy="182280"/>
          </a:xfrm>
          <a:prstGeom prst="ellipse">
            <a:avLst/>
          </a:prstGeom>
          <a:gradFill flip="none" rotWithShape="1">
            <a:gsLst>
              <a:gs pos="0">
                <a:srgbClr val="CCE7DE"/>
              </a:gs>
              <a:gs pos="50000">
                <a:schemeClr val="accent3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4" tIns="44807" rIns="89614" bIns="448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1400" dirty="0"/>
          </a:p>
        </p:txBody>
      </p:sp>
      <p:sp>
        <p:nvSpPr>
          <p:cNvPr id="124" name="Oval 123">
            <a:extLst>
              <a:ext uri="{FF2B5EF4-FFF2-40B4-BE49-F238E27FC236}">
                <a16:creationId xmlns:a16="http://schemas.microsoft.com/office/drawing/2014/main" id="{9581310D-F481-C6C8-9879-DBDFD51D9C4A}"/>
              </a:ext>
            </a:extLst>
          </p:cNvPr>
          <p:cNvSpPr>
            <a:spLocks/>
          </p:cNvSpPr>
          <p:nvPr/>
        </p:nvSpPr>
        <p:spPr>
          <a:xfrm>
            <a:off x="3537141" y="2155572"/>
            <a:ext cx="182280" cy="182280"/>
          </a:xfrm>
          <a:prstGeom prst="ellipse">
            <a:avLst/>
          </a:prstGeom>
          <a:gradFill flip="none" rotWithShape="1">
            <a:gsLst>
              <a:gs pos="0">
                <a:srgbClr val="CCE7DE"/>
              </a:gs>
              <a:gs pos="50000">
                <a:schemeClr val="accent3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4" tIns="44807" rIns="89614" bIns="448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1400" dirty="0"/>
          </a:p>
        </p:txBody>
      </p:sp>
      <p:sp>
        <p:nvSpPr>
          <p:cNvPr id="125" name="Oval 124">
            <a:extLst>
              <a:ext uri="{FF2B5EF4-FFF2-40B4-BE49-F238E27FC236}">
                <a16:creationId xmlns:a16="http://schemas.microsoft.com/office/drawing/2014/main" id="{B101505C-0B14-ADEC-1614-161ECFDDEFE1}"/>
              </a:ext>
            </a:extLst>
          </p:cNvPr>
          <p:cNvSpPr>
            <a:spLocks/>
          </p:cNvSpPr>
          <p:nvPr/>
        </p:nvSpPr>
        <p:spPr>
          <a:xfrm>
            <a:off x="4160128" y="2529025"/>
            <a:ext cx="182280" cy="182280"/>
          </a:xfrm>
          <a:prstGeom prst="ellipse">
            <a:avLst/>
          </a:prstGeom>
          <a:gradFill flip="none" rotWithShape="1">
            <a:gsLst>
              <a:gs pos="0">
                <a:srgbClr val="B6C0C1"/>
              </a:gs>
              <a:gs pos="57000">
                <a:schemeClr val="accent4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IN" sz="1400" dirty="0"/>
          </a:p>
        </p:txBody>
      </p:sp>
      <p:sp>
        <p:nvSpPr>
          <p:cNvPr id="126" name="Oval 125">
            <a:extLst>
              <a:ext uri="{FF2B5EF4-FFF2-40B4-BE49-F238E27FC236}">
                <a16:creationId xmlns:a16="http://schemas.microsoft.com/office/drawing/2014/main" id="{A1CA4EEB-1949-7986-5121-1C46E2B0F2E3}"/>
              </a:ext>
            </a:extLst>
          </p:cNvPr>
          <p:cNvSpPr>
            <a:spLocks/>
          </p:cNvSpPr>
          <p:nvPr/>
        </p:nvSpPr>
        <p:spPr>
          <a:xfrm>
            <a:off x="3917352" y="2671357"/>
            <a:ext cx="182280" cy="182280"/>
          </a:xfrm>
          <a:prstGeom prst="ellipse">
            <a:avLst/>
          </a:prstGeom>
          <a:gradFill flip="none" rotWithShape="1">
            <a:gsLst>
              <a:gs pos="0">
                <a:srgbClr val="D8EEF0"/>
              </a:gs>
              <a:gs pos="66000">
                <a:schemeClr val="accent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4" tIns="44807" rIns="89614" bIns="448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1400" dirty="0"/>
          </a:p>
        </p:txBody>
      </p:sp>
      <p:sp>
        <p:nvSpPr>
          <p:cNvPr id="127" name="Oval 126">
            <a:extLst>
              <a:ext uri="{FF2B5EF4-FFF2-40B4-BE49-F238E27FC236}">
                <a16:creationId xmlns:a16="http://schemas.microsoft.com/office/drawing/2014/main" id="{7BC437EB-4F6B-547C-2035-9B36F3D7D760}"/>
              </a:ext>
            </a:extLst>
          </p:cNvPr>
          <p:cNvSpPr>
            <a:spLocks/>
          </p:cNvSpPr>
          <p:nvPr/>
        </p:nvSpPr>
        <p:spPr>
          <a:xfrm>
            <a:off x="2560664" y="3510191"/>
            <a:ext cx="182280" cy="182280"/>
          </a:xfrm>
          <a:prstGeom prst="ellipse">
            <a:avLst/>
          </a:prstGeom>
          <a:gradFill flip="none" rotWithShape="1">
            <a:gsLst>
              <a:gs pos="0">
                <a:srgbClr val="CCE7DE"/>
              </a:gs>
              <a:gs pos="50000">
                <a:schemeClr val="accent3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4" tIns="44807" rIns="89614" bIns="448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1400"/>
          </a:p>
        </p:txBody>
      </p:sp>
      <p:sp>
        <p:nvSpPr>
          <p:cNvPr id="128" name="Oval 127">
            <a:extLst>
              <a:ext uri="{FF2B5EF4-FFF2-40B4-BE49-F238E27FC236}">
                <a16:creationId xmlns:a16="http://schemas.microsoft.com/office/drawing/2014/main" id="{207A2836-B199-DA00-6599-98C61092D2E0}"/>
              </a:ext>
            </a:extLst>
          </p:cNvPr>
          <p:cNvSpPr>
            <a:spLocks/>
          </p:cNvSpPr>
          <p:nvPr/>
        </p:nvSpPr>
        <p:spPr>
          <a:xfrm>
            <a:off x="5137510" y="3027145"/>
            <a:ext cx="182280" cy="182280"/>
          </a:xfrm>
          <a:prstGeom prst="ellipse">
            <a:avLst/>
          </a:prstGeom>
          <a:gradFill flip="none" rotWithShape="1">
            <a:gsLst>
              <a:gs pos="0">
                <a:srgbClr val="D8EEF0"/>
              </a:gs>
              <a:gs pos="66000">
                <a:schemeClr val="accent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IN" sz="1400"/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A55EEE7A-C756-454D-803D-D2DAC7FF3ADE}"/>
              </a:ext>
            </a:extLst>
          </p:cNvPr>
          <p:cNvSpPr>
            <a:spLocks/>
          </p:cNvSpPr>
          <p:nvPr/>
        </p:nvSpPr>
        <p:spPr>
          <a:xfrm>
            <a:off x="4167709" y="3068136"/>
            <a:ext cx="182280" cy="182280"/>
          </a:xfrm>
          <a:prstGeom prst="ellipse">
            <a:avLst/>
          </a:prstGeom>
          <a:gradFill flip="none" rotWithShape="1">
            <a:gsLst>
              <a:gs pos="0">
                <a:srgbClr val="B6C0C1"/>
              </a:gs>
              <a:gs pos="57000">
                <a:schemeClr val="accent4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4" tIns="44807" rIns="89614" bIns="448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1400"/>
          </a:p>
        </p:txBody>
      </p:sp>
      <p:cxnSp>
        <p:nvCxnSpPr>
          <p:cNvPr id="22" name="Line">
            <a:extLst>
              <a:ext uri="{FF2B5EF4-FFF2-40B4-BE49-F238E27FC236}">
                <a16:creationId xmlns:a16="http://schemas.microsoft.com/office/drawing/2014/main" id="{37D7C8D7-4608-4658-7885-7CB8C6710291}"/>
              </a:ext>
            </a:extLst>
          </p:cNvPr>
          <p:cNvCxnSpPr/>
          <p:nvPr/>
        </p:nvCxnSpPr>
        <p:spPr>
          <a:xfrm flipH="1">
            <a:off x="2928023" y="1647272"/>
            <a:ext cx="32310" cy="4019152"/>
          </a:xfrm>
          <a:prstGeom prst="line">
            <a:avLst/>
          </a:prstGeom>
          <a:ln w="6350">
            <a:solidFill>
              <a:schemeClr val="accent5"/>
            </a:solidFill>
            <a:prstDash val="sysDot"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Line">
            <a:extLst>
              <a:ext uri="{FF2B5EF4-FFF2-40B4-BE49-F238E27FC236}">
                <a16:creationId xmlns:a16="http://schemas.microsoft.com/office/drawing/2014/main" id="{64830D8E-2E4D-8236-8B17-1BD06B972D4A}"/>
              </a:ext>
            </a:extLst>
          </p:cNvPr>
          <p:cNvCxnSpPr/>
          <p:nvPr/>
        </p:nvCxnSpPr>
        <p:spPr>
          <a:xfrm flipH="1">
            <a:off x="4986086" y="1647272"/>
            <a:ext cx="32310" cy="4019152"/>
          </a:xfrm>
          <a:prstGeom prst="line">
            <a:avLst/>
          </a:prstGeom>
          <a:ln w="6350">
            <a:solidFill>
              <a:schemeClr val="accent5"/>
            </a:solidFill>
            <a:prstDash val="sysDot"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Line">
            <a:extLst>
              <a:ext uri="{FF2B5EF4-FFF2-40B4-BE49-F238E27FC236}">
                <a16:creationId xmlns:a16="http://schemas.microsoft.com/office/drawing/2014/main" id="{B2C5BDEC-0ED5-36DF-D1FB-2FC35F0ABB9D}"/>
              </a:ext>
            </a:extLst>
          </p:cNvPr>
          <p:cNvCxnSpPr/>
          <p:nvPr/>
        </p:nvCxnSpPr>
        <p:spPr>
          <a:xfrm flipH="1">
            <a:off x="7045117" y="1647272"/>
            <a:ext cx="32310" cy="4019152"/>
          </a:xfrm>
          <a:prstGeom prst="line">
            <a:avLst/>
          </a:prstGeom>
          <a:ln w="6350">
            <a:solidFill>
              <a:schemeClr val="accent5"/>
            </a:solidFill>
            <a:prstDash val="sysDot"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Line">
            <a:extLst>
              <a:ext uri="{FF2B5EF4-FFF2-40B4-BE49-F238E27FC236}">
                <a16:creationId xmlns:a16="http://schemas.microsoft.com/office/drawing/2014/main" id="{D03D4A33-2F88-EA65-A67D-81D9379EF9F8}"/>
              </a:ext>
            </a:extLst>
          </p:cNvPr>
          <p:cNvCxnSpPr/>
          <p:nvPr/>
        </p:nvCxnSpPr>
        <p:spPr>
          <a:xfrm flipH="1">
            <a:off x="9066290" y="1647272"/>
            <a:ext cx="32310" cy="4019152"/>
          </a:xfrm>
          <a:prstGeom prst="line">
            <a:avLst/>
          </a:prstGeom>
          <a:ln w="6350">
            <a:solidFill>
              <a:schemeClr val="accent5"/>
            </a:solidFill>
            <a:prstDash val="sysDot"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>
            <a:extLst>
              <a:ext uri="{FF2B5EF4-FFF2-40B4-BE49-F238E27FC236}">
                <a16:creationId xmlns:a16="http://schemas.microsoft.com/office/drawing/2014/main" id="{EDBBA9B2-A6BF-90DF-76F5-63EE1E70227B}"/>
              </a:ext>
            </a:extLst>
          </p:cNvPr>
          <p:cNvSpPr txBox="1">
            <a:spLocks/>
          </p:cNvSpPr>
          <p:nvPr/>
        </p:nvSpPr>
        <p:spPr>
          <a:xfrm>
            <a:off x="1148250" y="1201626"/>
            <a:ext cx="1757294" cy="355355"/>
          </a:xfrm>
          <a:prstGeom prst="rect">
            <a:avLst/>
          </a:prstGeom>
        </p:spPr>
        <p:txBody>
          <a:bodyPr anchor="ctr"/>
          <a:lstStyle>
            <a:lvl1pPr algn="l" defTabSz="182843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457152">
              <a:buClr>
                <a:srgbClr val="0070C0"/>
              </a:buClr>
              <a:defRPr/>
            </a:pPr>
            <a:r>
              <a:rPr lang="en-IN" sz="1400" b="1" dirty="0">
                <a:solidFill>
                  <a:schemeClr val="bg1"/>
                </a:solidFill>
                <a:latin typeface="+mn-lt"/>
                <a:ea typeface="Open Sans ExtraBold" charset="0"/>
                <a:cs typeface="Open Sans ExtraBold" charset="0"/>
              </a:rPr>
              <a:t>INSERT</a:t>
            </a:r>
            <a:r>
              <a:rPr lang="en-IN" sz="1400" b="1" dirty="0">
                <a:solidFill>
                  <a:schemeClr val="bg1"/>
                </a:solidFill>
                <a:latin typeface="+mn-lt"/>
              </a:rPr>
              <a:t> TITLE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51CF1DD0-8781-8725-1890-6FA418B075B5}"/>
              </a:ext>
            </a:extLst>
          </p:cNvPr>
          <p:cNvSpPr txBox="1">
            <a:spLocks/>
          </p:cNvSpPr>
          <p:nvPr/>
        </p:nvSpPr>
        <p:spPr>
          <a:xfrm>
            <a:off x="3218377" y="1201626"/>
            <a:ext cx="1757294" cy="355355"/>
          </a:xfrm>
          <a:prstGeom prst="rect">
            <a:avLst/>
          </a:prstGeom>
        </p:spPr>
        <p:txBody>
          <a:bodyPr anchor="ctr"/>
          <a:lstStyle>
            <a:lvl1pPr algn="l" defTabSz="182843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457152">
              <a:buClr>
                <a:srgbClr val="0070C0"/>
              </a:buClr>
              <a:defRPr/>
            </a:pPr>
            <a:r>
              <a:rPr lang="en-IN" sz="1400" b="1" dirty="0">
                <a:solidFill>
                  <a:schemeClr val="bg1"/>
                </a:solidFill>
                <a:latin typeface="+mn-lt"/>
                <a:ea typeface="Open Sans ExtraBold" charset="0"/>
                <a:cs typeface="Open Sans ExtraBold" charset="0"/>
              </a:rPr>
              <a:t>INSERT</a:t>
            </a:r>
            <a:r>
              <a:rPr lang="en-IN" sz="1400" b="1" dirty="0">
                <a:solidFill>
                  <a:schemeClr val="bg1"/>
                </a:solidFill>
                <a:latin typeface="+mn-lt"/>
              </a:rPr>
              <a:t> TITL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A475854B-3329-6BF0-F2F2-D9846B2D611F}"/>
              </a:ext>
            </a:extLst>
          </p:cNvPr>
          <p:cNvSpPr txBox="1">
            <a:spLocks/>
          </p:cNvSpPr>
          <p:nvPr/>
        </p:nvSpPr>
        <p:spPr>
          <a:xfrm>
            <a:off x="5274860" y="1201626"/>
            <a:ext cx="1757294" cy="355355"/>
          </a:xfrm>
          <a:prstGeom prst="rect">
            <a:avLst/>
          </a:prstGeom>
        </p:spPr>
        <p:txBody>
          <a:bodyPr anchor="ctr"/>
          <a:lstStyle>
            <a:lvl1pPr algn="l" defTabSz="182843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457152">
              <a:buClr>
                <a:srgbClr val="0070C0"/>
              </a:buClr>
              <a:defRPr/>
            </a:pPr>
            <a:r>
              <a:rPr lang="en-IN" sz="1400" b="1" dirty="0">
                <a:solidFill>
                  <a:schemeClr val="bg1"/>
                </a:solidFill>
                <a:latin typeface="+mn-lt"/>
                <a:ea typeface="Open Sans ExtraBold" charset="0"/>
                <a:cs typeface="Open Sans ExtraBold" charset="0"/>
              </a:rPr>
              <a:t>INSERT</a:t>
            </a:r>
            <a:r>
              <a:rPr lang="en-IN" sz="1400" b="1" dirty="0">
                <a:solidFill>
                  <a:schemeClr val="bg1"/>
                </a:solidFill>
                <a:latin typeface="+mn-lt"/>
              </a:rPr>
              <a:t> TITLE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913BC3FB-7795-D56C-4700-4052FD161BC7}"/>
              </a:ext>
            </a:extLst>
          </p:cNvPr>
          <p:cNvSpPr txBox="1">
            <a:spLocks/>
          </p:cNvSpPr>
          <p:nvPr/>
        </p:nvSpPr>
        <p:spPr>
          <a:xfrm>
            <a:off x="7326105" y="1201626"/>
            <a:ext cx="1757294" cy="355355"/>
          </a:xfrm>
          <a:prstGeom prst="rect">
            <a:avLst/>
          </a:prstGeom>
        </p:spPr>
        <p:txBody>
          <a:bodyPr anchor="ctr"/>
          <a:lstStyle>
            <a:lvl1pPr algn="l" defTabSz="182843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457152">
              <a:buClr>
                <a:srgbClr val="0070C0"/>
              </a:buClr>
              <a:defRPr/>
            </a:pPr>
            <a:r>
              <a:rPr lang="en-IN" sz="1400" b="1" dirty="0">
                <a:solidFill>
                  <a:schemeClr val="bg1"/>
                </a:solidFill>
                <a:latin typeface="+mn-lt"/>
                <a:ea typeface="Open Sans ExtraBold" charset="0"/>
                <a:cs typeface="Open Sans ExtraBold" charset="0"/>
              </a:rPr>
              <a:t>INSERT</a:t>
            </a:r>
            <a:r>
              <a:rPr lang="en-IN" sz="1400" b="1" dirty="0">
                <a:solidFill>
                  <a:schemeClr val="bg1"/>
                </a:solidFill>
                <a:latin typeface="+mn-lt"/>
              </a:rPr>
              <a:t> TITLE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72B41ACB-D794-030A-7071-0F98E4B35F3E}"/>
              </a:ext>
            </a:extLst>
          </p:cNvPr>
          <p:cNvSpPr txBox="1">
            <a:spLocks/>
          </p:cNvSpPr>
          <p:nvPr/>
        </p:nvSpPr>
        <p:spPr>
          <a:xfrm>
            <a:off x="9349047" y="1201626"/>
            <a:ext cx="1757294" cy="355355"/>
          </a:xfrm>
          <a:prstGeom prst="rect">
            <a:avLst/>
          </a:prstGeom>
        </p:spPr>
        <p:txBody>
          <a:bodyPr anchor="ctr"/>
          <a:lstStyle>
            <a:lvl1pPr algn="l" defTabSz="182843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457152">
              <a:buClr>
                <a:srgbClr val="0070C0"/>
              </a:buClr>
              <a:defRPr/>
            </a:pPr>
            <a:r>
              <a:rPr lang="en-IN" sz="1400" b="1" dirty="0">
                <a:solidFill>
                  <a:schemeClr val="bg1"/>
                </a:solidFill>
                <a:latin typeface="+mn-lt"/>
                <a:ea typeface="Open Sans ExtraBold" charset="0"/>
                <a:cs typeface="Open Sans ExtraBold" charset="0"/>
              </a:rPr>
              <a:t>INSERT</a:t>
            </a:r>
            <a:r>
              <a:rPr lang="en-IN" sz="1400" b="1" dirty="0">
                <a:solidFill>
                  <a:schemeClr val="bg1"/>
                </a:solidFill>
                <a:latin typeface="+mn-lt"/>
              </a:rPr>
              <a:t> TITLE</a:t>
            </a:r>
          </a:p>
        </p:txBody>
      </p:sp>
      <p:sp>
        <p:nvSpPr>
          <p:cNvPr id="17" name="Inhaltsplatzhalter 4">
            <a:extLst>
              <a:ext uri="{FF2B5EF4-FFF2-40B4-BE49-F238E27FC236}">
                <a16:creationId xmlns:a16="http://schemas.microsoft.com/office/drawing/2014/main" id="{BF8BCAAA-7FA3-AC66-EAE5-9DE9C04D36B9}"/>
              </a:ext>
            </a:extLst>
          </p:cNvPr>
          <p:cNvSpPr txBox="1">
            <a:spLocks/>
          </p:cNvSpPr>
          <p:nvPr/>
        </p:nvSpPr>
        <p:spPr>
          <a:xfrm flipH="1">
            <a:off x="1052121" y="4521997"/>
            <a:ext cx="1800729" cy="89255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400" b="1" dirty="0">
                <a:solidFill>
                  <a:schemeClr val="accent1"/>
                </a:solidFill>
                <a:latin typeface="+mn-lt"/>
              </a:rPr>
              <a:t>TITLE GOES HERE</a:t>
            </a:r>
            <a:br>
              <a:rPr lang="en-US" sz="1200" b="1" dirty="0">
                <a:solidFill>
                  <a:schemeClr val="accent1"/>
                </a:solidFill>
                <a:latin typeface="+mn-lt"/>
              </a:rPr>
            </a:br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18" name="Inhaltsplatzhalter 4">
            <a:extLst>
              <a:ext uri="{FF2B5EF4-FFF2-40B4-BE49-F238E27FC236}">
                <a16:creationId xmlns:a16="http://schemas.microsoft.com/office/drawing/2014/main" id="{03C17833-C1E7-5DA6-4054-C7FCB0FFA752}"/>
              </a:ext>
            </a:extLst>
          </p:cNvPr>
          <p:cNvSpPr txBox="1">
            <a:spLocks/>
          </p:cNvSpPr>
          <p:nvPr/>
        </p:nvSpPr>
        <p:spPr>
          <a:xfrm flipH="1">
            <a:off x="3059488" y="4521997"/>
            <a:ext cx="1800729" cy="89255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400" b="1" dirty="0">
                <a:solidFill>
                  <a:schemeClr val="accent2"/>
                </a:solidFill>
                <a:latin typeface="+mn-lt"/>
              </a:rPr>
              <a:t>TITLE GOES HERE</a:t>
            </a:r>
            <a:br>
              <a:rPr lang="en-US" sz="1200" b="1" dirty="0">
                <a:solidFill>
                  <a:schemeClr val="accent1"/>
                </a:solidFill>
                <a:latin typeface="+mn-lt"/>
              </a:rPr>
            </a:br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19" name="Inhaltsplatzhalter 4">
            <a:extLst>
              <a:ext uri="{FF2B5EF4-FFF2-40B4-BE49-F238E27FC236}">
                <a16:creationId xmlns:a16="http://schemas.microsoft.com/office/drawing/2014/main" id="{D8616762-304B-EAF8-6E69-9240641EB4E3}"/>
              </a:ext>
            </a:extLst>
          </p:cNvPr>
          <p:cNvSpPr txBox="1">
            <a:spLocks/>
          </p:cNvSpPr>
          <p:nvPr/>
        </p:nvSpPr>
        <p:spPr>
          <a:xfrm flipH="1">
            <a:off x="5131392" y="4521997"/>
            <a:ext cx="1800729" cy="89255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400" b="1" dirty="0">
                <a:solidFill>
                  <a:schemeClr val="accent3"/>
                </a:solidFill>
                <a:latin typeface="+mn-lt"/>
              </a:rPr>
              <a:t>TITLE GOES HERE</a:t>
            </a:r>
            <a:br>
              <a:rPr lang="en-US" sz="1200" b="1" dirty="0">
                <a:solidFill>
                  <a:schemeClr val="accent1"/>
                </a:solidFill>
                <a:latin typeface="+mn-lt"/>
              </a:rPr>
            </a:br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20" name="Inhaltsplatzhalter 4">
            <a:extLst>
              <a:ext uri="{FF2B5EF4-FFF2-40B4-BE49-F238E27FC236}">
                <a16:creationId xmlns:a16="http://schemas.microsoft.com/office/drawing/2014/main" id="{B775BF75-2B26-A0E4-D00B-5ECF93AFB638}"/>
              </a:ext>
            </a:extLst>
          </p:cNvPr>
          <p:cNvSpPr txBox="1">
            <a:spLocks/>
          </p:cNvSpPr>
          <p:nvPr/>
        </p:nvSpPr>
        <p:spPr>
          <a:xfrm flipH="1">
            <a:off x="7143152" y="4521997"/>
            <a:ext cx="1800729" cy="89255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400" b="1" dirty="0">
                <a:solidFill>
                  <a:schemeClr val="accent4"/>
                </a:solidFill>
                <a:latin typeface="+mn-lt"/>
              </a:rPr>
              <a:t>TITLE GOES HERE</a:t>
            </a:r>
            <a:br>
              <a:rPr lang="en-US" sz="1200" b="1" dirty="0">
                <a:solidFill>
                  <a:schemeClr val="accent1"/>
                </a:solidFill>
                <a:latin typeface="+mn-lt"/>
              </a:rPr>
            </a:br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21" name="Inhaltsplatzhalter 4">
            <a:extLst>
              <a:ext uri="{FF2B5EF4-FFF2-40B4-BE49-F238E27FC236}">
                <a16:creationId xmlns:a16="http://schemas.microsoft.com/office/drawing/2014/main" id="{2540F05D-BC46-0DB6-2B4B-C255001DF749}"/>
              </a:ext>
            </a:extLst>
          </p:cNvPr>
          <p:cNvSpPr txBox="1">
            <a:spLocks/>
          </p:cNvSpPr>
          <p:nvPr/>
        </p:nvSpPr>
        <p:spPr>
          <a:xfrm flipH="1">
            <a:off x="9223181" y="4521997"/>
            <a:ext cx="1800729" cy="89255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400" b="1" dirty="0">
                <a:solidFill>
                  <a:schemeClr val="accent5"/>
                </a:solidFill>
                <a:latin typeface="+mn-lt"/>
              </a:rPr>
              <a:t>TITLE GOES HERE</a:t>
            </a:r>
            <a:br>
              <a:rPr lang="en-US" sz="1200" b="1" dirty="0">
                <a:solidFill>
                  <a:schemeClr val="accent1"/>
                </a:solidFill>
                <a:latin typeface="+mn-lt"/>
              </a:rPr>
            </a:br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</p:spTree>
    <p:extLst>
      <p:ext uri="{BB962C8B-B14F-4D97-AF65-F5344CB8AC3E}">
        <p14:creationId xmlns:p14="http://schemas.microsoft.com/office/powerpoint/2010/main" val="2404581159"/>
      </p:ext>
    </p:extLst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C934A0-E945-6556-0681-CF9A69A99E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8E850B7B-5145-498B-7423-3134F2D5E2B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E850B7B-5145-498B-7423-3134F2D5E2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CA7EDDA-AC6B-928A-5A22-0F4A796096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Funnel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5C527BFD-7B53-D537-370F-47DC7EE93333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91</a:t>
            </a:fld>
            <a:endParaRPr lang="en-US" sz="1200" dirty="0">
              <a:solidFill>
                <a:schemeClr val="bg1"/>
              </a:solidFill>
            </a:endParaRPr>
          </a:p>
        </p:txBody>
      </p:sp>
      <p:grpSp>
        <p:nvGrpSpPr>
          <p:cNvPr id="10" name="กลุ่ม 25">
            <a:extLst>
              <a:ext uri="{FF2B5EF4-FFF2-40B4-BE49-F238E27FC236}">
                <a16:creationId xmlns:a16="http://schemas.microsoft.com/office/drawing/2014/main" id="{DD571494-BCFD-96BF-5DC7-02EF72F1C7A4}"/>
              </a:ext>
            </a:extLst>
          </p:cNvPr>
          <p:cNvGrpSpPr/>
          <p:nvPr/>
        </p:nvGrpSpPr>
        <p:grpSpPr>
          <a:xfrm>
            <a:off x="3158156" y="1093894"/>
            <a:ext cx="5474658" cy="4860796"/>
            <a:chOff x="3814763" y="3810000"/>
            <a:chExt cx="9018587" cy="8007351"/>
          </a:xfrm>
        </p:grpSpPr>
        <p:sp>
          <p:nvSpPr>
            <p:cNvPr id="110" name="Oval 6">
              <a:extLst>
                <a:ext uri="{FF2B5EF4-FFF2-40B4-BE49-F238E27FC236}">
                  <a16:creationId xmlns:a16="http://schemas.microsoft.com/office/drawing/2014/main" id="{D9377C49-040E-2517-42D3-8BFAD4D350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14763" y="3810000"/>
              <a:ext cx="9018587" cy="86042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h-TH" sz="1677"/>
            </a:p>
          </p:txBody>
        </p:sp>
        <p:sp>
          <p:nvSpPr>
            <p:cNvPr id="111" name="Freeform 7">
              <a:extLst>
                <a:ext uri="{FF2B5EF4-FFF2-40B4-BE49-F238E27FC236}">
                  <a16:creationId xmlns:a16="http://schemas.microsoft.com/office/drawing/2014/main" id="{5CAFB536-D469-8289-81E0-01A0AFE562CE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6813" y="7720013"/>
              <a:ext cx="4154487" cy="1646238"/>
            </a:xfrm>
            <a:custGeom>
              <a:avLst/>
              <a:gdLst>
                <a:gd name="T0" fmla="*/ 189 w 222"/>
                <a:gd name="T1" fmla="*/ 87 h 88"/>
                <a:gd name="T2" fmla="*/ 222 w 222"/>
                <a:gd name="T3" fmla="*/ 1 h 88"/>
                <a:gd name="T4" fmla="*/ 120 w 222"/>
                <a:gd name="T5" fmla="*/ 3 h 88"/>
                <a:gd name="T6" fmla="*/ 0 w 222"/>
                <a:gd name="T7" fmla="*/ 0 h 88"/>
                <a:gd name="T8" fmla="*/ 33 w 222"/>
                <a:gd name="T9" fmla="*/ 86 h 88"/>
                <a:gd name="T10" fmla="*/ 121 w 222"/>
                <a:gd name="T11" fmla="*/ 88 h 88"/>
                <a:gd name="T12" fmla="*/ 189 w 222"/>
                <a:gd name="T13" fmla="*/ 87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2" h="88">
                  <a:moveTo>
                    <a:pt x="189" y="87"/>
                  </a:moveTo>
                  <a:cubicBezTo>
                    <a:pt x="197" y="56"/>
                    <a:pt x="208" y="27"/>
                    <a:pt x="222" y="1"/>
                  </a:cubicBezTo>
                  <a:cubicBezTo>
                    <a:pt x="189" y="2"/>
                    <a:pt x="155" y="3"/>
                    <a:pt x="120" y="3"/>
                  </a:cubicBezTo>
                  <a:cubicBezTo>
                    <a:pt x="79" y="3"/>
                    <a:pt x="39" y="2"/>
                    <a:pt x="0" y="0"/>
                  </a:cubicBezTo>
                  <a:cubicBezTo>
                    <a:pt x="14" y="26"/>
                    <a:pt x="25" y="55"/>
                    <a:pt x="33" y="86"/>
                  </a:cubicBezTo>
                  <a:cubicBezTo>
                    <a:pt x="62" y="87"/>
                    <a:pt x="91" y="88"/>
                    <a:pt x="121" y="88"/>
                  </a:cubicBezTo>
                  <a:cubicBezTo>
                    <a:pt x="144" y="88"/>
                    <a:pt x="166" y="87"/>
                    <a:pt x="189" y="87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h-TH" sz="1677"/>
            </a:p>
          </p:txBody>
        </p:sp>
        <p:sp>
          <p:nvSpPr>
            <p:cNvPr id="112" name="Freeform 8">
              <a:extLst>
                <a:ext uri="{FF2B5EF4-FFF2-40B4-BE49-F238E27FC236}">
                  <a16:creationId xmlns:a16="http://schemas.microsoft.com/office/drawing/2014/main" id="{DB41F66D-796B-E6B6-FC9D-EA708BDF8A5E}"/>
                </a:ext>
              </a:extLst>
            </p:cNvPr>
            <p:cNvSpPr>
              <a:spLocks/>
            </p:cNvSpPr>
            <p:nvPr/>
          </p:nvSpPr>
          <p:spPr bwMode="auto">
            <a:xfrm>
              <a:off x="6864350" y="9329738"/>
              <a:ext cx="2919412" cy="2487613"/>
            </a:xfrm>
            <a:custGeom>
              <a:avLst/>
              <a:gdLst>
                <a:gd name="T0" fmla="*/ 156 w 156"/>
                <a:gd name="T1" fmla="*/ 1 h 133"/>
                <a:gd name="T2" fmla="*/ 88 w 156"/>
                <a:gd name="T3" fmla="*/ 2 h 133"/>
                <a:gd name="T4" fmla="*/ 0 w 156"/>
                <a:gd name="T5" fmla="*/ 0 h 133"/>
                <a:gd name="T6" fmla="*/ 18 w 156"/>
                <a:gd name="T7" fmla="*/ 124 h 133"/>
                <a:gd name="T8" fmla="*/ 18 w 156"/>
                <a:gd name="T9" fmla="*/ 125 h 133"/>
                <a:gd name="T10" fmla="*/ 78 w 156"/>
                <a:gd name="T11" fmla="*/ 133 h 133"/>
                <a:gd name="T12" fmla="*/ 138 w 156"/>
                <a:gd name="T13" fmla="*/ 125 h 133"/>
                <a:gd name="T14" fmla="*/ 138 w 156"/>
                <a:gd name="T15" fmla="*/ 125 h 133"/>
                <a:gd name="T16" fmla="*/ 138 w 156"/>
                <a:gd name="T17" fmla="*/ 125 h 133"/>
                <a:gd name="T18" fmla="*/ 156 w 156"/>
                <a:gd name="T19" fmla="*/ 1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6" h="133">
                  <a:moveTo>
                    <a:pt x="156" y="1"/>
                  </a:moveTo>
                  <a:cubicBezTo>
                    <a:pt x="133" y="1"/>
                    <a:pt x="111" y="2"/>
                    <a:pt x="88" y="2"/>
                  </a:cubicBezTo>
                  <a:cubicBezTo>
                    <a:pt x="58" y="2"/>
                    <a:pt x="29" y="1"/>
                    <a:pt x="0" y="0"/>
                  </a:cubicBezTo>
                  <a:cubicBezTo>
                    <a:pt x="11" y="39"/>
                    <a:pt x="17" y="81"/>
                    <a:pt x="18" y="124"/>
                  </a:cubicBezTo>
                  <a:cubicBezTo>
                    <a:pt x="18" y="124"/>
                    <a:pt x="18" y="125"/>
                    <a:pt x="18" y="125"/>
                  </a:cubicBezTo>
                  <a:cubicBezTo>
                    <a:pt x="18" y="130"/>
                    <a:pt x="45" y="133"/>
                    <a:pt x="78" y="133"/>
                  </a:cubicBezTo>
                  <a:cubicBezTo>
                    <a:pt x="111" y="133"/>
                    <a:pt x="138" y="130"/>
                    <a:pt x="138" y="125"/>
                  </a:cubicBezTo>
                  <a:cubicBezTo>
                    <a:pt x="138" y="125"/>
                    <a:pt x="138" y="125"/>
                    <a:pt x="138" y="125"/>
                  </a:cubicBezTo>
                  <a:cubicBezTo>
                    <a:pt x="138" y="125"/>
                    <a:pt x="138" y="125"/>
                    <a:pt x="138" y="125"/>
                  </a:cubicBezTo>
                  <a:cubicBezTo>
                    <a:pt x="139" y="81"/>
                    <a:pt x="145" y="39"/>
                    <a:pt x="156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h-TH" sz="1677"/>
            </a:p>
          </p:txBody>
        </p:sp>
        <p:sp>
          <p:nvSpPr>
            <p:cNvPr id="113" name="Freeform 9">
              <a:extLst>
                <a:ext uri="{FF2B5EF4-FFF2-40B4-BE49-F238E27FC236}">
                  <a16:creationId xmlns:a16="http://schemas.microsoft.com/office/drawing/2014/main" id="{C8AF9FFA-77F6-052A-7461-630835DE2EA1}"/>
                </a:ext>
              </a:extLst>
            </p:cNvPr>
            <p:cNvSpPr>
              <a:spLocks/>
            </p:cNvSpPr>
            <p:nvPr/>
          </p:nvSpPr>
          <p:spPr bwMode="auto">
            <a:xfrm>
              <a:off x="5105400" y="6092825"/>
              <a:ext cx="6418262" cy="1684338"/>
            </a:xfrm>
            <a:custGeom>
              <a:avLst/>
              <a:gdLst>
                <a:gd name="T0" fmla="*/ 182 w 343"/>
                <a:gd name="T1" fmla="*/ 8 h 90"/>
                <a:gd name="T2" fmla="*/ 31 w 343"/>
                <a:gd name="T3" fmla="*/ 3 h 90"/>
                <a:gd name="T4" fmla="*/ 0 w 343"/>
                <a:gd name="T5" fmla="*/ 0 h 90"/>
                <a:gd name="T6" fmla="*/ 61 w 343"/>
                <a:gd name="T7" fmla="*/ 86 h 90"/>
                <a:gd name="T8" fmla="*/ 181 w 343"/>
                <a:gd name="T9" fmla="*/ 90 h 90"/>
                <a:gd name="T10" fmla="*/ 283 w 343"/>
                <a:gd name="T11" fmla="*/ 87 h 90"/>
                <a:gd name="T12" fmla="*/ 343 w 343"/>
                <a:gd name="T13" fmla="*/ 2 h 90"/>
                <a:gd name="T14" fmla="*/ 334 w 343"/>
                <a:gd name="T15" fmla="*/ 3 h 90"/>
                <a:gd name="T16" fmla="*/ 182 w 343"/>
                <a:gd name="T17" fmla="*/ 8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3" h="90">
                  <a:moveTo>
                    <a:pt x="182" y="8"/>
                  </a:moveTo>
                  <a:cubicBezTo>
                    <a:pt x="130" y="8"/>
                    <a:pt x="79" y="6"/>
                    <a:pt x="31" y="3"/>
                  </a:cubicBezTo>
                  <a:cubicBezTo>
                    <a:pt x="20" y="2"/>
                    <a:pt x="10" y="1"/>
                    <a:pt x="0" y="0"/>
                  </a:cubicBezTo>
                  <a:cubicBezTo>
                    <a:pt x="24" y="24"/>
                    <a:pt x="44" y="53"/>
                    <a:pt x="61" y="86"/>
                  </a:cubicBezTo>
                  <a:cubicBezTo>
                    <a:pt x="100" y="89"/>
                    <a:pt x="140" y="90"/>
                    <a:pt x="181" y="90"/>
                  </a:cubicBezTo>
                  <a:cubicBezTo>
                    <a:pt x="216" y="90"/>
                    <a:pt x="250" y="89"/>
                    <a:pt x="283" y="87"/>
                  </a:cubicBezTo>
                  <a:cubicBezTo>
                    <a:pt x="299" y="54"/>
                    <a:pt x="320" y="25"/>
                    <a:pt x="343" y="2"/>
                  </a:cubicBezTo>
                  <a:cubicBezTo>
                    <a:pt x="340" y="2"/>
                    <a:pt x="337" y="2"/>
                    <a:pt x="334" y="3"/>
                  </a:cubicBezTo>
                  <a:cubicBezTo>
                    <a:pt x="286" y="6"/>
                    <a:pt x="235" y="8"/>
                    <a:pt x="182" y="8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h-TH" sz="1677"/>
            </a:p>
          </p:txBody>
        </p:sp>
        <p:sp>
          <p:nvSpPr>
            <p:cNvPr id="114" name="Freeform 10">
              <a:extLst>
                <a:ext uri="{FF2B5EF4-FFF2-40B4-BE49-F238E27FC236}">
                  <a16:creationId xmlns:a16="http://schemas.microsoft.com/office/drawing/2014/main" id="{B090B89C-C28C-97CF-11F6-220D34610C99}"/>
                </a:ext>
              </a:extLst>
            </p:cNvPr>
            <p:cNvSpPr>
              <a:spLocks/>
            </p:cNvSpPr>
            <p:nvPr/>
          </p:nvSpPr>
          <p:spPr bwMode="auto">
            <a:xfrm>
              <a:off x="3814763" y="4352925"/>
              <a:ext cx="9018587" cy="1889125"/>
            </a:xfrm>
            <a:custGeom>
              <a:avLst/>
              <a:gdLst>
                <a:gd name="T0" fmla="*/ 100 w 482"/>
                <a:gd name="T1" fmla="*/ 96 h 101"/>
                <a:gd name="T2" fmla="*/ 251 w 482"/>
                <a:gd name="T3" fmla="*/ 101 h 101"/>
                <a:gd name="T4" fmla="*/ 403 w 482"/>
                <a:gd name="T5" fmla="*/ 96 h 101"/>
                <a:gd name="T6" fmla="*/ 412 w 482"/>
                <a:gd name="T7" fmla="*/ 95 h 101"/>
                <a:gd name="T8" fmla="*/ 482 w 482"/>
                <a:gd name="T9" fmla="*/ 45 h 101"/>
                <a:gd name="T10" fmla="*/ 482 w 482"/>
                <a:gd name="T11" fmla="*/ 1 h 101"/>
                <a:gd name="T12" fmla="*/ 480 w 482"/>
                <a:gd name="T13" fmla="*/ 1 h 101"/>
                <a:gd name="T14" fmla="*/ 241 w 482"/>
                <a:gd name="T15" fmla="*/ 20 h 101"/>
                <a:gd name="T16" fmla="*/ 1 w 482"/>
                <a:gd name="T17" fmla="*/ 0 h 101"/>
                <a:gd name="T18" fmla="*/ 0 w 482"/>
                <a:gd name="T19" fmla="*/ 0 h 101"/>
                <a:gd name="T20" fmla="*/ 0 w 482"/>
                <a:gd name="T21" fmla="*/ 44 h 101"/>
                <a:gd name="T22" fmla="*/ 69 w 482"/>
                <a:gd name="T23" fmla="*/ 93 h 101"/>
                <a:gd name="T24" fmla="*/ 100 w 482"/>
                <a:gd name="T25" fmla="*/ 96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101">
                  <a:moveTo>
                    <a:pt x="100" y="96"/>
                  </a:moveTo>
                  <a:cubicBezTo>
                    <a:pt x="148" y="99"/>
                    <a:pt x="199" y="101"/>
                    <a:pt x="251" y="101"/>
                  </a:cubicBezTo>
                  <a:cubicBezTo>
                    <a:pt x="304" y="101"/>
                    <a:pt x="355" y="99"/>
                    <a:pt x="403" y="96"/>
                  </a:cubicBezTo>
                  <a:cubicBezTo>
                    <a:pt x="406" y="95"/>
                    <a:pt x="409" y="95"/>
                    <a:pt x="412" y="95"/>
                  </a:cubicBezTo>
                  <a:cubicBezTo>
                    <a:pt x="433" y="73"/>
                    <a:pt x="457" y="57"/>
                    <a:pt x="482" y="45"/>
                  </a:cubicBezTo>
                  <a:cubicBezTo>
                    <a:pt x="482" y="1"/>
                    <a:pt x="482" y="1"/>
                    <a:pt x="482" y="1"/>
                  </a:cubicBezTo>
                  <a:cubicBezTo>
                    <a:pt x="480" y="1"/>
                    <a:pt x="480" y="1"/>
                    <a:pt x="480" y="1"/>
                  </a:cubicBezTo>
                  <a:cubicBezTo>
                    <a:pt x="465" y="12"/>
                    <a:pt x="364" y="20"/>
                    <a:pt x="241" y="20"/>
                  </a:cubicBezTo>
                  <a:cubicBezTo>
                    <a:pt x="115" y="20"/>
                    <a:pt x="12" y="1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25" y="55"/>
                    <a:pt x="48" y="72"/>
                    <a:pt x="69" y="93"/>
                  </a:cubicBezTo>
                  <a:cubicBezTo>
                    <a:pt x="79" y="94"/>
                    <a:pt x="89" y="95"/>
                    <a:pt x="100" y="96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h-TH" sz="1677"/>
            </a:p>
          </p:txBody>
        </p:sp>
      </p:grpSp>
      <p:cxnSp>
        <p:nvCxnSpPr>
          <p:cNvPr id="11" name="Line">
            <a:extLst>
              <a:ext uri="{FF2B5EF4-FFF2-40B4-BE49-F238E27FC236}">
                <a16:creationId xmlns:a16="http://schemas.microsoft.com/office/drawing/2014/main" id="{5B034149-7154-9453-2D53-08D6D9946E00}"/>
              </a:ext>
            </a:extLst>
          </p:cNvPr>
          <p:cNvCxnSpPr/>
          <p:nvPr/>
        </p:nvCxnSpPr>
        <p:spPr>
          <a:xfrm flipH="1">
            <a:off x="6364456" y="2089363"/>
            <a:ext cx="3510297" cy="23138"/>
          </a:xfrm>
          <a:prstGeom prst="line">
            <a:avLst/>
          </a:prstGeom>
          <a:ln w="6350">
            <a:solidFill>
              <a:schemeClr val="accent6"/>
            </a:solidFill>
            <a:prstDash val="sysDot"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Line">
            <a:extLst>
              <a:ext uri="{FF2B5EF4-FFF2-40B4-BE49-F238E27FC236}">
                <a16:creationId xmlns:a16="http://schemas.microsoft.com/office/drawing/2014/main" id="{A720D8EE-A0E5-FF10-0C6C-6965BAD8875D}"/>
              </a:ext>
            </a:extLst>
          </p:cNvPr>
          <p:cNvCxnSpPr/>
          <p:nvPr/>
        </p:nvCxnSpPr>
        <p:spPr>
          <a:xfrm flipH="1">
            <a:off x="6364456" y="3986852"/>
            <a:ext cx="3510297" cy="23138"/>
          </a:xfrm>
          <a:prstGeom prst="line">
            <a:avLst/>
          </a:prstGeom>
          <a:ln w="6350">
            <a:solidFill>
              <a:schemeClr val="accent6"/>
            </a:solidFill>
            <a:prstDash val="sysDot"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Line">
            <a:extLst>
              <a:ext uri="{FF2B5EF4-FFF2-40B4-BE49-F238E27FC236}">
                <a16:creationId xmlns:a16="http://schemas.microsoft.com/office/drawing/2014/main" id="{9E9586D0-AC63-8349-91F1-1C72EB6C44E9}"/>
              </a:ext>
            </a:extLst>
          </p:cNvPr>
          <p:cNvCxnSpPr/>
          <p:nvPr/>
        </p:nvCxnSpPr>
        <p:spPr>
          <a:xfrm flipH="1">
            <a:off x="1989564" y="3039955"/>
            <a:ext cx="3510297" cy="23138"/>
          </a:xfrm>
          <a:prstGeom prst="line">
            <a:avLst/>
          </a:prstGeom>
          <a:ln w="6350">
            <a:solidFill>
              <a:schemeClr val="accent6"/>
            </a:solidFill>
            <a:prstDash val="sysDot"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Line">
            <a:extLst>
              <a:ext uri="{FF2B5EF4-FFF2-40B4-BE49-F238E27FC236}">
                <a16:creationId xmlns:a16="http://schemas.microsoft.com/office/drawing/2014/main" id="{2AAB5BCF-0919-04C3-6AEF-08F0D718B904}"/>
              </a:ext>
            </a:extLst>
          </p:cNvPr>
          <p:cNvCxnSpPr/>
          <p:nvPr/>
        </p:nvCxnSpPr>
        <p:spPr>
          <a:xfrm flipH="1">
            <a:off x="1989564" y="5175027"/>
            <a:ext cx="3510297" cy="23138"/>
          </a:xfrm>
          <a:prstGeom prst="line">
            <a:avLst/>
          </a:prstGeom>
          <a:ln w="6350">
            <a:solidFill>
              <a:schemeClr val="accent6"/>
            </a:solidFill>
            <a:prstDash val="sysDot"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Inhaltsplatzhalter 4">
            <a:extLst>
              <a:ext uri="{FF2B5EF4-FFF2-40B4-BE49-F238E27FC236}">
                <a16:creationId xmlns:a16="http://schemas.microsoft.com/office/drawing/2014/main" id="{66E21347-F587-D717-80EE-D1DBB3BA58E8}"/>
              </a:ext>
            </a:extLst>
          </p:cNvPr>
          <p:cNvSpPr txBox="1">
            <a:spLocks/>
          </p:cNvSpPr>
          <p:nvPr/>
        </p:nvSpPr>
        <p:spPr>
          <a:xfrm>
            <a:off x="805314" y="3247268"/>
            <a:ext cx="2789871" cy="75405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accent3"/>
                </a:solidFill>
                <a:latin typeface="+mn-lt"/>
              </a:rPr>
              <a:t>TITLE GOES HERE</a:t>
            </a:r>
            <a:br>
              <a:rPr lang="en-US" sz="1400" b="1" dirty="0">
                <a:solidFill>
                  <a:schemeClr val="bg1">
                    <a:lumMod val="50000"/>
                  </a:schemeClr>
                </a:solidFill>
                <a:latin typeface="+mn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92" name="Inhaltsplatzhalter 4">
            <a:extLst>
              <a:ext uri="{FF2B5EF4-FFF2-40B4-BE49-F238E27FC236}">
                <a16:creationId xmlns:a16="http://schemas.microsoft.com/office/drawing/2014/main" id="{3A8482F9-6D9F-F6E1-B1DF-E413FF4FA50F}"/>
              </a:ext>
            </a:extLst>
          </p:cNvPr>
          <p:cNvSpPr txBox="1">
            <a:spLocks/>
          </p:cNvSpPr>
          <p:nvPr/>
        </p:nvSpPr>
        <p:spPr>
          <a:xfrm flipH="1">
            <a:off x="8397660" y="2288683"/>
            <a:ext cx="2989027" cy="75405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accent5"/>
                </a:solidFill>
                <a:latin typeface="+mn-lt"/>
              </a:rPr>
              <a:t>TITLE GOES HERE</a:t>
            </a:r>
            <a:br>
              <a:rPr lang="en-US" sz="1400" b="1" dirty="0">
                <a:solidFill>
                  <a:schemeClr val="accent2"/>
                </a:solidFill>
                <a:latin typeface="+mn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93" name="Inhaltsplatzhalter 4">
            <a:extLst>
              <a:ext uri="{FF2B5EF4-FFF2-40B4-BE49-F238E27FC236}">
                <a16:creationId xmlns:a16="http://schemas.microsoft.com/office/drawing/2014/main" id="{621D0AE3-8D9A-296E-6B7A-A392894621AA}"/>
              </a:ext>
            </a:extLst>
          </p:cNvPr>
          <p:cNvSpPr txBox="1">
            <a:spLocks/>
          </p:cNvSpPr>
          <p:nvPr/>
        </p:nvSpPr>
        <p:spPr>
          <a:xfrm flipH="1">
            <a:off x="1456943" y="5492299"/>
            <a:ext cx="3177569" cy="58477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rgbClr val="81A4CC"/>
                </a:solidFill>
                <a:latin typeface="+mn-lt"/>
              </a:rPr>
              <a:t>TITLE GOES HERE</a:t>
            </a:r>
            <a:br>
              <a:rPr lang="en-US" sz="1400" b="1" dirty="0">
                <a:solidFill>
                  <a:srgbClr val="81A4CC"/>
                </a:solidFill>
                <a:latin typeface="+mn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94" name="Inhaltsplatzhalter 4">
            <a:extLst>
              <a:ext uri="{FF2B5EF4-FFF2-40B4-BE49-F238E27FC236}">
                <a16:creationId xmlns:a16="http://schemas.microsoft.com/office/drawing/2014/main" id="{B54C5739-259D-9BCF-4C7C-F777CEA4DCE9}"/>
              </a:ext>
            </a:extLst>
          </p:cNvPr>
          <p:cNvSpPr txBox="1">
            <a:spLocks/>
          </p:cNvSpPr>
          <p:nvPr/>
        </p:nvSpPr>
        <p:spPr>
          <a:xfrm>
            <a:off x="7156459" y="4272278"/>
            <a:ext cx="3573342" cy="58477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accent4"/>
                </a:solidFill>
                <a:latin typeface="+mn-lt"/>
              </a:rPr>
              <a:t>TITLE GOES HERE</a:t>
            </a:r>
            <a:br>
              <a:rPr lang="en-US" sz="1400" b="1" dirty="0">
                <a:solidFill>
                  <a:schemeClr val="bg1">
                    <a:lumMod val="50000"/>
                  </a:schemeClr>
                </a:solidFill>
                <a:latin typeface="+mn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grpSp>
        <p:nvGrpSpPr>
          <p:cNvPr id="95" name="Group 94">
            <a:extLst>
              <a:ext uri="{FF2B5EF4-FFF2-40B4-BE49-F238E27FC236}">
                <a16:creationId xmlns:a16="http://schemas.microsoft.com/office/drawing/2014/main" id="{92D7634A-2E46-226D-9C2D-9BD9DF14D466}"/>
              </a:ext>
            </a:extLst>
          </p:cNvPr>
          <p:cNvGrpSpPr/>
          <p:nvPr/>
        </p:nvGrpSpPr>
        <p:grpSpPr>
          <a:xfrm>
            <a:off x="5666257" y="5084800"/>
            <a:ext cx="511459" cy="344904"/>
            <a:chOff x="6716027" y="5411634"/>
            <a:chExt cx="583964" cy="393797"/>
          </a:xfrm>
          <a:solidFill>
            <a:schemeClr val="bg1"/>
          </a:solidFill>
        </p:grpSpPr>
        <p:sp>
          <p:nvSpPr>
            <p:cNvPr id="107" name="Freeform 17">
              <a:extLst>
                <a:ext uri="{FF2B5EF4-FFF2-40B4-BE49-F238E27FC236}">
                  <a16:creationId xmlns:a16="http://schemas.microsoft.com/office/drawing/2014/main" id="{F2061F90-FC98-DA9B-AA95-0F537C469451}"/>
                </a:ext>
              </a:extLst>
            </p:cNvPr>
            <p:cNvSpPr>
              <a:spLocks noEditPoints="1"/>
            </p:cNvSpPr>
            <p:nvPr/>
          </p:nvSpPr>
          <p:spPr bwMode="auto">
            <a:xfrm rot="2700000">
              <a:off x="6832931" y="5294730"/>
              <a:ext cx="350155" cy="583964"/>
            </a:xfrm>
            <a:custGeom>
              <a:avLst/>
              <a:gdLst>
                <a:gd name="T0" fmla="*/ 50 w 184"/>
                <a:gd name="T1" fmla="*/ 310 h 310"/>
                <a:gd name="T2" fmla="*/ 32 w 184"/>
                <a:gd name="T3" fmla="*/ 282 h 310"/>
                <a:gd name="T4" fmla="*/ 10 w 184"/>
                <a:gd name="T5" fmla="*/ 199 h 310"/>
                <a:gd name="T6" fmla="*/ 39 w 184"/>
                <a:gd name="T7" fmla="*/ 171 h 310"/>
                <a:gd name="T8" fmla="*/ 30 w 184"/>
                <a:gd name="T9" fmla="*/ 116 h 310"/>
                <a:gd name="T10" fmla="*/ 36 w 184"/>
                <a:gd name="T11" fmla="*/ 73 h 310"/>
                <a:gd name="T12" fmla="*/ 36 w 184"/>
                <a:gd name="T13" fmla="*/ 72 h 310"/>
                <a:gd name="T14" fmla="*/ 92 w 184"/>
                <a:gd name="T15" fmla="*/ 0 h 310"/>
                <a:gd name="T16" fmla="*/ 148 w 184"/>
                <a:gd name="T17" fmla="*/ 72 h 310"/>
                <a:gd name="T18" fmla="*/ 148 w 184"/>
                <a:gd name="T19" fmla="*/ 73 h 310"/>
                <a:gd name="T20" fmla="*/ 155 w 184"/>
                <a:gd name="T21" fmla="*/ 116 h 310"/>
                <a:gd name="T22" fmla="*/ 145 w 184"/>
                <a:gd name="T23" fmla="*/ 171 h 310"/>
                <a:gd name="T24" fmla="*/ 174 w 184"/>
                <a:gd name="T25" fmla="*/ 199 h 310"/>
                <a:gd name="T26" fmla="*/ 153 w 184"/>
                <a:gd name="T27" fmla="*/ 282 h 310"/>
                <a:gd name="T28" fmla="*/ 134 w 184"/>
                <a:gd name="T29" fmla="*/ 310 h 310"/>
                <a:gd name="T30" fmla="*/ 134 w 184"/>
                <a:gd name="T31" fmla="*/ 276 h 310"/>
                <a:gd name="T32" fmla="*/ 118 w 184"/>
                <a:gd name="T33" fmla="*/ 239 h 310"/>
                <a:gd name="T34" fmla="*/ 118 w 184"/>
                <a:gd name="T35" fmla="*/ 240 h 310"/>
                <a:gd name="T36" fmla="*/ 115 w 184"/>
                <a:gd name="T37" fmla="*/ 246 h 310"/>
                <a:gd name="T38" fmla="*/ 108 w 184"/>
                <a:gd name="T39" fmla="*/ 245 h 310"/>
                <a:gd name="T40" fmla="*/ 76 w 184"/>
                <a:gd name="T41" fmla="*/ 245 h 310"/>
                <a:gd name="T42" fmla="*/ 69 w 184"/>
                <a:gd name="T43" fmla="*/ 246 h 310"/>
                <a:gd name="T44" fmla="*/ 66 w 184"/>
                <a:gd name="T45" fmla="*/ 240 h 310"/>
                <a:gd name="T46" fmla="*/ 66 w 184"/>
                <a:gd name="T47" fmla="*/ 239 h 310"/>
                <a:gd name="T48" fmla="*/ 50 w 184"/>
                <a:gd name="T49" fmla="*/ 276 h 310"/>
                <a:gd name="T50" fmla="*/ 50 w 184"/>
                <a:gd name="T51" fmla="*/ 310 h 310"/>
                <a:gd name="T52" fmla="*/ 55 w 184"/>
                <a:gd name="T53" fmla="*/ 79 h 310"/>
                <a:gd name="T54" fmla="*/ 50 w 184"/>
                <a:gd name="T55" fmla="*/ 116 h 310"/>
                <a:gd name="T56" fmla="*/ 61 w 184"/>
                <a:gd name="T57" fmla="*/ 174 h 310"/>
                <a:gd name="T58" fmla="*/ 64 w 184"/>
                <a:gd name="T59" fmla="*/ 184 h 310"/>
                <a:gd name="T60" fmla="*/ 54 w 184"/>
                <a:gd name="T61" fmla="*/ 187 h 310"/>
                <a:gd name="T62" fmla="*/ 29 w 184"/>
                <a:gd name="T63" fmla="*/ 205 h 310"/>
                <a:gd name="T64" fmla="*/ 36 w 184"/>
                <a:gd name="T65" fmla="*/ 247 h 310"/>
                <a:gd name="T66" fmla="*/ 65 w 184"/>
                <a:gd name="T67" fmla="*/ 215 h 310"/>
                <a:gd name="T68" fmla="*/ 74 w 184"/>
                <a:gd name="T69" fmla="*/ 209 h 310"/>
                <a:gd name="T70" fmla="*/ 79 w 184"/>
                <a:gd name="T71" fmla="*/ 219 h 310"/>
                <a:gd name="T72" fmla="*/ 82 w 184"/>
                <a:gd name="T73" fmla="*/ 225 h 310"/>
                <a:gd name="T74" fmla="*/ 103 w 184"/>
                <a:gd name="T75" fmla="*/ 225 h 310"/>
                <a:gd name="T76" fmla="*/ 105 w 184"/>
                <a:gd name="T77" fmla="*/ 219 h 310"/>
                <a:gd name="T78" fmla="*/ 110 w 184"/>
                <a:gd name="T79" fmla="*/ 209 h 310"/>
                <a:gd name="T80" fmla="*/ 120 w 184"/>
                <a:gd name="T81" fmla="*/ 215 h 310"/>
                <a:gd name="T82" fmla="*/ 148 w 184"/>
                <a:gd name="T83" fmla="*/ 247 h 310"/>
                <a:gd name="T84" fmla="*/ 155 w 184"/>
                <a:gd name="T85" fmla="*/ 205 h 310"/>
                <a:gd name="T86" fmla="*/ 130 w 184"/>
                <a:gd name="T87" fmla="*/ 187 h 310"/>
                <a:gd name="T88" fmla="*/ 120 w 184"/>
                <a:gd name="T89" fmla="*/ 184 h 310"/>
                <a:gd name="T90" fmla="*/ 123 w 184"/>
                <a:gd name="T91" fmla="*/ 174 h 310"/>
                <a:gd name="T92" fmla="*/ 135 w 184"/>
                <a:gd name="T93" fmla="*/ 116 h 310"/>
                <a:gd name="T94" fmla="*/ 129 w 184"/>
                <a:gd name="T95" fmla="*/ 79 h 310"/>
                <a:gd name="T96" fmla="*/ 92 w 184"/>
                <a:gd name="T97" fmla="*/ 21 h 310"/>
                <a:gd name="T98" fmla="*/ 55 w 184"/>
                <a:gd name="T99" fmla="*/ 79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84" h="310">
                  <a:moveTo>
                    <a:pt x="50" y="310"/>
                  </a:moveTo>
                  <a:cubicBezTo>
                    <a:pt x="32" y="282"/>
                    <a:pt x="32" y="282"/>
                    <a:pt x="32" y="282"/>
                  </a:cubicBezTo>
                  <a:cubicBezTo>
                    <a:pt x="28" y="276"/>
                    <a:pt x="0" y="230"/>
                    <a:pt x="10" y="199"/>
                  </a:cubicBezTo>
                  <a:cubicBezTo>
                    <a:pt x="14" y="187"/>
                    <a:pt x="24" y="178"/>
                    <a:pt x="39" y="171"/>
                  </a:cubicBezTo>
                  <a:cubicBezTo>
                    <a:pt x="33" y="151"/>
                    <a:pt x="30" y="132"/>
                    <a:pt x="30" y="116"/>
                  </a:cubicBezTo>
                  <a:cubicBezTo>
                    <a:pt x="30" y="102"/>
                    <a:pt x="32" y="87"/>
                    <a:pt x="36" y="73"/>
                  </a:cubicBezTo>
                  <a:cubicBezTo>
                    <a:pt x="36" y="72"/>
                    <a:pt x="36" y="72"/>
                    <a:pt x="36" y="72"/>
                  </a:cubicBezTo>
                  <a:cubicBezTo>
                    <a:pt x="50" y="35"/>
                    <a:pt x="77" y="0"/>
                    <a:pt x="92" y="0"/>
                  </a:cubicBezTo>
                  <a:cubicBezTo>
                    <a:pt x="107" y="0"/>
                    <a:pt x="134" y="35"/>
                    <a:pt x="148" y="72"/>
                  </a:cubicBezTo>
                  <a:cubicBezTo>
                    <a:pt x="148" y="73"/>
                    <a:pt x="148" y="73"/>
                    <a:pt x="148" y="73"/>
                  </a:cubicBezTo>
                  <a:cubicBezTo>
                    <a:pt x="152" y="87"/>
                    <a:pt x="155" y="102"/>
                    <a:pt x="155" y="116"/>
                  </a:cubicBezTo>
                  <a:cubicBezTo>
                    <a:pt x="155" y="132"/>
                    <a:pt x="152" y="151"/>
                    <a:pt x="145" y="171"/>
                  </a:cubicBezTo>
                  <a:cubicBezTo>
                    <a:pt x="160" y="178"/>
                    <a:pt x="170" y="187"/>
                    <a:pt x="174" y="199"/>
                  </a:cubicBezTo>
                  <a:cubicBezTo>
                    <a:pt x="184" y="230"/>
                    <a:pt x="156" y="276"/>
                    <a:pt x="153" y="282"/>
                  </a:cubicBezTo>
                  <a:cubicBezTo>
                    <a:pt x="134" y="310"/>
                    <a:pt x="134" y="310"/>
                    <a:pt x="134" y="310"/>
                  </a:cubicBezTo>
                  <a:cubicBezTo>
                    <a:pt x="134" y="276"/>
                    <a:pt x="134" y="276"/>
                    <a:pt x="134" y="276"/>
                  </a:cubicBezTo>
                  <a:cubicBezTo>
                    <a:pt x="134" y="262"/>
                    <a:pt x="128" y="248"/>
                    <a:pt x="118" y="239"/>
                  </a:cubicBezTo>
                  <a:cubicBezTo>
                    <a:pt x="118" y="239"/>
                    <a:pt x="118" y="239"/>
                    <a:pt x="118" y="240"/>
                  </a:cubicBezTo>
                  <a:cubicBezTo>
                    <a:pt x="115" y="246"/>
                    <a:pt x="115" y="246"/>
                    <a:pt x="115" y="246"/>
                  </a:cubicBezTo>
                  <a:cubicBezTo>
                    <a:pt x="108" y="245"/>
                    <a:pt x="108" y="245"/>
                    <a:pt x="108" y="245"/>
                  </a:cubicBezTo>
                  <a:cubicBezTo>
                    <a:pt x="98" y="245"/>
                    <a:pt x="87" y="245"/>
                    <a:pt x="76" y="245"/>
                  </a:cubicBezTo>
                  <a:cubicBezTo>
                    <a:pt x="69" y="246"/>
                    <a:pt x="69" y="246"/>
                    <a:pt x="69" y="246"/>
                  </a:cubicBezTo>
                  <a:cubicBezTo>
                    <a:pt x="66" y="240"/>
                    <a:pt x="66" y="240"/>
                    <a:pt x="66" y="240"/>
                  </a:cubicBezTo>
                  <a:cubicBezTo>
                    <a:pt x="66" y="239"/>
                    <a:pt x="66" y="239"/>
                    <a:pt x="66" y="239"/>
                  </a:cubicBezTo>
                  <a:cubicBezTo>
                    <a:pt x="56" y="249"/>
                    <a:pt x="50" y="262"/>
                    <a:pt x="50" y="276"/>
                  </a:cubicBezTo>
                  <a:lnTo>
                    <a:pt x="50" y="310"/>
                  </a:lnTo>
                  <a:close/>
                  <a:moveTo>
                    <a:pt x="55" y="79"/>
                  </a:moveTo>
                  <a:cubicBezTo>
                    <a:pt x="52" y="91"/>
                    <a:pt x="50" y="104"/>
                    <a:pt x="50" y="116"/>
                  </a:cubicBezTo>
                  <a:cubicBezTo>
                    <a:pt x="50" y="132"/>
                    <a:pt x="53" y="152"/>
                    <a:pt x="61" y="174"/>
                  </a:cubicBezTo>
                  <a:cubicBezTo>
                    <a:pt x="64" y="184"/>
                    <a:pt x="64" y="184"/>
                    <a:pt x="64" y="184"/>
                  </a:cubicBezTo>
                  <a:cubicBezTo>
                    <a:pt x="54" y="187"/>
                    <a:pt x="54" y="187"/>
                    <a:pt x="54" y="187"/>
                  </a:cubicBezTo>
                  <a:cubicBezTo>
                    <a:pt x="45" y="190"/>
                    <a:pt x="33" y="196"/>
                    <a:pt x="29" y="205"/>
                  </a:cubicBezTo>
                  <a:cubicBezTo>
                    <a:pt x="26" y="216"/>
                    <a:pt x="30" y="233"/>
                    <a:pt x="36" y="247"/>
                  </a:cubicBezTo>
                  <a:cubicBezTo>
                    <a:pt x="42" y="234"/>
                    <a:pt x="52" y="223"/>
                    <a:pt x="65" y="215"/>
                  </a:cubicBezTo>
                  <a:cubicBezTo>
                    <a:pt x="74" y="209"/>
                    <a:pt x="74" y="209"/>
                    <a:pt x="74" y="209"/>
                  </a:cubicBezTo>
                  <a:cubicBezTo>
                    <a:pt x="79" y="219"/>
                    <a:pt x="79" y="219"/>
                    <a:pt x="79" y="219"/>
                  </a:cubicBezTo>
                  <a:cubicBezTo>
                    <a:pt x="80" y="221"/>
                    <a:pt x="81" y="223"/>
                    <a:pt x="82" y="225"/>
                  </a:cubicBezTo>
                  <a:cubicBezTo>
                    <a:pt x="89" y="225"/>
                    <a:pt x="96" y="225"/>
                    <a:pt x="103" y="225"/>
                  </a:cubicBezTo>
                  <a:cubicBezTo>
                    <a:pt x="104" y="223"/>
                    <a:pt x="105" y="221"/>
                    <a:pt x="105" y="219"/>
                  </a:cubicBezTo>
                  <a:cubicBezTo>
                    <a:pt x="110" y="209"/>
                    <a:pt x="110" y="209"/>
                    <a:pt x="110" y="209"/>
                  </a:cubicBezTo>
                  <a:cubicBezTo>
                    <a:pt x="120" y="215"/>
                    <a:pt x="120" y="215"/>
                    <a:pt x="120" y="215"/>
                  </a:cubicBezTo>
                  <a:cubicBezTo>
                    <a:pt x="133" y="223"/>
                    <a:pt x="142" y="234"/>
                    <a:pt x="148" y="247"/>
                  </a:cubicBezTo>
                  <a:cubicBezTo>
                    <a:pt x="154" y="233"/>
                    <a:pt x="159" y="216"/>
                    <a:pt x="155" y="205"/>
                  </a:cubicBezTo>
                  <a:cubicBezTo>
                    <a:pt x="152" y="196"/>
                    <a:pt x="140" y="190"/>
                    <a:pt x="130" y="187"/>
                  </a:cubicBezTo>
                  <a:cubicBezTo>
                    <a:pt x="120" y="184"/>
                    <a:pt x="120" y="184"/>
                    <a:pt x="120" y="184"/>
                  </a:cubicBezTo>
                  <a:cubicBezTo>
                    <a:pt x="123" y="174"/>
                    <a:pt x="123" y="174"/>
                    <a:pt x="123" y="174"/>
                  </a:cubicBezTo>
                  <a:cubicBezTo>
                    <a:pt x="131" y="152"/>
                    <a:pt x="135" y="132"/>
                    <a:pt x="135" y="116"/>
                  </a:cubicBezTo>
                  <a:cubicBezTo>
                    <a:pt x="135" y="104"/>
                    <a:pt x="133" y="91"/>
                    <a:pt x="129" y="79"/>
                  </a:cubicBezTo>
                  <a:cubicBezTo>
                    <a:pt x="117" y="47"/>
                    <a:pt x="99" y="26"/>
                    <a:pt x="92" y="21"/>
                  </a:cubicBezTo>
                  <a:cubicBezTo>
                    <a:pt x="85" y="26"/>
                    <a:pt x="67" y="47"/>
                    <a:pt x="55" y="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  <p:sp>
          <p:nvSpPr>
            <p:cNvPr id="108" name="Freeform 18">
              <a:extLst>
                <a:ext uri="{FF2B5EF4-FFF2-40B4-BE49-F238E27FC236}">
                  <a16:creationId xmlns:a16="http://schemas.microsoft.com/office/drawing/2014/main" id="{CA999C8A-9033-DA16-B721-7D2B74F9C87E}"/>
                </a:ext>
              </a:extLst>
            </p:cNvPr>
            <p:cNvSpPr>
              <a:spLocks noEditPoints="1"/>
            </p:cNvSpPr>
            <p:nvPr/>
          </p:nvSpPr>
          <p:spPr bwMode="auto">
            <a:xfrm rot="2700000">
              <a:off x="6989613" y="5483631"/>
              <a:ext cx="121724" cy="120112"/>
            </a:xfrm>
            <a:custGeom>
              <a:avLst/>
              <a:gdLst>
                <a:gd name="T0" fmla="*/ 32 w 64"/>
                <a:gd name="T1" fmla="*/ 64 h 64"/>
                <a:gd name="T2" fmla="*/ 0 w 64"/>
                <a:gd name="T3" fmla="*/ 32 h 64"/>
                <a:gd name="T4" fmla="*/ 32 w 64"/>
                <a:gd name="T5" fmla="*/ 0 h 64"/>
                <a:gd name="T6" fmla="*/ 64 w 64"/>
                <a:gd name="T7" fmla="*/ 32 h 64"/>
                <a:gd name="T8" fmla="*/ 32 w 64"/>
                <a:gd name="T9" fmla="*/ 64 h 64"/>
                <a:gd name="T10" fmla="*/ 32 w 64"/>
                <a:gd name="T11" fmla="*/ 12 h 64"/>
                <a:gd name="T12" fmla="*/ 12 w 64"/>
                <a:gd name="T13" fmla="*/ 32 h 64"/>
                <a:gd name="T14" fmla="*/ 32 w 64"/>
                <a:gd name="T15" fmla="*/ 52 h 64"/>
                <a:gd name="T16" fmla="*/ 52 w 64"/>
                <a:gd name="T17" fmla="*/ 32 h 64"/>
                <a:gd name="T18" fmla="*/ 32 w 64"/>
                <a:gd name="T19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32" y="64"/>
                  </a:moveTo>
                  <a:cubicBezTo>
                    <a:pt x="14" y="64"/>
                    <a:pt x="0" y="50"/>
                    <a:pt x="0" y="32"/>
                  </a:cubicBezTo>
                  <a:cubicBezTo>
                    <a:pt x="0" y="14"/>
                    <a:pt x="14" y="0"/>
                    <a:pt x="32" y="0"/>
                  </a:cubicBezTo>
                  <a:cubicBezTo>
                    <a:pt x="50" y="0"/>
                    <a:pt x="64" y="14"/>
                    <a:pt x="64" y="32"/>
                  </a:cubicBezTo>
                  <a:cubicBezTo>
                    <a:pt x="64" y="50"/>
                    <a:pt x="50" y="64"/>
                    <a:pt x="32" y="64"/>
                  </a:cubicBezTo>
                  <a:close/>
                  <a:moveTo>
                    <a:pt x="32" y="12"/>
                  </a:moveTo>
                  <a:cubicBezTo>
                    <a:pt x="21" y="12"/>
                    <a:pt x="12" y="21"/>
                    <a:pt x="12" y="32"/>
                  </a:cubicBezTo>
                  <a:cubicBezTo>
                    <a:pt x="12" y="43"/>
                    <a:pt x="21" y="52"/>
                    <a:pt x="32" y="52"/>
                  </a:cubicBezTo>
                  <a:cubicBezTo>
                    <a:pt x="43" y="52"/>
                    <a:pt x="52" y="43"/>
                    <a:pt x="52" y="32"/>
                  </a:cubicBezTo>
                  <a:cubicBezTo>
                    <a:pt x="52" y="21"/>
                    <a:pt x="43" y="12"/>
                    <a:pt x="3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  <p:sp>
          <p:nvSpPr>
            <p:cNvPr id="109" name="Freeform 19">
              <a:extLst>
                <a:ext uri="{FF2B5EF4-FFF2-40B4-BE49-F238E27FC236}">
                  <a16:creationId xmlns:a16="http://schemas.microsoft.com/office/drawing/2014/main" id="{B478EA33-4850-18B4-B96D-38388504E5EB}"/>
                </a:ext>
              </a:extLst>
            </p:cNvPr>
            <p:cNvSpPr>
              <a:spLocks noEditPoints="1"/>
            </p:cNvSpPr>
            <p:nvPr/>
          </p:nvSpPr>
          <p:spPr bwMode="auto">
            <a:xfrm rot="2700000">
              <a:off x="6790966" y="5660018"/>
              <a:ext cx="112239" cy="178587"/>
            </a:xfrm>
            <a:custGeom>
              <a:avLst/>
              <a:gdLst>
                <a:gd name="T0" fmla="*/ 29 w 59"/>
                <a:gd name="T1" fmla="*/ 95 h 95"/>
                <a:gd name="T2" fmla="*/ 24 w 59"/>
                <a:gd name="T3" fmla="*/ 85 h 95"/>
                <a:gd name="T4" fmla="*/ 0 w 59"/>
                <a:gd name="T5" fmla="*/ 26 h 95"/>
                <a:gd name="T6" fmla="*/ 29 w 59"/>
                <a:gd name="T7" fmla="*/ 0 h 95"/>
                <a:gd name="T8" fmla="*/ 59 w 59"/>
                <a:gd name="T9" fmla="*/ 26 h 95"/>
                <a:gd name="T10" fmla="*/ 34 w 59"/>
                <a:gd name="T11" fmla="*/ 85 h 95"/>
                <a:gd name="T12" fmla="*/ 29 w 59"/>
                <a:gd name="T13" fmla="*/ 95 h 95"/>
                <a:gd name="T14" fmla="*/ 29 w 59"/>
                <a:gd name="T15" fmla="*/ 12 h 95"/>
                <a:gd name="T16" fmla="*/ 12 w 59"/>
                <a:gd name="T17" fmla="*/ 26 h 95"/>
                <a:gd name="T18" fmla="*/ 29 w 59"/>
                <a:gd name="T19" fmla="*/ 69 h 95"/>
                <a:gd name="T20" fmla="*/ 47 w 59"/>
                <a:gd name="T21" fmla="*/ 26 h 95"/>
                <a:gd name="T22" fmla="*/ 29 w 59"/>
                <a:gd name="T23" fmla="*/ 12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" h="95">
                  <a:moveTo>
                    <a:pt x="29" y="95"/>
                  </a:moveTo>
                  <a:cubicBezTo>
                    <a:pt x="24" y="85"/>
                    <a:pt x="24" y="85"/>
                    <a:pt x="24" y="85"/>
                  </a:cubicBezTo>
                  <a:cubicBezTo>
                    <a:pt x="20" y="77"/>
                    <a:pt x="0" y="38"/>
                    <a:pt x="0" y="26"/>
                  </a:cubicBezTo>
                  <a:cubicBezTo>
                    <a:pt x="0" y="12"/>
                    <a:pt x="13" y="0"/>
                    <a:pt x="29" y="0"/>
                  </a:cubicBezTo>
                  <a:cubicBezTo>
                    <a:pt x="45" y="0"/>
                    <a:pt x="59" y="12"/>
                    <a:pt x="59" y="26"/>
                  </a:cubicBezTo>
                  <a:cubicBezTo>
                    <a:pt x="59" y="38"/>
                    <a:pt x="39" y="77"/>
                    <a:pt x="34" y="85"/>
                  </a:cubicBezTo>
                  <a:lnTo>
                    <a:pt x="29" y="95"/>
                  </a:lnTo>
                  <a:close/>
                  <a:moveTo>
                    <a:pt x="29" y="12"/>
                  </a:moveTo>
                  <a:cubicBezTo>
                    <a:pt x="19" y="12"/>
                    <a:pt x="12" y="18"/>
                    <a:pt x="12" y="26"/>
                  </a:cubicBezTo>
                  <a:cubicBezTo>
                    <a:pt x="12" y="31"/>
                    <a:pt x="20" y="50"/>
                    <a:pt x="29" y="69"/>
                  </a:cubicBezTo>
                  <a:cubicBezTo>
                    <a:pt x="38" y="50"/>
                    <a:pt x="47" y="31"/>
                    <a:pt x="47" y="26"/>
                  </a:cubicBezTo>
                  <a:cubicBezTo>
                    <a:pt x="47" y="18"/>
                    <a:pt x="39" y="12"/>
                    <a:pt x="29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96" name="Group 95">
            <a:extLst>
              <a:ext uri="{FF2B5EF4-FFF2-40B4-BE49-F238E27FC236}">
                <a16:creationId xmlns:a16="http://schemas.microsoft.com/office/drawing/2014/main" id="{52F3A272-F7D3-33AB-D66E-F7B0C3F756D1}"/>
              </a:ext>
            </a:extLst>
          </p:cNvPr>
          <p:cNvGrpSpPr>
            <a:grpSpLocks noChangeAspect="1"/>
          </p:cNvGrpSpPr>
          <p:nvPr/>
        </p:nvGrpSpPr>
        <p:grpSpPr>
          <a:xfrm>
            <a:off x="5753665" y="3716167"/>
            <a:ext cx="336646" cy="537268"/>
            <a:chOff x="6513513" y="557213"/>
            <a:chExt cx="471488" cy="752475"/>
          </a:xfrm>
          <a:solidFill>
            <a:schemeClr val="bg1"/>
          </a:solidFill>
        </p:grpSpPr>
        <p:sp>
          <p:nvSpPr>
            <p:cNvPr id="105" name="Freeform 21">
              <a:extLst>
                <a:ext uri="{FF2B5EF4-FFF2-40B4-BE49-F238E27FC236}">
                  <a16:creationId xmlns:a16="http://schemas.microsoft.com/office/drawing/2014/main" id="{5E670825-F8A5-E216-5C21-947F6FE751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13513" y="557213"/>
              <a:ext cx="471488" cy="752475"/>
            </a:xfrm>
            <a:custGeom>
              <a:avLst/>
              <a:gdLst>
                <a:gd name="T0" fmla="*/ 80 w 160"/>
                <a:gd name="T1" fmla="*/ 0 h 256"/>
                <a:gd name="T2" fmla="*/ 11 w 160"/>
                <a:gd name="T3" fmla="*/ 120 h 256"/>
                <a:gd name="T4" fmla="*/ 42 w 160"/>
                <a:gd name="T5" fmla="*/ 179 h 256"/>
                <a:gd name="T6" fmla="*/ 49 w 160"/>
                <a:gd name="T7" fmla="*/ 187 h 256"/>
                <a:gd name="T8" fmla="*/ 48 w 160"/>
                <a:gd name="T9" fmla="*/ 208 h 256"/>
                <a:gd name="T10" fmla="*/ 52 w 160"/>
                <a:gd name="T11" fmla="*/ 231 h 256"/>
                <a:gd name="T12" fmla="*/ 108 w 160"/>
                <a:gd name="T13" fmla="*/ 231 h 256"/>
                <a:gd name="T14" fmla="*/ 112 w 160"/>
                <a:gd name="T15" fmla="*/ 208 h 256"/>
                <a:gd name="T16" fmla="*/ 110 w 160"/>
                <a:gd name="T17" fmla="*/ 187 h 256"/>
                <a:gd name="T18" fmla="*/ 118 w 160"/>
                <a:gd name="T19" fmla="*/ 179 h 256"/>
                <a:gd name="T20" fmla="*/ 149 w 160"/>
                <a:gd name="T21" fmla="*/ 120 h 256"/>
                <a:gd name="T22" fmla="*/ 80 w 160"/>
                <a:gd name="T23" fmla="*/ 248 h 256"/>
                <a:gd name="T24" fmla="*/ 99 w 160"/>
                <a:gd name="T25" fmla="*/ 232 h 256"/>
                <a:gd name="T26" fmla="*/ 108 w 160"/>
                <a:gd name="T27" fmla="*/ 218 h 256"/>
                <a:gd name="T28" fmla="*/ 58 w 160"/>
                <a:gd name="T29" fmla="*/ 224 h 256"/>
                <a:gd name="T30" fmla="*/ 58 w 160"/>
                <a:gd name="T31" fmla="*/ 212 h 256"/>
                <a:gd name="T32" fmla="*/ 108 w 160"/>
                <a:gd name="T33" fmla="*/ 218 h 256"/>
                <a:gd name="T34" fmla="*/ 108 w 160"/>
                <a:gd name="T35" fmla="*/ 198 h 256"/>
                <a:gd name="T36" fmla="*/ 58 w 160"/>
                <a:gd name="T37" fmla="*/ 204 h 256"/>
                <a:gd name="T38" fmla="*/ 58 w 160"/>
                <a:gd name="T39" fmla="*/ 192 h 256"/>
                <a:gd name="T40" fmla="*/ 96 w 160"/>
                <a:gd name="T41" fmla="*/ 192 h 256"/>
                <a:gd name="T42" fmla="*/ 135 w 160"/>
                <a:gd name="T43" fmla="*/ 112 h 256"/>
                <a:gd name="T44" fmla="*/ 104 w 160"/>
                <a:gd name="T45" fmla="*/ 170 h 256"/>
                <a:gd name="T46" fmla="*/ 96 w 160"/>
                <a:gd name="T47" fmla="*/ 176 h 256"/>
                <a:gd name="T48" fmla="*/ 96 w 160"/>
                <a:gd name="T49" fmla="*/ 124 h 256"/>
                <a:gd name="T50" fmla="*/ 88 w 160"/>
                <a:gd name="T51" fmla="*/ 176 h 256"/>
                <a:gd name="T52" fmla="*/ 68 w 160"/>
                <a:gd name="T53" fmla="*/ 128 h 256"/>
                <a:gd name="T54" fmla="*/ 60 w 160"/>
                <a:gd name="T55" fmla="*/ 129 h 256"/>
                <a:gd name="T56" fmla="*/ 57 w 160"/>
                <a:gd name="T57" fmla="*/ 172 h 256"/>
                <a:gd name="T58" fmla="*/ 26 w 160"/>
                <a:gd name="T59" fmla="*/ 114 h 256"/>
                <a:gd name="T60" fmla="*/ 16 w 160"/>
                <a:gd name="T61" fmla="*/ 80 h 256"/>
                <a:gd name="T62" fmla="*/ 144 w 160"/>
                <a:gd name="T63" fmla="*/ 80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0" h="256">
                  <a:moveTo>
                    <a:pt x="160" y="80"/>
                  </a:moveTo>
                  <a:cubicBezTo>
                    <a:pt x="160" y="36"/>
                    <a:pt x="124" y="0"/>
                    <a:pt x="80" y="0"/>
                  </a:cubicBezTo>
                  <a:cubicBezTo>
                    <a:pt x="36" y="0"/>
                    <a:pt x="0" y="36"/>
                    <a:pt x="0" y="80"/>
                  </a:cubicBezTo>
                  <a:cubicBezTo>
                    <a:pt x="0" y="95"/>
                    <a:pt x="4" y="109"/>
                    <a:pt x="11" y="120"/>
                  </a:cubicBezTo>
                  <a:cubicBezTo>
                    <a:pt x="11" y="120"/>
                    <a:pt x="11" y="120"/>
                    <a:pt x="11" y="120"/>
                  </a:cubicBezTo>
                  <a:cubicBezTo>
                    <a:pt x="42" y="179"/>
                    <a:pt x="42" y="179"/>
                    <a:pt x="42" y="179"/>
                  </a:cubicBezTo>
                  <a:cubicBezTo>
                    <a:pt x="42" y="179"/>
                    <a:pt x="42" y="179"/>
                    <a:pt x="42" y="179"/>
                  </a:cubicBezTo>
                  <a:cubicBezTo>
                    <a:pt x="44" y="182"/>
                    <a:pt x="46" y="185"/>
                    <a:pt x="49" y="187"/>
                  </a:cubicBezTo>
                  <a:cubicBezTo>
                    <a:pt x="46" y="190"/>
                    <a:pt x="44" y="194"/>
                    <a:pt x="44" y="198"/>
                  </a:cubicBezTo>
                  <a:cubicBezTo>
                    <a:pt x="44" y="202"/>
                    <a:pt x="46" y="206"/>
                    <a:pt x="48" y="208"/>
                  </a:cubicBezTo>
                  <a:cubicBezTo>
                    <a:pt x="46" y="211"/>
                    <a:pt x="44" y="214"/>
                    <a:pt x="44" y="218"/>
                  </a:cubicBezTo>
                  <a:cubicBezTo>
                    <a:pt x="44" y="224"/>
                    <a:pt x="47" y="229"/>
                    <a:pt x="52" y="231"/>
                  </a:cubicBezTo>
                  <a:cubicBezTo>
                    <a:pt x="53" y="245"/>
                    <a:pt x="65" y="256"/>
                    <a:pt x="80" y="256"/>
                  </a:cubicBezTo>
                  <a:cubicBezTo>
                    <a:pt x="94" y="256"/>
                    <a:pt x="106" y="245"/>
                    <a:pt x="108" y="231"/>
                  </a:cubicBezTo>
                  <a:cubicBezTo>
                    <a:pt x="112" y="229"/>
                    <a:pt x="116" y="224"/>
                    <a:pt x="116" y="218"/>
                  </a:cubicBezTo>
                  <a:cubicBezTo>
                    <a:pt x="116" y="214"/>
                    <a:pt x="114" y="211"/>
                    <a:pt x="112" y="208"/>
                  </a:cubicBezTo>
                  <a:cubicBezTo>
                    <a:pt x="114" y="206"/>
                    <a:pt x="116" y="202"/>
                    <a:pt x="116" y="198"/>
                  </a:cubicBezTo>
                  <a:cubicBezTo>
                    <a:pt x="116" y="194"/>
                    <a:pt x="114" y="190"/>
                    <a:pt x="110" y="187"/>
                  </a:cubicBezTo>
                  <a:cubicBezTo>
                    <a:pt x="113" y="185"/>
                    <a:pt x="116" y="182"/>
                    <a:pt x="118" y="179"/>
                  </a:cubicBezTo>
                  <a:cubicBezTo>
                    <a:pt x="118" y="179"/>
                    <a:pt x="118" y="179"/>
                    <a:pt x="118" y="179"/>
                  </a:cubicBezTo>
                  <a:cubicBezTo>
                    <a:pt x="149" y="120"/>
                    <a:pt x="149" y="120"/>
                    <a:pt x="149" y="120"/>
                  </a:cubicBezTo>
                  <a:cubicBezTo>
                    <a:pt x="149" y="120"/>
                    <a:pt x="149" y="120"/>
                    <a:pt x="149" y="120"/>
                  </a:cubicBezTo>
                  <a:cubicBezTo>
                    <a:pt x="156" y="109"/>
                    <a:pt x="160" y="95"/>
                    <a:pt x="160" y="80"/>
                  </a:cubicBezTo>
                  <a:close/>
                  <a:moveTo>
                    <a:pt x="80" y="248"/>
                  </a:moveTo>
                  <a:cubicBezTo>
                    <a:pt x="70" y="248"/>
                    <a:pt x="62" y="241"/>
                    <a:pt x="60" y="232"/>
                  </a:cubicBezTo>
                  <a:cubicBezTo>
                    <a:pt x="99" y="232"/>
                    <a:pt x="99" y="232"/>
                    <a:pt x="99" y="232"/>
                  </a:cubicBezTo>
                  <a:cubicBezTo>
                    <a:pt x="97" y="241"/>
                    <a:pt x="89" y="248"/>
                    <a:pt x="80" y="248"/>
                  </a:cubicBezTo>
                  <a:close/>
                  <a:moveTo>
                    <a:pt x="108" y="218"/>
                  </a:moveTo>
                  <a:cubicBezTo>
                    <a:pt x="108" y="222"/>
                    <a:pt x="105" y="224"/>
                    <a:pt x="102" y="224"/>
                  </a:cubicBezTo>
                  <a:cubicBezTo>
                    <a:pt x="58" y="224"/>
                    <a:pt x="58" y="224"/>
                    <a:pt x="58" y="224"/>
                  </a:cubicBezTo>
                  <a:cubicBezTo>
                    <a:pt x="55" y="224"/>
                    <a:pt x="52" y="222"/>
                    <a:pt x="52" y="218"/>
                  </a:cubicBezTo>
                  <a:cubicBezTo>
                    <a:pt x="52" y="215"/>
                    <a:pt x="55" y="212"/>
                    <a:pt x="58" y="212"/>
                  </a:cubicBezTo>
                  <a:cubicBezTo>
                    <a:pt x="102" y="212"/>
                    <a:pt x="102" y="212"/>
                    <a:pt x="102" y="212"/>
                  </a:cubicBezTo>
                  <a:cubicBezTo>
                    <a:pt x="105" y="212"/>
                    <a:pt x="108" y="215"/>
                    <a:pt x="108" y="218"/>
                  </a:cubicBezTo>
                  <a:close/>
                  <a:moveTo>
                    <a:pt x="102" y="192"/>
                  </a:moveTo>
                  <a:cubicBezTo>
                    <a:pt x="105" y="192"/>
                    <a:pt x="108" y="195"/>
                    <a:pt x="108" y="198"/>
                  </a:cubicBezTo>
                  <a:cubicBezTo>
                    <a:pt x="108" y="202"/>
                    <a:pt x="105" y="204"/>
                    <a:pt x="102" y="204"/>
                  </a:cubicBezTo>
                  <a:cubicBezTo>
                    <a:pt x="58" y="204"/>
                    <a:pt x="58" y="204"/>
                    <a:pt x="58" y="204"/>
                  </a:cubicBezTo>
                  <a:cubicBezTo>
                    <a:pt x="55" y="204"/>
                    <a:pt x="52" y="202"/>
                    <a:pt x="52" y="198"/>
                  </a:cubicBezTo>
                  <a:cubicBezTo>
                    <a:pt x="52" y="195"/>
                    <a:pt x="55" y="192"/>
                    <a:pt x="58" y="192"/>
                  </a:cubicBezTo>
                  <a:cubicBezTo>
                    <a:pt x="64" y="192"/>
                    <a:pt x="64" y="192"/>
                    <a:pt x="64" y="192"/>
                  </a:cubicBezTo>
                  <a:cubicBezTo>
                    <a:pt x="96" y="192"/>
                    <a:pt x="96" y="192"/>
                    <a:pt x="96" y="192"/>
                  </a:cubicBezTo>
                  <a:lnTo>
                    <a:pt x="102" y="192"/>
                  </a:lnTo>
                  <a:close/>
                  <a:moveTo>
                    <a:pt x="135" y="112"/>
                  </a:moveTo>
                  <a:cubicBezTo>
                    <a:pt x="135" y="113"/>
                    <a:pt x="135" y="114"/>
                    <a:pt x="134" y="114"/>
                  </a:cubicBezTo>
                  <a:cubicBezTo>
                    <a:pt x="104" y="170"/>
                    <a:pt x="104" y="170"/>
                    <a:pt x="104" y="170"/>
                  </a:cubicBezTo>
                  <a:cubicBezTo>
                    <a:pt x="104" y="170"/>
                    <a:pt x="103" y="171"/>
                    <a:pt x="103" y="172"/>
                  </a:cubicBezTo>
                  <a:cubicBezTo>
                    <a:pt x="102" y="174"/>
                    <a:pt x="100" y="176"/>
                    <a:pt x="96" y="176"/>
                  </a:cubicBezTo>
                  <a:cubicBezTo>
                    <a:pt x="100" y="129"/>
                    <a:pt x="100" y="129"/>
                    <a:pt x="100" y="129"/>
                  </a:cubicBezTo>
                  <a:cubicBezTo>
                    <a:pt x="100" y="126"/>
                    <a:pt x="98" y="124"/>
                    <a:pt x="96" y="124"/>
                  </a:cubicBezTo>
                  <a:cubicBezTo>
                    <a:pt x="94" y="124"/>
                    <a:pt x="92" y="126"/>
                    <a:pt x="92" y="128"/>
                  </a:cubicBezTo>
                  <a:cubicBezTo>
                    <a:pt x="88" y="176"/>
                    <a:pt x="88" y="176"/>
                    <a:pt x="88" y="176"/>
                  </a:cubicBezTo>
                  <a:cubicBezTo>
                    <a:pt x="72" y="176"/>
                    <a:pt x="72" y="176"/>
                    <a:pt x="72" y="176"/>
                  </a:cubicBezTo>
                  <a:cubicBezTo>
                    <a:pt x="68" y="128"/>
                    <a:pt x="68" y="128"/>
                    <a:pt x="68" y="128"/>
                  </a:cubicBezTo>
                  <a:cubicBezTo>
                    <a:pt x="68" y="126"/>
                    <a:pt x="66" y="124"/>
                    <a:pt x="64" y="124"/>
                  </a:cubicBezTo>
                  <a:cubicBezTo>
                    <a:pt x="61" y="124"/>
                    <a:pt x="60" y="126"/>
                    <a:pt x="60" y="129"/>
                  </a:cubicBezTo>
                  <a:cubicBezTo>
                    <a:pt x="64" y="176"/>
                    <a:pt x="64" y="176"/>
                    <a:pt x="64" y="176"/>
                  </a:cubicBezTo>
                  <a:cubicBezTo>
                    <a:pt x="60" y="176"/>
                    <a:pt x="58" y="174"/>
                    <a:pt x="57" y="172"/>
                  </a:cubicBezTo>
                  <a:cubicBezTo>
                    <a:pt x="56" y="171"/>
                    <a:pt x="56" y="171"/>
                    <a:pt x="56" y="170"/>
                  </a:cubicBezTo>
                  <a:cubicBezTo>
                    <a:pt x="26" y="114"/>
                    <a:pt x="26" y="114"/>
                    <a:pt x="26" y="114"/>
                  </a:cubicBezTo>
                  <a:cubicBezTo>
                    <a:pt x="25" y="114"/>
                    <a:pt x="25" y="113"/>
                    <a:pt x="25" y="112"/>
                  </a:cubicBezTo>
                  <a:cubicBezTo>
                    <a:pt x="19" y="103"/>
                    <a:pt x="16" y="91"/>
                    <a:pt x="16" y="80"/>
                  </a:cubicBezTo>
                  <a:cubicBezTo>
                    <a:pt x="16" y="45"/>
                    <a:pt x="45" y="16"/>
                    <a:pt x="80" y="16"/>
                  </a:cubicBezTo>
                  <a:cubicBezTo>
                    <a:pt x="115" y="16"/>
                    <a:pt x="144" y="45"/>
                    <a:pt x="144" y="80"/>
                  </a:cubicBezTo>
                  <a:cubicBezTo>
                    <a:pt x="144" y="91"/>
                    <a:pt x="141" y="103"/>
                    <a:pt x="135" y="1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840"/>
            </a:p>
          </p:txBody>
        </p:sp>
        <p:sp>
          <p:nvSpPr>
            <p:cNvPr id="106" name="Freeform 22">
              <a:extLst>
                <a:ext uri="{FF2B5EF4-FFF2-40B4-BE49-F238E27FC236}">
                  <a16:creationId xmlns:a16="http://schemas.microsoft.com/office/drawing/2014/main" id="{B9FF8E04-0BA6-5D82-0D1B-7D16CDBE2E89}"/>
                </a:ext>
              </a:extLst>
            </p:cNvPr>
            <p:cNvSpPr>
              <a:spLocks/>
            </p:cNvSpPr>
            <p:nvPr/>
          </p:nvSpPr>
          <p:spPr bwMode="auto">
            <a:xfrm>
              <a:off x="6608763" y="642938"/>
              <a:ext cx="120650" cy="103188"/>
            </a:xfrm>
            <a:custGeom>
              <a:avLst/>
              <a:gdLst>
                <a:gd name="T0" fmla="*/ 35 w 41"/>
                <a:gd name="T1" fmla="*/ 1 h 35"/>
                <a:gd name="T2" fmla="*/ 1 w 41"/>
                <a:gd name="T3" fmla="*/ 29 h 35"/>
                <a:gd name="T4" fmla="*/ 3 w 41"/>
                <a:gd name="T5" fmla="*/ 35 h 35"/>
                <a:gd name="T6" fmla="*/ 4 w 41"/>
                <a:gd name="T7" fmla="*/ 35 h 35"/>
                <a:gd name="T8" fmla="*/ 8 w 41"/>
                <a:gd name="T9" fmla="*/ 33 h 35"/>
                <a:gd name="T10" fmla="*/ 37 w 41"/>
                <a:gd name="T11" fmla="*/ 9 h 35"/>
                <a:gd name="T12" fmla="*/ 40 w 41"/>
                <a:gd name="T13" fmla="*/ 4 h 35"/>
                <a:gd name="T14" fmla="*/ 35 w 41"/>
                <a:gd name="T15" fmla="*/ 1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" h="35">
                  <a:moveTo>
                    <a:pt x="35" y="1"/>
                  </a:moveTo>
                  <a:cubicBezTo>
                    <a:pt x="20" y="5"/>
                    <a:pt x="7" y="15"/>
                    <a:pt x="1" y="29"/>
                  </a:cubicBezTo>
                  <a:cubicBezTo>
                    <a:pt x="0" y="31"/>
                    <a:pt x="1" y="34"/>
                    <a:pt x="3" y="35"/>
                  </a:cubicBezTo>
                  <a:cubicBezTo>
                    <a:pt x="3" y="35"/>
                    <a:pt x="4" y="35"/>
                    <a:pt x="4" y="35"/>
                  </a:cubicBezTo>
                  <a:cubicBezTo>
                    <a:pt x="6" y="35"/>
                    <a:pt x="7" y="34"/>
                    <a:pt x="8" y="33"/>
                  </a:cubicBezTo>
                  <a:cubicBezTo>
                    <a:pt x="14" y="21"/>
                    <a:pt x="24" y="12"/>
                    <a:pt x="37" y="9"/>
                  </a:cubicBezTo>
                  <a:cubicBezTo>
                    <a:pt x="39" y="8"/>
                    <a:pt x="41" y="6"/>
                    <a:pt x="40" y="4"/>
                  </a:cubicBezTo>
                  <a:cubicBezTo>
                    <a:pt x="40" y="2"/>
                    <a:pt x="37" y="0"/>
                    <a:pt x="3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840"/>
            </a:p>
          </p:txBody>
        </p:sp>
      </p:grpSp>
      <p:sp>
        <p:nvSpPr>
          <p:cNvPr id="97" name="Freeform 23">
            <a:extLst>
              <a:ext uri="{FF2B5EF4-FFF2-40B4-BE49-F238E27FC236}">
                <a16:creationId xmlns:a16="http://schemas.microsoft.com/office/drawing/2014/main" id="{841D62E8-CAEC-9F9B-013F-3A8E970581A6}"/>
              </a:ext>
            </a:extLst>
          </p:cNvPr>
          <p:cNvSpPr>
            <a:spLocks noEditPoints="1"/>
          </p:cNvSpPr>
          <p:nvPr/>
        </p:nvSpPr>
        <p:spPr bwMode="auto">
          <a:xfrm>
            <a:off x="5694940" y="2757947"/>
            <a:ext cx="454094" cy="402143"/>
          </a:xfrm>
          <a:custGeom>
            <a:avLst/>
            <a:gdLst>
              <a:gd name="T0" fmla="*/ 232 w 256"/>
              <a:gd name="T1" fmla="*/ 84 h 227"/>
              <a:gd name="T2" fmla="*/ 172 w 256"/>
              <a:gd name="T3" fmla="*/ 44 h 227"/>
              <a:gd name="T4" fmla="*/ 120 w 256"/>
              <a:gd name="T5" fmla="*/ 48 h 227"/>
              <a:gd name="T6" fmla="*/ 64 w 256"/>
              <a:gd name="T7" fmla="*/ 107 h 227"/>
              <a:gd name="T8" fmla="*/ 0 w 256"/>
              <a:gd name="T9" fmla="*/ 131 h 227"/>
              <a:gd name="T10" fmla="*/ 32 w 256"/>
              <a:gd name="T11" fmla="*/ 227 h 227"/>
              <a:gd name="T12" fmla="*/ 87 w 256"/>
              <a:gd name="T13" fmla="*/ 212 h 227"/>
              <a:gd name="T14" fmla="*/ 103 w 256"/>
              <a:gd name="T15" fmla="*/ 219 h 227"/>
              <a:gd name="T16" fmla="*/ 232 w 256"/>
              <a:gd name="T17" fmla="*/ 197 h 227"/>
              <a:gd name="T18" fmla="*/ 240 w 256"/>
              <a:gd name="T19" fmla="*/ 169 h 227"/>
              <a:gd name="T20" fmla="*/ 248 w 256"/>
              <a:gd name="T21" fmla="*/ 140 h 227"/>
              <a:gd name="T22" fmla="*/ 256 w 256"/>
              <a:gd name="T23" fmla="*/ 108 h 227"/>
              <a:gd name="T24" fmla="*/ 32 w 256"/>
              <a:gd name="T25" fmla="*/ 211 h 227"/>
              <a:gd name="T26" fmla="*/ 16 w 256"/>
              <a:gd name="T27" fmla="*/ 131 h 227"/>
              <a:gd name="T28" fmla="*/ 64 w 256"/>
              <a:gd name="T29" fmla="*/ 123 h 227"/>
              <a:gd name="T30" fmla="*/ 72 w 256"/>
              <a:gd name="T31" fmla="*/ 198 h 227"/>
              <a:gd name="T32" fmla="*/ 72 w 256"/>
              <a:gd name="T33" fmla="*/ 203 h 227"/>
              <a:gd name="T34" fmla="*/ 210 w 256"/>
              <a:gd name="T35" fmla="*/ 203 h 227"/>
              <a:gd name="T36" fmla="*/ 88 w 256"/>
              <a:gd name="T37" fmla="*/ 194 h 227"/>
              <a:gd name="T38" fmla="*/ 86 w 256"/>
              <a:gd name="T39" fmla="*/ 121 h 227"/>
              <a:gd name="T40" fmla="*/ 140 w 256"/>
              <a:gd name="T41" fmla="*/ 16 h 227"/>
              <a:gd name="T42" fmla="*/ 152 w 256"/>
              <a:gd name="T43" fmla="*/ 90 h 227"/>
              <a:gd name="T44" fmla="*/ 160 w 256"/>
              <a:gd name="T45" fmla="*/ 100 h 227"/>
              <a:gd name="T46" fmla="*/ 240 w 256"/>
              <a:gd name="T47" fmla="*/ 108 h 227"/>
              <a:gd name="T48" fmla="*/ 223 w 256"/>
              <a:gd name="T49" fmla="*/ 116 h 227"/>
              <a:gd name="T50" fmla="*/ 223 w 256"/>
              <a:gd name="T51" fmla="*/ 132 h 227"/>
              <a:gd name="T52" fmla="*/ 224 w 256"/>
              <a:gd name="T53" fmla="*/ 132 h 227"/>
              <a:gd name="T54" fmla="*/ 224 w 256"/>
              <a:gd name="T55" fmla="*/ 148 h 227"/>
              <a:gd name="T56" fmla="*/ 218 w 256"/>
              <a:gd name="T57" fmla="*/ 147 h 227"/>
              <a:gd name="T58" fmla="*/ 215 w 256"/>
              <a:gd name="T59" fmla="*/ 148 h 227"/>
              <a:gd name="T60" fmla="*/ 215 w 256"/>
              <a:gd name="T61" fmla="*/ 164 h 227"/>
              <a:gd name="T62" fmla="*/ 224 w 256"/>
              <a:gd name="T63" fmla="*/ 169 h 227"/>
              <a:gd name="T64" fmla="*/ 210 w 256"/>
              <a:gd name="T65" fmla="*/ 175 h 227"/>
              <a:gd name="T66" fmla="*/ 210 w 256"/>
              <a:gd name="T67" fmla="*/ 175 h 227"/>
              <a:gd name="T68" fmla="*/ 210 w 256"/>
              <a:gd name="T69" fmla="*/ 191 h 227"/>
              <a:gd name="T70" fmla="*/ 210 w 256"/>
              <a:gd name="T71" fmla="*/ 203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56" h="227">
                <a:moveTo>
                  <a:pt x="256" y="108"/>
                </a:moveTo>
                <a:cubicBezTo>
                  <a:pt x="256" y="94"/>
                  <a:pt x="245" y="84"/>
                  <a:pt x="232" y="84"/>
                </a:cubicBezTo>
                <a:cubicBezTo>
                  <a:pt x="169" y="84"/>
                  <a:pt x="169" y="84"/>
                  <a:pt x="169" y="84"/>
                </a:cubicBezTo>
                <a:cubicBezTo>
                  <a:pt x="171" y="74"/>
                  <a:pt x="172" y="59"/>
                  <a:pt x="172" y="44"/>
                </a:cubicBezTo>
                <a:cubicBezTo>
                  <a:pt x="172" y="13"/>
                  <a:pt x="156" y="0"/>
                  <a:pt x="140" y="0"/>
                </a:cubicBezTo>
                <a:cubicBezTo>
                  <a:pt x="120" y="0"/>
                  <a:pt x="120" y="21"/>
                  <a:pt x="120" y="48"/>
                </a:cubicBezTo>
                <a:cubicBezTo>
                  <a:pt x="120" y="67"/>
                  <a:pt x="90" y="97"/>
                  <a:pt x="75" y="110"/>
                </a:cubicBezTo>
                <a:cubicBezTo>
                  <a:pt x="71" y="108"/>
                  <a:pt x="68" y="107"/>
                  <a:pt x="64" y="107"/>
                </a:cubicBezTo>
                <a:cubicBezTo>
                  <a:pt x="24" y="107"/>
                  <a:pt x="24" y="107"/>
                  <a:pt x="24" y="107"/>
                </a:cubicBezTo>
                <a:cubicBezTo>
                  <a:pt x="11" y="107"/>
                  <a:pt x="0" y="118"/>
                  <a:pt x="0" y="131"/>
                </a:cubicBezTo>
                <a:cubicBezTo>
                  <a:pt x="8" y="203"/>
                  <a:pt x="8" y="203"/>
                  <a:pt x="8" y="203"/>
                </a:cubicBezTo>
                <a:cubicBezTo>
                  <a:pt x="10" y="216"/>
                  <a:pt x="19" y="227"/>
                  <a:pt x="32" y="227"/>
                </a:cubicBezTo>
                <a:cubicBezTo>
                  <a:pt x="64" y="227"/>
                  <a:pt x="64" y="227"/>
                  <a:pt x="64" y="227"/>
                </a:cubicBezTo>
                <a:cubicBezTo>
                  <a:pt x="74" y="227"/>
                  <a:pt x="83" y="221"/>
                  <a:pt x="87" y="212"/>
                </a:cubicBezTo>
                <a:cubicBezTo>
                  <a:pt x="100" y="219"/>
                  <a:pt x="100" y="219"/>
                  <a:pt x="100" y="219"/>
                </a:cubicBezTo>
                <a:cubicBezTo>
                  <a:pt x="101" y="219"/>
                  <a:pt x="102" y="219"/>
                  <a:pt x="103" y="219"/>
                </a:cubicBezTo>
                <a:cubicBezTo>
                  <a:pt x="210" y="219"/>
                  <a:pt x="210" y="219"/>
                  <a:pt x="210" y="219"/>
                </a:cubicBezTo>
                <a:cubicBezTo>
                  <a:pt x="222" y="219"/>
                  <a:pt x="232" y="210"/>
                  <a:pt x="232" y="197"/>
                </a:cubicBezTo>
                <a:cubicBezTo>
                  <a:pt x="232" y="194"/>
                  <a:pt x="231" y="191"/>
                  <a:pt x="230" y="188"/>
                </a:cubicBezTo>
                <a:cubicBezTo>
                  <a:pt x="236" y="184"/>
                  <a:pt x="240" y="177"/>
                  <a:pt x="240" y="169"/>
                </a:cubicBezTo>
                <a:cubicBezTo>
                  <a:pt x="240" y="166"/>
                  <a:pt x="239" y="162"/>
                  <a:pt x="238" y="159"/>
                </a:cubicBezTo>
                <a:cubicBezTo>
                  <a:pt x="244" y="155"/>
                  <a:pt x="248" y="148"/>
                  <a:pt x="248" y="140"/>
                </a:cubicBezTo>
                <a:cubicBezTo>
                  <a:pt x="248" y="135"/>
                  <a:pt x="247" y="131"/>
                  <a:pt x="245" y="128"/>
                </a:cubicBezTo>
                <a:cubicBezTo>
                  <a:pt x="252" y="123"/>
                  <a:pt x="256" y="116"/>
                  <a:pt x="256" y="108"/>
                </a:cubicBezTo>
                <a:close/>
                <a:moveTo>
                  <a:pt x="64" y="211"/>
                </a:moveTo>
                <a:cubicBezTo>
                  <a:pt x="32" y="211"/>
                  <a:pt x="32" y="211"/>
                  <a:pt x="32" y="211"/>
                </a:cubicBezTo>
                <a:cubicBezTo>
                  <a:pt x="28" y="211"/>
                  <a:pt x="25" y="206"/>
                  <a:pt x="24" y="202"/>
                </a:cubicBezTo>
                <a:cubicBezTo>
                  <a:pt x="16" y="131"/>
                  <a:pt x="16" y="131"/>
                  <a:pt x="16" y="131"/>
                </a:cubicBezTo>
                <a:cubicBezTo>
                  <a:pt x="17" y="127"/>
                  <a:pt x="20" y="123"/>
                  <a:pt x="24" y="123"/>
                </a:cubicBezTo>
                <a:cubicBezTo>
                  <a:pt x="64" y="123"/>
                  <a:pt x="64" y="123"/>
                  <a:pt x="64" y="123"/>
                </a:cubicBezTo>
                <a:cubicBezTo>
                  <a:pt x="69" y="123"/>
                  <a:pt x="72" y="127"/>
                  <a:pt x="72" y="131"/>
                </a:cubicBezTo>
                <a:cubicBezTo>
                  <a:pt x="72" y="198"/>
                  <a:pt x="72" y="198"/>
                  <a:pt x="72" y="198"/>
                </a:cubicBezTo>
                <a:cubicBezTo>
                  <a:pt x="72" y="199"/>
                  <a:pt x="72" y="200"/>
                  <a:pt x="72" y="201"/>
                </a:cubicBezTo>
                <a:cubicBezTo>
                  <a:pt x="72" y="203"/>
                  <a:pt x="72" y="203"/>
                  <a:pt x="72" y="203"/>
                </a:cubicBezTo>
                <a:cubicBezTo>
                  <a:pt x="72" y="208"/>
                  <a:pt x="69" y="211"/>
                  <a:pt x="64" y="211"/>
                </a:cubicBezTo>
                <a:close/>
                <a:moveTo>
                  <a:pt x="210" y="203"/>
                </a:moveTo>
                <a:cubicBezTo>
                  <a:pt x="105" y="203"/>
                  <a:pt x="105" y="203"/>
                  <a:pt x="105" y="203"/>
                </a:cubicBezTo>
                <a:cubicBezTo>
                  <a:pt x="88" y="194"/>
                  <a:pt x="88" y="194"/>
                  <a:pt x="88" y="194"/>
                </a:cubicBezTo>
                <a:cubicBezTo>
                  <a:pt x="88" y="131"/>
                  <a:pt x="88" y="131"/>
                  <a:pt x="88" y="131"/>
                </a:cubicBezTo>
                <a:cubicBezTo>
                  <a:pt x="88" y="128"/>
                  <a:pt x="87" y="124"/>
                  <a:pt x="86" y="121"/>
                </a:cubicBezTo>
                <a:cubicBezTo>
                  <a:pt x="100" y="109"/>
                  <a:pt x="136" y="75"/>
                  <a:pt x="136" y="48"/>
                </a:cubicBezTo>
                <a:cubicBezTo>
                  <a:pt x="136" y="31"/>
                  <a:pt x="136" y="16"/>
                  <a:pt x="140" y="16"/>
                </a:cubicBezTo>
                <a:cubicBezTo>
                  <a:pt x="148" y="16"/>
                  <a:pt x="156" y="25"/>
                  <a:pt x="156" y="44"/>
                </a:cubicBezTo>
                <a:cubicBezTo>
                  <a:pt x="156" y="67"/>
                  <a:pt x="152" y="90"/>
                  <a:pt x="152" y="90"/>
                </a:cubicBezTo>
                <a:cubicBezTo>
                  <a:pt x="152" y="93"/>
                  <a:pt x="153" y="95"/>
                  <a:pt x="154" y="97"/>
                </a:cubicBezTo>
                <a:cubicBezTo>
                  <a:pt x="156" y="98"/>
                  <a:pt x="158" y="100"/>
                  <a:pt x="160" y="100"/>
                </a:cubicBezTo>
                <a:cubicBezTo>
                  <a:pt x="232" y="100"/>
                  <a:pt x="232" y="100"/>
                  <a:pt x="232" y="100"/>
                </a:cubicBezTo>
                <a:cubicBezTo>
                  <a:pt x="237" y="100"/>
                  <a:pt x="240" y="103"/>
                  <a:pt x="240" y="108"/>
                </a:cubicBezTo>
                <a:cubicBezTo>
                  <a:pt x="240" y="112"/>
                  <a:pt x="237" y="116"/>
                  <a:pt x="232" y="116"/>
                </a:cubicBezTo>
                <a:cubicBezTo>
                  <a:pt x="223" y="116"/>
                  <a:pt x="223" y="116"/>
                  <a:pt x="223" y="116"/>
                </a:cubicBezTo>
                <a:cubicBezTo>
                  <a:pt x="219" y="116"/>
                  <a:pt x="215" y="119"/>
                  <a:pt x="215" y="124"/>
                </a:cubicBezTo>
                <a:cubicBezTo>
                  <a:pt x="215" y="128"/>
                  <a:pt x="219" y="132"/>
                  <a:pt x="223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9" y="132"/>
                  <a:pt x="232" y="135"/>
                  <a:pt x="232" y="140"/>
                </a:cubicBezTo>
                <a:cubicBezTo>
                  <a:pt x="232" y="144"/>
                  <a:pt x="229" y="148"/>
                  <a:pt x="224" y="148"/>
                </a:cubicBezTo>
                <a:cubicBezTo>
                  <a:pt x="219" y="148"/>
                  <a:pt x="219" y="148"/>
                  <a:pt x="219" y="148"/>
                </a:cubicBezTo>
                <a:cubicBezTo>
                  <a:pt x="219" y="148"/>
                  <a:pt x="218" y="147"/>
                  <a:pt x="218" y="147"/>
                </a:cubicBezTo>
                <a:cubicBezTo>
                  <a:pt x="218" y="147"/>
                  <a:pt x="218" y="148"/>
                  <a:pt x="218" y="148"/>
                </a:cubicBezTo>
                <a:cubicBezTo>
                  <a:pt x="215" y="148"/>
                  <a:pt x="215" y="148"/>
                  <a:pt x="215" y="148"/>
                </a:cubicBezTo>
                <a:cubicBezTo>
                  <a:pt x="211" y="148"/>
                  <a:pt x="207" y="151"/>
                  <a:pt x="207" y="156"/>
                </a:cubicBezTo>
                <a:cubicBezTo>
                  <a:pt x="207" y="160"/>
                  <a:pt x="211" y="164"/>
                  <a:pt x="215" y="164"/>
                </a:cubicBezTo>
                <a:cubicBezTo>
                  <a:pt x="218" y="164"/>
                  <a:pt x="218" y="164"/>
                  <a:pt x="218" y="164"/>
                </a:cubicBezTo>
                <a:cubicBezTo>
                  <a:pt x="222" y="164"/>
                  <a:pt x="224" y="166"/>
                  <a:pt x="224" y="169"/>
                </a:cubicBezTo>
                <a:cubicBezTo>
                  <a:pt x="224" y="173"/>
                  <a:pt x="221" y="175"/>
                  <a:pt x="218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06" y="175"/>
                  <a:pt x="202" y="179"/>
                  <a:pt x="202" y="183"/>
                </a:cubicBezTo>
                <a:cubicBezTo>
                  <a:pt x="202" y="188"/>
                  <a:pt x="206" y="191"/>
                  <a:pt x="210" y="191"/>
                </a:cubicBezTo>
                <a:cubicBezTo>
                  <a:pt x="213" y="191"/>
                  <a:pt x="216" y="194"/>
                  <a:pt x="216" y="197"/>
                </a:cubicBezTo>
                <a:cubicBezTo>
                  <a:pt x="216" y="201"/>
                  <a:pt x="213" y="203"/>
                  <a:pt x="210" y="20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US" sz="840"/>
          </a:p>
        </p:txBody>
      </p:sp>
      <p:grpSp>
        <p:nvGrpSpPr>
          <p:cNvPr id="98" name="Group 97">
            <a:extLst>
              <a:ext uri="{FF2B5EF4-FFF2-40B4-BE49-F238E27FC236}">
                <a16:creationId xmlns:a16="http://schemas.microsoft.com/office/drawing/2014/main" id="{50E7E2B2-205F-2A7B-44AF-E10602711ED0}"/>
              </a:ext>
            </a:extLst>
          </p:cNvPr>
          <p:cNvGrpSpPr>
            <a:grpSpLocks noChangeAspect="1"/>
          </p:cNvGrpSpPr>
          <p:nvPr/>
        </p:nvGrpSpPr>
        <p:grpSpPr>
          <a:xfrm>
            <a:off x="5712331" y="1889802"/>
            <a:ext cx="419310" cy="399123"/>
            <a:chOff x="6719888" y="887413"/>
            <a:chExt cx="492125" cy="468312"/>
          </a:xfrm>
          <a:solidFill>
            <a:schemeClr val="bg1"/>
          </a:solidFill>
        </p:grpSpPr>
        <p:sp>
          <p:nvSpPr>
            <p:cNvPr id="99" name="Freeform 26">
              <a:extLst>
                <a:ext uri="{FF2B5EF4-FFF2-40B4-BE49-F238E27FC236}">
                  <a16:creationId xmlns:a16="http://schemas.microsoft.com/office/drawing/2014/main" id="{EF0189E6-DE6C-3558-86B4-65AC151F66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19888" y="887413"/>
              <a:ext cx="492125" cy="468312"/>
            </a:xfrm>
            <a:custGeom>
              <a:avLst/>
              <a:gdLst>
                <a:gd name="T0" fmla="*/ 117 w 128"/>
                <a:gd name="T1" fmla="*/ 0 h 122"/>
                <a:gd name="T2" fmla="*/ 11 w 128"/>
                <a:gd name="T3" fmla="*/ 0 h 122"/>
                <a:gd name="T4" fmla="*/ 0 w 128"/>
                <a:gd name="T5" fmla="*/ 11 h 122"/>
                <a:gd name="T6" fmla="*/ 0 w 128"/>
                <a:gd name="T7" fmla="*/ 93 h 122"/>
                <a:gd name="T8" fmla="*/ 11 w 128"/>
                <a:gd name="T9" fmla="*/ 104 h 122"/>
                <a:gd name="T10" fmla="*/ 43 w 128"/>
                <a:gd name="T11" fmla="*/ 104 h 122"/>
                <a:gd name="T12" fmla="*/ 38 w 128"/>
                <a:gd name="T13" fmla="*/ 110 h 122"/>
                <a:gd name="T14" fmla="*/ 35 w 128"/>
                <a:gd name="T15" fmla="*/ 113 h 122"/>
                <a:gd name="T16" fmla="*/ 34 w 128"/>
                <a:gd name="T17" fmla="*/ 118 h 122"/>
                <a:gd name="T18" fmla="*/ 42 w 128"/>
                <a:gd name="T19" fmla="*/ 122 h 122"/>
                <a:gd name="T20" fmla="*/ 86 w 128"/>
                <a:gd name="T21" fmla="*/ 122 h 122"/>
                <a:gd name="T22" fmla="*/ 94 w 128"/>
                <a:gd name="T23" fmla="*/ 118 h 122"/>
                <a:gd name="T24" fmla="*/ 94 w 128"/>
                <a:gd name="T25" fmla="*/ 113 h 122"/>
                <a:gd name="T26" fmla="*/ 91 w 128"/>
                <a:gd name="T27" fmla="*/ 110 h 122"/>
                <a:gd name="T28" fmla="*/ 85 w 128"/>
                <a:gd name="T29" fmla="*/ 104 h 122"/>
                <a:gd name="T30" fmla="*/ 117 w 128"/>
                <a:gd name="T31" fmla="*/ 104 h 122"/>
                <a:gd name="T32" fmla="*/ 128 w 128"/>
                <a:gd name="T33" fmla="*/ 93 h 122"/>
                <a:gd name="T34" fmla="*/ 128 w 128"/>
                <a:gd name="T35" fmla="*/ 11 h 122"/>
                <a:gd name="T36" fmla="*/ 117 w 128"/>
                <a:gd name="T37" fmla="*/ 0 h 122"/>
                <a:gd name="T38" fmla="*/ 88 w 128"/>
                <a:gd name="T39" fmla="*/ 113 h 122"/>
                <a:gd name="T40" fmla="*/ 90 w 128"/>
                <a:gd name="T41" fmla="*/ 116 h 122"/>
                <a:gd name="T42" fmla="*/ 90 w 128"/>
                <a:gd name="T43" fmla="*/ 116 h 122"/>
                <a:gd name="T44" fmla="*/ 86 w 128"/>
                <a:gd name="T45" fmla="*/ 118 h 122"/>
                <a:gd name="T46" fmla="*/ 42 w 128"/>
                <a:gd name="T47" fmla="*/ 118 h 122"/>
                <a:gd name="T48" fmla="*/ 38 w 128"/>
                <a:gd name="T49" fmla="*/ 116 h 122"/>
                <a:gd name="T50" fmla="*/ 38 w 128"/>
                <a:gd name="T51" fmla="*/ 116 h 122"/>
                <a:gd name="T52" fmla="*/ 38 w 128"/>
                <a:gd name="T53" fmla="*/ 116 h 122"/>
                <a:gd name="T54" fmla="*/ 40 w 128"/>
                <a:gd name="T55" fmla="*/ 113 h 122"/>
                <a:gd name="T56" fmla="*/ 48 w 128"/>
                <a:gd name="T57" fmla="*/ 104 h 122"/>
                <a:gd name="T58" fmla="*/ 80 w 128"/>
                <a:gd name="T59" fmla="*/ 104 h 122"/>
                <a:gd name="T60" fmla="*/ 88 w 128"/>
                <a:gd name="T61" fmla="*/ 113 h 122"/>
                <a:gd name="T62" fmla="*/ 120 w 128"/>
                <a:gd name="T63" fmla="*/ 93 h 122"/>
                <a:gd name="T64" fmla="*/ 117 w 128"/>
                <a:gd name="T65" fmla="*/ 96 h 122"/>
                <a:gd name="T66" fmla="*/ 11 w 128"/>
                <a:gd name="T67" fmla="*/ 96 h 122"/>
                <a:gd name="T68" fmla="*/ 8 w 128"/>
                <a:gd name="T69" fmla="*/ 93 h 122"/>
                <a:gd name="T70" fmla="*/ 8 w 128"/>
                <a:gd name="T71" fmla="*/ 11 h 122"/>
                <a:gd name="T72" fmla="*/ 11 w 128"/>
                <a:gd name="T73" fmla="*/ 8 h 122"/>
                <a:gd name="T74" fmla="*/ 117 w 128"/>
                <a:gd name="T75" fmla="*/ 8 h 122"/>
                <a:gd name="T76" fmla="*/ 120 w 128"/>
                <a:gd name="T77" fmla="*/ 11 h 122"/>
                <a:gd name="T78" fmla="*/ 120 w 128"/>
                <a:gd name="T79" fmla="*/ 93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8" h="122">
                  <a:moveTo>
                    <a:pt x="117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99"/>
                    <a:pt x="5" y="104"/>
                    <a:pt x="11" y="104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42" y="106"/>
                    <a:pt x="39" y="109"/>
                    <a:pt x="38" y="110"/>
                  </a:cubicBezTo>
                  <a:cubicBezTo>
                    <a:pt x="36" y="111"/>
                    <a:pt x="35" y="112"/>
                    <a:pt x="35" y="113"/>
                  </a:cubicBezTo>
                  <a:cubicBezTo>
                    <a:pt x="34" y="114"/>
                    <a:pt x="33" y="116"/>
                    <a:pt x="34" y="118"/>
                  </a:cubicBezTo>
                  <a:cubicBezTo>
                    <a:pt x="35" y="120"/>
                    <a:pt x="37" y="122"/>
                    <a:pt x="42" y="122"/>
                  </a:cubicBezTo>
                  <a:cubicBezTo>
                    <a:pt x="86" y="122"/>
                    <a:pt x="86" y="122"/>
                    <a:pt x="86" y="122"/>
                  </a:cubicBezTo>
                  <a:cubicBezTo>
                    <a:pt x="91" y="122"/>
                    <a:pt x="93" y="120"/>
                    <a:pt x="94" y="118"/>
                  </a:cubicBezTo>
                  <a:cubicBezTo>
                    <a:pt x="95" y="116"/>
                    <a:pt x="95" y="114"/>
                    <a:pt x="94" y="113"/>
                  </a:cubicBezTo>
                  <a:cubicBezTo>
                    <a:pt x="93" y="112"/>
                    <a:pt x="92" y="111"/>
                    <a:pt x="91" y="110"/>
                  </a:cubicBezTo>
                  <a:cubicBezTo>
                    <a:pt x="89" y="109"/>
                    <a:pt x="87" y="106"/>
                    <a:pt x="85" y="104"/>
                  </a:cubicBezTo>
                  <a:cubicBezTo>
                    <a:pt x="117" y="104"/>
                    <a:pt x="117" y="104"/>
                    <a:pt x="117" y="104"/>
                  </a:cubicBezTo>
                  <a:cubicBezTo>
                    <a:pt x="123" y="104"/>
                    <a:pt x="128" y="99"/>
                    <a:pt x="128" y="93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28" y="5"/>
                    <a:pt x="123" y="0"/>
                    <a:pt x="117" y="0"/>
                  </a:cubicBezTo>
                  <a:close/>
                  <a:moveTo>
                    <a:pt x="88" y="113"/>
                  </a:moveTo>
                  <a:cubicBezTo>
                    <a:pt x="89" y="114"/>
                    <a:pt x="90" y="115"/>
                    <a:pt x="90" y="116"/>
                  </a:cubicBezTo>
                  <a:cubicBezTo>
                    <a:pt x="90" y="116"/>
                    <a:pt x="91" y="116"/>
                    <a:pt x="90" y="116"/>
                  </a:cubicBezTo>
                  <a:cubicBezTo>
                    <a:pt x="90" y="117"/>
                    <a:pt x="88" y="118"/>
                    <a:pt x="86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0" y="118"/>
                    <a:pt x="38" y="117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5"/>
                    <a:pt x="39" y="114"/>
                    <a:pt x="40" y="113"/>
                  </a:cubicBezTo>
                  <a:cubicBezTo>
                    <a:pt x="44" y="109"/>
                    <a:pt x="47" y="106"/>
                    <a:pt x="48" y="104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82" y="106"/>
                    <a:pt x="84" y="109"/>
                    <a:pt x="88" y="113"/>
                  </a:cubicBezTo>
                  <a:close/>
                  <a:moveTo>
                    <a:pt x="120" y="93"/>
                  </a:moveTo>
                  <a:cubicBezTo>
                    <a:pt x="120" y="95"/>
                    <a:pt x="119" y="96"/>
                    <a:pt x="117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9" y="96"/>
                    <a:pt x="8" y="95"/>
                    <a:pt x="8" y="93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9"/>
                    <a:pt x="9" y="8"/>
                    <a:pt x="11" y="8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9" y="8"/>
                    <a:pt x="120" y="9"/>
                    <a:pt x="120" y="11"/>
                  </a:cubicBezTo>
                  <a:lnTo>
                    <a:pt x="120" y="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  <p:sp>
          <p:nvSpPr>
            <p:cNvPr id="100" name="Freeform 27">
              <a:extLst>
                <a:ext uri="{FF2B5EF4-FFF2-40B4-BE49-F238E27FC236}">
                  <a16:creationId xmlns:a16="http://schemas.microsoft.com/office/drawing/2014/main" id="{A40A3A07-E6DA-D44E-15A7-2F7CEC71B6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81801" y="947738"/>
              <a:ext cx="368300" cy="247650"/>
            </a:xfrm>
            <a:custGeom>
              <a:avLst/>
              <a:gdLst>
                <a:gd name="T0" fmla="*/ 89 w 96"/>
                <a:gd name="T1" fmla="*/ 0 h 64"/>
                <a:gd name="T2" fmla="*/ 7 w 96"/>
                <a:gd name="T3" fmla="*/ 0 h 64"/>
                <a:gd name="T4" fmla="*/ 0 w 96"/>
                <a:gd name="T5" fmla="*/ 7 h 64"/>
                <a:gd name="T6" fmla="*/ 0 w 96"/>
                <a:gd name="T7" fmla="*/ 57 h 64"/>
                <a:gd name="T8" fmla="*/ 7 w 96"/>
                <a:gd name="T9" fmla="*/ 64 h 64"/>
                <a:gd name="T10" fmla="*/ 89 w 96"/>
                <a:gd name="T11" fmla="*/ 64 h 64"/>
                <a:gd name="T12" fmla="*/ 96 w 96"/>
                <a:gd name="T13" fmla="*/ 57 h 64"/>
                <a:gd name="T14" fmla="*/ 96 w 96"/>
                <a:gd name="T15" fmla="*/ 7 h 64"/>
                <a:gd name="T16" fmla="*/ 89 w 96"/>
                <a:gd name="T17" fmla="*/ 0 h 64"/>
                <a:gd name="T18" fmla="*/ 92 w 96"/>
                <a:gd name="T19" fmla="*/ 57 h 64"/>
                <a:gd name="T20" fmla="*/ 89 w 96"/>
                <a:gd name="T21" fmla="*/ 60 h 64"/>
                <a:gd name="T22" fmla="*/ 7 w 96"/>
                <a:gd name="T23" fmla="*/ 60 h 64"/>
                <a:gd name="T24" fmla="*/ 4 w 96"/>
                <a:gd name="T25" fmla="*/ 57 h 64"/>
                <a:gd name="T26" fmla="*/ 4 w 96"/>
                <a:gd name="T27" fmla="*/ 7 h 64"/>
                <a:gd name="T28" fmla="*/ 7 w 96"/>
                <a:gd name="T29" fmla="*/ 4 h 64"/>
                <a:gd name="T30" fmla="*/ 89 w 96"/>
                <a:gd name="T31" fmla="*/ 4 h 64"/>
                <a:gd name="T32" fmla="*/ 92 w 96"/>
                <a:gd name="T33" fmla="*/ 7 h 64"/>
                <a:gd name="T34" fmla="*/ 92 w 96"/>
                <a:gd name="T35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6" h="64">
                  <a:moveTo>
                    <a:pt x="89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1"/>
                    <a:pt x="3" y="64"/>
                    <a:pt x="7" y="64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93" y="64"/>
                    <a:pt x="96" y="61"/>
                    <a:pt x="96" y="5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3"/>
                    <a:pt x="93" y="0"/>
                    <a:pt x="89" y="0"/>
                  </a:cubicBezTo>
                  <a:close/>
                  <a:moveTo>
                    <a:pt x="92" y="57"/>
                  </a:moveTo>
                  <a:cubicBezTo>
                    <a:pt x="92" y="59"/>
                    <a:pt x="91" y="60"/>
                    <a:pt x="89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5" y="60"/>
                    <a:pt x="4" y="59"/>
                    <a:pt x="4" y="5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5" y="4"/>
                    <a:pt x="7" y="4"/>
                  </a:cubicBezTo>
                  <a:cubicBezTo>
                    <a:pt x="89" y="4"/>
                    <a:pt x="89" y="4"/>
                    <a:pt x="89" y="4"/>
                  </a:cubicBezTo>
                  <a:cubicBezTo>
                    <a:pt x="91" y="4"/>
                    <a:pt x="92" y="5"/>
                    <a:pt x="92" y="7"/>
                  </a:cubicBezTo>
                  <a:lnTo>
                    <a:pt x="92" y="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  <p:sp>
          <p:nvSpPr>
            <p:cNvPr id="101" name="Freeform 28">
              <a:extLst>
                <a:ext uri="{FF2B5EF4-FFF2-40B4-BE49-F238E27FC236}">
                  <a16:creationId xmlns:a16="http://schemas.microsoft.com/office/drawing/2014/main" id="{E7D21A17-C04A-4193-59C9-4EF1A081CD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43726" y="1201738"/>
              <a:ext cx="46038" cy="47625"/>
            </a:xfrm>
            <a:custGeom>
              <a:avLst/>
              <a:gdLst>
                <a:gd name="T0" fmla="*/ 6 w 12"/>
                <a:gd name="T1" fmla="*/ 0 h 12"/>
                <a:gd name="T2" fmla="*/ 0 w 12"/>
                <a:gd name="T3" fmla="*/ 6 h 12"/>
                <a:gd name="T4" fmla="*/ 6 w 12"/>
                <a:gd name="T5" fmla="*/ 12 h 12"/>
                <a:gd name="T6" fmla="*/ 12 w 12"/>
                <a:gd name="T7" fmla="*/ 6 h 12"/>
                <a:gd name="T8" fmla="*/ 6 w 12"/>
                <a:gd name="T9" fmla="*/ 0 h 12"/>
                <a:gd name="T10" fmla="*/ 6 w 12"/>
                <a:gd name="T11" fmla="*/ 8 h 12"/>
                <a:gd name="T12" fmla="*/ 4 w 12"/>
                <a:gd name="T13" fmla="*/ 6 h 12"/>
                <a:gd name="T14" fmla="*/ 6 w 12"/>
                <a:gd name="T15" fmla="*/ 4 h 12"/>
                <a:gd name="T16" fmla="*/ 8 w 12"/>
                <a:gd name="T17" fmla="*/ 6 h 12"/>
                <a:gd name="T18" fmla="*/ 6 w 12"/>
                <a:gd name="T1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9" y="12"/>
                    <a:pt x="12" y="9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lose/>
                  <a:moveTo>
                    <a:pt x="6" y="8"/>
                  </a:moveTo>
                  <a:cubicBezTo>
                    <a:pt x="5" y="8"/>
                    <a:pt x="4" y="7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7" y="4"/>
                    <a:pt x="8" y="5"/>
                    <a:pt x="8" y="6"/>
                  </a:cubicBezTo>
                  <a:cubicBezTo>
                    <a:pt x="8" y="7"/>
                    <a:pt x="7" y="8"/>
                    <a:pt x="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  <p:sp>
          <p:nvSpPr>
            <p:cNvPr id="102" name="Freeform 29">
              <a:extLst>
                <a:ext uri="{FF2B5EF4-FFF2-40B4-BE49-F238E27FC236}">
                  <a16:creationId xmlns:a16="http://schemas.microsoft.com/office/drawing/2014/main" id="{77A1DE49-18F6-3FF4-0679-786354130697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1813" y="1044575"/>
              <a:ext cx="61913" cy="65087"/>
            </a:xfrm>
            <a:custGeom>
              <a:avLst/>
              <a:gdLst>
                <a:gd name="T0" fmla="*/ 0 w 39"/>
                <a:gd name="T1" fmla="*/ 24 h 41"/>
                <a:gd name="T2" fmla="*/ 39 w 39"/>
                <a:gd name="T3" fmla="*/ 41 h 41"/>
                <a:gd name="T4" fmla="*/ 39 w 39"/>
                <a:gd name="T5" fmla="*/ 32 h 41"/>
                <a:gd name="T6" fmla="*/ 12 w 39"/>
                <a:gd name="T7" fmla="*/ 19 h 41"/>
                <a:gd name="T8" fmla="*/ 39 w 39"/>
                <a:gd name="T9" fmla="*/ 10 h 41"/>
                <a:gd name="T10" fmla="*/ 39 w 39"/>
                <a:gd name="T11" fmla="*/ 0 h 41"/>
                <a:gd name="T12" fmla="*/ 0 w 39"/>
                <a:gd name="T13" fmla="*/ 17 h 41"/>
                <a:gd name="T14" fmla="*/ 0 w 39"/>
                <a:gd name="T15" fmla="*/ 2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41">
                  <a:moveTo>
                    <a:pt x="0" y="24"/>
                  </a:moveTo>
                  <a:lnTo>
                    <a:pt x="39" y="41"/>
                  </a:lnTo>
                  <a:lnTo>
                    <a:pt x="39" y="32"/>
                  </a:lnTo>
                  <a:lnTo>
                    <a:pt x="12" y="19"/>
                  </a:lnTo>
                  <a:lnTo>
                    <a:pt x="39" y="10"/>
                  </a:lnTo>
                  <a:lnTo>
                    <a:pt x="39" y="0"/>
                  </a:lnTo>
                  <a:lnTo>
                    <a:pt x="0" y="17"/>
                  </a:lnTo>
                  <a:lnTo>
                    <a:pt x="0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  <p:sp>
          <p:nvSpPr>
            <p:cNvPr id="103" name="Freeform 30">
              <a:extLst>
                <a:ext uri="{FF2B5EF4-FFF2-40B4-BE49-F238E27FC236}">
                  <a16:creationId xmlns:a16="http://schemas.microsoft.com/office/drawing/2014/main" id="{D4C52B7B-4125-1D0B-98FA-76CD4D92FCCE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0076" y="1033463"/>
              <a:ext cx="31750" cy="87312"/>
            </a:xfrm>
            <a:custGeom>
              <a:avLst/>
              <a:gdLst>
                <a:gd name="T0" fmla="*/ 7 w 8"/>
                <a:gd name="T1" fmla="*/ 0 h 23"/>
                <a:gd name="T2" fmla="*/ 5 w 8"/>
                <a:gd name="T3" fmla="*/ 0 h 23"/>
                <a:gd name="T4" fmla="*/ 5 w 8"/>
                <a:gd name="T5" fmla="*/ 2 h 23"/>
                <a:gd name="T6" fmla="*/ 0 w 8"/>
                <a:gd name="T7" fmla="*/ 20 h 23"/>
                <a:gd name="T8" fmla="*/ 0 w 8"/>
                <a:gd name="T9" fmla="*/ 22 h 23"/>
                <a:gd name="T10" fmla="*/ 2 w 8"/>
                <a:gd name="T11" fmla="*/ 23 h 23"/>
                <a:gd name="T12" fmla="*/ 3 w 8"/>
                <a:gd name="T13" fmla="*/ 23 h 23"/>
                <a:gd name="T14" fmla="*/ 3 w 8"/>
                <a:gd name="T15" fmla="*/ 22 h 23"/>
                <a:gd name="T16" fmla="*/ 4 w 8"/>
                <a:gd name="T17" fmla="*/ 21 h 23"/>
                <a:gd name="T18" fmla="*/ 8 w 8"/>
                <a:gd name="T19" fmla="*/ 3 h 23"/>
                <a:gd name="T20" fmla="*/ 8 w 8"/>
                <a:gd name="T21" fmla="*/ 1 h 23"/>
                <a:gd name="T22" fmla="*/ 8 w 8"/>
                <a:gd name="T23" fmla="*/ 0 h 23"/>
                <a:gd name="T24" fmla="*/ 7 w 8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3">
                  <a:moveTo>
                    <a:pt x="7" y="0"/>
                  </a:move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1"/>
                    <a:pt x="5" y="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0" y="23"/>
                    <a:pt x="1" y="23"/>
                    <a:pt x="2" y="23"/>
                  </a:cubicBezTo>
                  <a:cubicBezTo>
                    <a:pt x="2" y="23"/>
                    <a:pt x="2" y="23"/>
                    <a:pt x="3" y="23"/>
                  </a:cubicBezTo>
                  <a:cubicBezTo>
                    <a:pt x="3" y="23"/>
                    <a:pt x="3" y="22"/>
                    <a:pt x="3" y="22"/>
                  </a:cubicBezTo>
                  <a:cubicBezTo>
                    <a:pt x="3" y="22"/>
                    <a:pt x="3" y="21"/>
                    <a:pt x="4" y="2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  <p:sp>
          <p:nvSpPr>
            <p:cNvPr id="104" name="Freeform 31">
              <a:extLst>
                <a:ext uri="{FF2B5EF4-FFF2-40B4-BE49-F238E27FC236}">
                  <a16:creationId xmlns:a16="http://schemas.microsoft.com/office/drawing/2014/main" id="{C284EC47-834E-042D-D417-6008A85C379F}"/>
                </a:ext>
              </a:extLst>
            </p:cNvPr>
            <p:cNvSpPr>
              <a:spLocks/>
            </p:cNvSpPr>
            <p:nvPr/>
          </p:nvSpPr>
          <p:spPr bwMode="auto">
            <a:xfrm>
              <a:off x="6989763" y="1044575"/>
              <a:ext cx="60325" cy="65087"/>
            </a:xfrm>
            <a:custGeom>
              <a:avLst/>
              <a:gdLst>
                <a:gd name="T0" fmla="*/ 0 w 38"/>
                <a:gd name="T1" fmla="*/ 10 h 41"/>
                <a:gd name="T2" fmla="*/ 26 w 38"/>
                <a:gd name="T3" fmla="*/ 19 h 41"/>
                <a:gd name="T4" fmla="*/ 0 w 38"/>
                <a:gd name="T5" fmla="*/ 32 h 41"/>
                <a:gd name="T6" fmla="*/ 0 w 38"/>
                <a:gd name="T7" fmla="*/ 41 h 41"/>
                <a:gd name="T8" fmla="*/ 38 w 38"/>
                <a:gd name="T9" fmla="*/ 24 h 41"/>
                <a:gd name="T10" fmla="*/ 38 w 38"/>
                <a:gd name="T11" fmla="*/ 17 h 41"/>
                <a:gd name="T12" fmla="*/ 0 w 38"/>
                <a:gd name="T13" fmla="*/ 0 h 41"/>
                <a:gd name="T14" fmla="*/ 0 w 38"/>
                <a:gd name="T15" fmla="*/ 1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41">
                  <a:moveTo>
                    <a:pt x="0" y="10"/>
                  </a:moveTo>
                  <a:lnTo>
                    <a:pt x="26" y="19"/>
                  </a:lnTo>
                  <a:lnTo>
                    <a:pt x="0" y="32"/>
                  </a:lnTo>
                  <a:lnTo>
                    <a:pt x="0" y="41"/>
                  </a:lnTo>
                  <a:lnTo>
                    <a:pt x="38" y="24"/>
                  </a:lnTo>
                  <a:lnTo>
                    <a:pt x="38" y="17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62870577"/>
      </p:ext>
    </p:extLst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54A073-4CFB-92A9-C823-992266F67B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78E8739C-3F35-0DDF-EB7F-DC4E56CCB7E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8E8739C-3F35-0DDF-EB7F-DC4E56CCB7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D8A00C8-9A78-F327-BAAC-433EB33C7F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Funnel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3FD027F1-B32E-9D2D-DDBD-919EE7920D0A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92</a:t>
            </a:fld>
            <a:endParaRPr lang="en-US" sz="1200" dirty="0">
              <a:solidFill>
                <a:schemeClr val="bg1"/>
              </a:solidFill>
            </a:endParaRPr>
          </a:p>
        </p:txBody>
      </p:sp>
      <p:grpSp>
        <p:nvGrpSpPr>
          <p:cNvPr id="3" name="กลุ่ม 27">
            <a:extLst>
              <a:ext uri="{FF2B5EF4-FFF2-40B4-BE49-F238E27FC236}">
                <a16:creationId xmlns:a16="http://schemas.microsoft.com/office/drawing/2014/main" id="{5121DA87-9CEB-2284-3126-FD9D9FF428B6}"/>
              </a:ext>
            </a:extLst>
          </p:cNvPr>
          <p:cNvGrpSpPr/>
          <p:nvPr/>
        </p:nvGrpSpPr>
        <p:grpSpPr>
          <a:xfrm rot="16200000">
            <a:off x="5148087" y="451124"/>
            <a:ext cx="3840936" cy="6495554"/>
            <a:chOff x="9793288" y="4267200"/>
            <a:chExt cx="5535612" cy="9361488"/>
          </a:xfrm>
          <a:effectLst/>
        </p:grpSpPr>
        <p:sp>
          <p:nvSpPr>
            <p:cNvPr id="5" name="Oval 6">
              <a:extLst>
                <a:ext uri="{FF2B5EF4-FFF2-40B4-BE49-F238E27FC236}">
                  <a16:creationId xmlns:a16="http://schemas.microsoft.com/office/drawing/2014/main" id="{CC17932D-44EC-7E6C-918F-E42444540C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93288" y="6731000"/>
              <a:ext cx="5535612" cy="528638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h-TH" sz="1677"/>
            </a:p>
          </p:txBody>
        </p:sp>
        <p:sp>
          <p:nvSpPr>
            <p:cNvPr id="6" name="Freeform 7">
              <a:extLst>
                <a:ext uri="{FF2B5EF4-FFF2-40B4-BE49-F238E27FC236}">
                  <a16:creationId xmlns:a16="http://schemas.microsoft.com/office/drawing/2014/main" id="{59E5C080-BBC9-5D54-43B3-A50C5AD31428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44488" y="4267200"/>
              <a:ext cx="1981200" cy="2463800"/>
            </a:xfrm>
            <a:custGeom>
              <a:avLst/>
              <a:gdLst>
                <a:gd name="T0" fmla="*/ 170 w 176"/>
                <a:gd name="T1" fmla="*/ 0 h 219"/>
                <a:gd name="T2" fmla="*/ 164 w 176"/>
                <a:gd name="T3" fmla="*/ 6 h 219"/>
                <a:gd name="T4" fmla="*/ 164 w 176"/>
                <a:gd name="T5" fmla="*/ 96 h 219"/>
                <a:gd name="T6" fmla="*/ 150 w 176"/>
                <a:gd name="T7" fmla="*/ 128 h 219"/>
                <a:gd name="T8" fmla="*/ 123 w 176"/>
                <a:gd name="T9" fmla="*/ 143 h 219"/>
                <a:gd name="T10" fmla="*/ 65 w 176"/>
                <a:gd name="T11" fmla="*/ 143 h 219"/>
                <a:gd name="T12" fmla="*/ 8 w 176"/>
                <a:gd name="T13" fmla="*/ 179 h 219"/>
                <a:gd name="T14" fmla="*/ 0 w 176"/>
                <a:gd name="T15" fmla="*/ 213 h 219"/>
                <a:gd name="T16" fmla="*/ 6 w 176"/>
                <a:gd name="T17" fmla="*/ 219 h 219"/>
                <a:gd name="T18" fmla="*/ 6 w 176"/>
                <a:gd name="T19" fmla="*/ 219 h 219"/>
                <a:gd name="T20" fmla="*/ 12 w 176"/>
                <a:gd name="T21" fmla="*/ 213 h 219"/>
                <a:gd name="T22" fmla="*/ 20 w 176"/>
                <a:gd name="T23" fmla="*/ 184 h 219"/>
                <a:gd name="T24" fmla="*/ 65 w 176"/>
                <a:gd name="T25" fmla="*/ 156 h 219"/>
                <a:gd name="T26" fmla="*/ 124 w 176"/>
                <a:gd name="T27" fmla="*/ 156 h 219"/>
                <a:gd name="T28" fmla="*/ 125 w 176"/>
                <a:gd name="T29" fmla="*/ 156 h 219"/>
                <a:gd name="T30" fmla="*/ 159 w 176"/>
                <a:gd name="T31" fmla="*/ 137 h 219"/>
                <a:gd name="T32" fmla="*/ 176 w 176"/>
                <a:gd name="T33" fmla="*/ 96 h 219"/>
                <a:gd name="T34" fmla="*/ 176 w 176"/>
                <a:gd name="T35" fmla="*/ 6 h 219"/>
                <a:gd name="T36" fmla="*/ 170 w 176"/>
                <a:gd name="T37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76" h="219">
                  <a:moveTo>
                    <a:pt x="170" y="0"/>
                  </a:moveTo>
                  <a:cubicBezTo>
                    <a:pt x="167" y="0"/>
                    <a:pt x="164" y="3"/>
                    <a:pt x="164" y="6"/>
                  </a:cubicBezTo>
                  <a:cubicBezTo>
                    <a:pt x="164" y="96"/>
                    <a:pt x="164" y="96"/>
                    <a:pt x="164" y="96"/>
                  </a:cubicBezTo>
                  <a:cubicBezTo>
                    <a:pt x="164" y="108"/>
                    <a:pt x="159" y="120"/>
                    <a:pt x="150" y="128"/>
                  </a:cubicBezTo>
                  <a:cubicBezTo>
                    <a:pt x="140" y="138"/>
                    <a:pt x="126" y="142"/>
                    <a:pt x="123" y="143"/>
                  </a:cubicBezTo>
                  <a:cubicBezTo>
                    <a:pt x="65" y="143"/>
                    <a:pt x="65" y="143"/>
                    <a:pt x="65" y="143"/>
                  </a:cubicBezTo>
                  <a:cubicBezTo>
                    <a:pt x="32" y="143"/>
                    <a:pt x="16" y="162"/>
                    <a:pt x="8" y="179"/>
                  </a:cubicBezTo>
                  <a:cubicBezTo>
                    <a:pt x="0" y="195"/>
                    <a:pt x="0" y="212"/>
                    <a:pt x="0" y="213"/>
                  </a:cubicBezTo>
                  <a:cubicBezTo>
                    <a:pt x="0" y="216"/>
                    <a:pt x="2" y="219"/>
                    <a:pt x="6" y="219"/>
                  </a:cubicBezTo>
                  <a:cubicBezTo>
                    <a:pt x="6" y="219"/>
                    <a:pt x="6" y="219"/>
                    <a:pt x="6" y="219"/>
                  </a:cubicBezTo>
                  <a:cubicBezTo>
                    <a:pt x="9" y="219"/>
                    <a:pt x="12" y="217"/>
                    <a:pt x="12" y="213"/>
                  </a:cubicBezTo>
                  <a:cubicBezTo>
                    <a:pt x="12" y="213"/>
                    <a:pt x="13" y="198"/>
                    <a:pt x="20" y="184"/>
                  </a:cubicBezTo>
                  <a:cubicBezTo>
                    <a:pt x="29" y="165"/>
                    <a:pt x="44" y="156"/>
                    <a:pt x="65" y="156"/>
                  </a:cubicBezTo>
                  <a:cubicBezTo>
                    <a:pt x="124" y="156"/>
                    <a:pt x="124" y="156"/>
                    <a:pt x="124" y="156"/>
                  </a:cubicBezTo>
                  <a:cubicBezTo>
                    <a:pt x="124" y="156"/>
                    <a:pt x="125" y="156"/>
                    <a:pt x="125" y="156"/>
                  </a:cubicBezTo>
                  <a:cubicBezTo>
                    <a:pt x="126" y="155"/>
                    <a:pt x="145" y="151"/>
                    <a:pt x="159" y="137"/>
                  </a:cubicBezTo>
                  <a:cubicBezTo>
                    <a:pt x="170" y="127"/>
                    <a:pt x="176" y="111"/>
                    <a:pt x="176" y="96"/>
                  </a:cubicBezTo>
                  <a:cubicBezTo>
                    <a:pt x="176" y="6"/>
                    <a:pt x="176" y="6"/>
                    <a:pt x="176" y="6"/>
                  </a:cubicBezTo>
                  <a:cubicBezTo>
                    <a:pt x="176" y="3"/>
                    <a:pt x="174" y="0"/>
                    <a:pt x="170" y="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h-TH" sz="1677"/>
            </a:p>
          </p:txBody>
        </p:sp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5078A9AD-A497-B978-2FE5-D5C4BCE50DE3}"/>
                </a:ext>
              </a:extLst>
            </p:cNvPr>
            <p:cNvSpPr>
              <a:spLocks/>
            </p:cNvSpPr>
            <p:nvPr/>
          </p:nvSpPr>
          <p:spPr bwMode="auto">
            <a:xfrm>
              <a:off x="9961563" y="4267200"/>
              <a:ext cx="1981200" cy="2463800"/>
            </a:xfrm>
            <a:custGeom>
              <a:avLst/>
              <a:gdLst>
                <a:gd name="T0" fmla="*/ 111 w 176"/>
                <a:gd name="T1" fmla="*/ 143 h 219"/>
                <a:gd name="T2" fmla="*/ 53 w 176"/>
                <a:gd name="T3" fmla="*/ 143 h 219"/>
                <a:gd name="T4" fmla="*/ 26 w 176"/>
                <a:gd name="T5" fmla="*/ 128 h 219"/>
                <a:gd name="T6" fmla="*/ 12 w 176"/>
                <a:gd name="T7" fmla="*/ 96 h 219"/>
                <a:gd name="T8" fmla="*/ 12 w 176"/>
                <a:gd name="T9" fmla="*/ 6 h 219"/>
                <a:gd name="T10" fmla="*/ 6 w 176"/>
                <a:gd name="T11" fmla="*/ 0 h 219"/>
                <a:gd name="T12" fmla="*/ 0 w 176"/>
                <a:gd name="T13" fmla="*/ 6 h 219"/>
                <a:gd name="T14" fmla="*/ 0 w 176"/>
                <a:gd name="T15" fmla="*/ 96 h 219"/>
                <a:gd name="T16" fmla="*/ 17 w 176"/>
                <a:gd name="T17" fmla="*/ 137 h 219"/>
                <a:gd name="T18" fmla="*/ 51 w 176"/>
                <a:gd name="T19" fmla="*/ 156 h 219"/>
                <a:gd name="T20" fmla="*/ 52 w 176"/>
                <a:gd name="T21" fmla="*/ 156 h 219"/>
                <a:gd name="T22" fmla="*/ 111 w 176"/>
                <a:gd name="T23" fmla="*/ 156 h 219"/>
                <a:gd name="T24" fmla="*/ 156 w 176"/>
                <a:gd name="T25" fmla="*/ 184 h 219"/>
                <a:gd name="T26" fmla="*/ 164 w 176"/>
                <a:gd name="T27" fmla="*/ 213 h 219"/>
                <a:gd name="T28" fmla="*/ 170 w 176"/>
                <a:gd name="T29" fmla="*/ 219 h 219"/>
                <a:gd name="T30" fmla="*/ 170 w 176"/>
                <a:gd name="T31" fmla="*/ 219 h 219"/>
                <a:gd name="T32" fmla="*/ 176 w 176"/>
                <a:gd name="T33" fmla="*/ 213 h 219"/>
                <a:gd name="T34" fmla="*/ 168 w 176"/>
                <a:gd name="T35" fmla="*/ 179 h 219"/>
                <a:gd name="T36" fmla="*/ 111 w 176"/>
                <a:gd name="T37" fmla="*/ 143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76" h="219">
                  <a:moveTo>
                    <a:pt x="111" y="143"/>
                  </a:moveTo>
                  <a:cubicBezTo>
                    <a:pt x="53" y="143"/>
                    <a:pt x="53" y="143"/>
                    <a:pt x="53" y="143"/>
                  </a:cubicBezTo>
                  <a:cubicBezTo>
                    <a:pt x="50" y="142"/>
                    <a:pt x="36" y="138"/>
                    <a:pt x="26" y="128"/>
                  </a:cubicBezTo>
                  <a:cubicBezTo>
                    <a:pt x="17" y="120"/>
                    <a:pt x="12" y="108"/>
                    <a:pt x="12" y="9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11"/>
                    <a:pt x="6" y="127"/>
                    <a:pt x="17" y="137"/>
                  </a:cubicBezTo>
                  <a:cubicBezTo>
                    <a:pt x="31" y="151"/>
                    <a:pt x="50" y="155"/>
                    <a:pt x="51" y="156"/>
                  </a:cubicBezTo>
                  <a:cubicBezTo>
                    <a:pt x="51" y="156"/>
                    <a:pt x="52" y="156"/>
                    <a:pt x="52" y="156"/>
                  </a:cubicBezTo>
                  <a:cubicBezTo>
                    <a:pt x="111" y="156"/>
                    <a:pt x="111" y="156"/>
                    <a:pt x="111" y="156"/>
                  </a:cubicBezTo>
                  <a:cubicBezTo>
                    <a:pt x="132" y="156"/>
                    <a:pt x="148" y="165"/>
                    <a:pt x="156" y="184"/>
                  </a:cubicBezTo>
                  <a:cubicBezTo>
                    <a:pt x="163" y="198"/>
                    <a:pt x="164" y="213"/>
                    <a:pt x="164" y="213"/>
                  </a:cubicBezTo>
                  <a:cubicBezTo>
                    <a:pt x="164" y="217"/>
                    <a:pt x="167" y="219"/>
                    <a:pt x="170" y="219"/>
                  </a:cubicBezTo>
                  <a:cubicBezTo>
                    <a:pt x="170" y="219"/>
                    <a:pt x="170" y="219"/>
                    <a:pt x="170" y="219"/>
                  </a:cubicBezTo>
                  <a:cubicBezTo>
                    <a:pt x="174" y="219"/>
                    <a:pt x="176" y="216"/>
                    <a:pt x="176" y="213"/>
                  </a:cubicBezTo>
                  <a:cubicBezTo>
                    <a:pt x="176" y="212"/>
                    <a:pt x="176" y="195"/>
                    <a:pt x="168" y="179"/>
                  </a:cubicBezTo>
                  <a:cubicBezTo>
                    <a:pt x="160" y="162"/>
                    <a:pt x="144" y="143"/>
                    <a:pt x="111" y="143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h-TH" sz="1677"/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7172D095-C0E5-95A5-8D41-DAF6E345BF35}"/>
                </a:ext>
              </a:extLst>
            </p:cNvPr>
            <p:cNvSpPr>
              <a:spLocks/>
            </p:cNvSpPr>
            <p:nvPr/>
          </p:nvSpPr>
          <p:spPr bwMode="auto">
            <a:xfrm>
              <a:off x="9793288" y="7056438"/>
              <a:ext cx="5535612" cy="2217738"/>
            </a:xfrm>
            <a:custGeom>
              <a:avLst/>
              <a:gdLst>
                <a:gd name="T0" fmla="*/ 138 w 492"/>
                <a:gd name="T1" fmla="*/ 194 h 197"/>
                <a:gd name="T2" fmla="*/ 251 w 492"/>
                <a:gd name="T3" fmla="*/ 197 h 197"/>
                <a:gd name="T4" fmla="*/ 354 w 492"/>
                <a:gd name="T5" fmla="*/ 194 h 197"/>
                <a:gd name="T6" fmla="*/ 492 w 492"/>
                <a:gd name="T7" fmla="*/ 47 h 197"/>
                <a:gd name="T8" fmla="*/ 492 w 492"/>
                <a:gd name="T9" fmla="*/ 1 h 197"/>
                <a:gd name="T10" fmla="*/ 491 w 492"/>
                <a:gd name="T11" fmla="*/ 1 h 197"/>
                <a:gd name="T12" fmla="*/ 246 w 492"/>
                <a:gd name="T13" fmla="*/ 22 h 197"/>
                <a:gd name="T14" fmla="*/ 1 w 492"/>
                <a:gd name="T15" fmla="*/ 0 h 197"/>
                <a:gd name="T16" fmla="*/ 0 w 492"/>
                <a:gd name="T17" fmla="*/ 0 h 197"/>
                <a:gd name="T18" fmla="*/ 0 w 492"/>
                <a:gd name="T19" fmla="*/ 46 h 197"/>
                <a:gd name="T20" fmla="*/ 138 w 492"/>
                <a:gd name="T21" fmla="*/ 194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92" h="197">
                  <a:moveTo>
                    <a:pt x="138" y="194"/>
                  </a:moveTo>
                  <a:cubicBezTo>
                    <a:pt x="174" y="196"/>
                    <a:pt x="212" y="197"/>
                    <a:pt x="251" y="197"/>
                  </a:cubicBezTo>
                  <a:cubicBezTo>
                    <a:pt x="286" y="197"/>
                    <a:pt x="321" y="196"/>
                    <a:pt x="354" y="194"/>
                  </a:cubicBezTo>
                  <a:cubicBezTo>
                    <a:pt x="388" y="125"/>
                    <a:pt x="436" y="72"/>
                    <a:pt x="492" y="47"/>
                  </a:cubicBezTo>
                  <a:cubicBezTo>
                    <a:pt x="492" y="1"/>
                    <a:pt x="492" y="1"/>
                    <a:pt x="492" y="1"/>
                  </a:cubicBezTo>
                  <a:cubicBezTo>
                    <a:pt x="491" y="1"/>
                    <a:pt x="491" y="1"/>
                    <a:pt x="491" y="1"/>
                  </a:cubicBezTo>
                  <a:cubicBezTo>
                    <a:pt x="475" y="13"/>
                    <a:pt x="372" y="22"/>
                    <a:pt x="246" y="22"/>
                  </a:cubicBezTo>
                  <a:cubicBezTo>
                    <a:pt x="117" y="22"/>
                    <a:pt x="12" y="12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56" y="71"/>
                    <a:pt x="105" y="124"/>
                    <a:pt x="138" y="194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h-TH" sz="1677"/>
            </a:p>
          </p:txBody>
        </p:sp>
        <p:sp>
          <p:nvSpPr>
            <p:cNvPr id="9" name="Freeform 10">
              <a:extLst>
                <a:ext uri="{FF2B5EF4-FFF2-40B4-BE49-F238E27FC236}">
                  <a16:creationId xmlns:a16="http://schemas.microsoft.com/office/drawing/2014/main" id="{8AE081CF-1027-9816-6411-22E1D09D15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45863" y="9239250"/>
              <a:ext cx="2430462" cy="2408238"/>
            </a:xfrm>
            <a:custGeom>
              <a:avLst/>
              <a:gdLst>
                <a:gd name="T0" fmla="*/ 216 w 216"/>
                <a:gd name="T1" fmla="*/ 1 h 214"/>
                <a:gd name="T2" fmla="*/ 113 w 216"/>
                <a:gd name="T3" fmla="*/ 3 h 214"/>
                <a:gd name="T4" fmla="*/ 0 w 216"/>
                <a:gd name="T5" fmla="*/ 0 h 214"/>
                <a:gd name="T6" fmla="*/ 47 w 216"/>
                <a:gd name="T7" fmla="*/ 205 h 214"/>
                <a:gd name="T8" fmla="*/ 47 w 216"/>
                <a:gd name="T9" fmla="*/ 207 h 214"/>
                <a:gd name="T10" fmla="*/ 108 w 216"/>
                <a:gd name="T11" fmla="*/ 214 h 214"/>
                <a:gd name="T12" fmla="*/ 169 w 216"/>
                <a:gd name="T13" fmla="*/ 207 h 214"/>
                <a:gd name="T14" fmla="*/ 169 w 216"/>
                <a:gd name="T15" fmla="*/ 206 h 214"/>
                <a:gd name="T16" fmla="*/ 169 w 216"/>
                <a:gd name="T17" fmla="*/ 206 h 214"/>
                <a:gd name="T18" fmla="*/ 216 w 216"/>
                <a:gd name="T19" fmla="*/ 1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6" h="214">
                  <a:moveTo>
                    <a:pt x="216" y="1"/>
                  </a:moveTo>
                  <a:cubicBezTo>
                    <a:pt x="183" y="2"/>
                    <a:pt x="148" y="3"/>
                    <a:pt x="113" y="3"/>
                  </a:cubicBezTo>
                  <a:cubicBezTo>
                    <a:pt x="74" y="3"/>
                    <a:pt x="36" y="2"/>
                    <a:pt x="0" y="0"/>
                  </a:cubicBezTo>
                  <a:cubicBezTo>
                    <a:pt x="28" y="59"/>
                    <a:pt x="45" y="129"/>
                    <a:pt x="47" y="205"/>
                  </a:cubicBezTo>
                  <a:cubicBezTo>
                    <a:pt x="47" y="205"/>
                    <a:pt x="47" y="206"/>
                    <a:pt x="47" y="207"/>
                  </a:cubicBezTo>
                  <a:cubicBezTo>
                    <a:pt x="47" y="211"/>
                    <a:pt x="74" y="214"/>
                    <a:pt x="108" y="214"/>
                  </a:cubicBezTo>
                  <a:cubicBezTo>
                    <a:pt x="142" y="214"/>
                    <a:pt x="169" y="211"/>
                    <a:pt x="169" y="207"/>
                  </a:cubicBezTo>
                  <a:cubicBezTo>
                    <a:pt x="169" y="206"/>
                    <a:pt x="169" y="206"/>
                    <a:pt x="169" y="206"/>
                  </a:cubicBezTo>
                  <a:cubicBezTo>
                    <a:pt x="169" y="206"/>
                    <a:pt x="169" y="206"/>
                    <a:pt x="169" y="206"/>
                  </a:cubicBezTo>
                  <a:cubicBezTo>
                    <a:pt x="171" y="130"/>
                    <a:pt x="188" y="59"/>
                    <a:pt x="216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h-TH" sz="1677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21AA87A8-08DE-F483-B70A-096FFC0DFECC}"/>
                </a:ext>
              </a:extLst>
            </p:cNvPr>
            <p:cNvSpPr>
              <a:spLocks/>
            </p:cNvSpPr>
            <p:nvPr/>
          </p:nvSpPr>
          <p:spPr bwMode="auto">
            <a:xfrm rot="16200000" flipH="1">
              <a:off x="11570498" y="12280642"/>
              <a:ext cx="1981200" cy="714892"/>
            </a:xfrm>
            <a:prstGeom prst="rightArrow">
              <a:avLst>
                <a:gd name="adj1" fmla="val 17945"/>
                <a:gd name="adj2" fmla="val 52492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h-TH" sz="1677"/>
            </a:p>
          </p:txBody>
        </p:sp>
      </p:grpSp>
      <p:sp>
        <p:nvSpPr>
          <p:cNvPr id="13" name="Oval 12">
            <a:extLst>
              <a:ext uri="{FF2B5EF4-FFF2-40B4-BE49-F238E27FC236}">
                <a16:creationId xmlns:a16="http://schemas.microsoft.com/office/drawing/2014/main" id="{957A34CB-7267-584D-40DE-224A03CD79EE}"/>
              </a:ext>
            </a:extLst>
          </p:cNvPr>
          <p:cNvSpPr/>
          <p:nvPr/>
        </p:nvSpPr>
        <p:spPr>
          <a:xfrm>
            <a:off x="2983686" y="1645920"/>
            <a:ext cx="837091" cy="837092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BC265AF6-D7D7-7E26-BA42-72CC67F1397A}"/>
              </a:ext>
            </a:extLst>
          </p:cNvPr>
          <p:cNvSpPr/>
          <p:nvPr/>
        </p:nvSpPr>
        <p:spPr>
          <a:xfrm>
            <a:off x="3046474" y="4962746"/>
            <a:ext cx="837091" cy="837092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Inhaltsplatzhalter 4">
            <a:extLst>
              <a:ext uri="{FF2B5EF4-FFF2-40B4-BE49-F238E27FC236}">
                <a16:creationId xmlns:a16="http://schemas.microsoft.com/office/drawing/2014/main" id="{69C8F047-F4D3-C1D9-8D1E-F80B14BA7369}"/>
              </a:ext>
            </a:extLst>
          </p:cNvPr>
          <p:cNvSpPr txBox="1">
            <a:spLocks/>
          </p:cNvSpPr>
          <p:nvPr/>
        </p:nvSpPr>
        <p:spPr>
          <a:xfrm flipH="1">
            <a:off x="818801" y="2606707"/>
            <a:ext cx="3677063" cy="584775"/>
          </a:xfrm>
          <a:prstGeom prst="rect">
            <a:avLst/>
          </a:prstGeom>
          <a:effectLst/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accent1"/>
                </a:solidFill>
                <a:latin typeface="+mn-lt"/>
              </a:rPr>
              <a:t>TITLE GOES HERE</a:t>
            </a:r>
            <a:br>
              <a:rPr lang="en-US" sz="1400" b="1" dirty="0">
                <a:solidFill>
                  <a:schemeClr val="accent2"/>
                </a:solidFill>
                <a:latin typeface="+mn-lt"/>
              </a:rPr>
            </a:br>
            <a:r>
              <a:rPr lang="en-US" sz="11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16" name="Inhaltsplatzhalter 4">
            <a:extLst>
              <a:ext uri="{FF2B5EF4-FFF2-40B4-BE49-F238E27FC236}">
                <a16:creationId xmlns:a16="http://schemas.microsoft.com/office/drawing/2014/main" id="{BCE294BC-5081-8432-C2EB-DD7F821DA01A}"/>
              </a:ext>
            </a:extLst>
          </p:cNvPr>
          <p:cNvSpPr txBox="1">
            <a:spLocks/>
          </p:cNvSpPr>
          <p:nvPr/>
        </p:nvSpPr>
        <p:spPr>
          <a:xfrm flipH="1">
            <a:off x="804656" y="4146549"/>
            <a:ext cx="3699350" cy="584775"/>
          </a:xfrm>
          <a:prstGeom prst="rect">
            <a:avLst/>
          </a:prstGeom>
          <a:effectLst/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accent2"/>
                </a:solidFill>
                <a:latin typeface="+mn-lt"/>
              </a:rPr>
              <a:t>TITLE GOES HERE</a:t>
            </a:r>
            <a:br>
              <a:rPr lang="en-US" sz="1400" b="1" dirty="0">
                <a:solidFill>
                  <a:schemeClr val="accent2"/>
                </a:solidFill>
                <a:latin typeface="+mn-lt"/>
              </a:rPr>
            </a:br>
            <a:r>
              <a:rPr lang="en-US" sz="11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17" name="Inhaltsplatzhalter 4">
            <a:extLst>
              <a:ext uri="{FF2B5EF4-FFF2-40B4-BE49-F238E27FC236}">
                <a16:creationId xmlns:a16="http://schemas.microsoft.com/office/drawing/2014/main" id="{D9BB3E28-2EF9-0C07-0956-18DE8001B4F5}"/>
              </a:ext>
            </a:extLst>
          </p:cNvPr>
          <p:cNvSpPr txBox="1">
            <a:spLocks/>
          </p:cNvSpPr>
          <p:nvPr/>
        </p:nvSpPr>
        <p:spPr>
          <a:xfrm flipH="1">
            <a:off x="9334832" y="3173265"/>
            <a:ext cx="2052514" cy="923330"/>
          </a:xfrm>
          <a:prstGeom prst="rect">
            <a:avLst/>
          </a:prstGeom>
          <a:effectLst/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accent1"/>
                </a:solidFill>
                <a:latin typeface="+mn-lt"/>
              </a:rPr>
              <a:t>TITLE GOES HERE</a:t>
            </a:r>
            <a:br>
              <a:rPr lang="en-US" sz="1400" b="1" dirty="0">
                <a:solidFill>
                  <a:schemeClr val="accent2"/>
                </a:solidFill>
                <a:latin typeface="+mn-lt"/>
              </a:rPr>
            </a:br>
            <a:r>
              <a:rPr lang="en-US" sz="11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18" name="Freeform 23">
            <a:extLst>
              <a:ext uri="{FF2B5EF4-FFF2-40B4-BE49-F238E27FC236}">
                <a16:creationId xmlns:a16="http://schemas.microsoft.com/office/drawing/2014/main" id="{8DCC5102-3151-1A1B-E73E-052190A223BC}"/>
              </a:ext>
            </a:extLst>
          </p:cNvPr>
          <p:cNvSpPr>
            <a:spLocks noEditPoints="1"/>
          </p:cNvSpPr>
          <p:nvPr/>
        </p:nvSpPr>
        <p:spPr bwMode="auto">
          <a:xfrm>
            <a:off x="3207285" y="5144763"/>
            <a:ext cx="535919" cy="474606"/>
          </a:xfrm>
          <a:custGeom>
            <a:avLst/>
            <a:gdLst>
              <a:gd name="T0" fmla="*/ 232 w 256"/>
              <a:gd name="T1" fmla="*/ 84 h 227"/>
              <a:gd name="T2" fmla="*/ 172 w 256"/>
              <a:gd name="T3" fmla="*/ 44 h 227"/>
              <a:gd name="T4" fmla="*/ 120 w 256"/>
              <a:gd name="T5" fmla="*/ 48 h 227"/>
              <a:gd name="T6" fmla="*/ 64 w 256"/>
              <a:gd name="T7" fmla="*/ 107 h 227"/>
              <a:gd name="T8" fmla="*/ 0 w 256"/>
              <a:gd name="T9" fmla="*/ 131 h 227"/>
              <a:gd name="T10" fmla="*/ 32 w 256"/>
              <a:gd name="T11" fmla="*/ 227 h 227"/>
              <a:gd name="T12" fmla="*/ 87 w 256"/>
              <a:gd name="T13" fmla="*/ 212 h 227"/>
              <a:gd name="T14" fmla="*/ 103 w 256"/>
              <a:gd name="T15" fmla="*/ 219 h 227"/>
              <a:gd name="T16" fmla="*/ 232 w 256"/>
              <a:gd name="T17" fmla="*/ 197 h 227"/>
              <a:gd name="T18" fmla="*/ 240 w 256"/>
              <a:gd name="T19" fmla="*/ 169 h 227"/>
              <a:gd name="T20" fmla="*/ 248 w 256"/>
              <a:gd name="T21" fmla="*/ 140 h 227"/>
              <a:gd name="T22" fmla="*/ 256 w 256"/>
              <a:gd name="T23" fmla="*/ 108 h 227"/>
              <a:gd name="T24" fmla="*/ 32 w 256"/>
              <a:gd name="T25" fmla="*/ 211 h 227"/>
              <a:gd name="T26" fmla="*/ 16 w 256"/>
              <a:gd name="T27" fmla="*/ 131 h 227"/>
              <a:gd name="T28" fmla="*/ 64 w 256"/>
              <a:gd name="T29" fmla="*/ 123 h 227"/>
              <a:gd name="T30" fmla="*/ 72 w 256"/>
              <a:gd name="T31" fmla="*/ 198 h 227"/>
              <a:gd name="T32" fmla="*/ 72 w 256"/>
              <a:gd name="T33" fmla="*/ 203 h 227"/>
              <a:gd name="T34" fmla="*/ 210 w 256"/>
              <a:gd name="T35" fmla="*/ 203 h 227"/>
              <a:gd name="T36" fmla="*/ 88 w 256"/>
              <a:gd name="T37" fmla="*/ 194 h 227"/>
              <a:gd name="T38" fmla="*/ 86 w 256"/>
              <a:gd name="T39" fmla="*/ 121 h 227"/>
              <a:gd name="T40" fmla="*/ 140 w 256"/>
              <a:gd name="T41" fmla="*/ 16 h 227"/>
              <a:gd name="T42" fmla="*/ 152 w 256"/>
              <a:gd name="T43" fmla="*/ 90 h 227"/>
              <a:gd name="T44" fmla="*/ 160 w 256"/>
              <a:gd name="T45" fmla="*/ 100 h 227"/>
              <a:gd name="T46" fmla="*/ 240 w 256"/>
              <a:gd name="T47" fmla="*/ 108 h 227"/>
              <a:gd name="T48" fmla="*/ 223 w 256"/>
              <a:gd name="T49" fmla="*/ 116 h 227"/>
              <a:gd name="T50" fmla="*/ 223 w 256"/>
              <a:gd name="T51" fmla="*/ 132 h 227"/>
              <a:gd name="T52" fmla="*/ 224 w 256"/>
              <a:gd name="T53" fmla="*/ 132 h 227"/>
              <a:gd name="T54" fmla="*/ 224 w 256"/>
              <a:gd name="T55" fmla="*/ 148 h 227"/>
              <a:gd name="T56" fmla="*/ 218 w 256"/>
              <a:gd name="T57" fmla="*/ 147 h 227"/>
              <a:gd name="T58" fmla="*/ 215 w 256"/>
              <a:gd name="T59" fmla="*/ 148 h 227"/>
              <a:gd name="T60" fmla="*/ 215 w 256"/>
              <a:gd name="T61" fmla="*/ 164 h 227"/>
              <a:gd name="T62" fmla="*/ 224 w 256"/>
              <a:gd name="T63" fmla="*/ 169 h 227"/>
              <a:gd name="T64" fmla="*/ 210 w 256"/>
              <a:gd name="T65" fmla="*/ 175 h 227"/>
              <a:gd name="T66" fmla="*/ 210 w 256"/>
              <a:gd name="T67" fmla="*/ 175 h 227"/>
              <a:gd name="T68" fmla="*/ 210 w 256"/>
              <a:gd name="T69" fmla="*/ 191 h 227"/>
              <a:gd name="T70" fmla="*/ 210 w 256"/>
              <a:gd name="T71" fmla="*/ 203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56" h="227">
                <a:moveTo>
                  <a:pt x="256" y="108"/>
                </a:moveTo>
                <a:cubicBezTo>
                  <a:pt x="256" y="94"/>
                  <a:pt x="245" y="84"/>
                  <a:pt x="232" y="84"/>
                </a:cubicBezTo>
                <a:cubicBezTo>
                  <a:pt x="169" y="84"/>
                  <a:pt x="169" y="84"/>
                  <a:pt x="169" y="84"/>
                </a:cubicBezTo>
                <a:cubicBezTo>
                  <a:pt x="171" y="74"/>
                  <a:pt x="172" y="59"/>
                  <a:pt x="172" y="44"/>
                </a:cubicBezTo>
                <a:cubicBezTo>
                  <a:pt x="172" y="13"/>
                  <a:pt x="156" y="0"/>
                  <a:pt x="140" y="0"/>
                </a:cubicBezTo>
                <a:cubicBezTo>
                  <a:pt x="120" y="0"/>
                  <a:pt x="120" y="21"/>
                  <a:pt x="120" y="48"/>
                </a:cubicBezTo>
                <a:cubicBezTo>
                  <a:pt x="120" y="67"/>
                  <a:pt x="90" y="97"/>
                  <a:pt x="75" y="110"/>
                </a:cubicBezTo>
                <a:cubicBezTo>
                  <a:pt x="71" y="108"/>
                  <a:pt x="68" y="107"/>
                  <a:pt x="64" y="107"/>
                </a:cubicBezTo>
                <a:cubicBezTo>
                  <a:pt x="24" y="107"/>
                  <a:pt x="24" y="107"/>
                  <a:pt x="24" y="107"/>
                </a:cubicBezTo>
                <a:cubicBezTo>
                  <a:pt x="11" y="107"/>
                  <a:pt x="0" y="118"/>
                  <a:pt x="0" y="131"/>
                </a:cubicBezTo>
                <a:cubicBezTo>
                  <a:pt x="8" y="203"/>
                  <a:pt x="8" y="203"/>
                  <a:pt x="8" y="203"/>
                </a:cubicBezTo>
                <a:cubicBezTo>
                  <a:pt x="10" y="216"/>
                  <a:pt x="19" y="227"/>
                  <a:pt x="32" y="227"/>
                </a:cubicBezTo>
                <a:cubicBezTo>
                  <a:pt x="64" y="227"/>
                  <a:pt x="64" y="227"/>
                  <a:pt x="64" y="227"/>
                </a:cubicBezTo>
                <a:cubicBezTo>
                  <a:pt x="74" y="227"/>
                  <a:pt x="83" y="221"/>
                  <a:pt x="87" y="212"/>
                </a:cubicBezTo>
                <a:cubicBezTo>
                  <a:pt x="100" y="219"/>
                  <a:pt x="100" y="219"/>
                  <a:pt x="100" y="219"/>
                </a:cubicBezTo>
                <a:cubicBezTo>
                  <a:pt x="101" y="219"/>
                  <a:pt x="102" y="219"/>
                  <a:pt x="103" y="219"/>
                </a:cubicBezTo>
                <a:cubicBezTo>
                  <a:pt x="210" y="219"/>
                  <a:pt x="210" y="219"/>
                  <a:pt x="210" y="219"/>
                </a:cubicBezTo>
                <a:cubicBezTo>
                  <a:pt x="222" y="219"/>
                  <a:pt x="232" y="210"/>
                  <a:pt x="232" y="197"/>
                </a:cubicBezTo>
                <a:cubicBezTo>
                  <a:pt x="232" y="194"/>
                  <a:pt x="231" y="191"/>
                  <a:pt x="230" y="188"/>
                </a:cubicBezTo>
                <a:cubicBezTo>
                  <a:pt x="236" y="184"/>
                  <a:pt x="240" y="177"/>
                  <a:pt x="240" y="169"/>
                </a:cubicBezTo>
                <a:cubicBezTo>
                  <a:pt x="240" y="166"/>
                  <a:pt x="239" y="162"/>
                  <a:pt x="238" y="159"/>
                </a:cubicBezTo>
                <a:cubicBezTo>
                  <a:pt x="244" y="155"/>
                  <a:pt x="248" y="148"/>
                  <a:pt x="248" y="140"/>
                </a:cubicBezTo>
                <a:cubicBezTo>
                  <a:pt x="248" y="135"/>
                  <a:pt x="247" y="131"/>
                  <a:pt x="245" y="128"/>
                </a:cubicBezTo>
                <a:cubicBezTo>
                  <a:pt x="252" y="123"/>
                  <a:pt x="256" y="116"/>
                  <a:pt x="256" y="108"/>
                </a:cubicBezTo>
                <a:close/>
                <a:moveTo>
                  <a:pt x="64" y="211"/>
                </a:moveTo>
                <a:cubicBezTo>
                  <a:pt x="32" y="211"/>
                  <a:pt x="32" y="211"/>
                  <a:pt x="32" y="211"/>
                </a:cubicBezTo>
                <a:cubicBezTo>
                  <a:pt x="28" y="211"/>
                  <a:pt x="25" y="206"/>
                  <a:pt x="24" y="202"/>
                </a:cubicBezTo>
                <a:cubicBezTo>
                  <a:pt x="16" y="131"/>
                  <a:pt x="16" y="131"/>
                  <a:pt x="16" y="131"/>
                </a:cubicBezTo>
                <a:cubicBezTo>
                  <a:pt x="17" y="127"/>
                  <a:pt x="20" y="123"/>
                  <a:pt x="24" y="123"/>
                </a:cubicBezTo>
                <a:cubicBezTo>
                  <a:pt x="64" y="123"/>
                  <a:pt x="64" y="123"/>
                  <a:pt x="64" y="123"/>
                </a:cubicBezTo>
                <a:cubicBezTo>
                  <a:pt x="69" y="123"/>
                  <a:pt x="72" y="127"/>
                  <a:pt x="72" y="131"/>
                </a:cubicBezTo>
                <a:cubicBezTo>
                  <a:pt x="72" y="198"/>
                  <a:pt x="72" y="198"/>
                  <a:pt x="72" y="198"/>
                </a:cubicBezTo>
                <a:cubicBezTo>
                  <a:pt x="72" y="199"/>
                  <a:pt x="72" y="200"/>
                  <a:pt x="72" y="201"/>
                </a:cubicBezTo>
                <a:cubicBezTo>
                  <a:pt x="72" y="203"/>
                  <a:pt x="72" y="203"/>
                  <a:pt x="72" y="203"/>
                </a:cubicBezTo>
                <a:cubicBezTo>
                  <a:pt x="72" y="208"/>
                  <a:pt x="69" y="211"/>
                  <a:pt x="64" y="211"/>
                </a:cubicBezTo>
                <a:close/>
                <a:moveTo>
                  <a:pt x="210" y="203"/>
                </a:moveTo>
                <a:cubicBezTo>
                  <a:pt x="105" y="203"/>
                  <a:pt x="105" y="203"/>
                  <a:pt x="105" y="203"/>
                </a:cubicBezTo>
                <a:cubicBezTo>
                  <a:pt x="88" y="194"/>
                  <a:pt x="88" y="194"/>
                  <a:pt x="88" y="194"/>
                </a:cubicBezTo>
                <a:cubicBezTo>
                  <a:pt x="88" y="131"/>
                  <a:pt x="88" y="131"/>
                  <a:pt x="88" y="131"/>
                </a:cubicBezTo>
                <a:cubicBezTo>
                  <a:pt x="88" y="128"/>
                  <a:pt x="87" y="124"/>
                  <a:pt x="86" y="121"/>
                </a:cubicBezTo>
                <a:cubicBezTo>
                  <a:pt x="100" y="109"/>
                  <a:pt x="136" y="75"/>
                  <a:pt x="136" y="48"/>
                </a:cubicBezTo>
                <a:cubicBezTo>
                  <a:pt x="136" y="31"/>
                  <a:pt x="136" y="16"/>
                  <a:pt x="140" y="16"/>
                </a:cubicBezTo>
                <a:cubicBezTo>
                  <a:pt x="148" y="16"/>
                  <a:pt x="156" y="25"/>
                  <a:pt x="156" y="44"/>
                </a:cubicBezTo>
                <a:cubicBezTo>
                  <a:pt x="156" y="67"/>
                  <a:pt x="152" y="90"/>
                  <a:pt x="152" y="90"/>
                </a:cubicBezTo>
                <a:cubicBezTo>
                  <a:pt x="152" y="93"/>
                  <a:pt x="153" y="95"/>
                  <a:pt x="154" y="97"/>
                </a:cubicBezTo>
                <a:cubicBezTo>
                  <a:pt x="156" y="98"/>
                  <a:pt x="158" y="100"/>
                  <a:pt x="160" y="100"/>
                </a:cubicBezTo>
                <a:cubicBezTo>
                  <a:pt x="232" y="100"/>
                  <a:pt x="232" y="100"/>
                  <a:pt x="232" y="100"/>
                </a:cubicBezTo>
                <a:cubicBezTo>
                  <a:pt x="237" y="100"/>
                  <a:pt x="240" y="103"/>
                  <a:pt x="240" y="108"/>
                </a:cubicBezTo>
                <a:cubicBezTo>
                  <a:pt x="240" y="112"/>
                  <a:pt x="237" y="116"/>
                  <a:pt x="232" y="116"/>
                </a:cubicBezTo>
                <a:cubicBezTo>
                  <a:pt x="223" y="116"/>
                  <a:pt x="223" y="116"/>
                  <a:pt x="223" y="116"/>
                </a:cubicBezTo>
                <a:cubicBezTo>
                  <a:pt x="219" y="116"/>
                  <a:pt x="215" y="119"/>
                  <a:pt x="215" y="124"/>
                </a:cubicBezTo>
                <a:cubicBezTo>
                  <a:pt x="215" y="128"/>
                  <a:pt x="219" y="132"/>
                  <a:pt x="223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9" y="132"/>
                  <a:pt x="232" y="135"/>
                  <a:pt x="232" y="140"/>
                </a:cubicBezTo>
                <a:cubicBezTo>
                  <a:pt x="232" y="144"/>
                  <a:pt x="229" y="148"/>
                  <a:pt x="224" y="148"/>
                </a:cubicBezTo>
                <a:cubicBezTo>
                  <a:pt x="219" y="148"/>
                  <a:pt x="219" y="148"/>
                  <a:pt x="219" y="148"/>
                </a:cubicBezTo>
                <a:cubicBezTo>
                  <a:pt x="219" y="148"/>
                  <a:pt x="218" y="147"/>
                  <a:pt x="218" y="147"/>
                </a:cubicBezTo>
                <a:cubicBezTo>
                  <a:pt x="218" y="147"/>
                  <a:pt x="218" y="148"/>
                  <a:pt x="218" y="148"/>
                </a:cubicBezTo>
                <a:cubicBezTo>
                  <a:pt x="215" y="148"/>
                  <a:pt x="215" y="148"/>
                  <a:pt x="215" y="148"/>
                </a:cubicBezTo>
                <a:cubicBezTo>
                  <a:pt x="211" y="148"/>
                  <a:pt x="207" y="151"/>
                  <a:pt x="207" y="156"/>
                </a:cubicBezTo>
                <a:cubicBezTo>
                  <a:pt x="207" y="160"/>
                  <a:pt x="211" y="164"/>
                  <a:pt x="215" y="164"/>
                </a:cubicBezTo>
                <a:cubicBezTo>
                  <a:pt x="218" y="164"/>
                  <a:pt x="218" y="164"/>
                  <a:pt x="218" y="164"/>
                </a:cubicBezTo>
                <a:cubicBezTo>
                  <a:pt x="222" y="164"/>
                  <a:pt x="224" y="166"/>
                  <a:pt x="224" y="169"/>
                </a:cubicBezTo>
                <a:cubicBezTo>
                  <a:pt x="224" y="173"/>
                  <a:pt x="221" y="175"/>
                  <a:pt x="218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06" y="175"/>
                  <a:pt x="202" y="179"/>
                  <a:pt x="202" y="183"/>
                </a:cubicBezTo>
                <a:cubicBezTo>
                  <a:pt x="202" y="188"/>
                  <a:pt x="206" y="191"/>
                  <a:pt x="210" y="191"/>
                </a:cubicBezTo>
                <a:cubicBezTo>
                  <a:pt x="213" y="191"/>
                  <a:pt x="216" y="194"/>
                  <a:pt x="216" y="197"/>
                </a:cubicBezTo>
                <a:cubicBezTo>
                  <a:pt x="216" y="201"/>
                  <a:pt x="213" y="203"/>
                  <a:pt x="210" y="20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US" sz="840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F340EB93-5F4E-36CE-EF8B-F5600828501E}"/>
              </a:ext>
            </a:extLst>
          </p:cNvPr>
          <p:cNvGrpSpPr>
            <a:grpSpLocks noChangeAspect="1"/>
          </p:cNvGrpSpPr>
          <p:nvPr/>
        </p:nvGrpSpPr>
        <p:grpSpPr>
          <a:xfrm>
            <a:off x="3145027" y="1828945"/>
            <a:ext cx="494865" cy="471042"/>
            <a:chOff x="6719888" y="887413"/>
            <a:chExt cx="492125" cy="468312"/>
          </a:xfrm>
          <a:solidFill>
            <a:schemeClr val="bg1"/>
          </a:solidFill>
          <a:effectLst/>
        </p:grpSpPr>
        <p:sp>
          <p:nvSpPr>
            <p:cNvPr id="20" name="Freeform 26">
              <a:extLst>
                <a:ext uri="{FF2B5EF4-FFF2-40B4-BE49-F238E27FC236}">
                  <a16:creationId xmlns:a16="http://schemas.microsoft.com/office/drawing/2014/main" id="{88B8CF1F-9C21-1F7F-E55E-797BEFFCF2C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19888" y="887413"/>
              <a:ext cx="492125" cy="468312"/>
            </a:xfrm>
            <a:custGeom>
              <a:avLst/>
              <a:gdLst>
                <a:gd name="T0" fmla="*/ 117 w 128"/>
                <a:gd name="T1" fmla="*/ 0 h 122"/>
                <a:gd name="T2" fmla="*/ 11 w 128"/>
                <a:gd name="T3" fmla="*/ 0 h 122"/>
                <a:gd name="T4" fmla="*/ 0 w 128"/>
                <a:gd name="T5" fmla="*/ 11 h 122"/>
                <a:gd name="T6" fmla="*/ 0 w 128"/>
                <a:gd name="T7" fmla="*/ 93 h 122"/>
                <a:gd name="T8" fmla="*/ 11 w 128"/>
                <a:gd name="T9" fmla="*/ 104 h 122"/>
                <a:gd name="T10" fmla="*/ 43 w 128"/>
                <a:gd name="T11" fmla="*/ 104 h 122"/>
                <a:gd name="T12" fmla="*/ 38 w 128"/>
                <a:gd name="T13" fmla="*/ 110 h 122"/>
                <a:gd name="T14" fmla="*/ 35 w 128"/>
                <a:gd name="T15" fmla="*/ 113 h 122"/>
                <a:gd name="T16" fmla="*/ 34 w 128"/>
                <a:gd name="T17" fmla="*/ 118 h 122"/>
                <a:gd name="T18" fmla="*/ 42 w 128"/>
                <a:gd name="T19" fmla="*/ 122 h 122"/>
                <a:gd name="T20" fmla="*/ 86 w 128"/>
                <a:gd name="T21" fmla="*/ 122 h 122"/>
                <a:gd name="T22" fmla="*/ 94 w 128"/>
                <a:gd name="T23" fmla="*/ 118 h 122"/>
                <a:gd name="T24" fmla="*/ 94 w 128"/>
                <a:gd name="T25" fmla="*/ 113 h 122"/>
                <a:gd name="T26" fmla="*/ 91 w 128"/>
                <a:gd name="T27" fmla="*/ 110 h 122"/>
                <a:gd name="T28" fmla="*/ 85 w 128"/>
                <a:gd name="T29" fmla="*/ 104 h 122"/>
                <a:gd name="T30" fmla="*/ 117 w 128"/>
                <a:gd name="T31" fmla="*/ 104 h 122"/>
                <a:gd name="T32" fmla="*/ 128 w 128"/>
                <a:gd name="T33" fmla="*/ 93 h 122"/>
                <a:gd name="T34" fmla="*/ 128 w 128"/>
                <a:gd name="T35" fmla="*/ 11 h 122"/>
                <a:gd name="T36" fmla="*/ 117 w 128"/>
                <a:gd name="T37" fmla="*/ 0 h 122"/>
                <a:gd name="T38" fmla="*/ 88 w 128"/>
                <a:gd name="T39" fmla="*/ 113 h 122"/>
                <a:gd name="T40" fmla="*/ 90 w 128"/>
                <a:gd name="T41" fmla="*/ 116 h 122"/>
                <a:gd name="T42" fmla="*/ 90 w 128"/>
                <a:gd name="T43" fmla="*/ 116 h 122"/>
                <a:gd name="T44" fmla="*/ 86 w 128"/>
                <a:gd name="T45" fmla="*/ 118 h 122"/>
                <a:gd name="T46" fmla="*/ 42 w 128"/>
                <a:gd name="T47" fmla="*/ 118 h 122"/>
                <a:gd name="T48" fmla="*/ 38 w 128"/>
                <a:gd name="T49" fmla="*/ 116 h 122"/>
                <a:gd name="T50" fmla="*/ 38 w 128"/>
                <a:gd name="T51" fmla="*/ 116 h 122"/>
                <a:gd name="T52" fmla="*/ 38 w 128"/>
                <a:gd name="T53" fmla="*/ 116 h 122"/>
                <a:gd name="T54" fmla="*/ 40 w 128"/>
                <a:gd name="T55" fmla="*/ 113 h 122"/>
                <a:gd name="T56" fmla="*/ 48 w 128"/>
                <a:gd name="T57" fmla="*/ 104 h 122"/>
                <a:gd name="T58" fmla="*/ 80 w 128"/>
                <a:gd name="T59" fmla="*/ 104 h 122"/>
                <a:gd name="T60" fmla="*/ 88 w 128"/>
                <a:gd name="T61" fmla="*/ 113 h 122"/>
                <a:gd name="T62" fmla="*/ 120 w 128"/>
                <a:gd name="T63" fmla="*/ 93 h 122"/>
                <a:gd name="T64" fmla="*/ 117 w 128"/>
                <a:gd name="T65" fmla="*/ 96 h 122"/>
                <a:gd name="T66" fmla="*/ 11 w 128"/>
                <a:gd name="T67" fmla="*/ 96 h 122"/>
                <a:gd name="T68" fmla="*/ 8 w 128"/>
                <a:gd name="T69" fmla="*/ 93 h 122"/>
                <a:gd name="T70" fmla="*/ 8 w 128"/>
                <a:gd name="T71" fmla="*/ 11 h 122"/>
                <a:gd name="T72" fmla="*/ 11 w 128"/>
                <a:gd name="T73" fmla="*/ 8 h 122"/>
                <a:gd name="T74" fmla="*/ 117 w 128"/>
                <a:gd name="T75" fmla="*/ 8 h 122"/>
                <a:gd name="T76" fmla="*/ 120 w 128"/>
                <a:gd name="T77" fmla="*/ 11 h 122"/>
                <a:gd name="T78" fmla="*/ 120 w 128"/>
                <a:gd name="T79" fmla="*/ 93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8" h="122">
                  <a:moveTo>
                    <a:pt x="117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99"/>
                    <a:pt x="5" y="104"/>
                    <a:pt x="11" y="104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42" y="106"/>
                    <a:pt x="39" y="109"/>
                    <a:pt x="38" y="110"/>
                  </a:cubicBezTo>
                  <a:cubicBezTo>
                    <a:pt x="36" y="111"/>
                    <a:pt x="35" y="112"/>
                    <a:pt x="35" y="113"/>
                  </a:cubicBezTo>
                  <a:cubicBezTo>
                    <a:pt x="34" y="114"/>
                    <a:pt x="33" y="116"/>
                    <a:pt x="34" y="118"/>
                  </a:cubicBezTo>
                  <a:cubicBezTo>
                    <a:pt x="35" y="120"/>
                    <a:pt x="37" y="122"/>
                    <a:pt x="42" y="122"/>
                  </a:cubicBezTo>
                  <a:cubicBezTo>
                    <a:pt x="86" y="122"/>
                    <a:pt x="86" y="122"/>
                    <a:pt x="86" y="122"/>
                  </a:cubicBezTo>
                  <a:cubicBezTo>
                    <a:pt x="91" y="122"/>
                    <a:pt x="93" y="120"/>
                    <a:pt x="94" y="118"/>
                  </a:cubicBezTo>
                  <a:cubicBezTo>
                    <a:pt x="95" y="116"/>
                    <a:pt x="95" y="114"/>
                    <a:pt x="94" y="113"/>
                  </a:cubicBezTo>
                  <a:cubicBezTo>
                    <a:pt x="93" y="112"/>
                    <a:pt x="92" y="111"/>
                    <a:pt x="91" y="110"/>
                  </a:cubicBezTo>
                  <a:cubicBezTo>
                    <a:pt x="89" y="109"/>
                    <a:pt x="87" y="106"/>
                    <a:pt x="85" y="104"/>
                  </a:cubicBezTo>
                  <a:cubicBezTo>
                    <a:pt x="117" y="104"/>
                    <a:pt x="117" y="104"/>
                    <a:pt x="117" y="104"/>
                  </a:cubicBezTo>
                  <a:cubicBezTo>
                    <a:pt x="123" y="104"/>
                    <a:pt x="128" y="99"/>
                    <a:pt x="128" y="93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28" y="5"/>
                    <a:pt x="123" y="0"/>
                    <a:pt x="117" y="0"/>
                  </a:cubicBezTo>
                  <a:close/>
                  <a:moveTo>
                    <a:pt x="88" y="113"/>
                  </a:moveTo>
                  <a:cubicBezTo>
                    <a:pt x="89" y="114"/>
                    <a:pt x="90" y="115"/>
                    <a:pt x="90" y="116"/>
                  </a:cubicBezTo>
                  <a:cubicBezTo>
                    <a:pt x="90" y="116"/>
                    <a:pt x="91" y="116"/>
                    <a:pt x="90" y="116"/>
                  </a:cubicBezTo>
                  <a:cubicBezTo>
                    <a:pt x="90" y="117"/>
                    <a:pt x="88" y="118"/>
                    <a:pt x="86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0" y="118"/>
                    <a:pt x="38" y="117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5"/>
                    <a:pt x="39" y="114"/>
                    <a:pt x="40" y="113"/>
                  </a:cubicBezTo>
                  <a:cubicBezTo>
                    <a:pt x="44" y="109"/>
                    <a:pt x="47" y="106"/>
                    <a:pt x="48" y="104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82" y="106"/>
                    <a:pt x="84" y="109"/>
                    <a:pt x="88" y="113"/>
                  </a:cubicBezTo>
                  <a:close/>
                  <a:moveTo>
                    <a:pt x="120" y="93"/>
                  </a:moveTo>
                  <a:cubicBezTo>
                    <a:pt x="120" y="95"/>
                    <a:pt x="119" y="96"/>
                    <a:pt x="117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9" y="96"/>
                    <a:pt x="8" y="95"/>
                    <a:pt x="8" y="93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9"/>
                    <a:pt x="9" y="8"/>
                    <a:pt x="11" y="8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9" y="8"/>
                    <a:pt x="120" y="9"/>
                    <a:pt x="120" y="11"/>
                  </a:cubicBezTo>
                  <a:lnTo>
                    <a:pt x="120" y="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  <p:sp>
          <p:nvSpPr>
            <p:cNvPr id="21" name="Freeform 27">
              <a:extLst>
                <a:ext uri="{FF2B5EF4-FFF2-40B4-BE49-F238E27FC236}">
                  <a16:creationId xmlns:a16="http://schemas.microsoft.com/office/drawing/2014/main" id="{1E4B6D04-1FF3-27FD-33A4-1E7EB53067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81801" y="947738"/>
              <a:ext cx="368300" cy="247650"/>
            </a:xfrm>
            <a:custGeom>
              <a:avLst/>
              <a:gdLst>
                <a:gd name="T0" fmla="*/ 89 w 96"/>
                <a:gd name="T1" fmla="*/ 0 h 64"/>
                <a:gd name="T2" fmla="*/ 7 w 96"/>
                <a:gd name="T3" fmla="*/ 0 h 64"/>
                <a:gd name="T4" fmla="*/ 0 w 96"/>
                <a:gd name="T5" fmla="*/ 7 h 64"/>
                <a:gd name="T6" fmla="*/ 0 w 96"/>
                <a:gd name="T7" fmla="*/ 57 h 64"/>
                <a:gd name="T8" fmla="*/ 7 w 96"/>
                <a:gd name="T9" fmla="*/ 64 h 64"/>
                <a:gd name="T10" fmla="*/ 89 w 96"/>
                <a:gd name="T11" fmla="*/ 64 h 64"/>
                <a:gd name="T12" fmla="*/ 96 w 96"/>
                <a:gd name="T13" fmla="*/ 57 h 64"/>
                <a:gd name="T14" fmla="*/ 96 w 96"/>
                <a:gd name="T15" fmla="*/ 7 h 64"/>
                <a:gd name="T16" fmla="*/ 89 w 96"/>
                <a:gd name="T17" fmla="*/ 0 h 64"/>
                <a:gd name="T18" fmla="*/ 92 w 96"/>
                <a:gd name="T19" fmla="*/ 57 h 64"/>
                <a:gd name="T20" fmla="*/ 89 w 96"/>
                <a:gd name="T21" fmla="*/ 60 h 64"/>
                <a:gd name="T22" fmla="*/ 7 w 96"/>
                <a:gd name="T23" fmla="*/ 60 h 64"/>
                <a:gd name="T24" fmla="*/ 4 w 96"/>
                <a:gd name="T25" fmla="*/ 57 h 64"/>
                <a:gd name="T26" fmla="*/ 4 w 96"/>
                <a:gd name="T27" fmla="*/ 7 h 64"/>
                <a:gd name="T28" fmla="*/ 7 w 96"/>
                <a:gd name="T29" fmla="*/ 4 h 64"/>
                <a:gd name="T30" fmla="*/ 89 w 96"/>
                <a:gd name="T31" fmla="*/ 4 h 64"/>
                <a:gd name="T32" fmla="*/ 92 w 96"/>
                <a:gd name="T33" fmla="*/ 7 h 64"/>
                <a:gd name="T34" fmla="*/ 92 w 96"/>
                <a:gd name="T35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6" h="64">
                  <a:moveTo>
                    <a:pt x="89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1"/>
                    <a:pt x="3" y="64"/>
                    <a:pt x="7" y="64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93" y="64"/>
                    <a:pt x="96" y="61"/>
                    <a:pt x="96" y="5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3"/>
                    <a:pt x="93" y="0"/>
                    <a:pt x="89" y="0"/>
                  </a:cubicBezTo>
                  <a:close/>
                  <a:moveTo>
                    <a:pt x="92" y="57"/>
                  </a:moveTo>
                  <a:cubicBezTo>
                    <a:pt x="92" y="59"/>
                    <a:pt x="91" y="60"/>
                    <a:pt x="89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5" y="60"/>
                    <a:pt x="4" y="59"/>
                    <a:pt x="4" y="5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5" y="4"/>
                    <a:pt x="7" y="4"/>
                  </a:cubicBezTo>
                  <a:cubicBezTo>
                    <a:pt x="89" y="4"/>
                    <a:pt x="89" y="4"/>
                    <a:pt x="89" y="4"/>
                  </a:cubicBezTo>
                  <a:cubicBezTo>
                    <a:pt x="91" y="4"/>
                    <a:pt x="92" y="5"/>
                    <a:pt x="92" y="7"/>
                  </a:cubicBezTo>
                  <a:lnTo>
                    <a:pt x="92" y="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  <p:sp>
          <p:nvSpPr>
            <p:cNvPr id="22" name="Freeform 28">
              <a:extLst>
                <a:ext uri="{FF2B5EF4-FFF2-40B4-BE49-F238E27FC236}">
                  <a16:creationId xmlns:a16="http://schemas.microsoft.com/office/drawing/2014/main" id="{0924830A-B990-5B5B-2B77-6711D09C1E4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43726" y="1201738"/>
              <a:ext cx="46038" cy="47625"/>
            </a:xfrm>
            <a:custGeom>
              <a:avLst/>
              <a:gdLst>
                <a:gd name="T0" fmla="*/ 6 w 12"/>
                <a:gd name="T1" fmla="*/ 0 h 12"/>
                <a:gd name="T2" fmla="*/ 0 w 12"/>
                <a:gd name="T3" fmla="*/ 6 h 12"/>
                <a:gd name="T4" fmla="*/ 6 w 12"/>
                <a:gd name="T5" fmla="*/ 12 h 12"/>
                <a:gd name="T6" fmla="*/ 12 w 12"/>
                <a:gd name="T7" fmla="*/ 6 h 12"/>
                <a:gd name="T8" fmla="*/ 6 w 12"/>
                <a:gd name="T9" fmla="*/ 0 h 12"/>
                <a:gd name="T10" fmla="*/ 6 w 12"/>
                <a:gd name="T11" fmla="*/ 8 h 12"/>
                <a:gd name="T12" fmla="*/ 4 w 12"/>
                <a:gd name="T13" fmla="*/ 6 h 12"/>
                <a:gd name="T14" fmla="*/ 6 w 12"/>
                <a:gd name="T15" fmla="*/ 4 h 12"/>
                <a:gd name="T16" fmla="*/ 8 w 12"/>
                <a:gd name="T17" fmla="*/ 6 h 12"/>
                <a:gd name="T18" fmla="*/ 6 w 12"/>
                <a:gd name="T1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9" y="12"/>
                    <a:pt x="12" y="9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lose/>
                  <a:moveTo>
                    <a:pt x="6" y="8"/>
                  </a:moveTo>
                  <a:cubicBezTo>
                    <a:pt x="5" y="8"/>
                    <a:pt x="4" y="7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7" y="4"/>
                    <a:pt x="8" y="5"/>
                    <a:pt x="8" y="6"/>
                  </a:cubicBezTo>
                  <a:cubicBezTo>
                    <a:pt x="8" y="7"/>
                    <a:pt x="7" y="8"/>
                    <a:pt x="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  <p:sp>
          <p:nvSpPr>
            <p:cNvPr id="23" name="Freeform 29">
              <a:extLst>
                <a:ext uri="{FF2B5EF4-FFF2-40B4-BE49-F238E27FC236}">
                  <a16:creationId xmlns:a16="http://schemas.microsoft.com/office/drawing/2014/main" id="{64E251F6-D466-B731-3FE4-4EEEEACCC88A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1813" y="1044575"/>
              <a:ext cx="61913" cy="65087"/>
            </a:xfrm>
            <a:custGeom>
              <a:avLst/>
              <a:gdLst>
                <a:gd name="T0" fmla="*/ 0 w 39"/>
                <a:gd name="T1" fmla="*/ 24 h 41"/>
                <a:gd name="T2" fmla="*/ 39 w 39"/>
                <a:gd name="T3" fmla="*/ 41 h 41"/>
                <a:gd name="T4" fmla="*/ 39 w 39"/>
                <a:gd name="T5" fmla="*/ 32 h 41"/>
                <a:gd name="T6" fmla="*/ 12 w 39"/>
                <a:gd name="T7" fmla="*/ 19 h 41"/>
                <a:gd name="T8" fmla="*/ 39 w 39"/>
                <a:gd name="T9" fmla="*/ 10 h 41"/>
                <a:gd name="T10" fmla="*/ 39 w 39"/>
                <a:gd name="T11" fmla="*/ 0 h 41"/>
                <a:gd name="T12" fmla="*/ 0 w 39"/>
                <a:gd name="T13" fmla="*/ 17 h 41"/>
                <a:gd name="T14" fmla="*/ 0 w 39"/>
                <a:gd name="T15" fmla="*/ 2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41">
                  <a:moveTo>
                    <a:pt x="0" y="24"/>
                  </a:moveTo>
                  <a:lnTo>
                    <a:pt x="39" y="41"/>
                  </a:lnTo>
                  <a:lnTo>
                    <a:pt x="39" y="32"/>
                  </a:lnTo>
                  <a:lnTo>
                    <a:pt x="12" y="19"/>
                  </a:lnTo>
                  <a:lnTo>
                    <a:pt x="39" y="10"/>
                  </a:lnTo>
                  <a:lnTo>
                    <a:pt x="39" y="0"/>
                  </a:lnTo>
                  <a:lnTo>
                    <a:pt x="0" y="17"/>
                  </a:lnTo>
                  <a:lnTo>
                    <a:pt x="0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30">
              <a:extLst>
                <a:ext uri="{FF2B5EF4-FFF2-40B4-BE49-F238E27FC236}">
                  <a16:creationId xmlns:a16="http://schemas.microsoft.com/office/drawing/2014/main" id="{3FDAB5DB-409F-5C0C-B848-ADBF5154BE33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0076" y="1033463"/>
              <a:ext cx="31750" cy="87312"/>
            </a:xfrm>
            <a:custGeom>
              <a:avLst/>
              <a:gdLst>
                <a:gd name="T0" fmla="*/ 7 w 8"/>
                <a:gd name="T1" fmla="*/ 0 h 23"/>
                <a:gd name="T2" fmla="*/ 5 w 8"/>
                <a:gd name="T3" fmla="*/ 0 h 23"/>
                <a:gd name="T4" fmla="*/ 5 w 8"/>
                <a:gd name="T5" fmla="*/ 2 h 23"/>
                <a:gd name="T6" fmla="*/ 0 w 8"/>
                <a:gd name="T7" fmla="*/ 20 h 23"/>
                <a:gd name="T8" fmla="*/ 0 w 8"/>
                <a:gd name="T9" fmla="*/ 22 h 23"/>
                <a:gd name="T10" fmla="*/ 2 w 8"/>
                <a:gd name="T11" fmla="*/ 23 h 23"/>
                <a:gd name="T12" fmla="*/ 3 w 8"/>
                <a:gd name="T13" fmla="*/ 23 h 23"/>
                <a:gd name="T14" fmla="*/ 3 w 8"/>
                <a:gd name="T15" fmla="*/ 22 h 23"/>
                <a:gd name="T16" fmla="*/ 4 w 8"/>
                <a:gd name="T17" fmla="*/ 21 h 23"/>
                <a:gd name="T18" fmla="*/ 8 w 8"/>
                <a:gd name="T19" fmla="*/ 3 h 23"/>
                <a:gd name="T20" fmla="*/ 8 w 8"/>
                <a:gd name="T21" fmla="*/ 1 h 23"/>
                <a:gd name="T22" fmla="*/ 8 w 8"/>
                <a:gd name="T23" fmla="*/ 0 h 23"/>
                <a:gd name="T24" fmla="*/ 7 w 8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3">
                  <a:moveTo>
                    <a:pt x="7" y="0"/>
                  </a:move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1"/>
                    <a:pt x="5" y="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0" y="23"/>
                    <a:pt x="1" y="23"/>
                    <a:pt x="2" y="23"/>
                  </a:cubicBezTo>
                  <a:cubicBezTo>
                    <a:pt x="2" y="23"/>
                    <a:pt x="2" y="23"/>
                    <a:pt x="3" y="23"/>
                  </a:cubicBezTo>
                  <a:cubicBezTo>
                    <a:pt x="3" y="23"/>
                    <a:pt x="3" y="22"/>
                    <a:pt x="3" y="22"/>
                  </a:cubicBezTo>
                  <a:cubicBezTo>
                    <a:pt x="3" y="22"/>
                    <a:pt x="3" y="21"/>
                    <a:pt x="4" y="2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  <p:sp>
          <p:nvSpPr>
            <p:cNvPr id="25" name="Freeform 31">
              <a:extLst>
                <a:ext uri="{FF2B5EF4-FFF2-40B4-BE49-F238E27FC236}">
                  <a16:creationId xmlns:a16="http://schemas.microsoft.com/office/drawing/2014/main" id="{8DB44E88-E6BC-32C6-4F39-1F971FB891C7}"/>
                </a:ext>
              </a:extLst>
            </p:cNvPr>
            <p:cNvSpPr>
              <a:spLocks/>
            </p:cNvSpPr>
            <p:nvPr/>
          </p:nvSpPr>
          <p:spPr bwMode="auto">
            <a:xfrm>
              <a:off x="6989763" y="1044575"/>
              <a:ext cx="60325" cy="65087"/>
            </a:xfrm>
            <a:custGeom>
              <a:avLst/>
              <a:gdLst>
                <a:gd name="T0" fmla="*/ 0 w 38"/>
                <a:gd name="T1" fmla="*/ 10 h 41"/>
                <a:gd name="T2" fmla="*/ 26 w 38"/>
                <a:gd name="T3" fmla="*/ 19 h 41"/>
                <a:gd name="T4" fmla="*/ 0 w 38"/>
                <a:gd name="T5" fmla="*/ 32 h 41"/>
                <a:gd name="T6" fmla="*/ 0 w 38"/>
                <a:gd name="T7" fmla="*/ 41 h 41"/>
                <a:gd name="T8" fmla="*/ 38 w 38"/>
                <a:gd name="T9" fmla="*/ 24 h 41"/>
                <a:gd name="T10" fmla="*/ 38 w 38"/>
                <a:gd name="T11" fmla="*/ 17 h 41"/>
                <a:gd name="T12" fmla="*/ 0 w 38"/>
                <a:gd name="T13" fmla="*/ 0 h 41"/>
                <a:gd name="T14" fmla="*/ 0 w 38"/>
                <a:gd name="T15" fmla="*/ 1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41">
                  <a:moveTo>
                    <a:pt x="0" y="10"/>
                  </a:moveTo>
                  <a:lnTo>
                    <a:pt x="26" y="19"/>
                  </a:lnTo>
                  <a:lnTo>
                    <a:pt x="0" y="32"/>
                  </a:lnTo>
                  <a:lnTo>
                    <a:pt x="0" y="41"/>
                  </a:lnTo>
                  <a:lnTo>
                    <a:pt x="38" y="24"/>
                  </a:lnTo>
                  <a:lnTo>
                    <a:pt x="38" y="17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76103482"/>
      </p:ext>
    </p:extLst>
  </p:cSld>
  <p:clrMapOvr>
    <a:masterClrMapping/>
  </p:clrMapOvr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3BA662-459E-8C9F-00AD-A7A8561A30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4CD708BD-0394-D181-3826-49F0162A2E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CD708BD-0394-D181-3826-49F0162A2E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323FEF1-97D5-F12C-750D-436601E55E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Funnel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AB4B7CE8-724D-734C-3344-F75CE196B7B2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93</a:t>
            </a:fld>
            <a:endParaRPr lang="en-US" sz="1200" dirty="0">
              <a:solidFill>
                <a:schemeClr val="bg1"/>
              </a:solidFill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A6CBF2F-574B-89EA-0DEE-3E1F28E708C1}"/>
              </a:ext>
            </a:extLst>
          </p:cNvPr>
          <p:cNvGrpSpPr/>
          <p:nvPr/>
        </p:nvGrpSpPr>
        <p:grpSpPr>
          <a:xfrm>
            <a:off x="3670420" y="2807185"/>
            <a:ext cx="4916489" cy="3191248"/>
            <a:chOff x="4294731" y="3824718"/>
            <a:chExt cx="4031686" cy="1992971"/>
          </a:xfrm>
        </p:grpSpPr>
        <p:cxnSp>
          <p:nvCxnSpPr>
            <p:cNvPr id="66" name="Line">
              <a:extLst>
                <a:ext uri="{FF2B5EF4-FFF2-40B4-BE49-F238E27FC236}">
                  <a16:creationId xmlns:a16="http://schemas.microsoft.com/office/drawing/2014/main" id="{BFBFD05B-390C-F640-791E-E6262434FABE}"/>
                </a:ext>
              </a:extLst>
            </p:cNvPr>
            <p:cNvCxnSpPr/>
            <p:nvPr/>
          </p:nvCxnSpPr>
          <p:spPr>
            <a:xfrm flipH="1">
              <a:off x="4294731" y="3824718"/>
              <a:ext cx="20137" cy="1992971"/>
            </a:xfrm>
            <a:prstGeom prst="line">
              <a:avLst/>
            </a:prstGeom>
            <a:ln w="6350">
              <a:solidFill>
                <a:schemeClr val="accent5"/>
              </a:solidFill>
              <a:prstDash val="sysDot"/>
              <a:headEnd type="oval" w="sm" len="sm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Line">
              <a:extLst>
                <a:ext uri="{FF2B5EF4-FFF2-40B4-BE49-F238E27FC236}">
                  <a16:creationId xmlns:a16="http://schemas.microsoft.com/office/drawing/2014/main" id="{A47E253D-9FCA-59A7-2BE5-6E1F92845308}"/>
                </a:ext>
              </a:extLst>
            </p:cNvPr>
            <p:cNvCxnSpPr/>
            <p:nvPr/>
          </p:nvCxnSpPr>
          <p:spPr>
            <a:xfrm flipH="1">
              <a:off x="6282352" y="3824718"/>
              <a:ext cx="20137" cy="1992971"/>
            </a:xfrm>
            <a:prstGeom prst="line">
              <a:avLst/>
            </a:prstGeom>
            <a:ln w="6350">
              <a:solidFill>
                <a:schemeClr val="accent5"/>
              </a:solidFill>
              <a:prstDash val="sysDot"/>
              <a:headEnd type="oval" w="sm" len="sm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Line">
              <a:extLst>
                <a:ext uri="{FF2B5EF4-FFF2-40B4-BE49-F238E27FC236}">
                  <a16:creationId xmlns:a16="http://schemas.microsoft.com/office/drawing/2014/main" id="{F1E6F965-FB48-A79C-01E1-627F9AAEC73E}"/>
                </a:ext>
              </a:extLst>
            </p:cNvPr>
            <p:cNvCxnSpPr/>
            <p:nvPr/>
          </p:nvCxnSpPr>
          <p:spPr>
            <a:xfrm flipH="1">
              <a:off x="8306280" y="3824718"/>
              <a:ext cx="20137" cy="1992971"/>
            </a:xfrm>
            <a:prstGeom prst="line">
              <a:avLst/>
            </a:prstGeom>
            <a:ln w="6350">
              <a:solidFill>
                <a:schemeClr val="accent5"/>
              </a:solidFill>
              <a:prstDash val="sysDot"/>
              <a:headEnd type="oval" w="sm" len="sm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D77E9C0A-08DB-62B8-2F35-8F79890F9320}"/>
              </a:ext>
            </a:extLst>
          </p:cNvPr>
          <p:cNvGrpSpPr/>
          <p:nvPr/>
        </p:nvGrpSpPr>
        <p:grpSpPr>
          <a:xfrm>
            <a:off x="1237744" y="1229957"/>
            <a:ext cx="9258512" cy="2894606"/>
            <a:chOff x="1869722" y="1127877"/>
            <a:chExt cx="5775466" cy="3323082"/>
          </a:xfrm>
        </p:grpSpPr>
        <p:sp>
          <p:nvSpPr>
            <p:cNvPr id="59" name="Freeform: Shape 4">
              <a:extLst>
                <a:ext uri="{FF2B5EF4-FFF2-40B4-BE49-F238E27FC236}">
                  <a16:creationId xmlns:a16="http://schemas.microsoft.com/office/drawing/2014/main" id="{E8E9F59A-E528-E02C-284E-D53A071A9619}"/>
                </a:ext>
              </a:extLst>
            </p:cNvPr>
            <p:cNvSpPr/>
            <p:nvPr/>
          </p:nvSpPr>
          <p:spPr>
            <a:xfrm rot="16200000">
              <a:off x="2891375" y="2022586"/>
              <a:ext cx="2557706" cy="1533661"/>
            </a:xfrm>
            <a:custGeom>
              <a:avLst/>
              <a:gdLst>
                <a:gd name="connsiteX0" fmla="*/ 0 w 3404699"/>
                <a:gd name="connsiteY0" fmla="*/ 0 h 677588"/>
                <a:gd name="connsiteX1" fmla="*/ 3404699 w 3404699"/>
                <a:gd name="connsiteY1" fmla="*/ 0 h 677588"/>
                <a:gd name="connsiteX2" fmla="*/ 2885871 w 3404699"/>
                <a:gd name="connsiteY2" fmla="*/ 677588 h 677588"/>
                <a:gd name="connsiteX3" fmla="*/ 518827 w 3404699"/>
                <a:gd name="connsiteY3" fmla="*/ 677588 h 677588"/>
                <a:gd name="connsiteX4" fmla="*/ 0 w 3404699"/>
                <a:gd name="connsiteY4" fmla="*/ 0 h 677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04699" h="677588">
                  <a:moveTo>
                    <a:pt x="0" y="0"/>
                  </a:moveTo>
                  <a:lnTo>
                    <a:pt x="3404699" y="0"/>
                  </a:lnTo>
                  <a:lnTo>
                    <a:pt x="2885871" y="677588"/>
                  </a:lnTo>
                  <a:lnTo>
                    <a:pt x="518827" y="67758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68" dirty="0" err="1">
                <a:solidFill>
                  <a:schemeClr val="tx1"/>
                </a:solidFill>
              </a:endParaRPr>
            </a:p>
          </p:txBody>
        </p:sp>
        <p:sp>
          <p:nvSpPr>
            <p:cNvPr id="60" name="Freeform: Shape 5">
              <a:extLst>
                <a:ext uri="{FF2B5EF4-FFF2-40B4-BE49-F238E27FC236}">
                  <a16:creationId xmlns:a16="http://schemas.microsoft.com/office/drawing/2014/main" id="{FE9F9942-41E8-51D8-8EDE-93BF70582778}"/>
                </a:ext>
              </a:extLst>
            </p:cNvPr>
            <p:cNvSpPr/>
            <p:nvPr/>
          </p:nvSpPr>
          <p:spPr>
            <a:xfrm rot="16200000">
              <a:off x="4801016" y="2022586"/>
              <a:ext cx="1772578" cy="1533663"/>
            </a:xfrm>
            <a:custGeom>
              <a:avLst/>
              <a:gdLst>
                <a:gd name="connsiteX0" fmla="*/ 0 w 2250352"/>
                <a:gd name="connsiteY0" fmla="*/ 0 h 677589"/>
                <a:gd name="connsiteX1" fmla="*/ 2250352 w 2250352"/>
                <a:gd name="connsiteY1" fmla="*/ 0 h 677589"/>
                <a:gd name="connsiteX2" fmla="*/ 1731524 w 2250352"/>
                <a:gd name="connsiteY2" fmla="*/ 677589 h 677589"/>
                <a:gd name="connsiteX3" fmla="*/ 518829 w 2250352"/>
                <a:gd name="connsiteY3" fmla="*/ 677589 h 677589"/>
                <a:gd name="connsiteX4" fmla="*/ 0 w 2250352"/>
                <a:gd name="connsiteY4" fmla="*/ 0 h 677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50352" h="677589">
                  <a:moveTo>
                    <a:pt x="0" y="0"/>
                  </a:moveTo>
                  <a:lnTo>
                    <a:pt x="2250352" y="0"/>
                  </a:lnTo>
                  <a:lnTo>
                    <a:pt x="1731524" y="677589"/>
                  </a:lnTo>
                  <a:lnTo>
                    <a:pt x="518829" y="67758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68" dirty="0" err="1">
                <a:solidFill>
                  <a:schemeClr val="tx1"/>
                </a:solidFill>
              </a:endParaRPr>
            </a:p>
          </p:txBody>
        </p:sp>
        <p:sp>
          <p:nvSpPr>
            <p:cNvPr id="61" name="Freeform: Shape 3">
              <a:extLst>
                <a:ext uri="{FF2B5EF4-FFF2-40B4-BE49-F238E27FC236}">
                  <a16:creationId xmlns:a16="http://schemas.microsoft.com/office/drawing/2014/main" id="{C6EFF6A3-D8BE-4C23-046B-C8E539C45311}"/>
                </a:ext>
              </a:extLst>
            </p:cNvPr>
            <p:cNvSpPr/>
            <p:nvPr/>
          </p:nvSpPr>
          <p:spPr>
            <a:xfrm rot="16200000">
              <a:off x="975012" y="2022587"/>
              <a:ext cx="3323082" cy="1533661"/>
            </a:xfrm>
            <a:custGeom>
              <a:avLst/>
              <a:gdLst>
                <a:gd name="connsiteX0" fmla="*/ 0 w 4559046"/>
                <a:gd name="connsiteY0" fmla="*/ 0 h 677588"/>
                <a:gd name="connsiteX1" fmla="*/ 4559046 w 4559046"/>
                <a:gd name="connsiteY1" fmla="*/ 0 h 677588"/>
                <a:gd name="connsiteX2" fmla="*/ 4040219 w 4559046"/>
                <a:gd name="connsiteY2" fmla="*/ 677588 h 677588"/>
                <a:gd name="connsiteX3" fmla="*/ 518828 w 4559046"/>
                <a:gd name="connsiteY3" fmla="*/ 677588 h 677588"/>
                <a:gd name="connsiteX4" fmla="*/ 0 w 4559046"/>
                <a:gd name="connsiteY4" fmla="*/ 0 h 677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59046" h="677588">
                  <a:moveTo>
                    <a:pt x="0" y="0"/>
                  </a:moveTo>
                  <a:lnTo>
                    <a:pt x="4559046" y="0"/>
                  </a:lnTo>
                  <a:lnTo>
                    <a:pt x="4040219" y="677588"/>
                  </a:lnTo>
                  <a:lnTo>
                    <a:pt x="518828" y="677588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68" dirty="0" err="1">
                <a:solidFill>
                  <a:schemeClr val="tx1"/>
                </a:solidFill>
              </a:endParaRPr>
            </a:p>
          </p:txBody>
        </p:sp>
        <p:sp>
          <p:nvSpPr>
            <p:cNvPr id="62" name="Freeform: Shape 16">
              <a:extLst>
                <a:ext uri="{FF2B5EF4-FFF2-40B4-BE49-F238E27FC236}">
                  <a16:creationId xmlns:a16="http://schemas.microsoft.com/office/drawing/2014/main" id="{59077C6D-0071-87FB-44E2-0193DEB8F070}"/>
                </a:ext>
              </a:extLst>
            </p:cNvPr>
            <p:cNvSpPr/>
            <p:nvPr/>
          </p:nvSpPr>
          <p:spPr>
            <a:xfrm rot="16200000">
              <a:off x="6577400" y="2200012"/>
              <a:ext cx="944530" cy="1191047"/>
            </a:xfrm>
            <a:custGeom>
              <a:avLst/>
              <a:gdLst>
                <a:gd name="connsiteX0" fmla="*/ 984780 w 984780"/>
                <a:gd name="connsiteY0" fmla="*/ 0 h 1215382"/>
                <a:gd name="connsiteX1" fmla="*/ 622746 w 984780"/>
                <a:gd name="connsiteY1" fmla="*/ 1215382 h 1215382"/>
                <a:gd name="connsiteX2" fmla="*/ 362034 w 984780"/>
                <a:gd name="connsiteY2" fmla="*/ 1215382 h 1215382"/>
                <a:gd name="connsiteX3" fmla="*/ 0 w 984780"/>
                <a:gd name="connsiteY3" fmla="*/ 0 h 1215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84780" h="1215382">
                  <a:moveTo>
                    <a:pt x="984780" y="0"/>
                  </a:moveTo>
                  <a:lnTo>
                    <a:pt x="622746" y="1215382"/>
                  </a:lnTo>
                  <a:lnTo>
                    <a:pt x="362034" y="121538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568" dirty="0" err="1">
                <a:solidFill>
                  <a:schemeClr val="tx1"/>
                </a:solidFill>
              </a:endParaRPr>
            </a:p>
          </p:txBody>
        </p:sp>
        <p:sp>
          <p:nvSpPr>
            <p:cNvPr id="63" name="Isosceles Triangle 12">
              <a:extLst>
                <a:ext uri="{FF2B5EF4-FFF2-40B4-BE49-F238E27FC236}">
                  <a16:creationId xmlns:a16="http://schemas.microsoft.com/office/drawing/2014/main" id="{90D5B0DA-7146-C692-9D84-7B412EFF0E95}"/>
                </a:ext>
              </a:extLst>
            </p:cNvPr>
            <p:cNvSpPr/>
            <p:nvPr/>
          </p:nvSpPr>
          <p:spPr>
            <a:xfrm rot="5400000">
              <a:off x="3275531" y="2716835"/>
              <a:ext cx="360954" cy="145162"/>
            </a:xfrm>
            <a:prstGeom prst="triangle">
              <a:avLst/>
            </a:prstGeom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68" dirty="0" err="1">
                <a:solidFill>
                  <a:schemeClr val="tx1"/>
                </a:solidFill>
              </a:endParaRPr>
            </a:p>
          </p:txBody>
        </p:sp>
        <p:sp>
          <p:nvSpPr>
            <p:cNvPr id="64" name="Isosceles Triangle 13">
              <a:extLst>
                <a:ext uri="{FF2B5EF4-FFF2-40B4-BE49-F238E27FC236}">
                  <a16:creationId xmlns:a16="http://schemas.microsoft.com/office/drawing/2014/main" id="{5D1EA202-0C19-22A9-55ED-FB7D36B76258}"/>
                </a:ext>
              </a:extLst>
            </p:cNvPr>
            <p:cNvSpPr/>
            <p:nvPr/>
          </p:nvSpPr>
          <p:spPr>
            <a:xfrm rot="5400000">
              <a:off x="4818875" y="2716835"/>
              <a:ext cx="360954" cy="145162"/>
            </a:xfrm>
            <a:prstGeom prst="triangle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68" dirty="0" err="1">
                <a:solidFill>
                  <a:schemeClr val="tx1"/>
                </a:solidFill>
              </a:endParaRPr>
            </a:p>
          </p:txBody>
        </p:sp>
        <p:sp>
          <p:nvSpPr>
            <p:cNvPr id="65" name="Isosceles Triangle 14">
              <a:extLst>
                <a:ext uri="{FF2B5EF4-FFF2-40B4-BE49-F238E27FC236}">
                  <a16:creationId xmlns:a16="http://schemas.microsoft.com/office/drawing/2014/main" id="{1213B469-3C43-522A-3D2F-056A39E664E5}"/>
                </a:ext>
              </a:extLst>
            </p:cNvPr>
            <p:cNvSpPr/>
            <p:nvPr/>
          </p:nvSpPr>
          <p:spPr>
            <a:xfrm rot="5400000">
              <a:off x="6340868" y="2716835"/>
              <a:ext cx="360954" cy="145162"/>
            </a:xfrm>
            <a:prstGeom prst="triangl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68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23E25431-7D45-AC81-900B-EFEC408853C6}"/>
              </a:ext>
            </a:extLst>
          </p:cNvPr>
          <p:cNvGrpSpPr>
            <a:grpSpLocks noChangeAspect="1"/>
          </p:cNvGrpSpPr>
          <p:nvPr/>
        </p:nvGrpSpPr>
        <p:grpSpPr>
          <a:xfrm>
            <a:off x="4508376" y="2381049"/>
            <a:ext cx="622390" cy="592422"/>
            <a:chOff x="6719888" y="887413"/>
            <a:chExt cx="492125" cy="468312"/>
          </a:xfrm>
          <a:solidFill>
            <a:schemeClr val="bg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52" name="Freeform 21">
              <a:extLst>
                <a:ext uri="{FF2B5EF4-FFF2-40B4-BE49-F238E27FC236}">
                  <a16:creationId xmlns:a16="http://schemas.microsoft.com/office/drawing/2014/main" id="{ADDE8EC9-5A1E-32CE-E36C-022613522E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19888" y="887413"/>
              <a:ext cx="492125" cy="468312"/>
            </a:xfrm>
            <a:custGeom>
              <a:avLst/>
              <a:gdLst>
                <a:gd name="T0" fmla="*/ 117 w 128"/>
                <a:gd name="T1" fmla="*/ 0 h 122"/>
                <a:gd name="T2" fmla="*/ 11 w 128"/>
                <a:gd name="T3" fmla="*/ 0 h 122"/>
                <a:gd name="T4" fmla="*/ 0 w 128"/>
                <a:gd name="T5" fmla="*/ 11 h 122"/>
                <a:gd name="T6" fmla="*/ 0 w 128"/>
                <a:gd name="T7" fmla="*/ 93 h 122"/>
                <a:gd name="T8" fmla="*/ 11 w 128"/>
                <a:gd name="T9" fmla="*/ 104 h 122"/>
                <a:gd name="T10" fmla="*/ 43 w 128"/>
                <a:gd name="T11" fmla="*/ 104 h 122"/>
                <a:gd name="T12" fmla="*/ 38 w 128"/>
                <a:gd name="T13" fmla="*/ 110 h 122"/>
                <a:gd name="T14" fmla="*/ 35 w 128"/>
                <a:gd name="T15" fmla="*/ 113 h 122"/>
                <a:gd name="T16" fmla="*/ 34 w 128"/>
                <a:gd name="T17" fmla="*/ 118 h 122"/>
                <a:gd name="T18" fmla="*/ 42 w 128"/>
                <a:gd name="T19" fmla="*/ 122 h 122"/>
                <a:gd name="T20" fmla="*/ 86 w 128"/>
                <a:gd name="T21" fmla="*/ 122 h 122"/>
                <a:gd name="T22" fmla="*/ 94 w 128"/>
                <a:gd name="T23" fmla="*/ 118 h 122"/>
                <a:gd name="T24" fmla="*/ 94 w 128"/>
                <a:gd name="T25" fmla="*/ 113 h 122"/>
                <a:gd name="T26" fmla="*/ 91 w 128"/>
                <a:gd name="T27" fmla="*/ 110 h 122"/>
                <a:gd name="T28" fmla="*/ 85 w 128"/>
                <a:gd name="T29" fmla="*/ 104 h 122"/>
                <a:gd name="T30" fmla="*/ 117 w 128"/>
                <a:gd name="T31" fmla="*/ 104 h 122"/>
                <a:gd name="T32" fmla="*/ 128 w 128"/>
                <a:gd name="T33" fmla="*/ 93 h 122"/>
                <a:gd name="T34" fmla="*/ 128 w 128"/>
                <a:gd name="T35" fmla="*/ 11 h 122"/>
                <a:gd name="T36" fmla="*/ 117 w 128"/>
                <a:gd name="T37" fmla="*/ 0 h 122"/>
                <a:gd name="T38" fmla="*/ 88 w 128"/>
                <a:gd name="T39" fmla="*/ 113 h 122"/>
                <a:gd name="T40" fmla="*/ 90 w 128"/>
                <a:gd name="T41" fmla="*/ 116 h 122"/>
                <a:gd name="T42" fmla="*/ 90 w 128"/>
                <a:gd name="T43" fmla="*/ 116 h 122"/>
                <a:gd name="T44" fmla="*/ 86 w 128"/>
                <a:gd name="T45" fmla="*/ 118 h 122"/>
                <a:gd name="T46" fmla="*/ 42 w 128"/>
                <a:gd name="T47" fmla="*/ 118 h 122"/>
                <a:gd name="T48" fmla="*/ 38 w 128"/>
                <a:gd name="T49" fmla="*/ 116 h 122"/>
                <a:gd name="T50" fmla="*/ 38 w 128"/>
                <a:gd name="T51" fmla="*/ 116 h 122"/>
                <a:gd name="T52" fmla="*/ 38 w 128"/>
                <a:gd name="T53" fmla="*/ 116 h 122"/>
                <a:gd name="T54" fmla="*/ 40 w 128"/>
                <a:gd name="T55" fmla="*/ 113 h 122"/>
                <a:gd name="T56" fmla="*/ 48 w 128"/>
                <a:gd name="T57" fmla="*/ 104 h 122"/>
                <a:gd name="T58" fmla="*/ 80 w 128"/>
                <a:gd name="T59" fmla="*/ 104 h 122"/>
                <a:gd name="T60" fmla="*/ 88 w 128"/>
                <a:gd name="T61" fmla="*/ 113 h 122"/>
                <a:gd name="T62" fmla="*/ 120 w 128"/>
                <a:gd name="T63" fmla="*/ 93 h 122"/>
                <a:gd name="T64" fmla="*/ 117 w 128"/>
                <a:gd name="T65" fmla="*/ 96 h 122"/>
                <a:gd name="T66" fmla="*/ 11 w 128"/>
                <a:gd name="T67" fmla="*/ 96 h 122"/>
                <a:gd name="T68" fmla="*/ 8 w 128"/>
                <a:gd name="T69" fmla="*/ 93 h 122"/>
                <a:gd name="T70" fmla="*/ 8 w 128"/>
                <a:gd name="T71" fmla="*/ 11 h 122"/>
                <a:gd name="T72" fmla="*/ 11 w 128"/>
                <a:gd name="T73" fmla="*/ 8 h 122"/>
                <a:gd name="T74" fmla="*/ 117 w 128"/>
                <a:gd name="T75" fmla="*/ 8 h 122"/>
                <a:gd name="T76" fmla="*/ 120 w 128"/>
                <a:gd name="T77" fmla="*/ 11 h 122"/>
                <a:gd name="T78" fmla="*/ 120 w 128"/>
                <a:gd name="T79" fmla="*/ 93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8" h="122">
                  <a:moveTo>
                    <a:pt x="117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99"/>
                    <a:pt x="5" y="104"/>
                    <a:pt x="11" y="104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42" y="106"/>
                    <a:pt x="39" y="109"/>
                    <a:pt x="38" y="110"/>
                  </a:cubicBezTo>
                  <a:cubicBezTo>
                    <a:pt x="36" y="111"/>
                    <a:pt x="35" y="112"/>
                    <a:pt x="35" y="113"/>
                  </a:cubicBezTo>
                  <a:cubicBezTo>
                    <a:pt x="34" y="114"/>
                    <a:pt x="33" y="116"/>
                    <a:pt x="34" y="118"/>
                  </a:cubicBezTo>
                  <a:cubicBezTo>
                    <a:pt x="35" y="120"/>
                    <a:pt x="37" y="122"/>
                    <a:pt x="42" y="122"/>
                  </a:cubicBezTo>
                  <a:cubicBezTo>
                    <a:pt x="86" y="122"/>
                    <a:pt x="86" y="122"/>
                    <a:pt x="86" y="122"/>
                  </a:cubicBezTo>
                  <a:cubicBezTo>
                    <a:pt x="91" y="122"/>
                    <a:pt x="93" y="120"/>
                    <a:pt x="94" y="118"/>
                  </a:cubicBezTo>
                  <a:cubicBezTo>
                    <a:pt x="95" y="116"/>
                    <a:pt x="95" y="114"/>
                    <a:pt x="94" y="113"/>
                  </a:cubicBezTo>
                  <a:cubicBezTo>
                    <a:pt x="93" y="112"/>
                    <a:pt x="92" y="111"/>
                    <a:pt x="91" y="110"/>
                  </a:cubicBezTo>
                  <a:cubicBezTo>
                    <a:pt x="89" y="109"/>
                    <a:pt x="87" y="106"/>
                    <a:pt x="85" y="104"/>
                  </a:cubicBezTo>
                  <a:cubicBezTo>
                    <a:pt x="117" y="104"/>
                    <a:pt x="117" y="104"/>
                    <a:pt x="117" y="104"/>
                  </a:cubicBezTo>
                  <a:cubicBezTo>
                    <a:pt x="123" y="104"/>
                    <a:pt x="128" y="99"/>
                    <a:pt x="128" y="93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28" y="5"/>
                    <a:pt x="123" y="0"/>
                    <a:pt x="117" y="0"/>
                  </a:cubicBezTo>
                  <a:close/>
                  <a:moveTo>
                    <a:pt x="88" y="113"/>
                  </a:moveTo>
                  <a:cubicBezTo>
                    <a:pt x="89" y="114"/>
                    <a:pt x="90" y="115"/>
                    <a:pt x="90" y="116"/>
                  </a:cubicBezTo>
                  <a:cubicBezTo>
                    <a:pt x="90" y="116"/>
                    <a:pt x="91" y="116"/>
                    <a:pt x="90" y="116"/>
                  </a:cubicBezTo>
                  <a:cubicBezTo>
                    <a:pt x="90" y="117"/>
                    <a:pt x="88" y="118"/>
                    <a:pt x="86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0" y="118"/>
                    <a:pt x="38" y="117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5"/>
                    <a:pt x="39" y="114"/>
                    <a:pt x="40" y="113"/>
                  </a:cubicBezTo>
                  <a:cubicBezTo>
                    <a:pt x="44" y="109"/>
                    <a:pt x="47" y="106"/>
                    <a:pt x="48" y="104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82" y="106"/>
                    <a:pt x="84" y="109"/>
                    <a:pt x="88" y="113"/>
                  </a:cubicBezTo>
                  <a:close/>
                  <a:moveTo>
                    <a:pt x="120" y="93"/>
                  </a:moveTo>
                  <a:cubicBezTo>
                    <a:pt x="120" y="95"/>
                    <a:pt x="119" y="96"/>
                    <a:pt x="117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9" y="96"/>
                    <a:pt x="8" y="95"/>
                    <a:pt x="8" y="93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9"/>
                    <a:pt x="9" y="8"/>
                    <a:pt x="11" y="8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9" y="8"/>
                    <a:pt x="120" y="9"/>
                    <a:pt x="120" y="11"/>
                  </a:cubicBezTo>
                  <a:lnTo>
                    <a:pt x="120" y="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tx2"/>
                </a:solidFill>
              </a:endParaRPr>
            </a:p>
          </p:txBody>
        </p:sp>
        <p:sp>
          <p:nvSpPr>
            <p:cNvPr id="53" name="Freeform 22">
              <a:extLst>
                <a:ext uri="{FF2B5EF4-FFF2-40B4-BE49-F238E27FC236}">
                  <a16:creationId xmlns:a16="http://schemas.microsoft.com/office/drawing/2014/main" id="{33A4488D-121E-9E8C-1C77-A3069EE3362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81801" y="947738"/>
              <a:ext cx="368300" cy="247650"/>
            </a:xfrm>
            <a:custGeom>
              <a:avLst/>
              <a:gdLst>
                <a:gd name="T0" fmla="*/ 89 w 96"/>
                <a:gd name="T1" fmla="*/ 0 h 64"/>
                <a:gd name="T2" fmla="*/ 7 w 96"/>
                <a:gd name="T3" fmla="*/ 0 h 64"/>
                <a:gd name="T4" fmla="*/ 0 w 96"/>
                <a:gd name="T5" fmla="*/ 7 h 64"/>
                <a:gd name="T6" fmla="*/ 0 w 96"/>
                <a:gd name="T7" fmla="*/ 57 h 64"/>
                <a:gd name="T8" fmla="*/ 7 w 96"/>
                <a:gd name="T9" fmla="*/ 64 h 64"/>
                <a:gd name="T10" fmla="*/ 89 w 96"/>
                <a:gd name="T11" fmla="*/ 64 h 64"/>
                <a:gd name="T12" fmla="*/ 96 w 96"/>
                <a:gd name="T13" fmla="*/ 57 h 64"/>
                <a:gd name="T14" fmla="*/ 96 w 96"/>
                <a:gd name="T15" fmla="*/ 7 h 64"/>
                <a:gd name="T16" fmla="*/ 89 w 96"/>
                <a:gd name="T17" fmla="*/ 0 h 64"/>
                <a:gd name="T18" fmla="*/ 92 w 96"/>
                <a:gd name="T19" fmla="*/ 57 h 64"/>
                <a:gd name="T20" fmla="*/ 89 w 96"/>
                <a:gd name="T21" fmla="*/ 60 h 64"/>
                <a:gd name="T22" fmla="*/ 7 w 96"/>
                <a:gd name="T23" fmla="*/ 60 h 64"/>
                <a:gd name="T24" fmla="*/ 4 w 96"/>
                <a:gd name="T25" fmla="*/ 57 h 64"/>
                <a:gd name="T26" fmla="*/ 4 w 96"/>
                <a:gd name="T27" fmla="*/ 7 h 64"/>
                <a:gd name="T28" fmla="*/ 7 w 96"/>
                <a:gd name="T29" fmla="*/ 4 h 64"/>
                <a:gd name="T30" fmla="*/ 89 w 96"/>
                <a:gd name="T31" fmla="*/ 4 h 64"/>
                <a:gd name="T32" fmla="*/ 92 w 96"/>
                <a:gd name="T33" fmla="*/ 7 h 64"/>
                <a:gd name="T34" fmla="*/ 92 w 96"/>
                <a:gd name="T35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6" h="64">
                  <a:moveTo>
                    <a:pt x="89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1"/>
                    <a:pt x="3" y="64"/>
                    <a:pt x="7" y="64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93" y="64"/>
                    <a:pt x="96" y="61"/>
                    <a:pt x="96" y="5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3"/>
                    <a:pt x="93" y="0"/>
                    <a:pt x="89" y="0"/>
                  </a:cubicBezTo>
                  <a:close/>
                  <a:moveTo>
                    <a:pt x="92" y="57"/>
                  </a:moveTo>
                  <a:cubicBezTo>
                    <a:pt x="92" y="59"/>
                    <a:pt x="91" y="60"/>
                    <a:pt x="89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5" y="60"/>
                    <a:pt x="4" y="59"/>
                    <a:pt x="4" y="5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5" y="4"/>
                    <a:pt x="7" y="4"/>
                  </a:cubicBezTo>
                  <a:cubicBezTo>
                    <a:pt x="89" y="4"/>
                    <a:pt x="89" y="4"/>
                    <a:pt x="89" y="4"/>
                  </a:cubicBezTo>
                  <a:cubicBezTo>
                    <a:pt x="91" y="4"/>
                    <a:pt x="92" y="5"/>
                    <a:pt x="92" y="7"/>
                  </a:cubicBezTo>
                  <a:lnTo>
                    <a:pt x="92" y="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tx2"/>
                </a:solidFill>
              </a:endParaRPr>
            </a:p>
          </p:txBody>
        </p:sp>
        <p:sp>
          <p:nvSpPr>
            <p:cNvPr id="54" name="Freeform 23">
              <a:extLst>
                <a:ext uri="{FF2B5EF4-FFF2-40B4-BE49-F238E27FC236}">
                  <a16:creationId xmlns:a16="http://schemas.microsoft.com/office/drawing/2014/main" id="{1A91DA74-8D57-1CBF-0B2F-1817EDD15BB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43726" y="1201738"/>
              <a:ext cx="46038" cy="47625"/>
            </a:xfrm>
            <a:custGeom>
              <a:avLst/>
              <a:gdLst>
                <a:gd name="T0" fmla="*/ 6 w 12"/>
                <a:gd name="T1" fmla="*/ 0 h 12"/>
                <a:gd name="T2" fmla="*/ 0 w 12"/>
                <a:gd name="T3" fmla="*/ 6 h 12"/>
                <a:gd name="T4" fmla="*/ 6 w 12"/>
                <a:gd name="T5" fmla="*/ 12 h 12"/>
                <a:gd name="T6" fmla="*/ 12 w 12"/>
                <a:gd name="T7" fmla="*/ 6 h 12"/>
                <a:gd name="T8" fmla="*/ 6 w 12"/>
                <a:gd name="T9" fmla="*/ 0 h 12"/>
                <a:gd name="T10" fmla="*/ 6 w 12"/>
                <a:gd name="T11" fmla="*/ 8 h 12"/>
                <a:gd name="T12" fmla="*/ 4 w 12"/>
                <a:gd name="T13" fmla="*/ 6 h 12"/>
                <a:gd name="T14" fmla="*/ 6 w 12"/>
                <a:gd name="T15" fmla="*/ 4 h 12"/>
                <a:gd name="T16" fmla="*/ 8 w 12"/>
                <a:gd name="T17" fmla="*/ 6 h 12"/>
                <a:gd name="T18" fmla="*/ 6 w 12"/>
                <a:gd name="T1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9" y="12"/>
                    <a:pt x="12" y="9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lose/>
                  <a:moveTo>
                    <a:pt x="6" y="8"/>
                  </a:moveTo>
                  <a:cubicBezTo>
                    <a:pt x="5" y="8"/>
                    <a:pt x="4" y="7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7" y="4"/>
                    <a:pt x="8" y="5"/>
                    <a:pt x="8" y="6"/>
                  </a:cubicBezTo>
                  <a:cubicBezTo>
                    <a:pt x="8" y="7"/>
                    <a:pt x="7" y="8"/>
                    <a:pt x="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tx2"/>
                </a:solidFill>
              </a:endParaRPr>
            </a:p>
          </p:txBody>
        </p:sp>
        <p:sp>
          <p:nvSpPr>
            <p:cNvPr id="56" name="Freeform 24">
              <a:extLst>
                <a:ext uri="{FF2B5EF4-FFF2-40B4-BE49-F238E27FC236}">
                  <a16:creationId xmlns:a16="http://schemas.microsoft.com/office/drawing/2014/main" id="{F536E481-70D3-21C8-8A73-D09944183017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1813" y="1044575"/>
              <a:ext cx="61913" cy="65087"/>
            </a:xfrm>
            <a:custGeom>
              <a:avLst/>
              <a:gdLst>
                <a:gd name="T0" fmla="*/ 0 w 39"/>
                <a:gd name="T1" fmla="*/ 24 h 41"/>
                <a:gd name="T2" fmla="*/ 39 w 39"/>
                <a:gd name="T3" fmla="*/ 41 h 41"/>
                <a:gd name="T4" fmla="*/ 39 w 39"/>
                <a:gd name="T5" fmla="*/ 32 h 41"/>
                <a:gd name="T6" fmla="*/ 12 w 39"/>
                <a:gd name="T7" fmla="*/ 19 h 41"/>
                <a:gd name="T8" fmla="*/ 39 w 39"/>
                <a:gd name="T9" fmla="*/ 10 h 41"/>
                <a:gd name="T10" fmla="*/ 39 w 39"/>
                <a:gd name="T11" fmla="*/ 0 h 41"/>
                <a:gd name="T12" fmla="*/ 0 w 39"/>
                <a:gd name="T13" fmla="*/ 17 h 41"/>
                <a:gd name="T14" fmla="*/ 0 w 39"/>
                <a:gd name="T15" fmla="*/ 2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41">
                  <a:moveTo>
                    <a:pt x="0" y="24"/>
                  </a:moveTo>
                  <a:lnTo>
                    <a:pt x="39" y="41"/>
                  </a:lnTo>
                  <a:lnTo>
                    <a:pt x="39" y="32"/>
                  </a:lnTo>
                  <a:lnTo>
                    <a:pt x="12" y="19"/>
                  </a:lnTo>
                  <a:lnTo>
                    <a:pt x="39" y="10"/>
                  </a:lnTo>
                  <a:lnTo>
                    <a:pt x="39" y="0"/>
                  </a:lnTo>
                  <a:lnTo>
                    <a:pt x="0" y="17"/>
                  </a:lnTo>
                  <a:lnTo>
                    <a:pt x="0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tx2"/>
                </a:solidFill>
              </a:endParaRPr>
            </a:p>
          </p:txBody>
        </p:sp>
        <p:sp>
          <p:nvSpPr>
            <p:cNvPr id="57" name="Freeform 25">
              <a:extLst>
                <a:ext uri="{FF2B5EF4-FFF2-40B4-BE49-F238E27FC236}">
                  <a16:creationId xmlns:a16="http://schemas.microsoft.com/office/drawing/2014/main" id="{A11C82C3-4573-C928-2092-AE4FD3C60021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0076" y="1033463"/>
              <a:ext cx="31750" cy="87312"/>
            </a:xfrm>
            <a:custGeom>
              <a:avLst/>
              <a:gdLst>
                <a:gd name="T0" fmla="*/ 7 w 8"/>
                <a:gd name="T1" fmla="*/ 0 h 23"/>
                <a:gd name="T2" fmla="*/ 5 w 8"/>
                <a:gd name="T3" fmla="*/ 0 h 23"/>
                <a:gd name="T4" fmla="*/ 5 w 8"/>
                <a:gd name="T5" fmla="*/ 2 h 23"/>
                <a:gd name="T6" fmla="*/ 0 w 8"/>
                <a:gd name="T7" fmla="*/ 20 h 23"/>
                <a:gd name="T8" fmla="*/ 0 w 8"/>
                <a:gd name="T9" fmla="*/ 22 h 23"/>
                <a:gd name="T10" fmla="*/ 2 w 8"/>
                <a:gd name="T11" fmla="*/ 23 h 23"/>
                <a:gd name="T12" fmla="*/ 3 w 8"/>
                <a:gd name="T13" fmla="*/ 23 h 23"/>
                <a:gd name="T14" fmla="*/ 3 w 8"/>
                <a:gd name="T15" fmla="*/ 22 h 23"/>
                <a:gd name="T16" fmla="*/ 4 w 8"/>
                <a:gd name="T17" fmla="*/ 21 h 23"/>
                <a:gd name="T18" fmla="*/ 8 w 8"/>
                <a:gd name="T19" fmla="*/ 3 h 23"/>
                <a:gd name="T20" fmla="*/ 8 w 8"/>
                <a:gd name="T21" fmla="*/ 1 h 23"/>
                <a:gd name="T22" fmla="*/ 8 w 8"/>
                <a:gd name="T23" fmla="*/ 0 h 23"/>
                <a:gd name="T24" fmla="*/ 7 w 8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3">
                  <a:moveTo>
                    <a:pt x="7" y="0"/>
                  </a:move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1"/>
                    <a:pt x="5" y="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0" y="23"/>
                    <a:pt x="1" y="23"/>
                    <a:pt x="2" y="23"/>
                  </a:cubicBezTo>
                  <a:cubicBezTo>
                    <a:pt x="2" y="23"/>
                    <a:pt x="2" y="23"/>
                    <a:pt x="3" y="23"/>
                  </a:cubicBezTo>
                  <a:cubicBezTo>
                    <a:pt x="3" y="23"/>
                    <a:pt x="3" y="22"/>
                    <a:pt x="3" y="22"/>
                  </a:cubicBezTo>
                  <a:cubicBezTo>
                    <a:pt x="3" y="22"/>
                    <a:pt x="3" y="21"/>
                    <a:pt x="4" y="2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tx2"/>
                </a:solidFill>
              </a:endParaRPr>
            </a:p>
          </p:txBody>
        </p:sp>
        <p:sp>
          <p:nvSpPr>
            <p:cNvPr id="58" name="Freeform 26">
              <a:extLst>
                <a:ext uri="{FF2B5EF4-FFF2-40B4-BE49-F238E27FC236}">
                  <a16:creationId xmlns:a16="http://schemas.microsoft.com/office/drawing/2014/main" id="{35A1B680-4C07-F2CF-B545-FAC2AEF148A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89763" y="1044575"/>
              <a:ext cx="60325" cy="65087"/>
            </a:xfrm>
            <a:custGeom>
              <a:avLst/>
              <a:gdLst>
                <a:gd name="T0" fmla="*/ 0 w 38"/>
                <a:gd name="T1" fmla="*/ 10 h 41"/>
                <a:gd name="T2" fmla="*/ 26 w 38"/>
                <a:gd name="T3" fmla="*/ 19 h 41"/>
                <a:gd name="T4" fmla="*/ 0 w 38"/>
                <a:gd name="T5" fmla="*/ 32 h 41"/>
                <a:gd name="T6" fmla="*/ 0 w 38"/>
                <a:gd name="T7" fmla="*/ 41 h 41"/>
                <a:gd name="T8" fmla="*/ 38 w 38"/>
                <a:gd name="T9" fmla="*/ 24 h 41"/>
                <a:gd name="T10" fmla="*/ 38 w 38"/>
                <a:gd name="T11" fmla="*/ 17 h 41"/>
                <a:gd name="T12" fmla="*/ 0 w 38"/>
                <a:gd name="T13" fmla="*/ 0 h 41"/>
                <a:gd name="T14" fmla="*/ 0 w 38"/>
                <a:gd name="T15" fmla="*/ 1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41">
                  <a:moveTo>
                    <a:pt x="0" y="10"/>
                  </a:moveTo>
                  <a:lnTo>
                    <a:pt x="26" y="19"/>
                  </a:lnTo>
                  <a:lnTo>
                    <a:pt x="0" y="32"/>
                  </a:lnTo>
                  <a:lnTo>
                    <a:pt x="0" y="41"/>
                  </a:lnTo>
                  <a:lnTo>
                    <a:pt x="38" y="24"/>
                  </a:lnTo>
                  <a:lnTo>
                    <a:pt x="38" y="17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tx2"/>
                </a:solidFill>
              </a:endParaRPr>
            </a:p>
          </p:txBody>
        </p:sp>
      </p:grpSp>
      <p:sp>
        <p:nvSpPr>
          <p:cNvPr id="28" name="Freeform 27">
            <a:extLst>
              <a:ext uri="{FF2B5EF4-FFF2-40B4-BE49-F238E27FC236}">
                <a16:creationId xmlns:a16="http://schemas.microsoft.com/office/drawing/2014/main" id="{07AD43B8-0C75-7660-CB9B-E775804DC33B}"/>
              </a:ext>
            </a:extLst>
          </p:cNvPr>
          <p:cNvSpPr>
            <a:spLocks noChangeAspect="1" noEditPoints="1"/>
          </p:cNvSpPr>
          <p:nvPr/>
        </p:nvSpPr>
        <p:spPr bwMode="auto">
          <a:xfrm rot="2700000">
            <a:off x="2464010" y="2296351"/>
            <a:ext cx="413768" cy="761818"/>
          </a:xfrm>
          <a:custGeom>
            <a:avLst/>
            <a:gdLst>
              <a:gd name="T0" fmla="*/ 482 w 579"/>
              <a:gd name="T1" fmla="*/ 367 h 1073"/>
              <a:gd name="T2" fmla="*/ 482 w 579"/>
              <a:gd name="T3" fmla="*/ 148 h 1073"/>
              <a:gd name="T4" fmla="*/ 525 w 579"/>
              <a:gd name="T5" fmla="*/ 79 h 1073"/>
              <a:gd name="T6" fmla="*/ 447 w 579"/>
              <a:gd name="T7" fmla="*/ 0 h 1073"/>
              <a:gd name="T8" fmla="*/ 132 w 579"/>
              <a:gd name="T9" fmla="*/ 0 h 1073"/>
              <a:gd name="T10" fmla="*/ 54 w 579"/>
              <a:gd name="T11" fmla="*/ 79 h 1073"/>
              <a:gd name="T12" fmla="*/ 96 w 579"/>
              <a:gd name="T13" fmla="*/ 148 h 1073"/>
              <a:gd name="T14" fmla="*/ 96 w 579"/>
              <a:gd name="T15" fmla="*/ 367 h 1073"/>
              <a:gd name="T16" fmla="*/ 0 w 579"/>
              <a:gd name="T17" fmla="*/ 583 h 1073"/>
              <a:gd name="T18" fmla="*/ 0 w 579"/>
              <a:gd name="T19" fmla="*/ 612 h 1073"/>
              <a:gd name="T20" fmla="*/ 224 w 579"/>
              <a:gd name="T21" fmla="*/ 612 h 1073"/>
              <a:gd name="T22" fmla="*/ 224 w 579"/>
              <a:gd name="T23" fmla="*/ 923 h 1073"/>
              <a:gd name="T24" fmla="*/ 289 w 579"/>
              <a:gd name="T25" fmla="*/ 1073 h 1073"/>
              <a:gd name="T26" fmla="*/ 355 w 579"/>
              <a:gd name="T27" fmla="*/ 923 h 1073"/>
              <a:gd name="T28" fmla="*/ 355 w 579"/>
              <a:gd name="T29" fmla="*/ 612 h 1073"/>
              <a:gd name="T30" fmla="*/ 579 w 579"/>
              <a:gd name="T31" fmla="*/ 612 h 1073"/>
              <a:gd name="T32" fmla="*/ 579 w 579"/>
              <a:gd name="T33" fmla="*/ 583 h 1073"/>
              <a:gd name="T34" fmla="*/ 482 w 579"/>
              <a:gd name="T35" fmla="*/ 367 h 1073"/>
              <a:gd name="T36" fmla="*/ 132 w 579"/>
              <a:gd name="T37" fmla="*/ 58 h 1073"/>
              <a:gd name="T38" fmla="*/ 447 w 579"/>
              <a:gd name="T39" fmla="*/ 58 h 1073"/>
              <a:gd name="T40" fmla="*/ 467 w 579"/>
              <a:gd name="T41" fmla="*/ 79 h 1073"/>
              <a:gd name="T42" fmla="*/ 449 w 579"/>
              <a:gd name="T43" fmla="*/ 99 h 1073"/>
              <a:gd name="T44" fmla="*/ 436 w 579"/>
              <a:gd name="T45" fmla="*/ 101 h 1073"/>
              <a:gd name="T46" fmla="*/ 143 w 579"/>
              <a:gd name="T47" fmla="*/ 101 h 1073"/>
              <a:gd name="T48" fmla="*/ 129 w 579"/>
              <a:gd name="T49" fmla="*/ 99 h 1073"/>
              <a:gd name="T50" fmla="*/ 111 w 579"/>
              <a:gd name="T51" fmla="*/ 79 h 1073"/>
              <a:gd name="T52" fmla="*/ 132 w 579"/>
              <a:gd name="T53" fmla="*/ 58 h 1073"/>
              <a:gd name="T54" fmla="*/ 424 w 579"/>
              <a:gd name="T55" fmla="*/ 370 h 1073"/>
              <a:gd name="T56" fmla="*/ 154 w 579"/>
              <a:gd name="T57" fmla="*/ 370 h 1073"/>
              <a:gd name="T58" fmla="*/ 154 w 579"/>
              <a:gd name="T59" fmla="*/ 130 h 1073"/>
              <a:gd name="T60" fmla="*/ 424 w 579"/>
              <a:gd name="T61" fmla="*/ 130 h 1073"/>
              <a:gd name="T62" fmla="*/ 424 w 579"/>
              <a:gd name="T63" fmla="*/ 370 h 1073"/>
              <a:gd name="T64" fmla="*/ 297 w 579"/>
              <a:gd name="T65" fmla="*/ 911 h 1073"/>
              <a:gd name="T66" fmla="*/ 289 w 579"/>
              <a:gd name="T67" fmla="*/ 928 h 1073"/>
              <a:gd name="T68" fmla="*/ 282 w 579"/>
              <a:gd name="T69" fmla="*/ 911 h 1073"/>
              <a:gd name="T70" fmla="*/ 282 w 579"/>
              <a:gd name="T71" fmla="*/ 612 h 1073"/>
              <a:gd name="T72" fmla="*/ 297 w 579"/>
              <a:gd name="T73" fmla="*/ 612 h 1073"/>
              <a:gd name="T74" fmla="*/ 297 w 579"/>
              <a:gd name="T75" fmla="*/ 911 h 1073"/>
              <a:gd name="T76" fmla="*/ 355 w 579"/>
              <a:gd name="T77" fmla="*/ 554 h 1073"/>
              <a:gd name="T78" fmla="*/ 224 w 579"/>
              <a:gd name="T79" fmla="*/ 554 h 1073"/>
              <a:gd name="T80" fmla="*/ 59 w 579"/>
              <a:gd name="T81" fmla="*/ 554 h 1073"/>
              <a:gd name="T82" fmla="*/ 144 w 579"/>
              <a:gd name="T83" fmla="*/ 403 h 1073"/>
              <a:gd name="T84" fmla="*/ 149 w 579"/>
              <a:gd name="T85" fmla="*/ 399 h 1073"/>
              <a:gd name="T86" fmla="*/ 430 w 579"/>
              <a:gd name="T87" fmla="*/ 399 h 1073"/>
              <a:gd name="T88" fmla="*/ 435 w 579"/>
              <a:gd name="T89" fmla="*/ 403 h 1073"/>
              <a:gd name="T90" fmla="*/ 519 w 579"/>
              <a:gd name="T91" fmla="*/ 554 h 1073"/>
              <a:gd name="T92" fmla="*/ 355 w 579"/>
              <a:gd name="T93" fmla="*/ 554 h 10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579" h="1073">
                <a:moveTo>
                  <a:pt x="482" y="367"/>
                </a:moveTo>
                <a:cubicBezTo>
                  <a:pt x="482" y="148"/>
                  <a:pt x="482" y="148"/>
                  <a:pt x="482" y="148"/>
                </a:cubicBezTo>
                <a:cubicBezTo>
                  <a:pt x="508" y="135"/>
                  <a:pt x="525" y="109"/>
                  <a:pt x="525" y="79"/>
                </a:cubicBezTo>
                <a:cubicBezTo>
                  <a:pt x="525" y="35"/>
                  <a:pt x="490" y="0"/>
                  <a:pt x="447" y="0"/>
                </a:cubicBezTo>
                <a:cubicBezTo>
                  <a:pt x="132" y="0"/>
                  <a:pt x="132" y="0"/>
                  <a:pt x="132" y="0"/>
                </a:cubicBezTo>
                <a:cubicBezTo>
                  <a:pt x="89" y="0"/>
                  <a:pt x="54" y="35"/>
                  <a:pt x="54" y="79"/>
                </a:cubicBezTo>
                <a:cubicBezTo>
                  <a:pt x="54" y="109"/>
                  <a:pt x="71" y="135"/>
                  <a:pt x="96" y="148"/>
                </a:cubicBezTo>
                <a:cubicBezTo>
                  <a:pt x="96" y="367"/>
                  <a:pt x="96" y="367"/>
                  <a:pt x="96" y="367"/>
                </a:cubicBezTo>
                <a:cubicBezTo>
                  <a:pt x="35" y="422"/>
                  <a:pt x="0" y="500"/>
                  <a:pt x="0" y="583"/>
                </a:cubicBezTo>
                <a:cubicBezTo>
                  <a:pt x="0" y="612"/>
                  <a:pt x="0" y="612"/>
                  <a:pt x="0" y="612"/>
                </a:cubicBezTo>
                <a:cubicBezTo>
                  <a:pt x="224" y="612"/>
                  <a:pt x="224" y="612"/>
                  <a:pt x="224" y="612"/>
                </a:cubicBezTo>
                <a:cubicBezTo>
                  <a:pt x="224" y="923"/>
                  <a:pt x="224" y="923"/>
                  <a:pt x="224" y="923"/>
                </a:cubicBezTo>
                <a:cubicBezTo>
                  <a:pt x="289" y="1073"/>
                  <a:pt x="289" y="1073"/>
                  <a:pt x="289" y="1073"/>
                </a:cubicBezTo>
                <a:cubicBezTo>
                  <a:pt x="355" y="923"/>
                  <a:pt x="355" y="923"/>
                  <a:pt x="355" y="923"/>
                </a:cubicBezTo>
                <a:cubicBezTo>
                  <a:pt x="355" y="612"/>
                  <a:pt x="355" y="612"/>
                  <a:pt x="355" y="612"/>
                </a:cubicBezTo>
                <a:cubicBezTo>
                  <a:pt x="579" y="612"/>
                  <a:pt x="579" y="612"/>
                  <a:pt x="579" y="612"/>
                </a:cubicBezTo>
                <a:cubicBezTo>
                  <a:pt x="579" y="583"/>
                  <a:pt x="579" y="583"/>
                  <a:pt x="579" y="583"/>
                </a:cubicBezTo>
                <a:cubicBezTo>
                  <a:pt x="579" y="500"/>
                  <a:pt x="544" y="422"/>
                  <a:pt x="482" y="367"/>
                </a:cubicBezTo>
                <a:close/>
                <a:moveTo>
                  <a:pt x="132" y="58"/>
                </a:moveTo>
                <a:cubicBezTo>
                  <a:pt x="447" y="58"/>
                  <a:pt x="447" y="58"/>
                  <a:pt x="447" y="58"/>
                </a:cubicBezTo>
                <a:cubicBezTo>
                  <a:pt x="458" y="58"/>
                  <a:pt x="467" y="67"/>
                  <a:pt x="467" y="79"/>
                </a:cubicBezTo>
                <a:cubicBezTo>
                  <a:pt x="467" y="89"/>
                  <a:pt x="459" y="97"/>
                  <a:pt x="449" y="99"/>
                </a:cubicBezTo>
                <a:cubicBezTo>
                  <a:pt x="436" y="101"/>
                  <a:pt x="436" y="101"/>
                  <a:pt x="436" y="101"/>
                </a:cubicBezTo>
                <a:cubicBezTo>
                  <a:pt x="143" y="101"/>
                  <a:pt x="143" y="101"/>
                  <a:pt x="143" y="101"/>
                </a:cubicBezTo>
                <a:cubicBezTo>
                  <a:pt x="129" y="99"/>
                  <a:pt x="129" y="99"/>
                  <a:pt x="129" y="99"/>
                </a:cubicBezTo>
                <a:cubicBezTo>
                  <a:pt x="119" y="97"/>
                  <a:pt x="111" y="89"/>
                  <a:pt x="111" y="79"/>
                </a:cubicBezTo>
                <a:cubicBezTo>
                  <a:pt x="111" y="67"/>
                  <a:pt x="121" y="58"/>
                  <a:pt x="132" y="58"/>
                </a:cubicBezTo>
                <a:close/>
                <a:moveTo>
                  <a:pt x="424" y="370"/>
                </a:moveTo>
                <a:cubicBezTo>
                  <a:pt x="154" y="370"/>
                  <a:pt x="154" y="370"/>
                  <a:pt x="154" y="370"/>
                </a:cubicBezTo>
                <a:cubicBezTo>
                  <a:pt x="154" y="130"/>
                  <a:pt x="154" y="130"/>
                  <a:pt x="154" y="130"/>
                </a:cubicBezTo>
                <a:cubicBezTo>
                  <a:pt x="424" y="130"/>
                  <a:pt x="424" y="130"/>
                  <a:pt x="424" y="130"/>
                </a:cubicBezTo>
                <a:lnTo>
                  <a:pt x="424" y="370"/>
                </a:lnTo>
                <a:close/>
                <a:moveTo>
                  <a:pt x="297" y="911"/>
                </a:moveTo>
                <a:cubicBezTo>
                  <a:pt x="289" y="928"/>
                  <a:pt x="289" y="928"/>
                  <a:pt x="289" y="928"/>
                </a:cubicBezTo>
                <a:cubicBezTo>
                  <a:pt x="282" y="911"/>
                  <a:pt x="282" y="911"/>
                  <a:pt x="282" y="911"/>
                </a:cubicBezTo>
                <a:cubicBezTo>
                  <a:pt x="282" y="612"/>
                  <a:pt x="282" y="612"/>
                  <a:pt x="282" y="612"/>
                </a:cubicBezTo>
                <a:cubicBezTo>
                  <a:pt x="297" y="612"/>
                  <a:pt x="297" y="612"/>
                  <a:pt x="297" y="612"/>
                </a:cubicBezTo>
                <a:lnTo>
                  <a:pt x="297" y="911"/>
                </a:lnTo>
                <a:close/>
                <a:moveTo>
                  <a:pt x="355" y="554"/>
                </a:moveTo>
                <a:cubicBezTo>
                  <a:pt x="224" y="554"/>
                  <a:pt x="224" y="554"/>
                  <a:pt x="224" y="554"/>
                </a:cubicBezTo>
                <a:cubicBezTo>
                  <a:pt x="59" y="554"/>
                  <a:pt x="59" y="554"/>
                  <a:pt x="59" y="554"/>
                </a:cubicBezTo>
                <a:cubicBezTo>
                  <a:pt x="67" y="495"/>
                  <a:pt x="97" y="441"/>
                  <a:pt x="144" y="403"/>
                </a:cubicBezTo>
                <a:cubicBezTo>
                  <a:pt x="149" y="399"/>
                  <a:pt x="149" y="399"/>
                  <a:pt x="149" y="399"/>
                </a:cubicBezTo>
                <a:cubicBezTo>
                  <a:pt x="430" y="399"/>
                  <a:pt x="430" y="399"/>
                  <a:pt x="430" y="399"/>
                </a:cubicBezTo>
                <a:cubicBezTo>
                  <a:pt x="435" y="403"/>
                  <a:pt x="435" y="403"/>
                  <a:pt x="435" y="403"/>
                </a:cubicBezTo>
                <a:cubicBezTo>
                  <a:pt x="482" y="441"/>
                  <a:pt x="512" y="495"/>
                  <a:pt x="519" y="554"/>
                </a:cubicBezTo>
                <a:lnTo>
                  <a:pt x="355" y="5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vert="horz" wrap="square" lIns="91422" tIns="45711" rIns="91422" bIns="45711" numCol="1" anchor="t" anchorCtr="0" compatLnSpc="1">
            <a:prstTxWarp prst="textNoShape">
              <a:avLst/>
            </a:prstTxWarp>
          </a:bodyPr>
          <a:lstStyle/>
          <a:p>
            <a:endParaRPr lang="id-ID" sz="840" dirty="0">
              <a:solidFill>
                <a:schemeClr val="tx2"/>
              </a:solidFill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27E4BD95-89A4-E64E-B48B-1427EB6EF477}"/>
              </a:ext>
            </a:extLst>
          </p:cNvPr>
          <p:cNvGrpSpPr>
            <a:grpSpLocks noChangeAspect="1"/>
          </p:cNvGrpSpPr>
          <p:nvPr/>
        </p:nvGrpSpPr>
        <p:grpSpPr>
          <a:xfrm>
            <a:off x="9095178" y="2521138"/>
            <a:ext cx="195648" cy="312244"/>
            <a:chOff x="6513513" y="557213"/>
            <a:chExt cx="471488" cy="752475"/>
          </a:xfrm>
          <a:solidFill>
            <a:schemeClr val="bg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50" name="Freeform 29">
              <a:extLst>
                <a:ext uri="{FF2B5EF4-FFF2-40B4-BE49-F238E27FC236}">
                  <a16:creationId xmlns:a16="http://schemas.microsoft.com/office/drawing/2014/main" id="{8A2932E0-FC59-DC3E-A292-F523F2EAC4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13513" y="557213"/>
              <a:ext cx="471488" cy="752475"/>
            </a:xfrm>
            <a:custGeom>
              <a:avLst/>
              <a:gdLst>
                <a:gd name="T0" fmla="*/ 80 w 160"/>
                <a:gd name="T1" fmla="*/ 0 h 256"/>
                <a:gd name="T2" fmla="*/ 11 w 160"/>
                <a:gd name="T3" fmla="*/ 120 h 256"/>
                <a:gd name="T4" fmla="*/ 42 w 160"/>
                <a:gd name="T5" fmla="*/ 179 h 256"/>
                <a:gd name="T6" fmla="*/ 49 w 160"/>
                <a:gd name="T7" fmla="*/ 187 h 256"/>
                <a:gd name="T8" fmla="*/ 48 w 160"/>
                <a:gd name="T9" fmla="*/ 208 h 256"/>
                <a:gd name="T10" fmla="*/ 52 w 160"/>
                <a:gd name="T11" fmla="*/ 231 h 256"/>
                <a:gd name="T12" fmla="*/ 108 w 160"/>
                <a:gd name="T13" fmla="*/ 231 h 256"/>
                <a:gd name="T14" fmla="*/ 112 w 160"/>
                <a:gd name="T15" fmla="*/ 208 h 256"/>
                <a:gd name="T16" fmla="*/ 110 w 160"/>
                <a:gd name="T17" fmla="*/ 187 h 256"/>
                <a:gd name="T18" fmla="*/ 118 w 160"/>
                <a:gd name="T19" fmla="*/ 179 h 256"/>
                <a:gd name="T20" fmla="*/ 149 w 160"/>
                <a:gd name="T21" fmla="*/ 120 h 256"/>
                <a:gd name="T22" fmla="*/ 80 w 160"/>
                <a:gd name="T23" fmla="*/ 248 h 256"/>
                <a:gd name="T24" fmla="*/ 99 w 160"/>
                <a:gd name="T25" fmla="*/ 232 h 256"/>
                <a:gd name="T26" fmla="*/ 108 w 160"/>
                <a:gd name="T27" fmla="*/ 218 h 256"/>
                <a:gd name="T28" fmla="*/ 58 w 160"/>
                <a:gd name="T29" fmla="*/ 224 h 256"/>
                <a:gd name="T30" fmla="*/ 58 w 160"/>
                <a:gd name="T31" fmla="*/ 212 h 256"/>
                <a:gd name="T32" fmla="*/ 108 w 160"/>
                <a:gd name="T33" fmla="*/ 218 h 256"/>
                <a:gd name="T34" fmla="*/ 108 w 160"/>
                <a:gd name="T35" fmla="*/ 198 h 256"/>
                <a:gd name="T36" fmla="*/ 58 w 160"/>
                <a:gd name="T37" fmla="*/ 204 h 256"/>
                <a:gd name="T38" fmla="*/ 58 w 160"/>
                <a:gd name="T39" fmla="*/ 192 h 256"/>
                <a:gd name="T40" fmla="*/ 96 w 160"/>
                <a:gd name="T41" fmla="*/ 192 h 256"/>
                <a:gd name="T42" fmla="*/ 135 w 160"/>
                <a:gd name="T43" fmla="*/ 112 h 256"/>
                <a:gd name="T44" fmla="*/ 104 w 160"/>
                <a:gd name="T45" fmla="*/ 170 h 256"/>
                <a:gd name="T46" fmla="*/ 96 w 160"/>
                <a:gd name="T47" fmla="*/ 176 h 256"/>
                <a:gd name="T48" fmla="*/ 96 w 160"/>
                <a:gd name="T49" fmla="*/ 124 h 256"/>
                <a:gd name="T50" fmla="*/ 88 w 160"/>
                <a:gd name="T51" fmla="*/ 176 h 256"/>
                <a:gd name="T52" fmla="*/ 68 w 160"/>
                <a:gd name="T53" fmla="*/ 128 h 256"/>
                <a:gd name="T54" fmla="*/ 60 w 160"/>
                <a:gd name="T55" fmla="*/ 129 h 256"/>
                <a:gd name="T56" fmla="*/ 57 w 160"/>
                <a:gd name="T57" fmla="*/ 172 h 256"/>
                <a:gd name="T58" fmla="*/ 26 w 160"/>
                <a:gd name="T59" fmla="*/ 114 h 256"/>
                <a:gd name="T60" fmla="*/ 16 w 160"/>
                <a:gd name="T61" fmla="*/ 80 h 256"/>
                <a:gd name="T62" fmla="*/ 144 w 160"/>
                <a:gd name="T63" fmla="*/ 80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0" h="256">
                  <a:moveTo>
                    <a:pt x="160" y="80"/>
                  </a:moveTo>
                  <a:cubicBezTo>
                    <a:pt x="160" y="36"/>
                    <a:pt x="124" y="0"/>
                    <a:pt x="80" y="0"/>
                  </a:cubicBezTo>
                  <a:cubicBezTo>
                    <a:pt x="36" y="0"/>
                    <a:pt x="0" y="36"/>
                    <a:pt x="0" y="80"/>
                  </a:cubicBezTo>
                  <a:cubicBezTo>
                    <a:pt x="0" y="95"/>
                    <a:pt x="4" y="109"/>
                    <a:pt x="11" y="120"/>
                  </a:cubicBezTo>
                  <a:cubicBezTo>
                    <a:pt x="11" y="120"/>
                    <a:pt x="11" y="120"/>
                    <a:pt x="11" y="120"/>
                  </a:cubicBezTo>
                  <a:cubicBezTo>
                    <a:pt x="42" y="179"/>
                    <a:pt x="42" y="179"/>
                    <a:pt x="42" y="179"/>
                  </a:cubicBezTo>
                  <a:cubicBezTo>
                    <a:pt x="42" y="179"/>
                    <a:pt x="42" y="179"/>
                    <a:pt x="42" y="179"/>
                  </a:cubicBezTo>
                  <a:cubicBezTo>
                    <a:pt x="44" y="182"/>
                    <a:pt x="46" y="185"/>
                    <a:pt x="49" y="187"/>
                  </a:cubicBezTo>
                  <a:cubicBezTo>
                    <a:pt x="46" y="190"/>
                    <a:pt x="44" y="194"/>
                    <a:pt x="44" y="198"/>
                  </a:cubicBezTo>
                  <a:cubicBezTo>
                    <a:pt x="44" y="202"/>
                    <a:pt x="46" y="206"/>
                    <a:pt x="48" y="208"/>
                  </a:cubicBezTo>
                  <a:cubicBezTo>
                    <a:pt x="46" y="211"/>
                    <a:pt x="44" y="214"/>
                    <a:pt x="44" y="218"/>
                  </a:cubicBezTo>
                  <a:cubicBezTo>
                    <a:pt x="44" y="224"/>
                    <a:pt x="47" y="229"/>
                    <a:pt x="52" y="231"/>
                  </a:cubicBezTo>
                  <a:cubicBezTo>
                    <a:pt x="53" y="245"/>
                    <a:pt x="65" y="256"/>
                    <a:pt x="80" y="256"/>
                  </a:cubicBezTo>
                  <a:cubicBezTo>
                    <a:pt x="94" y="256"/>
                    <a:pt x="106" y="245"/>
                    <a:pt x="108" y="231"/>
                  </a:cubicBezTo>
                  <a:cubicBezTo>
                    <a:pt x="112" y="229"/>
                    <a:pt x="116" y="224"/>
                    <a:pt x="116" y="218"/>
                  </a:cubicBezTo>
                  <a:cubicBezTo>
                    <a:pt x="116" y="214"/>
                    <a:pt x="114" y="211"/>
                    <a:pt x="112" y="208"/>
                  </a:cubicBezTo>
                  <a:cubicBezTo>
                    <a:pt x="114" y="206"/>
                    <a:pt x="116" y="202"/>
                    <a:pt x="116" y="198"/>
                  </a:cubicBezTo>
                  <a:cubicBezTo>
                    <a:pt x="116" y="194"/>
                    <a:pt x="114" y="190"/>
                    <a:pt x="110" y="187"/>
                  </a:cubicBezTo>
                  <a:cubicBezTo>
                    <a:pt x="113" y="185"/>
                    <a:pt x="116" y="182"/>
                    <a:pt x="118" y="179"/>
                  </a:cubicBezTo>
                  <a:cubicBezTo>
                    <a:pt x="118" y="179"/>
                    <a:pt x="118" y="179"/>
                    <a:pt x="118" y="179"/>
                  </a:cubicBezTo>
                  <a:cubicBezTo>
                    <a:pt x="149" y="120"/>
                    <a:pt x="149" y="120"/>
                    <a:pt x="149" y="120"/>
                  </a:cubicBezTo>
                  <a:cubicBezTo>
                    <a:pt x="149" y="120"/>
                    <a:pt x="149" y="120"/>
                    <a:pt x="149" y="120"/>
                  </a:cubicBezTo>
                  <a:cubicBezTo>
                    <a:pt x="156" y="109"/>
                    <a:pt x="160" y="95"/>
                    <a:pt x="160" y="80"/>
                  </a:cubicBezTo>
                  <a:close/>
                  <a:moveTo>
                    <a:pt x="80" y="248"/>
                  </a:moveTo>
                  <a:cubicBezTo>
                    <a:pt x="70" y="248"/>
                    <a:pt x="62" y="241"/>
                    <a:pt x="60" y="232"/>
                  </a:cubicBezTo>
                  <a:cubicBezTo>
                    <a:pt x="99" y="232"/>
                    <a:pt x="99" y="232"/>
                    <a:pt x="99" y="232"/>
                  </a:cubicBezTo>
                  <a:cubicBezTo>
                    <a:pt x="97" y="241"/>
                    <a:pt x="89" y="248"/>
                    <a:pt x="80" y="248"/>
                  </a:cubicBezTo>
                  <a:close/>
                  <a:moveTo>
                    <a:pt x="108" y="218"/>
                  </a:moveTo>
                  <a:cubicBezTo>
                    <a:pt x="108" y="222"/>
                    <a:pt x="105" y="224"/>
                    <a:pt x="102" y="224"/>
                  </a:cubicBezTo>
                  <a:cubicBezTo>
                    <a:pt x="58" y="224"/>
                    <a:pt x="58" y="224"/>
                    <a:pt x="58" y="224"/>
                  </a:cubicBezTo>
                  <a:cubicBezTo>
                    <a:pt x="55" y="224"/>
                    <a:pt x="52" y="222"/>
                    <a:pt x="52" y="218"/>
                  </a:cubicBezTo>
                  <a:cubicBezTo>
                    <a:pt x="52" y="215"/>
                    <a:pt x="55" y="212"/>
                    <a:pt x="58" y="212"/>
                  </a:cubicBezTo>
                  <a:cubicBezTo>
                    <a:pt x="102" y="212"/>
                    <a:pt x="102" y="212"/>
                    <a:pt x="102" y="212"/>
                  </a:cubicBezTo>
                  <a:cubicBezTo>
                    <a:pt x="105" y="212"/>
                    <a:pt x="108" y="215"/>
                    <a:pt x="108" y="218"/>
                  </a:cubicBezTo>
                  <a:close/>
                  <a:moveTo>
                    <a:pt x="102" y="192"/>
                  </a:moveTo>
                  <a:cubicBezTo>
                    <a:pt x="105" y="192"/>
                    <a:pt x="108" y="195"/>
                    <a:pt x="108" y="198"/>
                  </a:cubicBezTo>
                  <a:cubicBezTo>
                    <a:pt x="108" y="202"/>
                    <a:pt x="105" y="204"/>
                    <a:pt x="102" y="204"/>
                  </a:cubicBezTo>
                  <a:cubicBezTo>
                    <a:pt x="58" y="204"/>
                    <a:pt x="58" y="204"/>
                    <a:pt x="58" y="204"/>
                  </a:cubicBezTo>
                  <a:cubicBezTo>
                    <a:pt x="55" y="204"/>
                    <a:pt x="52" y="202"/>
                    <a:pt x="52" y="198"/>
                  </a:cubicBezTo>
                  <a:cubicBezTo>
                    <a:pt x="52" y="195"/>
                    <a:pt x="55" y="192"/>
                    <a:pt x="58" y="192"/>
                  </a:cubicBezTo>
                  <a:cubicBezTo>
                    <a:pt x="64" y="192"/>
                    <a:pt x="64" y="192"/>
                    <a:pt x="64" y="192"/>
                  </a:cubicBezTo>
                  <a:cubicBezTo>
                    <a:pt x="96" y="192"/>
                    <a:pt x="96" y="192"/>
                    <a:pt x="96" y="192"/>
                  </a:cubicBezTo>
                  <a:lnTo>
                    <a:pt x="102" y="192"/>
                  </a:lnTo>
                  <a:close/>
                  <a:moveTo>
                    <a:pt x="135" y="112"/>
                  </a:moveTo>
                  <a:cubicBezTo>
                    <a:pt x="135" y="113"/>
                    <a:pt x="135" y="114"/>
                    <a:pt x="134" y="114"/>
                  </a:cubicBezTo>
                  <a:cubicBezTo>
                    <a:pt x="104" y="170"/>
                    <a:pt x="104" y="170"/>
                    <a:pt x="104" y="170"/>
                  </a:cubicBezTo>
                  <a:cubicBezTo>
                    <a:pt x="104" y="170"/>
                    <a:pt x="103" y="171"/>
                    <a:pt x="103" y="172"/>
                  </a:cubicBezTo>
                  <a:cubicBezTo>
                    <a:pt x="102" y="174"/>
                    <a:pt x="100" y="176"/>
                    <a:pt x="96" y="176"/>
                  </a:cubicBezTo>
                  <a:cubicBezTo>
                    <a:pt x="100" y="129"/>
                    <a:pt x="100" y="129"/>
                    <a:pt x="100" y="129"/>
                  </a:cubicBezTo>
                  <a:cubicBezTo>
                    <a:pt x="100" y="126"/>
                    <a:pt x="98" y="124"/>
                    <a:pt x="96" y="124"/>
                  </a:cubicBezTo>
                  <a:cubicBezTo>
                    <a:pt x="94" y="124"/>
                    <a:pt x="92" y="126"/>
                    <a:pt x="92" y="128"/>
                  </a:cubicBezTo>
                  <a:cubicBezTo>
                    <a:pt x="88" y="176"/>
                    <a:pt x="88" y="176"/>
                    <a:pt x="88" y="176"/>
                  </a:cubicBezTo>
                  <a:cubicBezTo>
                    <a:pt x="72" y="176"/>
                    <a:pt x="72" y="176"/>
                    <a:pt x="72" y="176"/>
                  </a:cubicBezTo>
                  <a:cubicBezTo>
                    <a:pt x="68" y="128"/>
                    <a:pt x="68" y="128"/>
                    <a:pt x="68" y="128"/>
                  </a:cubicBezTo>
                  <a:cubicBezTo>
                    <a:pt x="68" y="126"/>
                    <a:pt x="66" y="124"/>
                    <a:pt x="64" y="124"/>
                  </a:cubicBezTo>
                  <a:cubicBezTo>
                    <a:pt x="61" y="124"/>
                    <a:pt x="60" y="126"/>
                    <a:pt x="60" y="129"/>
                  </a:cubicBezTo>
                  <a:cubicBezTo>
                    <a:pt x="64" y="176"/>
                    <a:pt x="64" y="176"/>
                    <a:pt x="64" y="176"/>
                  </a:cubicBezTo>
                  <a:cubicBezTo>
                    <a:pt x="60" y="176"/>
                    <a:pt x="58" y="174"/>
                    <a:pt x="57" y="172"/>
                  </a:cubicBezTo>
                  <a:cubicBezTo>
                    <a:pt x="56" y="171"/>
                    <a:pt x="56" y="171"/>
                    <a:pt x="56" y="170"/>
                  </a:cubicBezTo>
                  <a:cubicBezTo>
                    <a:pt x="26" y="114"/>
                    <a:pt x="26" y="114"/>
                    <a:pt x="26" y="114"/>
                  </a:cubicBezTo>
                  <a:cubicBezTo>
                    <a:pt x="25" y="114"/>
                    <a:pt x="25" y="113"/>
                    <a:pt x="25" y="112"/>
                  </a:cubicBezTo>
                  <a:cubicBezTo>
                    <a:pt x="19" y="103"/>
                    <a:pt x="16" y="91"/>
                    <a:pt x="16" y="80"/>
                  </a:cubicBezTo>
                  <a:cubicBezTo>
                    <a:pt x="16" y="45"/>
                    <a:pt x="45" y="16"/>
                    <a:pt x="80" y="16"/>
                  </a:cubicBezTo>
                  <a:cubicBezTo>
                    <a:pt x="115" y="16"/>
                    <a:pt x="144" y="45"/>
                    <a:pt x="144" y="80"/>
                  </a:cubicBezTo>
                  <a:cubicBezTo>
                    <a:pt x="144" y="91"/>
                    <a:pt x="141" y="103"/>
                    <a:pt x="135" y="1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840"/>
            </a:p>
          </p:txBody>
        </p:sp>
        <p:sp>
          <p:nvSpPr>
            <p:cNvPr id="51" name="Freeform 30">
              <a:extLst>
                <a:ext uri="{FF2B5EF4-FFF2-40B4-BE49-F238E27FC236}">
                  <a16:creationId xmlns:a16="http://schemas.microsoft.com/office/drawing/2014/main" id="{9E74AAF2-20CE-EC0F-B050-82D13E842D2A}"/>
                </a:ext>
              </a:extLst>
            </p:cNvPr>
            <p:cNvSpPr>
              <a:spLocks/>
            </p:cNvSpPr>
            <p:nvPr/>
          </p:nvSpPr>
          <p:spPr bwMode="auto">
            <a:xfrm>
              <a:off x="6608763" y="642938"/>
              <a:ext cx="120650" cy="103188"/>
            </a:xfrm>
            <a:custGeom>
              <a:avLst/>
              <a:gdLst>
                <a:gd name="T0" fmla="*/ 35 w 41"/>
                <a:gd name="T1" fmla="*/ 1 h 35"/>
                <a:gd name="T2" fmla="*/ 1 w 41"/>
                <a:gd name="T3" fmla="*/ 29 h 35"/>
                <a:gd name="T4" fmla="*/ 3 w 41"/>
                <a:gd name="T5" fmla="*/ 35 h 35"/>
                <a:gd name="T6" fmla="*/ 4 w 41"/>
                <a:gd name="T7" fmla="*/ 35 h 35"/>
                <a:gd name="T8" fmla="*/ 8 w 41"/>
                <a:gd name="T9" fmla="*/ 33 h 35"/>
                <a:gd name="T10" fmla="*/ 37 w 41"/>
                <a:gd name="T11" fmla="*/ 9 h 35"/>
                <a:gd name="T12" fmla="*/ 40 w 41"/>
                <a:gd name="T13" fmla="*/ 4 h 35"/>
                <a:gd name="T14" fmla="*/ 35 w 41"/>
                <a:gd name="T15" fmla="*/ 1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" h="35">
                  <a:moveTo>
                    <a:pt x="35" y="1"/>
                  </a:moveTo>
                  <a:cubicBezTo>
                    <a:pt x="20" y="5"/>
                    <a:pt x="7" y="15"/>
                    <a:pt x="1" y="29"/>
                  </a:cubicBezTo>
                  <a:cubicBezTo>
                    <a:pt x="0" y="31"/>
                    <a:pt x="1" y="34"/>
                    <a:pt x="3" y="35"/>
                  </a:cubicBezTo>
                  <a:cubicBezTo>
                    <a:pt x="3" y="35"/>
                    <a:pt x="4" y="35"/>
                    <a:pt x="4" y="35"/>
                  </a:cubicBezTo>
                  <a:cubicBezTo>
                    <a:pt x="6" y="35"/>
                    <a:pt x="7" y="34"/>
                    <a:pt x="8" y="33"/>
                  </a:cubicBezTo>
                  <a:cubicBezTo>
                    <a:pt x="14" y="21"/>
                    <a:pt x="24" y="12"/>
                    <a:pt x="37" y="9"/>
                  </a:cubicBezTo>
                  <a:cubicBezTo>
                    <a:pt x="39" y="8"/>
                    <a:pt x="41" y="6"/>
                    <a:pt x="40" y="4"/>
                  </a:cubicBezTo>
                  <a:cubicBezTo>
                    <a:pt x="40" y="2"/>
                    <a:pt x="37" y="0"/>
                    <a:pt x="3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840"/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2A5C0036-32F4-D50E-51F2-B8EFC9276F6D}"/>
              </a:ext>
            </a:extLst>
          </p:cNvPr>
          <p:cNvGrpSpPr/>
          <p:nvPr/>
        </p:nvGrpSpPr>
        <p:grpSpPr>
          <a:xfrm>
            <a:off x="7025229" y="2445138"/>
            <a:ext cx="534936" cy="464244"/>
            <a:chOff x="8783638" y="1235076"/>
            <a:chExt cx="360363" cy="312738"/>
          </a:xfrm>
          <a:solidFill>
            <a:schemeClr val="bg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48" name="Freeform 51">
              <a:extLst>
                <a:ext uri="{FF2B5EF4-FFF2-40B4-BE49-F238E27FC236}">
                  <a16:creationId xmlns:a16="http://schemas.microsoft.com/office/drawing/2014/main" id="{91AE79F2-AB2E-7A7A-1050-8D06C12E83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42375" y="1290638"/>
              <a:ext cx="128588" cy="84138"/>
            </a:xfrm>
            <a:custGeom>
              <a:avLst/>
              <a:gdLst/>
              <a:ahLst/>
              <a:cxnLst>
                <a:cxn ang="0">
                  <a:pos x="42" y="0"/>
                </a:cxn>
                <a:cxn ang="0">
                  <a:pos x="0" y="27"/>
                </a:cxn>
                <a:cxn ang="0">
                  <a:pos x="1" y="29"/>
                </a:cxn>
                <a:cxn ang="0">
                  <a:pos x="3" y="27"/>
                </a:cxn>
                <a:cxn ang="0">
                  <a:pos x="42" y="4"/>
                </a:cxn>
                <a:cxn ang="0">
                  <a:pos x="44" y="2"/>
                </a:cxn>
                <a:cxn ang="0">
                  <a:pos x="42" y="0"/>
                </a:cxn>
                <a:cxn ang="0">
                  <a:pos x="42" y="0"/>
                </a:cxn>
                <a:cxn ang="0">
                  <a:pos x="42" y="0"/>
                </a:cxn>
              </a:cxnLst>
              <a:rect l="0" t="0" r="r" b="b"/>
              <a:pathLst>
                <a:path w="44" h="29">
                  <a:moveTo>
                    <a:pt x="42" y="0"/>
                  </a:moveTo>
                  <a:cubicBezTo>
                    <a:pt x="19" y="0"/>
                    <a:pt x="0" y="12"/>
                    <a:pt x="0" y="27"/>
                  </a:cubicBezTo>
                  <a:cubicBezTo>
                    <a:pt x="0" y="28"/>
                    <a:pt x="0" y="29"/>
                    <a:pt x="1" y="29"/>
                  </a:cubicBezTo>
                  <a:cubicBezTo>
                    <a:pt x="3" y="29"/>
                    <a:pt x="3" y="28"/>
                    <a:pt x="3" y="27"/>
                  </a:cubicBezTo>
                  <a:cubicBezTo>
                    <a:pt x="3" y="15"/>
                    <a:pt x="21" y="4"/>
                    <a:pt x="42" y="4"/>
                  </a:cubicBezTo>
                  <a:cubicBezTo>
                    <a:pt x="43" y="4"/>
                    <a:pt x="44" y="3"/>
                    <a:pt x="44" y="2"/>
                  </a:cubicBezTo>
                  <a:cubicBezTo>
                    <a:pt x="44" y="1"/>
                    <a:pt x="43" y="0"/>
                    <a:pt x="42" y="0"/>
                  </a:cubicBezTo>
                  <a:close/>
                  <a:moveTo>
                    <a:pt x="42" y="0"/>
                  </a:moveTo>
                  <a:cubicBezTo>
                    <a:pt x="42" y="0"/>
                    <a:pt x="42" y="0"/>
                    <a:pt x="4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52">
              <a:extLst>
                <a:ext uri="{FF2B5EF4-FFF2-40B4-BE49-F238E27FC236}">
                  <a16:creationId xmlns:a16="http://schemas.microsoft.com/office/drawing/2014/main" id="{6FAD22A4-050F-AC48-F0C0-D43AAA9370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783638" y="1235076"/>
              <a:ext cx="360363" cy="312738"/>
            </a:xfrm>
            <a:custGeom>
              <a:avLst/>
              <a:gdLst/>
              <a:ahLst/>
              <a:cxnLst>
                <a:cxn ang="0">
                  <a:pos x="62" y="0"/>
                </a:cxn>
                <a:cxn ang="0">
                  <a:pos x="0" y="46"/>
                </a:cxn>
                <a:cxn ang="0">
                  <a:pos x="27" y="84"/>
                </a:cxn>
                <a:cxn ang="0">
                  <a:pos x="27" y="84"/>
                </a:cxn>
                <a:cxn ang="0">
                  <a:pos x="20" y="102"/>
                </a:cxn>
                <a:cxn ang="0">
                  <a:pos x="20" y="104"/>
                </a:cxn>
                <a:cxn ang="0">
                  <a:pos x="23" y="107"/>
                </a:cxn>
                <a:cxn ang="0">
                  <a:pos x="24" y="107"/>
                </a:cxn>
                <a:cxn ang="0">
                  <a:pos x="50" y="91"/>
                </a:cxn>
                <a:cxn ang="0">
                  <a:pos x="62" y="92"/>
                </a:cxn>
                <a:cxn ang="0">
                  <a:pos x="123" y="46"/>
                </a:cxn>
                <a:cxn ang="0">
                  <a:pos x="62" y="0"/>
                </a:cxn>
                <a:cxn ang="0">
                  <a:pos x="62" y="84"/>
                </a:cxn>
                <a:cxn ang="0">
                  <a:pos x="51" y="83"/>
                </a:cxn>
                <a:cxn ang="0">
                  <a:pos x="50" y="83"/>
                </a:cxn>
                <a:cxn ang="0">
                  <a:pos x="44" y="86"/>
                </a:cxn>
                <a:cxn ang="0">
                  <a:pos x="32" y="96"/>
                </a:cxn>
                <a:cxn ang="0">
                  <a:pos x="35" y="85"/>
                </a:cxn>
                <a:cxn ang="0">
                  <a:pos x="35" y="84"/>
                </a:cxn>
                <a:cxn ang="0">
                  <a:pos x="31" y="77"/>
                </a:cxn>
                <a:cxn ang="0">
                  <a:pos x="8" y="46"/>
                </a:cxn>
                <a:cxn ang="0">
                  <a:pos x="62" y="7"/>
                </a:cxn>
                <a:cxn ang="0">
                  <a:pos x="115" y="46"/>
                </a:cxn>
                <a:cxn ang="0">
                  <a:pos x="62" y="84"/>
                </a:cxn>
                <a:cxn ang="0">
                  <a:pos x="62" y="84"/>
                </a:cxn>
                <a:cxn ang="0">
                  <a:pos x="62" y="84"/>
                </a:cxn>
              </a:cxnLst>
              <a:rect l="0" t="0" r="r" b="b"/>
              <a:pathLst>
                <a:path w="123" h="107">
                  <a:moveTo>
                    <a:pt x="62" y="0"/>
                  </a:moveTo>
                  <a:cubicBezTo>
                    <a:pt x="28" y="0"/>
                    <a:pt x="0" y="20"/>
                    <a:pt x="0" y="46"/>
                  </a:cubicBezTo>
                  <a:cubicBezTo>
                    <a:pt x="0" y="62"/>
                    <a:pt x="11" y="76"/>
                    <a:pt x="27" y="84"/>
                  </a:cubicBezTo>
                  <a:cubicBezTo>
                    <a:pt x="27" y="84"/>
                    <a:pt x="27" y="84"/>
                    <a:pt x="27" y="84"/>
                  </a:cubicBezTo>
                  <a:cubicBezTo>
                    <a:pt x="27" y="91"/>
                    <a:pt x="22" y="98"/>
                    <a:pt x="20" y="102"/>
                  </a:cubicBezTo>
                  <a:cubicBezTo>
                    <a:pt x="20" y="103"/>
                    <a:pt x="20" y="103"/>
                    <a:pt x="20" y="104"/>
                  </a:cubicBezTo>
                  <a:cubicBezTo>
                    <a:pt x="20" y="106"/>
                    <a:pt x="21" y="107"/>
                    <a:pt x="23" y="107"/>
                  </a:cubicBezTo>
                  <a:cubicBezTo>
                    <a:pt x="23" y="107"/>
                    <a:pt x="24" y="107"/>
                    <a:pt x="24" y="107"/>
                  </a:cubicBezTo>
                  <a:cubicBezTo>
                    <a:pt x="36" y="105"/>
                    <a:pt x="47" y="94"/>
                    <a:pt x="50" y="91"/>
                  </a:cubicBezTo>
                  <a:cubicBezTo>
                    <a:pt x="54" y="92"/>
                    <a:pt x="58" y="92"/>
                    <a:pt x="62" y="92"/>
                  </a:cubicBezTo>
                  <a:cubicBezTo>
                    <a:pt x="96" y="92"/>
                    <a:pt x="123" y="71"/>
                    <a:pt x="123" y="46"/>
                  </a:cubicBezTo>
                  <a:cubicBezTo>
                    <a:pt x="123" y="20"/>
                    <a:pt x="96" y="0"/>
                    <a:pt x="62" y="0"/>
                  </a:cubicBezTo>
                  <a:close/>
                  <a:moveTo>
                    <a:pt x="62" y="84"/>
                  </a:moveTo>
                  <a:cubicBezTo>
                    <a:pt x="58" y="84"/>
                    <a:pt x="55" y="84"/>
                    <a:pt x="51" y="83"/>
                  </a:cubicBezTo>
                  <a:cubicBezTo>
                    <a:pt x="51" y="83"/>
                    <a:pt x="50" y="83"/>
                    <a:pt x="50" y="83"/>
                  </a:cubicBezTo>
                  <a:cubicBezTo>
                    <a:pt x="48" y="83"/>
                    <a:pt x="45" y="84"/>
                    <a:pt x="44" y="86"/>
                  </a:cubicBezTo>
                  <a:cubicBezTo>
                    <a:pt x="42" y="88"/>
                    <a:pt x="38" y="93"/>
                    <a:pt x="32" y="96"/>
                  </a:cubicBezTo>
                  <a:cubicBezTo>
                    <a:pt x="34" y="92"/>
                    <a:pt x="35" y="89"/>
                    <a:pt x="35" y="85"/>
                  </a:cubicBezTo>
                  <a:cubicBezTo>
                    <a:pt x="35" y="84"/>
                    <a:pt x="35" y="84"/>
                    <a:pt x="35" y="84"/>
                  </a:cubicBezTo>
                  <a:cubicBezTo>
                    <a:pt x="35" y="81"/>
                    <a:pt x="33" y="78"/>
                    <a:pt x="31" y="77"/>
                  </a:cubicBezTo>
                  <a:cubicBezTo>
                    <a:pt x="17" y="70"/>
                    <a:pt x="8" y="58"/>
                    <a:pt x="8" y="46"/>
                  </a:cubicBezTo>
                  <a:cubicBezTo>
                    <a:pt x="8" y="25"/>
                    <a:pt x="32" y="7"/>
                    <a:pt x="62" y="7"/>
                  </a:cubicBezTo>
                  <a:cubicBezTo>
                    <a:pt x="91" y="7"/>
                    <a:pt x="115" y="25"/>
                    <a:pt x="115" y="46"/>
                  </a:cubicBezTo>
                  <a:cubicBezTo>
                    <a:pt x="115" y="67"/>
                    <a:pt x="91" y="84"/>
                    <a:pt x="62" y="84"/>
                  </a:cubicBezTo>
                  <a:close/>
                  <a:moveTo>
                    <a:pt x="62" y="84"/>
                  </a:moveTo>
                  <a:cubicBezTo>
                    <a:pt x="62" y="84"/>
                    <a:pt x="62" y="84"/>
                    <a:pt x="62" y="84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1" name="Inhaltsplatzhalter 4">
            <a:extLst>
              <a:ext uri="{FF2B5EF4-FFF2-40B4-BE49-F238E27FC236}">
                <a16:creationId xmlns:a16="http://schemas.microsoft.com/office/drawing/2014/main" id="{D6E422B7-DAE2-E3A4-A0C1-2F73390153B3}"/>
              </a:ext>
            </a:extLst>
          </p:cNvPr>
          <p:cNvSpPr txBox="1">
            <a:spLocks/>
          </p:cNvSpPr>
          <p:nvPr/>
        </p:nvSpPr>
        <p:spPr>
          <a:xfrm>
            <a:off x="3869837" y="4632762"/>
            <a:ext cx="2111584" cy="112338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accent2"/>
                </a:solidFill>
                <a:latin typeface="+mn-lt"/>
              </a:rPr>
              <a:t>TITLE GOES HERE</a:t>
            </a:r>
          </a:p>
          <a:p>
            <a:pPr marL="0" indent="0" algn="ctr">
              <a:lnSpc>
                <a:spcPct val="100000"/>
              </a:lnSpc>
              <a:spcAft>
                <a:spcPts val="1200"/>
              </a:spcAft>
              <a:buNone/>
            </a:pPr>
            <a:br>
              <a:rPr lang="en-US" sz="1400" b="1" dirty="0">
                <a:solidFill>
                  <a:schemeClr val="bg1">
                    <a:lumMod val="50000"/>
                  </a:schemeClr>
                </a:solidFill>
                <a:latin typeface="+mn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32" name="Inhaltsplatzhalter 4">
            <a:extLst>
              <a:ext uri="{FF2B5EF4-FFF2-40B4-BE49-F238E27FC236}">
                <a16:creationId xmlns:a16="http://schemas.microsoft.com/office/drawing/2014/main" id="{DFC5D295-BF4F-E704-6CBC-76C6814BBFF3}"/>
              </a:ext>
            </a:extLst>
          </p:cNvPr>
          <p:cNvSpPr txBox="1">
            <a:spLocks/>
          </p:cNvSpPr>
          <p:nvPr/>
        </p:nvSpPr>
        <p:spPr>
          <a:xfrm flipH="1">
            <a:off x="8655639" y="4632762"/>
            <a:ext cx="2134281" cy="112338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accent4"/>
                </a:solidFill>
                <a:latin typeface="+mn-lt"/>
              </a:rPr>
              <a:t>TITLE GOES HERE</a:t>
            </a:r>
          </a:p>
          <a:p>
            <a:pPr marL="0" indent="0" algn="ctr">
              <a:lnSpc>
                <a:spcPct val="100000"/>
              </a:lnSpc>
              <a:spcAft>
                <a:spcPts val="1200"/>
              </a:spcAft>
              <a:buNone/>
            </a:pPr>
            <a:br>
              <a:rPr lang="en-US" sz="1400" b="1" dirty="0">
                <a:solidFill>
                  <a:schemeClr val="accent2"/>
                </a:solidFill>
                <a:latin typeface="+mn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33" name="Inhaltsplatzhalter 4">
            <a:extLst>
              <a:ext uri="{FF2B5EF4-FFF2-40B4-BE49-F238E27FC236}">
                <a16:creationId xmlns:a16="http://schemas.microsoft.com/office/drawing/2014/main" id="{504FECFA-06B0-689D-C6B5-2FB82F7711A2}"/>
              </a:ext>
            </a:extLst>
          </p:cNvPr>
          <p:cNvSpPr txBox="1">
            <a:spLocks/>
          </p:cNvSpPr>
          <p:nvPr/>
        </p:nvSpPr>
        <p:spPr>
          <a:xfrm flipH="1">
            <a:off x="1393423" y="4632762"/>
            <a:ext cx="2147217" cy="112338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accent1"/>
                </a:solidFill>
                <a:latin typeface="+mn-lt"/>
              </a:rPr>
              <a:t>TITLE GOES HERE</a:t>
            </a:r>
          </a:p>
          <a:p>
            <a:pPr marL="0" indent="0" algn="ctr">
              <a:lnSpc>
                <a:spcPct val="100000"/>
              </a:lnSpc>
              <a:spcAft>
                <a:spcPts val="1200"/>
              </a:spcAft>
              <a:buNone/>
            </a:pPr>
            <a:br>
              <a:rPr lang="en-US" sz="1400" b="1" dirty="0">
                <a:solidFill>
                  <a:schemeClr val="accent2"/>
                </a:solidFill>
                <a:latin typeface="+mn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34" name="Inhaltsplatzhalter 4">
            <a:extLst>
              <a:ext uri="{FF2B5EF4-FFF2-40B4-BE49-F238E27FC236}">
                <a16:creationId xmlns:a16="http://schemas.microsoft.com/office/drawing/2014/main" id="{D0182885-474B-2BC1-3981-CBA743E01E6F}"/>
              </a:ext>
            </a:extLst>
          </p:cNvPr>
          <p:cNvSpPr txBox="1">
            <a:spLocks/>
          </p:cNvSpPr>
          <p:nvPr/>
        </p:nvSpPr>
        <p:spPr>
          <a:xfrm>
            <a:off x="6289550" y="4632762"/>
            <a:ext cx="2111584" cy="112338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accent3"/>
                </a:solidFill>
                <a:latin typeface="+mn-lt"/>
              </a:rPr>
              <a:t>TITLE GOES HERE</a:t>
            </a:r>
          </a:p>
          <a:p>
            <a:pPr marL="0" indent="0" algn="ctr">
              <a:lnSpc>
                <a:spcPct val="100000"/>
              </a:lnSpc>
              <a:spcAft>
                <a:spcPts val="1200"/>
              </a:spcAft>
              <a:buNone/>
            </a:pPr>
            <a:br>
              <a:rPr lang="en-US" sz="1400" b="1" dirty="0">
                <a:solidFill>
                  <a:schemeClr val="bg1">
                    <a:lumMod val="50000"/>
                  </a:schemeClr>
                </a:solidFill>
                <a:latin typeface="+mn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</p:spTree>
    <p:extLst>
      <p:ext uri="{BB962C8B-B14F-4D97-AF65-F5344CB8AC3E}">
        <p14:creationId xmlns:p14="http://schemas.microsoft.com/office/powerpoint/2010/main" val="2169204918"/>
      </p:ext>
    </p:extLst>
  </p:cSld>
  <p:clrMapOvr>
    <a:masterClrMapping/>
  </p:clrMapOvr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C84980-84BD-4139-9520-FE5B00F04C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" name="think-cell data - do not delete" hidden="1">
            <a:extLst>
              <a:ext uri="{FF2B5EF4-FFF2-40B4-BE49-F238E27FC236}">
                <a16:creationId xmlns:a16="http://schemas.microsoft.com/office/drawing/2014/main" id="{1951DD05-1C70-FB1C-305A-2E007F8CA46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951DD05-1C70-FB1C-305A-2E007F8CA4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F5F270D-9A42-FF2A-89BF-872CDD7BED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tep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5CED866-0265-2FC5-9A5C-42DE371D8B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94</a:t>
            </a:fld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63AC3FD-11D6-604C-764A-37FA6A635E3C}"/>
              </a:ext>
            </a:extLst>
          </p:cNvPr>
          <p:cNvSpPr/>
          <p:nvPr/>
        </p:nvSpPr>
        <p:spPr>
          <a:xfrm>
            <a:off x="3707132" y="4936905"/>
            <a:ext cx="7697330" cy="711541"/>
          </a:xfrm>
          <a:prstGeom prst="rect">
            <a:avLst/>
          </a:prstGeom>
          <a:solidFill>
            <a:schemeClr val="accent1"/>
          </a:solidFill>
          <a:ln w="3175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en-US" sz="3200" b="1" kern="0" dirty="0">
                <a:solidFill>
                  <a:sysClr val="window" lastClr="FFFFFF"/>
                </a:solidFill>
                <a:cs typeface="Calibri"/>
              </a:rPr>
              <a:t>STEP 1</a:t>
            </a:r>
          </a:p>
        </p:txBody>
      </p:sp>
      <p:sp>
        <p:nvSpPr>
          <p:cNvPr id="26" name="Rectangle 338">
            <a:extLst>
              <a:ext uri="{FF2B5EF4-FFF2-40B4-BE49-F238E27FC236}">
                <a16:creationId xmlns:a16="http://schemas.microsoft.com/office/drawing/2014/main" id="{15A2197C-2586-0029-62C3-9EB4A643BA69}"/>
              </a:ext>
            </a:extLst>
          </p:cNvPr>
          <p:cNvSpPr/>
          <p:nvPr/>
        </p:nvSpPr>
        <p:spPr>
          <a:xfrm>
            <a:off x="3707132" y="4402112"/>
            <a:ext cx="7697330" cy="534794"/>
          </a:xfrm>
          <a:custGeom>
            <a:avLst/>
            <a:gdLst>
              <a:gd name="connsiteX0" fmla="*/ 0 w 6150405"/>
              <a:gd name="connsiteY0" fmla="*/ 0 h 585026"/>
              <a:gd name="connsiteX1" fmla="*/ 6150405 w 6150405"/>
              <a:gd name="connsiteY1" fmla="*/ 0 h 585026"/>
              <a:gd name="connsiteX2" fmla="*/ 6150405 w 6150405"/>
              <a:gd name="connsiteY2" fmla="*/ 585026 h 585026"/>
              <a:gd name="connsiteX3" fmla="*/ 0 w 6150405"/>
              <a:gd name="connsiteY3" fmla="*/ 585026 h 585026"/>
              <a:gd name="connsiteX4" fmla="*/ 0 w 6150405"/>
              <a:gd name="connsiteY4" fmla="*/ 0 h 585026"/>
              <a:gd name="connsiteX0" fmla="*/ 610567 w 6150405"/>
              <a:gd name="connsiteY0" fmla="*/ 8142 h 585026"/>
              <a:gd name="connsiteX1" fmla="*/ 6150405 w 6150405"/>
              <a:gd name="connsiteY1" fmla="*/ 0 h 585026"/>
              <a:gd name="connsiteX2" fmla="*/ 6150405 w 6150405"/>
              <a:gd name="connsiteY2" fmla="*/ 585026 h 585026"/>
              <a:gd name="connsiteX3" fmla="*/ 0 w 6150405"/>
              <a:gd name="connsiteY3" fmla="*/ 585026 h 585026"/>
              <a:gd name="connsiteX4" fmla="*/ 610567 w 6150405"/>
              <a:gd name="connsiteY4" fmla="*/ 8142 h 585026"/>
              <a:gd name="connsiteX0" fmla="*/ 610567 w 6150405"/>
              <a:gd name="connsiteY0" fmla="*/ 0 h 576884"/>
              <a:gd name="connsiteX1" fmla="*/ 5515416 w 6150405"/>
              <a:gd name="connsiteY1" fmla="*/ 0 h 576884"/>
              <a:gd name="connsiteX2" fmla="*/ 6150405 w 6150405"/>
              <a:gd name="connsiteY2" fmla="*/ 576884 h 576884"/>
              <a:gd name="connsiteX3" fmla="*/ 0 w 6150405"/>
              <a:gd name="connsiteY3" fmla="*/ 576884 h 576884"/>
              <a:gd name="connsiteX4" fmla="*/ 610567 w 6150405"/>
              <a:gd name="connsiteY4" fmla="*/ 0 h 576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50405" h="576884">
                <a:moveTo>
                  <a:pt x="610567" y="0"/>
                </a:moveTo>
                <a:lnTo>
                  <a:pt x="5515416" y="0"/>
                </a:lnTo>
                <a:lnTo>
                  <a:pt x="6150405" y="576884"/>
                </a:lnTo>
                <a:lnTo>
                  <a:pt x="0" y="576884"/>
                </a:lnTo>
                <a:lnTo>
                  <a:pt x="610567" y="0"/>
                </a:lnTo>
                <a:close/>
              </a:path>
            </a:pathLst>
          </a:custGeom>
          <a:solidFill>
            <a:schemeClr val="accent1"/>
          </a:solidFill>
          <a:ln w="3175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b="1" kern="0">
              <a:solidFill>
                <a:sysClr val="window" lastClr="FFFFFF"/>
              </a:solidFill>
              <a:cs typeface="Calibri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015CAE21-FFEA-DC23-BF20-917CB438CDF8}"/>
              </a:ext>
            </a:extLst>
          </p:cNvPr>
          <p:cNvSpPr/>
          <p:nvPr/>
        </p:nvSpPr>
        <p:spPr>
          <a:xfrm>
            <a:off x="4356654" y="3901577"/>
            <a:ext cx="6398284" cy="591457"/>
          </a:xfrm>
          <a:prstGeom prst="rect">
            <a:avLst/>
          </a:prstGeom>
          <a:solidFill>
            <a:schemeClr val="accent2"/>
          </a:solidFill>
          <a:ln w="3175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en-US" sz="2800" b="1" kern="0" dirty="0">
                <a:solidFill>
                  <a:sysClr val="window" lastClr="FFFFFF"/>
                </a:solidFill>
                <a:cs typeface="Calibri"/>
              </a:rPr>
              <a:t>STEP 2</a:t>
            </a:r>
          </a:p>
        </p:txBody>
      </p:sp>
      <p:sp>
        <p:nvSpPr>
          <p:cNvPr id="28" name="Rectangle 338">
            <a:extLst>
              <a:ext uri="{FF2B5EF4-FFF2-40B4-BE49-F238E27FC236}">
                <a16:creationId xmlns:a16="http://schemas.microsoft.com/office/drawing/2014/main" id="{509DD04F-EA9C-82E9-52C3-EDA37A05B732}"/>
              </a:ext>
            </a:extLst>
          </p:cNvPr>
          <p:cNvSpPr/>
          <p:nvPr/>
        </p:nvSpPr>
        <p:spPr>
          <a:xfrm>
            <a:off x="4356654" y="3457037"/>
            <a:ext cx="6398284" cy="444538"/>
          </a:xfrm>
          <a:custGeom>
            <a:avLst/>
            <a:gdLst>
              <a:gd name="connsiteX0" fmla="*/ 0 w 6150405"/>
              <a:gd name="connsiteY0" fmla="*/ 0 h 585026"/>
              <a:gd name="connsiteX1" fmla="*/ 6150405 w 6150405"/>
              <a:gd name="connsiteY1" fmla="*/ 0 h 585026"/>
              <a:gd name="connsiteX2" fmla="*/ 6150405 w 6150405"/>
              <a:gd name="connsiteY2" fmla="*/ 585026 h 585026"/>
              <a:gd name="connsiteX3" fmla="*/ 0 w 6150405"/>
              <a:gd name="connsiteY3" fmla="*/ 585026 h 585026"/>
              <a:gd name="connsiteX4" fmla="*/ 0 w 6150405"/>
              <a:gd name="connsiteY4" fmla="*/ 0 h 585026"/>
              <a:gd name="connsiteX0" fmla="*/ 610567 w 6150405"/>
              <a:gd name="connsiteY0" fmla="*/ 8142 h 585026"/>
              <a:gd name="connsiteX1" fmla="*/ 6150405 w 6150405"/>
              <a:gd name="connsiteY1" fmla="*/ 0 h 585026"/>
              <a:gd name="connsiteX2" fmla="*/ 6150405 w 6150405"/>
              <a:gd name="connsiteY2" fmla="*/ 585026 h 585026"/>
              <a:gd name="connsiteX3" fmla="*/ 0 w 6150405"/>
              <a:gd name="connsiteY3" fmla="*/ 585026 h 585026"/>
              <a:gd name="connsiteX4" fmla="*/ 610567 w 6150405"/>
              <a:gd name="connsiteY4" fmla="*/ 8142 h 585026"/>
              <a:gd name="connsiteX0" fmla="*/ 610567 w 6150405"/>
              <a:gd name="connsiteY0" fmla="*/ 0 h 576884"/>
              <a:gd name="connsiteX1" fmla="*/ 5515416 w 6150405"/>
              <a:gd name="connsiteY1" fmla="*/ 0 h 576884"/>
              <a:gd name="connsiteX2" fmla="*/ 6150405 w 6150405"/>
              <a:gd name="connsiteY2" fmla="*/ 576884 h 576884"/>
              <a:gd name="connsiteX3" fmla="*/ 0 w 6150405"/>
              <a:gd name="connsiteY3" fmla="*/ 576884 h 576884"/>
              <a:gd name="connsiteX4" fmla="*/ 610567 w 6150405"/>
              <a:gd name="connsiteY4" fmla="*/ 0 h 576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50405" h="576884">
                <a:moveTo>
                  <a:pt x="610567" y="0"/>
                </a:moveTo>
                <a:lnTo>
                  <a:pt x="5515416" y="0"/>
                </a:lnTo>
                <a:lnTo>
                  <a:pt x="6150405" y="576884"/>
                </a:lnTo>
                <a:lnTo>
                  <a:pt x="0" y="576884"/>
                </a:lnTo>
                <a:lnTo>
                  <a:pt x="610567" y="0"/>
                </a:lnTo>
                <a:close/>
              </a:path>
            </a:pathLst>
          </a:custGeom>
          <a:solidFill>
            <a:schemeClr val="accent2"/>
          </a:solidFill>
          <a:ln w="3175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b="1" kern="0">
              <a:solidFill>
                <a:sysClr val="window" lastClr="FFFFFF"/>
              </a:solidFill>
              <a:cs typeface="Calibri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2C9160E-05AA-5853-1490-0D4F45C576C9}"/>
              </a:ext>
            </a:extLst>
          </p:cNvPr>
          <p:cNvSpPr/>
          <p:nvPr/>
        </p:nvSpPr>
        <p:spPr>
          <a:xfrm>
            <a:off x="5008234" y="2987896"/>
            <a:ext cx="5095125" cy="470993"/>
          </a:xfrm>
          <a:prstGeom prst="rect">
            <a:avLst/>
          </a:prstGeom>
          <a:solidFill>
            <a:schemeClr val="accent3"/>
          </a:solidFill>
          <a:ln w="3175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en-US" sz="2000" b="1" kern="0" dirty="0">
                <a:solidFill>
                  <a:sysClr val="window" lastClr="FFFFFF"/>
                </a:solidFill>
                <a:cs typeface="Calibri"/>
              </a:rPr>
              <a:t>STEP 3</a:t>
            </a:r>
          </a:p>
        </p:txBody>
      </p:sp>
      <p:sp>
        <p:nvSpPr>
          <p:cNvPr id="30" name="Rectangle 338">
            <a:extLst>
              <a:ext uri="{FF2B5EF4-FFF2-40B4-BE49-F238E27FC236}">
                <a16:creationId xmlns:a16="http://schemas.microsoft.com/office/drawing/2014/main" id="{C9286DC6-48F3-BD2B-4D50-8D7B4AAF309B}"/>
              </a:ext>
            </a:extLst>
          </p:cNvPr>
          <p:cNvSpPr/>
          <p:nvPr/>
        </p:nvSpPr>
        <p:spPr>
          <a:xfrm>
            <a:off x="5008234" y="2633896"/>
            <a:ext cx="5095125" cy="353999"/>
          </a:xfrm>
          <a:custGeom>
            <a:avLst/>
            <a:gdLst>
              <a:gd name="connsiteX0" fmla="*/ 0 w 6150405"/>
              <a:gd name="connsiteY0" fmla="*/ 0 h 585026"/>
              <a:gd name="connsiteX1" fmla="*/ 6150405 w 6150405"/>
              <a:gd name="connsiteY1" fmla="*/ 0 h 585026"/>
              <a:gd name="connsiteX2" fmla="*/ 6150405 w 6150405"/>
              <a:gd name="connsiteY2" fmla="*/ 585026 h 585026"/>
              <a:gd name="connsiteX3" fmla="*/ 0 w 6150405"/>
              <a:gd name="connsiteY3" fmla="*/ 585026 h 585026"/>
              <a:gd name="connsiteX4" fmla="*/ 0 w 6150405"/>
              <a:gd name="connsiteY4" fmla="*/ 0 h 585026"/>
              <a:gd name="connsiteX0" fmla="*/ 610567 w 6150405"/>
              <a:gd name="connsiteY0" fmla="*/ 8142 h 585026"/>
              <a:gd name="connsiteX1" fmla="*/ 6150405 w 6150405"/>
              <a:gd name="connsiteY1" fmla="*/ 0 h 585026"/>
              <a:gd name="connsiteX2" fmla="*/ 6150405 w 6150405"/>
              <a:gd name="connsiteY2" fmla="*/ 585026 h 585026"/>
              <a:gd name="connsiteX3" fmla="*/ 0 w 6150405"/>
              <a:gd name="connsiteY3" fmla="*/ 585026 h 585026"/>
              <a:gd name="connsiteX4" fmla="*/ 610567 w 6150405"/>
              <a:gd name="connsiteY4" fmla="*/ 8142 h 585026"/>
              <a:gd name="connsiteX0" fmla="*/ 610567 w 6150405"/>
              <a:gd name="connsiteY0" fmla="*/ 0 h 576884"/>
              <a:gd name="connsiteX1" fmla="*/ 5515416 w 6150405"/>
              <a:gd name="connsiteY1" fmla="*/ 0 h 576884"/>
              <a:gd name="connsiteX2" fmla="*/ 6150405 w 6150405"/>
              <a:gd name="connsiteY2" fmla="*/ 576884 h 576884"/>
              <a:gd name="connsiteX3" fmla="*/ 0 w 6150405"/>
              <a:gd name="connsiteY3" fmla="*/ 576884 h 576884"/>
              <a:gd name="connsiteX4" fmla="*/ 610567 w 6150405"/>
              <a:gd name="connsiteY4" fmla="*/ 0 h 576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50405" h="576884">
                <a:moveTo>
                  <a:pt x="610567" y="0"/>
                </a:moveTo>
                <a:lnTo>
                  <a:pt x="5515416" y="0"/>
                </a:lnTo>
                <a:lnTo>
                  <a:pt x="6150405" y="576884"/>
                </a:lnTo>
                <a:lnTo>
                  <a:pt x="0" y="576884"/>
                </a:lnTo>
                <a:lnTo>
                  <a:pt x="610567" y="0"/>
                </a:lnTo>
                <a:close/>
              </a:path>
            </a:pathLst>
          </a:custGeom>
          <a:solidFill>
            <a:schemeClr val="accent3"/>
          </a:solidFill>
          <a:ln w="3175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b="1" kern="0">
              <a:solidFill>
                <a:sysClr val="window" lastClr="FFFFFF"/>
              </a:solidFill>
              <a:cs typeface="Calibri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849B4283-E7A7-10B4-ED51-552B90B53A71}"/>
              </a:ext>
            </a:extLst>
          </p:cNvPr>
          <p:cNvSpPr/>
          <p:nvPr/>
        </p:nvSpPr>
        <p:spPr>
          <a:xfrm>
            <a:off x="5527711" y="2263421"/>
            <a:ext cx="4056174" cy="374952"/>
          </a:xfrm>
          <a:prstGeom prst="rect">
            <a:avLst/>
          </a:prstGeom>
          <a:solidFill>
            <a:schemeClr val="accent4"/>
          </a:solidFill>
          <a:ln w="3175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en-US" sz="1600" b="1" kern="0" dirty="0">
                <a:solidFill>
                  <a:sysClr val="window" lastClr="FFFFFF"/>
                </a:solidFill>
                <a:cs typeface="Calibri"/>
              </a:rPr>
              <a:t>STEP 4</a:t>
            </a:r>
          </a:p>
        </p:txBody>
      </p:sp>
      <p:sp>
        <p:nvSpPr>
          <p:cNvPr id="32" name="Rectangle 338">
            <a:extLst>
              <a:ext uri="{FF2B5EF4-FFF2-40B4-BE49-F238E27FC236}">
                <a16:creationId xmlns:a16="http://schemas.microsoft.com/office/drawing/2014/main" id="{CE400300-B9FE-F155-9A9F-A938D112224F}"/>
              </a:ext>
            </a:extLst>
          </p:cNvPr>
          <p:cNvSpPr/>
          <p:nvPr/>
        </p:nvSpPr>
        <p:spPr>
          <a:xfrm>
            <a:off x="5527711" y="1981606"/>
            <a:ext cx="4056174" cy="281815"/>
          </a:xfrm>
          <a:custGeom>
            <a:avLst/>
            <a:gdLst>
              <a:gd name="connsiteX0" fmla="*/ 0 w 6150405"/>
              <a:gd name="connsiteY0" fmla="*/ 0 h 585026"/>
              <a:gd name="connsiteX1" fmla="*/ 6150405 w 6150405"/>
              <a:gd name="connsiteY1" fmla="*/ 0 h 585026"/>
              <a:gd name="connsiteX2" fmla="*/ 6150405 w 6150405"/>
              <a:gd name="connsiteY2" fmla="*/ 585026 h 585026"/>
              <a:gd name="connsiteX3" fmla="*/ 0 w 6150405"/>
              <a:gd name="connsiteY3" fmla="*/ 585026 h 585026"/>
              <a:gd name="connsiteX4" fmla="*/ 0 w 6150405"/>
              <a:gd name="connsiteY4" fmla="*/ 0 h 585026"/>
              <a:gd name="connsiteX0" fmla="*/ 610567 w 6150405"/>
              <a:gd name="connsiteY0" fmla="*/ 8142 h 585026"/>
              <a:gd name="connsiteX1" fmla="*/ 6150405 w 6150405"/>
              <a:gd name="connsiteY1" fmla="*/ 0 h 585026"/>
              <a:gd name="connsiteX2" fmla="*/ 6150405 w 6150405"/>
              <a:gd name="connsiteY2" fmla="*/ 585026 h 585026"/>
              <a:gd name="connsiteX3" fmla="*/ 0 w 6150405"/>
              <a:gd name="connsiteY3" fmla="*/ 585026 h 585026"/>
              <a:gd name="connsiteX4" fmla="*/ 610567 w 6150405"/>
              <a:gd name="connsiteY4" fmla="*/ 8142 h 585026"/>
              <a:gd name="connsiteX0" fmla="*/ 610567 w 6150405"/>
              <a:gd name="connsiteY0" fmla="*/ 0 h 576884"/>
              <a:gd name="connsiteX1" fmla="*/ 5515416 w 6150405"/>
              <a:gd name="connsiteY1" fmla="*/ 0 h 576884"/>
              <a:gd name="connsiteX2" fmla="*/ 6150405 w 6150405"/>
              <a:gd name="connsiteY2" fmla="*/ 576884 h 576884"/>
              <a:gd name="connsiteX3" fmla="*/ 0 w 6150405"/>
              <a:gd name="connsiteY3" fmla="*/ 576884 h 576884"/>
              <a:gd name="connsiteX4" fmla="*/ 610567 w 6150405"/>
              <a:gd name="connsiteY4" fmla="*/ 0 h 576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50405" h="576884">
                <a:moveTo>
                  <a:pt x="610567" y="0"/>
                </a:moveTo>
                <a:lnTo>
                  <a:pt x="5515416" y="0"/>
                </a:lnTo>
                <a:lnTo>
                  <a:pt x="6150405" y="576884"/>
                </a:lnTo>
                <a:lnTo>
                  <a:pt x="0" y="576884"/>
                </a:lnTo>
                <a:lnTo>
                  <a:pt x="610567" y="0"/>
                </a:lnTo>
                <a:close/>
              </a:path>
            </a:pathLst>
          </a:custGeom>
          <a:solidFill>
            <a:schemeClr val="accent4"/>
          </a:solidFill>
          <a:ln w="3175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b="1" kern="0">
              <a:solidFill>
                <a:sysClr val="window" lastClr="FFFFFF"/>
              </a:solidFill>
              <a:cs typeface="Calibri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C7F9D64E-42FC-AAB8-CAE0-2675568F6C76}"/>
              </a:ext>
            </a:extLst>
          </p:cNvPr>
          <p:cNvSpPr/>
          <p:nvPr/>
        </p:nvSpPr>
        <p:spPr>
          <a:xfrm>
            <a:off x="5946727" y="1687789"/>
            <a:ext cx="3218139" cy="297484"/>
          </a:xfrm>
          <a:prstGeom prst="rect">
            <a:avLst/>
          </a:prstGeom>
          <a:solidFill>
            <a:schemeClr val="accent5"/>
          </a:solidFill>
          <a:ln w="3175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en-US" sz="1400" b="1" kern="0" dirty="0">
                <a:solidFill>
                  <a:sysClr val="window" lastClr="FFFFFF"/>
                </a:solidFill>
                <a:cs typeface="Calibri"/>
              </a:rPr>
              <a:t>STEP 5</a:t>
            </a:r>
          </a:p>
        </p:txBody>
      </p:sp>
      <p:sp>
        <p:nvSpPr>
          <p:cNvPr id="34" name="Rectangle 338">
            <a:extLst>
              <a:ext uri="{FF2B5EF4-FFF2-40B4-BE49-F238E27FC236}">
                <a16:creationId xmlns:a16="http://schemas.microsoft.com/office/drawing/2014/main" id="{1E16ADC3-C985-1A32-402E-CDE341DCF978}"/>
              </a:ext>
            </a:extLst>
          </p:cNvPr>
          <p:cNvSpPr/>
          <p:nvPr/>
        </p:nvSpPr>
        <p:spPr>
          <a:xfrm>
            <a:off x="5946727" y="1464198"/>
            <a:ext cx="3218139" cy="223591"/>
          </a:xfrm>
          <a:custGeom>
            <a:avLst/>
            <a:gdLst>
              <a:gd name="connsiteX0" fmla="*/ 0 w 6150405"/>
              <a:gd name="connsiteY0" fmla="*/ 0 h 585026"/>
              <a:gd name="connsiteX1" fmla="*/ 6150405 w 6150405"/>
              <a:gd name="connsiteY1" fmla="*/ 0 h 585026"/>
              <a:gd name="connsiteX2" fmla="*/ 6150405 w 6150405"/>
              <a:gd name="connsiteY2" fmla="*/ 585026 h 585026"/>
              <a:gd name="connsiteX3" fmla="*/ 0 w 6150405"/>
              <a:gd name="connsiteY3" fmla="*/ 585026 h 585026"/>
              <a:gd name="connsiteX4" fmla="*/ 0 w 6150405"/>
              <a:gd name="connsiteY4" fmla="*/ 0 h 585026"/>
              <a:gd name="connsiteX0" fmla="*/ 610567 w 6150405"/>
              <a:gd name="connsiteY0" fmla="*/ 8142 h 585026"/>
              <a:gd name="connsiteX1" fmla="*/ 6150405 w 6150405"/>
              <a:gd name="connsiteY1" fmla="*/ 0 h 585026"/>
              <a:gd name="connsiteX2" fmla="*/ 6150405 w 6150405"/>
              <a:gd name="connsiteY2" fmla="*/ 585026 h 585026"/>
              <a:gd name="connsiteX3" fmla="*/ 0 w 6150405"/>
              <a:gd name="connsiteY3" fmla="*/ 585026 h 585026"/>
              <a:gd name="connsiteX4" fmla="*/ 610567 w 6150405"/>
              <a:gd name="connsiteY4" fmla="*/ 8142 h 585026"/>
              <a:gd name="connsiteX0" fmla="*/ 610567 w 6150405"/>
              <a:gd name="connsiteY0" fmla="*/ 0 h 576884"/>
              <a:gd name="connsiteX1" fmla="*/ 5515416 w 6150405"/>
              <a:gd name="connsiteY1" fmla="*/ 0 h 576884"/>
              <a:gd name="connsiteX2" fmla="*/ 6150405 w 6150405"/>
              <a:gd name="connsiteY2" fmla="*/ 576884 h 576884"/>
              <a:gd name="connsiteX3" fmla="*/ 0 w 6150405"/>
              <a:gd name="connsiteY3" fmla="*/ 576884 h 576884"/>
              <a:gd name="connsiteX4" fmla="*/ 610567 w 6150405"/>
              <a:gd name="connsiteY4" fmla="*/ 0 h 576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50405" h="576884">
                <a:moveTo>
                  <a:pt x="610567" y="0"/>
                </a:moveTo>
                <a:lnTo>
                  <a:pt x="5515416" y="0"/>
                </a:lnTo>
                <a:lnTo>
                  <a:pt x="6150405" y="576884"/>
                </a:lnTo>
                <a:lnTo>
                  <a:pt x="0" y="576884"/>
                </a:lnTo>
                <a:lnTo>
                  <a:pt x="610567" y="0"/>
                </a:lnTo>
                <a:close/>
              </a:path>
            </a:pathLst>
          </a:custGeom>
          <a:solidFill>
            <a:schemeClr val="accent5"/>
          </a:solidFill>
          <a:ln w="3175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b="1" kern="0">
              <a:solidFill>
                <a:sysClr val="window" lastClr="FFFFFF"/>
              </a:solidFill>
              <a:cs typeface="Calibri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FF56FEA8-2FA6-EB7C-DEE1-848FF61E1F74}"/>
              </a:ext>
            </a:extLst>
          </p:cNvPr>
          <p:cNvSpPr/>
          <p:nvPr/>
        </p:nvSpPr>
        <p:spPr>
          <a:xfrm>
            <a:off x="787538" y="1557145"/>
            <a:ext cx="3064603" cy="3790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30000"/>
              </a:lnSpc>
              <a:defRPr/>
            </a:pPr>
            <a:r>
              <a:rPr lang="en-US" sz="1600" kern="0" dirty="0">
                <a:cs typeface="Calibri"/>
              </a:rPr>
              <a:t>Text goes here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F3F24459-C582-F7ED-37D4-052C2B9688C8}"/>
              </a:ext>
            </a:extLst>
          </p:cNvPr>
          <p:cNvSpPr/>
          <p:nvPr/>
        </p:nvSpPr>
        <p:spPr>
          <a:xfrm>
            <a:off x="787538" y="2928091"/>
            <a:ext cx="3064603" cy="3790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30000"/>
              </a:lnSpc>
              <a:defRPr/>
            </a:pPr>
            <a:r>
              <a:rPr lang="en-US" sz="1600" kern="0" dirty="0">
                <a:cs typeface="Calibri"/>
              </a:rPr>
              <a:t>Text goes here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DDA3D259-845E-F14F-6016-32C6BEE1FF60}"/>
              </a:ext>
            </a:extLst>
          </p:cNvPr>
          <p:cNvSpPr/>
          <p:nvPr/>
        </p:nvSpPr>
        <p:spPr>
          <a:xfrm>
            <a:off x="787538" y="4997303"/>
            <a:ext cx="2545637" cy="3790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30000"/>
              </a:lnSpc>
              <a:defRPr/>
            </a:pPr>
            <a:r>
              <a:rPr lang="en-US" sz="1600" kern="0" dirty="0">
                <a:cs typeface="Calibri"/>
              </a:rPr>
              <a:t>Text goes here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DED19D9D-10FE-2C2C-88BC-FBB37B07E4F6}"/>
              </a:ext>
            </a:extLst>
          </p:cNvPr>
          <p:cNvSpPr/>
          <p:nvPr/>
        </p:nvSpPr>
        <p:spPr>
          <a:xfrm>
            <a:off x="787538" y="2169906"/>
            <a:ext cx="3064603" cy="3790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30000"/>
              </a:lnSpc>
              <a:defRPr/>
            </a:pPr>
            <a:r>
              <a:rPr lang="en-US" sz="1600" kern="0" dirty="0">
                <a:cs typeface="Calibri"/>
              </a:rPr>
              <a:t>Text goes here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AEE8E0DB-C70C-0CBF-3E57-A1550F760F23}"/>
              </a:ext>
            </a:extLst>
          </p:cNvPr>
          <p:cNvSpPr/>
          <p:nvPr/>
        </p:nvSpPr>
        <p:spPr>
          <a:xfrm>
            <a:off x="787538" y="3916036"/>
            <a:ext cx="3064603" cy="3790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30000"/>
              </a:lnSpc>
              <a:defRPr/>
            </a:pPr>
            <a:r>
              <a:rPr lang="en-US" sz="1600" kern="0" dirty="0">
                <a:cs typeface="Calibri"/>
              </a:rPr>
              <a:t>Text goes here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2D93EA44-ECCB-3647-EADF-3422C624B6C2}"/>
              </a:ext>
            </a:extLst>
          </p:cNvPr>
          <p:cNvCxnSpPr/>
          <p:nvPr/>
        </p:nvCxnSpPr>
        <p:spPr>
          <a:xfrm flipH="1">
            <a:off x="3333174" y="1836531"/>
            <a:ext cx="259542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842A7C15-E485-CB83-DF4A-08EDF9F8D77F}"/>
              </a:ext>
            </a:extLst>
          </p:cNvPr>
          <p:cNvCxnSpPr/>
          <p:nvPr/>
        </p:nvCxnSpPr>
        <p:spPr>
          <a:xfrm flipH="1">
            <a:off x="3207500" y="2450896"/>
            <a:ext cx="2331484" cy="186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5979F015-3B0B-5ACF-ECE0-FDB238EE7A70}"/>
              </a:ext>
            </a:extLst>
          </p:cNvPr>
          <p:cNvCxnSpPr/>
          <p:nvPr/>
        </p:nvCxnSpPr>
        <p:spPr>
          <a:xfrm flipH="1">
            <a:off x="3287112" y="3223391"/>
            <a:ext cx="1759611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1A89AE88-3087-9034-ADB9-350158B6E6B5}"/>
              </a:ext>
            </a:extLst>
          </p:cNvPr>
          <p:cNvCxnSpPr>
            <a:stCxn id="27" idx="1"/>
          </p:cNvCxnSpPr>
          <p:nvPr/>
        </p:nvCxnSpPr>
        <p:spPr>
          <a:xfrm flipH="1">
            <a:off x="3408778" y="4197305"/>
            <a:ext cx="92379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79D31909-534D-8B27-986E-82C958934021}"/>
              </a:ext>
            </a:extLst>
          </p:cNvPr>
          <p:cNvCxnSpPr/>
          <p:nvPr/>
        </p:nvCxnSpPr>
        <p:spPr>
          <a:xfrm flipH="1">
            <a:off x="3198325" y="5292676"/>
            <a:ext cx="527883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53871687"/>
      </p:ext>
    </p:extLst>
  </p:cSld>
  <p:clrMapOvr>
    <a:masterClrMapping/>
  </p:clrMapOvr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83E1DE1-0AE2-92C3-95F7-5156E685FE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B474C144-01E6-753C-16FD-49A0BA7B18A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74C144-01E6-753C-16FD-49A0BA7B18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798385A-E3F5-4B5A-DAEE-599C0458D9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Next Steps 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063A4D15-77A8-6596-368F-DB33D3015B80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95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A9B02CD-1763-F196-1153-A87AAF4DE171}"/>
              </a:ext>
            </a:extLst>
          </p:cNvPr>
          <p:cNvSpPr txBox="1">
            <a:spLocks/>
          </p:cNvSpPr>
          <p:nvPr/>
        </p:nvSpPr>
        <p:spPr>
          <a:xfrm>
            <a:off x="690925" y="1824451"/>
            <a:ext cx="2421783" cy="332383"/>
          </a:xfrm>
          <a:prstGeom prst="rect">
            <a:avLst/>
          </a:prstGeom>
          <a:noFill/>
        </p:spPr>
        <p:txBody>
          <a:bodyPr vert="horz" lIns="54848" tIns="27424" rIns="54848" bIns="27424" rtlCol="0" anchor="ctr">
            <a:spAutoFit/>
          </a:bodyPr>
          <a:lstStyle/>
          <a:p>
            <a:pPr>
              <a:buSzPct val="100000"/>
            </a:pPr>
            <a:r>
              <a:rPr lang="en-US" dirty="0"/>
              <a:t>Insert Text Her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F4D2FF4-359D-B74E-CC4D-A0AFA9DFEAD8}"/>
              </a:ext>
            </a:extLst>
          </p:cNvPr>
          <p:cNvSpPr txBox="1">
            <a:spLocks/>
          </p:cNvSpPr>
          <p:nvPr/>
        </p:nvSpPr>
        <p:spPr>
          <a:xfrm>
            <a:off x="3191120" y="1778310"/>
            <a:ext cx="1513212" cy="424667"/>
          </a:xfrm>
          <a:prstGeom prst="rect">
            <a:avLst/>
          </a:prstGeom>
          <a:noFill/>
        </p:spPr>
        <p:txBody>
          <a:bodyPr vert="horz" wrap="none" lIns="54848" tIns="27424" rIns="54848" bIns="27424" rtlCol="0" anchor="ctr">
            <a:noAutofit/>
          </a:bodyPr>
          <a:lstStyle/>
          <a:p>
            <a:pPr>
              <a:buSzPct val="100000"/>
            </a:pPr>
            <a:r>
              <a:rPr lang="en-IN" b="1" dirty="0">
                <a:solidFill>
                  <a:schemeClr val="accent1"/>
                </a:solidFill>
              </a:rPr>
              <a:t>Title</a:t>
            </a:r>
          </a:p>
        </p:txBody>
      </p:sp>
      <p:sp>
        <p:nvSpPr>
          <p:cNvPr id="8" name="Freeform 8">
            <a:extLst>
              <a:ext uri="{FF2B5EF4-FFF2-40B4-BE49-F238E27FC236}">
                <a16:creationId xmlns:a16="http://schemas.microsoft.com/office/drawing/2014/main" id="{0C015588-3E01-270A-56C2-39157BABE540}"/>
              </a:ext>
            </a:extLst>
          </p:cNvPr>
          <p:cNvSpPr/>
          <p:nvPr/>
        </p:nvSpPr>
        <p:spPr>
          <a:xfrm rot="2700000">
            <a:off x="4981954" y="1419764"/>
            <a:ext cx="1141755" cy="1141760"/>
          </a:xfrm>
          <a:custGeom>
            <a:avLst/>
            <a:gdLst>
              <a:gd name="connsiteX0" fmla="*/ 59274 w 1214203"/>
              <a:gd name="connsiteY0" fmla="*/ 59274 h 1214204"/>
              <a:gd name="connsiteX1" fmla="*/ 202371 w 1214203"/>
              <a:gd name="connsiteY1" fmla="*/ 0 h 1214204"/>
              <a:gd name="connsiteX2" fmla="*/ 1011832 w 1214203"/>
              <a:gd name="connsiteY2" fmla="*/ 1 h 1214204"/>
              <a:gd name="connsiteX3" fmla="*/ 1214203 w 1214203"/>
              <a:gd name="connsiteY3" fmla="*/ 202372 h 1214204"/>
              <a:gd name="connsiteX4" fmla="*/ 1214203 w 1214203"/>
              <a:gd name="connsiteY4" fmla="*/ 1011833 h 1214204"/>
              <a:gd name="connsiteX5" fmla="*/ 1011832 w 1214203"/>
              <a:gd name="connsiteY5" fmla="*/ 1214204 h 1214204"/>
              <a:gd name="connsiteX6" fmla="*/ 202371 w 1214203"/>
              <a:gd name="connsiteY6" fmla="*/ 1214204 h 1214204"/>
              <a:gd name="connsiteX7" fmla="*/ 0 w 1214203"/>
              <a:gd name="connsiteY7" fmla="*/ 1011833 h 1214204"/>
              <a:gd name="connsiteX8" fmla="*/ 0 w 1214203"/>
              <a:gd name="connsiteY8" fmla="*/ 202371 h 1214204"/>
              <a:gd name="connsiteX9" fmla="*/ 59274 w 1214203"/>
              <a:gd name="connsiteY9" fmla="*/ 59274 h 1214204"/>
              <a:gd name="connsiteX10" fmla="*/ 121790 w 1214203"/>
              <a:gd name="connsiteY10" fmla="*/ 121791 h 1214204"/>
              <a:gd name="connsiteX11" fmla="*/ 69281 w 1214203"/>
              <a:gd name="connsiteY11" fmla="*/ 248559 h 1214204"/>
              <a:gd name="connsiteX12" fmla="*/ 69281 w 1214203"/>
              <a:gd name="connsiteY12" fmla="*/ 965646 h 1214204"/>
              <a:gd name="connsiteX13" fmla="*/ 248556 w 1214203"/>
              <a:gd name="connsiteY13" fmla="*/ 1144922 h 1214204"/>
              <a:gd name="connsiteX14" fmla="*/ 965645 w 1214203"/>
              <a:gd name="connsiteY14" fmla="*/ 1144923 h 1214204"/>
              <a:gd name="connsiteX15" fmla="*/ 1144922 w 1214203"/>
              <a:gd name="connsiteY15" fmla="*/ 965646 h 1214204"/>
              <a:gd name="connsiteX16" fmla="*/ 1144920 w 1214203"/>
              <a:gd name="connsiteY16" fmla="*/ 248558 h 1214204"/>
              <a:gd name="connsiteX17" fmla="*/ 965644 w 1214203"/>
              <a:gd name="connsiteY17" fmla="*/ 69283 h 1214204"/>
              <a:gd name="connsiteX18" fmla="*/ 248558 w 1214203"/>
              <a:gd name="connsiteY18" fmla="*/ 69283 h 1214204"/>
              <a:gd name="connsiteX19" fmla="*/ 121790 w 1214203"/>
              <a:gd name="connsiteY19" fmla="*/ 121791 h 12142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4203" h="1214204">
                <a:moveTo>
                  <a:pt x="59274" y="59274"/>
                </a:moveTo>
                <a:cubicBezTo>
                  <a:pt x="95895" y="22652"/>
                  <a:pt x="146488" y="1"/>
                  <a:pt x="202371" y="0"/>
                </a:cubicBezTo>
                <a:lnTo>
                  <a:pt x="1011832" y="1"/>
                </a:lnTo>
                <a:cubicBezTo>
                  <a:pt x="1123598" y="0"/>
                  <a:pt x="1214203" y="90605"/>
                  <a:pt x="1214203" y="202372"/>
                </a:cubicBezTo>
                <a:lnTo>
                  <a:pt x="1214203" y="1011833"/>
                </a:lnTo>
                <a:cubicBezTo>
                  <a:pt x="1214202" y="1123599"/>
                  <a:pt x="1123597" y="1214204"/>
                  <a:pt x="1011832" y="1214204"/>
                </a:cubicBezTo>
                <a:lnTo>
                  <a:pt x="202371" y="1214204"/>
                </a:lnTo>
                <a:cubicBezTo>
                  <a:pt x="90605" y="1214204"/>
                  <a:pt x="0" y="1123599"/>
                  <a:pt x="0" y="1011833"/>
                </a:cubicBezTo>
                <a:lnTo>
                  <a:pt x="0" y="202371"/>
                </a:lnTo>
                <a:cubicBezTo>
                  <a:pt x="0" y="146489"/>
                  <a:pt x="22651" y="95896"/>
                  <a:pt x="59274" y="59274"/>
                </a:cubicBezTo>
                <a:close/>
                <a:moveTo>
                  <a:pt x="121790" y="121791"/>
                </a:moveTo>
                <a:cubicBezTo>
                  <a:pt x="89348" y="154234"/>
                  <a:pt x="69281" y="199054"/>
                  <a:pt x="69281" y="248559"/>
                </a:cubicBezTo>
                <a:lnTo>
                  <a:pt x="69281" y="965646"/>
                </a:lnTo>
                <a:cubicBezTo>
                  <a:pt x="69280" y="1064656"/>
                  <a:pt x="149545" y="1144923"/>
                  <a:pt x="248556" y="1144922"/>
                </a:cubicBezTo>
                <a:lnTo>
                  <a:pt x="965645" y="1144923"/>
                </a:lnTo>
                <a:cubicBezTo>
                  <a:pt x="1064656" y="1144922"/>
                  <a:pt x="1144920" y="1064657"/>
                  <a:pt x="1144922" y="965646"/>
                </a:cubicBezTo>
                <a:lnTo>
                  <a:pt x="1144920" y="248558"/>
                </a:lnTo>
                <a:cubicBezTo>
                  <a:pt x="1144920" y="149548"/>
                  <a:pt x="1064655" y="69283"/>
                  <a:pt x="965644" y="69283"/>
                </a:cubicBezTo>
                <a:lnTo>
                  <a:pt x="248558" y="69283"/>
                </a:lnTo>
                <a:cubicBezTo>
                  <a:pt x="199052" y="69283"/>
                  <a:pt x="154232" y="89347"/>
                  <a:pt x="121790" y="12179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 dirty="0"/>
          </a:p>
        </p:txBody>
      </p:sp>
      <p:sp>
        <p:nvSpPr>
          <p:cNvPr id="9" name="Freeform 7">
            <a:extLst>
              <a:ext uri="{FF2B5EF4-FFF2-40B4-BE49-F238E27FC236}">
                <a16:creationId xmlns:a16="http://schemas.microsoft.com/office/drawing/2014/main" id="{E0CDEF27-7D73-0EC7-EB70-980F949A1638}"/>
              </a:ext>
            </a:extLst>
          </p:cNvPr>
          <p:cNvSpPr/>
          <p:nvPr/>
        </p:nvSpPr>
        <p:spPr>
          <a:xfrm rot="2700000">
            <a:off x="5139278" y="1577090"/>
            <a:ext cx="827101" cy="827106"/>
          </a:xfrm>
          <a:custGeom>
            <a:avLst/>
            <a:gdLst>
              <a:gd name="connsiteX0" fmla="*/ 42938 w 879584"/>
              <a:gd name="connsiteY0" fmla="*/ 42939 h 879585"/>
              <a:gd name="connsiteX1" fmla="*/ 146601 w 879584"/>
              <a:gd name="connsiteY1" fmla="*/ 1 h 879585"/>
              <a:gd name="connsiteX2" fmla="*/ 732983 w 879584"/>
              <a:gd name="connsiteY2" fmla="*/ 0 h 879585"/>
              <a:gd name="connsiteX3" fmla="*/ 879584 w 879584"/>
              <a:gd name="connsiteY3" fmla="*/ 146601 h 879585"/>
              <a:gd name="connsiteX4" fmla="*/ 879584 w 879584"/>
              <a:gd name="connsiteY4" fmla="*/ 732984 h 879585"/>
              <a:gd name="connsiteX5" fmla="*/ 732983 w 879584"/>
              <a:gd name="connsiteY5" fmla="*/ 879585 h 879585"/>
              <a:gd name="connsiteX6" fmla="*/ 146601 w 879584"/>
              <a:gd name="connsiteY6" fmla="*/ 879584 h 879585"/>
              <a:gd name="connsiteX7" fmla="*/ 0 w 879584"/>
              <a:gd name="connsiteY7" fmla="*/ 732983 h 879585"/>
              <a:gd name="connsiteX8" fmla="*/ 0 w 879584"/>
              <a:gd name="connsiteY8" fmla="*/ 146602 h 879585"/>
              <a:gd name="connsiteX9" fmla="*/ 42938 w 879584"/>
              <a:gd name="connsiteY9" fmla="*/ 42939 h 8795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79584" h="879585">
                <a:moveTo>
                  <a:pt x="42938" y="42939"/>
                </a:moveTo>
                <a:cubicBezTo>
                  <a:pt x="69468" y="16410"/>
                  <a:pt x="106119" y="1"/>
                  <a:pt x="146601" y="1"/>
                </a:cubicBezTo>
                <a:lnTo>
                  <a:pt x="732983" y="0"/>
                </a:lnTo>
                <a:cubicBezTo>
                  <a:pt x="813950" y="1"/>
                  <a:pt x="879584" y="65636"/>
                  <a:pt x="879584" y="146601"/>
                </a:cubicBezTo>
                <a:lnTo>
                  <a:pt x="879584" y="732984"/>
                </a:lnTo>
                <a:cubicBezTo>
                  <a:pt x="879584" y="813950"/>
                  <a:pt x="813949" y="879585"/>
                  <a:pt x="732983" y="879585"/>
                </a:cubicBezTo>
                <a:lnTo>
                  <a:pt x="146601" y="879584"/>
                </a:lnTo>
                <a:cubicBezTo>
                  <a:pt x="65635" y="879583"/>
                  <a:pt x="1" y="813950"/>
                  <a:pt x="0" y="732983"/>
                </a:cubicBezTo>
                <a:lnTo>
                  <a:pt x="0" y="146602"/>
                </a:lnTo>
                <a:cubicBezTo>
                  <a:pt x="0" y="106119"/>
                  <a:pt x="16408" y="69469"/>
                  <a:pt x="42938" y="429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3970413-40A8-BBEB-D09C-7EBB103028B6}"/>
              </a:ext>
            </a:extLst>
          </p:cNvPr>
          <p:cNvCxnSpPr>
            <a:cxnSpLocks/>
          </p:cNvCxnSpPr>
          <p:nvPr/>
        </p:nvCxnSpPr>
        <p:spPr>
          <a:xfrm flipH="1">
            <a:off x="-9524" y="2719035"/>
            <a:ext cx="5532034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6B54105-977B-76F4-205E-B3FE7BB471B7}"/>
              </a:ext>
            </a:extLst>
          </p:cNvPr>
          <p:cNvCxnSpPr>
            <a:cxnSpLocks/>
          </p:cNvCxnSpPr>
          <p:nvPr/>
        </p:nvCxnSpPr>
        <p:spPr>
          <a:xfrm flipH="1">
            <a:off x="1" y="4984731"/>
            <a:ext cx="5532034" cy="3059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reeform 18">
            <a:extLst>
              <a:ext uri="{FF2B5EF4-FFF2-40B4-BE49-F238E27FC236}">
                <a16:creationId xmlns:a16="http://schemas.microsoft.com/office/drawing/2014/main" id="{60E6F7E0-9FF6-257F-B919-FD92419DA35F}"/>
              </a:ext>
            </a:extLst>
          </p:cNvPr>
          <p:cNvSpPr/>
          <p:nvPr/>
        </p:nvSpPr>
        <p:spPr>
          <a:xfrm rot="2700000">
            <a:off x="4981954" y="3701856"/>
            <a:ext cx="1141755" cy="1141760"/>
          </a:xfrm>
          <a:custGeom>
            <a:avLst/>
            <a:gdLst>
              <a:gd name="connsiteX0" fmla="*/ 59274 w 1214203"/>
              <a:gd name="connsiteY0" fmla="*/ 59274 h 1214204"/>
              <a:gd name="connsiteX1" fmla="*/ 202371 w 1214203"/>
              <a:gd name="connsiteY1" fmla="*/ 0 h 1214204"/>
              <a:gd name="connsiteX2" fmla="*/ 1011832 w 1214203"/>
              <a:gd name="connsiteY2" fmla="*/ 1 h 1214204"/>
              <a:gd name="connsiteX3" fmla="*/ 1214203 w 1214203"/>
              <a:gd name="connsiteY3" fmla="*/ 202372 h 1214204"/>
              <a:gd name="connsiteX4" fmla="*/ 1214203 w 1214203"/>
              <a:gd name="connsiteY4" fmla="*/ 1011833 h 1214204"/>
              <a:gd name="connsiteX5" fmla="*/ 1011832 w 1214203"/>
              <a:gd name="connsiteY5" fmla="*/ 1214204 h 1214204"/>
              <a:gd name="connsiteX6" fmla="*/ 202371 w 1214203"/>
              <a:gd name="connsiteY6" fmla="*/ 1214204 h 1214204"/>
              <a:gd name="connsiteX7" fmla="*/ 0 w 1214203"/>
              <a:gd name="connsiteY7" fmla="*/ 1011833 h 1214204"/>
              <a:gd name="connsiteX8" fmla="*/ 0 w 1214203"/>
              <a:gd name="connsiteY8" fmla="*/ 202371 h 1214204"/>
              <a:gd name="connsiteX9" fmla="*/ 59274 w 1214203"/>
              <a:gd name="connsiteY9" fmla="*/ 59274 h 1214204"/>
              <a:gd name="connsiteX10" fmla="*/ 121790 w 1214203"/>
              <a:gd name="connsiteY10" fmla="*/ 121791 h 1214204"/>
              <a:gd name="connsiteX11" fmla="*/ 69281 w 1214203"/>
              <a:gd name="connsiteY11" fmla="*/ 248559 h 1214204"/>
              <a:gd name="connsiteX12" fmla="*/ 69281 w 1214203"/>
              <a:gd name="connsiteY12" fmla="*/ 965646 h 1214204"/>
              <a:gd name="connsiteX13" fmla="*/ 248556 w 1214203"/>
              <a:gd name="connsiteY13" fmla="*/ 1144922 h 1214204"/>
              <a:gd name="connsiteX14" fmla="*/ 965645 w 1214203"/>
              <a:gd name="connsiteY14" fmla="*/ 1144923 h 1214204"/>
              <a:gd name="connsiteX15" fmla="*/ 1144922 w 1214203"/>
              <a:gd name="connsiteY15" fmla="*/ 965646 h 1214204"/>
              <a:gd name="connsiteX16" fmla="*/ 1144920 w 1214203"/>
              <a:gd name="connsiteY16" fmla="*/ 248558 h 1214204"/>
              <a:gd name="connsiteX17" fmla="*/ 965644 w 1214203"/>
              <a:gd name="connsiteY17" fmla="*/ 69283 h 1214204"/>
              <a:gd name="connsiteX18" fmla="*/ 248558 w 1214203"/>
              <a:gd name="connsiteY18" fmla="*/ 69283 h 1214204"/>
              <a:gd name="connsiteX19" fmla="*/ 121790 w 1214203"/>
              <a:gd name="connsiteY19" fmla="*/ 121791 h 12142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4203" h="1214204">
                <a:moveTo>
                  <a:pt x="59274" y="59274"/>
                </a:moveTo>
                <a:cubicBezTo>
                  <a:pt x="95895" y="22652"/>
                  <a:pt x="146488" y="1"/>
                  <a:pt x="202371" y="0"/>
                </a:cubicBezTo>
                <a:lnTo>
                  <a:pt x="1011832" y="1"/>
                </a:lnTo>
                <a:cubicBezTo>
                  <a:pt x="1123598" y="0"/>
                  <a:pt x="1214203" y="90605"/>
                  <a:pt x="1214203" y="202372"/>
                </a:cubicBezTo>
                <a:lnTo>
                  <a:pt x="1214203" y="1011833"/>
                </a:lnTo>
                <a:cubicBezTo>
                  <a:pt x="1214202" y="1123599"/>
                  <a:pt x="1123597" y="1214204"/>
                  <a:pt x="1011832" y="1214204"/>
                </a:cubicBezTo>
                <a:lnTo>
                  <a:pt x="202371" y="1214204"/>
                </a:lnTo>
                <a:cubicBezTo>
                  <a:pt x="90605" y="1214204"/>
                  <a:pt x="0" y="1123599"/>
                  <a:pt x="0" y="1011833"/>
                </a:cubicBezTo>
                <a:lnTo>
                  <a:pt x="0" y="202371"/>
                </a:lnTo>
                <a:cubicBezTo>
                  <a:pt x="0" y="146489"/>
                  <a:pt x="22651" y="95896"/>
                  <a:pt x="59274" y="59274"/>
                </a:cubicBezTo>
                <a:close/>
                <a:moveTo>
                  <a:pt x="121790" y="121791"/>
                </a:moveTo>
                <a:cubicBezTo>
                  <a:pt x="89348" y="154234"/>
                  <a:pt x="69281" y="199054"/>
                  <a:pt x="69281" y="248559"/>
                </a:cubicBezTo>
                <a:lnTo>
                  <a:pt x="69281" y="965646"/>
                </a:lnTo>
                <a:cubicBezTo>
                  <a:pt x="69280" y="1064656"/>
                  <a:pt x="149545" y="1144923"/>
                  <a:pt x="248556" y="1144922"/>
                </a:cubicBezTo>
                <a:lnTo>
                  <a:pt x="965645" y="1144923"/>
                </a:lnTo>
                <a:cubicBezTo>
                  <a:pt x="1064656" y="1144922"/>
                  <a:pt x="1144920" y="1064657"/>
                  <a:pt x="1144922" y="965646"/>
                </a:cubicBezTo>
                <a:lnTo>
                  <a:pt x="1144920" y="248558"/>
                </a:lnTo>
                <a:cubicBezTo>
                  <a:pt x="1144920" y="149548"/>
                  <a:pt x="1064655" y="69283"/>
                  <a:pt x="965644" y="69283"/>
                </a:cubicBezTo>
                <a:lnTo>
                  <a:pt x="248558" y="69283"/>
                </a:lnTo>
                <a:cubicBezTo>
                  <a:pt x="199052" y="69283"/>
                  <a:pt x="154232" y="89347"/>
                  <a:pt x="121790" y="121791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/>
          </a:p>
        </p:txBody>
      </p:sp>
      <p:sp>
        <p:nvSpPr>
          <p:cNvPr id="13" name="Freeform 19">
            <a:extLst>
              <a:ext uri="{FF2B5EF4-FFF2-40B4-BE49-F238E27FC236}">
                <a16:creationId xmlns:a16="http://schemas.microsoft.com/office/drawing/2014/main" id="{4F378FED-DB4E-7B0B-D0F2-5337BD03CAD8}"/>
              </a:ext>
            </a:extLst>
          </p:cNvPr>
          <p:cNvSpPr/>
          <p:nvPr/>
        </p:nvSpPr>
        <p:spPr>
          <a:xfrm rot="2700000">
            <a:off x="5139278" y="3859182"/>
            <a:ext cx="827101" cy="827106"/>
          </a:xfrm>
          <a:custGeom>
            <a:avLst/>
            <a:gdLst>
              <a:gd name="connsiteX0" fmla="*/ 42938 w 879584"/>
              <a:gd name="connsiteY0" fmla="*/ 42939 h 879585"/>
              <a:gd name="connsiteX1" fmla="*/ 146601 w 879584"/>
              <a:gd name="connsiteY1" fmla="*/ 1 h 879585"/>
              <a:gd name="connsiteX2" fmla="*/ 732983 w 879584"/>
              <a:gd name="connsiteY2" fmla="*/ 0 h 879585"/>
              <a:gd name="connsiteX3" fmla="*/ 879584 w 879584"/>
              <a:gd name="connsiteY3" fmla="*/ 146601 h 879585"/>
              <a:gd name="connsiteX4" fmla="*/ 879584 w 879584"/>
              <a:gd name="connsiteY4" fmla="*/ 732984 h 879585"/>
              <a:gd name="connsiteX5" fmla="*/ 732983 w 879584"/>
              <a:gd name="connsiteY5" fmla="*/ 879585 h 879585"/>
              <a:gd name="connsiteX6" fmla="*/ 146601 w 879584"/>
              <a:gd name="connsiteY6" fmla="*/ 879584 h 879585"/>
              <a:gd name="connsiteX7" fmla="*/ 0 w 879584"/>
              <a:gd name="connsiteY7" fmla="*/ 732983 h 879585"/>
              <a:gd name="connsiteX8" fmla="*/ 0 w 879584"/>
              <a:gd name="connsiteY8" fmla="*/ 146602 h 879585"/>
              <a:gd name="connsiteX9" fmla="*/ 42938 w 879584"/>
              <a:gd name="connsiteY9" fmla="*/ 42939 h 8795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79584" h="879585">
                <a:moveTo>
                  <a:pt x="42938" y="42939"/>
                </a:moveTo>
                <a:cubicBezTo>
                  <a:pt x="69468" y="16410"/>
                  <a:pt x="106119" y="1"/>
                  <a:pt x="146601" y="1"/>
                </a:cubicBezTo>
                <a:lnTo>
                  <a:pt x="732983" y="0"/>
                </a:lnTo>
                <a:cubicBezTo>
                  <a:pt x="813950" y="1"/>
                  <a:pt x="879584" y="65636"/>
                  <a:pt x="879584" y="146601"/>
                </a:cubicBezTo>
                <a:lnTo>
                  <a:pt x="879584" y="732984"/>
                </a:lnTo>
                <a:cubicBezTo>
                  <a:pt x="879584" y="813950"/>
                  <a:pt x="813949" y="879585"/>
                  <a:pt x="732983" y="879585"/>
                </a:cubicBezTo>
                <a:lnTo>
                  <a:pt x="146601" y="879584"/>
                </a:lnTo>
                <a:cubicBezTo>
                  <a:pt x="65635" y="879583"/>
                  <a:pt x="1" y="813950"/>
                  <a:pt x="0" y="732983"/>
                </a:cubicBezTo>
                <a:lnTo>
                  <a:pt x="0" y="146602"/>
                </a:lnTo>
                <a:cubicBezTo>
                  <a:pt x="0" y="106119"/>
                  <a:pt x="16408" y="69469"/>
                  <a:pt x="42938" y="42939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8E1DFAC-DBB7-9B8B-D34D-AC08B7E416BE}"/>
              </a:ext>
            </a:extLst>
          </p:cNvPr>
          <p:cNvSpPr txBox="1">
            <a:spLocks/>
          </p:cNvSpPr>
          <p:nvPr/>
        </p:nvSpPr>
        <p:spPr>
          <a:xfrm>
            <a:off x="3191120" y="4083461"/>
            <a:ext cx="1513212" cy="378549"/>
          </a:xfrm>
          <a:prstGeom prst="rect">
            <a:avLst/>
          </a:prstGeom>
          <a:noFill/>
        </p:spPr>
        <p:txBody>
          <a:bodyPr vert="horz" wrap="square" lIns="54848" tIns="27424" rIns="54848" bIns="27424" rtlCol="0">
            <a:noAutofit/>
          </a:bodyPr>
          <a:lstStyle/>
          <a:p>
            <a:pPr>
              <a:buSzPct val="100000"/>
            </a:pPr>
            <a:r>
              <a:rPr lang="en-IN" b="1" dirty="0">
                <a:solidFill>
                  <a:schemeClr val="accent4"/>
                </a:solidFill>
              </a:rPr>
              <a:t>Titl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C4BB893-AA22-5B8B-0A32-C4B03B5043E9}"/>
              </a:ext>
            </a:extLst>
          </p:cNvPr>
          <p:cNvSpPr txBox="1">
            <a:spLocks/>
          </p:cNvSpPr>
          <p:nvPr/>
        </p:nvSpPr>
        <p:spPr>
          <a:xfrm>
            <a:off x="690925" y="4083461"/>
            <a:ext cx="2421783" cy="332383"/>
          </a:xfrm>
          <a:prstGeom prst="rect">
            <a:avLst/>
          </a:prstGeom>
          <a:noFill/>
        </p:spPr>
        <p:txBody>
          <a:bodyPr vert="horz" lIns="54848" tIns="27424" rIns="54848" bIns="27424" rtlCol="0">
            <a:spAutoFit/>
          </a:bodyPr>
          <a:lstStyle/>
          <a:p>
            <a:pPr>
              <a:buSzPct val="100000"/>
            </a:pPr>
            <a:r>
              <a:rPr lang="en-US" dirty="0"/>
              <a:t>Insert Text Her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FBBFAAD-B8D3-6CAE-72C1-4C51DE425C97}"/>
              </a:ext>
            </a:extLst>
          </p:cNvPr>
          <p:cNvSpPr/>
          <p:nvPr/>
        </p:nvSpPr>
        <p:spPr>
          <a:xfrm rot="2724070">
            <a:off x="5874284" y="2405392"/>
            <a:ext cx="477109" cy="28147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/>
          </a:p>
        </p:txBody>
      </p:sp>
      <p:sp>
        <p:nvSpPr>
          <p:cNvPr id="17" name="Freeform 166">
            <a:extLst>
              <a:ext uri="{FF2B5EF4-FFF2-40B4-BE49-F238E27FC236}">
                <a16:creationId xmlns:a16="http://schemas.microsoft.com/office/drawing/2014/main" id="{746B1955-B7C3-573B-414E-FF2E2FC4E69F}"/>
              </a:ext>
            </a:extLst>
          </p:cNvPr>
          <p:cNvSpPr>
            <a:spLocks/>
          </p:cNvSpPr>
          <p:nvPr/>
        </p:nvSpPr>
        <p:spPr bwMode="auto">
          <a:xfrm rot="13684439">
            <a:off x="5962079" y="2324484"/>
            <a:ext cx="256501" cy="428779"/>
          </a:xfrm>
          <a:custGeom>
            <a:avLst/>
            <a:gdLst>
              <a:gd name="T0" fmla="*/ 71 w 99"/>
              <a:gd name="T1" fmla="*/ 7 h 166"/>
              <a:gd name="T2" fmla="*/ 5 w 99"/>
              <a:gd name="T3" fmla="*/ 73 h 166"/>
              <a:gd name="T4" fmla="*/ 5 w 99"/>
              <a:gd name="T5" fmla="*/ 93 h 166"/>
              <a:gd name="T6" fmla="*/ 71 w 99"/>
              <a:gd name="T7" fmla="*/ 159 h 166"/>
              <a:gd name="T8" fmla="*/ 91 w 99"/>
              <a:gd name="T9" fmla="*/ 160 h 166"/>
              <a:gd name="T10" fmla="*/ 93 w 99"/>
              <a:gd name="T11" fmla="*/ 158 h 166"/>
              <a:gd name="T12" fmla="*/ 94 w 99"/>
              <a:gd name="T13" fmla="*/ 142 h 166"/>
              <a:gd name="T14" fmla="*/ 45 w 99"/>
              <a:gd name="T15" fmla="*/ 93 h 166"/>
              <a:gd name="T16" fmla="*/ 45 w 99"/>
              <a:gd name="T17" fmla="*/ 73 h 166"/>
              <a:gd name="T18" fmla="*/ 94 w 99"/>
              <a:gd name="T19" fmla="*/ 25 h 166"/>
              <a:gd name="T20" fmla="*/ 93 w 99"/>
              <a:gd name="T21" fmla="*/ 8 h 166"/>
              <a:gd name="T22" fmla="*/ 91 w 99"/>
              <a:gd name="T23" fmla="*/ 6 h 166"/>
              <a:gd name="T24" fmla="*/ 71 w 99"/>
              <a:gd name="T25" fmla="*/ 7 h 1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9" h="166">
                <a:moveTo>
                  <a:pt x="71" y="7"/>
                </a:moveTo>
                <a:cubicBezTo>
                  <a:pt x="5" y="73"/>
                  <a:pt x="5" y="73"/>
                  <a:pt x="5" y="73"/>
                </a:cubicBezTo>
                <a:cubicBezTo>
                  <a:pt x="0" y="79"/>
                  <a:pt x="0" y="88"/>
                  <a:pt x="5" y="93"/>
                </a:cubicBezTo>
                <a:cubicBezTo>
                  <a:pt x="71" y="159"/>
                  <a:pt x="71" y="159"/>
                  <a:pt x="71" y="159"/>
                </a:cubicBezTo>
                <a:cubicBezTo>
                  <a:pt x="77" y="165"/>
                  <a:pt x="85" y="166"/>
                  <a:pt x="91" y="160"/>
                </a:cubicBezTo>
                <a:cubicBezTo>
                  <a:pt x="93" y="158"/>
                  <a:pt x="93" y="158"/>
                  <a:pt x="93" y="158"/>
                </a:cubicBezTo>
                <a:cubicBezTo>
                  <a:pt x="98" y="152"/>
                  <a:pt x="99" y="146"/>
                  <a:pt x="94" y="142"/>
                </a:cubicBezTo>
                <a:cubicBezTo>
                  <a:pt x="78" y="126"/>
                  <a:pt x="62" y="109"/>
                  <a:pt x="45" y="93"/>
                </a:cubicBezTo>
                <a:cubicBezTo>
                  <a:pt x="40" y="88"/>
                  <a:pt x="40" y="79"/>
                  <a:pt x="45" y="73"/>
                </a:cubicBezTo>
                <a:cubicBezTo>
                  <a:pt x="62" y="57"/>
                  <a:pt x="78" y="41"/>
                  <a:pt x="94" y="25"/>
                </a:cubicBezTo>
                <a:cubicBezTo>
                  <a:pt x="99" y="20"/>
                  <a:pt x="98" y="14"/>
                  <a:pt x="93" y="8"/>
                </a:cubicBezTo>
                <a:cubicBezTo>
                  <a:pt x="91" y="6"/>
                  <a:pt x="91" y="6"/>
                  <a:pt x="91" y="6"/>
                </a:cubicBezTo>
                <a:cubicBezTo>
                  <a:pt x="85" y="0"/>
                  <a:pt x="77" y="1"/>
                  <a:pt x="71" y="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45714" tIns="22857" rIns="45714" bIns="22857" numCol="1" anchor="t" anchorCtr="0" compatLnSpc="1">
            <a:prstTxWarp prst="textNoShape">
              <a:avLst/>
            </a:prstTxWarp>
          </a:bodyPr>
          <a:lstStyle/>
          <a:p>
            <a:endParaRPr lang="en-GB" sz="7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8F585D2-B4E8-5E4E-3916-BACB4F7AD9A0}"/>
              </a:ext>
            </a:extLst>
          </p:cNvPr>
          <p:cNvSpPr/>
          <p:nvPr/>
        </p:nvSpPr>
        <p:spPr>
          <a:xfrm rot="2724070">
            <a:off x="5874284" y="4687482"/>
            <a:ext cx="477109" cy="28147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/>
          </a:p>
        </p:txBody>
      </p:sp>
      <p:sp>
        <p:nvSpPr>
          <p:cNvPr id="19" name="Freeform 166">
            <a:extLst>
              <a:ext uri="{FF2B5EF4-FFF2-40B4-BE49-F238E27FC236}">
                <a16:creationId xmlns:a16="http://schemas.microsoft.com/office/drawing/2014/main" id="{D43BEFBC-9A10-B3DA-4D85-24B75D7D5F14}"/>
              </a:ext>
            </a:extLst>
          </p:cNvPr>
          <p:cNvSpPr>
            <a:spLocks/>
          </p:cNvSpPr>
          <p:nvPr/>
        </p:nvSpPr>
        <p:spPr bwMode="auto">
          <a:xfrm rot="13684439">
            <a:off x="5962079" y="4609544"/>
            <a:ext cx="256501" cy="428779"/>
          </a:xfrm>
          <a:custGeom>
            <a:avLst/>
            <a:gdLst>
              <a:gd name="T0" fmla="*/ 71 w 99"/>
              <a:gd name="T1" fmla="*/ 7 h 166"/>
              <a:gd name="T2" fmla="*/ 5 w 99"/>
              <a:gd name="T3" fmla="*/ 73 h 166"/>
              <a:gd name="T4" fmla="*/ 5 w 99"/>
              <a:gd name="T5" fmla="*/ 93 h 166"/>
              <a:gd name="T6" fmla="*/ 71 w 99"/>
              <a:gd name="T7" fmla="*/ 159 h 166"/>
              <a:gd name="T8" fmla="*/ 91 w 99"/>
              <a:gd name="T9" fmla="*/ 160 h 166"/>
              <a:gd name="T10" fmla="*/ 93 w 99"/>
              <a:gd name="T11" fmla="*/ 158 h 166"/>
              <a:gd name="T12" fmla="*/ 94 w 99"/>
              <a:gd name="T13" fmla="*/ 142 h 166"/>
              <a:gd name="T14" fmla="*/ 45 w 99"/>
              <a:gd name="T15" fmla="*/ 93 h 166"/>
              <a:gd name="T16" fmla="*/ 45 w 99"/>
              <a:gd name="T17" fmla="*/ 73 h 166"/>
              <a:gd name="T18" fmla="*/ 94 w 99"/>
              <a:gd name="T19" fmla="*/ 25 h 166"/>
              <a:gd name="T20" fmla="*/ 93 w 99"/>
              <a:gd name="T21" fmla="*/ 8 h 166"/>
              <a:gd name="T22" fmla="*/ 91 w 99"/>
              <a:gd name="T23" fmla="*/ 6 h 166"/>
              <a:gd name="T24" fmla="*/ 71 w 99"/>
              <a:gd name="T25" fmla="*/ 7 h 1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9" h="166">
                <a:moveTo>
                  <a:pt x="71" y="7"/>
                </a:moveTo>
                <a:cubicBezTo>
                  <a:pt x="5" y="73"/>
                  <a:pt x="5" y="73"/>
                  <a:pt x="5" y="73"/>
                </a:cubicBezTo>
                <a:cubicBezTo>
                  <a:pt x="0" y="79"/>
                  <a:pt x="0" y="88"/>
                  <a:pt x="5" y="93"/>
                </a:cubicBezTo>
                <a:cubicBezTo>
                  <a:pt x="71" y="159"/>
                  <a:pt x="71" y="159"/>
                  <a:pt x="71" y="159"/>
                </a:cubicBezTo>
                <a:cubicBezTo>
                  <a:pt x="77" y="165"/>
                  <a:pt x="85" y="166"/>
                  <a:pt x="91" y="160"/>
                </a:cubicBezTo>
                <a:cubicBezTo>
                  <a:pt x="93" y="158"/>
                  <a:pt x="93" y="158"/>
                  <a:pt x="93" y="158"/>
                </a:cubicBezTo>
                <a:cubicBezTo>
                  <a:pt x="98" y="152"/>
                  <a:pt x="99" y="146"/>
                  <a:pt x="94" y="142"/>
                </a:cubicBezTo>
                <a:cubicBezTo>
                  <a:pt x="78" y="126"/>
                  <a:pt x="62" y="109"/>
                  <a:pt x="45" y="93"/>
                </a:cubicBezTo>
                <a:cubicBezTo>
                  <a:pt x="40" y="88"/>
                  <a:pt x="40" y="79"/>
                  <a:pt x="45" y="73"/>
                </a:cubicBezTo>
                <a:cubicBezTo>
                  <a:pt x="62" y="57"/>
                  <a:pt x="78" y="41"/>
                  <a:pt x="94" y="25"/>
                </a:cubicBezTo>
                <a:cubicBezTo>
                  <a:pt x="99" y="20"/>
                  <a:pt x="98" y="14"/>
                  <a:pt x="93" y="8"/>
                </a:cubicBezTo>
                <a:cubicBezTo>
                  <a:pt x="91" y="6"/>
                  <a:pt x="91" y="6"/>
                  <a:pt x="91" y="6"/>
                </a:cubicBezTo>
                <a:cubicBezTo>
                  <a:pt x="85" y="0"/>
                  <a:pt x="77" y="1"/>
                  <a:pt x="71" y="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45714" tIns="22857" rIns="45714" bIns="22857" numCol="1" anchor="t" anchorCtr="0" compatLnSpc="1">
            <a:prstTxWarp prst="textNoShape">
              <a:avLst/>
            </a:prstTxWarp>
          </a:bodyPr>
          <a:lstStyle/>
          <a:p>
            <a:endParaRPr lang="en-GB" sz="700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BDF829D-5AD0-EBBA-3B85-850BC5488E53}"/>
              </a:ext>
            </a:extLst>
          </p:cNvPr>
          <p:cNvSpPr/>
          <p:nvPr/>
        </p:nvSpPr>
        <p:spPr>
          <a:xfrm rot="8124070">
            <a:off x="5845130" y="3536279"/>
            <a:ext cx="477110" cy="2814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/>
          </a:p>
        </p:txBody>
      </p:sp>
      <p:sp>
        <p:nvSpPr>
          <p:cNvPr id="21" name="Freeform 166">
            <a:extLst>
              <a:ext uri="{FF2B5EF4-FFF2-40B4-BE49-F238E27FC236}">
                <a16:creationId xmlns:a16="http://schemas.microsoft.com/office/drawing/2014/main" id="{80BCCC04-7379-1679-FE0F-665FD222AB17}"/>
              </a:ext>
            </a:extLst>
          </p:cNvPr>
          <p:cNvSpPr>
            <a:spLocks/>
          </p:cNvSpPr>
          <p:nvPr/>
        </p:nvSpPr>
        <p:spPr bwMode="auto">
          <a:xfrm rot="7915561" flipH="1">
            <a:off x="5943032" y="3478816"/>
            <a:ext cx="256501" cy="428779"/>
          </a:xfrm>
          <a:custGeom>
            <a:avLst/>
            <a:gdLst>
              <a:gd name="T0" fmla="*/ 71 w 99"/>
              <a:gd name="T1" fmla="*/ 7 h 166"/>
              <a:gd name="T2" fmla="*/ 5 w 99"/>
              <a:gd name="T3" fmla="*/ 73 h 166"/>
              <a:gd name="T4" fmla="*/ 5 w 99"/>
              <a:gd name="T5" fmla="*/ 93 h 166"/>
              <a:gd name="T6" fmla="*/ 71 w 99"/>
              <a:gd name="T7" fmla="*/ 159 h 166"/>
              <a:gd name="T8" fmla="*/ 91 w 99"/>
              <a:gd name="T9" fmla="*/ 160 h 166"/>
              <a:gd name="T10" fmla="*/ 93 w 99"/>
              <a:gd name="T11" fmla="*/ 158 h 166"/>
              <a:gd name="T12" fmla="*/ 94 w 99"/>
              <a:gd name="T13" fmla="*/ 142 h 166"/>
              <a:gd name="T14" fmla="*/ 45 w 99"/>
              <a:gd name="T15" fmla="*/ 93 h 166"/>
              <a:gd name="T16" fmla="*/ 45 w 99"/>
              <a:gd name="T17" fmla="*/ 73 h 166"/>
              <a:gd name="T18" fmla="*/ 94 w 99"/>
              <a:gd name="T19" fmla="*/ 25 h 166"/>
              <a:gd name="T20" fmla="*/ 93 w 99"/>
              <a:gd name="T21" fmla="*/ 8 h 166"/>
              <a:gd name="T22" fmla="*/ 91 w 99"/>
              <a:gd name="T23" fmla="*/ 6 h 166"/>
              <a:gd name="T24" fmla="*/ 71 w 99"/>
              <a:gd name="T25" fmla="*/ 7 h 1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9" h="166">
                <a:moveTo>
                  <a:pt x="71" y="7"/>
                </a:moveTo>
                <a:cubicBezTo>
                  <a:pt x="5" y="73"/>
                  <a:pt x="5" y="73"/>
                  <a:pt x="5" y="73"/>
                </a:cubicBezTo>
                <a:cubicBezTo>
                  <a:pt x="0" y="79"/>
                  <a:pt x="0" y="88"/>
                  <a:pt x="5" y="93"/>
                </a:cubicBezTo>
                <a:cubicBezTo>
                  <a:pt x="71" y="159"/>
                  <a:pt x="71" y="159"/>
                  <a:pt x="71" y="159"/>
                </a:cubicBezTo>
                <a:cubicBezTo>
                  <a:pt x="77" y="165"/>
                  <a:pt x="85" y="166"/>
                  <a:pt x="91" y="160"/>
                </a:cubicBezTo>
                <a:cubicBezTo>
                  <a:pt x="93" y="158"/>
                  <a:pt x="93" y="158"/>
                  <a:pt x="93" y="158"/>
                </a:cubicBezTo>
                <a:cubicBezTo>
                  <a:pt x="98" y="152"/>
                  <a:pt x="99" y="146"/>
                  <a:pt x="94" y="142"/>
                </a:cubicBezTo>
                <a:cubicBezTo>
                  <a:pt x="78" y="126"/>
                  <a:pt x="62" y="109"/>
                  <a:pt x="45" y="93"/>
                </a:cubicBezTo>
                <a:cubicBezTo>
                  <a:pt x="40" y="88"/>
                  <a:pt x="40" y="79"/>
                  <a:pt x="45" y="73"/>
                </a:cubicBezTo>
                <a:cubicBezTo>
                  <a:pt x="62" y="57"/>
                  <a:pt x="78" y="41"/>
                  <a:pt x="94" y="25"/>
                </a:cubicBezTo>
                <a:cubicBezTo>
                  <a:pt x="99" y="20"/>
                  <a:pt x="98" y="14"/>
                  <a:pt x="93" y="8"/>
                </a:cubicBezTo>
                <a:cubicBezTo>
                  <a:pt x="91" y="6"/>
                  <a:pt x="91" y="6"/>
                  <a:pt x="91" y="6"/>
                </a:cubicBezTo>
                <a:cubicBezTo>
                  <a:pt x="85" y="0"/>
                  <a:pt x="77" y="1"/>
                  <a:pt x="71" y="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45714" tIns="22857" rIns="45714" bIns="22857" numCol="1" anchor="t" anchorCtr="0" compatLnSpc="1">
            <a:prstTxWarp prst="textNoShape">
              <a:avLst/>
            </a:prstTxWarp>
          </a:bodyPr>
          <a:lstStyle/>
          <a:p>
            <a:endParaRPr lang="en-GB" sz="700" dirty="0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4069AB1D-787F-4119-8EC4-41C6746DD597}"/>
              </a:ext>
            </a:extLst>
          </p:cNvPr>
          <p:cNvCxnSpPr>
            <a:cxnSpLocks/>
          </p:cNvCxnSpPr>
          <p:nvPr/>
        </p:nvCxnSpPr>
        <p:spPr>
          <a:xfrm flipH="1">
            <a:off x="6659966" y="3832926"/>
            <a:ext cx="5532034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5DF28583-4228-A454-2715-7D468E082FFE}"/>
              </a:ext>
            </a:extLst>
          </p:cNvPr>
          <p:cNvSpPr txBox="1">
            <a:spLocks/>
          </p:cNvSpPr>
          <p:nvPr/>
        </p:nvSpPr>
        <p:spPr>
          <a:xfrm>
            <a:off x="7452593" y="2927756"/>
            <a:ext cx="1513212" cy="378507"/>
          </a:xfrm>
          <a:prstGeom prst="rect">
            <a:avLst/>
          </a:prstGeom>
          <a:noFill/>
        </p:spPr>
        <p:txBody>
          <a:bodyPr vert="horz" wrap="none" lIns="54848" tIns="27424" rIns="54848" bIns="27424" rtlCol="0">
            <a:noAutofit/>
          </a:bodyPr>
          <a:lstStyle/>
          <a:p>
            <a:pPr>
              <a:buSzPct val="100000"/>
            </a:pPr>
            <a:r>
              <a:rPr lang="en-IN" b="1" dirty="0">
                <a:solidFill>
                  <a:schemeClr val="accent2"/>
                </a:solidFill>
              </a:rPr>
              <a:t>Titl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8396F080-E56A-A4C2-2282-86803551DC99}"/>
              </a:ext>
            </a:extLst>
          </p:cNvPr>
          <p:cNvSpPr txBox="1">
            <a:spLocks/>
          </p:cNvSpPr>
          <p:nvPr/>
        </p:nvSpPr>
        <p:spPr>
          <a:xfrm>
            <a:off x="9275697" y="2927735"/>
            <a:ext cx="2421783" cy="332383"/>
          </a:xfrm>
          <a:prstGeom prst="rect">
            <a:avLst/>
          </a:prstGeom>
          <a:noFill/>
        </p:spPr>
        <p:txBody>
          <a:bodyPr vert="horz" lIns="54848" tIns="27424" rIns="54848" bIns="27424" rtlCol="0">
            <a:spAutoFit/>
          </a:bodyPr>
          <a:lstStyle/>
          <a:p>
            <a:pPr>
              <a:buSzPct val="100000"/>
            </a:pPr>
            <a:r>
              <a:rPr lang="en-US" dirty="0"/>
              <a:t>Insert Text Here</a:t>
            </a:r>
          </a:p>
        </p:txBody>
      </p:sp>
      <p:sp>
        <p:nvSpPr>
          <p:cNvPr id="25" name="Freeform 14">
            <a:extLst>
              <a:ext uri="{FF2B5EF4-FFF2-40B4-BE49-F238E27FC236}">
                <a16:creationId xmlns:a16="http://schemas.microsoft.com/office/drawing/2014/main" id="{2D005962-BCB8-26C6-4520-810E948955CB}"/>
              </a:ext>
            </a:extLst>
          </p:cNvPr>
          <p:cNvSpPr/>
          <p:nvPr/>
        </p:nvSpPr>
        <p:spPr>
          <a:xfrm rot="8100000">
            <a:off x="6068292" y="2546130"/>
            <a:ext cx="1141757" cy="1141758"/>
          </a:xfrm>
          <a:custGeom>
            <a:avLst/>
            <a:gdLst>
              <a:gd name="connsiteX0" fmla="*/ 59274 w 1214203"/>
              <a:gd name="connsiteY0" fmla="*/ 59274 h 1214204"/>
              <a:gd name="connsiteX1" fmla="*/ 202371 w 1214203"/>
              <a:gd name="connsiteY1" fmla="*/ 0 h 1214204"/>
              <a:gd name="connsiteX2" fmla="*/ 1011832 w 1214203"/>
              <a:gd name="connsiteY2" fmla="*/ 1 h 1214204"/>
              <a:gd name="connsiteX3" fmla="*/ 1214203 w 1214203"/>
              <a:gd name="connsiteY3" fmla="*/ 202372 h 1214204"/>
              <a:gd name="connsiteX4" fmla="*/ 1214203 w 1214203"/>
              <a:gd name="connsiteY4" fmla="*/ 1011833 h 1214204"/>
              <a:gd name="connsiteX5" fmla="*/ 1011832 w 1214203"/>
              <a:gd name="connsiteY5" fmla="*/ 1214204 h 1214204"/>
              <a:gd name="connsiteX6" fmla="*/ 202371 w 1214203"/>
              <a:gd name="connsiteY6" fmla="*/ 1214204 h 1214204"/>
              <a:gd name="connsiteX7" fmla="*/ 0 w 1214203"/>
              <a:gd name="connsiteY7" fmla="*/ 1011833 h 1214204"/>
              <a:gd name="connsiteX8" fmla="*/ 0 w 1214203"/>
              <a:gd name="connsiteY8" fmla="*/ 202371 h 1214204"/>
              <a:gd name="connsiteX9" fmla="*/ 59274 w 1214203"/>
              <a:gd name="connsiteY9" fmla="*/ 59274 h 1214204"/>
              <a:gd name="connsiteX10" fmla="*/ 121790 w 1214203"/>
              <a:gd name="connsiteY10" fmla="*/ 121791 h 1214204"/>
              <a:gd name="connsiteX11" fmla="*/ 69281 w 1214203"/>
              <a:gd name="connsiteY11" fmla="*/ 248559 h 1214204"/>
              <a:gd name="connsiteX12" fmla="*/ 69281 w 1214203"/>
              <a:gd name="connsiteY12" fmla="*/ 965646 h 1214204"/>
              <a:gd name="connsiteX13" fmla="*/ 248556 w 1214203"/>
              <a:gd name="connsiteY13" fmla="*/ 1144922 h 1214204"/>
              <a:gd name="connsiteX14" fmla="*/ 965645 w 1214203"/>
              <a:gd name="connsiteY14" fmla="*/ 1144923 h 1214204"/>
              <a:gd name="connsiteX15" fmla="*/ 1144922 w 1214203"/>
              <a:gd name="connsiteY15" fmla="*/ 965646 h 1214204"/>
              <a:gd name="connsiteX16" fmla="*/ 1144920 w 1214203"/>
              <a:gd name="connsiteY16" fmla="*/ 248558 h 1214204"/>
              <a:gd name="connsiteX17" fmla="*/ 965644 w 1214203"/>
              <a:gd name="connsiteY17" fmla="*/ 69283 h 1214204"/>
              <a:gd name="connsiteX18" fmla="*/ 248558 w 1214203"/>
              <a:gd name="connsiteY18" fmla="*/ 69283 h 1214204"/>
              <a:gd name="connsiteX19" fmla="*/ 121790 w 1214203"/>
              <a:gd name="connsiteY19" fmla="*/ 121791 h 12142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4203" h="1214204">
                <a:moveTo>
                  <a:pt x="59274" y="59274"/>
                </a:moveTo>
                <a:cubicBezTo>
                  <a:pt x="95895" y="22652"/>
                  <a:pt x="146488" y="1"/>
                  <a:pt x="202371" y="0"/>
                </a:cubicBezTo>
                <a:lnTo>
                  <a:pt x="1011832" y="1"/>
                </a:lnTo>
                <a:cubicBezTo>
                  <a:pt x="1123598" y="0"/>
                  <a:pt x="1214203" y="90605"/>
                  <a:pt x="1214203" y="202372"/>
                </a:cubicBezTo>
                <a:lnTo>
                  <a:pt x="1214203" y="1011833"/>
                </a:lnTo>
                <a:cubicBezTo>
                  <a:pt x="1214202" y="1123599"/>
                  <a:pt x="1123597" y="1214204"/>
                  <a:pt x="1011832" y="1214204"/>
                </a:cubicBezTo>
                <a:lnTo>
                  <a:pt x="202371" y="1214204"/>
                </a:lnTo>
                <a:cubicBezTo>
                  <a:pt x="90605" y="1214204"/>
                  <a:pt x="0" y="1123599"/>
                  <a:pt x="0" y="1011833"/>
                </a:cubicBezTo>
                <a:lnTo>
                  <a:pt x="0" y="202371"/>
                </a:lnTo>
                <a:cubicBezTo>
                  <a:pt x="0" y="146489"/>
                  <a:pt x="22651" y="95896"/>
                  <a:pt x="59274" y="59274"/>
                </a:cubicBezTo>
                <a:close/>
                <a:moveTo>
                  <a:pt x="121790" y="121791"/>
                </a:moveTo>
                <a:cubicBezTo>
                  <a:pt x="89348" y="154234"/>
                  <a:pt x="69281" y="199054"/>
                  <a:pt x="69281" y="248559"/>
                </a:cubicBezTo>
                <a:lnTo>
                  <a:pt x="69281" y="965646"/>
                </a:lnTo>
                <a:cubicBezTo>
                  <a:pt x="69280" y="1064656"/>
                  <a:pt x="149545" y="1144923"/>
                  <a:pt x="248556" y="1144922"/>
                </a:cubicBezTo>
                <a:lnTo>
                  <a:pt x="965645" y="1144923"/>
                </a:lnTo>
                <a:cubicBezTo>
                  <a:pt x="1064656" y="1144922"/>
                  <a:pt x="1144920" y="1064657"/>
                  <a:pt x="1144922" y="965646"/>
                </a:cubicBezTo>
                <a:lnTo>
                  <a:pt x="1144920" y="248558"/>
                </a:lnTo>
                <a:cubicBezTo>
                  <a:pt x="1144920" y="149548"/>
                  <a:pt x="1064655" y="69283"/>
                  <a:pt x="965644" y="69283"/>
                </a:cubicBezTo>
                <a:lnTo>
                  <a:pt x="248558" y="69283"/>
                </a:lnTo>
                <a:cubicBezTo>
                  <a:pt x="199052" y="69283"/>
                  <a:pt x="154232" y="89347"/>
                  <a:pt x="121790" y="121791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 dirty="0"/>
          </a:p>
        </p:txBody>
      </p:sp>
      <p:sp>
        <p:nvSpPr>
          <p:cNvPr id="26" name="Freeform 15">
            <a:extLst>
              <a:ext uri="{FF2B5EF4-FFF2-40B4-BE49-F238E27FC236}">
                <a16:creationId xmlns:a16="http://schemas.microsoft.com/office/drawing/2014/main" id="{611F4B4A-CD35-E5B7-AD92-3A2682DA742B}"/>
              </a:ext>
            </a:extLst>
          </p:cNvPr>
          <p:cNvSpPr/>
          <p:nvPr/>
        </p:nvSpPr>
        <p:spPr>
          <a:xfrm rot="8100000">
            <a:off x="6225621" y="2703454"/>
            <a:ext cx="827103" cy="827104"/>
          </a:xfrm>
          <a:custGeom>
            <a:avLst/>
            <a:gdLst>
              <a:gd name="connsiteX0" fmla="*/ 42938 w 879584"/>
              <a:gd name="connsiteY0" fmla="*/ 42939 h 879585"/>
              <a:gd name="connsiteX1" fmla="*/ 146601 w 879584"/>
              <a:gd name="connsiteY1" fmla="*/ 1 h 879585"/>
              <a:gd name="connsiteX2" fmla="*/ 732983 w 879584"/>
              <a:gd name="connsiteY2" fmla="*/ 0 h 879585"/>
              <a:gd name="connsiteX3" fmla="*/ 879584 w 879584"/>
              <a:gd name="connsiteY3" fmla="*/ 146601 h 879585"/>
              <a:gd name="connsiteX4" fmla="*/ 879584 w 879584"/>
              <a:gd name="connsiteY4" fmla="*/ 732984 h 879585"/>
              <a:gd name="connsiteX5" fmla="*/ 732983 w 879584"/>
              <a:gd name="connsiteY5" fmla="*/ 879585 h 879585"/>
              <a:gd name="connsiteX6" fmla="*/ 146601 w 879584"/>
              <a:gd name="connsiteY6" fmla="*/ 879584 h 879585"/>
              <a:gd name="connsiteX7" fmla="*/ 0 w 879584"/>
              <a:gd name="connsiteY7" fmla="*/ 732983 h 879585"/>
              <a:gd name="connsiteX8" fmla="*/ 0 w 879584"/>
              <a:gd name="connsiteY8" fmla="*/ 146602 h 879585"/>
              <a:gd name="connsiteX9" fmla="*/ 42938 w 879584"/>
              <a:gd name="connsiteY9" fmla="*/ 42939 h 8795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79584" h="879585">
                <a:moveTo>
                  <a:pt x="42938" y="42939"/>
                </a:moveTo>
                <a:cubicBezTo>
                  <a:pt x="69468" y="16410"/>
                  <a:pt x="106119" y="1"/>
                  <a:pt x="146601" y="1"/>
                </a:cubicBezTo>
                <a:lnTo>
                  <a:pt x="732983" y="0"/>
                </a:lnTo>
                <a:cubicBezTo>
                  <a:pt x="813950" y="1"/>
                  <a:pt x="879584" y="65636"/>
                  <a:pt x="879584" y="146601"/>
                </a:cubicBezTo>
                <a:lnTo>
                  <a:pt x="879584" y="732984"/>
                </a:lnTo>
                <a:cubicBezTo>
                  <a:pt x="879584" y="813950"/>
                  <a:pt x="813949" y="879585"/>
                  <a:pt x="732983" y="879585"/>
                </a:cubicBezTo>
                <a:lnTo>
                  <a:pt x="146601" y="879584"/>
                </a:lnTo>
                <a:cubicBezTo>
                  <a:pt x="65635" y="879583"/>
                  <a:pt x="1" y="813950"/>
                  <a:pt x="0" y="732983"/>
                </a:cubicBezTo>
                <a:lnTo>
                  <a:pt x="0" y="146602"/>
                </a:lnTo>
                <a:cubicBezTo>
                  <a:pt x="0" y="106119"/>
                  <a:pt x="16408" y="69469"/>
                  <a:pt x="42938" y="42939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/>
          </a:p>
        </p:txBody>
      </p:sp>
      <p:sp>
        <p:nvSpPr>
          <p:cNvPr id="27" name="Freeform 22">
            <a:extLst>
              <a:ext uri="{FF2B5EF4-FFF2-40B4-BE49-F238E27FC236}">
                <a16:creationId xmlns:a16="http://schemas.microsoft.com/office/drawing/2014/main" id="{C48A811D-8892-602C-5DEA-11B597BC55DE}"/>
              </a:ext>
            </a:extLst>
          </p:cNvPr>
          <p:cNvSpPr/>
          <p:nvPr/>
        </p:nvSpPr>
        <p:spPr>
          <a:xfrm rot="8100000">
            <a:off x="6068292" y="4828221"/>
            <a:ext cx="1141757" cy="1141758"/>
          </a:xfrm>
          <a:custGeom>
            <a:avLst/>
            <a:gdLst>
              <a:gd name="connsiteX0" fmla="*/ 59274 w 1214203"/>
              <a:gd name="connsiteY0" fmla="*/ 59274 h 1214204"/>
              <a:gd name="connsiteX1" fmla="*/ 202371 w 1214203"/>
              <a:gd name="connsiteY1" fmla="*/ 0 h 1214204"/>
              <a:gd name="connsiteX2" fmla="*/ 1011832 w 1214203"/>
              <a:gd name="connsiteY2" fmla="*/ 1 h 1214204"/>
              <a:gd name="connsiteX3" fmla="*/ 1214203 w 1214203"/>
              <a:gd name="connsiteY3" fmla="*/ 202372 h 1214204"/>
              <a:gd name="connsiteX4" fmla="*/ 1214203 w 1214203"/>
              <a:gd name="connsiteY4" fmla="*/ 1011833 h 1214204"/>
              <a:gd name="connsiteX5" fmla="*/ 1011832 w 1214203"/>
              <a:gd name="connsiteY5" fmla="*/ 1214204 h 1214204"/>
              <a:gd name="connsiteX6" fmla="*/ 202371 w 1214203"/>
              <a:gd name="connsiteY6" fmla="*/ 1214204 h 1214204"/>
              <a:gd name="connsiteX7" fmla="*/ 0 w 1214203"/>
              <a:gd name="connsiteY7" fmla="*/ 1011833 h 1214204"/>
              <a:gd name="connsiteX8" fmla="*/ 0 w 1214203"/>
              <a:gd name="connsiteY8" fmla="*/ 202371 h 1214204"/>
              <a:gd name="connsiteX9" fmla="*/ 59274 w 1214203"/>
              <a:gd name="connsiteY9" fmla="*/ 59274 h 1214204"/>
              <a:gd name="connsiteX10" fmla="*/ 121790 w 1214203"/>
              <a:gd name="connsiteY10" fmla="*/ 121791 h 1214204"/>
              <a:gd name="connsiteX11" fmla="*/ 69281 w 1214203"/>
              <a:gd name="connsiteY11" fmla="*/ 248559 h 1214204"/>
              <a:gd name="connsiteX12" fmla="*/ 69281 w 1214203"/>
              <a:gd name="connsiteY12" fmla="*/ 965646 h 1214204"/>
              <a:gd name="connsiteX13" fmla="*/ 248556 w 1214203"/>
              <a:gd name="connsiteY13" fmla="*/ 1144922 h 1214204"/>
              <a:gd name="connsiteX14" fmla="*/ 965645 w 1214203"/>
              <a:gd name="connsiteY14" fmla="*/ 1144923 h 1214204"/>
              <a:gd name="connsiteX15" fmla="*/ 1144922 w 1214203"/>
              <a:gd name="connsiteY15" fmla="*/ 965646 h 1214204"/>
              <a:gd name="connsiteX16" fmla="*/ 1144920 w 1214203"/>
              <a:gd name="connsiteY16" fmla="*/ 248558 h 1214204"/>
              <a:gd name="connsiteX17" fmla="*/ 965644 w 1214203"/>
              <a:gd name="connsiteY17" fmla="*/ 69283 h 1214204"/>
              <a:gd name="connsiteX18" fmla="*/ 248558 w 1214203"/>
              <a:gd name="connsiteY18" fmla="*/ 69283 h 1214204"/>
              <a:gd name="connsiteX19" fmla="*/ 121790 w 1214203"/>
              <a:gd name="connsiteY19" fmla="*/ 121791 h 12142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4203" h="1214204">
                <a:moveTo>
                  <a:pt x="59274" y="59274"/>
                </a:moveTo>
                <a:cubicBezTo>
                  <a:pt x="95895" y="22652"/>
                  <a:pt x="146488" y="1"/>
                  <a:pt x="202371" y="0"/>
                </a:cubicBezTo>
                <a:lnTo>
                  <a:pt x="1011832" y="1"/>
                </a:lnTo>
                <a:cubicBezTo>
                  <a:pt x="1123598" y="0"/>
                  <a:pt x="1214203" y="90605"/>
                  <a:pt x="1214203" y="202372"/>
                </a:cubicBezTo>
                <a:lnTo>
                  <a:pt x="1214203" y="1011833"/>
                </a:lnTo>
                <a:cubicBezTo>
                  <a:pt x="1214202" y="1123599"/>
                  <a:pt x="1123597" y="1214204"/>
                  <a:pt x="1011832" y="1214204"/>
                </a:cubicBezTo>
                <a:lnTo>
                  <a:pt x="202371" y="1214204"/>
                </a:lnTo>
                <a:cubicBezTo>
                  <a:pt x="90605" y="1214204"/>
                  <a:pt x="0" y="1123599"/>
                  <a:pt x="0" y="1011833"/>
                </a:cubicBezTo>
                <a:lnTo>
                  <a:pt x="0" y="202371"/>
                </a:lnTo>
                <a:cubicBezTo>
                  <a:pt x="0" y="146489"/>
                  <a:pt x="22651" y="95896"/>
                  <a:pt x="59274" y="59274"/>
                </a:cubicBezTo>
                <a:close/>
                <a:moveTo>
                  <a:pt x="121790" y="121791"/>
                </a:moveTo>
                <a:cubicBezTo>
                  <a:pt x="89348" y="154234"/>
                  <a:pt x="69281" y="199054"/>
                  <a:pt x="69281" y="248559"/>
                </a:cubicBezTo>
                <a:lnTo>
                  <a:pt x="69281" y="965646"/>
                </a:lnTo>
                <a:cubicBezTo>
                  <a:pt x="69280" y="1064656"/>
                  <a:pt x="149545" y="1144923"/>
                  <a:pt x="248556" y="1144922"/>
                </a:cubicBezTo>
                <a:lnTo>
                  <a:pt x="965645" y="1144923"/>
                </a:lnTo>
                <a:cubicBezTo>
                  <a:pt x="1064656" y="1144922"/>
                  <a:pt x="1144920" y="1064657"/>
                  <a:pt x="1144922" y="965646"/>
                </a:cubicBezTo>
                <a:lnTo>
                  <a:pt x="1144920" y="248558"/>
                </a:lnTo>
                <a:cubicBezTo>
                  <a:pt x="1144920" y="149548"/>
                  <a:pt x="1064655" y="69283"/>
                  <a:pt x="965644" y="69283"/>
                </a:cubicBezTo>
                <a:lnTo>
                  <a:pt x="248558" y="69283"/>
                </a:lnTo>
                <a:cubicBezTo>
                  <a:pt x="199052" y="69283"/>
                  <a:pt x="154232" y="89347"/>
                  <a:pt x="121790" y="121791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/>
          </a:p>
        </p:txBody>
      </p:sp>
      <p:sp>
        <p:nvSpPr>
          <p:cNvPr id="28" name="Freeform 23">
            <a:extLst>
              <a:ext uri="{FF2B5EF4-FFF2-40B4-BE49-F238E27FC236}">
                <a16:creationId xmlns:a16="http://schemas.microsoft.com/office/drawing/2014/main" id="{D0265BC2-795C-1DC7-A118-6E1C82E4AA30}"/>
              </a:ext>
            </a:extLst>
          </p:cNvPr>
          <p:cNvSpPr/>
          <p:nvPr/>
        </p:nvSpPr>
        <p:spPr>
          <a:xfrm rot="8100000">
            <a:off x="6225621" y="4985548"/>
            <a:ext cx="827103" cy="827104"/>
          </a:xfrm>
          <a:custGeom>
            <a:avLst/>
            <a:gdLst>
              <a:gd name="connsiteX0" fmla="*/ 42938 w 879584"/>
              <a:gd name="connsiteY0" fmla="*/ 42939 h 879585"/>
              <a:gd name="connsiteX1" fmla="*/ 146601 w 879584"/>
              <a:gd name="connsiteY1" fmla="*/ 1 h 879585"/>
              <a:gd name="connsiteX2" fmla="*/ 732983 w 879584"/>
              <a:gd name="connsiteY2" fmla="*/ 0 h 879585"/>
              <a:gd name="connsiteX3" fmla="*/ 879584 w 879584"/>
              <a:gd name="connsiteY3" fmla="*/ 146601 h 879585"/>
              <a:gd name="connsiteX4" fmla="*/ 879584 w 879584"/>
              <a:gd name="connsiteY4" fmla="*/ 732984 h 879585"/>
              <a:gd name="connsiteX5" fmla="*/ 732983 w 879584"/>
              <a:gd name="connsiteY5" fmla="*/ 879585 h 879585"/>
              <a:gd name="connsiteX6" fmla="*/ 146601 w 879584"/>
              <a:gd name="connsiteY6" fmla="*/ 879584 h 879585"/>
              <a:gd name="connsiteX7" fmla="*/ 0 w 879584"/>
              <a:gd name="connsiteY7" fmla="*/ 732983 h 879585"/>
              <a:gd name="connsiteX8" fmla="*/ 0 w 879584"/>
              <a:gd name="connsiteY8" fmla="*/ 146602 h 879585"/>
              <a:gd name="connsiteX9" fmla="*/ 42938 w 879584"/>
              <a:gd name="connsiteY9" fmla="*/ 42939 h 8795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79584" h="879585">
                <a:moveTo>
                  <a:pt x="42938" y="42939"/>
                </a:moveTo>
                <a:cubicBezTo>
                  <a:pt x="69468" y="16410"/>
                  <a:pt x="106119" y="1"/>
                  <a:pt x="146601" y="1"/>
                </a:cubicBezTo>
                <a:lnTo>
                  <a:pt x="732983" y="0"/>
                </a:lnTo>
                <a:cubicBezTo>
                  <a:pt x="813950" y="1"/>
                  <a:pt x="879584" y="65636"/>
                  <a:pt x="879584" y="146601"/>
                </a:cubicBezTo>
                <a:lnTo>
                  <a:pt x="879584" y="732984"/>
                </a:lnTo>
                <a:cubicBezTo>
                  <a:pt x="879584" y="813950"/>
                  <a:pt x="813949" y="879585"/>
                  <a:pt x="732983" y="879585"/>
                </a:cubicBezTo>
                <a:lnTo>
                  <a:pt x="146601" y="879584"/>
                </a:lnTo>
                <a:cubicBezTo>
                  <a:pt x="65635" y="879583"/>
                  <a:pt x="1" y="813950"/>
                  <a:pt x="0" y="732983"/>
                </a:cubicBezTo>
                <a:lnTo>
                  <a:pt x="0" y="146602"/>
                </a:lnTo>
                <a:cubicBezTo>
                  <a:pt x="0" y="106119"/>
                  <a:pt x="16408" y="69469"/>
                  <a:pt x="42938" y="42939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 dirty="0"/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752451A0-E748-3C87-5112-4AB697B3FB65}"/>
              </a:ext>
            </a:extLst>
          </p:cNvPr>
          <p:cNvCxnSpPr>
            <a:cxnSpLocks/>
          </p:cNvCxnSpPr>
          <p:nvPr/>
        </p:nvCxnSpPr>
        <p:spPr>
          <a:xfrm flipH="1">
            <a:off x="6669491" y="6121483"/>
            <a:ext cx="5532034" cy="3059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9766136E-B1FD-0480-40DE-E630910C3A03}"/>
              </a:ext>
            </a:extLst>
          </p:cNvPr>
          <p:cNvSpPr txBox="1">
            <a:spLocks/>
          </p:cNvSpPr>
          <p:nvPr/>
        </p:nvSpPr>
        <p:spPr>
          <a:xfrm>
            <a:off x="7452593" y="5217540"/>
            <a:ext cx="1513212" cy="363120"/>
          </a:xfrm>
          <a:prstGeom prst="rect">
            <a:avLst/>
          </a:prstGeom>
          <a:noFill/>
        </p:spPr>
        <p:txBody>
          <a:bodyPr vert="horz" lIns="54848" tIns="27424" rIns="54848" bIns="27424" rtlCol="0">
            <a:noAutofit/>
          </a:bodyPr>
          <a:lstStyle/>
          <a:p>
            <a:pPr>
              <a:buSzPct val="100000"/>
            </a:pPr>
            <a:r>
              <a:rPr lang="en-IN" b="1" dirty="0">
                <a:solidFill>
                  <a:schemeClr val="accent5"/>
                </a:solidFill>
              </a:rPr>
              <a:t>Title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691F74FD-E52F-385C-EE8A-306C932D8472}"/>
              </a:ext>
            </a:extLst>
          </p:cNvPr>
          <p:cNvSpPr txBox="1">
            <a:spLocks/>
          </p:cNvSpPr>
          <p:nvPr/>
        </p:nvSpPr>
        <p:spPr>
          <a:xfrm>
            <a:off x="9275697" y="5209826"/>
            <a:ext cx="2421783" cy="332383"/>
          </a:xfrm>
          <a:prstGeom prst="rect">
            <a:avLst/>
          </a:prstGeom>
          <a:noFill/>
        </p:spPr>
        <p:txBody>
          <a:bodyPr vert="horz" lIns="54848" tIns="27424" rIns="54848" bIns="27424" rtlCol="0">
            <a:spAutoFit/>
          </a:bodyPr>
          <a:lstStyle/>
          <a:p>
            <a:pPr>
              <a:buSzPct val="100000"/>
            </a:pPr>
            <a:r>
              <a:rPr lang="en-US" dirty="0"/>
              <a:t>Insert Text Here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12E5322-D537-EF8E-1D5D-882939786B02}"/>
              </a:ext>
            </a:extLst>
          </p:cNvPr>
          <p:cNvSpPr txBox="1">
            <a:spLocks/>
          </p:cNvSpPr>
          <p:nvPr/>
        </p:nvSpPr>
        <p:spPr>
          <a:xfrm>
            <a:off x="5374895" y="1798283"/>
            <a:ext cx="285335" cy="307777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buSzPct val="100000"/>
            </a:pPr>
            <a:r>
              <a:rPr lang="en-IN" sz="2000" b="1" dirty="0">
                <a:solidFill>
                  <a:schemeClr val="bg1"/>
                </a:solidFill>
              </a:rPr>
              <a:t>01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647E3485-F250-8F1D-BA59-C7E858C27FCE}"/>
              </a:ext>
            </a:extLst>
          </p:cNvPr>
          <p:cNvSpPr txBox="1">
            <a:spLocks/>
          </p:cNvSpPr>
          <p:nvPr/>
        </p:nvSpPr>
        <p:spPr>
          <a:xfrm>
            <a:off x="6461239" y="2924646"/>
            <a:ext cx="285335" cy="307777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buSzPct val="100000"/>
            </a:pPr>
            <a:r>
              <a:rPr lang="en-IN" sz="2000" b="1" dirty="0">
                <a:solidFill>
                  <a:schemeClr val="bg1"/>
                </a:solidFill>
              </a:rPr>
              <a:t>02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96CD1DD3-A8A5-D5D2-228A-904F251D045B}"/>
              </a:ext>
            </a:extLst>
          </p:cNvPr>
          <p:cNvSpPr txBox="1">
            <a:spLocks/>
          </p:cNvSpPr>
          <p:nvPr/>
        </p:nvSpPr>
        <p:spPr>
          <a:xfrm>
            <a:off x="5374895" y="4080375"/>
            <a:ext cx="285335" cy="307777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buSzPct val="100000"/>
            </a:pPr>
            <a:r>
              <a:rPr lang="en-IN" sz="2000" b="1" dirty="0">
                <a:solidFill>
                  <a:schemeClr val="bg1"/>
                </a:solidFill>
              </a:rPr>
              <a:t>03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12A76043-D44D-92C5-9180-FEC2C111FC5D}"/>
              </a:ext>
            </a:extLst>
          </p:cNvPr>
          <p:cNvSpPr txBox="1">
            <a:spLocks/>
          </p:cNvSpPr>
          <p:nvPr/>
        </p:nvSpPr>
        <p:spPr>
          <a:xfrm>
            <a:off x="6461239" y="5206740"/>
            <a:ext cx="285335" cy="307777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buSzPct val="100000"/>
            </a:pPr>
            <a:r>
              <a:rPr lang="en-IN" sz="2000" b="1" dirty="0">
                <a:solidFill>
                  <a:schemeClr val="bg1"/>
                </a:solidFill>
              </a:rPr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1607403357"/>
      </p:ext>
    </p:extLst>
  </p:cSld>
  <p:clrMapOvr>
    <a:masterClrMapping/>
  </p:clrMapOvr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5D0B9B5-0C5E-5F22-0D1B-15465481BE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B4F2EEA3-4142-8271-E3E1-7CEDC60AC6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F2EEA3-4142-8271-E3E1-7CEDC60AC6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9C82F3D-011E-C800-CEE0-6A10CF1E29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Next Steps 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32113769-37A6-BF91-6686-E9C089C8DF82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96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7E080A6F-4D05-4085-A743-B0E38BDB7AD4}"/>
              </a:ext>
            </a:extLst>
          </p:cNvPr>
          <p:cNvSpPr>
            <a:spLocks/>
          </p:cNvSpPr>
          <p:nvPr/>
        </p:nvSpPr>
        <p:spPr>
          <a:xfrm>
            <a:off x="929217" y="4450791"/>
            <a:ext cx="2118784" cy="24622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r>
              <a:rPr lang="en-US" sz="1600" b="1" dirty="0">
                <a:sym typeface="Arial" panose="020B0604020202020204" pitchFamily="34" charset="0"/>
              </a:rPr>
              <a:t>Title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67395640-AB2F-4B6C-B309-BB0D6EFBE667}"/>
              </a:ext>
            </a:extLst>
          </p:cNvPr>
          <p:cNvSpPr>
            <a:spLocks/>
          </p:cNvSpPr>
          <p:nvPr/>
        </p:nvSpPr>
        <p:spPr>
          <a:xfrm>
            <a:off x="929217" y="4777107"/>
            <a:ext cx="2118784" cy="103618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0" marR="0" lvl="0" indent="0" algn="l" defTabSz="853821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Insert Text Here</a:t>
            </a:r>
          </a:p>
          <a:p>
            <a:pPr marL="0" marR="0" lvl="0" indent="0" algn="l" defTabSz="853821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endParaRPr kumimoji="0" lang="en-IN" sz="16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8" name="L-Shape 47">
            <a:extLst>
              <a:ext uri="{FF2B5EF4-FFF2-40B4-BE49-F238E27FC236}">
                <a16:creationId xmlns:a16="http://schemas.microsoft.com/office/drawing/2014/main" id="{D0ECA531-3DB2-44D9-B14D-7F0555C02F62}"/>
              </a:ext>
            </a:extLst>
          </p:cNvPr>
          <p:cNvSpPr/>
          <p:nvPr/>
        </p:nvSpPr>
        <p:spPr>
          <a:xfrm rot="5400000">
            <a:off x="895350" y="3732234"/>
            <a:ext cx="1828800" cy="2476500"/>
          </a:xfrm>
          <a:prstGeom prst="corner">
            <a:avLst>
              <a:gd name="adj1" fmla="val 13024"/>
              <a:gd name="adj2" fmla="val 14033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3" name="Right Triangle 52">
            <a:extLst>
              <a:ext uri="{FF2B5EF4-FFF2-40B4-BE49-F238E27FC236}">
                <a16:creationId xmlns:a16="http://schemas.microsoft.com/office/drawing/2014/main" id="{F80B56A9-AF8C-472F-98B7-735D445A169F}"/>
              </a:ext>
            </a:extLst>
          </p:cNvPr>
          <p:cNvSpPr>
            <a:spLocks noChangeAspect="1"/>
          </p:cNvSpPr>
          <p:nvPr/>
        </p:nvSpPr>
        <p:spPr>
          <a:xfrm rot="16200000">
            <a:off x="2729932" y="3600708"/>
            <a:ext cx="318068" cy="318068"/>
          </a:xfrm>
          <a:prstGeom prst="rt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" name="L-Shape 4">
            <a:extLst>
              <a:ext uri="{FF2B5EF4-FFF2-40B4-BE49-F238E27FC236}">
                <a16:creationId xmlns:a16="http://schemas.microsoft.com/office/drawing/2014/main" id="{23C87349-2BA9-4509-874B-5F6C9969540A}"/>
              </a:ext>
            </a:extLst>
          </p:cNvPr>
          <p:cNvSpPr/>
          <p:nvPr/>
        </p:nvSpPr>
        <p:spPr>
          <a:xfrm rot="5400000">
            <a:off x="3655428" y="2860111"/>
            <a:ext cx="1828800" cy="2658645"/>
          </a:xfrm>
          <a:prstGeom prst="corner">
            <a:avLst>
              <a:gd name="adj1" fmla="val 13024"/>
              <a:gd name="adj2" fmla="val 13512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53B9C801-0036-44A6-855D-0CD43E7687C7}"/>
              </a:ext>
            </a:extLst>
          </p:cNvPr>
          <p:cNvSpPr>
            <a:spLocks/>
          </p:cNvSpPr>
          <p:nvPr/>
        </p:nvSpPr>
        <p:spPr>
          <a:xfrm>
            <a:off x="3780367" y="3652505"/>
            <a:ext cx="2118784" cy="24622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r>
              <a:rPr lang="en-US" sz="1600" b="1">
                <a:sym typeface="Arial" panose="020B0604020202020204" pitchFamily="34" charset="0"/>
              </a:rPr>
              <a:t>Title</a:t>
            </a:r>
            <a:endParaRPr lang="en-US" sz="1600" b="1" dirty="0">
              <a:sym typeface="Arial" panose="020B0604020202020204" pitchFamily="34" charset="0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784E2F09-5C80-472C-A4D5-6066D1D0254A}"/>
              </a:ext>
            </a:extLst>
          </p:cNvPr>
          <p:cNvSpPr>
            <a:spLocks/>
          </p:cNvSpPr>
          <p:nvPr/>
        </p:nvSpPr>
        <p:spPr>
          <a:xfrm>
            <a:off x="3780367" y="3978821"/>
            <a:ext cx="2118784" cy="103618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0" marR="0" lvl="0" indent="0" algn="l" defTabSz="853821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Insert Text Here</a:t>
            </a:r>
          </a:p>
        </p:txBody>
      </p:sp>
      <p:sp>
        <p:nvSpPr>
          <p:cNvPr id="59" name="Right Triangle 58">
            <a:extLst>
              <a:ext uri="{FF2B5EF4-FFF2-40B4-BE49-F238E27FC236}">
                <a16:creationId xmlns:a16="http://schemas.microsoft.com/office/drawing/2014/main" id="{6216DBBF-9472-4F9C-B8DE-31DBFC6196A7}"/>
              </a:ext>
            </a:extLst>
          </p:cNvPr>
          <p:cNvSpPr>
            <a:spLocks noChangeAspect="1"/>
          </p:cNvSpPr>
          <p:nvPr/>
        </p:nvSpPr>
        <p:spPr>
          <a:xfrm rot="16200000">
            <a:off x="5581082" y="2836240"/>
            <a:ext cx="318068" cy="318068"/>
          </a:xfrm>
          <a:prstGeom prst="rt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EEFFDA04-5FB8-4ED6-BD8E-94E419C4656C}"/>
              </a:ext>
            </a:extLst>
          </p:cNvPr>
          <p:cNvSpPr>
            <a:spLocks/>
          </p:cNvSpPr>
          <p:nvPr/>
        </p:nvSpPr>
        <p:spPr>
          <a:xfrm>
            <a:off x="6625167" y="2894165"/>
            <a:ext cx="2118784" cy="24622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r>
              <a:rPr lang="en-US" sz="1600" b="1">
                <a:sym typeface="Arial" panose="020B0604020202020204" pitchFamily="34" charset="0"/>
              </a:rPr>
              <a:t>Title</a:t>
            </a:r>
            <a:endParaRPr lang="en-US" sz="1600" b="1" dirty="0">
              <a:sym typeface="Arial" panose="020B0604020202020204" pitchFamily="34" charset="0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5280F951-C3D9-40F9-8E60-1CEB25876165}"/>
              </a:ext>
            </a:extLst>
          </p:cNvPr>
          <p:cNvSpPr>
            <a:spLocks/>
          </p:cNvSpPr>
          <p:nvPr/>
        </p:nvSpPr>
        <p:spPr>
          <a:xfrm>
            <a:off x="6625167" y="3220481"/>
            <a:ext cx="2118784" cy="103618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0" marR="0" lvl="0" indent="0" algn="l" defTabSz="853821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Insert Text Here</a:t>
            </a:r>
          </a:p>
        </p:txBody>
      </p:sp>
      <p:sp>
        <p:nvSpPr>
          <p:cNvPr id="65" name="L-Shape 64">
            <a:extLst>
              <a:ext uri="{FF2B5EF4-FFF2-40B4-BE49-F238E27FC236}">
                <a16:creationId xmlns:a16="http://schemas.microsoft.com/office/drawing/2014/main" id="{F448FB8B-78E0-4DCF-AD59-9A327F3BFBE3}"/>
              </a:ext>
            </a:extLst>
          </p:cNvPr>
          <p:cNvSpPr/>
          <p:nvPr/>
        </p:nvSpPr>
        <p:spPr>
          <a:xfrm rot="5400000">
            <a:off x="6506577" y="2079061"/>
            <a:ext cx="1828800" cy="2658646"/>
          </a:xfrm>
          <a:prstGeom prst="corner">
            <a:avLst>
              <a:gd name="adj1" fmla="val 13024"/>
              <a:gd name="adj2" fmla="val 13512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7" name="Right Triangle 66">
            <a:extLst>
              <a:ext uri="{FF2B5EF4-FFF2-40B4-BE49-F238E27FC236}">
                <a16:creationId xmlns:a16="http://schemas.microsoft.com/office/drawing/2014/main" id="{2E3996D1-DB13-467A-9AE7-80B052C193C8}"/>
              </a:ext>
            </a:extLst>
          </p:cNvPr>
          <p:cNvSpPr>
            <a:spLocks noChangeAspect="1"/>
          </p:cNvSpPr>
          <p:nvPr/>
        </p:nvSpPr>
        <p:spPr>
          <a:xfrm rot="16200000">
            <a:off x="8432232" y="2070495"/>
            <a:ext cx="318068" cy="318068"/>
          </a:xfrm>
          <a:prstGeom prst="rtTriangl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B1C4C9E4-9FDF-4960-8B77-BF3EB9631357}"/>
              </a:ext>
            </a:extLst>
          </p:cNvPr>
          <p:cNvSpPr>
            <a:spLocks/>
          </p:cNvSpPr>
          <p:nvPr/>
        </p:nvSpPr>
        <p:spPr>
          <a:xfrm>
            <a:off x="9482667" y="2094065"/>
            <a:ext cx="2118784" cy="24622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r>
              <a:rPr lang="en-US" sz="1600" b="1">
                <a:sym typeface="Arial" panose="020B0604020202020204" pitchFamily="34" charset="0"/>
              </a:rPr>
              <a:t>Title</a:t>
            </a:r>
            <a:endParaRPr lang="en-US" sz="1600" b="1" dirty="0">
              <a:sym typeface="Arial" panose="020B0604020202020204" pitchFamily="34" charset="0"/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2C5D9408-63D2-4523-A720-4F982C33A04F}"/>
              </a:ext>
            </a:extLst>
          </p:cNvPr>
          <p:cNvSpPr>
            <a:spLocks/>
          </p:cNvSpPr>
          <p:nvPr/>
        </p:nvSpPr>
        <p:spPr>
          <a:xfrm>
            <a:off x="9482667" y="2420381"/>
            <a:ext cx="2118784" cy="103618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0" marR="0" lvl="0" indent="0" algn="l" defTabSz="853821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Insert Text</a:t>
            </a:r>
          </a:p>
        </p:txBody>
      </p:sp>
      <p:sp>
        <p:nvSpPr>
          <p:cNvPr id="73" name="L-Shape 72">
            <a:extLst>
              <a:ext uri="{FF2B5EF4-FFF2-40B4-BE49-F238E27FC236}">
                <a16:creationId xmlns:a16="http://schemas.microsoft.com/office/drawing/2014/main" id="{7F0FEE44-6CC5-4EB7-AAA6-3C856AD2A1FA}"/>
              </a:ext>
            </a:extLst>
          </p:cNvPr>
          <p:cNvSpPr/>
          <p:nvPr/>
        </p:nvSpPr>
        <p:spPr>
          <a:xfrm rot="5400000">
            <a:off x="9357728" y="1278961"/>
            <a:ext cx="1828800" cy="2658645"/>
          </a:xfrm>
          <a:prstGeom prst="corner">
            <a:avLst>
              <a:gd name="adj1" fmla="val 13024"/>
              <a:gd name="adj2" fmla="val 13512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5" name="Right Triangle 74">
            <a:extLst>
              <a:ext uri="{FF2B5EF4-FFF2-40B4-BE49-F238E27FC236}">
                <a16:creationId xmlns:a16="http://schemas.microsoft.com/office/drawing/2014/main" id="{26BCC36B-5CBC-48B9-BC49-8335D7FD7A8E}"/>
              </a:ext>
            </a:extLst>
          </p:cNvPr>
          <p:cNvSpPr>
            <a:spLocks noChangeAspect="1"/>
          </p:cNvSpPr>
          <p:nvPr/>
        </p:nvSpPr>
        <p:spPr>
          <a:xfrm rot="16200000">
            <a:off x="11283382" y="1258447"/>
            <a:ext cx="318068" cy="318068"/>
          </a:xfrm>
          <a:prstGeom prst="rt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8535624"/>
      </p:ext>
    </p:extLst>
  </p:cSld>
  <p:clrMapOvr>
    <a:masterClrMapping/>
  </p:clrMapOvr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030701-E7D2-A53E-5A4B-0EB6B601F0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716BFE9E-C76D-FBF3-2B69-8ABA2B922C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16BFE9E-C76D-FBF3-2B69-8ABA2B922C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A40925-4F90-1BDC-84A8-6A4DE48789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Next Steps 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ADD66B78-A908-1186-7164-F122BF4FE55E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97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" name="Shape0_20200729_183313">
            <a:extLst>
              <a:ext uri="{FF2B5EF4-FFF2-40B4-BE49-F238E27FC236}">
                <a16:creationId xmlns:a16="http://schemas.microsoft.com/office/drawing/2014/main" id="{76DD52D0-E4D3-DB77-9BB9-7B29408626CC}"/>
              </a:ext>
            </a:extLst>
          </p:cNvPr>
          <p:cNvSpPr/>
          <p:nvPr/>
        </p:nvSpPr>
        <p:spPr bwMode="auto">
          <a:xfrm>
            <a:off x="0" y="2882956"/>
            <a:ext cx="3054509" cy="191635"/>
          </a:xfrm>
          <a:prstGeom prst="rect">
            <a:avLst/>
          </a:prstGeom>
          <a:solidFill>
            <a:schemeClr val="accent1"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" name="Shape1_20200729_183313">
            <a:extLst>
              <a:ext uri="{FF2B5EF4-FFF2-40B4-BE49-F238E27FC236}">
                <a16:creationId xmlns:a16="http://schemas.microsoft.com/office/drawing/2014/main" id="{D54785D3-EE7D-B43D-B86A-76B24BE38C95}"/>
              </a:ext>
            </a:extLst>
          </p:cNvPr>
          <p:cNvSpPr/>
          <p:nvPr/>
        </p:nvSpPr>
        <p:spPr bwMode="auto">
          <a:xfrm>
            <a:off x="2446969" y="2711926"/>
            <a:ext cx="595534" cy="173090"/>
          </a:xfrm>
          <a:prstGeom prst="triangle">
            <a:avLst/>
          </a:prstGeom>
          <a:solidFill>
            <a:schemeClr val="accent1"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" name="Shape2_20200729_183313">
            <a:extLst>
              <a:ext uri="{FF2B5EF4-FFF2-40B4-BE49-F238E27FC236}">
                <a16:creationId xmlns:a16="http://schemas.microsoft.com/office/drawing/2014/main" id="{F79580D6-7C1E-E928-DE4D-5A73DF1DD73E}"/>
              </a:ext>
            </a:extLst>
          </p:cNvPr>
          <p:cNvSpPr/>
          <p:nvPr/>
        </p:nvSpPr>
        <p:spPr bwMode="auto">
          <a:xfrm rot="16200000">
            <a:off x="2560313" y="2349251"/>
            <a:ext cx="368846" cy="595534"/>
          </a:xfrm>
          <a:prstGeom prst="chevron">
            <a:avLst>
              <a:gd name="adj" fmla="val 51744"/>
            </a:avLst>
          </a:prstGeom>
          <a:solidFill>
            <a:schemeClr val="accent1"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" name="Shape3_20200729_183313">
            <a:extLst>
              <a:ext uri="{FF2B5EF4-FFF2-40B4-BE49-F238E27FC236}">
                <a16:creationId xmlns:a16="http://schemas.microsoft.com/office/drawing/2014/main" id="{AD2A9630-3766-95D1-E235-FD79BD6DB1D7}"/>
              </a:ext>
            </a:extLst>
          </p:cNvPr>
          <p:cNvSpPr/>
          <p:nvPr/>
        </p:nvSpPr>
        <p:spPr bwMode="auto">
          <a:xfrm rot="16200000">
            <a:off x="2554236" y="2098688"/>
            <a:ext cx="381000" cy="595534"/>
          </a:xfrm>
          <a:prstGeom prst="chevron">
            <a:avLst>
              <a:gd name="adj" fmla="val 49284"/>
            </a:avLst>
          </a:prstGeom>
          <a:solidFill>
            <a:schemeClr val="accent1"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" name="Shape4_20200729_183313">
            <a:extLst>
              <a:ext uri="{FF2B5EF4-FFF2-40B4-BE49-F238E27FC236}">
                <a16:creationId xmlns:a16="http://schemas.microsoft.com/office/drawing/2014/main" id="{ED5B0D6D-8344-98FB-B7AB-02CE3C2FCB84}"/>
              </a:ext>
            </a:extLst>
          </p:cNvPr>
          <p:cNvSpPr/>
          <p:nvPr/>
        </p:nvSpPr>
        <p:spPr bwMode="auto">
          <a:xfrm>
            <a:off x="3040870" y="2392895"/>
            <a:ext cx="3054509" cy="191635"/>
          </a:xfrm>
          <a:prstGeom prst="rect">
            <a:avLst/>
          </a:prstGeom>
          <a:solidFill>
            <a:schemeClr val="accent2"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pSp>
        <p:nvGrpSpPr>
          <p:cNvPr id="9" name="Shape5_20200729_183313">
            <a:extLst>
              <a:ext uri="{FF2B5EF4-FFF2-40B4-BE49-F238E27FC236}">
                <a16:creationId xmlns:a16="http://schemas.microsoft.com/office/drawing/2014/main" id="{C8FDEB00-9A22-B178-66F3-A5BB95CCF7FD}"/>
              </a:ext>
            </a:extLst>
          </p:cNvPr>
          <p:cNvGrpSpPr/>
          <p:nvPr/>
        </p:nvGrpSpPr>
        <p:grpSpPr>
          <a:xfrm>
            <a:off x="5499845" y="1717005"/>
            <a:ext cx="595534" cy="679061"/>
            <a:chOff x="4728647" y="2486025"/>
            <a:chExt cx="511028" cy="679061"/>
          </a:xfrm>
          <a:solidFill>
            <a:schemeClr val="accent2">
              <a:alpha val="81000"/>
            </a:schemeClr>
          </a:solidFill>
        </p:grpSpPr>
        <p:sp>
          <p:nvSpPr>
            <p:cNvPr id="10" name="Isosceles Triangle 9">
              <a:extLst>
                <a:ext uri="{FF2B5EF4-FFF2-40B4-BE49-F238E27FC236}">
                  <a16:creationId xmlns:a16="http://schemas.microsoft.com/office/drawing/2014/main" id="{D353FC5E-78D8-616D-4016-6A1AE8AA4FA6}"/>
                </a:ext>
              </a:extLst>
            </p:cNvPr>
            <p:cNvSpPr/>
            <p:nvPr/>
          </p:nvSpPr>
          <p:spPr bwMode="auto">
            <a:xfrm>
              <a:off x="4728647" y="2991996"/>
              <a:ext cx="511028" cy="173090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1" name="Arrow: Chevron 10">
              <a:extLst>
                <a:ext uri="{FF2B5EF4-FFF2-40B4-BE49-F238E27FC236}">
                  <a16:creationId xmlns:a16="http://schemas.microsoft.com/office/drawing/2014/main" id="{3A4E8478-D4D9-ABCE-3581-773D357E95D3}"/>
                </a:ext>
              </a:extLst>
            </p:cNvPr>
            <p:cNvSpPr/>
            <p:nvPr/>
          </p:nvSpPr>
          <p:spPr bwMode="auto">
            <a:xfrm rot="16200000">
              <a:off x="4799738" y="2671574"/>
              <a:ext cx="368846" cy="511028"/>
            </a:xfrm>
            <a:prstGeom prst="chevron">
              <a:avLst>
                <a:gd name="adj" fmla="val 51744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2" name="Arrow: Chevron 11">
              <a:extLst>
                <a:ext uri="{FF2B5EF4-FFF2-40B4-BE49-F238E27FC236}">
                  <a16:creationId xmlns:a16="http://schemas.microsoft.com/office/drawing/2014/main" id="{36CF7BEA-D305-16B3-0888-27120A147F7A}"/>
                </a:ext>
              </a:extLst>
            </p:cNvPr>
            <p:cNvSpPr/>
            <p:nvPr/>
          </p:nvSpPr>
          <p:spPr bwMode="auto">
            <a:xfrm rot="16200000">
              <a:off x="4793661" y="2421011"/>
              <a:ext cx="381000" cy="511028"/>
            </a:xfrm>
            <a:prstGeom prst="chevron">
              <a:avLst>
                <a:gd name="adj" fmla="val 49284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sp>
        <p:nvSpPr>
          <p:cNvPr id="13" name="Shape6_20200729_183313">
            <a:extLst>
              <a:ext uri="{FF2B5EF4-FFF2-40B4-BE49-F238E27FC236}">
                <a16:creationId xmlns:a16="http://schemas.microsoft.com/office/drawing/2014/main" id="{3A4D0C25-A22C-8B85-0389-BC605D4F73A1}"/>
              </a:ext>
            </a:extLst>
          </p:cNvPr>
          <p:cNvSpPr/>
          <p:nvPr/>
        </p:nvSpPr>
        <p:spPr bwMode="auto">
          <a:xfrm>
            <a:off x="6088137" y="1901940"/>
            <a:ext cx="3054509" cy="191635"/>
          </a:xfrm>
          <a:prstGeom prst="rect">
            <a:avLst/>
          </a:prstGeom>
          <a:solidFill>
            <a:schemeClr val="accent4"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pSp>
        <p:nvGrpSpPr>
          <p:cNvPr id="14" name="Shape7_20200729_183313">
            <a:extLst>
              <a:ext uri="{FF2B5EF4-FFF2-40B4-BE49-F238E27FC236}">
                <a16:creationId xmlns:a16="http://schemas.microsoft.com/office/drawing/2014/main" id="{B61BAFA6-6276-BBBF-2F04-A28CAB799E34}"/>
              </a:ext>
            </a:extLst>
          </p:cNvPr>
          <p:cNvGrpSpPr/>
          <p:nvPr/>
        </p:nvGrpSpPr>
        <p:grpSpPr>
          <a:xfrm>
            <a:off x="8547112" y="1226050"/>
            <a:ext cx="595534" cy="679061"/>
            <a:chOff x="4728647" y="2486025"/>
            <a:chExt cx="511028" cy="679061"/>
          </a:xfrm>
          <a:solidFill>
            <a:schemeClr val="accent4">
              <a:alpha val="81000"/>
            </a:schemeClr>
          </a:solidFill>
        </p:grpSpPr>
        <p:sp>
          <p:nvSpPr>
            <p:cNvPr id="15" name="Isosceles Triangle 14">
              <a:extLst>
                <a:ext uri="{FF2B5EF4-FFF2-40B4-BE49-F238E27FC236}">
                  <a16:creationId xmlns:a16="http://schemas.microsoft.com/office/drawing/2014/main" id="{678293A6-AD1E-3D75-7681-6A67AF3D1CFA}"/>
                </a:ext>
              </a:extLst>
            </p:cNvPr>
            <p:cNvSpPr/>
            <p:nvPr/>
          </p:nvSpPr>
          <p:spPr bwMode="auto">
            <a:xfrm>
              <a:off x="4728647" y="2991996"/>
              <a:ext cx="511028" cy="173090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6" name="Arrow: Chevron 15">
              <a:extLst>
                <a:ext uri="{FF2B5EF4-FFF2-40B4-BE49-F238E27FC236}">
                  <a16:creationId xmlns:a16="http://schemas.microsoft.com/office/drawing/2014/main" id="{2B9EA124-225B-A92C-B0FF-F660DCD27707}"/>
                </a:ext>
              </a:extLst>
            </p:cNvPr>
            <p:cNvSpPr/>
            <p:nvPr/>
          </p:nvSpPr>
          <p:spPr bwMode="auto">
            <a:xfrm rot="16200000">
              <a:off x="4799738" y="2671574"/>
              <a:ext cx="368846" cy="511028"/>
            </a:xfrm>
            <a:prstGeom prst="chevron">
              <a:avLst>
                <a:gd name="adj" fmla="val 51744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7" name="Arrow: Chevron 16">
              <a:extLst>
                <a:ext uri="{FF2B5EF4-FFF2-40B4-BE49-F238E27FC236}">
                  <a16:creationId xmlns:a16="http://schemas.microsoft.com/office/drawing/2014/main" id="{24BB481A-E2A2-E232-3970-FED4A0DC9EBB}"/>
                </a:ext>
              </a:extLst>
            </p:cNvPr>
            <p:cNvSpPr/>
            <p:nvPr/>
          </p:nvSpPr>
          <p:spPr bwMode="auto">
            <a:xfrm rot="16200000">
              <a:off x="4793661" y="2421011"/>
              <a:ext cx="381000" cy="511028"/>
            </a:xfrm>
            <a:prstGeom prst="chevron">
              <a:avLst>
                <a:gd name="adj" fmla="val 49284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sp>
        <p:nvSpPr>
          <p:cNvPr id="18" name="Shape8_20200729_183313">
            <a:extLst>
              <a:ext uri="{FF2B5EF4-FFF2-40B4-BE49-F238E27FC236}">
                <a16:creationId xmlns:a16="http://schemas.microsoft.com/office/drawing/2014/main" id="{497934C7-6C60-0535-42A2-E999D36D31C5}"/>
              </a:ext>
            </a:extLst>
          </p:cNvPr>
          <p:cNvSpPr/>
          <p:nvPr/>
        </p:nvSpPr>
        <p:spPr bwMode="auto">
          <a:xfrm>
            <a:off x="9137491" y="1411176"/>
            <a:ext cx="3054509" cy="191635"/>
          </a:xfrm>
          <a:prstGeom prst="rect">
            <a:avLst/>
          </a:prstGeom>
          <a:solidFill>
            <a:schemeClr val="accent6"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FF576F4-86DE-23C7-E8A3-7824F23DE975}"/>
              </a:ext>
            </a:extLst>
          </p:cNvPr>
          <p:cNvSpPr>
            <a:spLocks/>
          </p:cNvSpPr>
          <p:nvPr/>
        </p:nvSpPr>
        <p:spPr>
          <a:xfrm>
            <a:off x="4358386" y="2047021"/>
            <a:ext cx="419474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Title</a:t>
            </a:r>
            <a:endParaRPr kumimoji="0" lang="en-IN" sz="16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  <a:sym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A08921D-7D70-3BA1-1680-D111AD24C4D2}"/>
              </a:ext>
            </a:extLst>
          </p:cNvPr>
          <p:cNvSpPr>
            <a:spLocks/>
          </p:cNvSpPr>
          <p:nvPr/>
        </p:nvSpPr>
        <p:spPr>
          <a:xfrm>
            <a:off x="7405654" y="1549716"/>
            <a:ext cx="419474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Title</a:t>
            </a:r>
            <a:endParaRPr kumimoji="0" lang="en-IN" sz="16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  <a:sym typeface="Arial"/>
            </a:endParaRPr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91976A0F-0C81-1D78-BC9C-44362AF1352C}"/>
              </a:ext>
            </a:extLst>
          </p:cNvPr>
          <p:cNvSpPr>
            <a:spLocks/>
          </p:cNvSpPr>
          <p:nvPr/>
        </p:nvSpPr>
        <p:spPr>
          <a:xfrm>
            <a:off x="1317517" y="2496200"/>
            <a:ext cx="419474" cy="246221"/>
          </a:xfrm>
          <a:custGeom>
            <a:avLst/>
            <a:gdLst>
              <a:gd name="connsiteX0" fmla="*/ 0 w 3016822"/>
              <a:gd name="connsiteY0" fmla="*/ 0 h 344721"/>
              <a:gd name="connsiteX1" fmla="*/ 3016822 w 3016822"/>
              <a:gd name="connsiteY1" fmla="*/ 0 h 344721"/>
              <a:gd name="connsiteX2" fmla="*/ 2841752 w 3016822"/>
              <a:gd name="connsiteY2" fmla="*/ 344721 h 344721"/>
              <a:gd name="connsiteX3" fmla="*/ 0 w 3016822"/>
              <a:gd name="connsiteY3" fmla="*/ 344721 h 344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16822" h="344721">
                <a:moveTo>
                  <a:pt x="0" y="0"/>
                </a:moveTo>
                <a:lnTo>
                  <a:pt x="3016822" y="0"/>
                </a:lnTo>
                <a:lnTo>
                  <a:pt x="2841752" y="344721"/>
                </a:lnTo>
                <a:lnTo>
                  <a:pt x="0" y="344721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Title</a:t>
            </a:r>
            <a:endParaRPr kumimoji="0" lang="en-IN" sz="16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  <a:sym typeface="Arial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AC6F4AB1-94E5-5128-C8D3-4A2C7E6D72D8}"/>
              </a:ext>
            </a:extLst>
          </p:cNvPr>
          <p:cNvSpPr>
            <a:spLocks/>
          </p:cNvSpPr>
          <p:nvPr/>
        </p:nvSpPr>
        <p:spPr>
          <a:xfrm>
            <a:off x="10455008" y="1036368"/>
            <a:ext cx="419474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Title</a:t>
            </a:r>
            <a:endParaRPr kumimoji="0" lang="en-IN" sz="16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  <a:sym typeface="Arial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D796F30-46DA-97F8-A628-4EADFD455F71}"/>
              </a:ext>
            </a:extLst>
          </p:cNvPr>
          <p:cNvSpPr/>
          <p:nvPr/>
        </p:nvSpPr>
        <p:spPr>
          <a:xfrm>
            <a:off x="144810" y="3471312"/>
            <a:ext cx="2662558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28554" marR="0" lvl="0" indent="-228554" algn="l" defTabSz="60946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Roboto Light" pitchFamily="2" charset="0"/>
                <a:cs typeface="Arial" panose="020B0604020202020204" pitchFamily="34" charset="0"/>
                <a:sym typeface="Arial"/>
              </a:rPr>
              <a:t>Insert Text Here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182634D6-268A-FD5E-0D8B-3CECD8290673}"/>
              </a:ext>
            </a:extLst>
          </p:cNvPr>
          <p:cNvSpPr/>
          <p:nvPr/>
        </p:nvSpPr>
        <p:spPr>
          <a:xfrm>
            <a:off x="3144682" y="3038176"/>
            <a:ext cx="2839023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28554" marR="0" lvl="0" indent="-228554" algn="l" defTabSz="60946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Roboto Light" pitchFamily="2" charset="0"/>
                <a:cs typeface="Arial" panose="020B0604020202020204" pitchFamily="34" charset="0"/>
                <a:sym typeface="Arial"/>
              </a:rPr>
              <a:t>Insert Text Here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E8BC702D-97D2-C49D-55ED-F97C70B1BECA}"/>
              </a:ext>
            </a:extLst>
          </p:cNvPr>
          <p:cNvSpPr/>
          <p:nvPr/>
        </p:nvSpPr>
        <p:spPr>
          <a:xfrm>
            <a:off x="6240379" y="2540870"/>
            <a:ext cx="2743200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28554" marR="0" lvl="0" indent="-228554" algn="l" defTabSz="60946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Roboto Light" pitchFamily="2" charset="0"/>
                <a:cs typeface="Arial" panose="020B0604020202020204" pitchFamily="34" charset="0"/>
                <a:sym typeface="Arial"/>
              </a:rPr>
              <a:t>Insert Text Here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E5B02DE4-1A37-5747-A276-8E999159464B}"/>
              </a:ext>
            </a:extLst>
          </p:cNvPr>
          <p:cNvSpPr/>
          <p:nvPr/>
        </p:nvSpPr>
        <p:spPr>
          <a:xfrm>
            <a:off x="9256726" y="2043565"/>
            <a:ext cx="2742770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28554" marR="0" lvl="0" indent="-228554" algn="l" defTabSz="60946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Roboto Light" pitchFamily="2" charset="0"/>
                <a:cs typeface="Arial" panose="020B0604020202020204" pitchFamily="34" charset="0"/>
                <a:sym typeface="Arial"/>
              </a:rPr>
              <a:t>Insert Text Here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3CAE4BFF-B844-A7DB-F21A-C2D6742315BD}"/>
              </a:ext>
            </a:extLst>
          </p:cNvPr>
          <p:cNvCxnSpPr>
            <a:cxnSpLocks/>
          </p:cNvCxnSpPr>
          <p:nvPr/>
        </p:nvCxnSpPr>
        <p:spPr>
          <a:xfrm>
            <a:off x="3043843" y="3139059"/>
            <a:ext cx="0" cy="2328572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A5364F72-8619-A52C-8877-ED5D08757B81}"/>
              </a:ext>
            </a:extLst>
          </p:cNvPr>
          <p:cNvCxnSpPr>
            <a:cxnSpLocks/>
          </p:cNvCxnSpPr>
          <p:nvPr/>
        </p:nvCxnSpPr>
        <p:spPr>
          <a:xfrm>
            <a:off x="9133899" y="2172055"/>
            <a:ext cx="0" cy="3295576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63815276-7D20-57EC-0069-346F842D0307}"/>
              </a:ext>
            </a:extLst>
          </p:cNvPr>
          <p:cNvCxnSpPr>
            <a:cxnSpLocks/>
          </p:cNvCxnSpPr>
          <p:nvPr/>
        </p:nvCxnSpPr>
        <p:spPr>
          <a:xfrm>
            <a:off x="6080248" y="2669207"/>
            <a:ext cx="0" cy="2798424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Shape9_20200729_183313">
            <a:extLst>
              <a:ext uri="{FF2B5EF4-FFF2-40B4-BE49-F238E27FC236}">
                <a16:creationId xmlns:a16="http://schemas.microsoft.com/office/drawing/2014/main" id="{1C8FBC74-5C89-3510-F323-2F263EF1F0BC}"/>
              </a:ext>
            </a:extLst>
          </p:cNvPr>
          <p:cNvSpPr/>
          <p:nvPr/>
        </p:nvSpPr>
        <p:spPr bwMode="auto">
          <a:xfrm>
            <a:off x="0" y="5442619"/>
            <a:ext cx="12192000" cy="668023"/>
          </a:xfrm>
          <a:prstGeom prst="rect">
            <a:avLst/>
          </a:prstGeom>
          <a:solidFill>
            <a:schemeClr val="accent5"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40D0DB1D-FAB6-67B1-714D-08097614B790}"/>
              </a:ext>
            </a:extLst>
          </p:cNvPr>
          <p:cNvCxnSpPr>
            <a:cxnSpLocks/>
          </p:cNvCxnSpPr>
          <p:nvPr/>
        </p:nvCxnSpPr>
        <p:spPr>
          <a:xfrm>
            <a:off x="3043843" y="5492073"/>
            <a:ext cx="0" cy="569115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A3AB23-C72F-71DA-6EB3-F9F5DB8A6FC3}"/>
              </a:ext>
            </a:extLst>
          </p:cNvPr>
          <p:cNvCxnSpPr>
            <a:cxnSpLocks/>
          </p:cNvCxnSpPr>
          <p:nvPr/>
        </p:nvCxnSpPr>
        <p:spPr>
          <a:xfrm>
            <a:off x="9133899" y="5492073"/>
            <a:ext cx="0" cy="569115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388EB0CF-0679-ACC3-D44A-9418FF79BC58}"/>
              </a:ext>
            </a:extLst>
          </p:cNvPr>
          <p:cNvCxnSpPr>
            <a:cxnSpLocks/>
          </p:cNvCxnSpPr>
          <p:nvPr/>
        </p:nvCxnSpPr>
        <p:spPr>
          <a:xfrm>
            <a:off x="6080248" y="5492073"/>
            <a:ext cx="0" cy="569115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tangle 33">
            <a:extLst>
              <a:ext uri="{FF2B5EF4-FFF2-40B4-BE49-F238E27FC236}">
                <a16:creationId xmlns:a16="http://schemas.microsoft.com/office/drawing/2014/main" id="{3C491E7B-69EC-6556-7590-0F47790182F9}"/>
              </a:ext>
            </a:extLst>
          </p:cNvPr>
          <p:cNvSpPr>
            <a:spLocks/>
          </p:cNvSpPr>
          <p:nvPr/>
        </p:nvSpPr>
        <p:spPr>
          <a:xfrm>
            <a:off x="3793821" y="5651911"/>
            <a:ext cx="1536446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Insert Text Here</a:t>
            </a:r>
            <a:endParaRPr kumimoji="0" lang="en-IN" sz="16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0F304859-3B8C-C9C9-A819-7FEBFE04EF7B}"/>
              </a:ext>
            </a:extLst>
          </p:cNvPr>
          <p:cNvSpPr>
            <a:spLocks/>
          </p:cNvSpPr>
          <p:nvPr/>
        </p:nvSpPr>
        <p:spPr>
          <a:xfrm>
            <a:off x="6838849" y="5651911"/>
            <a:ext cx="1536446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Insert Text Here</a:t>
            </a:r>
            <a:endParaRPr kumimoji="0" lang="en-IN" sz="16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18B5510E-68EC-0B23-B065-38A3AA81C56F}"/>
              </a:ext>
            </a:extLst>
          </p:cNvPr>
          <p:cNvSpPr>
            <a:spLocks/>
          </p:cNvSpPr>
          <p:nvPr/>
        </p:nvSpPr>
        <p:spPr>
          <a:xfrm>
            <a:off x="759030" y="5651911"/>
            <a:ext cx="1536446" cy="246221"/>
          </a:xfrm>
          <a:custGeom>
            <a:avLst/>
            <a:gdLst>
              <a:gd name="connsiteX0" fmla="*/ 0 w 3016822"/>
              <a:gd name="connsiteY0" fmla="*/ 0 h 344721"/>
              <a:gd name="connsiteX1" fmla="*/ 3016822 w 3016822"/>
              <a:gd name="connsiteY1" fmla="*/ 0 h 344721"/>
              <a:gd name="connsiteX2" fmla="*/ 2841752 w 3016822"/>
              <a:gd name="connsiteY2" fmla="*/ 344721 h 344721"/>
              <a:gd name="connsiteX3" fmla="*/ 0 w 3016822"/>
              <a:gd name="connsiteY3" fmla="*/ 344721 h 344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16822" h="344721">
                <a:moveTo>
                  <a:pt x="0" y="0"/>
                </a:moveTo>
                <a:lnTo>
                  <a:pt x="3016822" y="0"/>
                </a:lnTo>
                <a:lnTo>
                  <a:pt x="2841752" y="344721"/>
                </a:lnTo>
                <a:lnTo>
                  <a:pt x="0" y="344721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Insert Text Here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25EF3D72-27BE-67DC-76FB-887D563CCCDE}"/>
              </a:ext>
            </a:extLst>
          </p:cNvPr>
          <p:cNvSpPr>
            <a:spLocks/>
          </p:cNvSpPr>
          <p:nvPr/>
        </p:nvSpPr>
        <p:spPr>
          <a:xfrm>
            <a:off x="9859887" y="5651911"/>
            <a:ext cx="1536446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Insert Text Here</a:t>
            </a:r>
            <a:endParaRPr kumimoji="0" lang="en-IN" sz="16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14485369"/>
      </p:ext>
    </p:extLst>
  </p:cSld>
  <p:clrMapOvr>
    <a:masterClrMapping/>
  </p:clrMapOvr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21C552C-46A0-8160-2428-04A093BFFF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919B6E01-D42B-87B8-5614-488EC70426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19B6E01-D42B-87B8-5614-488EC70426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4BC0004-85E7-980B-2BA0-E58B5D49C0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Next Steps 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43A04990-54C0-FA25-4B4D-A24D6DC6042E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98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0A3E7969-603C-EA61-9ADA-BAFBC40DEC56}"/>
              </a:ext>
            </a:extLst>
          </p:cNvPr>
          <p:cNvSpPr/>
          <p:nvPr/>
        </p:nvSpPr>
        <p:spPr>
          <a:xfrm>
            <a:off x="991541" y="1279840"/>
            <a:ext cx="10208919" cy="981205"/>
          </a:xfrm>
          <a:custGeom>
            <a:avLst/>
            <a:gdLst>
              <a:gd name="connsiteX0" fmla="*/ 838200 w 4441372"/>
              <a:gd name="connsiteY0" fmla="*/ 0 h 870858"/>
              <a:gd name="connsiteX1" fmla="*/ 0 w 4441372"/>
              <a:gd name="connsiteY1" fmla="*/ 0 h 870858"/>
              <a:gd name="connsiteX2" fmla="*/ 0 w 4441372"/>
              <a:gd name="connsiteY2" fmla="*/ 870858 h 870858"/>
              <a:gd name="connsiteX3" fmla="*/ 4441372 w 4441372"/>
              <a:gd name="connsiteY3" fmla="*/ 870858 h 8708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41372" h="870858">
                <a:moveTo>
                  <a:pt x="838200" y="0"/>
                </a:moveTo>
                <a:lnTo>
                  <a:pt x="0" y="0"/>
                </a:lnTo>
                <a:lnTo>
                  <a:pt x="0" y="870858"/>
                </a:lnTo>
                <a:lnTo>
                  <a:pt x="4441372" y="870858"/>
                </a:lnTo>
              </a:path>
            </a:pathLst>
          </a:custGeom>
          <a:noFill/>
          <a:ln w="3175">
            <a:solidFill>
              <a:schemeClr val="accent1"/>
            </a:solidFill>
            <a:headEnd type="oval"/>
            <a:tailEnd type="oval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52A14AA5-E9F3-CDCA-197E-7AA84CEACBBF}"/>
              </a:ext>
            </a:extLst>
          </p:cNvPr>
          <p:cNvSpPr/>
          <p:nvPr/>
        </p:nvSpPr>
        <p:spPr>
          <a:xfrm>
            <a:off x="10466662" y="1423181"/>
            <a:ext cx="664070" cy="664044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  <a:effectLst>
            <a:outerShdw blurRad="50800" dist="38100" algn="l" rotWithShape="0">
              <a:schemeClr val="bg1">
                <a:alpha val="40000"/>
              </a:scheme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rtlCol="0" anchor="ctr" anchorCtr="0">
            <a:noAutofit/>
          </a:bodyPr>
          <a:lstStyle/>
          <a:p>
            <a:pPr algn="ctr"/>
            <a:r>
              <a:rPr lang="en-US" b="1" dirty="0">
                <a:solidFill>
                  <a:schemeClr val="accent1"/>
                </a:solidFill>
              </a:rPr>
              <a:t>01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2375C1A-1C1A-FFE3-BD2C-6A1220CEF581}"/>
              </a:ext>
            </a:extLst>
          </p:cNvPr>
          <p:cNvSpPr/>
          <p:nvPr/>
        </p:nvSpPr>
        <p:spPr>
          <a:xfrm>
            <a:off x="1215551" y="1598601"/>
            <a:ext cx="906404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/>
              <a:t>Insert Text Here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C4F9D117-C159-B7D6-E506-2521CDCDA6C0}"/>
              </a:ext>
            </a:extLst>
          </p:cNvPr>
          <p:cNvSpPr/>
          <p:nvPr/>
        </p:nvSpPr>
        <p:spPr>
          <a:xfrm>
            <a:off x="991541" y="2539045"/>
            <a:ext cx="10208919" cy="981205"/>
          </a:xfrm>
          <a:custGeom>
            <a:avLst/>
            <a:gdLst>
              <a:gd name="connsiteX0" fmla="*/ 838200 w 4441372"/>
              <a:gd name="connsiteY0" fmla="*/ 0 h 870858"/>
              <a:gd name="connsiteX1" fmla="*/ 0 w 4441372"/>
              <a:gd name="connsiteY1" fmla="*/ 0 h 870858"/>
              <a:gd name="connsiteX2" fmla="*/ 0 w 4441372"/>
              <a:gd name="connsiteY2" fmla="*/ 870858 h 870858"/>
              <a:gd name="connsiteX3" fmla="*/ 4441372 w 4441372"/>
              <a:gd name="connsiteY3" fmla="*/ 870858 h 8708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41372" h="870858">
                <a:moveTo>
                  <a:pt x="838200" y="0"/>
                </a:moveTo>
                <a:lnTo>
                  <a:pt x="0" y="0"/>
                </a:lnTo>
                <a:lnTo>
                  <a:pt x="0" y="870858"/>
                </a:lnTo>
                <a:lnTo>
                  <a:pt x="4441372" y="870858"/>
                </a:lnTo>
              </a:path>
            </a:pathLst>
          </a:custGeom>
          <a:noFill/>
          <a:ln w="3175">
            <a:solidFill>
              <a:schemeClr val="accent2"/>
            </a:solidFill>
            <a:headEnd type="oval"/>
            <a:tailEnd type="oval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37A903B0-BCBE-BE1A-4633-804F8C1F666B}"/>
              </a:ext>
            </a:extLst>
          </p:cNvPr>
          <p:cNvSpPr/>
          <p:nvPr/>
        </p:nvSpPr>
        <p:spPr>
          <a:xfrm>
            <a:off x="10466662" y="2681237"/>
            <a:ext cx="664070" cy="664044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algn="l" rotWithShape="0">
              <a:schemeClr val="bg1">
                <a:alpha val="40000"/>
              </a:scheme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rtlCol="0" anchor="ctr" anchorCtr="0">
            <a:noAutofit/>
          </a:bodyPr>
          <a:lstStyle/>
          <a:p>
            <a:pPr algn="ctr"/>
            <a:r>
              <a:rPr lang="en-US" b="1" dirty="0">
                <a:solidFill>
                  <a:schemeClr val="accent2"/>
                </a:solidFill>
              </a:rPr>
              <a:t>02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E7EECB8-7EBE-1943-813E-A4707C779622}"/>
              </a:ext>
            </a:extLst>
          </p:cNvPr>
          <p:cNvSpPr/>
          <p:nvPr/>
        </p:nvSpPr>
        <p:spPr>
          <a:xfrm>
            <a:off x="1215551" y="2857807"/>
            <a:ext cx="906404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/>
              <a:t>Insert Text Here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7077D8D5-4306-4B77-702F-DFC7ADF0DD84}"/>
              </a:ext>
            </a:extLst>
          </p:cNvPr>
          <p:cNvSpPr/>
          <p:nvPr/>
        </p:nvSpPr>
        <p:spPr>
          <a:xfrm>
            <a:off x="991541" y="3798250"/>
            <a:ext cx="10208919" cy="981205"/>
          </a:xfrm>
          <a:custGeom>
            <a:avLst/>
            <a:gdLst>
              <a:gd name="connsiteX0" fmla="*/ 838200 w 4441372"/>
              <a:gd name="connsiteY0" fmla="*/ 0 h 870858"/>
              <a:gd name="connsiteX1" fmla="*/ 0 w 4441372"/>
              <a:gd name="connsiteY1" fmla="*/ 0 h 870858"/>
              <a:gd name="connsiteX2" fmla="*/ 0 w 4441372"/>
              <a:gd name="connsiteY2" fmla="*/ 870858 h 870858"/>
              <a:gd name="connsiteX3" fmla="*/ 4441372 w 4441372"/>
              <a:gd name="connsiteY3" fmla="*/ 870858 h 8708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41372" h="870858">
                <a:moveTo>
                  <a:pt x="838200" y="0"/>
                </a:moveTo>
                <a:lnTo>
                  <a:pt x="0" y="0"/>
                </a:lnTo>
                <a:lnTo>
                  <a:pt x="0" y="870858"/>
                </a:lnTo>
                <a:lnTo>
                  <a:pt x="4441372" y="870858"/>
                </a:lnTo>
              </a:path>
            </a:pathLst>
          </a:custGeom>
          <a:noFill/>
          <a:ln w="3175">
            <a:solidFill>
              <a:schemeClr val="accent4"/>
            </a:solidFill>
            <a:headEnd type="oval"/>
            <a:tailEnd type="oval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11F24807-8CCE-94DB-5D8B-4A500B37F75B}"/>
              </a:ext>
            </a:extLst>
          </p:cNvPr>
          <p:cNvSpPr/>
          <p:nvPr/>
        </p:nvSpPr>
        <p:spPr>
          <a:xfrm>
            <a:off x="10466662" y="3979771"/>
            <a:ext cx="664070" cy="664044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4"/>
            </a:solidFill>
          </a:ln>
          <a:effectLst>
            <a:outerShdw blurRad="50800" dist="38100" algn="l" rotWithShape="0">
              <a:schemeClr val="bg1">
                <a:alpha val="40000"/>
              </a:scheme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rtlCol="0" anchor="ctr" anchorCtr="0">
            <a:noAutofit/>
          </a:bodyPr>
          <a:lstStyle/>
          <a:p>
            <a:pPr algn="ctr"/>
            <a:r>
              <a:rPr lang="en-US" b="1" dirty="0">
                <a:solidFill>
                  <a:schemeClr val="accent4"/>
                </a:solidFill>
              </a:rPr>
              <a:t>03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F28AA05-2B77-0167-884C-F2E388DF6753}"/>
              </a:ext>
            </a:extLst>
          </p:cNvPr>
          <p:cNvSpPr/>
          <p:nvPr/>
        </p:nvSpPr>
        <p:spPr>
          <a:xfrm>
            <a:off x="1215551" y="4117012"/>
            <a:ext cx="9064046" cy="338554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n-US" sz="1600" dirty="0"/>
              <a:t>Insert Text Here</a:t>
            </a: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20AAB10C-1FEC-5703-1ED1-E8274F0B049D}"/>
              </a:ext>
            </a:extLst>
          </p:cNvPr>
          <p:cNvSpPr/>
          <p:nvPr/>
        </p:nvSpPr>
        <p:spPr>
          <a:xfrm>
            <a:off x="991541" y="5057455"/>
            <a:ext cx="10208919" cy="981205"/>
          </a:xfrm>
          <a:custGeom>
            <a:avLst/>
            <a:gdLst>
              <a:gd name="connsiteX0" fmla="*/ 838200 w 4441372"/>
              <a:gd name="connsiteY0" fmla="*/ 0 h 870858"/>
              <a:gd name="connsiteX1" fmla="*/ 0 w 4441372"/>
              <a:gd name="connsiteY1" fmla="*/ 0 h 870858"/>
              <a:gd name="connsiteX2" fmla="*/ 0 w 4441372"/>
              <a:gd name="connsiteY2" fmla="*/ 870858 h 870858"/>
              <a:gd name="connsiteX3" fmla="*/ 4441372 w 4441372"/>
              <a:gd name="connsiteY3" fmla="*/ 870858 h 8708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41372" h="870858">
                <a:moveTo>
                  <a:pt x="838200" y="0"/>
                </a:moveTo>
                <a:lnTo>
                  <a:pt x="0" y="0"/>
                </a:lnTo>
                <a:lnTo>
                  <a:pt x="0" y="870858"/>
                </a:lnTo>
                <a:lnTo>
                  <a:pt x="4441372" y="870858"/>
                </a:lnTo>
              </a:path>
            </a:pathLst>
          </a:custGeom>
          <a:noFill/>
          <a:ln w="3175">
            <a:solidFill>
              <a:schemeClr val="accent5"/>
            </a:solidFill>
            <a:headEnd type="oval"/>
            <a:tailEnd type="oval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DB5E3A83-B9BD-32E9-6B52-0E9F8BEE921B}"/>
              </a:ext>
            </a:extLst>
          </p:cNvPr>
          <p:cNvSpPr/>
          <p:nvPr/>
        </p:nvSpPr>
        <p:spPr>
          <a:xfrm>
            <a:off x="10466662" y="5238976"/>
            <a:ext cx="664070" cy="664044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5"/>
            </a:solidFill>
          </a:ln>
          <a:effectLst>
            <a:outerShdw blurRad="50800" dist="38100" algn="l" rotWithShape="0">
              <a:schemeClr val="bg1">
                <a:alpha val="40000"/>
              </a:scheme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rtlCol="0" anchor="ctr" anchorCtr="0">
            <a:noAutofit/>
          </a:bodyPr>
          <a:lstStyle/>
          <a:p>
            <a:pPr algn="ctr"/>
            <a:r>
              <a:rPr lang="en-US" b="1" dirty="0">
                <a:solidFill>
                  <a:schemeClr val="accent5"/>
                </a:solidFill>
              </a:rPr>
              <a:t>04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5655B1D-817A-0B10-DB58-7A2D5D56E4E1}"/>
              </a:ext>
            </a:extLst>
          </p:cNvPr>
          <p:cNvSpPr/>
          <p:nvPr/>
        </p:nvSpPr>
        <p:spPr>
          <a:xfrm>
            <a:off x="1215551" y="5376217"/>
            <a:ext cx="906404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/>
              <a:t>Insert Text Here</a:t>
            </a:r>
          </a:p>
        </p:txBody>
      </p:sp>
    </p:spTree>
    <p:extLst>
      <p:ext uri="{BB962C8B-B14F-4D97-AF65-F5344CB8AC3E}">
        <p14:creationId xmlns:p14="http://schemas.microsoft.com/office/powerpoint/2010/main" val="196739328"/>
      </p:ext>
    </p:extLst>
  </p:cSld>
  <p:clrMapOvr>
    <a:masterClrMapping/>
  </p:clrMapOvr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D1CA34-44B8-09CC-C278-DE2A9DE0AD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1D13AEAF-EAB3-377E-B5EF-072C95641D8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D13AEAF-EAB3-377E-B5EF-072C95641D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F805092-0133-BD8C-1DE5-23086B43E6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Yes/N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4155633-DC70-D09C-B877-76440221F8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99</a:t>
            </a:fld>
            <a:endParaRPr lang="en-US" dirty="0"/>
          </a:p>
        </p:txBody>
      </p:sp>
      <p:sp>
        <p:nvSpPr>
          <p:cNvPr id="5" name="Round Same Side Corner Rectangle 5">
            <a:extLst>
              <a:ext uri="{FF2B5EF4-FFF2-40B4-BE49-F238E27FC236}">
                <a16:creationId xmlns:a16="http://schemas.microsoft.com/office/drawing/2014/main" id="{C56854C4-77BE-B1B7-348F-2DFA88C5C9BE}"/>
              </a:ext>
            </a:extLst>
          </p:cNvPr>
          <p:cNvSpPr/>
          <p:nvPr/>
        </p:nvSpPr>
        <p:spPr>
          <a:xfrm rot="16200000">
            <a:off x="2015354" y="1844464"/>
            <a:ext cx="4698580" cy="3377288"/>
          </a:xfrm>
          <a:prstGeom prst="round2SameRect">
            <a:avLst/>
          </a:prstGeom>
          <a:solidFill>
            <a:schemeClr val="accent1"/>
          </a:solidFill>
          <a:ln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IN" sz="2400" b="1" kern="0" dirty="0">
              <a:solidFill>
                <a:sysClr val="window" lastClr="FFFFFF"/>
              </a:solidFill>
              <a:cs typeface="Arial"/>
            </a:endParaRPr>
          </a:p>
        </p:txBody>
      </p:sp>
      <p:sp>
        <p:nvSpPr>
          <p:cNvPr id="6" name="Round Same Side Corner Rectangle 6">
            <a:extLst>
              <a:ext uri="{FF2B5EF4-FFF2-40B4-BE49-F238E27FC236}">
                <a16:creationId xmlns:a16="http://schemas.microsoft.com/office/drawing/2014/main" id="{8939D4F4-C335-1BA6-24A2-A64DBDF6B3F8}"/>
              </a:ext>
            </a:extLst>
          </p:cNvPr>
          <p:cNvSpPr/>
          <p:nvPr/>
        </p:nvSpPr>
        <p:spPr>
          <a:xfrm rot="5400000">
            <a:off x="5478066" y="1844465"/>
            <a:ext cx="4698580" cy="3377288"/>
          </a:xfrm>
          <a:prstGeom prst="round2SameRect">
            <a:avLst/>
          </a:prstGeom>
          <a:solidFill>
            <a:schemeClr val="accent3"/>
          </a:solidFill>
          <a:ln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IN" sz="2400" b="1" kern="0" dirty="0">
              <a:solidFill>
                <a:sysClr val="window" lastClr="FFFFFF"/>
              </a:solidFill>
              <a:cs typeface="Arial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04D18962-25DD-4E2D-4976-B013EF137B73}"/>
              </a:ext>
            </a:extLst>
          </p:cNvPr>
          <p:cNvGrpSpPr/>
          <p:nvPr/>
        </p:nvGrpSpPr>
        <p:grpSpPr>
          <a:xfrm>
            <a:off x="5351605" y="1465361"/>
            <a:ext cx="1487623" cy="4040963"/>
            <a:chOff x="3008790" y="2990492"/>
            <a:chExt cx="429060" cy="1165495"/>
          </a:xfrm>
          <a:solidFill>
            <a:schemeClr val="accent4"/>
          </a:solidFill>
        </p:grpSpPr>
        <p:sp>
          <p:nvSpPr>
            <p:cNvPr id="8" name="Freeform 10">
              <a:extLst>
                <a:ext uri="{FF2B5EF4-FFF2-40B4-BE49-F238E27FC236}">
                  <a16:creationId xmlns:a16="http://schemas.microsoft.com/office/drawing/2014/main" id="{2F3554FB-5102-B0B5-AEE4-A5C5A7B46A8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17164" y="2990492"/>
              <a:ext cx="221818" cy="221818"/>
            </a:xfrm>
            <a:custGeom>
              <a:avLst/>
              <a:gdLst>
                <a:gd name="T0" fmla="*/ 342 w 700"/>
                <a:gd name="T1" fmla="*/ 700 h 700"/>
                <a:gd name="T2" fmla="*/ 408 w 700"/>
                <a:gd name="T3" fmla="*/ 692 h 700"/>
                <a:gd name="T4" fmla="*/ 472 w 700"/>
                <a:gd name="T5" fmla="*/ 672 h 700"/>
                <a:gd name="T6" fmla="*/ 534 w 700"/>
                <a:gd name="T7" fmla="*/ 638 h 700"/>
                <a:gd name="T8" fmla="*/ 588 w 700"/>
                <a:gd name="T9" fmla="*/ 594 h 700"/>
                <a:gd name="T10" fmla="*/ 632 w 700"/>
                <a:gd name="T11" fmla="*/ 542 h 700"/>
                <a:gd name="T12" fmla="*/ 668 w 700"/>
                <a:gd name="T13" fmla="*/ 484 h 700"/>
                <a:gd name="T14" fmla="*/ 690 w 700"/>
                <a:gd name="T15" fmla="*/ 422 h 700"/>
                <a:gd name="T16" fmla="*/ 700 w 700"/>
                <a:gd name="T17" fmla="*/ 356 h 700"/>
                <a:gd name="T18" fmla="*/ 698 w 700"/>
                <a:gd name="T19" fmla="*/ 324 h 700"/>
                <a:gd name="T20" fmla="*/ 682 w 700"/>
                <a:gd name="T21" fmla="*/ 258 h 700"/>
                <a:gd name="T22" fmla="*/ 654 w 700"/>
                <a:gd name="T23" fmla="*/ 196 h 700"/>
                <a:gd name="T24" fmla="*/ 614 w 700"/>
                <a:gd name="T25" fmla="*/ 138 h 700"/>
                <a:gd name="T26" fmla="*/ 566 w 700"/>
                <a:gd name="T27" fmla="*/ 88 h 700"/>
                <a:gd name="T28" fmla="*/ 510 w 700"/>
                <a:gd name="T29" fmla="*/ 48 h 700"/>
                <a:gd name="T30" fmla="*/ 448 w 700"/>
                <a:gd name="T31" fmla="*/ 18 h 700"/>
                <a:gd name="T32" fmla="*/ 384 w 700"/>
                <a:gd name="T33" fmla="*/ 2 h 700"/>
                <a:gd name="T34" fmla="*/ 352 w 700"/>
                <a:gd name="T35" fmla="*/ 0 h 700"/>
                <a:gd name="T36" fmla="*/ 286 w 700"/>
                <a:gd name="T37" fmla="*/ 8 h 700"/>
                <a:gd name="T38" fmla="*/ 222 w 700"/>
                <a:gd name="T39" fmla="*/ 32 h 700"/>
                <a:gd name="T40" fmla="*/ 162 w 700"/>
                <a:gd name="T41" fmla="*/ 68 h 700"/>
                <a:gd name="T42" fmla="*/ 110 w 700"/>
                <a:gd name="T43" fmla="*/ 114 h 700"/>
                <a:gd name="T44" fmla="*/ 64 w 700"/>
                <a:gd name="T45" fmla="*/ 170 h 700"/>
                <a:gd name="T46" fmla="*/ 30 w 700"/>
                <a:gd name="T47" fmla="*/ 230 h 700"/>
                <a:gd name="T48" fmla="*/ 8 w 700"/>
                <a:gd name="T49" fmla="*/ 294 h 700"/>
                <a:gd name="T50" fmla="*/ 0 w 700"/>
                <a:gd name="T51" fmla="*/ 362 h 700"/>
                <a:gd name="T52" fmla="*/ 2 w 700"/>
                <a:gd name="T53" fmla="*/ 394 h 700"/>
                <a:gd name="T54" fmla="*/ 16 w 700"/>
                <a:gd name="T55" fmla="*/ 458 h 700"/>
                <a:gd name="T56" fmla="*/ 44 w 700"/>
                <a:gd name="T57" fmla="*/ 518 h 700"/>
                <a:gd name="T58" fmla="*/ 82 w 700"/>
                <a:gd name="T59" fmla="*/ 572 h 700"/>
                <a:gd name="T60" fmla="*/ 130 w 700"/>
                <a:gd name="T61" fmla="*/ 620 h 700"/>
                <a:gd name="T62" fmla="*/ 184 w 700"/>
                <a:gd name="T63" fmla="*/ 656 h 700"/>
                <a:gd name="T64" fmla="*/ 246 w 700"/>
                <a:gd name="T65" fmla="*/ 684 h 700"/>
                <a:gd name="T66" fmla="*/ 310 w 700"/>
                <a:gd name="T67" fmla="*/ 698 h 700"/>
                <a:gd name="T68" fmla="*/ 342 w 700"/>
                <a:gd name="T69" fmla="*/ 700 h 7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00" h="700">
                  <a:moveTo>
                    <a:pt x="342" y="700"/>
                  </a:moveTo>
                  <a:lnTo>
                    <a:pt x="342" y="700"/>
                  </a:lnTo>
                  <a:lnTo>
                    <a:pt x="376" y="698"/>
                  </a:lnTo>
                  <a:lnTo>
                    <a:pt x="408" y="692"/>
                  </a:lnTo>
                  <a:lnTo>
                    <a:pt x="442" y="684"/>
                  </a:lnTo>
                  <a:lnTo>
                    <a:pt x="472" y="672"/>
                  </a:lnTo>
                  <a:lnTo>
                    <a:pt x="504" y="656"/>
                  </a:lnTo>
                  <a:lnTo>
                    <a:pt x="534" y="638"/>
                  </a:lnTo>
                  <a:lnTo>
                    <a:pt x="560" y="618"/>
                  </a:lnTo>
                  <a:lnTo>
                    <a:pt x="588" y="594"/>
                  </a:lnTo>
                  <a:lnTo>
                    <a:pt x="612" y="570"/>
                  </a:lnTo>
                  <a:lnTo>
                    <a:pt x="632" y="542"/>
                  </a:lnTo>
                  <a:lnTo>
                    <a:pt x="652" y="514"/>
                  </a:lnTo>
                  <a:lnTo>
                    <a:pt x="668" y="484"/>
                  </a:lnTo>
                  <a:lnTo>
                    <a:pt x="682" y="454"/>
                  </a:lnTo>
                  <a:lnTo>
                    <a:pt x="690" y="422"/>
                  </a:lnTo>
                  <a:lnTo>
                    <a:pt x="696" y="390"/>
                  </a:lnTo>
                  <a:lnTo>
                    <a:pt x="700" y="356"/>
                  </a:lnTo>
                  <a:lnTo>
                    <a:pt x="700" y="356"/>
                  </a:lnTo>
                  <a:lnTo>
                    <a:pt x="698" y="324"/>
                  </a:lnTo>
                  <a:lnTo>
                    <a:pt x="692" y="290"/>
                  </a:lnTo>
                  <a:lnTo>
                    <a:pt x="682" y="258"/>
                  </a:lnTo>
                  <a:lnTo>
                    <a:pt x="670" y="226"/>
                  </a:lnTo>
                  <a:lnTo>
                    <a:pt x="654" y="196"/>
                  </a:lnTo>
                  <a:lnTo>
                    <a:pt x="636" y="166"/>
                  </a:lnTo>
                  <a:lnTo>
                    <a:pt x="614" y="138"/>
                  </a:lnTo>
                  <a:lnTo>
                    <a:pt x="592" y="112"/>
                  </a:lnTo>
                  <a:lnTo>
                    <a:pt x="566" y="88"/>
                  </a:lnTo>
                  <a:lnTo>
                    <a:pt x="538" y="66"/>
                  </a:lnTo>
                  <a:lnTo>
                    <a:pt x="510" y="48"/>
                  </a:lnTo>
                  <a:lnTo>
                    <a:pt x="480" y="32"/>
                  </a:lnTo>
                  <a:lnTo>
                    <a:pt x="448" y="18"/>
                  </a:lnTo>
                  <a:lnTo>
                    <a:pt x="416" y="8"/>
                  </a:lnTo>
                  <a:lnTo>
                    <a:pt x="384" y="2"/>
                  </a:lnTo>
                  <a:lnTo>
                    <a:pt x="352" y="0"/>
                  </a:lnTo>
                  <a:lnTo>
                    <a:pt x="352" y="0"/>
                  </a:lnTo>
                  <a:lnTo>
                    <a:pt x="318" y="2"/>
                  </a:lnTo>
                  <a:lnTo>
                    <a:pt x="286" y="8"/>
                  </a:lnTo>
                  <a:lnTo>
                    <a:pt x="254" y="18"/>
                  </a:lnTo>
                  <a:lnTo>
                    <a:pt x="222" y="32"/>
                  </a:lnTo>
                  <a:lnTo>
                    <a:pt x="192" y="48"/>
                  </a:lnTo>
                  <a:lnTo>
                    <a:pt x="162" y="68"/>
                  </a:lnTo>
                  <a:lnTo>
                    <a:pt x="134" y="90"/>
                  </a:lnTo>
                  <a:lnTo>
                    <a:pt x="110" y="114"/>
                  </a:lnTo>
                  <a:lnTo>
                    <a:pt x="86" y="142"/>
                  </a:lnTo>
                  <a:lnTo>
                    <a:pt x="64" y="170"/>
                  </a:lnTo>
                  <a:lnTo>
                    <a:pt x="46" y="200"/>
                  </a:lnTo>
                  <a:lnTo>
                    <a:pt x="30" y="230"/>
                  </a:lnTo>
                  <a:lnTo>
                    <a:pt x="16" y="262"/>
                  </a:lnTo>
                  <a:lnTo>
                    <a:pt x="8" y="294"/>
                  </a:lnTo>
                  <a:lnTo>
                    <a:pt x="2" y="328"/>
                  </a:lnTo>
                  <a:lnTo>
                    <a:pt x="0" y="362"/>
                  </a:lnTo>
                  <a:lnTo>
                    <a:pt x="0" y="362"/>
                  </a:lnTo>
                  <a:lnTo>
                    <a:pt x="2" y="394"/>
                  </a:lnTo>
                  <a:lnTo>
                    <a:pt x="6" y="426"/>
                  </a:lnTo>
                  <a:lnTo>
                    <a:pt x="16" y="458"/>
                  </a:lnTo>
                  <a:lnTo>
                    <a:pt x="28" y="488"/>
                  </a:lnTo>
                  <a:lnTo>
                    <a:pt x="44" y="518"/>
                  </a:lnTo>
                  <a:lnTo>
                    <a:pt x="62" y="546"/>
                  </a:lnTo>
                  <a:lnTo>
                    <a:pt x="82" y="572"/>
                  </a:lnTo>
                  <a:lnTo>
                    <a:pt x="104" y="596"/>
                  </a:lnTo>
                  <a:lnTo>
                    <a:pt x="130" y="620"/>
                  </a:lnTo>
                  <a:lnTo>
                    <a:pt x="156" y="640"/>
                  </a:lnTo>
                  <a:lnTo>
                    <a:pt x="184" y="656"/>
                  </a:lnTo>
                  <a:lnTo>
                    <a:pt x="214" y="672"/>
                  </a:lnTo>
                  <a:lnTo>
                    <a:pt x="246" y="684"/>
                  </a:lnTo>
                  <a:lnTo>
                    <a:pt x="278" y="692"/>
                  </a:lnTo>
                  <a:lnTo>
                    <a:pt x="310" y="698"/>
                  </a:lnTo>
                  <a:lnTo>
                    <a:pt x="342" y="700"/>
                  </a:lnTo>
                  <a:lnTo>
                    <a:pt x="342" y="700"/>
                  </a:lnTo>
                  <a:close/>
                </a:path>
              </a:pathLst>
            </a:custGeom>
            <a:grpFill/>
            <a:ln>
              <a:noFill/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  <a:scene3d>
              <a:camera prst="orthographicFront"/>
              <a:lightRig rig="threePt" dir="t"/>
            </a:scene3d>
            <a:sp3d>
              <a:bevelT prst="relaxedInset"/>
            </a:sp3d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11">
              <a:extLst>
                <a:ext uri="{FF2B5EF4-FFF2-40B4-BE49-F238E27FC236}">
                  <a16:creationId xmlns:a16="http://schemas.microsoft.com/office/drawing/2014/main" id="{AFF24639-22C0-72E0-9392-2E748669656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08790" y="3228154"/>
              <a:ext cx="429060" cy="927833"/>
            </a:xfrm>
            <a:custGeom>
              <a:avLst/>
              <a:gdLst>
                <a:gd name="T0" fmla="*/ 1350 w 1354"/>
                <a:gd name="T1" fmla="*/ 442 h 2928"/>
                <a:gd name="T2" fmla="*/ 1350 w 1354"/>
                <a:gd name="T3" fmla="*/ 178 h 2928"/>
                <a:gd name="T4" fmla="*/ 1320 w 1354"/>
                <a:gd name="T5" fmla="*/ 112 h 2928"/>
                <a:gd name="T6" fmla="*/ 1270 w 1354"/>
                <a:gd name="T7" fmla="*/ 50 h 2928"/>
                <a:gd name="T8" fmla="*/ 1210 w 1354"/>
                <a:gd name="T9" fmla="*/ 16 h 2928"/>
                <a:gd name="T10" fmla="*/ 1130 w 1354"/>
                <a:gd name="T11" fmla="*/ 2 h 2928"/>
                <a:gd name="T12" fmla="*/ 292 w 1354"/>
                <a:gd name="T13" fmla="*/ 0 h 2928"/>
                <a:gd name="T14" fmla="*/ 178 w 1354"/>
                <a:gd name="T15" fmla="*/ 6 h 2928"/>
                <a:gd name="T16" fmla="*/ 82 w 1354"/>
                <a:gd name="T17" fmla="*/ 54 h 2928"/>
                <a:gd name="T18" fmla="*/ 32 w 1354"/>
                <a:gd name="T19" fmla="*/ 118 h 2928"/>
                <a:gd name="T20" fmla="*/ 8 w 1354"/>
                <a:gd name="T21" fmla="*/ 182 h 2928"/>
                <a:gd name="T22" fmla="*/ 2 w 1354"/>
                <a:gd name="T23" fmla="*/ 446 h 2928"/>
                <a:gd name="T24" fmla="*/ 0 w 1354"/>
                <a:gd name="T25" fmla="*/ 1100 h 2928"/>
                <a:gd name="T26" fmla="*/ 12 w 1354"/>
                <a:gd name="T27" fmla="*/ 1242 h 2928"/>
                <a:gd name="T28" fmla="*/ 54 w 1354"/>
                <a:gd name="T29" fmla="*/ 1320 h 2928"/>
                <a:gd name="T30" fmla="*/ 92 w 1354"/>
                <a:gd name="T31" fmla="*/ 1340 h 2928"/>
                <a:gd name="T32" fmla="*/ 140 w 1354"/>
                <a:gd name="T33" fmla="*/ 1340 h 2928"/>
                <a:gd name="T34" fmla="*/ 206 w 1354"/>
                <a:gd name="T35" fmla="*/ 1316 h 2928"/>
                <a:gd name="T36" fmla="*/ 238 w 1354"/>
                <a:gd name="T37" fmla="*/ 1260 h 2928"/>
                <a:gd name="T38" fmla="*/ 248 w 1354"/>
                <a:gd name="T39" fmla="*/ 1106 h 2928"/>
                <a:gd name="T40" fmla="*/ 248 w 1354"/>
                <a:gd name="T41" fmla="*/ 660 h 2928"/>
                <a:gd name="T42" fmla="*/ 258 w 1354"/>
                <a:gd name="T43" fmla="*/ 590 h 2928"/>
                <a:gd name="T44" fmla="*/ 282 w 1354"/>
                <a:gd name="T45" fmla="*/ 590 h 2928"/>
                <a:gd name="T46" fmla="*/ 292 w 1354"/>
                <a:gd name="T47" fmla="*/ 648 h 2928"/>
                <a:gd name="T48" fmla="*/ 292 w 1354"/>
                <a:gd name="T49" fmla="*/ 2736 h 2928"/>
                <a:gd name="T50" fmla="*/ 306 w 1354"/>
                <a:gd name="T51" fmla="*/ 2818 h 2928"/>
                <a:gd name="T52" fmla="*/ 342 w 1354"/>
                <a:gd name="T53" fmla="*/ 2874 h 2928"/>
                <a:gd name="T54" fmla="*/ 406 w 1354"/>
                <a:gd name="T55" fmla="*/ 2910 h 2928"/>
                <a:gd name="T56" fmla="*/ 472 w 1354"/>
                <a:gd name="T57" fmla="*/ 2920 h 2928"/>
                <a:gd name="T58" fmla="*/ 556 w 1354"/>
                <a:gd name="T59" fmla="*/ 2906 h 2928"/>
                <a:gd name="T60" fmla="*/ 614 w 1354"/>
                <a:gd name="T61" fmla="*/ 2870 h 2928"/>
                <a:gd name="T62" fmla="*/ 648 w 1354"/>
                <a:gd name="T63" fmla="*/ 2816 h 2928"/>
                <a:gd name="T64" fmla="*/ 658 w 1354"/>
                <a:gd name="T65" fmla="*/ 2754 h 2928"/>
                <a:gd name="T66" fmla="*/ 660 w 1354"/>
                <a:gd name="T67" fmla="*/ 1770 h 2928"/>
                <a:gd name="T68" fmla="*/ 670 w 1354"/>
                <a:gd name="T69" fmla="*/ 1704 h 2928"/>
                <a:gd name="T70" fmla="*/ 690 w 1354"/>
                <a:gd name="T71" fmla="*/ 1698 h 2928"/>
                <a:gd name="T72" fmla="*/ 704 w 1354"/>
                <a:gd name="T73" fmla="*/ 1770 h 2928"/>
                <a:gd name="T74" fmla="*/ 704 w 1354"/>
                <a:gd name="T75" fmla="*/ 2754 h 2928"/>
                <a:gd name="T76" fmla="*/ 720 w 1354"/>
                <a:gd name="T77" fmla="*/ 2818 h 2928"/>
                <a:gd name="T78" fmla="*/ 762 w 1354"/>
                <a:gd name="T79" fmla="*/ 2874 h 2928"/>
                <a:gd name="T80" fmla="*/ 826 w 1354"/>
                <a:gd name="T81" fmla="*/ 2916 h 2928"/>
                <a:gd name="T82" fmla="*/ 894 w 1354"/>
                <a:gd name="T83" fmla="*/ 2928 h 2928"/>
                <a:gd name="T84" fmla="*/ 958 w 1354"/>
                <a:gd name="T85" fmla="*/ 2908 h 2928"/>
                <a:gd name="T86" fmla="*/ 1012 w 1354"/>
                <a:gd name="T87" fmla="*/ 2864 h 2928"/>
                <a:gd name="T88" fmla="*/ 1060 w 1354"/>
                <a:gd name="T89" fmla="*/ 2780 h 2928"/>
                <a:gd name="T90" fmla="*/ 1066 w 1354"/>
                <a:gd name="T91" fmla="*/ 722 h 2928"/>
                <a:gd name="T92" fmla="*/ 1068 w 1354"/>
                <a:gd name="T93" fmla="*/ 612 h 2928"/>
                <a:gd name="T94" fmla="*/ 1082 w 1354"/>
                <a:gd name="T95" fmla="*/ 584 h 2928"/>
                <a:gd name="T96" fmla="*/ 1100 w 1354"/>
                <a:gd name="T97" fmla="*/ 596 h 2928"/>
                <a:gd name="T98" fmla="*/ 1104 w 1354"/>
                <a:gd name="T99" fmla="*/ 692 h 2928"/>
                <a:gd name="T100" fmla="*/ 1108 w 1354"/>
                <a:gd name="T101" fmla="*/ 1144 h 2928"/>
                <a:gd name="T102" fmla="*/ 1126 w 1354"/>
                <a:gd name="T103" fmla="*/ 1248 h 2928"/>
                <a:gd name="T104" fmla="*/ 1160 w 1354"/>
                <a:gd name="T105" fmla="*/ 1304 h 2928"/>
                <a:gd name="T106" fmla="*/ 1212 w 1354"/>
                <a:gd name="T107" fmla="*/ 1324 h 2928"/>
                <a:gd name="T108" fmla="*/ 1252 w 1354"/>
                <a:gd name="T109" fmla="*/ 1322 h 2928"/>
                <a:gd name="T110" fmla="*/ 1290 w 1354"/>
                <a:gd name="T111" fmla="*/ 1302 h 2928"/>
                <a:gd name="T112" fmla="*/ 1332 w 1354"/>
                <a:gd name="T113" fmla="*/ 1222 h 2928"/>
                <a:gd name="T114" fmla="*/ 1350 w 1354"/>
                <a:gd name="T115" fmla="*/ 1080 h 29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54" h="2928">
                  <a:moveTo>
                    <a:pt x="1350" y="972"/>
                  </a:moveTo>
                  <a:lnTo>
                    <a:pt x="1350" y="972"/>
                  </a:lnTo>
                  <a:lnTo>
                    <a:pt x="1350" y="442"/>
                  </a:lnTo>
                  <a:lnTo>
                    <a:pt x="1350" y="442"/>
                  </a:lnTo>
                  <a:lnTo>
                    <a:pt x="1352" y="344"/>
                  </a:lnTo>
                  <a:lnTo>
                    <a:pt x="1354" y="286"/>
                  </a:lnTo>
                  <a:lnTo>
                    <a:pt x="1354" y="240"/>
                  </a:lnTo>
                  <a:lnTo>
                    <a:pt x="1350" y="178"/>
                  </a:lnTo>
                  <a:lnTo>
                    <a:pt x="1350" y="178"/>
                  </a:lnTo>
                  <a:lnTo>
                    <a:pt x="1342" y="154"/>
                  </a:lnTo>
                  <a:lnTo>
                    <a:pt x="1332" y="132"/>
                  </a:lnTo>
                  <a:lnTo>
                    <a:pt x="1320" y="112"/>
                  </a:lnTo>
                  <a:lnTo>
                    <a:pt x="1310" y="94"/>
                  </a:lnTo>
                  <a:lnTo>
                    <a:pt x="1296" y="78"/>
                  </a:lnTo>
                  <a:lnTo>
                    <a:pt x="1284" y="64"/>
                  </a:lnTo>
                  <a:lnTo>
                    <a:pt x="1270" y="50"/>
                  </a:lnTo>
                  <a:lnTo>
                    <a:pt x="1256" y="40"/>
                  </a:lnTo>
                  <a:lnTo>
                    <a:pt x="1242" y="30"/>
                  </a:lnTo>
                  <a:lnTo>
                    <a:pt x="1226" y="22"/>
                  </a:lnTo>
                  <a:lnTo>
                    <a:pt x="1210" y="16"/>
                  </a:lnTo>
                  <a:lnTo>
                    <a:pt x="1194" y="10"/>
                  </a:lnTo>
                  <a:lnTo>
                    <a:pt x="1178" y="6"/>
                  </a:lnTo>
                  <a:lnTo>
                    <a:pt x="1162" y="4"/>
                  </a:lnTo>
                  <a:lnTo>
                    <a:pt x="1130" y="2"/>
                  </a:lnTo>
                  <a:lnTo>
                    <a:pt x="1130" y="2"/>
                  </a:lnTo>
                  <a:lnTo>
                    <a:pt x="732" y="2"/>
                  </a:lnTo>
                  <a:lnTo>
                    <a:pt x="732" y="2"/>
                  </a:lnTo>
                  <a:lnTo>
                    <a:pt x="292" y="0"/>
                  </a:lnTo>
                  <a:lnTo>
                    <a:pt x="292" y="0"/>
                  </a:lnTo>
                  <a:lnTo>
                    <a:pt x="232" y="0"/>
                  </a:lnTo>
                  <a:lnTo>
                    <a:pt x="204" y="2"/>
                  </a:lnTo>
                  <a:lnTo>
                    <a:pt x="178" y="6"/>
                  </a:lnTo>
                  <a:lnTo>
                    <a:pt x="154" y="12"/>
                  </a:lnTo>
                  <a:lnTo>
                    <a:pt x="130" y="20"/>
                  </a:lnTo>
                  <a:lnTo>
                    <a:pt x="106" y="34"/>
                  </a:lnTo>
                  <a:lnTo>
                    <a:pt x="82" y="54"/>
                  </a:lnTo>
                  <a:lnTo>
                    <a:pt x="82" y="54"/>
                  </a:lnTo>
                  <a:lnTo>
                    <a:pt x="52" y="88"/>
                  </a:lnTo>
                  <a:lnTo>
                    <a:pt x="40" y="104"/>
                  </a:lnTo>
                  <a:lnTo>
                    <a:pt x="32" y="118"/>
                  </a:lnTo>
                  <a:lnTo>
                    <a:pt x="24" y="134"/>
                  </a:lnTo>
                  <a:lnTo>
                    <a:pt x="16" y="148"/>
                  </a:lnTo>
                  <a:lnTo>
                    <a:pt x="12" y="164"/>
                  </a:lnTo>
                  <a:lnTo>
                    <a:pt x="8" y="182"/>
                  </a:lnTo>
                  <a:lnTo>
                    <a:pt x="4" y="202"/>
                  </a:lnTo>
                  <a:lnTo>
                    <a:pt x="2" y="226"/>
                  </a:lnTo>
                  <a:lnTo>
                    <a:pt x="2" y="280"/>
                  </a:lnTo>
                  <a:lnTo>
                    <a:pt x="2" y="446"/>
                  </a:lnTo>
                  <a:lnTo>
                    <a:pt x="2" y="446"/>
                  </a:lnTo>
                  <a:lnTo>
                    <a:pt x="2" y="986"/>
                  </a:lnTo>
                  <a:lnTo>
                    <a:pt x="2" y="986"/>
                  </a:lnTo>
                  <a:lnTo>
                    <a:pt x="0" y="1100"/>
                  </a:lnTo>
                  <a:lnTo>
                    <a:pt x="2" y="1160"/>
                  </a:lnTo>
                  <a:lnTo>
                    <a:pt x="4" y="1188"/>
                  </a:lnTo>
                  <a:lnTo>
                    <a:pt x="6" y="1216"/>
                  </a:lnTo>
                  <a:lnTo>
                    <a:pt x="12" y="1242"/>
                  </a:lnTo>
                  <a:lnTo>
                    <a:pt x="20" y="1266"/>
                  </a:lnTo>
                  <a:lnTo>
                    <a:pt x="28" y="1288"/>
                  </a:lnTo>
                  <a:lnTo>
                    <a:pt x="40" y="1306"/>
                  </a:lnTo>
                  <a:lnTo>
                    <a:pt x="54" y="1320"/>
                  </a:lnTo>
                  <a:lnTo>
                    <a:pt x="62" y="1326"/>
                  </a:lnTo>
                  <a:lnTo>
                    <a:pt x="72" y="1332"/>
                  </a:lnTo>
                  <a:lnTo>
                    <a:pt x="82" y="1336"/>
                  </a:lnTo>
                  <a:lnTo>
                    <a:pt x="92" y="1340"/>
                  </a:lnTo>
                  <a:lnTo>
                    <a:pt x="104" y="1342"/>
                  </a:lnTo>
                  <a:lnTo>
                    <a:pt x="118" y="1342"/>
                  </a:lnTo>
                  <a:lnTo>
                    <a:pt x="118" y="1342"/>
                  </a:lnTo>
                  <a:lnTo>
                    <a:pt x="140" y="1340"/>
                  </a:lnTo>
                  <a:lnTo>
                    <a:pt x="160" y="1338"/>
                  </a:lnTo>
                  <a:lnTo>
                    <a:pt x="178" y="1332"/>
                  </a:lnTo>
                  <a:lnTo>
                    <a:pt x="194" y="1324"/>
                  </a:lnTo>
                  <a:lnTo>
                    <a:pt x="206" y="1316"/>
                  </a:lnTo>
                  <a:lnTo>
                    <a:pt x="216" y="1304"/>
                  </a:lnTo>
                  <a:lnTo>
                    <a:pt x="226" y="1292"/>
                  </a:lnTo>
                  <a:lnTo>
                    <a:pt x="232" y="1276"/>
                  </a:lnTo>
                  <a:lnTo>
                    <a:pt x="238" y="1260"/>
                  </a:lnTo>
                  <a:lnTo>
                    <a:pt x="242" y="1242"/>
                  </a:lnTo>
                  <a:lnTo>
                    <a:pt x="246" y="1202"/>
                  </a:lnTo>
                  <a:lnTo>
                    <a:pt x="248" y="1156"/>
                  </a:lnTo>
                  <a:lnTo>
                    <a:pt x="248" y="1106"/>
                  </a:lnTo>
                  <a:lnTo>
                    <a:pt x="248" y="1106"/>
                  </a:lnTo>
                  <a:lnTo>
                    <a:pt x="248" y="738"/>
                  </a:lnTo>
                  <a:lnTo>
                    <a:pt x="248" y="738"/>
                  </a:lnTo>
                  <a:lnTo>
                    <a:pt x="248" y="660"/>
                  </a:lnTo>
                  <a:lnTo>
                    <a:pt x="248" y="616"/>
                  </a:lnTo>
                  <a:lnTo>
                    <a:pt x="250" y="602"/>
                  </a:lnTo>
                  <a:lnTo>
                    <a:pt x="252" y="594"/>
                  </a:lnTo>
                  <a:lnTo>
                    <a:pt x="258" y="590"/>
                  </a:lnTo>
                  <a:lnTo>
                    <a:pt x="266" y="588"/>
                  </a:lnTo>
                  <a:lnTo>
                    <a:pt x="266" y="588"/>
                  </a:lnTo>
                  <a:lnTo>
                    <a:pt x="274" y="588"/>
                  </a:lnTo>
                  <a:lnTo>
                    <a:pt x="282" y="590"/>
                  </a:lnTo>
                  <a:lnTo>
                    <a:pt x="286" y="596"/>
                  </a:lnTo>
                  <a:lnTo>
                    <a:pt x="290" y="606"/>
                  </a:lnTo>
                  <a:lnTo>
                    <a:pt x="290" y="622"/>
                  </a:lnTo>
                  <a:lnTo>
                    <a:pt x="292" y="648"/>
                  </a:lnTo>
                  <a:lnTo>
                    <a:pt x="292" y="726"/>
                  </a:lnTo>
                  <a:lnTo>
                    <a:pt x="292" y="726"/>
                  </a:lnTo>
                  <a:lnTo>
                    <a:pt x="292" y="2736"/>
                  </a:lnTo>
                  <a:lnTo>
                    <a:pt x="292" y="2736"/>
                  </a:lnTo>
                  <a:lnTo>
                    <a:pt x="294" y="2770"/>
                  </a:lnTo>
                  <a:lnTo>
                    <a:pt x="296" y="2786"/>
                  </a:lnTo>
                  <a:lnTo>
                    <a:pt x="300" y="2802"/>
                  </a:lnTo>
                  <a:lnTo>
                    <a:pt x="306" y="2818"/>
                  </a:lnTo>
                  <a:lnTo>
                    <a:pt x="314" y="2832"/>
                  </a:lnTo>
                  <a:lnTo>
                    <a:pt x="322" y="2848"/>
                  </a:lnTo>
                  <a:lnTo>
                    <a:pt x="332" y="2860"/>
                  </a:lnTo>
                  <a:lnTo>
                    <a:pt x="342" y="2874"/>
                  </a:lnTo>
                  <a:lnTo>
                    <a:pt x="356" y="2884"/>
                  </a:lnTo>
                  <a:lnTo>
                    <a:pt x="370" y="2894"/>
                  </a:lnTo>
                  <a:lnTo>
                    <a:pt x="386" y="2902"/>
                  </a:lnTo>
                  <a:lnTo>
                    <a:pt x="406" y="2910"/>
                  </a:lnTo>
                  <a:lnTo>
                    <a:pt x="426" y="2914"/>
                  </a:lnTo>
                  <a:lnTo>
                    <a:pt x="448" y="2918"/>
                  </a:lnTo>
                  <a:lnTo>
                    <a:pt x="472" y="2920"/>
                  </a:lnTo>
                  <a:lnTo>
                    <a:pt x="472" y="2920"/>
                  </a:lnTo>
                  <a:lnTo>
                    <a:pt x="496" y="2918"/>
                  </a:lnTo>
                  <a:lnTo>
                    <a:pt x="518" y="2916"/>
                  </a:lnTo>
                  <a:lnTo>
                    <a:pt x="538" y="2912"/>
                  </a:lnTo>
                  <a:lnTo>
                    <a:pt x="556" y="2906"/>
                  </a:lnTo>
                  <a:lnTo>
                    <a:pt x="574" y="2898"/>
                  </a:lnTo>
                  <a:lnTo>
                    <a:pt x="588" y="2890"/>
                  </a:lnTo>
                  <a:lnTo>
                    <a:pt x="602" y="2880"/>
                  </a:lnTo>
                  <a:lnTo>
                    <a:pt x="614" y="2870"/>
                  </a:lnTo>
                  <a:lnTo>
                    <a:pt x="626" y="2858"/>
                  </a:lnTo>
                  <a:lnTo>
                    <a:pt x="634" y="2844"/>
                  </a:lnTo>
                  <a:lnTo>
                    <a:pt x="642" y="2830"/>
                  </a:lnTo>
                  <a:lnTo>
                    <a:pt x="648" y="2816"/>
                  </a:lnTo>
                  <a:lnTo>
                    <a:pt x="652" y="2802"/>
                  </a:lnTo>
                  <a:lnTo>
                    <a:pt x="656" y="2786"/>
                  </a:lnTo>
                  <a:lnTo>
                    <a:pt x="658" y="2770"/>
                  </a:lnTo>
                  <a:lnTo>
                    <a:pt x="658" y="2754"/>
                  </a:lnTo>
                  <a:lnTo>
                    <a:pt x="658" y="2754"/>
                  </a:lnTo>
                  <a:lnTo>
                    <a:pt x="658" y="1828"/>
                  </a:lnTo>
                  <a:lnTo>
                    <a:pt x="658" y="1828"/>
                  </a:lnTo>
                  <a:lnTo>
                    <a:pt x="660" y="1770"/>
                  </a:lnTo>
                  <a:lnTo>
                    <a:pt x="660" y="1746"/>
                  </a:lnTo>
                  <a:lnTo>
                    <a:pt x="664" y="1728"/>
                  </a:lnTo>
                  <a:lnTo>
                    <a:pt x="666" y="1714"/>
                  </a:lnTo>
                  <a:lnTo>
                    <a:pt x="670" y="1704"/>
                  </a:lnTo>
                  <a:lnTo>
                    <a:pt x="676" y="1698"/>
                  </a:lnTo>
                  <a:lnTo>
                    <a:pt x="684" y="1696"/>
                  </a:lnTo>
                  <a:lnTo>
                    <a:pt x="684" y="1696"/>
                  </a:lnTo>
                  <a:lnTo>
                    <a:pt x="690" y="1698"/>
                  </a:lnTo>
                  <a:lnTo>
                    <a:pt x="696" y="1704"/>
                  </a:lnTo>
                  <a:lnTo>
                    <a:pt x="700" y="1714"/>
                  </a:lnTo>
                  <a:lnTo>
                    <a:pt x="702" y="1728"/>
                  </a:lnTo>
                  <a:lnTo>
                    <a:pt x="704" y="1770"/>
                  </a:lnTo>
                  <a:lnTo>
                    <a:pt x="704" y="1828"/>
                  </a:lnTo>
                  <a:lnTo>
                    <a:pt x="704" y="1828"/>
                  </a:lnTo>
                  <a:lnTo>
                    <a:pt x="704" y="2754"/>
                  </a:lnTo>
                  <a:lnTo>
                    <a:pt x="704" y="2754"/>
                  </a:lnTo>
                  <a:lnTo>
                    <a:pt x="704" y="2764"/>
                  </a:lnTo>
                  <a:lnTo>
                    <a:pt x="706" y="2776"/>
                  </a:lnTo>
                  <a:lnTo>
                    <a:pt x="714" y="2804"/>
                  </a:lnTo>
                  <a:lnTo>
                    <a:pt x="720" y="2818"/>
                  </a:lnTo>
                  <a:lnTo>
                    <a:pt x="728" y="2832"/>
                  </a:lnTo>
                  <a:lnTo>
                    <a:pt x="738" y="2846"/>
                  </a:lnTo>
                  <a:lnTo>
                    <a:pt x="748" y="2860"/>
                  </a:lnTo>
                  <a:lnTo>
                    <a:pt x="762" y="2874"/>
                  </a:lnTo>
                  <a:lnTo>
                    <a:pt x="776" y="2886"/>
                  </a:lnTo>
                  <a:lnTo>
                    <a:pt x="790" y="2898"/>
                  </a:lnTo>
                  <a:lnTo>
                    <a:pt x="808" y="2908"/>
                  </a:lnTo>
                  <a:lnTo>
                    <a:pt x="826" y="2916"/>
                  </a:lnTo>
                  <a:lnTo>
                    <a:pt x="848" y="2922"/>
                  </a:lnTo>
                  <a:lnTo>
                    <a:pt x="870" y="2926"/>
                  </a:lnTo>
                  <a:lnTo>
                    <a:pt x="894" y="2928"/>
                  </a:lnTo>
                  <a:lnTo>
                    <a:pt x="894" y="2928"/>
                  </a:lnTo>
                  <a:lnTo>
                    <a:pt x="910" y="2926"/>
                  </a:lnTo>
                  <a:lnTo>
                    <a:pt x="926" y="2922"/>
                  </a:lnTo>
                  <a:lnTo>
                    <a:pt x="942" y="2916"/>
                  </a:lnTo>
                  <a:lnTo>
                    <a:pt x="958" y="2908"/>
                  </a:lnTo>
                  <a:lnTo>
                    <a:pt x="972" y="2900"/>
                  </a:lnTo>
                  <a:lnTo>
                    <a:pt x="986" y="2888"/>
                  </a:lnTo>
                  <a:lnTo>
                    <a:pt x="1000" y="2876"/>
                  </a:lnTo>
                  <a:lnTo>
                    <a:pt x="1012" y="2864"/>
                  </a:lnTo>
                  <a:lnTo>
                    <a:pt x="1032" y="2836"/>
                  </a:lnTo>
                  <a:lnTo>
                    <a:pt x="1048" y="2806"/>
                  </a:lnTo>
                  <a:lnTo>
                    <a:pt x="1054" y="2792"/>
                  </a:lnTo>
                  <a:lnTo>
                    <a:pt x="1060" y="2780"/>
                  </a:lnTo>
                  <a:lnTo>
                    <a:pt x="1062" y="2766"/>
                  </a:lnTo>
                  <a:lnTo>
                    <a:pt x="1064" y="2756"/>
                  </a:lnTo>
                  <a:lnTo>
                    <a:pt x="1064" y="2756"/>
                  </a:lnTo>
                  <a:lnTo>
                    <a:pt x="1066" y="722"/>
                  </a:lnTo>
                  <a:lnTo>
                    <a:pt x="1066" y="722"/>
                  </a:lnTo>
                  <a:lnTo>
                    <a:pt x="1064" y="674"/>
                  </a:lnTo>
                  <a:lnTo>
                    <a:pt x="1066" y="630"/>
                  </a:lnTo>
                  <a:lnTo>
                    <a:pt x="1068" y="612"/>
                  </a:lnTo>
                  <a:lnTo>
                    <a:pt x="1070" y="598"/>
                  </a:lnTo>
                  <a:lnTo>
                    <a:pt x="1076" y="588"/>
                  </a:lnTo>
                  <a:lnTo>
                    <a:pt x="1078" y="586"/>
                  </a:lnTo>
                  <a:lnTo>
                    <a:pt x="1082" y="584"/>
                  </a:lnTo>
                  <a:lnTo>
                    <a:pt x="1082" y="584"/>
                  </a:lnTo>
                  <a:lnTo>
                    <a:pt x="1090" y="586"/>
                  </a:lnTo>
                  <a:lnTo>
                    <a:pt x="1096" y="590"/>
                  </a:lnTo>
                  <a:lnTo>
                    <a:pt x="1100" y="596"/>
                  </a:lnTo>
                  <a:lnTo>
                    <a:pt x="1102" y="606"/>
                  </a:lnTo>
                  <a:lnTo>
                    <a:pt x="1104" y="638"/>
                  </a:lnTo>
                  <a:lnTo>
                    <a:pt x="1104" y="692"/>
                  </a:lnTo>
                  <a:lnTo>
                    <a:pt x="1104" y="692"/>
                  </a:lnTo>
                  <a:lnTo>
                    <a:pt x="1104" y="1032"/>
                  </a:lnTo>
                  <a:lnTo>
                    <a:pt x="1104" y="1032"/>
                  </a:lnTo>
                  <a:lnTo>
                    <a:pt x="1106" y="1110"/>
                  </a:lnTo>
                  <a:lnTo>
                    <a:pt x="1108" y="1144"/>
                  </a:lnTo>
                  <a:lnTo>
                    <a:pt x="1112" y="1176"/>
                  </a:lnTo>
                  <a:lnTo>
                    <a:pt x="1116" y="1202"/>
                  </a:lnTo>
                  <a:lnTo>
                    <a:pt x="1120" y="1226"/>
                  </a:lnTo>
                  <a:lnTo>
                    <a:pt x="1126" y="1248"/>
                  </a:lnTo>
                  <a:lnTo>
                    <a:pt x="1134" y="1266"/>
                  </a:lnTo>
                  <a:lnTo>
                    <a:pt x="1142" y="1280"/>
                  </a:lnTo>
                  <a:lnTo>
                    <a:pt x="1150" y="1294"/>
                  </a:lnTo>
                  <a:lnTo>
                    <a:pt x="1160" y="1304"/>
                  </a:lnTo>
                  <a:lnTo>
                    <a:pt x="1172" y="1312"/>
                  </a:lnTo>
                  <a:lnTo>
                    <a:pt x="1184" y="1318"/>
                  </a:lnTo>
                  <a:lnTo>
                    <a:pt x="1198" y="1322"/>
                  </a:lnTo>
                  <a:lnTo>
                    <a:pt x="1212" y="1324"/>
                  </a:lnTo>
                  <a:lnTo>
                    <a:pt x="1228" y="1324"/>
                  </a:lnTo>
                  <a:lnTo>
                    <a:pt x="1228" y="1324"/>
                  </a:lnTo>
                  <a:lnTo>
                    <a:pt x="1240" y="1324"/>
                  </a:lnTo>
                  <a:lnTo>
                    <a:pt x="1252" y="1322"/>
                  </a:lnTo>
                  <a:lnTo>
                    <a:pt x="1262" y="1318"/>
                  </a:lnTo>
                  <a:lnTo>
                    <a:pt x="1272" y="1314"/>
                  </a:lnTo>
                  <a:lnTo>
                    <a:pt x="1280" y="1310"/>
                  </a:lnTo>
                  <a:lnTo>
                    <a:pt x="1290" y="1302"/>
                  </a:lnTo>
                  <a:lnTo>
                    <a:pt x="1304" y="1288"/>
                  </a:lnTo>
                  <a:lnTo>
                    <a:pt x="1316" y="1268"/>
                  </a:lnTo>
                  <a:lnTo>
                    <a:pt x="1326" y="1246"/>
                  </a:lnTo>
                  <a:lnTo>
                    <a:pt x="1332" y="1222"/>
                  </a:lnTo>
                  <a:lnTo>
                    <a:pt x="1338" y="1196"/>
                  </a:lnTo>
                  <a:lnTo>
                    <a:pt x="1344" y="1168"/>
                  </a:lnTo>
                  <a:lnTo>
                    <a:pt x="1346" y="1138"/>
                  </a:lnTo>
                  <a:lnTo>
                    <a:pt x="1350" y="1080"/>
                  </a:lnTo>
                  <a:lnTo>
                    <a:pt x="1350" y="1024"/>
                  </a:lnTo>
                  <a:lnTo>
                    <a:pt x="1350" y="972"/>
                  </a:lnTo>
                  <a:lnTo>
                    <a:pt x="1350" y="972"/>
                  </a:lnTo>
                  <a:close/>
                </a:path>
              </a:pathLst>
            </a:custGeom>
            <a:grpFill/>
            <a:ln>
              <a:noFill/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  <a:scene3d>
              <a:camera prst="orthographicFront"/>
              <a:lightRig rig="threePt" dir="t"/>
            </a:scene3d>
            <a:sp3d>
              <a:bevelT prst="relaxedInset"/>
            </a:sp3d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CB2AAE00-D9A2-794E-D8D2-81966DBB052C}"/>
              </a:ext>
            </a:extLst>
          </p:cNvPr>
          <p:cNvSpPr txBox="1"/>
          <p:nvPr/>
        </p:nvSpPr>
        <p:spPr>
          <a:xfrm>
            <a:off x="3654563" y="1399870"/>
            <a:ext cx="1491017" cy="5474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solidFill>
                  <a:schemeClr val="bg1"/>
                </a:solidFill>
                <a:cs typeface="Arial" pitchFamily="34" charset="0"/>
              </a:rPr>
              <a:t>Y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93C0F56-40CA-5425-E662-D7B6D2BED4EB}"/>
              </a:ext>
            </a:extLst>
          </p:cNvPr>
          <p:cNvSpPr txBox="1"/>
          <p:nvPr/>
        </p:nvSpPr>
        <p:spPr>
          <a:xfrm>
            <a:off x="7037543" y="1399870"/>
            <a:ext cx="1491017" cy="5474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solidFill>
                  <a:schemeClr val="bg1"/>
                </a:solidFill>
                <a:cs typeface="Arial" pitchFamily="34" charset="0"/>
              </a:rPr>
              <a:t>NO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097DC21-EED9-C246-DFDE-150496DECC8D}"/>
              </a:ext>
            </a:extLst>
          </p:cNvPr>
          <p:cNvSpPr txBox="1"/>
          <p:nvPr/>
        </p:nvSpPr>
        <p:spPr>
          <a:xfrm>
            <a:off x="2841160" y="2106446"/>
            <a:ext cx="2505911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100" kern="0" dirty="0">
                <a:solidFill>
                  <a:schemeClr val="bg1"/>
                </a:solidFill>
                <a:cs typeface="Arial"/>
              </a:rPr>
              <a:t>This is a sample text. You simply add your own text and description here. This text is fully editable. </a:t>
            </a:r>
          </a:p>
          <a:p>
            <a:pPr>
              <a:defRPr/>
            </a:pPr>
            <a:r>
              <a:rPr lang="en-US" sz="1100" kern="0" dirty="0">
                <a:solidFill>
                  <a:schemeClr val="bg1"/>
                </a:solidFill>
                <a:cs typeface="Arial"/>
              </a:rPr>
              <a:t>This is a sample text. You simply add your own text and description here. This text is fully editable. </a:t>
            </a:r>
            <a:endParaRPr lang="en-US" sz="1100" kern="0" dirty="0">
              <a:solidFill>
                <a:schemeClr val="bg1"/>
              </a:solidFill>
            </a:endParaRPr>
          </a:p>
          <a:p>
            <a:pPr>
              <a:defRPr/>
            </a:pPr>
            <a:endParaRPr lang="en-US" sz="1100" kern="0" dirty="0">
              <a:solidFill>
                <a:schemeClr val="bg1"/>
              </a:solidFill>
              <a:cs typeface="Arial"/>
            </a:endParaRPr>
          </a:p>
          <a:p>
            <a:pPr>
              <a:defRPr/>
            </a:pPr>
            <a:r>
              <a:rPr lang="en-US" sz="1100" kern="0" dirty="0">
                <a:solidFill>
                  <a:schemeClr val="bg1"/>
                </a:solidFill>
                <a:cs typeface="Arial"/>
              </a:rPr>
              <a:t>This is a sample text. You simply add your own text and description here. This text is fully editable. </a:t>
            </a:r>
            <a:endParaRPr lang="en-US" sz="1100" kern="0" dirty="0">
              <a:solidFill>
                <a:schemeClr val="bg1"/>
              </a:solidFill>
            </a:endParaRPr>
          </a:p>
          <a:p>
            <a:pPr>
              <a:defRPr/>
            </a:pPr>
            <a:endParaRPr lang="en-US" sz="1100" kern="0" dirty="0">
              <a:solidFill>
                <a:schemeClr val="bg1"/>
              </a:solidFill>
              <a:cs typeface="Arial"/>
            </a:endParaRPr>
          </a:p>
          <a:p>
            <a:pPr>
              <a:defRPr/>
            </a:pPr>
            <a:endParaRPr lang="en-US" sz="1100" kern="0" dirty="0">
              <a:solidFill>
                <a:schemeClr val="bg1"/>
              </a:solidFill>
              <a:cs typeface="Arial"/>
            </a:endParaRPr>
          </a:p>
          <a:p>
            <a:pPr>
              <a:defRPr/>
            </a:pPr>
            <a:r>
              <a:rPr lang="en-US" sz="1100" kern="0" dirty="0">
                <a:solidFill>
                  <a:schemeClr val="bg1"/>
                </a:solidFill>
                <a:cs typeface="Arial"/>
              </a:rPr>
              <a:t>This is a sample text. You simply add your own text and description here. This text is fully editable. </a:t>
            </a:r>
            <a:endParaRPr lang="en-US" sz="1100" kern="0" dirty="0">
              <a:solidFill>
                <a:schemeClr val="bg1"/>
              </a:solidFill>
            </a:endParaRPr>
          </a:p>
          <a:p>
            <a:pPr>
              <a:defRPr/>
            </a:pPr>
            <a:endParaRPr lang="en-US" sz="1100" kern="0" dirty="0">
              <a:solidFill>
                <a:schemeClr val="bg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30FA1EA-91F3-98E0-5767-D600B36BCCCA}"/>
              </a:ext>
            </a:extLst>
          </p:cNvPr>
          <p:cNvSpPr txBox="1"/>
          <p:nvPr/>
        </p:nvSpPr>
        <p:spPr>
          <a:xfrm>
            <a:off x="6816446" y="2095056"/>
            <a:ext cx="2505911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100" kern="0" dirty="0">
                <a:solidFill>
                  <a:schemeClr val="bg1"/>
                </a:solidFill>
                <a:cs typeface="Arial"/>
              </a:rPr>
              <a:t>This is a sample text. You simply add your own text and description here. This text is fully editable. </a:t>
            </a:r>
          </a:p>
          <a:p>
            <a:pPr>
              <a:defRPr/>
            </a:pPr>
            <a:r>
              <a:rPr lang="en-US" sz="1100" kern="0" dirty="0">
                <a:solidFill>
                  <a:schemeClr val="bg1"/>
                </a:solidFill>
                <a:cs typeface="Arial"/>
              </a:rPr>
              <a:t>This is a sample text. You simply add your own text and description here. This text is fully editable. </a:t>
            </a:r>
            <a:endParaRPr lang="en-US" sz="1100" kern="0" dirty="0">
              <a:solidFill>
                <a:schemeClr val="bg1"/>
              </a:solidFill>
            </a:endParaRPr>
          </a:p>
          <a:p>
            <a:pPr>
              <a:defRPr/>
            </a:pPr>
            <a:endParaRPr lang="en-US" sz="1100" kern="0" dirty="0">
              <a:solidFill>
                <a:schemeClr val="bg1"/>
              </a:solidFill>
              <a:cs typeface="Arial"/>
            </a:endParaRPr>
          </a:p>
          <a:p>
            <a:pPr>
              <a:defRPr/>
            </a:pPr>
            <a:r>
              <a:rPr lang="en-US" sz="1100" kern="0" dirty="0">
                <a:solidFill>
                  <a:schemeClr val="bg1"/>
                </a:solidFill>
                <a:cs typeface="Arial"/>
              </a:rPr>
              <a:t>This is a sample text. You simply add your own text and description here. This text is fully editable. </a:t>
            </a:r>
            <a:endParaRPr lang="en-US" sz="1100" kern="0" dirty="0">
              <a:solidFill>
                <a:schemeClr val="bg1"/>
              </a:solidFill>
            </a:endParaRPr>
          </a:p>
          <a:p>
            <a:pPr>
              <a:defRPr/>
            </a:pPr>
            <a:endParaRPr lang="en-US" sz="1100" kern="0" dirty="0">
              <a:solidFill>
                <a:schemeClr val="bg1"/>
              </a:solidFill>
              <a:cs typeface="Arial"/>
            </a:endParaRPr>
          </a:p>
          <a:p>
            <a:pPr>
              <a:defRPr/>
            </a:pPr>
            <a:endParaRPr lang="en-US" sz="1100" kern="0" dirty="0">
              <a:solidFill>
                <a:schemeClr val="bg1"/>
              </a:solidFill>
              <a:cs typeface="Arial"/>
            </a:endParaRPr>
          </a:p>
          <a:p>
            <a:pPr>
              <a:defRPr/>
            </a:pPr>
            <a:r>
              <a:rPr lang="en-US" sz="1100" kern="0" dirty="0">
                <a:solidFill>
                  <a:schemeClr val="bg1"/>
                </a:solidFill>
                <a:cs typeface="Arial"/>
              </a:rPr>
              <a:t>This is a sample text. You simply add your own text and description here. This text is fully editable. </a:t>
            </a:r>
            <a:endParaRPr lang="en-US" sz="1100" kern="0" dirty="0">
              <a:solidFill>
                <a:schemeClr val="bg1"/>
              </a:solidFill>
            </a:endParaRPr>
          </a:p>
          <a:p>
            <a:pPr>
              <a:defRPr/>
            </a:pPr>
            <a:endParaRPr lang="en-US" sz="1100" kern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20767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1bde1rqkOrYkvEutVTF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1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3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2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1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2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4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1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1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2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3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4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1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2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V9uP48jtkO6P.TOX0SLe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V9uP48jtkO6P.TOX0SLe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V9uP48jtkO6P.TOX0SLe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V9uP48jtkO6P.TOX0SLeQ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V9uP48jtkO6P.TOX0SLe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V9uP48jtkO6P.TOX0SLeQ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1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V9uP48jtkO6P.TOX0SLeQ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1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2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4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4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1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2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V9uP48jtkO6P.TOX0SLeQ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4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3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4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1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2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3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4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V9uP48jtkO6P.TOX0SLeQ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V9uP48jtkO6P.TOX0SLeQ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1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2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3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1bde1rqkOrYkvEutVTFw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1bde1rqkOrYkvEutVTF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1bde1rqkOrYkvEutVTF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1bde1rqkOrYkvEutVTF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1bde1rqkOrYkvEutVTF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1bde1rqkOrYkvEutVTF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1bde1rqkOrYkvEutVTF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1bde1rqkOrYkvEutVTF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AcYRSllJ0ubbcrT0Mbdv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AcYRSllJ0ubbcrT0Mbdv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AcYRSllJ0ubbcrT0Mbdv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AcYRSllJ0ubbcrT0Mbdv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AcYRSllJ0ubbcrT0Mbdv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3902"/>
      </a:accent1>
      <a:accent2>
        <a:srgbClr val="FF8007"/>
      </a:accent2>
      <a:accent3>
        <a:srgbClr val="FFB404"/>
      </a:accent3>
      <a:accent4>
        <a:srgbClr val="05BADD"/>
      </a:accent4>
      <a:accent5>
        <a:srgbClr val="2B4871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New palett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001F54"/>
    </a:accent1>
    <a:accent2>
      <a:srgbClr val="054990"/>
    </a:accent2>
    <a:accent3>
      <a:srgbClr val="3F7CB2"/>
    </a:accent3>
    <a:accent4>
      <a:srgbClr val="81A4CC"/>
    </a:accent4>
    <a:accent5>
      <a:srgbClr val="034078"/>
    </a:accent5>
    <a:accent6>
      <a:srgbClr val="000000"/>
    </a:accent6>
    <a:hlink>
      <a:srgbClr val="0563C1"/>
    </a:hlink>
    <a:folHlink>
      <a:srgbClr val="954F72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New palett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001F54"/>
    </a:accent1>
    <a:accent2>
      <a:srgbClr val="054990"/>
    </a:accent2>
    <a:accent3>
      <a:srgbClr val="3F7CB2"/>
    </a:accent3>
    <a:accent4>
      <a:srgbClr val="81A4CC"/>
    </a:accent4>
    <a:accent5>
      <a:srgbClr val="034078"/>
    </a:accent5>
    <a:accent6>
      <a:srgbClr val="000000"/>
    </a:accent6>
    <a:hlink>
      <a:srgbClr val="0563C1"/>
    </a:hlink>
    <a:folHlink>
      <a:srgbClr val="954F72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657</TotalTime>
  <Words>9295</Words>
  <Application>Microsoft Macintosh PowerPoint</Application>
  <PresentationFormat>Widescreen</PresentationFormat>
  <Paragraphs>2749</Paragraphs>
  <Slides>21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2</vt:i4>
      </vt:variant>
    </vt:vector>
  </HeadingPairs>
  <TitlesOfParts>
    <vt:vector size="236" baseType="lpstr">
      <vt:lpstr>Arial Unicode MS</vt:lpstr>
      <vt:lpstr>ＭＳ Ｐゴシック</vt:lpstr>
      <vt:lpstr>Arial</vt:lpstr>
      <vt:lpstr>Calibri</vt:lpstr>
      <vt:lpstr>Calibri Light</vt:lpstr>
      <vt:lpstr>Century Gothic</vt:lpstr>
      <vt:lpstr>Courier New</vt:lpstr>
      <vt:lpstr>Crimson Pro</vt:lpstr>
      <vt:lpstr>FontAwesome</vt:lpstr>
      <vt:lpstr>Helvetica</vt:lpstr>
      <vt:lpstr>Lato Light</vt:lpstr>
      <vt:lpstr>Montserrat Light</vt:lpstr>
      <vt:lpstr>Montserrat SemiBold</vt:lpstr>
      <vt:lpstr>Open Sans</vt:lpstr>
      <vt:lpstr>Open Sans Light</vt:lpstr>
      <vt:lpstr>Roboto Light</vt:lpstr>
      <vt:lpstr>Roboto Lt</vt:lpstr>
      <vt:lpstr>Roboto Medium</vt:lpstr>
      <vt:lpstr>Tahoma</vt:lpstr>
      <vt:lpstr>Trebuchet MS</vt:lpstr>
      <vt:lpstr>Verdana</vt:lpstr>
      <vt:lpstr>Wingdings</vt:lpstr>
      <vt:lpstr>Office Theme</vt:lpstr>
      <vt:lpstr>think-cell Slide</vt:lpstr>
      <vt:lpstr>How to use this template</vt:lpstr>
      <vt:lpstr>PowerPoint Presentation</vt:lpstr>
      <vt:lpstr>Text</vt:lpstr>
      <vt:lpstr>Text</vt:lpstr>
      <vt:lpstr>Text</vt:lpstr>
      <vt:lpstr>Text</vt:lpstr>
      <vt:lpstr>Text</vt:lpstr>
      <vt:lpstr>Text</vt:lpstr>
      <vt:lpstr>Text</vt:lpstr>
      <vt:lpstr>Text</vt:lpstr>
      <vt:lpstr>Text</vt:lpstr>
      <vt:lpstr>Text</vt:lpstr>
      <vt:lpstr>Text</vt:lpstr>
      <vt:lpstr>Text</vt:lpstr>
      <vt:lpstr>Text</vt:lpstr>
      <vt:lpstr>Text</vt:lpstr>
      <vt:lpstr>Text</vt:lpstr>
      <vt:lpstr>Text</vt:lpstr>
      <vt:lpstr>Text</vt:lpstr>
      <vt:lpstr>Text</vt:lpstr>
      <vt:lpstr>Text</vt:lpstr>
      <vt:lpstr>Text</vt:lpstr>
      <vt:lpstr>Text</vt:lpstr>
      <vt:lpstr>Table</vt:lpstr>
      <vt:lpstr>Table</vt:lpstr>
      <vt:lpstr>Table</vt:lpstr>
      <vt:lpstr>Table</vt:lpstr>
      <vt:lpstr>Table</vt:lpstr>
      <vt:lpstr>Table</vt:lpstr>
      <vt:lpstr>Table</vt:lpstr>
      <vt:lpstr>Table</vt:lpstr>
      <vt:lpstr>Table</vt:lpstr>
      <vt:lpstr>Table</vt:lpstr>
      <vt:lpstr>Table</vt:lpstr>
      <vt:lpstr>Table</vt:lpstr>
      <vt:lpstr>Table</vt:lpstr>
      <vt:lpstr>Table</vt:lpstr>
      <vt:lpstr>Table</vt:lpstr>
      <vt:lpstr>Table</vt:lpstr>
      <vt:lpstr>Table</vt:lpstr>
      <vt:lpstr>Table</vt:lpstr>
      <vt:lpstr>Table</vt:lpstr>
      <vt:lpstr>Table</vt:lpstr>
      <vt:lpstr>Table</vt:lpstr>
      <vt:lpstr>Table</vt:lpstr>
      <vt:lpstr>Table</vt:lpstr>
      <vt:lpstr>Table</vt:lpstr>
      <vt:lpstr>Table</vt:lpstr>
      <vt:lpstr>Table</vt:lpstr>
      <vt:lpstr>Table</vt:lpstr>
      <vt:lpstr>Table</vt:lpstr>
      <vt:lpstr>Columns</vt:lpstr>
      <vt:lpstr>Columns</vt:lpstr>
      <vt:lpstr>Columns</vt:lpstr>
      <vt:lpstr>Columns</vt:lpstr>
      <vt:lpstr>Quotes</vt:lpstr>
      <vt:lpstr>Quotes</vt:lpstr>
      <vt:lpstr>Quotes</vt:lpstr>
      <vt:lpstr>Quotes</vt:lpstr>
      <vt:lpstr>Timeline </vt:lpstr>
      <vt:lpstr>Timeline </vt:lpstr>
      <vt:lpstr>Timeline </vt:lpstr>
      <vt:lpstr>Timeline </vt:lpstr>
      <vt:lpstr>Timeline </vt:lpstr>
      <vt:lpstr>Timeline </vt:lpstr>
      <vt:lpstr>Checklist </vt:lpstr>
      <vt:lpstr>Checklist </vt:lpstr>
      <vt:lpstr>Checklist </vt:lpstr>
      <vt:lpstr>Checklist </vt:lpstr>
      <vt:lpstr>Checklist </vt:lpstr>
      <vt:lpstr>Checklist </vt:lpstr>
      <vt:lpstr>PowerPoint Presentation</vt:lpstr>
      <vt:lpstr>30-60-90 Plan</vt:lpstr>
      <vt:lpstr>30-60-90 Plan</vt:lpstr>
      <vt:lpstr>30-60-90 Plan</vt:lpstr>
      <vt:lpstr>30-60-90 Plan</vt:lpstr>
      <vt:lpstr>Org. Chart</vt:lpstr>
      <vt:lpstr>Org. chart</vt:lpstr>
      <vt:lpstr>Org. chart</vt:lpstr>
      <vt:lpstr>Org. chart</vt:lpstr>
      <vt:lpstr>Process</vt:lpstr>
      <vt:lpstr>Process</vt:lpstr>
      <vt:lpstr>Process</vt:lpstr>
      <vt:lpstr>Process</vt:lpstr>
      <vt:lpstr>Process</vt:lpstr>
      <vt:lpstr>Process</vt:lpstr>
      <vt:lpstr>Process</vt:lpstr>
      <vt:lpstr>Process</vt:lpstr>
      <vt:lpstr>Funnel</vt:lpstr>
      <vt:lpstr>Funnel</vt:lpstr>
      <vt:lpstr>Funnel</vt:lpstr>
      <vt:lpstr>Funnel</vt:lpstr>
      <vt:lpstr>Funnel</vt:lpstr>
      <vt:lpstr>Steps</vt:lpstr>
      <vt:lpstr>Next Steps </vt:lpstr>
      <vt:lpstr>Next Steps </vt:lpstr>
      <vt:lpstr>Next Steps </vt:lpstr>
      <vt:lpstr>Next Steps </vt:lpstr>
      <vt:lpstr>Yes/No</vt:lpstr>
      <vt:lpstr>Pillar </vt:lpstr>
      <vt:lpstr>Pyramid </vt:lpstr>
      <vt:lpstr>Timeline</vt:lpstr>
      <vt:lpstr>Vision</vt:lpstr>
      <vt:lpstr>Factors</vt:lpstr>
      <vt:lpstr>Circle</vt:lpstr>
      <vt:lpstr>Flow</vt:lpstr>
      <vt:lpstr>Circle</vt:lpstr>
      <vt:lpstr>Circle</vt:lpstr>
      <vt:lpstr>Circle</vt:lpstr>
      <vt:lpstr>Factors</vt:lpstr>
      <vt:lpstr>Factors</vt:lpstr>
      <vt:lpstr>Circle</vt:lpstr>
      <vt:lpstr>Circle</vt:lpstr>
      <vt:lpstr>Circle</vt:lpstr>
      <vt:lpstr>Circular Layouts</vt:lpstr>
      <vt:lpstr>Circular Layouts</vt:lpstr>
      <vt:lpstr>Circular Layouts</vt:lpstr>
      <vt:lpstr>Circular Layouts</vt:lpstr>
      <vt:lpstr>Circular Layouts</vt:lpstr>
      <vt:lpstr>Circular Layouts</vt:lpstr>
      <vt:lpstr>Circular Layouts</vt:lpstr>
      <vt:lpstr>Circular Layouts</vt:lpstr>
      <vt:lpstr>Circular Layouts</vt:lpstr>
      <vt:lpstr>Circular Layouts</vt:lpstr>
      <vt:lpstr>Circular layouts</vt:lpstr>
      <vt:lpstr>Circular layouts</vt:lpstr>
      <vt:lpstr>Circular layouts</vt:lpstr>
      <vt:lpstr>Circular layouts</vt:lpstr>
      <vt:lpstr>Circular layouts</vt:lpstr>
      <vt:lpstr>Circular layouts</vt:lpstr>
      <vt:lpstr>Circular layouts</vt:lpstr>
      <vt:lpstr>Circular layouts</vt:lpstr>
      <vt:lpstr>Circular layouts</vt:lpstr>
      <vt:lpstr>Circular layouts</vt:lpstr>
      <vt:lpstr>Circular layouts</vt:lpstr>
      <vt:lpstr>Circular layouts</vt:lpstr>
      <vt:lpstr>Circular layouts</vt:lpstr>
      <vt:lpstr>Circular layouts</vt:lpstr>
      <vt:lpstr>Circular layouts</vt:lpstr>
      <vt:lpstr>Circular layouts</vt:lpstr>
      <vt:lpstr>Circular layouts</vt:lpstr>
      <vt:lpstr>Circular layouts</vt:lpstr>
      <vt:lpstr>Circular layouts</vt:lpstr>
      <vt:lpstr>Circular layouts</vt:lpstr>
      <vt:lpstr>Circular layouts</vt:lpstr>
      <vt:lpstr>Slide Title</vt:lpstr>
      <vt:lpstr>Slide title</vt:lpstr>
      <vt:lpstr>Slide title</vt:lpstr>
      <vt:lpstr>Slide title</vt:lpstr>
      <vt:lpstr>Slide title</vt:lpstr>
      <vt:lpstr>Slide title</vt:lpstr>
      <vt:lpstr>2 Concept</vt:lpstr>
      <vt:lpstr>3 Concept</vt:lpstr>
      <vt:lpstr>4 Concept</vt:lpstr>
      <vt:lpstr>5 Concept</vt:lpstr>
      <vt:lpstr>6 Concept</vt:lpstr>
      <vt:lpstr>7 Concept</vt:lpstr>
      <vt:lpstr>8 Concept</vt:lpstr>
      <vt:lpstr>Idea</vt:lpstr>
      <vt:lpstr>Idea</vt:lpstr>
      <vt:lpstr>Idea</vt:lpstr>
      <vt:lpstr>Idea</vt:lpstr>
      <vt:lpstr>Idea</vt:lpstr>
      <vt:lpstr>Idea</vt:lpstr>
      <vt:lpstr>Idea</vt:lpstr>
      <vt:lpstr>Circle</vt:lpstr>
      <vt:lpstr>Circle</vt:lpstr>
      <vt:lpstr>Circle</vt:lpstr>
      <vt:lpstr>Circle</vt:lpstr>
      <vt:lpstr>Circle</vt:lpstr>
      <vt:lpstr>Circle</vt:lpstr>
      <vt:lpstr>PowerPoint Presentation</vt:lpstr>
      <vt:lpstr>Area</vt:lpstr>
      <vt:lpstr>Area</vt:lpstr>
      <vt:lpstr>Stacked Area</vt:lpstr>
      <vt:lpstr>Area / Pie</vt:lpstr>
      <vt:lpstr>Waterfall</vt:lpstr>
      <vt:lpstr>Pie</vt:lpstr>
      <vt:lpstr>Bar</vt:lpstr>
      <vt:lpstr>Bar</vt:lpstr>
      <vt:lpstr>Bar</vt:lpstr>
      <vt:lpstr>Bar</vt:lpstr>
      <vt:lpstr>Clustered Bar</vt:lpstr>
      <vt:lpstr>Stacked Bar</vt:lpstr>
      <vt:lpstr>Column</vt:lpstr>
      <vt:lpstr>Clustered Column / Pie</vt:lpstr>
      <vt:lpstr>Stacked Column</vt:lpstr>
      <vt:lpstr>Stacked Column</vt:lpstr>
      <vt:lpstr>Clustered Column</vt:lpstr>
      <vt:lpstr>Clustered Column</vt:lpstr>
      <vt:lpstr>Clustered Column</vt:lpstr>
      <vt:lpstr>Stacked Column / Pie</vt:lpstr>
      <vt:lpstr>Pie / Bar</vt:lpstr>
      <vt:lpstr>Doughnut</vt:lpstr>
      <vt:lpstr>Column / Line</vt:lpstr>
      <vt:lpstr>Gantt</vt:lpstr>
      <vt:lpstr>Gantt</vt:lpstr>
      <vt:lpstr>Gantt</vt:lpstr>
      <vt:lpstr>Gantt</vt:lpstr>
      <vt:lpstr>Case Study</vt:lpstr>
      <vt:lpstr>Case Study</vt:lpstr>
      <vt:lpstr>Case Study</vt:lpstr>
      <vt:lpstr>Case Study</vt:lpstr>
      <vt:lpstr>Case Study</vt:lpstr>
      <vt:lpstr>PowerPoint Presentation</vt:lpstr>
      <vt:lpstr>Icons </vt:lpstr>
      <vt:lpstr>Icons </vt:lpstr>
      <vt:lpstr>Icons </vt:lpstr>
      <vt:lpstr>Icons </vt:lpstr>
      <vt:lpstr>Icons </vt:lpstr>
      <vt:lpstr>Icons </vt:lpstr>
      <vt:lpstr>Icons 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Paul Moss</cp:lastModifiedBy>
  <cp:revision>659</cp:revision>
  <dcterms:created xsi:type="dcterms:W3CDTF">2021-03-31T02:49:57Z</dcterms:created>
  <dcterms:modified xsi:type="dcterms:W3CDTF">2025-10-14T18:04:09Z</dcterms:modified>
  <cp:category/>
</cp:coreProperties>
</file>